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4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5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notesSlides/notesSlide13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notesSlides/notesSlide14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10" r:id="rId2"/>
    <p:sldMasterId id="2147483742" r:id="rId3"/>
    <p:sldMasterId id="2147483773" r:id="rId4"/>
    <p:sldMasterId id="2147483835" r:id="rId5"/>
    <p:sldMasterId id="2147483866" r:id="rId6"/>
  </p:sldMasterIdLst>
  <p:notesMasterIdLst>
    <p:notesMasterId r:id="rId25"/>
  </p:notesMasterIdLst>
  <p:handoutMasterIdLst>
    <p:handoutMasterId r:id="rId26"/>
  </p:handoutMasterIdLst>
  <p:sldIdLst>
    <p:sldId id="599" r:id="rId7"/>
    <p:sldId id="622" r:id="rId8"/>
    <p:sldId id="620" r:id="rId9"/>
    <p:sldId id="619" r:id="rId10"/>
    <p:sldId id="602" r:id="rId11"/>
    <p:sldId id="603" r:id="rId12"/>
    <p:sldId id="604" r:id="rId13"/>
    <p:sldId id="608" r:id="rId14"/>
    <p:sldId id="623" r:id="rId15"/>
    <p:sldId id="615" r:id="rId16"/>
    <p:sldId id="609" r:id="rId17"/>
    <p:sldId id="605" r:id="rId18"/>
    <p:sldId id="606" r:id="rId19"/>
    <p:sldId id="626" r:id="rId20"/>
    <p:sldId id="627" r:id="rId21"/>
    <p:sldId id="629" r:id="rId22"/>
    <p:sldId id="621" r:id="rId23"/>
    <p:sldId id="607" r:id="rId24"/>
  </p:sldIdLst>
  <p:sldSz cx="12192000" cy="6858000"/>
  <p:notesSz cx="6742113" cy="9872663"/>
  <p:custDataLst>
    <p:tags r:id="rId27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2">
          <p15:clr>
            <a:srgbClr val="A4A3A4"/>
          </p15:clr>
        </p15:guide>
        <p15:guide id="3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uck Koene" initials="PK" lastIdx="289" clrIdx="0"/>
  <p:cmAuthor id="1" name="Kelsey Luhrman" initials="KL" lastIdx="9" clrIdx="1">
    <p:extLst/>
  </p:cmAuthor>
  <p:cmAuthor id="2" name="Jongen, Annick" initials="JA" lastIdx="15" clrIdx="2"/>
  <p:cmAuthor id="3" name="Ilse de Groot" initials="IdG" lastIdx="10" clrIdx="3">
    <p:extLst/>
  </p:cmAuthor>
  <p:cmAuthor id="4" name="Hans Leenders" initials="HL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0505"/>
    <a:srgbClr val="C6D9F1"/>
    <a:srgbClr val="1F497D"/>
    <a:srgbClr val="FEC900"/>
    <a:srgbClr val="53B1FF"/>
    <a:srgbClr val="C9D1DE"/>
    <a:srgbClr val="F7FBFF"/>
    <a:srgbClr val="FFEAD5"/>
    <a:srgbClr val="FFFFFF"/>
    <a:srgbClr val="0D30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30" autoAdjust="0"/>
    <p:restoredTop sz="81637" autoAdjust="0"/>
  </p:normalViewPr>
  <p:slideViewPr>
    <p:cSldViewPr snapToGrid="0">
      <p:cViewPr varScale="1">
        <p:scale>
          <a:sx n="91" d="100"/>
          <a:sy n="91" d="100"/>
        </p:scale>
        <p:origin x="528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386"/>
    </p:cViewPr>
  </p:sorterViewPr>
  <p:notesViewPr>
    <p:cSldViewPr snapToGrid="0">
      <p:cViewPr>
        <p:scale>
          <a:sx n="90" d="100"/>
          <a:sy n="90" d="100"/>
        </p:scale>
        <p:origin x="-2558" y="389"/>
      </p:cViewPr>
      <p:guideLst>
        <p:guide orient="horz" pos="3110"/>
        <p:guide pos="2142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Q059728\Downloads\Avg.%20of%20torqueactual%20by%20timeindex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d1_rmean%20by%20date_utc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torqueactual%20by%20timeindex%20(4)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torqueactual%20by%20timeindex%20and%20systemID%20(1)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torqueactual%20by%20timeindex%20(5)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torqueactual%20by%20timeindex%20(6)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d1_rmean%20by%20date_utc%20(2)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Q059728\Downloads\Avg.%20of%20torqueactual%20by%20timeindex%20(1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Q059728\Downloads\Avg.%20of%20torqueactual%20by%20timeindex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PositiveStd%20by%20Date_parsed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PositiveStd%20by%20Date_parsed%20and%20systemID%20(2)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Q059728\Downloads\Avg.%20of%20torqueactual%20by%20timeindex%20(1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torqueactual%20by%20timeindex%20(4)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torqueactual%20by%20timeindex%20and%20systemID%20(1)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Q059728\Downloads\Avg.%20of%20torqueactual%20by%20timeindex%20(4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Data!$A$1</c:f>
          <c:strCache>
            <c:ptCount val="1"/>
            <c:pt idx="0">
              <c:v>Track Axis Measurements</c:v>
            </c:pt>
          </c:strCache>
        </c:strRef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Torqu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a!$A$3:$A$6914</c:f>
              <c:strCache>
                <c:ptCount val="6912"/>
                <c:pt idx="0">
                  <c:v>0</c:v>
                </c:pt>
                <c:pt idx="1">
                  <c:v>5.04E-4</c:v>
                </c:pt>
                <c:pt idx="2">
                  <c:v>0.001008</c:v>
                </c:pt>
                <c:pt idx="3">
                  <c:v>0.001512</c:v>
                </c:pt>
                <c:pt idx="4">
                  <c:v>0.002016</c:v>
                </c:pt>
                <c:pt idx="5">
                  <c:v>0.00252</c:v>
                </c:pt>
                <c:pt idx="6">
                  <c:v>0.003024</c:v>
                </c:pt>
                <c:pt idx="7">
                  <c:v>0.003528</c:v>
                </c:pt>
                <c:pt idx="8">
                  <c:v>0.004032</c:v>
                </c:pt>
                <c:pt idx="9">
                  <c:v>0.004536</c:v>
                </c:pt>
                <c:pt idx="10">
                  <c:v>0.00504</c:v>
                </c:pt>
                <c:pt idx="11">
                  <c:v>0.005544</c:v>
                </c:pt>
                <c:pt idx="12">
                  <c:v>0.006048</c:v>
                </c:pt>
                <c:pt idx="13">
                  <c:v>0.006552</c:v>
                </c:pt>
                <c:pt idx="14">
                  <c:v>0.007056</c:v>
                </c:pt>
                <c:pt idx="15">
                  <c:v>0.00756</c:v>
                </c:pt>
                <c:pt idx="16">
                  <c:v>0.008064</c:v>
                </c:pt>
                <c:pt idx="17">
                  <c:v>0.008568</c:v>
                </c:pt>
                <c:pt idx="18">
                  <c:v>0.009072</c:v>
                </c:pt>
                <c:pt idx="19">
                  <c:v>0.009576</c:v>
                </c:pt>
                <c:pt idx="20">
                  <c:v>0.01008</c:v>
                </c:pt>
                <c:pt idx="21">
                  <c:v>0.010584</c:v>
                </c:pt>
                <c:pt idx="22">
                  <c:v>0.011088</c:v>
                </c:pt>
                <c:pt idx="23">
                  <c:v>0.011592</c:v>
                </c:pt>
                <c:pt idx="24">
                  <c:v>0.012096</c:v>
                </c:pt>
                <c:pt idx="25">
                  <c:v>0.0126</c:v>
                </c:pt>
                <c:pt idx="26">
                  <c:v>0.013104</c:v>
                </c:pt>
                <c:pt idx="27">
                  <c:v>0.013608</c:v>
                </c:pt>
                <c:pt idx="28">
                  <c:v>0.014112</c:v>
                </c:pt>
                <c:pt idx="29">
                  <c:v>0.014616</c:v>
                </c:pt>
                <c:pt idx="30">
                  <c:v>0.01512</c:v>
                </c:pt>
                <c:pt idx="31">
                  <c:v>0.015624</c:v>
                </c:pt>
                <c:pt idx="32">
                  <c:v>0.016128</c:v>
                </c:pt>
                <c:pt idx="33">
                  <c:v>0.016632</c:v>
                </c:pt>
                <c:pt idx="34">
                  <c:v>0.017136</c:v>
                </c:pt>
                <c:pt idx="35">
                  <c:v>0.01764</c:v>
                </c:pt>
                <c:pt idx="36">
                  <c:v>0.018144</c:v>
                </c:pt>
                <c:pt idx="37">
                  <c:v>0.018648</c:v>
                </c:pt>
                <c:pt idx="38">
                  <c:v>0.019152</c:v>
                </c:pt>
                <c:pt idx="39">
                  <c:v>0.019656</c:v>
                </c:pt>
                <c:pt idx="40">
                  <c:v>0.02016</c:v>
                </c:pt>
                <c:pt idx="41">
                  <c:v>0.020664</c:v>
                </c:pt>
                <c:pt idx="42">
                  <c:v>0.021168</c:v>
                </c:pt>
                <c:pt idx="43">
                  <c:v>0.021672</c:v>
                </c:pt>
                <c:pt idx="44">
                  <c:v>0.022176</c:v>
                </c:pt>
                <c:pt idx="45">
                  <c:v>0.02268</c:v>
                </c:pt>
                <c:pt idx="46">
                  <c:v>0.023184</c:v>
                </c:pt>
                <c:pt idx="47">
                  <c:v>0.023688</c:v>
                </c:pt>
                <c:pt idx="48">
                  <c:v>0.024192</c:v>
                </c:pt>
                <c:pt idx="49">
                  <c:v>0.024696</c:v>
                </c:pt>
                <c:pt idx="50">
                  <c:v>0.0252</c:v>
                </c:pt>
                <c:pt idx="51">
                  <c:v>0.025704</c:v>
                </c:pt>
                <c:pt idx="52">
                  <c:v>0.026208</c:v>
                </c:pt>
                <c:pt idx="53">
                  <c:v>0.026712</c:v>
                </c:pt>
                <c:pt idx="54">
                  <c:v>0.027216</c:v>
                </c:pt>
                <c:pt idx="55">
                  <c:v>0.02772</c:v>
                </c:pt>
                <c:pt idx="56">
                  <c:v>0.028224</c:v>
                </c:pt>
                <c:pt idx="57">
                  <c:v>0.028728</c:v>
                </c:pt>
                <c:pt idx="58">
                  <c:v>0.029232</c:v>
                </c:pt>
                <c:pt idx="59">
                  <c:v>0.029736</c:v>
                </c:pt>
                <c:pt idx="60">
                  <c:v>0.03024</c:v>
                </c:pt>
                <c:pt idx="61">
                  <c:v>0.030744</c:v>
                </c:pt>
                <c:pt idx="62">
                  <c:v>0.031248</c:v>
                </c:pt>
                <c:pt idx="63">
                  <c:v>0.031752</c:v>
                </c:pt>
                <c:pt idx="64">
                  <c:v>0.032256</c:v>
                </c:pt>
                <c:pt idx="65">
                  <c:v>0.03276</c:v>
                </c:pt>
                <c:pt idx="66">
                  <c:v>0.033264</c:v>
                </c:pt>
                <c:pt idx="67">
                  <c:v>0.033768</c:v>
                </c:pt>
                <c:pt idx="68">
                  <c:v>0.034272</c:v>
                </c:pt>
                <c:pt idx="69">
                  <c:v>0.034776</c:v>
                </c:pt>
                <c:pt idx="70">
                  <c:v>0.03528</c:v>
                </c:pt>
                <c:pt idx="71">
                  <c:v>0.035784</c:v>
                </c:pt>
                <c:pt idx="72">
                  <c:v>0.036288</c:v>
                </c:pt>
                <c:pt idx="73">
                  <c:v>0.036792</c:v>
                </c:pt>
                <c:pt idx="74">
                  <c:v>0.037296</c:v>
                </c:pt>
                <c:pt idx="75">
                  <c:v>0.0378</c:v>
                </c:pt>
                <c:pt idx="76">
                  <c:v>0.038304</c:v>
                </c:pt>
                <c:pt idx="77">
                  <c:v>0.038808</c:v>
                </c:pt>
                <c:pt idx="78">
                  <c:v>0.039312</c:v>
                </c:pt>
                <c:pt idx="79">
                  <c:v>0.039816</c:v>
                </c:pt>
                <c:pt idx="80">
                  <c:v>0.04032</c:v>
                </c:pt>
                <c:pt idx="81">
                  <c:v>0.040824</c:v>
                </c:pt>
                <c:pt idx="82">
                  <c:v>0.041328</c:v>
                </c:pt>
                <c:pt idx="83">
                  <c:v>0.041832</c:v>
                </c:pt>
                <c:pt idx="84">
                  <c:v>0.042336</c:v>
                </c:pt>
                <c:pt idx="85">
                  <c:v>0.04284</c:v>
                </c:pt>
                <c:pt idx="86">
                  <c:v>0.043344</c:v>
                </c:pt>
                <c:pt idx="87">
                  <c:v>0.043848</c:v>
                </c:pt>
                <c:pt idx="88">
                  <c:v>0.044352</c:v>
                </c:pt>
                <c:pt idx="89">
                  <c:v>0.044856</c:v>
                </c:pt>
                <c:pt idx="90">
                  <c:v>0.04536</c:v>
                </c:pt>
                <c:pt idx="91">
                  <c:v>0.045864</c:v>
                </c:pt>
                <c:pt idx="92">
                  <c:v>0.046368</c:v>
                </c:pt>
                <c:pt idx="93">
                  <c:v>0.046872</c:v>
                </c:pt>
                <c:pt idx="94">
                  <c:v>0.047376</c:v>
                </c:pt>
                <c:pt idx="95">
                  <c:v>0.04788</c:v>
                </c:pt>
                <c:pt idx="96">
                  <c:v>0.048384</c:v>
                </c:pt>
                <c:pt idx="97">
                  <c:v>0.048888</c:v>
                </c:pt>
                <c:pt idx="98">
                  <c:v>0.049392</c:v>
                </c:pt>
                <c:pt idx="99">
                  <c:v>0.049896</c:v>
                </c:pt>
                <c:pt idx="100">
                  <c:v>0.0504</c:v>
                </c:pt>
                <c:pt idx="101">
                  <c:v>0.050904</c:v>
                </c:pt>
                <c:pt idx="102">
                  <c:v>0.051408</c:v>
                </c:pt>
                <c:pt idx="103">
                  <c:v>0.051912</c:v>
                </c:pt>
                <c:pt idx="104">
                  <c:v>0.052416</c:v>
                </c:pt>
                <c:pt idx="105">
                  <c:v>0.05292</c:v>
                </c:pt>
                <c:pt idx="106">
                  <c:v>0.053424</c:v>
                </c:pt>
                <c:pt idx="107">
                  <c:v>0.053928</c:v>
                </c:pt>
                <c:pt idx="108">
                  <c:v>0.054432</c:v>
                </c:pt>
                <c:pt idx="109">
                  <c:v>0.054936</c:v>
                </c:pt>
                <c:pt idx="110">
                  <c:v>0.05544</c:v>
                </c:pt>
                <c:pt idx="111">
                  <c:v>0.055944</c:v>
                </c:pt>
                <c:pt idx="112">
                  <c:v>0.056448</c:v>
                </c:pt>
                <c:pt idx="113">
                  <c:v>0.056952</c:v>
                </c:pt>
                <c:pt idx="114">
                  <c:v>0.057456</c:v>
                </c:pt>
                <c:pt idx="115">
                  <c:v>0.05796</c:v>
                </c:pt>
                <c:pt idx="116">
                  <c:v>0.058464</c:v>
                </c:pt>
                <c:pt idx="117">
                  <c:v>0.058968</c:v>
                </c:pt>
                <c:pt idx="118">
                  <c:v>0.059472</c:v>
                </c:pt>
                <c:pt idx="119">
                  <c:v>0.059976</c:v>
                </c:pt>
                <c:pt idx="120">
                  <c:v>0.06048</c:v>
                </c:pt>
                <c:pt idx="121">
                  <c:v>0.060984</c:v>
                </c:pt>
                <c:pt idx="122">
                  <c:v>0.061488</c:v>
                </c:pt>
                <c:pt idx="123">
                  <c:v>0.061992</c:v>
                </c:pt>
                <c:pt idx="124">
                  <c:v>0.062496</c:v>
                </c:pt>
                <c:pt idx="125">
                  <c:v>0.063</c:v>
                </c:pt>
                <c:pt idx="126">
                  <c:v>0.063504</c:v>
                </c:pt>
                <c:pt idx="127">
                  <c:v>0.064008</c:v>
                </c:pt>
                <c:pt idx="128">
                  <c:v>0.064512</c:v>
                </c:pt>
                <c:pt idx="129">
                  <c:v>0.065016</c:v>
                </c:pt>
                <c:pt idx="130">
                  <c:v>0.06552</c:v>
                </c:pt>
                <c:pt idx="131">
                  <c:v>0.066024</c:v>
                </c:pt>
                <c:pt idx="132">
                  <c:v>0.066528</c:v>
                </c:pt>
                <c:pt idx="133">
                  <c:v>0.067032</c:v>
                </c:pt>
                <c:pt idx="134">
                  <c:v>0.067536</c:v>
                </c:pt>
                <c:pt idx="135">
                  <c:v>0.06804</c:v>
                </c:pt>
                <c:pt idx="136">
                  <c:v>0.068544</c:v>
                </c:pt>
                <c:pt idx="137">
                  <c:v>0.069048</c:v>
                </c:pt>
                <c:pt idx="138">
                  <c:v>0.069552</c:v>
                </c:pt>
                <c:pt idx="139">
                  <c:v>0.070056</c:v>
                </c:pt>
                <c:pt idx="140">
                  <c:v>0.07056</c:v>
                </c:pt>
                <c:pt idx="141">
                  <c:v>0.071064</c:v>
                </c:pt>
                <c:pt idx="142">
                  <c:v>0.071568</c:v>
                </c:pt>
                <c:pt idx="143">
                  <c:v>0.072072</c:v>
                </c:pt>
                <c:pt idx="144">
                  <c:v>0.072576</c:v>
                </c:pt>
                <c:pt idx="145">
                  <c:v>0.07308</c:v>
                </c:pt>
                <c:pt idx="146">
                  <c:v>0.073584</c:v>
                </c:pt>
                <c:pt idx="147">
                  <c:v>0.074088</c:v>
                </c:pt>
                <c:pt idx="148">
                  <c:v>0.074592</c:v>
                </c:pt>
                <c:pt idx="149">
                  <c:v>0.075096</c:v>
                </c:pt>
                <c:pt idx="150">
                  <c:v>0.0756</c:v>
                </c:pt>
                <c:pt idx="151">
                  <c:v>0.076104</c:v>
                </c:pt>
                <c:pt idx="152">
                  <c:v>0.076608</c:v>
                </c:pt>
                <c:pt idx="153">
                  <c:v>0.077112</c:v>
                </c:pt>
                <c:pt idx="154">
                  <c:v>0.077616</c:v>
                </c:pt>
                <c:pt idx="155">
                  <c:v>0.07812</c:v>
                </c:pt>
                <c:pt idx="156">
                  <c:v>0.078624</c:v>
                </c:pt>
                <c:pt idx="157">
                  <c:v>0.079128</c:v>
                </c:pt>
                <c:pt idx="158">
                  <c:v>0.079632</c:v>
                </c:pt>
                <c:pt idx="159">
                  <c:v>0.080136</c:v>
                </c:pt>
                <c:pt idx="160">
                  <c:v>0.08064</c:v>
                </c:pt>
                <c:pt idx="161">
                  <c:v>0.081144</c:v>
                </c:pt>
                <c:pt idx="162">
                  <c:v>0.081648</c:v>
                </c:pt>
                <c:pt idx="163">
                  <c:v>0.082152</c:v>
                </c:pt>
                <c:pt idx="164">
                  <c:v>0.082656</c:v>
                </c:pt>
                <c:pt idx="165">
                  <c:v>0.08316</c:v>
                </c:pt>
                <c:pt idx="166">
                  <c:v>0.083664</c:v>
                </c:pt>
                <c:pt idx="167">
                  <c:v>0.084168</c:v>
                </c:pt>
                <c:pt idx="168">
                  <c:v>0.084672</c:v>
                </c:pt>
                <c:pt idx="169">
                  <c:v>0.085176</c:v>
                </c:pt>
                <c:pt idx="170">
                  <c:v>0.08568</c:v>
                </c:pt>
                <c:pt idx="171">
                  <c:v>0.086184</c:v>
                </c:pt>
                <c:pt idx="172">
                  <c:v>0.086688</c:v>
                </c:pt>
                <c:pt idx="173">
                  <c:v>0.087192</c:v>
                </c:pt>
                <c:pt idx="174">
                  <c:v>0.087696</c:v>
                </c:pt>
                <c:pt idx="175">
                  <c:v>0.0882</c:v>
                </c:pt>
                <c:pt idx="176">
                  <c:v>0.088704</c:v>
                </c:pt>
                <c:pt idx="177">
                  <c:v>0.089208</c:v>
                </c:pt>
                <c:pt idx="178">
                  <c:v>0.089712</c:v>
                </c:pt>
                <c:pt idx="179">
                  <c:v>0.090216</c:v>
                </c:pt>
                <c:pt idx="180">
                  <c:v>0.09072</c:v>
                </c:pt>
                <c:pt idx="181">
                  <c:v>0.091224</c:v>
                </c:pt>
                <c:pt idx="182">
                  <c:v>0.091728</c:v>
                </c:pt>
                <c:pt idx="183">
                  <c:v>0.092232</c:v>
                </c:pt>
                <c:pt idx="184">
                  <c:v>0.092736</c:v>
                </c:pt>
                <c:pt idx="185">
                  <c:v>0.09324</c:v>
                </c:pt>
                <c:pt idx="186">
                  <c:v>0.093744</c:v>
                </c:pt>
                <c:pt idx="187">
                  <c:v>0.094248</c:v>
                </c:pt>
                <c:pt idx="188">
                  <c:v>0.094752</c:v>
                </c:pt>
                <c:pt idx="189">
                  <c:v>0.095256</c:v>
                </c:pt>
                <c:pt idx="190">
                  <c:v>0.09576</c:v>
                </c:pt>
                <c:pt idx="191">
                  <c:v>0.096264</c:v>
                </c:pt>
                <c:pt idx="192">
                  <c:v>0.096768</c:v>
                </c:pt>
                <c:pt idx="193">
                  <c:v>0.097272</c:v>
                </c:pt>
                <c:pt idx="194">
                  <c:v>0.097776</c:v>
                </c:pt>
                <c:pt idx="195">
                  <c:v>0.09828</c:v>
                </c:pt>
                <c:pt idx="196">
                  <c:v>0.098784</c:v>
                </c:pt>
                <c:pt idx="197">
                  <c:v>0.099288</c:v>
                </c:pt>
                <c:pt idx="198">
                  <c:v>0.099792</c:v>
                </c:pt>
                <c:pt idx="199">
                  <c:v>0.100296</c:v>
                </c:pt>
                <c:pt idx="200">
                  <c:v>0.1008</c:v>
                </c:pt>
                <c:pt idx="201">
                  <c:v>0.101304</c:v>
                </c:pt>
                <c:pt idx="202">
                  <c:v>0.101808</c:v>
                </c:pt>
                <c:pt idx="203">
                  <c:v>0.102312</c:v>
                </c:pt>
                <c:pt idx="204">
                  <c:v>0.102816</c:v>
                </c:pt>
                <c:pt idx="205">
                  <c:v>0.10332</c:v>
                </c:pt>
                <c:pt idx="206">
                  <c:v>0.103824</c:v>
                </c:pt>
                <c:pt idx="207">
                  <c:v>0.104328</c:v>
                </c:pt>
                <c:pt idx="208">
                  <c:v>0.104832</c:v>
                </c:pt>
                <c:pt idx="209">
                  <c:v>0.105336</c:v>
                </c:pt>
                <c:pt idx="210">
                  <c:v>0.10584</c:v>
                </c:pt>
                <c:pt idx="211">
                  <c:v>0.106344</c:v>
                </c:pt>
                <c:pt idx="212">
                  <c:v>0.106848</c:v>
                </c:pt>
                <c:pt idx="213">
                  <c:v>0.107352</c:v>
                </c:pt>
                <c:pt idx="214">
                  <c:v>0.107856</c:v>
                </c:pt>
                <c:pt idx="215">
                  <c:v>0.10836</c:v>
                </c:pt>
                <c:pt idx="216">
                  <c:v>0.108864</c:v>
                </c:pt>
                <c:pt idx="217">
                  <c:v>0.109368</c:v>
                </c:pt>
                <c:pt idx="218">
                  <c:v>0.109872</c:v>
                </c:pt>
                <c:pt idx="219">
                  <c:v>0.110376</c:v>
                </c:pt>
                <c:pt idx="220">
                  <c:v>0.11088</c:v>
                </c:pt>
                <c:pt idx="221">
                  <c:v>0.111384</c:v>
                </c:pt>
                <c:pt idx="222">
                  <c:v>0.111888</c:v>
                </c:pt>
                <c:pt idx="223">
                  <c:v>0.112392</c:v>
                </c:pt>
                <c:pt idx="224">
                  <c:v>0.112896</c:v>
                </c:pt>
                <c:pt idx="225">
                  <c:v>0.1134</c:v>
                </c:pt>
                <c:pt idx="226">
                  <c:v>0.113904</c:v>
                </c:pt>
                <c:pt idx="227">
                  <c:v>0.114408</c:v>
                </c:pt>
                <c:pt idx="228">
                  <c:v>0.114912</c:v>
                </c:pt>
                <c:pt idx="229">
                  <c:v>0.115416</c:v>
                </c:pt>
                <c:pt idx="230">
                  <c:v>0.11592</c:v>
                </c:pt>
                <c:pt idx="231">
                  <c:v>0.116424</c:v>
                </c:pt>
                <c:pt idx="232">
                  <c:v>0.116928</c:v>
                </c:pt>
                <c:pt idx="233">
                  <c:v>0.117432</c:v>
                </c:pt>
                <c:pt idx="234">
                  <c:v>0.117936</c:v>
                </c:pt>
                <c:pt idx="235">
                  <c:v>0.11844</c:v>
                </c:pt>
                <c:pt idx="236">
                  <c:v>0.118944</c:v>
                </c:pt>
                <c:pt idx="237">
                  <c:v>0.119448</c:v>
                </c:pt>
                <c:pt idx="238">
                  <c:v>0.119952</c:v>
                </c:pt>
                <c:pt idx="239">
                  <c:v>0.120456</c:v>
                </c:pt>
                <c:pt idx="240">
                  <c:v>0.12096</c:v>
                </c:pt>
                <c:pt idx="241">
                  <c:v>0.121464</c:v>
                </c:pt>
                <c:pt idx="242">
                  <c:v>0.121968</c:v>
                </c:pt>
                <c:pt idx="243">
                  <c:v>0.122472</c:v>
                </c:pt>
                <c:pt idx="244">
                  <c:v>0.122976</c:v>
                </c:pt>
                <c:pt idx="245">
                  <c:v>0.12348</c:v>
                </c:pt>
                <c:pt idx="246">
                  <c:v>0.123984</c:v>
                </c:pt>
                <c:pt idx="247">
                  <c:v>0.124488</c:v>
                </c:pt>
                <c:pt idx="248">
                  <c:v>0.124992</c:v>
                </c:pt>
                <c:pt idx="249">
                  <c:v>0.125496</c:v>
                </c:pt>
                <c:pt idx="250">
                  <c:v>0.126</c:v>
                </c:pt>
                <c:pt idx="251">
                  <c:v>0.126504</c:v>
                </c:pt>
                <c:pt idx="252">
                  <c:v>0.127008</c:v>
                </c:pt>
                <c:pt idx="253">
                  <c:v>0.127512</c:v>
                </c:pt>
                <c:pt idx="254">
                  <c:v>0.128016</c:v>
                </c:pt>
                <c:pt idx="255">
                  <c:v>0.12852</c:v>
                </c:pt>
                <c:pt idx="256">
                  <c:v>0.129024</c:v>
                </c:pt>
                <c:pt idx="257">
                  <c:v>0.129528</c:v>
                </c:pt>
                <c:pt idx="258">
                  <c:v>0.130032</c:v>
                </c:pt>
                <c:pt idx="259">
                  <c:v>0.130536</c:v>
                </c:pt>
                <c:pt idx="260">
                  <c:v>0.13104</c:v>
                </c:pt>
                <c:pt idx="261">
                  <c:v>0.131544</c:v>
                </c:pt>
                <c:pt idx="262">
                  <c:v>0.132048</c:v>
                </c:pt>
                <c:pt idx="263">
                  <c:v>0.132552</c:v>
                </c:pt>
                <c:pt idx="264">
                  <c:v>0.133056</c:v>
                </c:pt>
                <c:pt idx="265">
                  <c:v>0.13356</c:v>
                </c:pt>
                <c:pt idx="266">
                  <c:v>0.134064</c:v>
                </c:pt>
                <c:pt idx="267">
                  <c:v>0.134568</c:v>
                </c:pt>
                <c:pt idx="268">
                  <c:v>0.135072</c:v>
                </c:pt>
                <c:pt idx="269">
                  <c:v>0.135576</c:v>
                </c:pt>
                <c:pt idx="270">
                  <c:v>0.13608</c:v>
                </c:pt>
                <c:pt idx="271">
                  <c:v>0.136584</c:v>
                </c:pt>
                <c:pt idx="272">
                  <c:v>0.137088</c:v>
                </c:pt>
                <c:pt idx="273">
                  <c:v>0.137592</c:v>
                </c:pt>
                <c:pt idx="274">
                  <c:v>0.138096</c:v>
                </c:pt>
                <c:pt idx="275">
                  <c:v>0.1386</c:v>
                </c:pt>
                <c:pt idx="276">
                  <c:v>0.139104</c:v>
                </c:pt>
                <c:pt idx="277">
                  <c:v>0.139608</c:v>
                </c:pt>
                <c:pt idx="278">
                  <c:v>0.140112</c:v>
                </c:pt>
                <c:pt idx="279">
                  <c:v>0.140616</c:v>
                </c:pt>
                <c:pt idx="280">
                  <c:v>0.14112</c:v>
                </c:pt>
                <c:pt idx="281">
                  <c:v>0.141624</c:v>
                </c:pt>
                <c:pt idx="282">
                  <c:v>0.142128</c:v>
                </c:pt>
                <c:pt idx="283">
                  <c:v>0.142632</c:v>
                </c:pt>
                <c:pt idx="284">
                  <c:v>0.143136</c:v>
                </c:pt>
                <c:pt idx="285">
                  <c:v>0.14364</c:v>
                </c:pt>
                <c:pt idx="286">
                  <c:v>0.144144</c:v>
                </c:pt>
                <c:pt idx="287">
                  <c:v>0.144648</c:v>
                </c:pt>
                <c:pt idx="288">
                  <c:v>0.145152</c:v>
                </c:pt>
                <c:pt idx="289">
                  <c:v>0.145656</c:v>
                </c:pt>
                <c:pt idx="290">
                  <c:v>0.14616</c:v>
                </c:pt>
                <c:pt idx="291">
                  <c:v>0.146664</c:v>
                </c:pt>
                <c:pt idx="292">
                  <c:v>0.147168</c:v>
                </c:pt>
                <c:pt idx="293">
                  <c:v>0.147672</c:v>
                </c:pt>
                <c:pt idx="294">
                  <c:v>0.148176</c:v>
                </c:pt>
                <c:pt idx="295">
                  <c:v>0.14868</c:v>
                </c:pt>
                <c:pt idx="296">
                  <c:v>0.149184</c:v>
                </c:pt>
                <c:pt idx="297">
                  <c:v>0.149688</c:v>
                </c:pt>
                <c:pt idx="298">
                  <c:v>0.150192</c:v>
                </c:pt>
                <c:pt idx="299">
                  <c:v>0.150696</c:v>
                </c:pt>
                <c:pt idx="300">
                  <c:v>0.1512</c:v>
                </c:pt>
                <c:pt idx="301">
                  <c:v>0.151704</c:v>
                </c:pt>
                <c:pt idx="302">
                  <c:v>0.152208</c:v>
                </c:pt>
                <c:pt idx="303">
                  <c:v>0.152712</c:v>
                </c:pt>
                <c:pt idx="304">
                  <c:v>0.153216</c:v>
                </c:pt>
                <c:pt idx="305">
                  <c:v>0.15372</c:v>
                </c:pt>
                <c:pt idx="306">
                  <c:v>0.154224</c:v>
                </c:pt>
                <c:pt idx="307">
                  <c:v>0.154728</c:v>
                </c:pt>
                <c:pt idx="308">
                  <c:v>0.155232</c:v>
                </c:pt>
                <c:pt idx="309">
                  <c:v>0.155736</c:v>
                </c:pt>
                <c:pt idx="310">
                  <c:v>0.15624</c:v>
                </c:pt>
                <c:pt idx="311">
                  <c:v>0.156744</c:v>
                </c:pt>
                <c:pt idx="312">
                  <c:v>0.157248</c:v>
                </c:pt>
                <c:pt idx="313">
                  <c:v>0.157752</c:v>
                </c:pt>
                <c:pt idx="314">
                  <c:v>0.158256</c:v>
                </c:pt>
                <c:pt idx="315">
                  <c:v>0.15876</c:v>
                </c:pt>
                <c:pt idx="316">
                  <c:v>0.159264</c:v>
                </c:pt>
                <c:pt idx="317">
                  <c:v>0.159768</c:v>
                </c:pt>
                <c:pt idx="318">
                  <c:v>0.160272</c:v>
                </c:pt>
                <c:pt idx="319">
                  <c:v>0.160776</c:v>
                </c:pt>
                <c:pt idx="320">
                  <c:v>0.16128</c:v>
                </c:pt>
                <c:pt idx="321">
                  <c:v>0.161784</c:v>
                </c:pt>
                <c:pt idx="322">
                  <c:v>0.162288</c:v>
                </c:pt>
                <c:pt idx="323">
                  <c:v>0.162792</c:v>
                </c:pt>
                <c:pt idx="324">
                  <c:v>0.163296</c:v>
                </c:pt>
                <c:pt idx="325">
                  <c:v>0.1638</c:v>
                </c:pt>
                <c:pt idx="326">
                  <c:v>0.164304</c:v>
                </c:pt>
                <c:pt idx="327">
                  <c:v>0.164808</c:v>
                </c:pt>
                <c:pt idx="328">
                  <c:v>0.165312</c:v>
                </c:pt>
                <c:pt idx="329">
                  <c:v>0.165816</c:v>
                </c:pt>
                <c:pt idx="330">
                  <c:v>0.16632</c:v>
                </c:pt>
                <c:pt idx="331">
                  <c:v>0.166824</c:v>
                </c:pt>
                <c:pt idx="332">
                  <c:v>0.167328</c:v>
                </c:pt>
                <c:pt idx="333">
                  <c:v>0.167832</c:v>
                </c:pt>
                <c:pt idx="334">
                  <c:v>0.168336</c:v>
                </c:pt>
                <c:pt idx="335">
                  <c:v>0.16884</c:v>
                </c:pt>
                <c:pt idx="336">
                  <c:v>0.169344</c:v>
                </c:pt>
                <c:pt idx="337">
                  <c:v>0.169848</c:v>
                </c:pt>
                <c:pt idx="338">
                  <c:v>0.170352</c:v>
                </c:pt>
                <c:pt idx="339">
                  <c:v>0.170856</c:v>
                </c:pt>
                <c:pt idx="340">
                  <c:v>0.17136</c:v>
                </c:pt>
                <c:pt idx="341">
                  <c:v>0.171864</c:v>
                </c:pt>
                <c:pt idx="342">
                  <c:v>0.172368</c:v>
                </c:pt>
                <c:pt idx="343">
                  <c:v>0.172872</c:v>
                </c:pt>
                <c:pt idx="344">
                  <c:v>0.173376</c:v>
                </c:pt>
                <c:pt idx="345">
                  <c:v>0.17388</c:v>
                </c:pt>
                <c:pt idx="346">
                  <c:v>0.174384</c:v>
                </c:pt>
                <c:pt idx="347">
                  <c:v>0.174888</c:v>
                </c:pt>
                <c:pt idx="348">
                  <c:v>0.175392</c:v>
                </c:pt>
                <c:pt idx="349">
                  <c:v>0.175896</c:v>
                </c:pt>
                <c:pt idx="350">
                  <c:v>0.1764</c:v>
                </c:pt>
                <c:pt idx="351">
                  <c:v>0.176904</c:v>
                </c:pt>
                <c:pt idx="352">
                  <c:v>0.177408</c:v>
                </c:pt>
                <c:pt idx="353">
                  <c:v>0.177912</c:v>
                </c:pt>
                <c:pt idx="354">
                  <c:v>0.178416</c:v>
                </c:pt>
                <c:pt idx="355">
                  <c:v>0.17892</c:v>
                </c:pt>
                <c:pt idx="356">
                  <c:v>0.179424</c:v>
                </c:pt>
                <c:pt idx="357">
                  <c:v>0.179928</c:v>
                </c:pt>
                <c:pt idx="358">
                  <c:v>0.180432</c:v>
                </c:pt>
                <c:pt idx="359">
                  <c:v>0.180936</c:v>
                </c:pt>
                <c:pt idx="360">
                  <c:v>0.18144</c:v>
                </c:pt>
                <c:pt idx="361">
                  <c:v>0.181944</c:v>
                </c:pt>
                <c:pt idx="362">
                  <c:v>0.182448</c:v>
                </c:pt>
                <c:pt idx="363">
                  <c:v>0.182952</c:v>
                </c:pt>
                <c:pt idx="364">
                  <c:v>0.183456</c:v>
                </c:pt>
                <c:pt idx="365">
                  <c:v>0.18396</c:v>
                </c:pt>
                <c:pt idx="366">
                  <c:v>0.184464</c:v>
                </c:pt>
                <c:pt idx="367">
                  <c:v>0.184968</c:v>
                </c:pt>
                <c:pt idx="368">
                  <c:v>0.185472</c:v>
                </c:pt>
                <c:pt idx="369">
                  <c:v>0.185976</c:v>
                </c:pt>
                <c:pt idx="370">
                  <c:v>0.18648</c:v>
                </c:pt>
                <c:pt idx="371">
                  <c:v>0.186984</c:v>
                </c:pt>
                <c:pt idx="372">
                  <c:v>0.187488</c:v>
                </c:pt>
                <c:pt idx="373">
                  <c:v>0.187992</c:v>
                </c:pt>
                <c:pt idx="374">
                  <c:v>0.188496</c:v>
                </c:pt>
                <c:pt idx="375">
                  <c:v>0.189</c:v>
                </c:pt>
                <c:pt idx="376">
                  <c:v>0.189504</c:v>
                </c:pt>
                <c:pt idx="377">
                  <c:v>0.190008</c:v>
                </c:pt>
                <c:pt idx="378">
                  <c:v>0.190512</c:v>
                </c:pt>
                <c:pt idx="379">
                  <c:v>0.191016</c:v>
                </c:pt>
                <c:pt idx="380">
                  <c:v>0.19152</c:v>
                </c:pt>
                <c:pt idx="381">
                  <c:v>0.192024</c:v>
                </c:pt>
                <c:pt idx="382">
                  <c:v>0.192528</c:v>
                </c:pt>
                <c:pt idx="383">
                  <c:v>0.193032</c:v>
                </c:pt>
                <c:pt idx="384">
                  <c:v>0.193536</c:v>
                </c:pt>
                <c:pt idx="385">
                  <c:v>0.19404</c:v>
                </c:pt>
                <c:pt idx="386">
                  <c:v>0.194544</c:v>
                </c:pt>
                <c:pt idx="387">
                  <c:v>0.195048</c:v>
                </c:pt>
                <c:pt idx="388">
                  <c:v>0.195552</c:v>
                </c:pt>
                <c:pt idx="389">
                  <c:v>0.196056</c:v>
                </c:pt>
                <c:pt idx="390">
                  <c:v>0.19656</c:v>
                </c:pt>
                <c:pt idx="391">
                  <c:v>0.197064</c:v>
                </c:pt>
                <c:pt idx="392">
                  <c:v>0.197568</c:v>
                </c:pt>
                <c:pt idx="393">
                  <c:v>0.198072</c:v>
                </c:pt>
                <c:pt idx="394">
                  <c:v>0.198576</c:v>
                </c:pt>
                <c:pt idx="395">
                  <c:v>0.19908</c:v>
                </c:pt>
                <c:pt idx="396">
                  <c:v>0.199584</c:v>
                </c:pt>
                <c:pt idx="397">
                  <c:v>0.200088</c:v>
                </c:pt>
                <c:pt idx="398">
                  <c:v>0.200592</c:v>
                </c:pt>
                <c:pt idx="399">
                  <c:v>0.201096</c:v>
                </c:pt>
                <c:pt idx="400">
                  <c:v>0.2016</c:v>
                </c:pt>
                <c:pt idx="401">
                  <c:v>0.202104</c:v>
                </c:pt>
                <c:pt idx="402">
                  <c:v>0.202608</c:v>
                </c:pt>
                <c:pt idx="403">
                  <c:v>0.203112</c:v>
                </c:pt>
                <c:pt idx="404">
                  <c:v>0.203616</c:v>
                </c:pt>
                <c:pt idx="405">
                  <c:v>0.20412</c:v>
                </c:pt>
                <c:pt idx="406">
                  <c:v>0.204624</c:v>
                </c:pt>
                <c:pt idx="407">
                  <c:v>0.205128</c:v>
                </c:pt>
                <c:pt idx="408">
                  <c:v>0.205632</c:v>
                </c:pt>
                <c:pt idx="409">
                  <c:v>0.206136</c:v>
                </c:pt>
                <c:pt idx="410">
                  <c:v>0.20664</c:v>
                </c:pt>
                <c:pt idx="411">
                  <c:v>0.207144</c:v>
                </c:pt>
                <c:pt idx="412">
                  <c:v>0.207648</c:v>
                </c:pt>
                <c:pt idx="413">
                  <c:v>0.208152</c:v>
                </c:pt>
                <c:pt idx="414">
                  <c:v>0.208656</c:v>
                </c:pt>
                <c:pt idx="415">
                  <c:v>0.20916</c:v>
                </c:pt>
                <c:pt idx="416">
                  <c:v>0.209664</c:v>
                </c:pt>
                <c:pt idx="417">
                  <c:v>0.210168</c:v>
                </c:pt>
                <c:pt idx="418">
                  <c:v>0.210672</c:v>
                </c:pt>
                <c:pt idx="419">
                  <c:v>0.211176</c:v>
                </c:pt>
                <c:pt idx="420">
                  <c:v>0.21168</c:v>
                </c:pt>
                <c:pt idx="421">
                  <c:v>0.212184</c:v>
                </c:pt>
                <c:pt idx="422">
                  <c:v>0.212688</c:v>
                </c:pt>
                <c:pt idx="423">
                  <c:v>0.213192</c:v>
                </c:pt>
                <c:pt idx="424">
                  <c:v>0.213696</c:v>
                </c:pt>
                <c:pt idx="425">
                  <c:v>0.2142</c:v>
                </c:pt>
                <c:pt idx="426">
                  <c:v>0.214704</c:v>
                </c:pt>
                <c:pt idx="427">
                  <c:v>0.215208</c:v>
                </c:pt>
                <c:pt idx="428">
                  <c:v>0.215712</c:v>
                </c:pt>
                <c:pt idx="429">
                  <c:v>0.216216</c:v>
                </c:pt>
                <c:pt idx="430">
                  <c:v>0.21672</c:v>
                </c:pt>
                <c:pt idx="431">
                  <c:v>0.217224</c:v>
                </c:pt>
                <c:pt idx="432">
                  <c:v>0.217728</c:v>
                </c:pt>
                <c:pt idx="433">
                  <c:v>0.218232</c:v>
                </c:pt>
                <c:pt idx="434">
                  <c:v>0.218736</c:v>
                </c:pt>
                <c:pt idx="435">
                  <c:v>0.21924</c:v>
                </c:pt>
                <c:pt idx="436">
                  <c:v>0.219744</c:v>
                </c:pt>
                <c:pt idx="437">
                  <c:v>0.220248</c:v>
                </c:pt>
                <c:pt idx="438">
                  <c:v>0.220752</c:v>
                </c:pt>
                <c:pt idx="439">
                  <c:v>0.221256</c:v>
                </c:pt>
                <c:pt idx="440">
                  <c:v>0.22176</c:v>
                </c:pt>
                <c:pt idx="441">
                  <c:v>0.222264</c:v>
                </c:pt>
                <c:pt idx="442">
                  <c:v>0.222768</c:v>
                </c:pt>
                <c:pt idx="443">
                  <c:v>0.223272</c:v>
                </c:pt>
                <c:pt idx="444">
                  <c:v>0.223776</c:v>
                </c:pt>
                <c:pt idx="445">
                  <c:v>0.22428</c:v>
                </c:pt>
                <c:pt idx="446">
                  <c:v>0.224784</c:v>
                </c:pt>
                <c:pt idx="447">
                  <c:v>0.225288</c:v>
                </c:pt>
                <c:pt idx="448">
                  <c:v>0.225792</c:v>
                </c:pt>
                <c:pt idx="449">
                  <c:v>0.226296</c:v>
                </c:pt>
                <c:pt idx="450">
                  <c:v>0.2268</c:v>
                </c:pt>
                <c:pt idx="451">
                  <c:v>0.227304</c:v>
                </c:pt>
                <c:pt idx="452">
                  <c:v>0.227808</c:v>
                </c:pt>
                <c:pt idx="453">
                  <c:v>0.228312</c:v>
                </c:pt>
                <c:pt idx="454">
                  <c:v>0.228816</c:v>
                </c:pt>
                <c:pt idx="455">
                  <c:v>0.22932</c:v>
                </c:pt>
                <c:pt idx="456">
                  <c:v>0.229824</c:v>
                </c:pt>
                <c:pt idx="457">
                  <c:v>0.230328</c:v>
                </c:pt>
                <c:pt idx="458">
                  <c:v>0.230832</c:v>
                </c:pt>
                <c:pt idx="459">
                  <c:v>0.231336</c:v>
                </c:pt>
                <c:pt idx="460">
                  <c:v>0.23184</c:v>
                </c:pt>
                <c:pt idx="461">
                  <c:v>0.232344</c:v>
                </c:pt>
                <c:pt idx="462">
                  <c:v>0.232848</c:v>
                </c:pt>
                <c:pt idx="463">
                  <c:v>0.233352</c:v>
                </c:pt>
                <c:pt idx="464">
                  <c:v>0.233856</c:v>
                </c:pt>
                <c:pt idx="465">
                  <c:v>0.23436</c:v>
                </c:pt>
                <c:pt idx="466">
                  <c:v>0.234864</c:v>
                </c:pt>
                <c:pt idx="467">
                  <c:v>0.235368</c:v>
                </c:pt>
                <c:pt idx="468">
                  <c:v>0.235872</c:v>
                </c:pt>
                <c:pt idx="469">
                  <c:v>0.236376</c:v>
                </c:pt>
                <c:pt idx="470">
                  <c:v>0.23688</c:v>
                </c:pt>
                <c:pt idx="471">
                  <c:v>0.237384</c:v>
                </c:pt>
                <c:pt idx="472">
                  <c:v>0.237888</c:v>
                </c:pt>
                <c:pt idx="473">
                  <c:v>0.238392</c:v>
                </c:pt>
                <c:pt idx="474">
                  <c:v>0.238896</c:v>
                </c:pt>
                <c:pt idx="475">
                  <c:v>0.2394</c:v>
                </c:pt>
                <c:pt idx="476">
                  <c:v>0.239904</c:v>
                </c:pt>
                <c:pt idx="477">
                  <c:v>0.240408</c:v>
                </c:pt>
                <c:pt idx="478">
                  <c:v>0.240912</c:v>
                </c:pt>
                <c:pt idx="479">
                  <c:v>0.241416</c:v>
                </c:pt>
                <c:pt idx="480">
                  <c:v>0.24192</c:v>
                </c:pt>
                <c:pt idx="481">
                  <c:v>0.242424</c:v>
                </c:pt>
                <c:pt idx="482">
                  <c:v>0.242928</c:v>
                </c:pt>
                <c:pt idx="483">
                  <c:v>0.243432</c:v>
                </c:pt>
                <c:pt idx="484">
                  <c:v>0.243936</c:v>
                </c:pt>
                <c:pt idx="485">
                  <c:v>0.24444</c:v>
                </c:pt>
                <c:pt idx="486">
                  <c:v>0.244944</c:v>
                </c:pt>
                <c:pt idx="487">
                  <c:v>0.245448</c:v>
                </c:pt>
                <c:pt idx="488">
                  <c:v>0.245952</c:v>
                </c:pt>
                <c:pt idx="489">
                  <c:v>0.246456</c:v>
                </c:pt>
                <c:pt idx="490">
                  <c:v>0.24696</c:v>
                </c:pt>
                <c:pt idx="491">
                  <c:v>0.247464</c:v>
                </c:pt>
                <c:pt idx="492">
                  <c:v>0.247968</c:v>
                </c:pt>
                <c:pt idx="493">
                  <c:v>0.248472</c:v>
                </c:pt>
                <c:pt idx="494">
                  <c:v>0.248976</c:v>
                </c:pt>
                <c:pt idx="495">
                  <c:v>0.24948</c:v>
                </c:pt>
                <c:pt idx="496">
                  <c:v>0.249984</c:v>
                </c:pt>
                <c:pt idx="497">
                  <c:v>0.250488</c:v>
                </c:pt>
                <c:pt idx="498">
                  <c:v>0.250992</c:v>
                </c:pt>
                <c:pt idx="499">
                  <c:v>0.251496</c:v>
                </c:pt>
                <c:pt idx="500">
                  <c:v>0.252</c:v>
                </c:pt>
                <c:pt idx="501">
                  <c:v>0.252504</c:v>
                </c:pt>
                <c:pt idx="502">
                  <c:v>0.253008</c:v>
                </c:pt>
                <c:pt idx="503">
                  <c:v>0.253512</c:v>
                </c:pt>
                <c:pt idx="504">
                  <c:v>0.254016</c:v>
                </c:pt>
                <c:pt idx="505">
                  <c:v>0.25452</c:v>
                </c:pt>
                <c:pt idx="506">
                  <c:v>0.255024</c:v>
                </c:pt>
                <c:pt idx="507">
                  <c:v>0.255528</c:v>
                </c:pt>
                <c:pt idx="508">
                  <c:v>0.256032</c:v>
                </c:pt>
                <c:pt idx="509">
                  <c:v>0.256536</c:v>
                </c:pt>
                <c:pt idx="510">
                  <c:v>0.25704</c:v>
                </c:pt>
                <c:pt idx="511">
                  <c:v>0.257544</c:v>
                </c:pt>
                <c:pt idx="512">
                  <c:v>0.258048</c:v>
                </c:pt>
                <c:pt idx="513">
                  <c:v>0.258552</c:v>
                </c:pt>
                <c:pt idx="514">
                  <c:v>0.259056</c:v>
                </c:pt>
                <c:pt idx="515">
                  <c:v>0.25956</c:v>
                </c:pt>
                <c:pt idx="516">
                  <c:v>0.260064</c:v>
                </c:pt>
                <c:pt idx="517">
                  <c:v>0.260568</c:v>
                </c:pt>
                <c:pt idx="518">
                  <c:v>0.261072</c:v>
                </c:pt>
                <c:pt idx="519">
                  <c:v>0.261576</c:v>
                </c:pt>
                <c:pt idx="520">
                  <c:v>0.26208</c:v>
                </c:pt>
                <c:pt idx="521">
                  <c:v>0.262584</c:v>
                </c:pt>
                <c:pt idx="522">
                  <c:v>0.263088</c:v>
                </c:pt>
                <c:pt idx="523">
                  <c:v>0.263592</c:v>
                </c:pt>
                <c:pt idx="524">
                  <c:v>0.264096</c:v>
                </c:pt>
                <c:pt idx="525">
                  <c:v>0.2646</c:v>
                </c:pt>
                <c:pt idx="526">
                  <c:v>0.265104</c:v>
                </c:pt>
                <c:pt idx="527">
                  <c:v>0.265608</c:v>
                </c:pt>
                <c:pt idx="528">
                  <c:v>0.266112</c:v>
                </c:pt>
                <c:pt idx="529">
                  <c:v>0.266616</c:v>
                </c:pt>
                <c:pt idx="530">
                  <c:v>0.26712</c:v>
                </c:pt>
                <c:pt idx="531">
                  <c:v>0.267624</c:v>
                </c:pt>
                <c:pt idx="532">
                  <c:v>0.268128</c:v>
                </c:pt>
                <c:pt idx="533">
                  <c:v>0.268632</c:v>
                </c:pt>
                <c:pt idx="534">
                  <c:v>0.269136</c:v>
                </c:pt>
                <c:pt idx="535">
                  <c:v>0.26964</c:v>
                </c:pt>
                <c:pt idx="536">
                  <c:v>0.270144</c:v>
                </c:pt>
                <c:pt idx="537">
                  <c:v>0.270648</c:v>
                </c:pt>
                <c:pt idx="538">
                  <c:v>0.271152</c:v>
                </c:pt>
                <c:pt idx="539">
                  <c:v>0.271656</c:v>
                </c:pt>
                <c:pt idx="540">
                  <c:v>0.27216</c:v>
                </c:pt>
                <c:pt idx="541">
                  <c:v>0.272664</c:v>
                </c:pt>
                <c:pt idx="542">
                  <c:v>0.273168</c:v>
                </c:pt>
                <c:pt idx="543">
                  <c:v>0.273672</c:v>
                </c:pt>
                <c:pt idx="544">
                  <c:v>0.274176</c:v>
                </c:pt>
                <c:pt idx="545">
                  <c:v>0.27468</c:v>
                </c:pt>
                <c:pt idx="546">
                  <c:v>0.275184</c:v>
                </c:pt>
                <c:pt idx="547">
                  <c:v>0.275688</c:v>
                </c:pt>
                <c:pt idx="548">
                  <c:v>0.276192</c:v>
                </c:pt>
                <c:pt idx="549">
                  <c:v>0.276696</c:v>
                </c:pt>
                <c:pt idx="550">
                  <c:v>0.2772</c:v>
                </c:pt>
                <c:pt idx="551">
                  <c:v>0.277704</c:v>
                </c:pt>
                <c:pt idx="552">
                  <c:v>0.278208</c:v>
                </c:pt>
                <c:pt idx="553">
                  <c:v>0.278712</c:v>
                </c:pt>
                <c:pt idx="554">
                  <c:v>0.279216</c:v>
                </c:pt>
                <c:pt idx="555">
                  <c:v>0.27972</c:v>
                </c:pt>
                <c:pt idx="556">
                  <c:v>0.280224</c:v>
                </c:pt>
                <c:pt idx="557">
                  <c:v>0.280728</c:v>
                </c:pt>
                <c:pt idx="558">
                  <c:v>0.281232</c:v>
                </c:pt>
                <c:pt idx="559">
                  <c:v>0.281736</c:v>
                </c:pt>
                <c:pt idx="560">
                  <c:v>0.28224</c:v>
                </c:pt>
                <c:pt idx="561">
                  <c:v>0.282744</c:v>
                </c:pt>
                <c:pt idx="562">
                  <c:v>0.283248</c:v>
                </c:pt>
                <c:pt idx="563">
                  <c:v>0.283752</c:v>
                </c:pt>
                <c:pt idx="564">
                  <c:v>0.284256</c:v>
                </c:pt>
                <c:pt idx="565">
                  <c:v>0.28476</c:v>
                </c:pt>
                <c:pt idx="566">
                  <c:v>0.285264</c:v>
                </c:pt>
                <c:pt idx="567">
                  <c:v>0.285768</c:v>
                </c:pt>
                <c:pt idx="568">
                  <c:v>0.286272</c:v>
                </c:pt>
                <c:pt idx="569">
                  <c:v>0.286776</c:v>
                </c:pt>
                <c:pt idx="570">
                  <c:v>0.28728</c:v>
                </c:pt>
                <c:pt idx="571">
                  <c:v>0.287784</c:v>
                </c:pt>
                <c:pt idx="572">
                  <c:v>0.288288</c:v>
                </c:pt>
                <c:pt idx="573">
                  <c:v>0.288792</c:v>
                </c:pt>
                <c:pt idx="574">
                  <c:v>0.289296</c:v>
                </c:pt>
                <c:pt idx="575">
                  <c:v>0.2898</c:v>
                </c:pt>
                <c:pt idx="576">
                  <c:v>0.290304</c:v>
                </c:pt>
                <c:pt idx="577">
                  <c:v>0.290808</c:v>
                </c:pt>
                <c:pt idx="578">
                  <c:v>0.291312</c:v>
                </c:pt>
                <c:pt idx="579">
                  <c:v>0.291816</c:v>
                </c:pt>
                <c:pt idx="580">
                  <c:v>0.29232</c:v>
                </c:pt>
                <c:pt idx="581">
                  <c:v>0.292824</c:v>
                </c:pt>
                <c:pt idx="582">
                  <c:v>0.293328</c:v>
                </c:pt>
                <c:pt idx="583">
                  <c:v>0.293832</c:v>
                </c:pt>
                <c:pt idx="584">
                  <c:v>0.294336</c:v>
                </c:pt>
                <c:pt idx="585">
                  <c:v>0.29484</c:v>
                </c:pt>
                <c:pt idx="586">
                  <c:v>0.295344</c:v>
                </c:pt>
                <c:pt idx="587">
                  <c:v>0.295848</c:v>
                </c:pt>
                <c:pt idx="588">
                  <c:v>0.296352</c:v>
                </c:pt>
                <c:pt idx="589">
                  <c:v>0.296856</c:v>
                </c:pt>
                <c:pt idx="590">
                  <c:v>0.29736</c:v>
                </c:pt>
                <c:pt idx="591">
                  <c:v>0.297864</c:v>
                </c:pt>
                <c:pt idx="592">
                  <c:v>0.298368</c:v>
                </c:pt>
                <c:pt idx="593">
                  <c:v>0.298872</c:v>
                </c:pt>
                <c:pt idx="594">
                  <c:v>0.299376</c:v>
                </c:pt>
                <c:pt idx="595">
                  <c:v>0.29988</c:v>
                </c:pt>
                <c:pt idx="596">
                  <c:v>0.300384</c:v>
                </c:pt>
                <c:pt idx="597">
                  <c:v>0.300888</c:v>
                </c:pt>
                <c:pt idx="598">
                  <c:v>0.301392</c:v>
                </c:pt>
                <c:pt idx="599">
                  <c:v>0.301896</c:v>
                </c:pt>
                <c:pt idx="600">
                  <c:v>0.3024</c:v>
                </c:pt>
                <c:pt idx="601">
                  <c:v>0.302904</c:v>
                </c:pt>
                <c:pt idx="602">
                  <c:v>0.303408</c:v>
                </c:pt>
                <c:pt idx="603">
                  <c:v>0.303912</c:v>
                </c:pt>
                <c:pt idx="604">
                  <c:v>0.304416</c:v>
                </c:pt>
                <c:pt idx="605">
                  <c:v>0.30492</c:v>
                </c:pt>
                <c:pt idx="606">
                  <c:v>0.305424</c:v>
                </c:pt>
                <c:pt idx="607">
                  <c:v>0.305928</c:v>
                </c:pt>
                <c:pt idx="608">
                  <c:v>0.306432</c:v>
                </c:pt>
                <c:pt idx="609">
                  <c:v>0.306936</c:v>
                </c:pt>
                <c:pt idx="610">
                  <c:v>0.30744</c:v>
                </c:pt>
                <c:pt idx="611">
                  <c:v>0.307944</c:v>
                </c:pt>
                <c:pt idx="612">
                  <c:v>0.308448</c:v>
                </c:pt>
                <c:pt idx="613">
                  <c:v>0.308952</c:v>
                </c:pt>
                <c:pt idx="614">
                  <c:v>0.309456</c:v>
                </c:pt>
                <c:pt idx="615">
                  <c:v>0.30996</c:v>
                </c:pt>
                <c:pt idx="616">
                  <c:v>0.310464</c:v>
                </c:pt>
                <c:pt idx="617">
                  <c:v>0.310968</c:v>
                </c:pt>
                <c:pt idx="618">
                  <c:v>0.311472</c:v>
                </c:pt>
                <c:pt idx="619">
                  <c:v>0.311976</c:v>
                </c:pt>
                <c:pt idx="620">
                  <c:v>0.31248</c:v>
                </c:pt>
                <c:pt idx="621">
                  <c:v>0.312984</c:v>
                </c:pt>
                <c:pt idx="622">
                  <c:v>0.313488</c:v>
                </c:pt>
                <c:pt idx="623">
                  <c:v>0.313992</c:v>
                </c:pt>
                <c:pt idx="624">
                  <c:v>0.314496</c:v>
                </c:pt>
                <c:pt idx="625">
                  <c:v>0.315</c:v>
                </c:pt>
                <c:pt idx="626">
                  <c:v>0.315504</c:v>
                </c:pt>
                <c:pt idx="627">
                  <c:v>0.316008</c:v>
                </c:pt>
                <c:pt idx="628">
                  <c:v>0.316512</c:v>
                </c:pt>
                <c:pt idx="629">
                  <c:v>0.317016</c:v>
                </c:pt>
                <c:pt idx="630">
                  <c:v>0.31752</c:v>
                </c:pt>
                <c:pt idx="631">
                  <c:v>0.318024</c:v>
                </c:pt>
                <c:pt idx="632">
                  <c:v>0.318528</c:v>
                </c:pt>
                <c:pt idx="633">
                  <c:v>0.319032</c:v>
                </c:pt>
                <c:pt idx="634">
                  <c:v>0.319536</c:v>
                </c:pt>
                <c:pt idx="635">
                  <c:v>0.32004</c:v>
                </c:pt>
                <c:pt idx="636">
                  <c:v>0.320544</c:v>
                </c:pt>
                <c:pt idx="637">
                  <c:v>0.321048</c:v>
                </c:pt>
                <c:pt idx="638">
                  <c:v>0.321552</c:v>
                </c:pt>
                <c:pt idx="639">
                  <c:v>0.322056</c:v>
                </c:pt>
                <c:pt idx="640">
                  <c:v>0.32256</c:v>
                </c:pt>
                <c:pt idx="641">
                  <c:v>0.323064</c:v>
                </c:pt>
                <c:pt idx="642">
                  <c:v>0.323568</c:v>
                </c:pt>
                <c:pt idx="643">
                  <c:v>0.324072</c:v>
                </c:pt>
                <c:pt idx="644">
                  <c:v>0.324576</c:v>
                </c:pt>
                <c:pt idx="645">
                  <c:v>0.32508</c:v>
                </c:pt>
                <c:pt idx="646">
                  <c:v>0.325584</c:v>
                </c:pt>
                <c:pt idx="647">
                  <c:v>0.326088</c:v>
                </c:pt>
                <c:pt idx="648">
                  <c:v>0.326592</c:v>
                </c:pt>
                <c:pt idx="649">
                  <c:v>0.327096</c:v>
                </c:pt>
                <c:pt idx="650">
                  <c:v>0.3276</c:v>
                </c:pt>
                <c:pt idx="651">
                  <c:v>0.328104</c:v>
                </c:pt>
                <c:pt idx="652">
                  <c:v>0.328608</c:v>
                </c:pt>
                <c:pt idx="653">
                  <c:v>0.329112</c:v>
                </c:pt>
                <c:pt idx="654">
                  <c:v>0.329616</c:v>
                </c:pt>
                <c:pt idx="655">
                  <c:v>0.33012</c:v>
                </c:pt>
                <c:pt idx="656">
                  <c:v>0.330624</c:v>
                </c:pt>
                <c:pt idx="657">
                  <c:v>0.331128</c:v>
                </c:pt>
                <c:pt idx="658">
                  <c:v>0.331632</c:v>
                </c:pt>
                <c:pt idx="659">
                  <c:v>0.332136</c:v>
                </c:pt>
                <c:pt idx="660">
                  <c:v>0.33264</c:v>
                </c:pt>
                <c:pt idx="661">
                  <c:v>0.333144</c:v>
                </c:pt>
                <c:pt idx="662">
                  <c:v>0.333648</c:v>
                </c:pt>
                <c:pt idx="663">
                  <c:v>0.334152</c:v>
                </c:pt>
                <c:pt idx="664">
                  <c:v>0.334656</c:v>
                </c:pt>
                <c:pt idx="665">
                  <c:v>0.33516</c:v>
                </c:pt>
                <c:pt idx="666">
                  <c:v>0.335664</c:v>
                </c:pt>
                <c:pt idx="667">
                  <c:v>0.336168</c:v>
                </c:pt>
                <c:pt idx="668">
                  <c:v>0.336672</c:v>
                </c:pt>
                <c:pt idx="669">
                  <c:v>0.337176</c:v>
                </c:pt>
                <c:pt idx="670">
                  <c:v>0.33768</c:v>
                </c:pt>
                <c:pt idx="671">
                  <c:v>0.338184</c:v>
                </c:pt>
                <c:pt idx="672">
                  <c:v>0.338688</c:v>
                </c:pt>
                <c:pt idx="673">
                  <c:v>0.339192</c:v>
                </c:pt>
                <c:pt idx="674">
                  <c:v>0.339696</c:v>
                </c:pt>
                <c:pt idx="675">
                  <c:v>0.3402</c:v>
                </c:pt>
                <c:pt idx="676">
                  <c:v>0.340704</c:v>
                </c:pt>
                <c:pt idx="677">
                  <c:v>0.341208</c:v>
                </c:pt>
                <c:pt idx="678">
                  <c:v>0.341712</c:v>
                </c:pt>
                <c:pt idx="679">
                  <c:v>0.342216</c:v>
                </c:pt>
                <c:pt idx="680">
                  <c:v>0.34272</c:v>
                </c:pt>
                <c:pt idx="681">
                  <c:v>0.343224</c:v>
                </c:pt>
                <c:pt idx="682">
                  <c:v>0.343728</c:v>
                </c:pt>
                <c:pt idx="683">
                  <c:v>0.344232</c:v>
                </c:pt>
                <c:pt idx="684">
                  <c:v>0.344736</c:v>
                </c:pt>
                <c:pt idx="685">
                  <c:v>0.34524</c:v>
                </c:pt>
                <c:pt idx="686">
                  <c:v>0.345744</c:v>
                </c:pt>
                <c:pt idx="687">
                  <c:v>0.346248</c:v>
                </c:pt>
                <c:pt idx="688">
                  <c:v>0.346752</c:v>
                </c:pt>
                <c:pt idx="689">
                  <c:v>0.347256</c:v>
                </c:pt>
                <c:pt idx="690">
                  <c:v>0.34776</c:v>
                </c:pt>
                <c:pt idx="691">
                  <c:v>0.348264</c:v>
                </c:pt>
                <c:pt idx="692">
                  <c:v>0.348768</c:v>
                </c:pt>
                <c:pt idx="693">
                  <c:v>0.349272</c:v>
                </c:pt>
                <c:pt idx="694">
                  <c:v>0.349776</c:v>
                </c:pt>
                <c:pt idx="695">
                  <c:v>0.35028</c:v>
                </c:pt>
                <c:pt idx="696">
                  <c:v>0.350784</c:v>
                </c:pt>
                <c:pt idx="697">
                  <c:v>0.351288</c:v>
                </c:pt>
                <c:pt idx="698">
                  <c:v>0.351792</c:v>
                </c:pt>
                <c:pt idx="699">
                  <c:v>0.352296</c:v>
                </c:pt>
                <c:pt idx="700">
                  <c:v>0.3528</c:v>
                </c:pt>
                <c:pt idx="701">
                  <c:v>0.353304</c:v>
                </c:pt>
                <c:pt idx="702">
                  <c:v>0.353808</c:v>
                </c:pt>
                <c:pt idx="703">
                  <c:v>0.354312</c:v>
                </c:pt>
                <c:pt idx="704">
                  <c:v>0.354816</c:v>
                </c:pt>
                <c:pt idx="705">
                  <c:v>0.35532</c:v>
                </c:pt>
                <c:pt idx="706">
                  <c:v>0.355824</c:v>
                </c:pt>
                <c:pt idx="707">
                  <c:v>0.356328</c:v>
                </c:pt>
                <c:pt idx="708">
                  <c:v>0.356832</c:v>
                </c:pt>
                <c:pt idx="709">
                  <c:v>0.357336</c:v>
                </c:pt>
                <c:pt idx="710">
                  <c:v>0.35784</c:v>
                </c:pt>
                <c:pt idx="711">
                  <c:v>0.358344</c:v>
                </c:pt>
                <c:pt idx="712">
                  <c:v>0.358848</c:v>
                </c:pt>
                <c:pt idx="713">
                  <c:v>0.359352</c:v>
                </c:pt>
                <c:pt idx="714">
                  <c:v>0.359856</c:v>
                </c:pt>
                <c:pt idx="715">
                  <c:v>0.36036</c:v>
                </c:pt>
                <c:pt idx="716">
                  <c:v>0.360864</c:v>
                </c:pt>
                <c:pt idx="717">
                  <c:v>0.361368</c:v>
                </c:pt>
                <c:pt idx="718">
                  <c:v>0.361872</c:v>
                </c:pt>
                <c:pt idx="719">
                  <c:v>0.362376</c:v>
                </c:pt>
                <c:pt idx="720">
                  <c:v>0.36288</c:v>
                </c:pt>
                <c:pt idx="721">
                  <c:v>0.363384</c:v>
                </c:pt>
                <c:pt idx="722">
                  <c:v>0.363888</c:v>
                </c:pt>
                <c:pt idx="723">
                  <c:v>0.364392</c:v>
                </c:pt>
                <c:pt idx="724">
                  <c:v>0.364896</c:v>
                </c:pt>
                <c:pt idx="725">
                  <c:v>0.3654</c:v>
                </c:pt>
                <c:pt idx="726">
                  <c:v>0.365904</c:v>
                </c:pt>
                <c:pt idx="727">
                  <c:v>0.366408</c:v>
                </c:pt>
                <c:pt idx="728">
                  <c:v>0.366912</c:v>
                </c:pt>
                <c:pt idx="729">
                  <c:v>0.367416</c:v>
                </c:pt>
                <c:pt idx="730">
                  <c:v>0.36792</c:v>
                </c:pt>
                <c:pt idx="731">
                  <c:v>0.368424</c:v>
                </c:pt>
                <c:pt idx="732">
                  <c:v>0.368928</c:v>
                </c:pt>
                <c:pt idx="733">
                  <c:v>0.369432</c:v>
                </c:pt>
                <c:pt idx="734">
                  <c:v>0.369936</c:v>
                </c:pt>
                <c:pt idx="735">
                  <c:v>0.37044</c:v>
                </c:pt>
                <c:pt idx="736">
                  <c:v>0.370944</c:v>
                </c:pt>
                <c:pt idx="737">
                  <c:v>0.371448</c:v>
                </c:pt>
                <c:pt idx="738">
                  <c:v>0.371952</c:v>
                </c:pt>
                <c:pt idx="739">
                  <c:v>0.372456</c:v>
                </c:pt>
                <c:pt idx="740">
                  <c:v>0.37296</c:v>
                </c:pt>
                <c:pt idx="741">
                  <c:v>0.373464</c:v>
                </c:pt>
                <c:pt idx="742">
                  <c:v>0.373968</c:v>
                </c:pt>
                <c:pt idx="743">
                  <c:v>0.374472</c:v>
                </c:pt>
                <c:pt idx="744">
                  <c:v>0.374976</c:v>
                </c:pt>
                <c:pt idx="745">
                  <c:v>0.37548</c:v>
                </c:pt>
                <c:pt idx="746">
                  <c:v>0.375984</c:v>
                </c:pt>
                <c:pt idx="747">
                  <c:v>0.376488</c:v>
                </c:pt>
                <c:pt idx="748">
                  <c:v>0.376992</c:v>
                </c:pt>
                <c:pt idx="749">
                  <c:v>0.377496</c:v>
                </c:pt>
                <c:pt idx="750">
                  <c:v>0.378</c:v>
                </c:pt>
                <c:pt idx="751">
                  <c:v>0.378504</c:v>
                </c:pt>
                <c:pt idx="752">
                  <c:v>0.379008</c:v>
                </c:pt>
                <c:pt idx="753">
                  <c:v>0.379512</c:v>
                </c:pt>
                <c:pt idx="754">
                  <c:v>0.380016</c:v>
                </c:pt>
                <c:pt idx="755">
                  <c:v>0.38052</c:v>
                </c:pt>
                <c:pt idx="756">
                  <c:v>0.381024</c:v>
                </c:pt>
                <c:pt idx="757">
                  <c:v>0.381528</c:v>
                </c:pt>
                <c:pt idx="758">
                  <c:v>0.382032</c:v>
                </c:pt>
                <c:pt idx="759">
                  <c:v>0.382536</c:v>
                </c:pt>
                <c:pt idx="760">
                  <c:v>0.38304</c:v>
                </c:pt>
                <c:pt idx="761">
                  <c:v>0.383544</c:v>
                </c:pt>
                <c:pt idx="762">
                  <c:v>0.384048</c:v>
                </c:pt>
                <c:pt idx="763">
                  <c:v>0.384552</c:v>
                </c:pt>
                <c:pt idx="764">
                  <c:v>0.385056</c:v>
                </c:pt>
                <c:pt idx="765">
                  <c:v>0.38556</c:v>
                </c:pt>
                <c:pt idx="766">
                  <c:v>0.386064</c:v>
                </c:pt>
                <c:pt idx="767">
                  <c:v>0.386568</c:v>
                </c:pt>
                <c:pt idx="768">
                  <c:v>0.387072</c:v>
                </c:pt>
                <c:pt idx="769">
                  <c:v>0.387576</c:v>
                </c:pt>
                <c:pt idx="770">
                  <c:v>0.38808</c:v>
                </c:pt>
                <c:pt idx="771">
                  <c:v>0.388584</c:v>
                </c:pt>
                <c:pt idx="772">
                  <c:v>0.389088</c:v>
                </c:pt>
                <c:pt idx="773">
                  <c:v>0.389592</c:v>
                </c:pt>
                <c:pt idx="774">
                  <c:v>0.390096</c:v>
                </c:pt>
                <c:pt idx="775">
                  <c:v>0.3906</c:v>
                </c:pt>
                <c:pt idx="776">
                  <c:v>0.391104</c:v>
                </c:pt>
                <c:pt idx="777">
                  <c:v>0.391608</c:v>
                </c:pt>
                <c:pt idx="778">
                  <c:v>0.392112</c:v>
                </c:pt>
                <c:pt idx="779">
                  <c:v>0.392616</c:v>
                </c:pt>
                <c:pt idx="780">
                  <c:v>0.39312</c:v>
                </c:pt>
                <c:pt idx="781">
                  <c:v>0.393624</c:v>
                </c:pt>
                <c:pt idx="782">
                  <c:v>0.394128</c:v>
                </c:pt>
                <c:pt idx="783">
                  <c:v>0.394632</c:v>
                </c:pt>
                <c:pt idx="784">
                  <c:v>0.395136</c:v>
                </c:pt>
                <c:pt idx="785">
                  <c:v>0.39564</c:v>
                </c:pt>
                <c:pt idx="786">
                  <c:v>0.396144</c:v>
                </c:pt>
                <c:pt idx="787">
                  <c:v>0.396648</c:v>
                </c:pt>
                <c:pt idx="788">
                  <c:v>0.397152</c:v>
                </c:pt>
                <c:pt idx="789">
                  <c:v>0.397656</c:v>
                </c:pt>
                <c:pt idx="790">
                  <c:v>0.39816</c:v>
                </c:pt>
                <c:pt idx="791">
                  <c:v>0.398664</c:v>
                </c:pt>
                <c:pt idx="792">
                  <c:v>0.399168</c:v>
                </c:pt>
                <c:pt idx="793">
                  <c:v>0.399672</c:v>
                </c:pt>
                <c:pt idx="794">
                  <c:v>0.400176</c:v>
                </c:pt>
                <c:pt idx="795">
                  <c:v>0.40068</c:v>
                </c:pt>
                <c:pt idx="796">
                  <c:v>0.401184</c:v>
                </c:pt>
                <c:pt idx="797">
                  <c:v>0.401688</c:v>
                </c:pt>
                <c:pt idx="798">
                  <c:v>0.402192</c:v>
                </c:pt>
                <c:pt idx="799">
                  <c:v>0.402696</c:v>
                </c:pt>
                <c:pt idx="800">
                  <c:v>0.4032</c:v>
                </c:pt>
                <c:pt idx="801">
                  <c:v>0.403704</c:v>
                </c:pt>
                <c:pt idx="802">
                  <c:v>0.404208</c:v>
                </c:pt>
                <c:pt idx="803">
                  <c:v>0.404712</c:v>
                </c:pt>
                <c:pt idx="804">
                  <c:v>0.405216</c:v>
                </c:pt>
                <c:pt idx="805">
                  <c:v>0.40572</c:v>
                </c:pt>
                <c:pt idx="806">
                  <c:v>0.406224</c:v>
                </c:pt>
                <c:pt idx="807">
                  <c:v>0.406728</c:v>
                </c:pt>
                <c:pt idx="808">
                  <c:v>0.407232</c:v>
                </c:pt>
                <c:pt idx="809">
                  <c:v>0.407736</c:v>
                </c:pt>
                <c:pt idx="810">
                  <c:v>0.40824</c:v>
                </c:pt>
                <c:pt idx="811">
                  <c:v>0.408744</c:v>
                </c:pt>
                <c:pt idx="812">
                  <c:v>0.409248</c:v>
                </c:pt>
                <c:pt idx="813">
                  <c:v>0.409752</c:v>
                </c:pt>
                <c:pt idx="814">
                  <c:v>0.410256</c:v>
                </c:pt>
                <c:pt idx="815">
                  <c:v>0.41076</c:v>
                </c:pt>
                <c:pt idx="816">
                  <c:v>0.411264</c:v>
                </c:pt>
                <c:pt idx="817">
                  <c:v>0.411768</c:v>
                </c:pt>
                <c:pt idx="818">
                  <c:v>0.412272</c:v>
                </c:pt>
                <c:pt idx="819">
                  <c:v>0.412776</c:v>
                </c:pt>
                <c:pt idx="820">
                  <c:v>0.41328</c:v>
                </c:pt>
                <c:pt idx="821">
                  <c:v>0.413784</c:v>
                </c:pt>
                <c:pt idx="822">
                  <c:v>0.414288</c:v>
                </c:pt>
                <c:pt idx="823">
                  <c:v>0.414792</c:v>
                </c:pt>
                <c:pt idx="824">
                  <c:v>0.415296</c:v>
                </c:pt>
                <c:pt idx="825">
                  <c:v>0.4158</c:v>
                </c:pt>
                <c:pt idx="826">
                  <c:v>0.416304</c:v>
                </c:pt>
                <c:pt idx="827">
                  <c:v>0.416808</c:v>
                </c:pt>
                <c:pt idx="828">
                  <c:v>0.417312</c:v>
                </c:pt>
                <c:pt idx="829">
                  <c:v>0.417816</c:v>
                </c:pt>
                <c:pt idx="830">
                  <c:v>0.41832</c:v>
                </c:pt>
                <c:pt idx="831">
                  <c:v>0.418824</c:v>
                </c:pt>
                <c:pt idx="832">
                  <c:v>0.419328</c:v>
                </c:pt>
                <c:pt idx="833">
                  <c:v>0.419832</c:v>
                </c:pt>
                <c:pt idx="834">
                  <c:v>0.420336</c:v>
                </c:pt>
                <c:pt idx="835">
                  <c:v>0.42084</c:v>
                </c:pt>
                <c:pt idx="836">
                  <c:v>0.421344</c:v>
                </c:pt>
                <c:pt idx="837">
                  <c:v>0.421848</c:v>
                </c:pt>
                <c:pt idx="838">
                  <c:v>0.422352</c:v>
                </c:pt>
                <c:pt idx="839">
                  <c:v>0.422856</c:v>
                </c:pt>
                <c:pt idx="840">
                  <c:v>0.42336</c:v>
                </c:pt>
                <c:pt idx="841">
                  <c:v>0.423864</c:v>
                </c:pt>
                <c:pt idx="842">
                  <c:v>0.424368</c:v>
                </c:pt>
                <c:pt idx="843">
                  <c:v>0.424872</c:v>
                </c:pt>
                <c:pt idx="844">
                  <c:v>0.425376</c:v>
                </c:pt>
                <c:pt idx="845">
                  <c:v>0.42588</c:v>
                </c:pt>
                <c:pt idx="846">
                  <c:v>0.426384</c:v>
                </c:pt>
                <c:pt idx="847">
                  <c:v>0.426888</c:v>
                </c:pt>
                <c:pt idx="848">
                  <c:v>0.427392</c:v>
                </c:pt>
                <c:pt idx="849">
                  <c:v>0.427896</c:v>
                </c:pt>
                <c:pt idx="850">
                  <c:v>0.4284</c:v>
                </c:pt>
                <c:pt idx="851">
                  <c:v>0.428904</c:v>
                </c:pt>
                <c:pt idx="852">
                  <c:v>0.429408</c:v>
                </c:pt>
                <c:pt idx="853">
                  <c:v>0.429912</c:v>
                </c:pt>
                <c:pt idx="854">
                  <c:v>0.430416</c:v>
                </c:pt>
                <c:pt idx="855">
                  <c:v>0.43092</c:v>
                </c:pt>
                <c:pt idx="856">
                  <c:v>0.431424</c:v>
                </c:pt>
                <c:pt idx="857">
                  <c:v>0.431928</c:v>
                </c:pt>
                <c:pt idx="858">
                  <c:v>0.432432</c:v>
                </c:pt>
                <c:pt idx="859">
                  <c:v>0.432936</c:v>
                </c:pt>
                <c:pt idx="860">
                  <c:v>0.43344</c:v>
                </c:pt>
                <c:pt idx="861">
                  <c:v>0.433944</c:v>
                </c:pt>
                <c:pt idx="862">
                  <c:v>0.434448</c:v>
                </c:pt>
                <c:pt idx="863">
                  <c:v>0.434952</c:v>
                </c:pt>
                <c:pt idx="864">
                  <c:v>0.435456</c:v>
                </c:pt>
                <c:pt idx="865">
                  <c:v>0.43596</c:v>
                </c:pt>
                <c:pt idx="866">
                  <c:v>0.436464</c:v>
                </c:pt>
                <c:pt idx="867">
                  <c:v>0.436968</c:v>
                </c:pt>
                <c:pt idx="868">
                  <c:v>0.437472</c:v>
                </c:pt>
                <c:pt idx="869">
                  <c:v>0.437976</c:v>
                </c:pt>
                <c:pt idx="870">
                  <c:v>0.43848</c:v>
                </c:pt>
                <c:pt idx="871">
                  <c:v>0.438984</c:v>
                </c:pt>
                <c:pt idx="872">
                  <c:v>0.439488</c:v>
                </c:pt>
                <c:pt idx="873">
                  <c:v>0.439992</c:v>
                </c:pt>
                <c:pt idx="874">
                  <c:v>0.440496</c:v>
                </c:pt>
                <c:pt idx="875">
                  <c:v>0.441</c:v>
                </c:pt>
                <c:pt idx="876">
                  <c:v>0.441504</c:v>
                </c:pt>
                <c:pt idx="877">
                  <c:v>0.442008</c:v>
                </c:pt>
                <c:pt idx="878">
                  <c:v>0.442512</c:v>
                </c:pt>
                <c:pt idx="879">
                  <c:v>0.443016</c:v>
                </c:pt>
                <c:pt idx="880">
                  <c:v>0.44352</c:v>
                </c:pt>
                <c:pt idx="881">
                  <c:v>0.444024</c:v>
                </c:pt>
                <c:pt idx="882">
                  <c:v>0.444528</c:v>
                </c:pt>
                <c:pt idx="883">
                  <c:v>0.445032</c:v>
                </c:pt>
                <c:pt idx="884">
                  <c:v>0.445536</c:v>
                </c:pt>
                <c:pt idx="885">
                  <c:v>0.44604</c:v>
                </c:pt>
                <c:pt idx="886">
                  <c:v>0.446544</c:v>
                </c:pt>
                <c:pt idx="887">
                  <c:v>0.447048</c:v>
                </c:pt>
                <c:pt idx="888">
                  <c:v>0.447552</c:v>
                </c:pt>
                <c:pt idx="889">
                  <c:v>0.448056</c:v>
                </c:pt>
                <c:pt idx="890">
                  <c:v>0.44856</c:v>
                </c:pt>
                <c:pt idx="891">
                  <c:v>0.449064</c:v>
                </c:pt>
                <c:pt idx="892">
                  <c:v>0.449568</c:v>
                </c:pt>
                <c:pt idx="893">
                  <c:v>0.450072</c:v>
                </c:pt>
                <c:pt idx="894">
                  <c:v>0.450576</c:v>
                </c:pt>
                <c:pt idx="895">
                  <c:v>0.45108</c:v>
                </c:pt>
                <c:pt idx="896">
                  <c:v>0.451584</c:v>
                </c:pt>
                <c:pt idx="897">
                  <c:v>0.452088</c:v>
                </c:pt>
                <c:pt idx="898">
                  <c:v>0.452592</c:v>
                </c:pt>
                <c:pt idx="899">
                  <c:v>0.453096</c:v>
                </c:pt>
                <c:pt idx="900">
                  <c:v>0.4536</c:v>
                </c:pt>
                <c:pt idx="901">
                  <c:v>0.454104</c:v>
                </c:pt>
                <c:pt idx="902">
                  <c:v>0.454608</c:v>
                </c:pt>
                <c:pt idx="903">
                  <c:v>0.455112</c:v>
                </c:pt>
                <c:pt idx="904">
                  <c:v>0.455616</c:v>
                </c:pt>
                <c:pt idx="905">
                  <c:v>0.45612</c:v>
                </c:pt>
                <c:pt idx="906">
                  <c:v>0.456624</c:v>
                </c:pt>
                <c:pt idx="907">
                  <c:v>0.457128</c:v>
                </c:pt>
                <c:pt idx="908">
                  <c:v>0.457632</c:v>
                </c:pt>
                <c:pt idx="909">
                  <c:v>0.458136</c:v>
                </c:pt>
                <c:pt idx="910">
                  <c:v>0.45864</c:v>
                </c:pt>
                <c:pt idx="911">
                  <c:v>0.459144</c:v>
                </c:pt>
                <c:pt idx="912">
                  <c:v>0.459648</c:v>
                </c:pt>
                <c:pt idx="913">
                  <c:v>0.460152</c:v>
                </c:pt>
                <c:pt idx="914">
                  <c:v>0.460656</c:v>
                </c:pt>
                <c:pt idx="915">
                  <c:v>0.46116</c:v>
                </c:pt>
                <c:pt idx="916">
                  <c:v>0.461664</c:v>
                </c:pt>
                <c:pt idx="917">
                  <c:v>0.462168</c:v>
                </c:pt>
                <c:pt idx="918">
                  <c:v>0.462672</c:v>
                </c:pt>
                <c:pt idx="919">
                  <c:v>0.463176</c:v>
                </c:pt>
                <c:pt idx="920">
                  <c:v>0.46368</c:v>
                </c:pt>
                <c:pt idx="921">
                  <c:v>0.464184</c:v>
                </c:pt>
                <c:pt idx="922">
                  <c:v>0.464688</c:v>
                </c:pt>
                <c:pt idx="923">
                  <c:v>0.465192</c:v>
                </c:pt>
                <c:pt idx="924">
                  <c:v>0.465696</c:v>
                </c:pt>
                <c:pt idx="925">
                  <c:v>0.4662</c:v>
                </c:pt>
                <c:pt idx="926">
                  <c:v>0.466704</c:v>
                </c:pt>
                <c:pt idx="927">
                  <c:v>0.467208</c:v>
                </c:pt>
                <c:pt idx="928">
                  <c:v>0.467712</c:v>
                </c:pt>
                <c:pt idx="929">
                  <c:v>0.468216</c:v>
                </c:pt>
                <c:pt idx="930">
                  <c:v>0.46872</c:v>
                </c:pt>
                <c:pt idx="931">
                  <c:v>0.469224</c:v>
                </c:pt>
                <c:pt idx="932">
                  <c:v>0.469728</c:v>
                </c:pt>
                <c:pt idx="933">
                  <c:v>0.470232</c:v>
                </c:pt>
                <c:pt idx="934">
                  <c:v>0.470736</c:v>
                </c:pt>
                <c:pt idx="935">
                  <c:v>0.47124</c:v>
                </c:pt>
                <c:pt idx="936">
                  <c:v>0.471744</c:v>
                </c:pt>
                <c:pt idx="937">
                  <c:v>0.472248</c:v>
                </c:pt>
                <c:pt idx="938">
                  <c:v>0.472752</c:v>
                </c:pt>
                <c:pt idx="939">
                  <c:v>0.473256</c:v>
                </c:pt>
                <c:pt idx="940">
                  <c:v>0.47376</c:v>
                </c:pt>
                <c:pt idx="941">
                  <c:v>0.474264</c:v>
                </c:pt>
                <c:pt idx="942">
                  <c:v>0.474768</c:v>
                </c:pt>
                <c:pt idx="943">
                  <c:v>0.475272</c:v>
                </c:pt>
                <c:pt idx="944">
                  <c:v>0.475776</c:v>
                </c:pt>
                <c:pt idx="945">
                  <c:v>0.47628</c:v>
                </c:pt>
                <c:pt idx="946">
                  <c:v>0.476784</c:v>
                </c:pt>
                <c:pt idx="947">
                  <c:v>0.477288</c:v>
                </c:pt>
                <c:pt idx="948">
                  <c:v>0.477792</c:v>
                </c:pt>
                <c:pt idx="949">
                  <c:v>0.478296</c:v>
                </c:pt>
                <c:pt idx="950">
                  <c:v>0.4788</c:v>
                </c:pt>
                <c:pt idx="951">
                  <c:v>0.479304</c:v>
                </c:pt>
                <c:pt idx="952">
                  <c:v>0.479808</c:v>
                </c:pt>
                <c:pt idx="953">
                  <c:v>0.480312</c:v>
                </c:pt>
                <c:pt idx="954">
                  <c:v>0.480816</c:v>
                </c:pt>
                <c:pt idx="955">
                  <c:v>0.48132</c:v>
                </c:pt>
                <c:pt idx="956">
                  <c:v>0.481824</c:v>
                </c:pt>
                <c:pt idx="957">
                  <c:v>0.482328</c:v>
                </c:pt>
                <c:pt idx="958">
                  <c:v>0.482832</c:v>
                </c:pt>
                <c:pt idx="959">
                  <c:v>0.483336</c:v>
                </c:pt>
                <c:pt idx="960">
                  <c:v>0.48384</c:v>
                </c:pt>
                <c:pt idx="961">
                  <c:v>0.484344</c:v>
                </c:pt>
                <c:pt idx="962">
                  <c:v>0.484848</c:v>
                </c:pt>
                <c:pt idx="963">
                  <c:v>0.485352</c:v>
                </c:pt>
                <c:pt idx="964">
                  <c:v>0.485856</c:v>
                </c:pt>
                <c:pt idx="965">
                  <c:v>0.48636</c:v>
                </c:pt>
                <c:pt idx="966">
                  <c:v>0.486864</c:v>
                </c:pt>
                <c:pt idx="967">
                  <c:v>0.487368</c:v>
                </c:pt>
                <c:pt idx="968">
                  <c:v>0.487872</c:v>
                </c:pt>
                <c:pt idx="969">
                  <c:v>0.488376</c:v>
                </c:pt>
                <c:pt idx="970">
                  <c:v>0.48888</c:v>
                </c:pt>
                <c:pt idx="971">
                  <c:v>0.489384</c:v>
                </c:pt>
                <c:pt idx="972">
                  <c:v>0.489888</c:v>
                </c:pt>
                <c:pt idx="973">
                  <c:v>0.490392</c:v>
                </c:pt>
                <c:pt idx="974">
                  <c:v>0.490896</c:v>
                </c:pt>
                <c:pt idx="975">
                  <c:v>0.4914</c:v>
                </c:pt>
                <c:pt idx="976">
                  <c:v>0.491904</c:v>
                </c:pt>
                <c:pt idx="977">
                  <c:v>0.492408</c:v>
                </c:pt>
                <c:pt idx="978">
                  <c:v>0.492912</c:v>
                </c:pt>
                <c:pt idx="979">
                  <c:v>0.493416</c:v>
                </c:pt>
                <c:pt idx="980">
                  <c:v>0.49392</c:v>
                </c:pt>
                <c:pt idx="981">
                  <c:v>0.494424</c:v>
                </c:pt>
                <c:pt idx="982">
                  <c:v>0.494928</c:v>
                </c:pt>
                <c:pt idx="983">
                  <c:v>0.495432</c:v>
                </c:pt>
                <c:pt idx="984">
                  <c:v>0.495936</c:v>
                </c:pt>
                <c:pt idx="985">
                  <c:v>0.49644</c:v>
                </c:pt>
                <c:pt idx="986">
                  <c:v>0.496944</c:v>
                </c:pt>
                <c:pt idx="987">
                  <c:v>0.497448</c:v>
                </c:pt>
                <c:pt idx="988">
                  <c:v>0.497952</c:v>
                </c:pt>
                <c:pt idx="989">
                  <c:v>0.498456</c:v>
                </c:pt>
                <c:pt idx="990">
                  <c:v>0.49896</c:v>
                </c:pt>
                <c:pt idx="991">
                  <c:v>0.499464</c:v>
                </c:pt>
                <c:pt idx="992">
                  <c:v>0.499968</c:v>
                </c:pt>
                <c:pt idx="993">
                  <c:v>0.500472</c:v>
                </c:pt>
                <c:pt idx="994">
                  <c:v>0.500976</c:v>
                </c:pt>
                <c:pt idx="995">
                  <c:v>0.50148</c:v>
                </c:pt>
                <c:pt idx="996">
                  <c:v>0.501984</c:v>
                </c:pt>
                <c:pt idx="997">
                  <c:v>0.502488</c:v>
                </c:pt>
                <c:pt idx="998">
                  <c:v>0.502992</c:v>
                </c:pt>
                <c:pt idx="999">
                  <c:v>0.503496</c:v>
                </c:pt>
                <c:pt idx="1000">
                  <c:v>0.504</c:v>
                </c:pt>
                <c:pt idx="1001">
                  <c:v>0.504504</c:v>
                </c:pt>
                <c:pt idx="1002">
                  <c:v>0.505008</c:v>
                </c:pt>
                <c:pt idx="1003">
                  <c:v>0.505512</c:v>
                </c:pt>
                <c:pt idx="1004">
                  <c:v>0.506016</c:v>
                </c:pt>
                <c:pt idx="1005">
                  <c:v>0.50652</c:v>
                </c:pt>
                <c:pt idx="1006">
                  <c:v>0.507024</c:v>
                </c:pt>
                <c:pt idx="1007">
                  <c:v>0.507528</c:v>
                </c:pt>
                <c:pt idx="1008">
                  <c:v>0.508032</c:v>
                </c:pt>
                <c:pt idx="1009">
                  <c:v>0.508536</c:v>
                </c:pt>
                <c:pt idx="1010">
                  <c:v>0.50904</c:v>
                </c:pt>
                <c:pt idx="1011">
                  <c:v>0.509544</c:v>
                </c:pt>
                <c:pt idx="1012">
                  <c:v>0.510048</c:v>
                </c:pt>
                <c:pt idx="1013">
                  <c:v>0.510552</c:v>
                </c:pt>
                <c:pt idx="1014">
                  <c:v>0.511056</c:v>
                </c:pt>
                <c:pt idx="1015">
                  <c:v>0.51156</c:v>
                </c:pt>
                <c:pt idx="1016">
                  <c:v>0.512064</c:v>
                </c:pt>
                <c:pt idx="1017">
                  <c:v>0.512568</c:v>
                </c:pt>
                <c:pt idx="1018">
                  <c:v>0.513072</c:v>
                </c:pt>
                <c:pt idx="1019">
                  <c:v>0.513576</c:v>
                </c:pt>
                <c:pt idx="1020">
                  <c:v>0.51408</c:v>
                </c:pt>
                <c:pt idx="1021">
                  <c:v>0.514584</c:v>
                </c:pt>
                <c:pt idx="1022">
                  <c:v>0.515088</c:v>
                </c:pt>
                <c:pt idx="1023">
                  <c:v>0.515592</c:v>
                </c:pt>
                <c:pt idx="1024">
                  <c:v>0.516096</c:v>
                </c:pt>
                <c:pt idx="1025">
                  <c:v>0.5166</c:v>
                </c:pt>
                <c:pt idx="1026">
                  <c:v>0.517104</c:v>
                </c:pt>
                <c:pt idx="1027">
                  <c:v>0.517608</c:v>
                </c:pt>
                <c:pt idx="1028">
                  <c:v>0.518112</c:v>
                </c:pt>
                <c:pt idx="1029">
                  <c:v>0.518616</c:v>
                </c:pt>
                <c:pt idx="1030">
                  <c:v>0.51912</c:v>
                </c:pt>
                <c:pt idx="1031">
                  <c:v>0.519624</c:v>
                </c:pt>
                <c:pt idx="1032">
                  <c:v>0.520128</c:v>
                </c:pt>
                <c:pt idx="1033">
                  <c:v>0.520632</c:v>
                </c:pt>
                <c:pt idx="1034">
                  <c:v>0.521136</c:v>
                </c:pt>
                <c:pt idx="1035">
                  <c:v>0.52164</c:v>
                </c:pt>
                <c:pt idx="1036">
                  <c:v>0.522144</c:v>
                </c:pt>
                <c:pt idx="1037">
                  <c:v>0.522648</c:v>
                </c:pt>
                <c:pt idx="1038">
                  <c:v>0.523152</c:v>
                </c:pt>
                <c:pt idx="1039">
                  <c:v>0.523656</c:v>
                </c:pt>
                <c:pt idx="1040">
                  <c:v>0.52416</c:v>
                </c:pt>
                <c:pt idx="1041">
                  <c:v>0.524664</c:v>
                </c:pt>
                <c:pt idx="1042">
                  <c:v>0.525168</c:v>
                </c:pt>
                <c:pt idx="1043">
                  <c:v>0.525672</c:v>
                </c:pt>
                <c:pt idx="1044">
                  <c:v>0.526176</c:v>
                </c:pt>
                <c:pt idx="1045">
                  <c:v>0.52668</c:v>
                </c:pt>
                <c:pt idx="1046">
                  <c:v>0.527184</c:v>
                </c:pt>
                <c:pt idx="1047">
                  <c:v>0.527688</c:v>
                </c:pt>
                <c:pt idx="1048">
                  <c:v>0.528192</c:v>
                </c:pt>
                <c:pt idx="1049">
                  <c:v>0.528696</c:v>
                </c:pt>
                <c:pt idx="1050">
                  <c:v>0.5292</c:v>
                </c:pt>
                <c:pt idx="1051">
                  <c:v>0.529704</c:v>
                </c:pt>
                <c:pt idx="1052">
                  <c:v>0.530208</c:v>
                </c:pt>
                <c:pt idx="1053">
                  <c:v>0.530712</c:v>
                </c:pt>
                <c:pt idx="1054">
                  <c:v>0.531216</c:v>
                </c:pt>
                <c:pt idx="1055">
                  <c:v>0.53172</c:v>
                </c:pt>
                <c:pt idx="1056">
                  <c:v>0.532224</c:v>
                </c:pt>
                <c:pt idx="1057">
                  <c:v>0.532728</c:v>
                </c:pt>
                <c:pt idx="1058">
                  <c:v>0.533232</c:v>
                </c:pt>
                <c:pt idx="1059">
                  <c:v>0.533736</c:v>
                </c:pt>
                <c:pt idx="1060">
                  <c:v>0.53424</c:v>
                </c:pt>
                <c:pt idx="1061">
                  <c:v>0.534744</c:v>
                </c:pt>
                <c:pt idx="1062">
                  <c:v>0.535248</c:v>
                </c:pt>
                <c:pt idx="1063">
                  <c:v>0.535752</c:v>
                </c:pt>
                <c:pt idx="1064">
                  <c:v>0.536256</c:v>
                </c:pt>
                <c:pt idx="1065">
                  <c:v>0.53676</c:v>
                </c:pt>
                <c:pt idx="1066">
                  <c:v>0.537264</c:v>
                </c:pt>
                <c:pt idx="1067">
                  <c:v>0.537768</c:v>
                </c:pt>
                <c:pt idx="1068">
                  <c:v>0.538272</c:v>
                </c:pt>
                <c:pt idx="1069">
                  <c:v>0.538776</c:v>
                </c:pt>
                <c:pt idx="1070">
                  <c:v>0.53928</c:v>
                </c:pt>
                <c:pt idx="1071">
                  <c:v>0.539784</c:v>
                </c:pt>
                <c:pt idx="1072">
                  <c:v>0.540288</c:v>
                </c:pt>
                <c:pt idx="1073">
                  <c:v>0.540792</c:v>
                </c:pt>
                <c:pt idx="1074">
                  <c:v>0.541296</c:v>
                </c:pt>
                <c:pt idx="1075">
                  <c:v>0.5418</c:v>
                </c:pt>
                <c:pt idx="1076">
                  <c:v>0.542304</c:v>
                </c:pt>
                <c:pt idx="1077">
                  <c:v>0.542808</c:v>
                </c:pt>
                <c:pt idx="1078">
                  <c:v>0.543312</c:v>
                </c:pt>
                <c:pt idx="1079">
                  <c:v>0.543816</c:v>
                </c:pt>
                <c:pt idx="1080">
                  <c:v>0.54432</c:v>
                </c:pt>
                <c:pt idx="1081">
                  <c:v>0.544824</c:v>
                </c:pt>
                <c:pt idx="1082">
                  <c:v>0.545328</c:v>
                </c:pt>
                <c:pt idx="1083">
                  <c:v>0.545832</c:v>
                </c:pt>
                <c:pt idx="1084">
                  <c:v>0.546336</c:v>
                </c:pt>
                <c:pt idx="1085">
                  <c:v>0.54684</c:v>
                </c:pt>
                <c:pt idx="1086">
                  <c:v>0.547344</c:v>
                </c:pt>
                <c:pt idx="1087">
                  <c:v>0.547848</c:v>
                </c:pt>
                <c:pt idx="1088">
                  <c:v>0.548352</c:v>
                </c:pt>
                <c:pt idx="1089">
                  <c:v>0.548856</c:v>
                </c:pt>
                <c:pt idx="1090">
                  <c:v>0.54936</c:v>
                </c:pt>
                <c:pt idx="1091">
                  <c:v>0.549864</c:v>
                </c:pt>
                <c:pt idx="1092">
                  <c:v>0.550368</c:v>
                </c:pt>
                <c:pt idx="1093">
                  <c:v>0.550872</c:v>
                </c:pt>
                <c:pt idx="1094">
                  <c:v>0.551376</c:v>
                </c:pt>
                <c:pt idx="1095">
                  <c:v>0.55188</c:v>
                </c:pt>
                <c:pt idx="1096">
                  <c:v>0.552384</c:v>
                </c:pt>
                <c:pt idx="1097">
                  <c:v>0.552888</c:v>
                </c:pt>
                <c:pt idx="1098">
                  <c:v>0.553392</c:v>
                </c:pt>
                <c:pt idx="1099">
                  <c:v>0.553896</c:v>
                </c:pt>
                <c:pt idx="1100">
                  <c:v>0.5544</c:v>
                </c:pt>
                <c:pt idx="1101">
                  <c:v>0.554904</c:v>
                </c:pt>
                <c:pt idx="1102">
                  <c:v>0.555408</c:v>
                </c:pt>
                <c:pt idx="1103">
                  <c:v>0.555912</c:v>
                </c:pt>
                <c:pt idx="1104">
                  <c:v>0.556416</c:v>
                </c:pt>
                <c:pt idx="1105">
                  <c:v>0.55692</c:v>
                </c:pt>
                <c:pt idx="1106">
                  <c:v>0.557424</c:v>
                </c:pt>
                <c:pt idx="1107">
                  <c:v>0.557928</c:v>
                </c:pt>
                <c:pt idx="1108">
                  <c:v>0.558432</c:v>
                </c:pt>
                <c:pt idx="1109">
                  <c:v>0.558936</c:v>
                </c:pt>
                <c:pt idx="1110">
                  <c:v>0.55944</c:v>
                </c:pt>
                <c:pt idx="1111">
                  <c:v>0.559944</c:v>
                </c:pt>
                <c:pt idx="1112">
                  <c:v>0.560448</c:v>
                </c:pt>
                <c:pt idx="1113">
                  <c:v>0.560952</c:v>
                </c:pt>
                <c:pt idx="1114">
                  <c:v>0.561456</c:v>
                </c:pt>
                <c:pt idx="1115">
                  <c:v>0.56196</c:v>
                </c:pt>
                <c:pt idx="1116">
                  <c:v>0.562464</c:v>
                </c:pt>
                <c:pt idx="1117">
                  <c:v>0.562968</c:v>
                </c:pt>
                <c:pt idx="1118">
                  <c:v>0.563472</c:v>
                </c:pt>
                <c:pt idx="1119">
                  <c:v>0.563976</c:v>
                </c:pt>
                <c:pt idx="1120">
                  <c:v>0.56448</c:v>
                </c:pt>
                <c:pt idx="1121">
                  <c:v>0.564984</c:v>
                </c:pt>
                <c:pt idx="1122">
                  <c:v>0.565488</c:v>
                </c:pt>
                <c:pt idx="1123">
                  <c:v>0.565992</c:v>
                </c:pt>
                <c:pt idx="1124">
                  <c:v>0.566496</c:v>
                </c:pt>
                <c:pt idx="1125">
                  <c:v>0.567</c:v>
                </c:pt>
                <c:pt idx="1126">
                  <c:v>0.567504</c:v>
                </c:pt>
                <c:pt idx="1127">
                  <c:v>0.568008</c:v>
                </c:pt>
                <c:pt idx="1128">
                  <c:v>0.568512</c:v>
                </c:pt>
                <c:pt idx="1129">
                  <c:v>0.569016</c:v>
                </c:pt>
                <c:pt idx="1130">
                  <c:v>0.56952</c:v>
                </c:pt>
                <c:pt idx="1131">
                  <c:v>0.570024</c:v>
                </c:pt>
                <c:pt idx="1132">
                  <c:v>0.570528</c:v>
                </c:pt>
                <c:pt idx="1133">
                  <c:v>0.571032</c:v>
                </c:pt>
                <c:pt idx="1134">
                  <c:v>0.571536</c:v>
                </c:pt>
                <c:pt idx="1135">
                  <c:v>0.57204</c:v>
                </c:pt>
                <c:pt idx="1136">
                  <c:v>0.572544</c:v>
                </c:pt>
                <c:pt idx="1137">
                  <c:v>0.573048</c:v>
                </c:pt>
                <c:pt idx="1138">
                  <c:v>0.573552</c:v>
                </c:pt>
                <c:pt idx="1139">
                  <c:v>0.574056</c:v>
                </c:pt>
                <c:pt idx="1140">
                  <c:v>0.57456</c:v>
                </c:pt>
                <c:pt idx="1141">
                  <c:v>0.575064</c:v>
                </c:pt>
                <c:pt idx="1142">
                  <c:v>0.575568</c:v>
                </c:pt>
                <c:pt idx="1143">
                  <c:v>0.576072</c:v>
                </c:pt>
                <c:pt idx="1144">
                  <c:v>0.576576</c:v>
                </c:pt>
                <c:pt idx="1145">
                  <c:v>0.57708</c:v>
                </c:pt>
                <c:pt idx="1146">
                  <c:v>0.577584</c:v>
                </c:pt>
                <c:pt idx="1147">
                  <c:v>0.578088</c:v>
                </c:pt>
                <c:pt idx="1148">
                  <c:v>0.578592</c:v>
                </c:pt>
                <c:pt idx="1149">
                  <c:v>0.579096</c:v>
                </c:pt>
                <c:pt idx="1150">
                  <c:v>0.5796</c:v>
                </c:pt>
                <c:pt idx="1151">
                  <c:v>0.580104</c:v>
                </c:pt>
                <c:pt idx="1152">
                  <c:v>0.580608</c:v>
                </c:pt>
                <c:pt idx="1153">
                  <c:v>0.581112</c:v>
                </c:pt>
                <c:pt idx="1154">
                  <c:v>0.581616</c:v>
                </c:pt>
                <c:pt idx="1155">
                  <c:v>0.58212</c:v>
                </c:pt>
                <c:pt idx="1156">
                  <c:v>0.582624</c:v>
                </c:pt>
                <c:pt idx="1157">
                  <c:v>0.583128</c:v>
                </c:pt>
                <c:pt idx="1158">
                  <c:v>0.583632</c:v>
                </c:pt>
                <c:pt idx="1159">
                  <c:v>0.584136</c:v>
                </c:pt>
                <c:pt idx="1160">
                  <c:v>0.58464</c:v>
                </c:pt>
                <c:pt idx="1161">
                  <c:v>0.585144</c:v>
                </c:pt>
                <c:pt idx="1162">
                  <c:v>0.585648</c:v>
                </c:pt>
                <c:pt idx="1163">
                  <c:v>0.586152</c:v>
                </c:pt>
                <c:pt idx="1164">
                  <c:v>0.586656</c:v>
                </c:pt>
                <c:pt idx="1165">
                  <c:v>0.58716</c:v>
                </c:pt>
                <c:pt idx="1166">
                  <c:v>0.587664</c:v>
                </c:pt>
                <c:pt idx="1167">
                  <c:v>0.588168</c:v>
                </c:pt>
                <c:pt idx="1168">
                  <c:v>0.588672</c:v>
                </c:pt>
                <c:pt idx="1169">
                  <c:v>0.589176</c:v>
                </c:pt>
                <c:pt idx="1170">
                  <c:v>0.58968</c:v>
                </c:pt>
                <c:pt idx="1171">
                  <c:v>0.590184</c:v>
                </c:pt>
                <c:pt idx="1172">
                  <c:v>0.590688</c:v>
                </c:pt>
                <c:pt idx="1173">
                  <c:v>0.591192</c:v>
                </c:pt>
                <c:pt idx="1174">
                  <c:v>0.591696</c:v>
                </c:pt>
                <c:pt idx="1175">
                  <c:v>0.5922</c:v>
                </c:pt>
                <c:pt idx="1176">
                  <c:v>0.592704</c:v>
                </c:pt>
                <c:pt idx="1177">
                  <c:v>0.593208</c:v>
                </c:pt>
                <c:pt idx="1178">
                  <c:v>0.593712</c:v>
                </c:pt>
                <c:pt idx="1179">
                  <c:v>0.594216</c:v>
                </c:pt>
                <c:pt idx="1180">
                  <c:v>0.59472</c:v>
                </c:pt>
                <c:pt idx="1181">
                  <c:v>0.595224</c:v>
                </c:pt>
                <c:pt idx="1182">
                  <c:v>0.595728</c:v>
                </c:pt>
                <c:pt idx="1183">
                  <c:v>0.596232</c:v>
                </c:pt>
                <c:pt idx="1184">
                  <c:v>0.596736</c:v>
                </c:pt>
                <c:pt idx="1185">
                  <c:v>0.59724</c:v>
                </c:pt>
                <c:pt idx="1186">
                  <c:v>0.597744</c:v>
                </c:pt>
                <c:pt idx="1187">
                  <c:v>0.598248</c:v>
                </c:pt>
                <c:pt idx="1188">
                  <c:v>0.598752</c:v>
                </c:pt>
                <c:pt idx="1189">
                  <c:v>0.599256</c:v>
                </c:pt>
                <c:pt idx="1190">
                  <c:v>0.59976</c:v>
                </c:pt>
                <c:pt idx="1191">
                  <c:v>0.600264</c:v>
                </c:pt>
                <c:pt idx="1192">
                  <c:v>0.600768</c:v>
                </c:pt>
                <c:pt idx="1193">
                  <c:v>0.601272</c:v>
                </c:pt>
                <c:pt idx="1194">
                  <c:v>0.601776</c:v>
                </c:pt>
                <c:pt idx="1195">
                  <c:v>0.60228</c:v>
                </c:pt>
                <c:pt idx="1196">
                  <c:v>0.602784</c:v>
                </c:pt>
                <c:pt idx="1197">
                  <c:v>0.603288</c:v>
                </c:pt>
                <c:pt idx="1198">
                  <c:v>0.603792</c:v>
                </c:pt>
                <c:pt idx="1199">
                  <c:v>0.604296</c:v>
                </c:pt>
                <c:pt idx="1200">
                  <c:v>0.6048</c:v>
                </c:pt>
                <c:pt idx="1201">
                  <c:v>0.605304</c:v>
                </c:pt>
                <c:pt idx="1202">
                  <c:v>0.605808</c:v>
                </c:pt>
                <c:pt idx="1203">
                  <c:v>0.606312</c:v>
                </c:pt>
                <c:pt idx="1204">
                  <c:v>0.606816</c:v>
                </c:pt>
                <c:pt idx="1205">
                  <c:v>0.60732</c:v>
                </c:pt>
                <c:pt idx="1206">
                  <c:v>0.607824</c:v>
                </c:pt>
                <c:pt idx="1207">
                  <c:v>0.608328</c:v>
                </c:pt>
                <c:pt idx="1208">
                  <c:v>0.608832</c:v>
                </c:pt>
                <c:pt idx="1209">
                  <c:v>0.609336</c:v>
                </c:pt>
                <c:pt idx="1210">
                  <c:v>0.60984</c:v>
                </c:pt>
                <c:pt idx="1211">
                  <c:v>0.610344</c:v>
                </c:pt>
                <c:pt idx="1212">
                  <c:v>0.610848</c:v>
                </c:pt>
                <c:pt idx="1213">
                  <c:v>0.611352</c:v>
                </c:pt>
                <c:pt idx="1214">
                  <c:v>0.611856</c:v>
                </c:pt>
                <c:pt idx="1215">
                  <c:v>0.61236</c:v>
                </c:pt>
                <c:pt idx="1216">
                  <c:v>0.612864</c:v>
                </c:pt>
                <c:pt idx="1217">
                  <c:v>0.613368</c:v>
                </c:pt>
                <c:pt idx="1218">
                  <c:v>0.613872</c:v>
                </c:pt>
                <c:pt idx="1219">
                  <c:v>0.614376</c:v>
                </c:pt>
                <c:pt idx="1220">
                  <c:v>0.61488</c:v>
                </c:pt>
                <c:pt idx="1221">
                  <c:v>0.615384</c:v>
                </c:pt>
                <c:pt idx="1222">
                  <c:v>0.615888</c:v>
                </c:pt>
                <c:pt idx="1223">
                  <c:v>0.616392</c:v>
                </c:pt>
                <c:pt idx="1224">
                  <c:v>0.616896</c:v>
                </c:pt>
                <c:pt idx="1225">
                  <c:v>0.6174</c:v>
                </c:pt>
                <c:pt idx="1226">
                  <c:v>0.617904</c:v>
                </c:pt>
                <c:pt idx="1227">
                  <c:v>0.618408</c:v>
                </c:pt>
                <c:pt idx="1228">
                  <c:v>0.618912</c:v>
                </c:pt>
                <c:pt idx="1229">
                  <c:v>0.619416</c:v>
                </c:pt>
                <c:pt idx="1230">
                  <c:v>0.61992</c:v>
                </c:pt>
                <c:pt idx="1231">
                  <c:v>0.620424</c:v>
                </c:pt>
                <c:pt idx="1232">
                  <c:v>0.620928</c:v>
                </c:pt>
                <c:pt idx="1233">
                  <c:v>0.621432</c:v>
                </c:pt>
                <c:pt idx="1234">
                  <c:v>0.621936</c:v>
                </c:pt>
                <c:pt idx="1235">
                  <c:v>0.62244</c:v>
                </c:pt>
                <c:pt idx="1236">
                  <c:v>0.622944</c:v>
                </c:pt>
                <c:pt idx="1237">
                  <c:v>0.623448</c:v>
                </c:pt>
                <c:pt idx="1238">
                  <c:v>0.623952</c:v>
                </c:pt>
                <c:pt idx="1239">
                  <c:v>0.624456</c:v>
                </c:pt>
                <c:pt idx="1240">
                  <c:v>0.62496</c:v>
                </c:pt>
                <c:pt idx="1241">
                  <c:v>0.625464</c:v>
                </c:pt>
                <c:pt idx="1242">
                  <c:v>0.625968</c:v>
                </c:pt>
                <c:pt idx="1243">
                  <c:v>0.626472</c:v>
                </c:pt>
                <c:pt idx="1244">
                  <c:v>0.626976</c:v>
                </c:pt>
                <c:pt idx="1245">
                  <c:v>0.62748</c:v>
                </c:pt>
                <c:pt idx="1246">
                  <c:v>0.627984</c:v>
                </c:pt>
                <c:pt idx="1247">
                  <c:v>0.628488</c:v>
                </c:pt>
                <c:pt idx="1248">
                  <c:v>0.628992</c:v>
                </c:pt>
                <c:pt idx="1249">
                  <c:v>0.629496</c:v>
                </c:pt>
                <c:pt idx="1250">
                  <c:v>0.63</c:v>
                </c:pt>
                <c:pt idx="1251">
                  <c:v>0.630504</c:v>
                </c:pt>
                <c:pt idx="1252">
                  <c:v>0.631008</c:v>
                </c:pt>
                <c:pt idx="1253">
                  <c:v>0.631512</c:v>
                </c:pt>
                <c:pt idx="1254">
                  <c:v>0.632016</c:v>
                </c:pt>
                <c:pt idx="1255">
                  <c:v>0.63252</c:v>
                </c:pt>
                <c:pt idx="1256">
                  <c:v>0.633024</c:v>
                </c:pt>
                <c:pt idx="1257">
                  <c:v>0.633528</c:v>
                </c:pt>
                <c:pt idx="1258">
                  <c:v>0.634032</c:v>
                </c:pt>
                <c:pt idx="1259">
                  <c:v>0.634536</c:v>
                </c:pt>
                <c:pt idx="1260">
                  <c:v>0.63504</c:v>
                </c:pt>
                <c:pt idx="1261">
                  <c:v>0.635544</c:v>
                </c:pt>
                <c:pt idx="1262">
                  <c:v>0.636048</c:v>
                </c:pt>
                <c:pt idx="1263">
                  <c:v>0.636552</c:v>
                </c:pt>
                <c:pt idx="1264">
                  <c:v>0.637056</c:v>
                </c:pt>
                <c:pt idx="1265">
                  <c:v>0.63756</c:v>
                </c:pt>
                <c:pt idx="1266">
                  <c:v>0.638064</c:v>
                </c:pt>
                <c:pt idx="1267">
                  <c:v>0.638568</c:v>
                </c:pt>
                <c:pt idx="1268">
                  <c:v>0.639072</c:v>
                </c:pt>
                <c:pt idx="1269">
                  <c:v>0.639576</c:v>
                </c:pt>
                <c:pt idx="1270">
                  <c:v>0.64008</c:v>
                </c:pt>
                <c:pt idx="1271">
                  <c:v>0.640584</c:v>
                </c:pt>
                <c:pt idx="1272">
                  <c:v>0.641088</c:v>
                </c:pt>
                <c:pt idx="1273">
                  <c:v>0.641592</c:v>
                </c:pt>
                <c:pt idx="1274">
                  <c:v>0.642096</c:v>
                </c:pt>
                <c:pt idx="1275">
                  <c:v>0.6426</c:v>
                </c:pt>
                <c:pt idx="1276">
                  <c:v>0.643104</c:v>
                </c:pt>
                <c:pt idx="1277">
                  <c:v>0.643608</c:v>
                </c:pt>
                <c:pt idx="1278">
                  <c:v>0.644112</c:v>
                </c:pt>
                <c:pt idx="1279">
                  <c:v>0.644616</c:v>
                </c:pt>
                <c:pt idx="1280">
                  <c:v>0.64512</c:v>
                </c:pt>
                <c:pt idx="1281">
                  <c:v>0.645624</c:v>
                </c:pt>
                <c:pt idx="1282">
                  <c:v>0.646128</c:v>
                </c:pt>
                <c:pt idx="1283">
                  <c:v>0.646632</c:v>
                </c:pt>
                <c:pt idx="1284">
                  <c:v>0.647136</c:v>
                </c:pt>
                <c:pt idx="1285">
                  <c:v>0.64764</c:v>
                </c:pt>
                <c:pt idx="1286">
                  <c:v>0.648144</c:v>
                </c:pt>
                <c:pt idx="1287">
                  <c:v>0.648648</c:v>
                </c:pt>
                <c:pt idx="1288">
                  <c:v>0.649152</c:v>
                </c:pt>
                <c:pt idx="1289">
                  <c:v>0.649656</c:v>
                </c:pt>
                <c:pt idx="1290">
                  <c:v>0.65016</c:v>
                </c:pt>
                <c:pt idx="1291">
                  <c:v>0.650664</c:v>
                </c:pt>
                <c:pt idx="1292">
                  <c:v>0.651168</c:v>
                </c:pt>
                <c:pt idx="1293">
                  <c:v>0.651672</c:v>
                </c:pt>
                <c:pt idx="1294">
                  <c:v>0.652176</c:v>
                </c:pt>
                <c:pt idx="1295">
                  <c:v>0.65268</c:v>
                </c:pt>
                <c:pt idx="1296">
                  <c:v>0.653184</c:v>
                </c:pt>
                <c:pt idx="1297">
                  <c:v>0.653688</c:v>
                </c:pt>
                <c:pt idx="1298">
                  <c:v>0.654192</c:v>
                </c:pt>
                <c:pt idx="1299">
                  <c:v>0.654696</c:v>
                </c:pt>
                <c:pt idx="1300">
                  <c:v>0.6552</c:v>
                </c:pt>
                <c:pt idx="1301">
                  <c:v>0.655704</c:v>
                </c:pt>
                <c:pt idx="1302">
                  <c:v>0.656208</c:v>
                </c:pt>
                <c:pt idx="1303">
                  <c:v>0.656712</c:v>
                </c:pt>
                <c:pt idx="1304">
                  <c:v>0.657216</c:v>
                </c:pt>
                <c:pt idx="1305">
                  <c:v>0.65772</c:v>
                </c:pt>
                <c:pt idx="1306">
                  <c:v>0.658224</c:v>
                </c:pt>
                <c:pt idx="1307">
                  <c:v>0.658728</c:v>
                </c:pt>
                <c:pt idx="1308">
                  <c:v>0.659232</c:v>
                </c:pt>
                <c:pt idx="1309">
                  <c:v>0.659736</c:v>
                </c:pt>
                <c:pt idx="1310">
                  <c:v>0.66024</c:v>
                </c:pt>
                <c:pt idx="1311">
                  <c:v>0.660744</c:v>
                </c:pt>
                <c:pt idx="1312">
                  <c:v>0.661248</c:v>
                </c:pt>
                <c:pt idx="1313">
                  <c:v>0.661752</c:v>
                </c:pt>
                <c:pt idx="1314">
                  <c:v>0.662256</c:v>
                </c:pt>
                <c:pt idx="1315">
                  <c:v>0.66276</c:v>
                </c:pt>
                <c:pt idx="1316">
                  <c:v>0.663264</c:v>
                </c:pt>
                <c:pt idx="1317">
                  <c:v>0.663768</c:v>
                </c:pt>
                <c:pt idx="1318">
                  <c:v>0.664272</c:v>
                </c:pt>
                <c:pt idx="1319">
                  <c:v>0.664776</c:v>
                </c:pt>
                <c:pt idx="1320">
                  <c:v>0.66528</c:v>
                </c:pt>
                <c:pt idx="1321">
                  <c:v>0.665784</c:v>
                </c:pt>
                <c:pt idx="1322">
                  <c:v>0.666288</c:v>
                </c:pt>
                <c:pt idx="1323">
                  <c:v>0.666792</c:v>
                </c:pt>
                <c:pt idx="1324">
                  <c:v>0.667296</c:v>
                </c:pt>
                <c:pt idx="1325">
                  <c:v>0.6678</c:v>
                </c:pt>
                <c:pt idx="1326">
                  <c:v>0.668304</c:v>
                </c:pt>
                <c:pt idx="1327">
                  <c:v>0.668808</c:v>
                </c:pt>
                <c:pt idx="1328">
                  <c:v>0.669312</c:v>
                </c:pt>
                <c:pt idx="1329">
                  <c:v>0.669816</c:v>
                </c:pt>
                <c:pt idx="1330">
                  <c:v>0.67032</c:v>
                </c:pt>
                <c:pt idx="1331">
                  <c:v>0.670824</c:v>
                </c:pt>
                <c:pt idx="1332">
                  <c:v>0.671328</c:v>
                </c:pt>
                <c:pt idx="1333">
                  <c:v>0.671832</c:v>
                </c:pt>
                <c:pt idx="1334">
                  <c:v>0.672336</c:v>
                </c:pt>
                <c:pt idx="1335">
                  <c:v>0.67284</c:v>
                </c:pt>
                <c:pt idx="1336">
                  <c:v>0.673344</c:v>
                </c:pt>
                <c:pt idx="1337">
                  <c:v>0.673848</c:v>
                </c:pt>
                <c:pt idx="1338">
                  <c:v>0.674352</c:v>
                </c:pt>
                <c:pt idx="1339">
                  <c:v>0.674856</c:v>
                </c:pt>
                <c:pt idx="1340">
                  <c:v>0.67536</c:v>
                </c:pt>
                <c:pt idx="1341">
                  <c:v>0.675864</c:v>
                </c:pt>
                <c:pt idx="1342">
                  <c:v>0.676368</c:v>
                </c:pt>
                <c:pt idx="1343">
                  <c:v>0.676872</c:v>
                </c:pt>
                <c:pt idx="1344">
                  <c:v>0.677376</c:v>
                </c:pt>
                <c:pt idx="1345">
                  <c:v>0.67788</c:v>
                </c:pt>
                <c:pt idx="1346">
                  <c:v>0.678384</c:v>
                </c:pt>
                <c:pt idx="1347">
                  <c:v>0.678888</c:v>
                </c:pt>
                <c:pt idx="1348">
                  <c:v>0.679392</c:v>
                </c:pt>
                <c:pt idx="1349">
                  <c:v>0.679896</c:v>
                </c:pt>
                <c:pt idx="1350">
                  <c:v>0.6804</c:v>
                </c:pt>
                <c:pt idx="1351">
                  <c:v>0.680904</c:v>
                </c:pt>
                <c:pt idx="1352">
                  <c:v>0.681408</c:v>
                </c:pt>
                <c:pt idx="1353">
                  <c:v>0.681912</c:v>
                </c:pt>
                <c:pt idx="1354">
                  <c:v>0.682416</c:v>
                </c:pt>
                <c:pt idx="1355">
                  <c:v>0.68292</c:v>
                </c:pt>
                <c:pt idx="1356">
                  <c:v>0.683424</c:v>
                </c:pt>
                <c:pt idx="1357">
                  <c:v>0.683928</c:v>
                </c:pt>
                <c:pt idx="1358">
                  <c:v>0.684432</c:v>
                </c:pt>
                <c:pt idx="1359">
                  <c:v>0.684936</c:v>
                </c:pt>
                <c:pt idx="1360">
                  <c:v>0.68544</c:v>
                </c:pt>
                <c:pt idx="1361">
                  <c:v>0.685944</c:v>
                </c:pt>
                <c:pt idx="1362">
                  <c:v>0.686448</c:v>
                </c:pt>
                <c:pt idx="1363">
                  <c:v>0.686952</c:v>
                </c:pt>
                <c:pt idx="1364">
                  <c:v>0.687456</c:v>
                </c:pt>
                <c:pt idx="1365">
                  <c:v>0.68796</c:v>
                </c:pt>
                <c:pt idx="1366">
                  <c:v>0.688464</c:v>
                </c:pt>
                <c:pt idx="1367">
                  <c:v>0.688968</c:v>
                </c:pt>
                <c:pt idx="1368">
                  <c:v>0.689472</c:v>
                </c:pt>
                <c:pt idx="1369">
                  <c:v>0.689976</c:v>
                </c:pt>
                <c:pt idx="1370">
                  <c:v>0.69048</c:v>
                </c:pt>
                <c:pt idx="1371">
                  <c:v>0.690984</c:v>
                </c:pt>
                <c:pt idx="1372">
                  <c:v>0.691488</c:v>
                </c:pt>
                <c:pt idx="1373">
                  <c:v>0.691992</c:v>
                </c:pt>
                <c:pt idx="1374">
                  <c:v>0.692496</c:v>
                </c:pt>
                <c:pt idx="1375">
                  <c:v>0.693</c:v>
                </c:pt>
                <c:pt idx="1376">
                  <c:v>0.693504</c:v>
                </c:pt>
                <c:pt idx="1377">
                  <c:v>0.694008</c:v>
                </c:pt>
                <c:pt idx="1378">
                  <c:v>0.694512</c:v>
                </c:pt>
                <c:pt idx="1379">
                  <c:v>0.695016</c:v>
                </c:pt>
                <c:pt idx="1380">
                  <c:v>0.69552</c:v>
                </c:pt>
                <c:pt idx="1381">
                  <c:v>0.696024</c:v>
                </c:pt>
                <c:pt idx="1382">
                  <c:v>0.696528</c:v>
                </c:pt>
                <c:pt idx="1383">
                  <c:v>0.697032</c:v>
                </c:pt>
                <c:pt idx="1384">
                  <c:v>0.697536</c:v>
                </c:pt>
                <c:pt idx="1385">
                  <c:v>0.69804</c:v>
                </c:pt>
                <c:pt idx="1386">
                  <c:v>0.698544</c:v>
                </c:pt>
                <c:pt idx="1387">
                  <c:v>0.699048</c:v>
                </c:pt>
                <c:pt idx="1388">
                  <c:v>0.699552</c:v>
                </c:pt>
                <c:pt idx="1389">
                  <c:v>0.700056</c:v>
                </c:pt>
                <c:pt idx="1390">
                  <c:v>0.70056</c:v>
                </c:pt>
                <c:pt idx="1391">
                  <c:v>0.701064</c:v>
                </c:pt>
                <c:pt idx="1392">
                  <c:v>0.701568</c:v>
                </c:pt>
                <c:pt idx="1393">
                  <c:v>0.702072</c:v>
                </c:pt>
                <c:pt idx="1394">
                  <c:v>0.702576</c:v>
                </c:pt>
                <c:pt idx="1395">
                  <c:v>0.70308</c:v>
                </c:pt>
                <c:pt idx="1396">
                  <c:v>0.703584</c:v>
                </c:pt>
                <c:pt idx="1397">
                  <c:v>0.704088</c:v>
                </c:pt>
                <c:pt idx="1398">
                  <c:v>0.704592</c:v>
                </c:pt>
                <c:pt idx="1399">
                  <c:v>0.705096</c:v>
                </c:pt>
                <c:pt idx="1400">
                  <c:v>0.7056</c:v>
                </c:pt>
                <c:pt idx="1401">
                  <c:v>0.706104</c:v>
                </c:pt>
                <c:pt idx="1402">
                  <c:v>0.706608</c:v>
                </c:pt>
                <c:pt idx="1403">
                  <c:v>0.707112</c:v>
                </c:pt>
                <c:pt idx="1404">
                  <c:v>0.707616</c:v>
                </c:pt>
                <c:pt idx="1405">
                  <c:v>0.70812</c:v>
                </c:pt>
                <c:pt idx="1406">
                  <c:v>0.708624</c:v>
                </c:pt>
                <c:pt idx="1407">
                  <c:v>0.709128</c:v>
                </c:pt>
                <c:pt idx="1408">
                  <c:v>0.709632</c:v>
                </c:pt>
                <c:pt idx="1409">
                  <c:v>0.710136</c:v>
                </c:pt>
                <c:pt idx="1410">
                  <c:v>0.71064</c:v>
                </c:pt>
                <c:pt idx="1411">
                  <c:v>0.711144</c:v>
                </c:pt>
                <c:pt idx="1412">
                  <c:v>0.711648</c:v>
                </c:pt>
                <c:pt idx="1413">
                  <c:v>0.712152</c:v>
                </c:pt>
                <c:pt idx="1414">
                  <c:v>0.712656</c:v>
                </c:pt>
                <c:pt idx="1415">
                  <c:v>0.71316</c:v>
                </c:pt>
                <c:pt idx="1416">
                  <c:v>0.713664</c:v>
                </c:pt>
                <c:pt idx="1417">
                  <c:v>0.714168</c:v>
                </c:pt>
                <c:pt idx="1418">
                  <c:v>0.714672</c:v>
                </c:pt>
                <c:pt idx="1419">
                  <c:v>0.715176</c:v>
                </c:pt>
                <c:pt idx="1420">
                  <c:v>0.71568</c:v>
                </c:pt>
                <c:pt idx="1421">
                  <c:v>0.716184</c:v>
                </c:pt>
                <c:pt idx="1422">
                  <c:v>0.716688</c:v>
                </c:pt>
                <c:pt idx="1423">
                  <c:v>0.717192</c:v>
                </c:pt>
                <c:pt idx="1424">
                  <c:v>0.717696</c:v>
                </c:pt>
                <c:pt idx="1425">
                  <c:v>0.7182</c:v>
                </c:pt>
                <c:pt idx="1426">
                  <c:v>0.718704</c:v>
                </c:pt>
                <c:pt idx="1427">
                  <c:v>0.719208</c:v>
                </c:pt>
                <c:pt idx="1428">
                  <c:v>0.719712</c:v>
                </c:pt>
                <c:pt idx="1429">
                  <c:v>0.720216</c:v>
                </c:pt>
                <c:pt idx="1430">
                  <c:v>0.72072</c:v>
                </c:pt>
                <c:pt idx="1431">
                  <c:v>0.721224</c:v>
                </c:pt>
                <c:pt idx="1432">
                  <c:v>0.721728</c:v>
                </c:pt>
                <c:pt idx="1433">
                  <c:v>0.722232</c:v>
                </c:pt>
                <c:pt idx="1434">
                  <c:v>0.722736</c:v>
                </c:pt>
                <c:pt idx="1435">
                  <c:v>0.72324</c:v>
                </c:pt>
                <c:pt idx="1436">
                  <c:v>0.723744</c:v>
                </c:pt>
                <c:pt idx="1437">
                  <c:v>0.724248</c:v>
                </c:pt>
                <c:pt idx="1438">
                  <c:v>0.724752</c:v>
                </c:pt>
                <c:pt idx="1439">
                  <c:v>0.725256</c:v>
                </c:pt>
                <c:pt idx="1440">
                  <c:v>0.72576</c:v>
                </c:pt>
                <c:pt idx="1441">
                  <c:v>0.726264</c:v>
                </c:pt>
                <c:pt idx="1442">
                  <c:v>0.726768</c:v>
                </c:pt>
                <c:pt idx="1443">
                  <c:v>0.727272</c:v>
                </c:pt>
                <c:pt idx="1444">
                  <c:v>0.727776</c:v>
                </c:pt>
                <c:pt idx="1445">
                  <c:v>0.72828</c:v>
                </c:pt>
                <c:pt idx="1446">
                  <c:v>0.728784</c:v>
                </c:pt>
                <c:pt idx="1447">
                  <c:v>0.729288</c:v>
                </c:pt>
                <c:pt idx="1448">
                  <c:v>0.729792</c:v>
                </c:pt>
                <c:pt idx="1449">
                  <c:v>0.730296</c:v>
                </c:pt>
                <c:pt idx="1450">
                  <c:v>0.7308</c:v>
                </c:pt>
                <c:pt idx="1451">
                  <c:v>0.731304</c:v>
                </c:pt>
                <c:pt idx="1452">
                  <c:v>0.731808</c:v>
                </c:pt>
                <c:pt idx="1453">
                  <c:v>0.732312</c:v>
                </c:pt>
                <c:pt idx="1454">
                  <c:v>0.732816</c:v>
                </c:pt>
                <c:pt idx="1455">
                  <c:v>0.73332</c:v>
                </c:pt>
                <c:pt idx="1456">
                  <c:v>0.733824</c:v>
                </c:pt>
                <c:pt idx="1457">
                  <c:v>0.734328</c:v>
                </c:pt>
                <c:pt idx="1458">
                  <c:v>0.734832</c:v>
                </c:pt>
                <c:pt idx="1459">
                  <c:v>0.735336</c:v>
                </c:pt>
                <c:pt idx="1460">
                  <c:v>0.73584</c:v>
                </c:pt>
                <c:pt idx="1461">
                  <c:v>0.736344</c:v>
                </c:pt>
                <c:pt idx="1462">
                  <c:v>0.736848</c:v>
                </c:pt>
                <c:pt idx="1463">
                  <c:v>0.737352</c:v>
                </c:pt>
                <c:pt idx="1464">
                  <c:v>0.737856</c:v>
                </c:pt>
                <c:pt idx="1465">
                  <c:v>0.73836</c:v>
                </c:pt>
                <c:pt idx="1466">
                  <c:v>0.738864</c:v>
                </c:pt>
                <c:pt idx="1467">
                  <c:v>0.739368</c:v>
                </c:pt>
                <c:pt idx="1468">
                  <c:v>0.739872</c:v>
                </c:pt>
                <c:pt idx="1469">
                  <c:v>0.740376</c:v>
                </c:pt>
                <c:pt idx="1470">
                  <c:v>0.74088</c:v>
                </c:pt>
                <c:pt idx="1471">
                  <c:v>0.741384</c:v>
                </c:pt>
                <c:pt idx="1472">
                  <c:v>0.741888</c:v>
                </c:pt>
                <c:pt idx="1473">
                  <c:v>0.742392</c:v>
                </c:pt>
                <c:pt idx="1474">
                  <c:v>0.742896</c:v>
                </c:pt>
                <c:pt idx="1475">
                  <c:v>0.7434</c:v>
                </c:pt>
                <c:pt idx="1476">
                  <c:v>0.743904</c:v>
                </c:pt>
                <c:pt idx="1477">
                  <c:v>0.744408</c:v>
                </c:pt>
                <c:pt idx="1478">
                  <c:v>0.744912</c:v>
                </c:pt>
                <c:pt idx="1479">
                  <c:v>0.745416</c:v>
                </c:pt>
                <c:pt idx="1480">
                  <c:v>0.74592</c:v>
                </c:pt>
                <c:pt idx="1481">
                  <c:v>0.746424</c:v>
                </c:pt>
                <c:pt idx="1482">
                  <c:v>0.746928</c:v>
                </c:pt>
                <c:pt idx="1483">
                  <c:v>0.747432</c:v>
                </c:pt>
                <c:pt idx="1484">
                  <c:v>0.747936</c:v>
                </c:pt>
                <c:pt idx="1485">
                  <c:v>0.74844</c:v>
                </c:pt>
                <c:pt idx="1486">
                  <c:v>0.748944</c:v>
                </c:pt>
                <c:pt idx="1487">
                  <c:v>0.749448</c:v>
                </c:pt>
                <c:pt idx="1488">
                  <c:v>0.749952</c:v>
                </c:pt>
                <c:pt idx="1489">
                  <c:v>0.750456</c:v>
                </c:pt>
                <c:pt idx="1490">
                  <c:v>0.75096</c:v>
                </c:pt>
                <c:pt idx="1491">
                  <c:v>0.751464</c:v>
                </c:pt>
                <c:pt idx="1492">
                  <c:v>0.751968</c:v>
                </c:pt>
                <c:pt idx="1493">
                  <c:v>0.752472</c:v>
                </c:pt>
                <c:pt idx="1494">
                  <c:v>0.752976</c:v>
                </c:pt>
                <c:pt idx="1495">
                  <c:v>0.75348</c:v>
                </c:pt>
                <c:pt idx="1496">
                  <c:v>0.753984</c:v>
                </c:pt>
                <c:pt idx="1497">
                  <c:v>0.754488</c:v>
                </c:pt>
                <c:pt idx="1498">
                  <c:v>0.754992</c:v>
                </c:pt>
                <c:pt idx="1499">
                  <c:v>0.755496</c:v>
                </c:pt>
                <c:pt idx="1500">
                  <c:v>0.756</c:v>
                </c:pt>
                <c:pt idx="1501">
                  <c:v>0.756504</c:v>
                </c:pt>
                <c:pt idx="1502">
                  <c:v>0.757008</c:v>
                </c:pt>
                <c:pt idx="1503">
                  <c:v>0.757512</c:v>
                </c:pt>
                <c:pt idx="1504">
                  <c:v>0.758016</c:v>
                </c:pt>
                <c:pt idx="1505">
                  <c:v>0.75852</c:v>
                </c:pt>
                <c:pt idx="1506">
                  <c:v>0.759024</c:v>
                </c:pt>
                <c:pt idx="1507">
                  <c:v>0.759528</c:v>
                </c:pt>
                <c:pt idx="1508">
                  <c:v>0.760032</c:v>
                </c:pt>
                <c:pt idx="1509">
                  <c:v>0.760536</c:v>
                </c:pt>
                <c:pt idx="1510">
                  <c:v>0.76104</c:v>
                </c:pt>
                <c:pt idx="1511">
                  <c:v>0.761544</c:v>
                </c:pt>
                <c:pt idx="1512">
                  <c:v>0.762048</c:v>
                </c:pt>
                <c:pt idx="1513">
                  <c:v>0.762552</c:v>
                </c:pt>
                <c:pt idx="1514">
                  <c:v>0.763056</c:v>
                </c:pt>
                <c:pt idx="1515">
                  <c:v>0.76356</c:v>
                </c:pt>
                <c:pt idx="1516">
                  <c:v>0.764064</c:v>
                </c:pt>
                <c:pt idx="1517">
                  <c:v>0.764568</c:v>
                </c:pt>
                <c:pt idx="1518">
                  <c:v>0.765072</c:v>
                </c:pt>
                <c:pt idx="1519">
                  <c:v>0.765576</c:v>
                </c:pt>
                <c:pt idx="1520">
                  <c:v>0.76608</c:v>
                </c:pt>
                <c:pt idx="1521">
                  <c:v>0.766584</c:v>
                </c:pt>
                <c:pt idx="1522">
                  <c:v>0.767088</c:v>
                </c:pt>
                <c:pt idx="1523">
                  <c:v>0.767592</c:v>
                </c:pt>
                <c:pt idx="1524">
                  <c:v>0.768096</c:v>
                </c:pt>
                <c:pt idx="1525">
                  <c:v>0.7686</c:v>
                </c:pt>
                <c:pt idx="1526">
                  <c:v>0.769104</c:v>
                </c:pt>
                <c:pt idx="1527">
                  <c:v>0.769608</c:v>
                </c:pt>
                <c:pt idx="1528">
                  <c:v>0.770112</c:v>
                </c:pt>
                <c:pt idx="1529">
                  <c:v>0.770616</c:v>
                </c:pt>
                <c:pt idx="1530">
                  <c:v>0.77112</c:v>
                </c:pt>
                <c:pt idx="1531">
                  <c:v>0.771624</c:v>
                </c:pt>
                <c:pt idx="1532">
                  <c:v>0.772128</c:v>
                </c:pt>
                <c:pt idx="1533">
                  <c:v>0.772632</c:v>
                </c:pt>
                <c:pt idx="1534">
                  <c:v>0.773136</c:v>
                </c:pt>
                <c:pt idx="1535">
                  <c:v>0.77364</c:v>
                </c:pt>
                <c:pt idx="1536">
                  <c:v>0.774144</c:v>
                </c:pt>
                <c:pt idx="1537">
                  <c:v>0.774648</c:v>
                </c:pt>
                <c:pt idx="1538">
                  <c:v>0.775152</c:v>
                </c:pt>
                <c:pt idx="1539">
                  <c:v>0.775656</c:v>
                </c:pt>
                <c:pt idx="1540">
                  <c:v>0.77616</c:v>
                </c:pt>
                <c:pt idx="1541">
                  <c:v>0.776664</c:v>
                </c:pt>
                <c:pt idx="1542">
                  <c:v>0.777168</c:v>
                </c:pt>
                <c:pt idx="1543">
                  <c:v>0.777672</c:v>
                </c:pt>
                <c:pt idx="1544">
                  <c:v>0.778176</c:v>
                </c:pt>
                <c:pt idx="1545">
                  <c:v>0.77868</c:v>
                </c:pt>
                <c:pt idx="1546">
                  <c:v>0.779184</c:v>
                </c:pt>
                <c:pt idx="1547">
                  <c:v>0.779688</c:v>
                </c:pt>
                <c:pt idx="1548">
                  <c:v>0.780192</c:v>
                </c:pt>
                <c:pt idx="1549">
                  <c:v>0.780696</c:v>
                </c:pt>
                <c:pt idx="1550">
                  <c:v>0.7812</c:v>
                </c:pt>
                <c:pt idx="1551">
                  <c:v>0.781704</c:v>
                </c:pt>
                <c:pt idx="1552">
                  <c:v>0.782208</c:v>
                </c:pt>
                <c:pt idx="1553">
                  <c:v>0.782712</c:v>
                </c:pt>
                <c:pt idx="1554">
                  <c:v>0.783216</c:v>
                </c:pt>
                <c:pt idx="1555">
                  <c:v>0.78372</c:v>
                </c:pt>
                <c:pt idx="1556">
                  <c:v>0.784224</c:v>
                </c:pt>
                <c:pt idx="1557">
                  <c:v>0.784728</c:v>
                </c:pt>
                <c:pt idx="1558">
                  <c:v>0.785232</c:v>
                </c:pt>
                <c:pt idx="1559">
                  <c:v>0.785736</c:v>
                </c:pt>
                <c:pt idx="1560">
                  <c:v>0.78624</c:v>
                </c:pt>
                <c:pt idx="1561">
                  <c:v>0.786744</c:v>
                </c:pt>
                <c:pt idx="1562">
                  <c:v>0.787248</c:v>
                </c:pt>
                <c:pt idx="1563">
                  <c:v>0.787752</c:v>
                </c:pt>
                <c:pt idx="1564">
                  <c:v>0.788256</c:v>
                </c:pt>
                <c:pt idx="1565">
                  <c:v>0.78876</c:v>
                </c:pt>
                <c:pt idx="1566">
                  <c:v>0.789264</c:v>
                </c:pt>
                <c:pt idx="1567">
                  <c:v>0.789768</c:v>
                </c:pt>
                <c:pt idx="1568">
                  <c:v>0.790272</c:v>
                </c:pt>
                <c:pt idx="1569">
                  <c:v>0.790776</c:v>
                </c:pt>
                <c:pt idx="1570">
                  <c:v>0.79128</c:v>
                </c:pt>
                <c:pt idx="1571">
                  <c:v>0.791784</c:v>
                </c:pt>
                <c:pt idx="1572">
                  <c:v>0.792288</c:v>
                </c:pt>
                <c:pt idx="1573">
                  <c:v>0.792792</c:v>
                </c:pt>
                <c:pt idx="1574">
                  <c:v>0.793296</c:v>
                </c:pt>
                <c:pt idx="1575">
                  <c:v>0.7938</c:v>
                </c:pt>
                <c:pt idx="1576">
                  <c:v>0.794304</c:v>
                </c:pt>
                <c:pt idx="1577">
                  <c:v>0.794808</c:v>
                </c:pt>
                <c:pt idx="1578">
                  <c:v>0.795312</c:v>
                </c:pt>
                <c:pt idx="1579">
                  <c:v>0.795816</c:v>
                </c:pt>
                <c:pt idx="1580">
                  <c:v>0.79632</c:v>
                </c:pt>
                <c:pt idx="1581">
                  <c:v>0.796824</c:v>
                </c:pt>
                <c:pt idx="1582">
                  <c:v>0.797328</c:v>
                </c:pt>
                <c:pt idx="1583">
                  <c:v>0.797832</c:v>
                </c:pt>
                <c:pt idx="1584">
                  <c:v>0.798336</c:v>
                </c:pt>
                <c:pt idx="1585">
                  <c:v>0.79884</c:v>
                </c:pt>
                <c:pt idx="1586">
                  <c:v>0.799344</c:v>
                </c:pt>
                <c:pt idx="1587">
                  <c:v>0.799848</c:v>
                </c:pt>
                <c:pt idx="1588">
                  <c:v>0.800352</c:v>
                </c:pt>
                <c:pt idx="1589">
                  <c:v>0.800856</c:v>
                </c:pt>
                <c:pt idx="1590">
                  <c:v>0.80136</c:v>
                </c:pt>
                <c:pt idx="1591">
                  <c:v>0.801864</c:v>
                </c:pt>
                <c:pt idx="1592">
                  <c:v>0.802368</c:v>
                </c:pt>
                <c:pt idx="1593">
                  <c:v>0.802872</c:v>
                </c:pt>
                <c:pt idx="1594">
                  <c:v>0.803376</c:v>
                </c:pt>
                <c:pt idx="1595">
                  <c:v>0.80388</c:v>
                </c:pt>
                <c:pt idx="1596">
                  <c:v>0.804384</c:v>
                </c:pt>
                <c:pt idx="1597">
                  <c:v>0.804888</c:v>
                </c:pt>
                <c:pt idx="1598">
                  <c:v>0.805392</c:v>
                </c:pt>
                <c:pt idx="1599">
                  <c:v>0.805896</c:v>
                </c:pt>
                <c:pt idx="1600">
                  <c:v>0.8064</c:v>
                </c:pt>
                <c:pt idx="1601">
                  <c:v>0.806904</c:v>
                </c:pt>
                <c:pt idx="1602">
                  <c:v>0.807408</c:v>
                </c:pt>
                <c:pt idx="1603">
                  <c:v>0.807912</c:v>
                </c:pt>
                <c:pt idx="1604">
                  <c:v>0.808416</c:v>
                </c:pt>
                <c:pt idx="1605">
                  <c:v>0.80892</c:v>
                </c:pt>
                <c:pt idx="1606">
                  <c:v>0.809424</c:v>
                </c:pt>
                <c:pt idx="1607">
                  <c:v>0.809928</c:v>
                </c:pt>
                <c:pt idx="1608">
                  <c:v>0.810432</c:v>
                </c:pt>
                <c:pt idx="1609">
                  <c:v>0.810936</c:v>
                </c:pt>
                <c:pt idx="1610">
                  <c:v>0.81144</c:v>
                </c:pt>
                <c:pt idx="1611">
                  <c:v>0.811944</c:v>
                </c:pt>
                <c:pt idx="1612">
                  <c:v>0.812448</c:v>
                </c:pt>
                <c:pt idx="1613">
                  <c:v>0.812952</c:v>
                </c:pt>
                <c:pt idx="1614">
                  <c:v>0.813456</c:v>
                </c:pt>
                <c:pt idx="1615">
                  <c:v>0.81396</c:v>
                </c:pt>
                <c:pt idx="1616">
                  <c:v>0.814464</c:v>
                </c:pt>
                <c:pt idx="1617">
                  <c:v>0.814968</c:v>
                </c:pt>
                <c:pt idx="1618">
                  <c:v>0.815472</c:v>
                </c:pt>
                <c:pt idx="1619">
                  <c:v>0.815976</c:v>
                </c:pt>
                <c:pt idx="1620">
                  <c:v>0.81648</c:v>
                </c:pt>
                <c:pt idx="1621">
                  <c:v>0.816984</c:v>
                </c:pt>
                <c:pt idx="1622">
                  <c:v>0.817488</c:v>
                </c:pt>
                <c:pt idx="1623">
                  <c:v>0.817992</c:v>
                </c:pt>
                <c:pt idx="1624">
                  <c:v>0.818496</c:v>
                </c:pt>
                <c:pt idx="1625">
                  <c:v>0.819</c:v>
                </c:pt>
                <c:pt idx="1626">
                  <c:v>0.819504</c:v>
                </c:pt>
                <c:pt idx="1627">
                  <c:v>0.820008</c:v>
                </c:pt>
                <c:pt idx="1628">
                  <c:v>0.820512</c:v>
                </c:pt>
                <c:pt idx="1629">
                  <c:v>0.821016</c:v>
                </c:pt>
                <c:pt idx="1630">
                  <c:v>0.82152</c:v>
                </c:pt>
                <c:pt idx="1631">
                  <c:v>0.822024</c:v>
                </c:pt>
                <c:pt idx="1632">
                  <c:v>0.822528</c:v>
                </c:pt>
                <c:pt idx="1633">
                  <c:v>0.823032</c:v>
                </c:pt>
                <c:pt idx="1634">
                  <c:v>0.823536</c:v>
                </c:pt>
                <c:pt idx="1635">
                  <c:v>0.82404</c:v>
                </c:pt>
                <c:pt idx="1636">
                  <c:v>0.824544</c:v>
                </c:pt>
                <c:pt idx="1637">
                  <c:v>0.825048</c:v>
                </c:pt>
                <c:pt idx="1638">
                  <c:v>0.825552</c:v>
                </c:pt>
                <c:pt idx="1639">
                  <c:v>0.826056</c:v>
                </c:pt>
                <c:pt idx="1640">
                  <c:v>0.82656</c:v>
                </c:pt>
                <c:pt idx="1641">
                  <c:v>0.827064</c:v>
                </c:pt>
                <c:pt idx="1642">
                  <c:v>0.827568</c:v>
                </c:pt>
                <c:pt idx="1643">
                  <c:v>0.828072</c:v>
                </c:pt>
                <c:pt idx="1644">
                  <c:v>0.828576</c:v>
                </c:pt>
                <c:pt idx="1645">
                  <c:v>0.82908</c:v>
                </c:pt>
                <c:pt idx="1646">
                  <c:v>0.829584</c:v>
                </c:pt>
                <c:pt idx="1647">
                  <c:v>0.830088</c:v>
                </c:pt>
                <c:pt idx="1648">
                  <c:v>0.830592</c:v>
                </c:pt>
                <c:pt idx="1649">
                  <c:v>0.831096</c:v>
                </c:pt>
                <c:pt idx="1650">
                  <c:v>0.8316</c:v>
                </c:pt>
                <c:pt idx="1651">
                  <c:v>0.832104</c:v>
                </c:pt>
                <c:pt idx="1652">
                  <c:v>0.832608</c:v>
                </c:pt>
                <c:pt idx="1653">
                  <c:v>0.833112</c:v>
                </c:pt>
                <c:pt idx="1654">
                  <c:v>0.833616</c:v>
                </c:pt>
                <c:pt idx="1655">
                  <c:v>0.83412</c:v>
                </c:pt>
                <c:pt idx="1656">
                  <c:v>0.834624</c:v>
                </c:pt>
                <c:pt idx="1657">
                  <c:v>0.835128</c:v>
                </c:pt>
                <c:pt idx="1658">
                  <c:v>0.835632</c:v>
                </c:pt>
                <c:pt idx="1659">
                  <c:v>0.836136</c:v>
                </c:pt>
                <c:pt idx="1660">
                  <c:v>0.83664</c:v>
                </c:pt>
                <c:pt idx="1661">
                  <c:v>0.837144</c:v>
                </c:pt>
                <c:pt idx="1662">
                  <c:v>0.837648</c:v>
                </c:pt>
                <c:pt idx="1663">
                  <c:v>0.838152</c:v>
                </c:pt>
                <c:pt idx="1664">
                  <c:v>0.838656</c:v>
                </c:pt>
                <c:pt idx="1665">
                  <c:v>0.83916</c:v>
                </c:pt>
                <c:pt idx="1666">
                  <c:v>0.839664</c:v>
                </c:pt>
                <c:pt idx="1667">
                  <c:v>0.840168</c:v>
                </c:pt>
                <c:pt idx="1668">
                  <c:v>0.840672</c:v>
                </c:pt>
                <c:pt idx="1669">
                  <c:v>0.841176</c:v>
                </c:pt>
                <c:pt idx="1670">
                  <c:v>0.84168</c:v>
                </c:pt>
                <c:pt idx="1671">
                  <c:v>0.842184</c:v>
                </c:pt>
                <c:pt idx="1672">
                  <c:v>0.842688</c:v>
                </c:pt>
                <c:pt idx="1673">
                  <c:v>0.843192</c:v>
                </c:pt>
                <c:pt idx="1674">
                  <c:v>0.843696</c:v>
                </c:pt>
                <c:pt idx="1675">
                  <c:v>0.8442</c:v>
                </c:pt>
                <c:pt idx="1676">
                  <c:v>0.844704</c:v>
                </c:pt>
                <c:pt idx="1677">
                  <c:v>0.845208</c:v>
                </c:pt>
                <c:pt idx="1678">
                  <c:v>0.845712</c:v>
                </c:pt>
                <c:pt idx="1679">
                  <c:v>0.846216</c:v>
                </c:pt>
                <c:pt idx="1680">
                  <c:v>0.84672</c:v>
                </c:pt>
                <c:pt idx="1681">
                  <c:v>0.847224</c:v>
                </c:pt>
                <c:pt idx="1682">
                  <c:v>0.847728</c:v>
                </c:pt>
                <c:pt idx="1683">
                  <c:v>0.848232</c:v>
                </c:pt>
                <c:pt idx="1684">
                  <c:v>0.848736</c:v>
                </c:pt>
                <c:pt idx="1685">
                  <c:v>0.84924</c:v>
                </c:pt>
                <c:pt idx="1686">
                  <c:v>0.849744</c:v>
                </c:pt>
                <c:pt idx="1687">
                  <c:v>0.850248</c:v>
                </c:pt>
                <c:pt idx="1688">
                  <c:v>0.850752</c:v>
                </c:pt>
                <c:pt idx="1689">
                  <c:v>0.851256</c:v>
                </c:pt>
                <c:pt idx="1690">
                  <c:v>0.85176</c:v>
                </c:pt>
                <c:pt idx="1691">
                  <c:v>0.852264</c:v>
                </c:pt>
                <c:pt idx="1692">
                  <c:v>0.852768</c:v>
                </c:pt>
                <c:pt idx="1693">
                  <c:v>0.853272</c:v>
                </c:pt>
                <c:pt idx="1694">
                  <c:v>0.853776</c:v>
                </c:pt>
                <c:pt idx="1695">
                  <c:v>0.85428</c:v>
                </c:pt>
                <c:pt idx="1696">
                  <c:v>0.854784</c:v>
                </c:pt>
                <c:pt idx="1697">
                  <c:v>0.855288</c:v>
                </c:pt>
                <c:pt idx="1698">
                  <c:v>0.855792</c:v>
                </c:pt>
                <c:pt idx="1699">
                  <c:v>0.856296</c:v>
                </c:pt>
                <c:pt idx="1700">
                  <c:v>0.8568</c:v>
                </c:pt>
                <c:pt idx="1701">
                  <c:v>0.857304</c:v>
                </c:pt>
                <c:pt idx="1702">
                  <c:v>0.857808</c:v>
                </c:pt>
                <c:pt idx="1703">
                  <c:v>0.858312</c:v>
                </c:pt>
                <c:pt idx="1704">
                  <c:v>0.858816</c:v>
                </c:pt>
                <c:pt idx="1705">
                  <c:v>0.85932</c:v>
                </c:pt>
                <c:pt idx="1706">
                  <c:v>0.859824</c:v>
                </c:pt>
                <c:pt idx="1707">
                  <c:v>0.860328</c:v>
                </c:pt>
                <c:pt idx="1708">
                  <c:v>0.860832</c:v>
                </c:pt>
                <c:pt idx="1709">
                  <c:v>0.861336</c:v>
                </c:pt>
                <c:pt idx="1710">
                  <c:v>0.86184</c:v>
                </c:pt>
                <c:pt idx="1711">
                  <c:v>0.862344</c:v>
                </c:pt>
                <c:pt idx="1712">
                  <c:v>0.862848</c:v>
                </c:pt>
                <c:pt idx="1713">
                  <c:v>0.863352</c:v>
                </c:pt>
                <c:pt idx="1714">
                  <c:v>0.863856</c:v>
                </c:pt>
                <c:pt idx="1715">
                  <c:v>0.86436</c:v>
                </c:pt>
                <c:pt idx="1716">
                  <c:v>0.864864</c:v>
                </c:pt>
                <c:pt idx="1717">
                  <c:v>0.865368</c:v>
                </c:pt>
                <c:pt idx="1718">
                  <c:v>0.865872</c:v>
                </c:pt>
                <c:pt idx="1719">
                  <c:v>0.866376</c:v>
                </c:pt>
                <c:pt idx="1720">
                  <c:v>0.86688</c:v>
                </c:pt>
                <c:pt idx="1721">
                  <c:v>0.867384</c:v>
                </c:pt>
                <c:pt idx="1722">
                  <c:v>0.867888</c:v>
                </c:pt>
                <c:pt idx="1723">
                  <c:v>0.868392</c:v>
                </c:pt>
                <c:pt idx="1724">
                  <c:v>0.868896</c:v>
                </c:pt>
                <c:pt idx="1725">
                  <c:v>0.8694</c:v>
                </c:pt>
                <c:pt idx="1726">
                  <c:v>0.869904</c:v>
                </c:pt>
                <c:pt idx="1727">
                  <c:v>0.870408</c:v>
                </c:pt>
                <c:pt idx="1728">
                  <c:v>0.870912</c:v>
                </c:pt>
                <c:pt idx="1729">
                  <c:v>0.871416</c:v>
                </c:pt>
                <c:pt idx="1730">
                  <c:v>0.87192</c:v>
                </c:pt>
                <c:pt idx="1731">
                  <c:v>0.872424</c:v>
                </c:pt>
                <c:pt idx="1732">
                  <c:v>0.872928</c:v>
                </c:pt>
                <c:pt idx="1733">
                  <c:v>0.873432</c:v>
                </c:pt>
                <c:pt idx="1734">
                  <c:v>0.873936</c:v>
                </c:pt>
                <c:pt idx="1735">
                  <c:v>0.87444</c:v>
                </c:pt>
                <c:pt idx="1736">
                  <c:v>0.874944</c:v>
                </c:pt>
                <c:pt idx="1737">
                  <c:v>0.875448</c:v>
                </c:pt>
                <c:pt idx="1738">
                  <c:v>0.875952</c:v>
                </c:pt>
                <c:pt idx="1739">
                  <c:v>0.876456</c:v>
                </c:pt>
                <c:pt idx="1740">
                  <c:v>0.87696</c:v>
                </c:pt>
                <c:pt idx="1741">
                  <c:v>0.877464</c:v>
                </c:pt>
                <c:pt idx="1742">
                  <c:v>0.877968</c:v>
                </c:pt>
                <c:pt idx="1743">
                  <c:v>0.878472</c:v>
                </c:pt>
                <c:pt idx="1744">
                  <c:v>0.878976</c:v>
                </c:pt>
                <c:pt idx="1745">
                  <c:v>0.87948</c:v>
                </c:pt>
                <c:pt idx="1746">
                  <c:v>0.879984</c:v>
                </c:pt>
                <c:pt idx="1747">
                  <c:v>0.880488</c:v>
                </c:pt>
                <c:pt idx="1748">
                  <c:v>0.880992</c:v>
                </c:pt>
                <c:pt idx="1749">
                  <c:v>0.881496</c:v>
                </c:pt>
                <c:pt idx="1750">
                  <c:v>0.882</c:v>
                </c:pt>
                <c:pt idx="1751">
                  <c:v>0.882504</c:v>
                </c:pt>
                <c:pt idx="1752">
                  <c:v>0.883008</c:v>
                </c:pt>
                <c:pt idx="1753">
                  <c:v>0.883512</c:v>
                </c:pt>
                <c:pt idx="1754">
                  <c:v>0.884016</c:v>
                </c:pt>
                <c:pt idx="1755">
                  <c:v>0.88452</c:v>
                </c:pt>
                <c:pt idx="1756">
                  <c:v>0.885024</c:v>
                </c:pt>
                <c:pt idx="1757">
                  <c:v>0.885528</c:v>
                </c:pt>
                <c:pt idx="1758">
                  <c:v>0.886032</c:v>
                </c:pt>
                <c:pt idx="1759">
                  <c:v>0.886536</c:v>
                </c:pt>
                <c:pt idx="1760">
                  <c:v>0.88704</c:v>
                </c:pt>
                <c:pt idx="1761">
                  <c:v>0.887544</c:v>
                </c:pt>
                <c:pt idx="1762">
                  <c:v>0.888048</c:v>
                </c:pt>
                <c:pt idx="1763">
                  <c:v>0.888552</c:v>
                </c:pt>
                <c:pt idx="1764">
                  <c:v>0.889056</c:v>
                </c:pt>
                <c:pt idx="1765">
                  <c:v>0.88956</c:v>
                </c:pt>
                <c:pt idx="1766">
                  <c:v>0.890064</c:v>
                </c:pt>
                <c:pt idx="1767">
                  <c:v>0.890568</c:v>
                </c:pt>
                <c:pt idx="1768">
                  <c:v>0.891072</c:v>
                </c:pt>
                <c:pt idx="1769">
                  <c:v>0.891576</c:v>
                </c:pt>
                <c:pt idx="1770">
                  <c:v>0.89208</c:v>
                </c:pt>
                <c:pt idx="1771">
                  <c:v>0.892584</c:v>
                </c:pt>
                <c:pt idx="1772">
                  <c:v>0.893088</c:v>
                </c:pt>
                <c:pt idx="1773">
                  <c:v>0.893592</c:v>
                </c:pt>
                <c:pt idx="1774">
                  <c:v>0.894096</c:v>
                </c:pt>
                <c:pt idx="1775">
                  <c:v>0.8946</c:v>
                </c:pt>
                <c:pt idx="1776">
                  <c:v>0.895104</c:v>
                </c:pt>
                <c:pt idx="1777">
                  <c:v>0.895608</c:v>
                </c:pt>
                <c:pt idx="1778">
                  <c:v>0.896112</c:v>
                </c:pt>
                <c:pt idx="1779">
                  <c:v>0.896616</c:v>
                </c:pt>
                <c:pt idx="1780">
                  <c:v>0.89712</c:v>
                </c:pt>
                <c:pt idx="1781">
                  <c:v>0.897624</c:v>
                </c:pt>
                <c:pt idx="1782">
                  <c:v>0.898128</c:v>
                </c:pt>
                <c:pt idx="1783">
                  <c:v>0.898632</c:v>
                </c:pt>
                <c:pt idx="1784">
                  <c:v>0.899136</c:v>
                </c:pt>
                <c:pt idx="1785">
                  <c:v>0.89964</c:v>
                </c:pt>
                <c:pt idx="1786">
                  <c:v>0.900144</c:v>
                </c:pt>
                <c:pt idx="1787">
                  <c:v>0.900648</c:v>
                </c:pt>
                <c:pt idx="1788">
                  <c:v>0.901152</c:v>
                </c:pt>
                <c:pt idx="1789">
                  <c:v>0.901656</c:v>
                </c:pt>
                <c:pt idx="1790">
                  <c:v>0.90216</c:v>
                </c:pt>
                <c:pt idx="1791">
                  <c:v>0.902664</c:v>
                </c:pt>
                <c:pt idx="1792">
                  <c:v>0.903168</c:v>
                </c:pt>
                <c:pt idx="1793">
                  <c:v>0.903672</c:v>
                </c:pt>
                <c:pt idx="1794">
                  <c:v>0.904176</c:v>
                </c:pt>
                <c:pt idx="1795">
                  <c:v>0.90468</c:v>
                </c:pt>
                <c:pt idx="1796">
                  <c:v>0.905184</c:v>
                </c:pt>
                <c:pt idx="1797">
                  <c:v>0.905688</c:v>
                </c:pt>
                <c:pt idx="1798">
                  <c:v>0.906192</c:v>
                </c:pt>
                <c:pt idx="1799">
                  <c:v>0.906696</c:v>
                </c:pt>
                <c:pt idx="1800">
                  <c:v>0.9072</c:v>
                </c:pt>
                <c:pt idx="1801">
                  <c:v>0.907704</c:v>
                </c:pt>
                <c:pt idx="1802">
                  <c:v>0.908208</c:v>
                </c:pt>
                <c:pt idx="1803">
                  <c:v>0.908712</c:v>
                </c:pt>
                <c:pt idx="1804">
                  <c:v>0.909216</c:v>
                </c:pt>
                <c:pt idx="1805">
                  <c:v>0.90972</c:v>
                </c:pt>
                <c:pt idx="1806">
                  <c:v>0.910224</c:v>
                </c:pt>
                <c:pt idx="1807">
                  <c:v>0.910728</c:v>
                </c:pt>
                <c:pt idx="1808">
                  <c:v>0.911232</c:v>
                </c:pt>
                <c:pt idx="1809">
                  <c:v>0.911736</c:v>
                </c:pt>
                <c:pt idx="1810">
                  <c:v>0.91224</c:v>
                </c:pt>
                <c:pt idx="1811">
                  <c:v>0.912744</c:v>
                </c:pt>
                <c:pt idx="1812">
                  <c:v>0.913248</c:v>
                </c:pt>
                <c:pt idx="1813">
                  <c:v>0.913752</c:v>
                </c:pt>
                <c:pt idx="1814">
                  <c:v>0.914256</c:v>
                </c:pt>
                <c:pt idx="1815">
                  <c:v>0.91476</c:v>
                </c:pt>
                <c:pt idx="1816">
                  <c:v>0.915264</c:v>
                </c:pt>
                <c:pt idx="1817">
                  <c:v>0.915768</c:v>
                </c:pt>
                <c:pt idx="1818">
                  <c:v>0.916272</c:v>
                </c:pt>
                <c:pt idx="1819">
                  <c:v>0.916776</c:v>
                </c:pt>
                <c:pt idx="1820">
                  <c:v>0.91728</c:v>
                </c:pt>
                <c:pt idx="1821">
                  <c:v>0.917784</c:v>
                </c:pt>
                <c:pt idx="1822">
                  <c:v>0.918288</c:v>
                </c:pt>
                <c:pt idx="1823">
                  <c:v>0.918792</c:v>
                </c:pt>
                <c:pt idx="1824">
                  <c:v>0.919296</c:v>
                </c:pt>
                <c:pt idx="1825">
                  <c:v>0.9198</c:v>
                </c:pt>
                <c:pt idx="1826">
                  <c:v>0.920304</c:v>
                </c:pt>
                <c:pt idx="1827">
                  <c:v>0.920808</c:v>
                </c:pt>
                <c:pt idx="1828">
                  <c:v>0.921312</c:v>
                </c:pt>
                <c:pt idx="1829">
                  <c:v>0.921816</c:v>
                </c:pt>
                <c:pt idx="1830">
                  <c:v>0.92232</c:v>
                </c:pt>
                <c:pt idx="1831">
                  <c:v>0.922824</c:v>
                </c:pt>
                <c:pt idx="1832">
                  <c:v>0.923328</c:v>
                </c:pt>
                <c:pt idx="1833">
                  <c:v>0.923832</c:v>
                </c:pt>
                <c:pt idx="1834">
                  <c:v>0.924336</c:v>
                </c:pt>
                <c:pt idx="1835">
                  <c:v>0.92484</c:v>
                </c:pt>
                <c:pt idx="1836">
                  <c:v>0.925344</c:v>
                </c:pt>
                <c:pt idx="1837">
                  <c:v>0.925848</c:v>
                </c:pt>
                <c:pt idx="1838">
                  <c:v>0.926352</c:v>
                </c:pt>
                <c:pt idx="1839">
                  <c:v>0.926856</c:v>
                </c:pt>
                <c:pt idx="1840">
                  <c:v>0.92736</c:v>
                </c:pt>
                <c:pt idx="1841">
                  <c:v>0.927864</c:v>
                </c:pt>
                <c:pt idx="1842">
                  <c:v>0.928368</c:v>
                </c:pt>
                <c:pt idx="1843">
                  <c:v>0.928872</c:v>
                </c:pt>
                <c:pt idx="1844">
                  <c:v>0.929376</c:v>
                </c:pt>
                <c:pt idx="1845">
                  <c:v>0.92988</c:v>
                </c:pt>
                <c:pt idx="1846">
                  <c:v>0.930384</c:v>
                </c:pt>
                <c:pt idx="1847">
                  <c:v>0.930888</c:v>
                </c:pt>
                <c:pt idx="1848">
                  <c:v>0.931392</c:v>
                </c:pt>
                <c:pt idx="1849">
                  <c:v>0.931896</c:v>
                </c:pt>
                <c:pt idx="1850">
                  <c:v>0.9324</c:v>
                </c:pt>
                <c:pt idx="1851">
                  <c:v>0.932904</c:v>
                </c:pt>
                <c:pt idx="1852">
                  <c:v>0.933408</c:v>
                </c:pt>
                <c:pt idx="1853">
                  <c:v>0.933912</c:v>
                </c:pt>
                <c:pt idx="1854">
                  <c:v>0.934416</c:v>
                </c:pt>
                <c:pt idx="1855">
                  <c:v>0.93492</c:v>
                </c:pt>
                <c:pt idx="1856">
                  <c:v>0.935424</c:v>
                </c:pt>
                <c:pt idx="1857">
                  <c:v>0.935928</c:v>
                </c:pt>
                <c:pt idx="1858">
                  <c:v>0.936432</c:v>
                </c:pt>
                <c:pt idx="1859">
                  <c:v>0.936936</c:v>
                </c:pt>
                <c:pt idx="1860">
                  <c:v>0.93744</c:v>
                </c:pt>
                <c:pt idx="1861">
                  <c:v>0.937944</c:v>
                </c:pt>
                <c:pt idx="1862">
                  <c:v>0.938448</c:v>
                </c:pt>
                <c:pt idx="1863">
                  <c:v>0.938952</c:v>
                </c:pt>
                <c:pt idx="1864">
                  <c:v>0.939456</c:v>
                </c:pt>
                <c:pt idx="1865">
                  <c:v>0.93996</c:v>
                </c:pt>
                <c:pt idx="1866">
                  <c:v>0.940464</c:v>
                </c:pt>
                <c:pt idx="1867">
                  <c:v>0.940968</c:v>
                </c:pt>
                <c:pt idx="1868">
                  <c:v>0.941472</c:v>
                </c:pt>
                <c:pt idx="1869">
                  <c:v>0.941976</c:v>
                </c:pt>
                <c:pt idx="1870">
                  <c:v>0.94248</c:v>
                </c:pt>
                <c:pt idx="1871">
                  <c:v>0.942984</c:v>
                </c:pt>
                <c:pt idx="1872">
                  <c:v>0.943488</c:v>
                </c:pt>
                <c:pt idx="1873">
                  <c:v>0.943992</c:v>
                </c:pt>
                <c:pt idx="1874">
                  <c:v>0.944496</c:v>
                </c:pt>
                <c:pt idx="1875">
                  <c:v>0.945</c:v>
                </c:pt>
                <c:pt idx="1876">
                  <c:v>0.945504</c:v>
                </c:pt>
                <c:pt idx="1877">
                  <c:v>0.946008</c:v>
                </c:pt>
                <c:pt idx="1878">
                  <c:v>0.946512</c:v>
                </c:pt>
                <c:pt idx="1879">
                  <c:v>0.947016</c:v>
                </c:pt>
                <c:pt idx="1880">
                  <c:v>0.94752</c:v>
                </c:pt>
                <c:pt idx="1881">
                  <c:v>0.948024</c:v>
                </c:pt>
                <c:pt idx="1882">
                  <c:v>0.948528</c:v>
                </c:pt>
                <c:pt idx="1883">
                  <c:v>0.949032</c:v>
                </c:pt>
                <c:pt idx="1884">
                  <c:v>0.949536</c:v>
                </c:pt>
                <c:pt idx="1885">
                  <c:v>0.95004</c:v>
                </c:pt>
                <c:pt idx="1886">
                  <c:v>0.950544</c:v>
                </c:pt>
                <c:pt idx="1887">
                  <c:v>0.951048</c:v>
                </c:pt>
                <c:pt idx="1888">
                  <c:v>0.951552</c:v>
                </c:pt>
                <c:pt idx="1889">
                  <c:v>0.952056</c:v>
                </c:pt>
                <c:pt idx="1890">
                  <c:v>0.95256</c:v>
                </c:pt>
                <c:pt idx="1891">
                  <c:v>0.953064</c:v>
                </c:pt>
                <c:pt idx="1892">
                  <c:v>0.953568</c:v>
                </c:pt>
                <c:pt idx="1893">
                  <c:v>0.954072</c:v>
                </c:pt>
                <c:pt idx="1894">
                  <c:v>0.954576</c:v>
                </c:pt>
                <c:pt idx="1895">
                  <c:v>0.95508</c:v>
                </c:pt>
                <c:pt idx="1896">
                  <c:v>0.955584</c:v>
                </c:pt>
                <c:pt idx="1897">
                  <c:v>0.956088</c:v>
                </c:pt>
                <c:pt idx="1898">
                  <c:v>0.956592</c:v>
                </c:pt>
                <c:pt idx="1899">
                  <c:v>0.957096</c:v>
                </c:pt>
                <c:pt idx="1900">
                  <c:v>0.9576</c:v>
                </c:pt>
                <c:pt idx="1901">
                  <c:v>0.958104</c:v>
                </c:pt>
                <c:pt idx="1902">
                  <c:v>0.958608</c:v>
                </c:pt>
                <c:pt idx="1903">
                  <c:v>0.959112</c:v>
                </c:pt>
                <c:pt idx="1904">
                  <c:v>0.959616</c:v>
                </c:pt>
                <c:pt idx="1905">
                  <c:v>0.96012</c:v>
                </c:pt>
                <c:pt idx="1906">
                  <c:v>0.960624</c:v>
                </c:pt>
                <c:pt idx="1907">
                  <c:v>0.961128</c:v>
                </c:pt>
                <c:pt idx="1908">
                  <c:v>0.961632</c:v>
                </c:pt>
                <c:pt idx="1909">
                  <c:v>0.962136</c:v>
                </c:pt>
                <c:pt idx="1910">
                  <c:v>0.96264</c:v>
                </c:pt>
                <c:pt idx="1911">
                  <c:v>0.963144</c:v>
                </c:pt>
                <c:pt idx="1912">
                  <c:v>0.963648</c:v>
                </c:pt>
                <c:pt idx="1913">
                  <c:v>0.964152</c:v>
                </c:pt>
                <c:pt idx="1914">
                  <c:v>0.964656</c:v>
                </c:pt>
                <c:pt idx="1915">
                  <c:v>0.96516</c:v>
                </c:pt>
                <c:pt idx="1916">
                  <c:v>0.965664</c:v>
                </c:pt>
                <c:pt idx="1917">
                  <c:v>0.966168</c:v>
                </c:pt>
                <c:pt idx="1918">
                  <c:v>0.966672</c:v>
                </c:pt>
                <c:pt idx="1919">
                  <c:v>0.967176</c:v>
                </c:pt>
                <c:pt idx="1920">
                  <c:v>0.96768</c:v>
                </c:pt>
                <c:pt idx="1921">
                  <c:v>0.968184</c:v>
                </c:pt>
                <c:pt idx="1922">
                  <c:v>0.968688</c:v>
                </c:pt>
                <c:pt idx="1923">
                  <c:v>0.969192</c:v>
                </c:pt>
                <c:pt idx="1924">
                  <c:v>0.969696</c:v>
                </c:pt>
                <c:pt idx="1925">
                  <c:v>0.9702</c:v>
                </c:pt>
                <c:pt idx="1926">
                  <c:v>0.970704</c:v>
                </c:pt>
                <c:pt idx="1927">
                  <c:v>0.971208</c:v>
                </c:pt>
                <c:pt idx="1928">
                  <c:v>0.971712</c:v>
                </c:pt>
                <c:pt idx="1929">
                  <c:v>0.972216</c:v>
                </c:pt>
                <c:pt idx="1930">
                  <c:v>0.97272</c:v>
                </c:pt>
                <c:pt idx="1931">
                  <c:v>0.973224</c:v>
                </c:pt>
                <c:pt idx="1932">
                  <c:v>0.973728</c:v>
                </c:pt>
                <c:pt idx="1933">
                  <c:v>0.974232</c:v>
                </c:pt>
                <c:pt idx="1934">
                  <c:v>0.974736</c:v>
                </c:pt>
                <c:pt idx="1935">
                  <c:v>0.97524</c:v>
                </c:pt>
                <c:pt idx="1936">
                  <c:v>0.975744</c:v>
                </c:pt>
                <c:pt idx="1937">
                  <c:v>0.976248</c:v>
                </c:pt>
                <c:pt idx="1938">
                  <c:v>0.976752</c:v>
                </c:pt>
                <c:pt idx="1939">
                  <c:v>0.977256</c:v>
                </c:pt>
                <c:pt idx="1940">
                  <c:v>0.97776</c:v>
                </c:pt>
                <c:pt idx="1941">
                  <c:v>0.978264</c:v>
                </c:pt>
                <c:pt idx="1942">
                  <c:v>0.978768</c:v>
                </c:pt>
                <c:pt idx="1943">
                  <c:v>0.979272</c:v>
                </c:pt>
                <c:pt idx="1944">
                  <c:v>0.979776</c:v>
                </c:pt>
                <c:pt idx="1945">
                  <c:v>0.98028</c:v>
                </c:pt>
                <c:pt idx="1946">
                  <c:v>0.980784</c:v>
                </c:pt>
                <c:pt idx="1947">
                  <c:v>0.981288</c:v>
                </c:pt>
                <c:pt idx="1948">
                  <c:v>0.981792</c:v>
                </c:pt>
                <c:pt idx="1949">
                  <c:v>0.982296</c:v>
                </c:pt>
                <c:pt idx="1950">
                  <c:v>0.9828</c:v>
                </c:pt>
                <c:pt idx="1951">
                  <c:v>0.983304</c:v>
                </c:pt>
                <c:pt idx="1952">
                  <c:v>0.983808</c:v>
                </c:pt>
                <c:pt idx="1953">
                  <c:v>0.984312</c:v>
                </c:pt>
                <c:pt idx="1954">
                  <c:v>0.984816</c:v>
                </c:pt>
                <c:pt idx="1955">
                  <c:v>0.98532</c:v>
                </c:pt>
                <c:pt idx="1956">
                  <c:v>0.985824</c:v>
                </c:pt>
                <c:pt idx="1957">
                  <c:v>0.986328</c:v>
                </c:pt>
                <c:pt idx="1958">
                  <c:v>0.986832</c:v>
                </c:pt>
                <c:pt idx="1959">
                  <c:v>0.987336</c:v>
                </c:pt>
                <c:pt idx="1960">
                  <c:v>0.98784</c:v>
                </c:pt>
                <c:pt idx="1961">
                  <c:v>0.988344</c:v>
                </c:pt>
                <c:pt idx="1962">
                  <c:v>0.988848</c:v>
                </c:pt>
                <c:pt idx="1963">
                  <c:v>0.989352</c:v>
                </c:pt>
                <c:pt idx="1964">
                  <c:v>0.989856</c:v>
                </c:pt>
                <c:pt idx="1965">
                  <c:v>0.99036</c:v>
                </c:pt>
                <c:pt idx="1966">
                  <c:v>0.990864</c:v>
                </c:pt>
                <c:pt idx="1967">
                  <c:v>0.991368</c:v>
                </c:pt>
                <c:pt idx="1968">
                  <c:v>0.991872</c:v>
                </c:pt>
                <c:pt idx="1969">
                  <c:v>0.992376</c:v>
                </c:pt>
                <c:pt idx="1970">
                  <c:v>0.99288</c:v>
                </c:pt>
                <c:pt idx="1971">
                  <c:v>0.993384</c:v>
                </c:pt>
                <c:pt idx="1972">
                  <c:v>0.993888</c:v>
                </c:pt>
                <c:pt idx="1973">
                  <c:v>0.994392</c:v>
                </c:pt>
                <c:pt idx="1974">
                  <c:v>0.994896</c:v>
                </c:pt>
                <c:pt idx="1975">
                  <c:v>0.9954</c:v>
                </c:pt>
                <c:pt idx="1976">
                  <c:v>0.995904</c:v>
                </c:pt>
                <c:pt idx="1977">
                  <c:v>0.996408</c:v>
                </c:pt>
                <c:pt idx="1978">
                  <c:v>0.996912</c:v>
                </c:pt>
                <c:pt idx="1979">
                  <c:v>0.997416</c:v>
                </c:pt>
                <c:pt idx="1980">
                  <c:v>0.99792</c:v>
                </c:pt>
                <c:pt idx="1981">
                  <c:v>0.998424</c:v>
                </c:pt>
                <c:pt idx="1982">
                  <c:v>0.998928</c:v>
                </c:pt>
                <c:pt idx="1983">
                  <c:v>0.999432</c:v>
                </c:pt>
                <c:pt idx="1984">
                  <c:v>0.999936</c:v>
                </c:pt>
                <c:pt idx="1985">
                  <c:v>1.00044</c:v>
                </c:pt>
                <c:pt idx="1986">
                  <c:v>1.000944</c:v>
                </c:pt>
                <c:pt idx="1987">
                  <c:v>1.001448</c:v>
                </c:pt>
                <c:pt idx="1988">
                  <c:v>1.001952</c:v>
                </c:pt>
                <c:pt idx="1989">
                  <c:v>1.002456</c:v>
                </c:pt>
                <c:pt idx="1990">
                  <c:v>1.00296</c:v>
                </c:pt>
                <c:pt idx="1991">
                  <c:v>1.003464</c:v>
                </c:pt>
                <c:pt idx="1992">
                  <c:v>1.003968</c:v>
                </c:pt>
                <c:pt idx="1993">
                  <c:v>1.004472</c:v>
                </c:pt>
                <c:pt idx="1994">
                  <c:v>1.004976</c:v>
                </c:pt>
                <c:pt idx="1995">
                  <c:v>1.00548</c:v>
                </c:pt>
                <c:pt idx="1996">
                  <c:v>1.005984</c:v>
                </c:pt>
                <c:pt idx="1997">
                  <c:v>1.006488</c:v>
                </c:pt>
                <c:pt idx="1998">
                  <c:v>1.006992</c:v>
                </c:pt>
                <c:pt idx="1999">
                  <c:v>1.007496</c:v>
                </c:pt>
                <c:pt idx="2000">
                  <c:v>1.008</c:v>
                </c:pt>
                <c:pt idx="2001">
                  <c:v>1.008504</c:v>
                </c:pt>
                <c:pt idx="2002">
                  <c:v>1.009008</c:v>
                </c:pt>
                <c:pt idx="2003">
                  <c:v>1.009512</c:v>
                </c:pt>
                <c:pt idx="2004">
                  <c:v>1.010016</c:v>
                </c:pt>
                <c:pt idx="2005">
                  <c:v>1.01052</c:v>
                </c:pt>
                <c:pt idx="2006">
                  <c:v>1.011024</c:v>
                </c:pt>
                <c:pt idx="2007">
                  <c:v>1.011528</c:v>
                </c:pt>
                <c:pt idx="2008">
                  <c:v>1.012032</c:v>
                </c:pt>
                <c:pt idx="2009">
                  <c:v>1.012536</c:v>
                </c:pt>
                <c:pt idx="2010">
                  <c:v>1.01304</c:v>
                </c:pt>
                <c:pt idx="2011">
                  <c:v>1.013544</c:v>
                </c:pt>
                <c:pt idx="2012">
                  <c:v>1.014048</c:v>
                </c:pt>
                <c:pt idx="2013">
                  <c:v>1.014552</c:v>
                </c:pt>
                <c:pt idx="2014">
                  <c:v>1.015056</c:v>
                </c:pt>
                <c:pt idx="2015">
                  <c:v>1.01556</c:v>
                </c:pt>
                <c:pt idx="2016">
                  <c:v>1.016064</c:v>
                </c:pt>
                <c:pt idx="2017">
                  <c:v>1.016568</c:v>
                </c:pt>
                <c:pt idx="2018">
                  <c:v>1.017072</c:v>
                </c:pt>
                <c:pt idx="2019">
                  <c:v>1.017576</c:v>
                </c:pt>
                <c:pt idx="2020">
                  <c:v>1.01808</c:v>
                </c:pt>
                <c:pt idx="2021">
                  <c:v>1.018584</c:v>
                </c:pt>
                <c:pt idx="2022">
                  <c:v>1.019088</c:v>
                </c:pt>
                <c:pt idx="2023">
                  <c:v>1.019592</c:v>
                </c:pt>
                <c:pt idx="2024">
                  <c:v>1.020096</c:v>
                </c:pt>
                <c:pt idx="2025">
                  <c:v>1.0206</c:v>
                </c:pt>
                <c:pt idx="2026">
                  <c:v>1.021104</c:v>
                </c:pt>
                <c:pt idx="2027">
                  <c:v>1.021608</c:v>
                </c:pt>
                <c:pt idx="2028">
                  <c:v>1.022112</c:v>
                </c:pt>
                <c:pt idx="2029">
                  <c:v>1.022616</c:v>
                </c:pt>
                <c:pt idx="2030">
                  <c:v>1.02312</c:v>
                </c:pt>
                <c:pt idx="2031">
                  <c:v>1.023624</c:v>
                </c:pt>
                <c:pt idx="2032">
                  <c:v>1.024128</c:v>
                </c:pt>
                <c:pt idx="2033">
                  <c:v>1.024632</c:v>
                </c:pt>
                <c:pt idx="2034">
                  <c:v>1.025136</c:v>
                </c:pt>
                <c:pt idx="2035">
                  <c:v>1.02564</c:v>
                </c:pt>
                <c:pt idx="2036">
                  <c:v>1.026144</c:v>
                </c:pt>
                <c:pt idx="2037">
                  <c:v>1.026648</c:v>
                </c:pt>
                <c:pt idx="2038">
                  <c:v>1.027152</c:v>
                </c:pt>
                <c:pt idx="2039">
                  <c:v>1.027656</c:v>
                </c:pt>
                <c:pt idx="2040">
                  <c:v>1.02816</c:v>
                </c:pt>
                <c:pt idx="2041">
                  <c:v>1.028664</c:v>
                </c:pt>
                <c:pt idx="2042">
                  <c:v>1.029168</c:v>
                </c:pt>
                <c:pt idx="2043">
                  <c:v>1.029672</c:v>
                </c:pt>
                <c:pt idx="2044">
                  <c:v>1.030176</c:v>
                </c:pt>
                <c:pt idx="2045">
                  <c:v>1.03068</c:v>
                </c:pt>
                <c:pt idx="2046">
                  <c:v>1.031184</c:v>
                </c:pt>
                <c:pt idx="2047">
                  <c:v>1.031688</c:v>
                </c:pt>
                <c:pt idx="2048">
                  <c:v>1.032192</c:v>
                </c:pt>
                <c:pt idx="2049">
                  <c:v>1.032696</c:v>
                </c:pt>
                <c:pt idx="2050">
                  <c:v>1.0332</c:v>
                </c:pt>
                <c:pt idx="2051">
                  <c:v>1.033704</c:v>
                </c:pt>
                <c:pt idx="2052">
                  <c:v>1.034208</c:v>
                </c:pt>
                <c:pt idx="2053">
                  <c:v>1.034712</c:v>
                </c:pt>
                <c:pt idx="2054">
                  <c:v>1.035216</c:v>
                </c:pt>
                <c:pt idx="2055">
                  <c:v>1.03572</c:v>
                </c:pt>
                <c:pt idx="2056">
                  <c:v>1.036224</c:v>
                </c:pt>
                <c:pt idx="2057">
                  <c:v>1.036728</c:v>
                </c:pt>
                <c:pt idx="2058">
                  <c:v>1.037232</c:v>
                </c:pt>
                <c:pt idx="2059">
                  <c:v>1.037736</c:v>
                </c:pt>
                <c:pt idx="2060">
                  <c:v>1.03824</c:v>
                </c:pt>
                <c:pt idx="2061">
                  <c:v>1.038744</c:v>
                </c:pt>
                <c:pt idx="2062">
                  <c:v>1.039248</c:v>
                </c:pt>
                <c:pt idx="2063">
                  <c:v>1.039752</c:v>
                </c:pt>
                <c:pt idx="2064">
                  <c:v>1.040256</c:v>
                </c:pt>
                <c:pt idx="2065">
                  <c:v>1.04076</c:v>
                </c:pt>
                <c:pt idx="2066">
                  <c:v>1.041264</c:v>
                </c:pt>
                <c:pt idx="2067">
                  <c:v>1.041768</c:v>
                </c:pt>
                <c:pt idx="2068">
                  <c:v>1.042272</c:v>
                </c:pt>
                <c:pt idx="2069">
                  <c:v>1.042776</c:v>
                </c:pt>
                <c:pt idx="2070">
                  <c:v>1.04328</c:v>
                </c:pt>
                <c:pt idx="2071">
                  <c:v>1.043784</c:v>
                </c:pt>
                <c:pt idx="2072">
                  <c:v>1.044288</c:v>
                </c:pt>
                <c:pt idx="2073">
                  <c:v>1.044792</c:v>
                </c:pt>
                <c:pt idx="2074">
                  <c:v>1.045296</c:v>
                </c:pt>
                <c:pt idx="2075">
                  <c:v>1.0458</c:v>
                </c:pt>
                <c:pt idx="2076">
                  <c:v>1.046304</c:v>
                </c:pt>
                <c:pt idx="2077">
                  <c:v>1.046808</c:v>
                </c:pt>
                <c:pt idx="2078">
                  <c:v>1.047312</c:v>
                </c:pt>
                <c:pt idx="2079">
                  <c:v>1.047816</c:v>
                </c:pt>
                <c:pt idx="2080">
                  <c:v>1.04832</c:v>
                </c:pt>
                <c:pt idx="2081">
                  <c:v>1.048824</c:v>
                </c:pt>
                <c:pt idx="2082">
                  <c:v>1.049328</c:v>
                </c:pt>
                <c:pt idx="2083">
                  <c:v>1.049832</c:v>
                </c:pt>
                <c:pt idx="2084">
                  <c:v>1.050336</c:v>
                </c:pt>
                <c:pt idx="2085">
                  <c:v>1.05084</c:v>
                </c:pt>
                <c:pt idx="2086">
                  <c:v>1.051344</c:v>
                </c:pt>
                <c:pt idx="2087">
                  <c:v>1.051848</c:v>
                </c:pt>
                <c:pt idx="2088">
                  <c:v>1.052352</c:v>
                </c:pt>
                <c:pt idx="2089">
                  <c:v>1.052856</c:v>
                </c:pt>
                <c:pt idx="2090">
                  <c:v>1.05336</c:v>
                </c:pt>
                <c:pt idx="2091">
                  <c:v>1.053864</c:v>
                </c:pt>
                <c:pt idx="2092">
                  <c:v>1.054368</c:v>
                </c:pt>
                <c:pt idx="2093">
                  <c:v>1.054872</c:v>
                </c:pt>
                <c:pt idx="2094">
                  <c:v>1.055376</c:v>
                </c:pt>
                <c:pt idx="2095">
                  <c:v>1.05588</c:v>
                </c:pt>
                <c:pt idx="2096">
                  <c:v>1.056384</c:v>
                </c:pt>
                <c:pt idx="2097">
                  <c:v>1.056888</c:v>
                </c:pt>
                <c:pt idx="2098">
                  <c:v>1.057392</c:v>
                </c:pt>
                <c:pt idx="2099">
                  <c:v>1.057896</c:v>
                </c:pt>
                <c:pt idx="2100">
                  <c:v>1.0584</c:v>
                </c:pt>
                <c:pt idx="2101">
                  <c:v>1.058904</c:v>
                </c:pt>
                <c:pt idx="2102">
                  <c:v>1.059408</c:v>
                </c:pt>
                <c:pt idx="2103">
                  <c:v>1.059912</c:v>
                </c:pt>
                <c:pt idx="2104">
                  <c:v>1.060416</c:v>
                </c:pt>
                <c:pt idx="2105">
                  <c:v>1.06092</c:v>
                </c:pt>
                <c:pt idx="2106">
                  <c:v>1.061424</c:v>
                </c:pt>
                <c:pt idx="2107">
                  <c:v>1.061928</c:v>
                </c:pt>
                <c:pt idx="2108">
                  <c:v>1.062432</c:v>
                </c:pt>
                <c:pt idx="2109">
                  <c:v>1.062936</c:v>
                </c:pt>
                <c:pt idx="2110">
                  <c:v>1.06344</c:v>
                </c:pt>
                <c:pt idx="2111">
                  <c:v>1.063944</c:v>
                </c:pt>
                <c:pt idx="2112">
                  <c:v>1.064448</c:v>
                </c:pt>
                <c:pt idx="2113">
                  <c:v>1.064952</c:v>
                </c:pt>
                <c:pt idx="2114">
                  <c:v>1.065456</c:v>
                </c:pt>
                <c:pt idx="2115">
                  <c:v>1.06596</c:v>
                </c:pt>
                <c:pt idx="2116">
                  <c:v>1.066464</c:v>
                </c:pt>
                <c:pt idx="2117">
                  <c:v>1.066968</c:v>
                </c:pt>
                <c:pt idx="2118">
                  <c:v>1.067472</c:v>
                </c:pt>
                <c:pt idx="2119">
                  <c:v>1.067976</c:v>
                </c:pt>
                <c:pt idx="2120">
                  <c:v>1.06848</c:v>
                </c:pt>
                <c:pt idx="2121">
                  <c:v>1.068984</c:v>
                </c:pt>
                <c:pt idx="2122">
                  <c:v>1.069488</c:v>
                </c:pt>
                <c:pt idx="2123">
                  <c:v>1.069992</c:v>
                </c:pt>
                <c:pt idx="2124">
                  <c:v>1.070496</c:v>
                </c:pt>
                <c:pt idx="2125">
                  <c:v>1.071</c:v>
                </c:pt>
                <c:pt idx="2126">
                  <c:v>1.071504</c:v>
                </c:pt>
                <c:pt idx="2127">
                  <c:v>1.072008</c:v>
                </c:pt>
                <c:pt idx="2128">
                  <c:v>1.072512</c:v>
                </c:pt>
                <c:pt idx="2129">
                  <c:v>1.073016</c:v>
                </c:pt>
                <c:pt idx="2130">
                  <c:v>1.07352</c:v>
                </c:pt>
                <c:pt idx="2131">
                  <c:v>1.074024</c:v>
                </c:pt>
                <c:pt idx="2132">
                  <c:v>1.074528</c:v>
                </c:pt>
                <c:pt idx="2133">
                  <c:v>1.075032</c:v>
                </c:pt>
                <c:pt idx="2134">
                  <c:v>1.075536</c:v>
                </c:pt>
                <c:pt idx="2135">
                  <c:v>1.07604</c:v>
                </c:pt>
                <c:pt idx="2136">
                  <c:v>1.076544</c:v>
                </c:pt>
                <c:pt idx="2137">
                  <c:v>1.077048</c:v>
                </c:pt>
                <c:pt idx="2138">
                  <c:v>1.077552</c:v>
                </c:pt>
                <c:pt idx="2139">
                  <c:v>1.078056</c:v>
                </c:pt>
                <c:pt idx="2140">
                  <c:v>1.07856</c:v>
                </c:pt>
                <c:pt idx="2141">
                  <c:v>1.079064</c:v>
                </c:pt>
                <c:pt idx="2142">
                  <c:v>1.079568</c:v>
                </c:pt>
                <c:pt idx="2143">
                  <c:v>1.080072</c:v>
                </c:pt>
                <c:pt idx="2144">
                  <c:v>1.080576</c:v>
                </c:pt>
                <c:pt idx="2145">
                  <c:v>1.08108</c:v>
                </c:pt>
                <c:pt idx="2146">
                  <c:v>1.081584</c:v>
                </c:pt>
                <c:pt idx="2147">
                  <c:v>1.082088</c:v>
                </c:pt>
                <c:pt idx="2148">
                  <c:v>1.082592</c:v>
                </c:pt>
                <c:pt idx="2149">
                  <c:v>1.083096</c:v>
                </c:pt>
                <c:pt idx="2150">
                  <c:v>1.0836</c:v>
                </c:pt>
                <c:pt idx="2151">
                  <c:v>1.084104</c:v>
                </c:pt>
                <c:pt idx="2152">
                  <c:v>1.084608</c:v>
                </c:pt>
                <c:pt idx="2153">
                  <c:v>1.085112</c:v>
                </c:pt>
                <c:pt idx="2154">
                  <c:v>1.085616</c:v>
                </c:pt>
                <c:pt idx="2155">
                  <c:v>1.08612</c:v>
                </c:pt>
                <c:pt idx="2156">
                  <c:v>1.086624</c:v>
                </c:pt>
                <c:pt idx="2157">
                  <c:v>1.087128</c:v>
                </c:pt>
                <c:pt idx="2158">
                  <c:v>1.087632</c:v>
                </c:pt>
                <c:pt idx="2159">
                  <c:v>1.088136</c:v>
                </c:pt>
                <c:pt idx="2160">
                  <c:v>1.08864</c:v>
                </c:pt>
                <c:pt idx="2161">
                  <c:v>1.089144</c:v>
                </c:pt>
                <c:pt idx="2162">
                  <c:v>1.089648</c:v>
                </c:pt>
                <c:pt idx="2163">
                  <c:v>1.090152</c:v>
                </c:pt>
                <c:pt idx="2164">
                  <c:v>1.090656</c:v>
                </c:pt>
                <c:pt idx="2165">
                  <c:v>1.09116</c:v>
                </c:pt>
                <c:pt idx="2166">
                  <c:v>1.091664</c:v>
                </c:pt>
                <c:pt idx="2167">
                  <c:v>1.092168</c:v>
                </c:pt>
                <c:pt idx="2168">
                  <c:v>1.092672</c:v>
                </c:pt>
                <c:pt idx="2169">
                  <c:v>1.093176</c:v>
                </c:pt>
                <c:pt idx="2170">
                  <c:v>1.09368</c:v>
                </c:pt>
                <c:pt idx="2171">
                  <c:v>1.094184</c:v>
                </c:pt>
                <c:pt idx="2172">
                  <c:v>1.094688</c:v>
                </c:pt>
                <c:pt idx="2173">
                  <c:v>1.095192</c:v>
                </c:pt>
                <c:pt idx="2174">
                  <c:v>1.095696</c:v>
                </c:pt>
                <c:pt idx="2175">
                  <c:v>1.0962</c:v>
                </c:pt>
                <c:pt idx="2176">
                  <c:v>1.096704</c:v>
                </c:pt>
                <c:pt idx="2177">
                  <c:v>1.097208</c:v>
                </c:pt>
                <c:pt idx="2178">
                  <c:v>1.097712</c:v>
                </c:pt>
                <c:pt idx="2179">
                  <c:v>1.098216</c:v>
                </c:pt>
                <c:pt idx="2180">
                  <c:v>1.09872</c:v>
                </c:pt>
                <c:pt idx="2181">
                  <c:v>1.099224</c:v>
                </c:pt>
                <c:pt idx="2182">
                  <c:v>1.099728</c:v>
                </c:pt>
                <c:pt idx="2183">
                  <c:v>1.100232</c:v>
                </c:pt>
                <c:pt idx="2184">
                  <c:v>1.100736</c:v>
                </c:pt>
                <c:pt idx="2185">
                  <c:v>1.10124</c:v>
                </c:pt>
                <c:pt idx="2186">
                  <c:v>1.101744</c:v>
                </c:pt>
                <c:pt idx="2187">
                  <c:v>1.102248</c:v>
                </c:pt>
                <c:pt idx="2188">
                  <c:v>1.102752</c:v>
                </c:pt>
                <c:pt idx="2189">
                  <c:v>1.103256</c:v>
                </c:pt>
                <c:pt idx="2190">
                  <c:v>1.10376</c:v>
                </c:pt>
                <c:pt idx="2191">
                  <c:v>1.104264</c:v>
                </c:pt>
                <c:pt idx="2192">
                  <c:v>1.104768</c:v>
                </c:pt>
                <c:pt idx="2193">
                  <c:v>1.105272</c:v>
                </c:pt>
                <c:pt idx="2194">
                  <c:v>1.105776</c:v>
                </c:pt>
                <c:pt idx="2195">
                  <c:v>1.10628</c:v>
                </c:pt>
                <c:pt idx="2196">
                  <c:v>1.106784</c:v>
                </c:pt>
                <c:pt idx="2197">
                  <c:v>1.107288</c:v>
                </c:pt>
                <c:pt idx="2198">
                  <c:v>1.107792</c:v>
                </c:pt>
                <c:pt idx="2199">
                  <c:v>1.108296</c:v>
                </c:pt>
                <c:pt idx="2200">
                  <c:v>1.1088</c:v>
                </c:pt>
                <c:pt idx="2201">
                  <c:v>1.109304</c:v>
                </c:pt>
                <c:pt idx="2202">
                  <c:v>1.109808</c:v>
                </c:pt>
                <c:pt idx="2203">
                  <c:v>1.110312</c:v>
                </c:pt>
                <c:pt idx="2204">
                  <c:v>1.110816</c:v>
                </c:pt>
                <c:pt idx="2205">
                  <c:v>1.11132</c:v>
                </c:pt>
                <c:pt idx="2206">
                  <c:v>1.111824</c:v>
                </c:pt>
                <c:pt idx="2207">
                  <c:v>1.112328</c:v>
                </c:pt>
                <c:pt idx="2208">
                  <c:v>1.112832</c:v>
                </c:pt>
                <c:pt idx="2209">
                  <c:v>1.113336</c:v>
                </c:pt>
                <c:pt idx="2210">
                  <c:v>1.11384</c:v>
                </c:pt>
                <c:pt idx="2211">
                  <c:v>1.114344</c:v>
                </c:pt>
                <c:pt idx="2212">
                  <c:v>1.114848</c:v>
                </c:pt>
                <c:pt idx="2213">
                  <c:v>1.115352</c:v>
                </c:pt>
                <c:pt idx="2214">
                  <c:v>1.115856</c:v>
                </c:pt>
                <c:pt idx="2215">
                  <c:v>1.11636</c:v>
                </c:pt>
                <c:pt idx="2216">
                  <c:v>1.116864</c:v>
                </c:pt>
                <c:pt idx="2217">
                  <c:v>1.117368</c:v>
                </c:pt>
                <c:pt idx="2218">
                  <c:v>1.117872</c:v>
                </c:pt>
                <c:pt idx="2219">
                  <c:v>1.118376</c:v>
                </c:pt>
                <c:pt idx="2220">
                  <c:v>1.11888</c:v>
                </c:pt>
                <c:pt idx="2221">
                  <c:v>1.119384</c:v>
                </c:pt>
                <c:pt idx="2222">
                  <c:v>1.119888</c:v>
                </c:pt>
                <c:pt idx="2223">
                  <c:v>1.120392</c:v>
                </c:pt>
                <c:pt idx="2224">
                  <c:v>1.120896</c:v>
                </c:pt>
                <c:pt idx="2225">
                  <c:v>1.1214</c:v>
                </c:pt>
                <c:pt idx="2226">
                  <c:v>1.121904</c:v>
                </c:pt>
                <c:pt idx="2227">
                  <c:v>1.122408</c:v>
                </c:pt>
                <c:pt idx="2228">
                  <c:v>1.122912</c:v>
                </c:pt>
                <c:pt idx="2229">
                  <c:v>1.123416</c:v>
                </c:pt>
                <c:pt idx="2230">
                  <c:v>1.12392</c:v>
                </c:pt>
                <c:pt idx="2231">
                  <c:v>1.124424</c:v>
                </c:pt>
                <c:pt idx="2232">
                  <c:v>1.124928</c:v>
                </c:pt>
                <c:pt idx="2233">
                  <c:v>1.125432</c:v>
                </c:pt>
                <c:pt idx="2234">
                  <c:v>1.125936</c:v>
                </c:pt>
                <c:pt idx="2235">
                  <c:v>1.12644</c:v>
                </c:pt>
                <c:pt idx="2236">
                  <c:v>1.126944</c:v>
                </c:pt>
                <c:pt idx="2237">
                  <c:v>1.127448</c:v>
                </c:pt>
                <c:pt idx="2238">
                  <c:v>1.127952</c:v>
                </c:pt>
                <c:pt idx="2239">
                  <c:v>1.128456</c:v>
                </c:pt>
                <c:pt idx="2240">
                  <c:v>1.12896</c:v>
                </c:pt>
                <c:pt idx="2241">
                  <c:v>1.129464</c:v>
                </c:pt>
                <c:pt idx="2242">
                  <c:v>1.129968</c:v>
                </c:pt>
                <c:pt idx="2243">
                  <c:v>1.130472</c:v>
                </c:pt>
                <c:pt idx="2244">
                  <c:v>1.130976</c:v>
                </c:pt>
                <c:pt idx="2245">
                  <c:v>1.13148</c:v>
                </c:pt>
                <c:pt idx="2246">
                  <c:v>1.131984</c:v>
                </c:pt>
                <c:pt idx="2247">
                  <c:v>1.132488</c:v>
                </c:pt>
                <c:pt idx="2248">
                  <c:v>1.132992</c:v>
                </c:pt>
                <c:pt idx="2249">
                  <c:v>1.133496</c:v>
                </c:pt>
                <c:pt idx="2250">
                  <c:v>1.134</c:v>
                </c:pt>
                <c:pt idx="2251">
                  <c:v>1.134504</c:v>
                </c:pt>
                <c:pt idx="2252">
                  <c:v>1.135008</c:v>
                </c:pt>
                <c:pt idx="2253">
                  <c:v>1.135512</c:v>
                </c:pt>
                <c:pt idx="2254">
                  <c:v>1.136016</c:v>
                </c:pt>
                <c:pt idx="2255">
                  <c:v>1.13652</c:v>
                </c:pt>
                <c:pt idx="2256">
                  <c:v>1.137024</c:v>
                </c:pt>
                <c:pt idx="2257">
                  <c:v>1.137528</c:v>
                </c:pt>
                <c:pt idx="2258">
                  <c:v>1.138032</c:v>
                </c:pt>
                <c:pt idx="2259">
                  <c:v>1.138536</c:v>
                </c:pt>
                <c:pt idx="2260">
                  <c:v>1.13904</c:v>
                </c:pt>
                <c:pt idx="2261">
                  <c:v>1.139544</c:v>
                </c:pt>
                <c:pt idx="2262">
                  <c:v>1.140048</c:v>
                </c:pt>
                <c:pt idx="2263">
                  <c:v>1.140552</c:v>
                </c:pt>
                <c:pt idx="2264">
                  <c:v>1.141056</c:v>
                </c:pt>
                <c:pt idx="2265">
                  <c:v>1.14156</c:v>
                </c:pt>
                <c:pt idx="2266">
                  <c:v>1.142064</c:v>
                </c:pt>
                <c:pt idx="2267">
                  <c:v>1.142568</c:v>
                </c:pt>
                <c:pt idx="2268">
                  <c:v>1.143072</c:v>
                </c:pt>
                <c:pt idx="2269">
                  <c:v>1.143576</c:v>
                </c:pt>
                <c:pt idx="2270">
                  <c:v>1.14408</c:v>
                </c:pt>
                <c:pt idx="2271">
                  <c:v>1.144584</c:v>
                </c:pt>
                <c:pt idx="2272">
                  <c:v>1.145088</c:v>
                </c:pt>
                <c:pt idx="2273">
                  <c:v>1.145592</c:v>
                </c:pt>
                <c:pt idx="2274">
                  <c:v>1.146096</c:v>
                </c:pt>
                <c:pt idx="2275">
                  <c:v>1.1466</c:v>
                </c:pt>
                <c:pt idx="2276">
                  <c:v>1.147104</c:v>
                </c:pt>
                <c:pt idx="2277">
                  <c:v>1.147608</c:v>
                </c:pt>
                <c:pt idx="2278">
                  <c:v>1.148112</c:v>
                </c:pt>
                <c:pt idx="2279">
                  <c:v>1.148616</c:v>
                </c:pt>
                <c:pt idx="2280">
                  <c:v>1.14912</c:v>
                </c:pt>
                <c:pt idx="2281">
                  <c:v>1.149624</c:v>
                </c:pt>
                <c:pt idx="2282">
                  <c:v>1.150128</c:v>
                </c:pt>
                <c:pt idx="2283">
                  <c:v>1.150632</c:v>
                </c:pt>
                <c:pt idx="2284">
                  <c:v>1.151136</c:v>
                </c:pt>
                <c:pt idx="2285">
                  <c:v>1.15164</c:v>
                </c:pt>
                <c:pt idx="2286">
                  <c:v>1.152144</c:v>
                </c:pt>
                <c:pt idx="2287">
                  <c:v>1.152648</c:v>
                </c:pt>
                <c:pt idx="2288">
                  <c:v>1.153152</c:v>
                </c:pt>
                <c:pt idx="2289">
                  <c:v>1.153656</c:v>
                </c:pt>
                <c:pt idx="2290">
                  <c:v>1.15416</c:v>
                </c:pt>
                <c:pt idx="2291">
                  <c:v>1.154664</c:v>
                </c:pt>
                <c:pt idx="2292">
                  <c:v>1.155168</c:v>
                </c:pt>
                <c:pt idx="2293">
                  <c:v>1.155672</c:v>
                </c:pt>
                <c:pt idx="2294">
                  <c:v>1.156176</c:v>
                </c:pt>
                <c:pt idx="2295">
                  <c:v>1.15668</c:v>
                </c:pt>
                <c:pt idx="2296">
                  <c:v>1.157184</c:v>
                </c:pt>
                <c:pt idx="2297">
                  <c:v>1.157688</c:v>
                </c:pt>
                <c:pt idx="2298">
                  <c:v>1.158192</c:v>
                </c:pt>
                <c:pt idx="2299">
                  <c:v>1.158696</c:v>
                </c:pt>
                <c:pt idx="2300">
                  <c:v>1.1592</c:v>
                </c:pt>
                <c:pt idx="2301">
                  <c:v>1.159704</c:v>
                </c:pt>
                <c:pt idx="2302">
                  <c:v>1.160208</c:v>
                </c:pt>
                <c:pt idx="2303">
                  <c:v>1.160712</c:v>
                </c:pt>
                <c:pt idx="2304">
                  <c:v>1.161216</c:v>
                </c:pt>
                <c:pt idx="2305">
                  <c:v>1.16172</c:v>
                </c:pt>
                <c:pt idx="2306">
                  <c:v>1.162224</c:v>
                </c:pt>
                <c:pt idx="2307">
                  <c:v>1.162728</c:v>
                </c:pt>
                <c:pt idx="2308">
                  <c:v>1.163232</c:v>
                </c:pt>
                <c:pt idx="2309">
                  <c:v>1.163736</c:v>
                </c:pt>
                <c:pt idx="2310">
                  <c:v>1.16424</c:v>
                </c:pt>
                <c:pt idx="2311">
                  <c:v>1.164744</c:v>
                </c:pt>
                <c:pt idx="2312">
                  <c:v>1.165248</c:v>
                </c:pt>
                <c:pt idx="2313">
                  <c:v>1.165752</c:v>
                </c:pt>
                <c:pt idx="2314">
                  <c:v>1.166256</c:v>
                </c:pt>
                <c:pt idx="2315">
                  <c:v>1.16676</c:v>
                </c:pt>
                <c:pt idx="2316">
                  <c:v>1.167264</c:v>
                </c:pt>
                <c:pt idx="2317">
                  <c:v>1.167768</c:v>
                </c:pt>
                <c:pt idx="2318">
                  <c:v>1.168272</c:v>
                </c:pt>
                <c:pt idx="2319">
                  <c:v>1.168776</c:v>
                </c:pt>
                <c:pt idx="2320">
                  <c:v>1.16928</c:v>
                </c:pt>
                <c:pt idx="2321">
                  <c:v>1.169784</c:v>
                </c:pt>
                <c:pt idx="2322">
                  <c:v>1.170288</c:v>
                </c:pt>
                <c:pt idx="2323">
                  <c:v>1.170792</c:v>
                </c:pt>
                <c:pt idx="2324">
                  <c:v>1.171296</c:v>
                </c:pt>
                <c:pt idx="2325">
                  <c:v>1.1718</c:v>
                </c:pt>
                <c:pt idx="2326">
                  <c:v>1.172304</c:v>
                </c:pt>
                <c:pt idx="2327">
                  <c:v>1.172808</c:v>
                </c:pt>
                <c:pt idx="2328">
                  <c:v>1.173312</c:v>
                </c:pt>
                <c:pt idx="2329">
                  <c:v>1.173816</c:v>
                </c:pt>
                <c:pt idx="2330">
                  <c:v>1.17432</c:v>
                </c:pt>
                <c:pt idx="2331">
                  <c:v>1.174824</c:v>
                </c:pt>
                <c:pt idx="2332">
                  <c:v>1.175328</c:v>
                </c:pt>
                <c:pt idx="2333">
                  <c:v>1.175832</c:v>
                </c:pt>
                <c:pt idx="2334">
                  <c:v>1.176336</c:v>
                </c:pt>
                <c:pt idx="2335">
                  <c:v>1.17684</c:v>
                </c:pt>
                <c:pt idx="2336">
                  <c:v>1.177344</c:v>
                </c:pt>
                <c:pt idx="2337">
                  <c:v>1.177848</c:v>
                </c:pt>
                <c:pt idx="2338">
                  <c:v>1.178352</c:v>
                </c:pt>
                <c:pt idx="2339">
                  <c:v>1.178856</c:v>
                </c:pt>
                <c:pt idx="2340">
                  <c:v>1.17936</c:v>
                </c:pt>
                <c:pt idx="2341">
                  <c:v>1.179864</c:v>
                </c:pt>
                <c:pt idx="2342">
                  <c:v>1.180368</c:v>
                </c:pt>
                <c:pt idx="2343">
                  <c:v>1.180872</c:v>
                </c:pt>
                <c:pt idx="2344">
                  <c:v>1.181376</c:v>
                </c:pt>
                <c:pt idx="2345">
                  <c:v>1.18188</c:v>
                </c:pt>
                <c:pt idx="2346">
                  <c:v>1.182384</c:v>
                </c:pt>
                <c:pt idx="2347">
                  <c:v>1.182888</c:v>
                </c:pt>
                <c:pt idx="2348">
                  <c:v>1.183392</c:v>
                </c:pt>
                <c:pt idx="2349">
                  <c:v>1.183896</c:v>
                </c:pt>
                <c:pt idx="2350">
                  <c:v>1.1844</c:v>
                </c:pt>
                <c:pt idx="2351">
                  <c:v>1.184904</c:v>
                </c:pt>
                <c:pt idx="2352">
                  <c:v>1.185408</c:v>
                </c:pt>
                <c:pt idx="2353">
                  <c:v>1.185912</c:v>
                </c:pt>
                <c:pt idx="2354">
                  <c:v>1.186416</c:v>
                </c:pt>
                <c:pt idx="2355">
                  <c:v>1.18692</c:v>
                </c:pt>
                <c:pt idx="2356">
                  <c:v>1.187424</c:v>
                </c:pt>
                <c:pt idx="2357">
                  <c:v>1.187928</c:v>
                </c:pt>
                <c:pt idx="2358">
                  <c:v>1.188432</c:v>
                </c:pt>
                <c:pt idx="2359">
                  <c:v>1.188936</c:v>
                </c:pt>
                <c:pt idx="2360">
                  <c:v>1.18944</c:v>
                </c:pt>
                <c:pt idx="2361">
                  <c:v>1.189944</c:v>
                </c:pt>
                <c:pt idx="2362">
                  <c:v>1.190448</c:v>
                </c:pt>
                <c:pt idx="2363">
                  <c:v>1.190952</c:v>
                </c:pt>
                <c:pt idx="2364">
                  <c:v>1.191456</c:v>
                </c:pt>
                <c:pt idx="2365">
                  <c:v>1.19196</c:v>
                </c:pt>
                <c:pt idx="2366">
                  <c:v>1.192464</c:v>
                </c:pt>
                <c:pt idx="2367">
                  <c:v>1.192968</c:v>
                </c:pt>
                <c:pt idx="2368">
                  <c:v>1.193472</c:v>
                </c:pt>
                <c:pt idx="2369">
                  <c:v>1.193976</c:v>
                </c:pt>
                <c:pt idx="2370">
                  <c:v>1.19448</c:v>
                </c:pt>
                <c:pt idx="2371">
                  <c:v>1.194984</c:v>
                </c:pt>
                <c:pt idx="2372">
                  <c:v>1.195488</c:v>
                </c:pt>
                <c:pt idx="2373">
                  <c:v>1.195992</c:v>
                </c:pt>
                <c:pt idx="2374">
                  <c:v>1.196496</c:v>
                </c:pt>
                <c:pt idx="2375">
                  <c:v>1.197</c:v>
                </c:pt>
                <c:pt idx="2376">
                  <c:v>1.197504</c:v>
                </c:pt>
                <c:pt idx="2377">
                  <c:v>1.198008</c:v>
                </c:pt>
                <c:pt idx="2378">
                  <c:v>1.198512</c:v>
                </c:pt>
                <c:pt idx="2379">
                  <c:v>1.199016</c:v>
                </c:pt>
                <c:pt idx="2380">
                  <c:v>1.19952</c:v>
                </c:pt>
                <c:pt idx="2381">
                  <c:v>1.200024</c:v>
                </c:pt>
                <c:pt idx="2382">
                  <c:v>1.200528</c:v>
                </c:pt>
                <c:pt idx="2383">
                  <c:v>1.201032</c:v>
                </c:pt>
                <c:pt idx="2384">
                  <c:v>1.201536</c:v>
                </c:pt>
                <c:pt idx="2385">
                  <c:v>1.20204</c:v>
                </c:pt>
                <c:pt idx="2386">
                  <c:v>1.202544</c:v>
                </c:pt>
                <c:pt idx="2387">
                  <c:v>1.203048</c:v>
                </c:pt>
                <c:pt idx="2388">
                  <c:v>1.203552</c:v>
                </c:pt>
                <c:pt idx="2389">
                  <c:v>1.204056</c:v>
                </c:pt>
                <c:pt idx="2390">
                  <c:v>1.20456</c:v>
                </c:pt>
                <c:pt idx="2391">
                  <c:v>1.205064</c:v>
                </c:pt>
                <c:pt idx="2392">
                  <c:v>1.205568</c:v>
                </c:pt>
                <c:pt idx="2393">
                  <c:v>1.206072</c:v>
                </c:pt>
                <c:pt idx="2394">
                  <c:v>1.206576</c:v>
                </c:pt>
                <c:pt idx="2395">
                  <c:v>1.20708</c:v>
                </c:pt>
                <c:pt idx="2396">
                  <c:v>1.207584</c:v>
                </c:pt>
                <c:pt idx="2397">
                  <c:v>1.208088</c:v>
                </c:pt>
                <c:pt idx="2398">
                  <c:v>1.208592</c:v>
                </c:pt>
                <c:pt idx="2399">
                  <c:v>1.209096</c:v>
                </c:pt>
                <c:pt idx="2400">
                  <c:v>1.2096</c:v>
                </c:pt>
                <c:pt idx="2401">
                  <c:v>1.210104</c:v>
                </c:pt>
                <c:pt idx="2402">
                  <c:v>1.210608</c:v>
                </c:pt>
                <c:pt idx="2403">
                  <c:v>1.211112</c:v>
                </c:pt>
                <c:pt idx="2404">
                  <c:v>1.211616</c:v>
                </c:pt>
                <c:pt idx="2405">
                  <c:v>1.21212</c:v>
                </c:pt>
                <c:pt idx="2406">
                  <c:v>1.212624</c:v>
                </c:pt>
                <c:pt idx="2407">
                  <c:v>1.213128</c:v>
                </c:pt>
                <c:pt idx="2408">
                  <c:v>1.213632</c:v>
                </c:pt>
                <c:pt idx="2409">
                  <c:v>1.214136</c:v>
                </c:pt>
                <c:pt idx="2410">
                  <c:v>1.21464</c:v>
                </c:pt>
                <c:pt idx="2411">
                  <c:v>1.215144</c:v>
                </c:pt>
                <c:pt idx="2412">
                  <c:v>1.215648</c:v>
                </c:pt>
                <c:pt idx="2413">
                  <c:v>1.216152</c:v>
                </c:pt>
                <c:pt idx="2414">
                  <c:v>1.216656</c:v>
                </c:pt>
                <c:pt idx="2415">
                  <c:v>1.21716</c:v>
                </c:pt>
                <c:pt idx="2416">
                  <c:v>1.217664</c:v>
                </c:pt>
                <c:pt idx="2417">
                  <c:v>1.218168</c:v>
                </c:pt>
                <c:pt idx="2418">
                  <c:v>1.218672</c:v>
                </c:pt>
                <c:pt idx="2419">
                  <c:v>1.219176</c:v>
                </c:pt>
                <c:pt idx="2420">
                  <c:v>1.21968</c:v>
                </c:pt>
                <c:pt idx="2421">
                  <c:v>1.220184</c:v>
                </c:pt>
                <c:pt idx="2422">
                  <c:v>1.220688</c:v>
                </c:pt>
                <c:pt idx="2423">
                  <c:v>1.221192</c:v>
                </c:pt>
                <c:pt idx="2424">
                  <c:v>1.221696</c:v>
                </c:pt>
                <c:pt idx="2425">
                  <c:v>1.2222</c:v>
                </c:pt>
                <c:pt idx="2426">
                  <c:v>1.222704</c:v>
                </c:pt>
                <c:pt idx="2427">
                  <c:v>1.223208</c:v>
                </c:pt>
                <c:pt idx="2428">
                  <c:v>1.223712</c:v>
                </c:pt>
                <c:pt idx="2429">
                  <c:v>1.224216</c:v>
                </c:pt>
                <c:pt idx="2430">
                  <c:v>1.22472</c:v>
                </c:pt>
                <c:pt idx="2431">
                  <c:v>1.225224</c:v>
                </c:pt>
                <c:pt idx="2432">
                  <c:v>1.225728</c:v>
                </c:pt>
                <c:pt idx="2433">
                  <c:v>1.226232</c:v>
                </c:pt>
                <c:pt idx="2434">
                  <c:v>1.226736</c:v>
                </c:pt>
                <c:pt idx="2435">
                  <c:v>1.22724</c:v>
                </c:pt>
                <c:pt idx="2436">
                  <c:v>1.227744</c:v>
                </c:pt>
                <c:pt idx="2437">
                  <c:v>1.228248</c:v>
                </c:pt>
                <c:pt idx="2438">
                  <c:v>1.228752</c:v>
                </c:pt>
                <c:pt idx="2439">
                  <c:v>1.229256</c:v>
                </c:pt>
                <c:pt idx="2440">
                  <c:v>1.22976</c:v>
                </c:pt>
                <c:pt idx="2441">
                  <c:v>1.230264</c:v>
                </c:pt>
                <c:pt idx="2442">
                  <c:v>1.230768</c:v>
                </c:pt>
                <c:pt idx="2443">
                  <c:v>1.231272</c:v>
                </c:pt>
                <c:pt idx="2444">
                  <c:v>1.231776</c:v>
                </c:pt>
                <c:pt idx="2445">
                  <c:v>1.23228</c:v>
                </c:pt>
                <c:pt idx="2446">
                  <c:v>1.232784</c:v>
                </c:pt>
                <c:pt idx="2447">
                  <c:v>1.233288</c:v>
                </c:pt>
                <c:pt idx="2448">
                  <c:v>1.233792</c:v>
                </c:pt>
                <c:pt idx="2449">
                  <c:v>1.234296</c:v>
                </c:pt>
                <c:pt idx="2450">
                  <c:v>1.2348</c:v>
                </c:pt>
                <c:pt idx="2451">
                  <c:v>1.235304</c:v>
                </c:pt>
                <c:pt idx="2452">
                  <c:v>1.235808</c:v>
                </c:pt>
                <c:pt idx="2453">
                  <c:v>1.236312</c:v>
                </c:pt>
                <c:pt idx="2454">
                  <c:v>1.236816</c:v>
                </c:pt>
                <c:pt idx="2455">
                  <c:v>1.23732</c:v>
                </c:pt>
                <c:pt idx="2456">
                  <c:v>1.237824</c:v>
                </c:pt>
                <c:pt idx="2457">
                  <c:v>1.238328</c:v>
                </c:pt>
                <c:pt idx="2458">
                  <c:v>1.238832</c:v>
                </c:pt>
                <c:pt idx="2459">
                  <c:v>1.239336</c:v>
                </c:pt>
                <c:pt idx="2460">
                  <c:v>1.23984</c:v>
                </c:pt>
                <c:pt idx="2461">
                  <c:v>1.240344</c:v>
                </c:pt>
                <c:pt idx="2462">
                  <c:v>1.240848</c:v>
                </c:pt>
                <c:pt idx="2463">
                  <c:v>1.241352</c:v>
                </c:pt>
                <c:pt idx="2464">
                  <c:v>1.241856</c:v>
                </c:pt>
                <c:pt idx="2465">
                  <c:v>1.24236</c:v>
                </c:pt>
                <c:pt idx="2466">
                  <c:v>1.242864</c:v>
                </c:pt>
                <c:pt idx="2467">
                  <c:v>1.243368</c:v>
                </c:pt>
                <c:pt idx="2468">
                  <c:v>1.243872</c:v>
                </c:pt>
                <c:pt idx="2469">
                  <c:v>1.244376</c:v>
                </c:pt>
                <c:pt idx="2470">
                  <c:v>1.24488</c:v>
                </c:pt>
                <c:pt idx="2471">
                  <c:v>1.245384</c:v>
                </c:pt>
                <c:pt idx="2472">
                  <c:v>1.245888</c:v>
                </c:pt>
                <c:pt idx="2473">
                  <c:v>1.246392</c:v>
                </c:pt>
                <c:pt idx="2474">
                  <c:v>1.246896</c:v>
                </c:pt>
                <c:pt idx="2475">
                  <c:v>1.2474</c:v>
                </c:pt>
                <c:pt idx="2476">
                  <c:v>1.247904</c:v>
                </c:pt>
                <c:pt idx="2477">
                  <c:v>1.248408</c:v>
                </c:pt>
                <c:pt idx="2478">
                  <c:v>1.248912</c:v>
                </c:pt>
                <c:pt idx="2479">
                  <c:v>1.249416</c:v>
                </c:pt>
                <c:pt idx="2480">
                  <c:v>1.24992</c:v>
                </c:pt>
                <c:pt idx="2481">
                  <c:v>1.250424</c:v>
                </c:pt>
                <c:pt idx="2482">
                  <c:v>1.250928</c:v>
                </c:pt>
                <c:pt idx="2483">
                  <c:v>1.251432</c:v>
                </c:pt>
                <c:pt idx="2484">
                  <c:v>1.251936</c:v>
                </c:pt>
                <c:pt idx="2485">
                  <c:v>1.25244</c:v>
                </c:pt>
                <c:pt idx="2486">
                  <c:v>1.252944</c:v>
                </c:pt>
                <c:pt idx="2487">
                  <c:v>1.253448</c:v>
                </c:pt>
                <c:pt idx="2488">
                  <c:v>1.253952</c:v>
                </c:pt>
                <c:pt idx="2489">
                  <c:v>1.254456</c:v>
                </c:pt>
                <c:pt idx="2490">
                  <c:v>1.25496</c:v>
                </c:pt>
                <c:pt idx="2491">
                  <c:v>1.255464</c:v>
                </c:pt>
                <c:pt idx="2492">
                  <c:v>1.255968</c:v>
                </c:pt>
                <c:pt idx="2493">
                  <c:v>1.256472</c:v>
                </c:pt>
                <c:pt idx="2494">
                  <c:v>1.256976</c:v>
                </c:pt>
                <c:pt idx="2495">
                  <c:v>1.25748</c:v>
                </c:pt>
                <c:pt idx="2496">
                  <c:v>1.257984</c:v>
                </c:pt>
                <c:pt idx="2497">
                  <c:v>1.258488</c:v>
                </c:pt>
                <c:pt idx="2498">
                  <c:v>1.258992</c:v>
                </c:pt>
                <c:pt idx="2499">
                  <c:v>1.259496</c:v>
                </c:pt>
                <c:pt idx="2500">
                  <c:v>1.26</c:v>
                </c:pt>
                <c:pt idx="2501">
                  <c:v>1.260504</c:v>
                </c:pt>
                <c:pt idx="2502">
                  <c:v>1.261008</c:v>
                </c:pt>
                <c:pt idx="2503">
                  <c:v>1.261512</c:v>
                </c:pt>
                <c:pt idx="2504">
                  <c:v>1.262016</c:v>
                </c:pt>
                <c:pt idx="2505">
                  <c:v>1.26252</c:v>
                </c:pt>
                <c:pt idx="2506">
                  <c:v>1.263024</c:v>
                </c:pt>
                <c:pt idx="2507">
                  <c:v>1.263528</c:v>
                </c:pt>
                <c:pt idx="2508">
                  <c:v>1.264032</c:v>
                </c:pt>
                <c:pt idx="2509">
                  <c:v>1.264536</c:v>
                </c:pt>
                <c:pt idx="2510">
                  <c:v>1.26504</c:v>
                </c:pt>
                <c:pt idx="2511">
                  <c:v>1.265544</c:v>
                </c:pt>
                <c:pt idx="2512">
                  <c:v>1.266048</c:v>
                </c:pt>
                <c:pt idx="2513">
                  <c:v>1.266552</c:v>
                </c:pt>
                <c:pt idx="2514">
                  <c:v>1.267056</c:v>
                </c:pt>
                <c:pt idx="2515">
                  <c:v>1.26756</c:v>
                </c:pt>
                <c:pt idx="2516">
                  <c:v>1.268064</c:v>
                </c:pt>
                <c:pt idx="2517">
                  <c:v>1.268568</c:v>
                </c:pt>
                <c:pt idx="2518">
                  <c:v>1.269072</c:v>
                </c:pt>
                <c:pt idx="2519">
                  <c:v>1.269576</c:v>
                </c:pt>
                <c:pt idx="2520">
                  <c:v>1.27008</c:v>
                </c:pt>
                <c:pt idx="2521">
                  <c:v>1.270584</c:v>
                </c:pt>
                <c:pt idx="2522">
                  <c:v>1.271088</c:v>
                </c:pt>
                <c:pt idx="2523">
                  <c:v>1.271592</c:v>
                </c:pt>
                <c:pt idx="2524">
                  <c:v>1.272096</c:v>
                </c:pt>
                <c:pt idx="2525">
                  <c:v>1.2726</c:v>
                </c:pt>
                <c:pt idx="2526">
                  <c:v>1.273104</c:v>
                </c:pt>
                <c:pt idx="2527">
                  <c:v>1.273608</c:v>
                </c:pt>
                <c:pt idx="2528">
                  <c:v>1.274112</c:v>
                </c:pt>
                <c:pt idx="2529">
                  <c:v>1.274616</c:v>
                </c:pt>
                <c:pt idx="2530">
                  <c:v>1.27512</c:v>
                </c:pt>
                <c:pt idx="2531">
                  <c:v>1.275624</c:v>
                </c:pt>
                <c:pt idx="2532">
                  <c:v>1.276128</c:v>
                </c:pt>
                <c:pt idx="2533">
                  <c:v>1.276632</c:v>
                </c:pt>
                <c:pt idx="2534">
                  <c:v>1.277136</c:v>
                </c:pt>
                <c:pt idx="2535">
                  <c:v>1.27764</c:v>
                </c:pt>
                <c:pt idx="2536">
                  <c:v>1.278144</c:v>
                </c:pt>
                <c:pt idx="2537">
                  <c:v>1.278648</c:v>
                </c:pt>
                <c:pt idx="2538">
                  <c:v>1.279152</c:v>
                </c:pt>
                <c:pt idx="2539">
                  <c:v>1.279656</c:v>
                </c:pt>
                <c:pt idx="2540">
                  <c:v>1.28016</c:v>
                </c:pt>
                <c:pt idx="2541">
                  <c:v>1.280664</c:v>
                </c:pt>
                <c:pt idx="2542">
                  <c:v>1.281168</c:v>
                </c:pt>
                <c:pt idx="2543">
                  <c:v>1.281672</c:v>
                </c:pt>
                <c:pt idx="2544">
                  <c:v>1.282176</c:v>
                </c:pt>
                <c:pt idx="2545">
                  <c:v>1.28268</c:v>
                </c:pt>
                <c:pt idx="2546">
                  <c:v>1.283184</c:v>
                </c:pt>
                <c:pt idx="2547">
                  <c:v>1.283688</c:v>
                </c:pt>
                <c:pt idx="2548">
                  <c:v>1.284192</c:v>
                </c:pt>
                <c:pt idx="2549">
                  <c:v>1.284696</c:v>
                </c:pt>
                <c:pt idx="2550">
                  <c:v>1.2852</c:v>
                </c:pt>
                <c:pt idx="2551">
                  <c:v>1.285704</c:v>
                </c:pt>
                <c:pt idx="2552">
                  <c:v>1.286208</c:v>
                </c:pt>
                <c:pt idx="2553">
                  <c:v>1.286712</c:v>
                </c:pt>
                <c:pt idx="2554">
                  <c:v>1.287216</c:v>
                </c:pt>
                <c:pt idx="2555">
                  <c:v>1.28772</c:v>
                </c:pt>
                <c:pt idx="2556">
                  <c:v>1.288224</c:v>
                </c:pt>
                <c:pt idx="2557">
                  <c:v>1.288728</c:v>
                </c:pt>
                <c:pt idx="2558">
                  <c:v>1.289232</c:v>
                </c:pt>
                <c:pt idx="2559">
                  <c:v>1.289736</c:v>
                </c:pt>
                <c:pt idx="2560">
                  <c:v>1.29024</c:v>
                </c:pt>
                <c:pt idx="2561">
                  <c:v>1.290744</c:v>
                </c:pt>
                <c:pt idx="2562">
                  <c:v>1.291248</c:v>
                </c:pt>
                <c:pt idx="2563">
                  <c:v>1.291752</c:v>
                </c:pt>
                <c:pt idx="2564">
                  <c:v>1.292256</c:v>
                </c:pt>
                <c:pt idx="2565">
                  <c:v>1.29276</c:v>
                </c:pt>
                <c:pt idx="2566">
                  <c:v>1.293264</c:v>
                </c:pt>
                <c:pt idx="2567">
                  <c:v>1.293768</c:v>
                </c:pt>
                <c:pt idx="2568">
                  <c:v>1.294272</c:v>
                </c:pt>
                <c:pt idx="2569">
                  <c:v>1.294776</c:v>
                </c:pt>
                <c:pt idx="2570">
                  <c:v>1.29528</c:v>
                </c:pt>
                <c:pt idx="2571">
                  <c:v>1.295784</c:v>
                </c:pt>
                <c:pt idx="2572">
                  <c:v>1.296288</c:v>
                </c:pt>
                <c:pt idx="2573">
                  <c:v>1.296792</c:v>
                </c:pt>
                <c:pt idx="2574">
                  <c:v>1.297296</c:v>
                </c:pt>
                <c:pt idx="2575">
                  <c:v>1.2978</c:v>
                </c:pt>
                <c:pt idx="2576">
                  <c:v>1.298304</c:v>
                </c:pt>
                <c:pt idx="2577">
                  <c:v>1.298808</c:v>
                </c:pt>
                <c:pt idx="2578">
                  <c:v>1.299312</c:v>
                </c:pt>
                <c:pt idx="2579">
                  <c:v>1.299816</c:v>
                </c:pt>
                <c:pt idx="2580">
                  <c:v>1.30032</c:v>
                </c:pt>
                <c:pt idx="2581">
                  <c:v>1.300824</c:v>
                </c:pt>
                <c:pt idx="2582">
                  <c:v>1.301328</c:v>
                </c:pt>
                <c:pt idx="2583">
                  <c:v>1.301832</c:v>
                </c:pt>
                <c:pt idx="2584">
                  <c:v>1.302336</c:v>
                </c:pt>
                <c:pt idx="2585">
                  <c:v>1.30284</c:v>
                </c:pt>
                <c:pt idx="2586">
                  <c:v>1.303344</c:v>
                </c:pt>
                <c:pt idx="2587">
                  <c:v>1.303848</c:v>
                </c:pt>
                <c:pt idx="2588">
                  <c:v>1.304352</c:v>
                </c:pt>
                <c:pt idx="2589">
                  <c:v>1.304856</c:v>
                </c:pt>
                <c:pt idx="2590">
                  <c:v>1.30536</c:v>
                </c:pt>
                <c:pt idx="2591">
                  <c:v>1.305864</c:v>
                </c:pt>
                <c:pt idx="2592">
                  <c:v>1.306368</c:v>
                </c:pt>
                <c:pt idx="2593">
                  <c:v>1.306872</c:v>
                </c:pt>
                <c:pt idx="2594">
                  <c:v>1.307376</c:v>
                </c:pt>
                <c:pt idx="2595">
                  <c:v>1.30788</c:v>
                </c:pt>
                <c:pt idx="2596">
                  <c:v>1.308384</c:v>
                </c:pt>
                <c:pt idx="2597">
                  <c:v>1.308888</c:v>
                </c:pt>
                <c:pt idx="2598">
                  <c:v>1.309392</c:v>
                </c:pt>
                <c:pt idx="2599">
                  <c:v>1.309896</c:v>
                </c:pt>
                <c:pt idx="2600">
                  <c:v>1.3104</c:v>
                </c:pt>
                <c:pt idx="2601">
                  <c:v>1.310904</c:v>
                </c:pt>
                <c:pt idx="2602">
                  <c:v>1.311408</c:v>
                </c:pt>
                <c:pt idx="2603">
                  <c:v>1.311912</c:v>
                </c:pt>
                <c:pt idx="2604">
                  <c:v>1.312416</c:v>
                </c:pt>
                <c:pt idx="2605">
                  <c:v>1.31292</c:v>
                </c:pt>
                <c:pt idx="2606">
                  <c:v>1.313424</c:v>
                </c:pt>
                <c:pt idx="2607">
                  <c:v>1.313928</c:v>
                </c:pt>
                <c:pt idx="2608">
                  <c:v>1.314432</c:v>
                </c:pt>
                <c:pt idx="2609">
                  <c:v>1.314936</c:v>
                </c:pt>
                <c:pt idx="2610">
                  <c:v>1.31544</c:v>
                </c:pt>
                <c:pt idx="2611">
                  <c:v>1.315944</c:v>
                </c:pt>
                <c:pt idx="2612">
                  <c:v>1.316448</c:v>
                </c:pt>
                <c:pt idx="2613">
                  <c:v>1.316952</c:v>
                </c:pt>
                <c:pt idx="2614">
                  <c:v>1.317456</c:v>
                </c:pt>
                <c:pt idx="2615">
                  <c:v>1.31796</c:v>
                </c:pt>
                <c:pt idx="2616">
                  <c:v>1.318464</c:v>
                </c:pt>
                <c:pt idx="2617">
                  <c:v>1.318968</c:v>
                </c:pt>
                <c:pt idx="2618">
                  <c:v>1.319472</c:v>
                </c:pt>
                <c:pt idx="2619">
                  <c:v>1.319976</c:v>
                </c:pt>
                <c:pt idx="2620">
                  <c:v>1.32048</c:v>
                </c:pt>
                <c:pt idx="2621">
                  <c:v>1.320984</c:v>
                </c:pt>
                <c:pt idx="2622">
                  <c:v>1.321488</c:v>
                </c:pt>
                <c:pt idx="2623">
                  <c:v>1.321992</c:v>
                </c:pt>
                <c:pt idx="2624">
                  <c:v>1.322496</c:v>
                </c:pt>
                <c:pt idx="2625">
                  <c:v>1.323</c:v>
                </c:pt>
                <c:pt idx="2626">
                  <c:v>1.323504</c:v>
                </c:pt>
                <c:pt idx="2627">
                  <c:v>1.324008</c:v>
                </c:pt>
                <c:pt idx="2628">
                  <c:v>1.324512</c:v>
                </c:pt>
                <c:pt idx="2629">
                  <c:v>1.325016</c:v>
                </c:pt>
                <c:pt idx="2630">
                  <c:v>1.32552</c:v>
                </c:pt>
                <c:pt idx="2631">
                  <c:v>1.326024</c:v>
                </c:pt>
                <c:pt idx="2632">
                  <c:v>1.326528</c:v>
                </c:pt>
                <c:pt idx="2633">
                  <c:v>1.327032</c:v>
                </c:pt>
                <c:pt idx="2634">
                  <c:v>1.327536</c:v>
                </c:pt>
                <c:pt idx="2635">
                  <c:v>1.32804</c:v>
                </c:pt>
                <c:pt idx="2636">
                  <c:v>1.328544</c:v>
                </c:pt>
                <c:pt idx="2637">
                  <c:v>1.329048</c:v>
                </c:pt>
                <c:pt idx="2638">
                  <c:v>1.329552</c:v>
                </c:pt>
                <c:pt idx="2639">
                  <c:v>1.330056</c:v>
                </c:pt>
                <c:pt idx="2640">
                  <c:v>1.33056</c:v>
                </c:pt>
                <c:pt idx="2641">
                  <c:v>1.331064</c:v>
                </c:pt>
                <c:pt idx="2642">
                  <c:v>1.331568</c:v>
                </c:pt>
                <c:pt idx="2643">
                  <c:v>1.332072</c:v>
                </c:pt>
                <c:pt idx="2644">
                  <c:v>1.332576</c:v>
                </c:pt>
                <c:pt idx="2645">
                  <c:v>1.33308</c:v>
                </c:pt>
                <c:pt idx="2646">
                  <c:v>1.333584</c:v>
                </c:pt>
                <c:pt idx="2647">
                  <c:v>1.334088</c:v>
                </c:pt>
                <c:pt idx="2648">
                  <c:v>1.334592</c:v>
                </c:pt>
                <c:pt idx="2649">
                  <c:v>1.335096</c:v>
                </c:pt>
                <c:pt idx="2650">
                  <c:v>1.3356</c:v>
                </c:pt>
                <c:pt idx="2651">
                  <c:v>1.336104</c:v>
                </c:pt>
                <c:pt idx="2652">
                  <c:v>1.336608</c:v>
                </c:pt>
                <c:pt idx="2653">
                  <c:v>1.337112</c:v>
                </c:pt>
                <c:pt idx="2654">
                  <c:v>1.337616</c:v>
                </c:pt>
                <c:pt idx="2655">
                  <c:v>1.33812</c:v>
                </c:pt>
                <c:pt idx="2656">
                  <c:v>1.338624</c:v>
                </c:pt>
                <c:pt idx="2657">
                  <c:v>1.339128</c:v>
                </c:pt>
                <c:pt idx="2658">
                  <c:v>1.339632</c:v>
                </c:pt>
                <c:pt idx="2659">
                  <c:v>1.340136</c:v>
                </c:pt>
                <c:pt idx="2660">
                  <c:v>1.34064</c:v>
                </c:pt>
                <c:pt idx="2661">
                  <c:v>1.341144</c:v>
                </c:pt>
                <c:pt idx="2662">
                  <c:v>1.341648</c:v>
                </c:pt>
                <c:pt idx="2663">
                  <c:v>1.342152</c:v>
                </c:pt>
                <c:pt idx="2664">
                  <c:v>1.342656</c:v>
                </c:pt>
                <c:pt idx="2665">
                  <c:v>1.34316</c:v>
                </c:pt>
                <c:pt idx="2666">
                  <c:v>1.343664</c:v>
                </c:pt>
                <c:pt idx="2667">
                  <c:v>1.344168</c:v>
                </c:pt>
                <c:pt idx="2668">
                  <c:v>1.344672</c:v>
                </c:pt>
                <c:pt idx="2669">
                  <c:v>1.345176</c:v>
                </c:pt>
                <c:pt idx="2670">
                  <c:v>1.34568</c:v>
                </c:pt>
                <c:pt idx="2671">
                  <c:v>1.346184</c:v>
                </c:pt>
                <c:pt idx="2672">
                  <c:v>1.346688</c:v>
                </c:pt>
                <c:pt idx="2673">
                  <c:v>1.347192</c:v>
                </c:pt>
                <c:pt idx="2674">
                  <c:v>1.347696</c:v>
                </c:pt>
                <c:pt idx="2675">
                  <c:v>1.3482</c:v>
                </c:pt>
                <c:pt idx="2676">
                  <c:v>1.348704</c:v>
                </c:pt>
                <c:pt idx="2677">
                  <c:v>1.349208</c:v>
                </c:pt>
                <c:pt idx="2678">
                  <c:v>1.349712</c:v>
                </c:pt>
                <c:pt idx="2679">
                  <c:v>1.350216</c:v>
                </c:pt>
                <c:pt idx="2680">
                  <c:v>1.35072</c:v>
                </c:pt>
                <c:pt idx="2681">
                  <c:v>1.351224</c:v>
                </c:pt>
                <c:pt idx="2682">
                  <c:v>1.351728</c:v>
                </c:pt>
                <c:pt idx="2683">
                  <c:v>1.352232</c:v>
                </c:pt>
                <c:pt idx="2684">
                  <c:v>1.352736</c:v>
                </c:pt>
                <c:pt idx="2685">
                  <c:v>1.35324</c:v>
                </c:pt>
                <c:pt idx="2686">
                  <c:v>1.353744</c:v>
                </c:pt>
                <c:pt idx="2687">
                  <c:v>1.354248</c:v>
                </c:pt>
                <c:pt idx="2688">
                  <c:v>1.354752</c:v>
                </c:pt>
                <c:pt idx="2689">
                  <c:v>1.355256</c:v>
                </c:pt>
                <c:pt idx="2690">
                  <c:v>1.35576</c:v>
                </c:pt>
                <c:pt idx="2691">
                  <c:v>1.356264</c:v>
                </c:pt>
                <c:pt idx="2692">
                  <c:v>1.356768</c:v>
                </c:pt>
                <c:pt idx="2693">
                  <c:v>1.357272</c:v>
                </c:pt>
                <c:pt idx="2694">
                  <c:v>1.357776</c:v>
                </c:pt>
                <c:pt idx="2695">
                  <c:v>1.35828</c:v>
                </c:pt>
                <c:pt idx="2696">
                  <c:v>1.358784</c:v>
                </c:pt>
                <c:pt idx="2697">
                  <c:v>1.359288</c:v>
                </c:pt>
                <c:pt idx="2698">
                  <c:v>1.359792</c:v>
                </c:pt>
                <c:pt idx="2699">
                  <c:v>1.360296</c:v>
                </c:pt>
                <c:pt idx="2700">
                  <c:v>1.3608</c:v>
                </c:pt>
                <c:pt idx="2701">
                  <c:v>1.361304</c:v>
                </c:pt>
                <c:pt idx="2702">
                  <c:v>1.361808</c:v>
                </c:pt>
                <c:pt idx="2703">
                  <c:v>1.362312</c:v>
                </c:pt>
                <c:pt idx="2704">
                  <c:v>1.362816</c:v>
                </c:pt>
                <c:pt idx="2705">
                  <c:v>1.36332</c:v>
                </c:pt>
                <c:pt idx="2706">
                  <c:v>1.363824</c:v>
                </c:pt>
                <c:pt idx="2707">
                  <c:v>1.364328</c:v>
                </c:pt>
                <c:pt idx="2708">
                  <c:v>1.364832</c:v>
                </c:pt>
                <c:pt idx="2709">
                  <c:v>1.365336</c:v>
                </c:pt>
                <c:pt idx="2710">
                  <c:v>1.36584</c:v>
                </c:pt>
                <c:pt idx="2711">
                  <c:v>1.366344</c:v>
                </c:pt>
                <c:pt idx="2712">
                  <c:v>1.366848</c:v>
                </c:pt>
                <c:pt idx="2713">
                  <c:v>1.367352</c:v>
                </c:pt>
                <c:pt idx="2714">
                  <c:v>1.367856</c:v>
                </c:pt>
                <c:pt idx="2715">
                  <c:v>1.36836</c:v>
                </c:pt>
                <c:pt idx="2716">
                  <c:v>1.368864</c:v>
                </c:pt>
                <c:pt idx="2717">
                  <c:v>1.369368</c:v>
                </c:pt>
                <c:pt idx="2718">
                  <c:v>1.369872</c:v>
                </c:pt>
                <c:pt idx="2719">
                  <c:v>1.370376</c:v>
                </c:pt>
                <c:pt idx="2720">
                  <c:v>1.37088</c:v>
                </c:pt>
                <c:pt idx="2721">
                  <c:v>1.371384</c:v>
                </c:pt>
                <c:pt idx="2722">
                  <c:v>1.371888</c:v>
                </c:pt>
                <c:pt idx="2723">
                  <c:v>1.372392</c:v>
                </c:pt>
                <c:pt idx="2724">
                  <c:v>1.372896</c:v>
                </c:pt>
                <c:pt idx="2725">
                  <c:v>1.3734</c:v>
                </c:pt>
                <c:pt idx="2726">
                  <c:v>1.373904</c:v>
                </c:pt>
                <c:pt idx="2727">
                  <c:v>1.374408</c:v>
                </c:pt>
                <c:pt idx="2728">
                  <c:v>1.374912</c:v>
                </c:pt>
                <c:pt idx="2729">
                  <c:v>1.375416</c:v>
                </c:pt>
                <c:pt idx="2730">
                  <c:v>1.37592</c:v>
                </c:pt>
                <c:pt idx="2731">
                  <c:v>1.376424</c:v>
                </c:pt>
                <c:pt idx="2732">
                  <c:v>1.376928</c:v>
                </c:pt>
                <c:pt idx="2733">
                  <c:v>1.377432</c:v>
                </c:pt>
                <c:pt idx="2734">
                  <c:v>1.377936</c:v>
                </c:pt>
                <c:pt idx="2735">
                  <c:v>1.37844</c:v>
                </c:pt>
                <c:pt idx="2736">
                  <c:v>1.378944</c:v>
                </c:pt>
                <c:pt idx="2737">
                  <c:v>1.379448</c:v>
                </c:pt>
                <c:pt idx="2738">
                  <c:v>1.379952</c:v>
                </c:pt>
                <c:pt idx="2739">
                  <c:v>1.380456</c:v>
                </c:pt>
                <c:pt idx="2740">
                  <c:v>1.38096</c:v>
                </c:pt>
                <c:pt idx="2741">
                  <c:v>1.381464</c:v>
                </c:pt>
                <c:pt idx="2742">
                  <c:v>1.381968</c:v>
                </c:pt>
                <c:pt idx="2743">
                  <c:v>1.382472</c:v>
                </c:pt>
                <c:pt idx="2744">
                  <c:v>1.382976</c:v>
                </c:pt>
                <c:pt idx="2745">
                  <c:v>1.38348</c:v>
                </c:pt>
                <c:pt idx="2746">
                  <c:v>1.383984</c:v>
                </c:pt>
                <c:pt idx="2747">
                  <c:v>1.384488</c:v>
                </c:pt>
                <c:pt idx="2748">
                  <c:v>1.384992</c:v>
                </c:pt>
                <c:pt idx="2749">
                  <c:v>1.385496</c:v>
                </c:pt>
                <c:pt idx="2750">
                  <c:v>1.386</c:v>
                </c:pt>
                <c:pt idx="2751">
                  <c:v>1.386504</c:v>
                </c:pt>
                <c:pt idx="2752">
                  <c:v>1.387008</c:v>
                </c:pt>
                <c:pt idx="2753">
                  <c:v>1.387512</c:v>
                </c:pt>
                <c:pt idx="2754">
                  <c:v>1.388016</c:v>
                </c:pt>
                <c:pt idx="2755">
                  <c:v>1.38852</c:v>
                </c:pt>
                <c:pt idx="2756">
                  <c:v>1.389024</c:v>
                </c:pt>
                <c:pt idx="2757">
                  <c:v>1.389528</c:v>
                </c:pt>
                <c:pt idx="2758">
                  <c:v>1.390032</c:v>
                </c:pt>
                <c:pt idx="2759">
                  <c:v>1.390536</c:v>
                </c:pt>
                <c:pt idx="2760">
                  <c:v>1.39104</c:v>
                </c:pt>
                <c:pt idx="2761">
                  <c:v>1.391544</c:v>
                </c:pt>
                <c:pt idx="2762">
                  <c:v>1.392048</c:v>
                </c:pt>
                <c:pt idx="2763">
                  <c:v>1.392552</c:v>
                </c:pt>
                <c:pt idx="2764">
                  <c:v>1.393056</c:v>
                </c:pt>
                <c:pt idx="2765">
                  <c:v>1.39356</c:v>
                </c:pt>
                <c:pt idx="2766">
                  <c:v>1.394064</c:v>
                </c:pt>
                <c:pt idx="2767">
                  <c:v>1.394568</c:v>
                </c:pt>
                <c:pt idx="2768">
                  <c:v>1.395072</c:v>
                </c:pt>
                <c:pt idx="2769">
                  <c:v>1.395576</c:v>
                </c:pt>
                <c:pt idx="2770">
                  <c:v>1.39608</c:v>
                </c:pt>
                <c:pt idx="2771">
                  <c:v>1.396584</c:v>
                </c:pt>
                <c:pt idx="2772">
                  <c:v>1.397088</c:v>
                </c:pt>
                <c:pt idx="2773">
                  <c:v>1.397592</c:v>
                </c:pt>
                <c:pt idx="2774">
                  <c:v>1.398096</c:v>
                </c:pt>
                <c:pt idx="2775">
                  <c:v>1.3986</c:v>
                </c:pt>
                <c:pt idx="2776">
                  <c:v>1.399104</c:v>
                </c:pt>
                <c:pt idx="2777">
                  <c:v>1.399608</c:v>
                </c:pt>
                <c:pt idx="2778">
                  <c:v>1.400112</c:v>
                </c:pt>
                <c:pt idx="2779">
                  <c:v>1.400616</c:v>
                </c:pt>
                <c:pt idx="2780">
                  <c:v>1.40112</c:v>
                </c:pt>
                <c:pt idx="2781">
                  <c:v>1.401624</c:v>
                </c:pt>
                <c:pt idx="2782">
                  <c:v>1.402128</c:v>
                </c:pt>
                <c:pt idx="2783">
                  <c:v>1.402632</c:v>
                </c:pt>
                <c:pt idx="2784">
                  <c:v>1.403136</c:v>
                </c:pt>
                <c:pt idx="2785">
                  <c:v>1.40364</c:v>
                </c:pt>
                <c:pt idx="2786">
                  <c:v>1.404144</c:v>
                </c:pt>
                <c:pt idx="2787">
                  <c:v>1.404648</c:v>
                </c:pt>
                <c:pt idx="2788">
                  <c:v>1.405152</c:v>
                </c:pt>
                <c:pt idx="2789">
                  <c:v>1.405656</c:v>
                </c:pt>
                <c:pt idx="2790">
                  <c:v>1.40616</c:v>
                </c:pt>
                <c:pt idx="2791">
                  <c:v>1.406664</c:v>
                </c:pt>
                <c:pt idx="2792">
                  <c:v>1.407168</c:v>
                </c:pt>
                <c:pt idx="2793">
                  <c:v>1.407672</c:v>
                </c:pt>
                <c:pt idx="2794">
                  <c:v>1.408176</c:v>
                </c:pt>
                <c:pt idx="2795">
                  <c:v>1.40868</c:v>
                </c:pt>
                <c:pt idx="2796">
                  <c:v>1.409184</c:v>
                </c:pt>
                <c:pt idx="2797">
                  <c:v>1.409688</c:v>
                </c:pt>
                <c:pt idx="2798">
                  <c:v>1.410192</c:v>
                </c:pt>
                <c:pt idx="2799">
                  <c:v>1.410696</c:v>
                </c:pt>
                <c:pt idx="2800">
                  <c:v>1.4112</c:v>
                </c:pt>
                <c:pt idx="2801">
                  <c:v>1.411704</c:v>
                </c:pt>
                <c:pt idx="2802">
                  <c:v>1.412208</c:v>
                </c:pt>
                <c:pt idx="2803">
                  <c:v>1.412712</c:v>
                </c:pt>
                <c:pt idx="2804">
                  <c:v>1.413216</c:v>
                </c:pt>
                <c:pt idx="2805">
                  <c:v>1.41372</c:v>
                </c:pt>
                <c:pt idx="2806">
                  <c:v>1.414224</c:v>
                </c:pt>
                <c:pt idx="2807">
                  <c:v>1.414728</c:v>
                </c:pt>
                <c:pt idx="2808">
                  <c:v>1.415232</c:v>
                </c:pt>
                <c:pt idx="2809">
                  <c:v>1.415736</c:v>
                </c:pt>
                <c:pt idx="2810">
                  <c:v>1.41624</c:v>
                </c:pt>
                <c:pt idx="2811">
                  <c:v>1.416744</c:v>
                </c:pt>
                <c:pt idx="2812">
                  <c:v>1.417248</c:v>
                </c:pt>
                <c:pt idx="2813">
                  <c:v>1.417752</c:v>
                </c:pt>
                <c:pt idx="2814">
                  <c:v>1.418256</c:v>
                </c:pt>
                <c:pt idx="2815">
                  <c:v>1.41876</c:v>
                </c:pt>
                <c:pt idx="2816">
                  <c:v>1.419264</c:v>
                </c:pt>
                <c:pt idx="2817">
                  <c:v>1.419768</c:v>
                </c:pt>
                <c:pt idx="2818">
                  <c:v>1.420272</c:v>
                </c:pt>
                <c:pt idx="2819">
                  <c:v>1.420776</c:v>
                </c:pt>
                <c:pt idx="2820">
                  <c:v>1.42128</c:v>
                </c:pt>
                <c:pt idx="2821">
                  <c:v>1.421784</c:v>
                </c:pt>
                <c:pt idx="2822">
                  <c:v>1.422288</c:v>
                </c:pt>
                <c:pt idx="2823">
                  <c:v>1.422792</c:v>
                </c:pt>
                <c:pt idx="2824">
                  <c:v>1.423296</c:v>
                </c:pt>
                <c:pt idx="2825">
                  <c:v>1.4238</c:v>
                </c:pt>
                <c:pt idx="2826">
                  <c:v>1.424304</c:v>
                </c:pt>
                <c:pt idx="2827">
                  <c:v>1.424808</c:v>
                </c:pt>
                <c:pt idx="2828">
                  <c:v>1.425312</c:v>
                </c:pt>
                <c:pt idx="2829">
                  <c:v>1.425816</c:v>
                </c:pt>
                <c:pt idx="2830">
                  <c:v>1.42632</c:v>
                </c:pt>
                <c:pt idx="2831">
                  <c:v>1.426824</c:v>
                </c:pt>
                <c:pt idx="2832">
                  <c:v>1.427328</c:v>
                </c:pt>
                <c:pt idx="2833">
                  <c:v>1.427832</c:v>
                </c:pt>
                <c:pt idx="2834">
                  <c:v>1.428336</c:v>
                </c:pt>
                <c:pt idx="2835">
                  <c:v>1.42884</c:v>
                </c:pt>
                <c:pt idx="2836">
                  <c:v>1.429344</c:v>
                </c:pt>
                <c:pt idx="2837">
                  <c:v>1.429848</c:v>
                </c:pt>
                <c:pt idx="2838">
                  <c:v>1.430352</c:v>
                </c:pt>
                <c:pt idx="2839">
                  <c:v>1.430856</c:v>
                </c:pt>
                <c:pt idx="2840">
                  <c:v>1.43136</c:v>
                </c:pt>
                <c:pt idx="2841">
                  <c:v>1.431864</c:v>
                </c:pt>
                <c:pt idx="2842">
                  <c:v>1.432368</c:v>
                </c:pt>
                <c:pt idx="2843">
                  <c:v>1.432872</c:v>
                </c:pt>
                <c:pt idx="2844">
                  <c:v>1.433376</c:v>
                </c:pt>
                <c:pt idx="2845">
                  <c:v>1.43388</c:v>
                </c:pt>
                <c:pt idx="2846">
                  <c:v>1.434384</c:v>
                </c:pt>
                <c:pt idx="2847">
                  <c:v>1.434888</c:v>
                </c:pt>
                <c:pt idx="2848">
                  <c:v>1.435392</c:v>
                </c:pt>
                <c:pt idx="2849">
                  <c:v>1.435896</c:v>
                </c:pt>
                <c:pt idx="2850">
                  <c:v>1.4364</c:v>
                </c:pt>
                <c:pt idx="2851">
                  <c:v>1.436904</c:v>
                </c:pt>
                <c:pt idx="2852">
                  <c:v>1.437408</c:v>
                </c:pt>
                <c:pt idx="2853">
                  <c:v>1.437912</c:v>
                </c:pt>
                <c:pt idx="2854">
                  <c:v>1.438416</c:v>
                </c:pt>
                <c:pt idx="2855">
                  <c:v>1.43892</c:v>
                </c:pt>
                <c:pt idx="2856">
                  <c:v>1.439424</c:v>
                </c:pt>
                <c:pt idx="2857">
                  <c:v>1.439928</c:v>
                </c:pt>
                <c:pt idx="2858">
                  <c:v>1.440432</c:v>
                </c:pt>
                <c:pt idx="2859">
                  <c:v>1.440936</c:v>
                </c:pt>
                <c:pt idx="2860">
                  <c:v>1.44144</c:v>
                </c:pt>
                <c:pt idx="2861">
                  <c:v>1.441944</c:v>
                </c:pt>
                <c:pt idx="2862">
                  <c:v>1.442448</c:v>
                </c:pt>
                <c:pt idx="2863">
                  <c:v>1.442952</c:v>
                </c:pt>
                <c:pt idx="2864">
                  <c:v>1.443456</c:v>
                </c:pt>
                <c:pt idx="2865">
                  <c:v>1.44396</c:v>
                </c:pt>
                <c:pt idx="2866">
                  <c:v>1.444464</c:v>
                </c:pt>
                <c:pt idx="2867">
                  <c:v>1.444968</c:v>
                </c:pt>
                <c:pt idx="2868">
                  <c:v>1.445472</c:v>
                </c:pt>
                <c:pt idx="2869">
                  <c:v>1.445976</c:v>
                </c:pt>
                <c:pt idx="2870">
                  <c:v>1.44648</c:v>
                </c:pt>
                <c:pt idx="2871">
                  <c:v>1.446984</c:v>
                </c:pt>
                <c:pt idx="2872">
                  <c:v>1.447488</c:v>
                </c:pt>
                <c:pt idx="2873">
                  <c:v>1.447992</c:v>
                </c:pt>
                <c:pt idx="2874">
                  <c:v>1.448496</c:v>
                </c:pt>
                <c:pt idx="2875">
                  <c:v>1.449</c:v>
                </c:pt>
                <c:pt idx="2876">
                  <c:v>1.449504</c:v>
                </c:pt>
                <c:pt idx="2877">
                  <c:v>1.450008</c:v>
                </c:pt>
                <c:pt idx="2878">
                  <c:v>1.450512</c:v>
                </c:pt>
                <c:pt idx="2879">
                  <c:v>1.451016</c:v>
                </c:pt>
                <c:pt idx="2880">
                  <c:v>1.45152</c:v>
                </c:pt>
                <c:pt idx="2881">
                  <c:v>1.452024</c:v>
                </c:pt>
                <c:pt idx="2882">
                  <c:v>1.452528</c:v>
                </c:pt>
                <c:pt idx="2883">
                  <c:v>1.453032</c:v>
                </c:pt>
                <c:pt idx="2884">
                  <c:v>1.453536</c:v>
                </c:pt>
                <c:pt idx="2885">
                  <c:v>1.45404</c:v>
                </c:pt>
                <c:pt idx="2886">
                  <c:v>1.454544</c:v>
                </c:pt>
                <c:pt idx="2887">
                  <c:v>1.455048</c:v>
                </c:pt>
                <c:pt idx="2888">
                  <c:v>1.455552</c:v>
                </c:pt>
                <c:pt idx="2889">
                  <c:v>1.456056</c:v>
                </c:pt>
                <c:pt idx="2890">
                  <c:v>1.45656</c:v>
                </c:pt>
                <c:pt idx="2891">
                  <c:v>1.457064</c:v>
                </c:pt>
                <c:pt idx="2892">
                  <c:v>1.457568</c:v>
                </c:pt>
                <c:pt idx="2893">
                  <c:v>1.458072</c:v>
                </c:pt>
                <c:pt idx="2894">
                  <c:v>1.458576</c:v>
                </c:pt>
                <c:pt idx="2895">
                  <c:v>1.45908</c:v>
                </c:pt>
                <c:pt idx="2896">
                  <c:v>1.459584</c:v>
                </c:pt>
                <c:pt idx="2897">
                  <c:v>1.460088</c:v>
                </c:pt>
                <c:pt idx="2898">
                  <c:v>1.460592</c:v>
                </c:pt>
                <c:pt idx="2899">
                  <c:v>1.461096</c:v>
                </c:pt>
                <c:pt idx="2900">
                  <c:v>1.4616</c:v>
                </c:pt>
                <c:pt idx="2901">
                  <c:v>1.462104</c:v>
                </c:pt>
                <c:pt idx="2902">
                  <c:v>1.462608</c:v>
                </c:pt>
                <c:pt idx="2903">
                  <c:v>1.463112</c:v>
                </c:pt>
                <c:pt idx="2904">
                  <c:v>1.463616</c:v>
                </c:pt>
                <c:pt idx="2905">
                  <c:v>1.46412</c:v>
                </c:pt>
                <c:pt idx="2906">
                  <c:v>1.464624</c:v>
                </c:pt>
                <c:pt idx="2907">
                  <c:v>1.465128</c:v>
                </c:pt>
                <c:pt idx="2908">
                  <c:v>1.465632</c:v>
                </c:pt>
                <c:pt idx="2909">
                  <c:v>1.466136</c:v>
                </c:pt>
                <c:pt idx="2910">
                  <c:v>1.46664</c:v>
                </c:pt>
                <c:pt idx="2911">
                  <c:v>1.467144</c:v>
                </c:pt>
                <c:pt idx="2912">
                  <c:v>1.467648</c:v>
                </c:pt>
                <c:pt idx="2913">
                  <c:v>1.468152</c:v>
                </c:pt>
                <c:pt idx="2914">
                  <c:v>1.468656</c:v>
                </c:pt>
                <c:pt idx="2915">
                  <c:v>1.46916</c:v>
                </c:pt>
                <c:pt idx="2916">
                  <c:v>1.469664</c:v>
                </c:pt>
                <c:pt idx="2917">
                  <c:v>1.470168</c:v>
                </c:pt>
                <c:pt idx="2918">
                  <c:v>1.470672</c:v>
                </c:pt>
                <c:pt idx="2919">
                  <c:v>1.471176</c:v>
                </c:pt>
                <c:pt idx="2920">
                  <c:v>1.47168</c:v>
                </c:pt>
                <c:pt idx="2921">
                  <c:v>1.472184</c:v>
                </c:pt>
                <c:pt idx="2922">
                  <c:v>1.472688</c:v>
                </c:pt>
                <c:pt idx="2923">
                  <c:v>1.473192</c:v>
                </c:pt>
                <c:pt idx="2924">
                  <c:v>1.473696</c:v>
                </c:pt>
                <c:pt idx="2925">
                  <c:v>1.4742</c:v>
                </c:pt>
                <c:pt idx="2926">
                  <c:v>1.474704</c:v>
                </c:pt>
                <c:pt idx="2927">
                  <c:v>1.475208</c:v>
                </c:pt>
                <c:pt idx="2928">
                  <c:v>1.475712</c:v>
                </c:pt>
                <c:pt idx="2929">
                  <c:v>1.476216</c:v>
                </c:pt>
                <c:pt idx="2930">
                  <c:v>1.47672</c:v>
                </c:pt>
                <c:pt idx="2931">
                  <c:v>1.477224</c:v>
                </c:pt>
                <c:pt idx="2932">
                  <c:v>1.477728</c:v>
                </c:pt>
                <c:pt idx="2933">
                  <c:v>1.478232</c:v>
                </c:pt>
                <c:pt idx="2934">
                  <c:v>1.478736</c:v>
                </c:pt>
                <c:pt idx="2935">
                  <c:v>1.47924</c:v>
                </c:pt>
                <c:pt idx="2936">
                  <c:v>1.479744</c:v>
                </c:pt>
                <c:pt idx="2937">
                  <c:v>1.480248</c:v>
                </c:pt>
                <c:pt idx="2938">
                  <c:v>1.480752</c:v>
                </c:pt>
                <c:pt idx="2939">
                  <c:v>1.481256</c:v>
                </c:pt>
                <c:pt idx="2940">
                  <c:v>1.48176</c:v>
                </c:pt>
                <c:pt idx="2941">
                  <c:v>1.482264</c:v>
                </c:pt>
                <c:pt idx="2942">
                  <c:v>1.482768</c:v>
                </c:pt>
                <c:pt idx="2943">
                  <c:v>1.483272</c:v>
                </c:pt>
                <c:pt idx="2944">
                  <c:v>1.483776</c:v>
                </c:pt>
                <c:pt idx="2945">
                  <c:v>1.48428</c:v>
                </c:pt>
                <c:pt idx="2946">
                  <c:v>1.484784</c:v>
                </c:pt>
                <c:pt idx="2947">
                  <c:v>1.485288</c:v>
                </c:pt>
                <c:pt idx="2948">
                  <c:v>1.485792</c:v>
                </c:pt>
                <c:pt idx="2949">
                  <c:v>1.486296</c:v>
                </c:pt>
                <c:pt idx="2950">
                  <c:v>1.4868</c:v>
                </c:pt>
                <c:pt idx="2951">
                  <c:v>1.487304</c:v>
                </c:pt>
                <c:pt idx="2952">
                  <c:v>1.487808</c:v>
                </c:pt>
                <c:pt idx="2953">
                  <c:v>1.488312</c:v>
                </c:pt>
                <c:pt idx="2954">
                  <c:v>1.488816</c:v>
                </c:pt>
                <c:pt idx="2955">
                  <c:v>1.48932</c:v>
                </c:pt>
                <c:pt idx="2956">
                  <c:v>1.489824</c:v>
                </c:pt>
                <c:pt idx="2957">
                  <c:v>1.490328</c:v>
                </c:pt>
                <c:pt idx="2958">
                  <c:v>1.490832</c:v>
                </c:pt>
                <c:pt idx="2959">
                  <c:v>1.491336</c:v>
                </c:pt>
                <c:pt idx="2960">
                  <c:v>1.49184</c:v>
                </c:pt>
                <c:pt idx="2961">
                  <c:v>1.492344</c:v>
                </c:pt>
                <c:pt idx="2962">
                  <c:v>1.492848</c:v>
                </c:pt>
                <c:pt idx="2963">
                  <c:v>1.493352</c:v>
                </c:pt>
                <c:pt idx="2964">
                  <c:v>1.493856</c:v>
                </c:pt>
                <c:pt idx="2965">
                  <c:v>1.49436</c:v>
                </c:pt>
                <c:pt idx="2966">
                  <c:v>1.494864</c:v>
                </c:pt>
                <c:pt idx="2967">
                  <c:v>1.495368</c:v>
                </c:pt>
                <c:pt idx="2968">
                  <c:v>1.495872</c:v>
                </c:pt>
                <c:pt idx="2969">
                  <c:v>1.496376</c:v>
                </c:pt>
                <c:pt idx="2970">
                  <c:v>1.49688</c:v>
                </c:pt>
                <c:pt idx="2971">
                  <c:v>1.497384</c:v>
                </c:pt>
                <c:pt idx="2972">
                  <c:v>1.497888</c:v>
                </c:pt>
                <c:pt idx="2973">
                  <c:v>1.498392</c:v>
                </c:pt>
                <c:pt idx="2974">
                  <c:v>1.498896</c:v>
                </c:pt>
                <c:pt idx="2975">
                  <c:v>1.4994</c:v>
                </c:pt>
                <c:pt idx="2976">
                  <c:v>1.499904</c:v>
                </c:pt>
                <c:pt idx="2977">
                  <c:v>1.500408</c:v>
                </c:pt>
                <c:pt idx="2978">
                  <c:v>1.500912</c:v>
                </c:pt>
                <c:pt idx="2979">
                  <c:v>1.501416</c:v>
                </c:pt>
                <c:pt idx="2980">
                  <c:v>1.50192</c:v>
                </c:pt>
                <c:pt idx="2981">
                  <c:v>1.502424</c:v>
                </c:pt>
                <c:pt idx="2982">
                  <c:v>1.502928</c:v>
                </c:pt>
                <c:pt idx="2983">
                  <c:v>1.503432</c:v>
                </c:pt>
                <c:pt idx="2984">
                  <c:v>1.503936</c:v>
                </c:pt>
                <c:pt idx="2985">
                  <c:v>1.50444</c:v>
                </c:pt>
                <c:pt idx="2986">
                  <c:v>1.504944</c:v>
                </c:pt>
                <c:pt idx="2987">
                  <c:v>1.505448</c:v>
                </c:pt>
                <c:pt idx="2988">
                  <c:v>1.505952</c:v>
                </c:pt>
                <c:pt idx="2989">
                  <c:v>1.506456</c:v>
                </c:pt>
                <c:pt idx="2990">
                  <c:v>1.50696</c:v>
                </c:pt>
                <c:pt idx="2991">
                  <c:v>1.507464</c:v>
                </c:pt>
                <c:pt idx="2992">
                  <c:v>1.507968</c:v>
                </c:pt>
                <c:pt idx="2993">
                  <c:v>1.508472</c:v>
                </c:pt>
                <c:pt idx="2994">
                  <c:v>1.508976</c:v>
                </c:pt>
                <c:pt idx="2995">
                  <c:v>1.50948</c:v>
                </c:pt>
                <c:pt idx="2996">
                  <c:v>1.509984</c:v>
                </c:pt>
                <c:pt idx="2997">
                  <c:v>1.510488</c:v>
                </c:pt>
                <c:pt idx="2998">
                  <c:v>1.510992</c:v>
                </c:pt>
                <c:pt idx="2999">
                  <c:v>1.511496</c:v>
                </c:pt>
                <c:pt idx="3000">
                  <c:v>1.512</c:v>
                </c:pt>
                <c:pt idx="3001">
                  <c:v>1.512504</c:v>
                </c:pt>
                <c:pt idx="3002">
                  <c:v>1.513008</c:v>
                </c:pt>
                <c:pt idx="3003">
                  <c:v>1.513512</c:v>
                </c:pt>
                <c:pt idx="3004">
                  <c:v>1.514016</c:v>
                </c:pt>
                <c:pt idx="3005">
                  <c:v>1.51452</c:v>
                </c:pt>
                <c:pt idx="3006">
                  <c:v>1.515024</c:v>
                </c:pt>
                <c:pt idx="3007">
                  <c:v>1.515528</c:v>
                </c:pt>
                <c:pt idx="3008">
                  <c:v>1.516032</c:v>
                </c:pt>
                <c:pt idx="3009">
                  <c:v>1.516536</c:v>
                </c:pt>
                <c:pt idx="3010">
                  <c:v>1.51704</c:v>
                </c:pt>
                <c:pt idx="3011">
                  <c:v>1.517544</c:v>
                </c:pt>
                <c:pt idx="3012">
                  <c:v>1.518048</c:v>
                </c:pt>
                <c:pt idx="3013">
                  <c:v>1.518552</c:v>
                </c:pt>
                <c:pt idx="3014">
                  <c:v>1.519056</c:v>
                </c:pt>
                <c:pt idx="3015">
                  <c:v>1.51956</c:v>
                </c:pt>
                <c:pt idx="3016">
                  <c:v>1.520064</c:v>
                </c:pt>
                <c:pt idx="3017">
                  <c:v>1.520568</c:v>
                </c:pt>
                <c:pt idx="3018">
                  <c:v>1.521072</c:v>
                </c:pt>
                <c:pt idx="3019">
                  <c:v>1.521576</c:v>
                </c:pt>
                <c:pt idx="3020">
                  <c:v>1.52208</c:v>
                </c:pt>
                <c:pt idx="3021">
                  <c:v>1.522584</c:v>
                </c:pt>
                <c:pt idx="3022">
                  <c:v>1.523088</c:v>
                </c:pt>
                <c:pt idx="3023">
                  <c:v>1.523592</c:v>
                </c:pt>
                <c:pt idx="3024">
                  <c:v>1.524096</c:v>
                </c:pt>
                <c:pt idx="3025">
                  <c:v>1.5246</c:v>
                </c:pt>
                <c:pt idx="3026">
                  <c:v>1.525104</c:v>
                </c:pt>
                <c:pt idx="3027">
                  <c:v>1.525608</c:v>
                </c:pt>
                <c:pt idx="3028">
                  <c:v>1.526112</c:v>
                </c:pt>
                <c:pt idx="3029">
                  <c:v>1.526616</c:v>
                </c:pt>
                <c:pt idx="3030">
                  <c:v>1.52712</c:v>
                </c:pt>
                <c:pt idx="3031">
                  <c:v>1.527624</c:v>
                </c:pt>
                <c:pt idx="3032">
                  <c:v>1.528128</c:v>
                </c:pt>
                <c:pt idx="3033">
                  <c:v>1.528632</c:v>
                </c:pt>
                <c:pt idx="3034">
                  <c:v>1.529136</c:v>
                </c:pt>
                <c:pt idx="3035">
                  <c:v>1.52964</c:v>
                </c:pt>
                <c:pt idx="3036">
                  <c:v>1.530144</c:v>
                </c:pt>
                <c:pt idx="3037">
                  <c:v>1.530648</c:v>
                </c:pt>
                <c:pt idx="3038">
                  <c:v>1.531152</c:v>
                </c:pt>
                <c:pt idx="3039">
                  <c:v>1.531656</c:v>
                </c:pt>
                <c:pt idx="3040">
                  <c:v>1.53216</c:v>
                </c:pt>
                <c:pt idx="3041">
                  <c:v>1.532664</c:v>
                </c:pt>
                <c:pt idx="3042">
                  <c:v>1.533168</c:v>
                </c:pt>
                <c:pt idx="3043">
                  <c:v>1.533672</c:v>
                </c:pt>
                <c:pt idx="3044">
                  <c:v>1.534176</c:v>
                </c:pt>
                <c:pt idx="3045">
                  <c:v>1.53468</c:v>
                </c:pt>
                <c:pt idx="3046">
                  <c:v>1.535184</c:v>
                </c:pt>
                <c:pt idx="3047">
                  <c:v>1.535688</c:v>
                </c:pt>
                <c:pt idx="3048">
                  <c:v>1.536192</c:v>
                </c:pt>
                <c:pt idx="3049">
                  <c:v>1.536696</c:v>
                </c:pt>
                <c:pt idx="3050">
                  <c:v>1.5372</c:v>
                </c:pt>
                <c:pt idx="3051">
                  <c:v>1.537704</c:v>
                </c:pt>
                <c:pt idx="3052">
                  <c:v>1.538208</c:v>
                </c:pt>
                <c:pt idx="3053">
                  <c:v>1.538712</c:v>
                </c:pt>
                <c:pt idx="3054">
                  <c:v>1.539216</c:v>
                </c:pt>
                <c:pt idx="3055">
                  <c:v>1.53972</c:v>
                </c:pt>
                <c:pt idx="3056">
                  <c:v>1.540224</c:v>
                </c:pt>
                <c:pt idx="3057">
                  <c:v>1.540728</c:v>
                </c:pt>
                <c:pt idx="3058">
                  <c:v>1.541232</c:v>
                </c:pt>
                <c:pt idx="3059">
                  <c:v>1.541736</c:v>
                </c:pt>
                <c:pt idx="3060">
                  <c:v>1.54224</c:v>
                </c:pt>
                <c:pt idx="3061">
                  <c:v>1.542744</c:v>
                </c:pt>
                <c:pt idx="3062">
                  <c:v>1.543248</c:v>
                </c:pt>
                <c:pt idx="3063">
                  <c:v>1.543752</c:v>
                </c:pt>
                <c:pt idx="3064">
                  <c:v>1.544256</c:v>
                </c:pt>
                <c:pt idx="3065">
                  <c:v>1.54476</c:v>
                </c:pt>
                <c:pt idx="3066">
                  <c:v>1.545264</c:v>
                </c:pt>
                <c:pt idx="3067">
                  <c:v>1.545768</c:v>
                </c:pt>
                <c:pt idx="3068">
                  <c:v>1.546272</c:v>
                </c:pt>
                <c:pt idx="3069">
                  <c:v>1.546776</c:v>
                </c:pt>
                <c:pt idx="3070">
                  <c:v>1.54728</c:v>
                </c:pt>
                <c:pt idx="3071">
                  <c:v>1.547784</c:v>
                </c:pt>
                <c:pt idx="3072">
                  <c:v>1.548288</c:v>
                </c:pt>
                <c:pt idx="3073">
                  <c:v>1.548792</c:v>
                </c:pt>
                <c:pt idx="3074">
                  <c:v>1.549296</c:v>
                </c:pt>
                <c:pt idx="3075">
                  <c:v>1.5498</c:v>
                </c:pt>
                <c:pt idx="3076">
                  <c:v>1.550304</c:v>
                </c:pt>
                <c:pt idx="3077">
                  <c:v>1.550808</c:v>
                </c:pt>
                <c:pt idx="3078">
                  <c:v>1.551312</c:v>
                </c:pt>
                <c:pt idx="3079">
                  <c:v>1.551816</c:v>
                </c:pt>
                <c:pt idx="3080">
                  <c:v>1.55232</c:v>
                </c:pt>
                <c:pt idx="3081">
                  <c:v>1.552824</c:v>
                </c:pt>
                <c:pt idx="3082">
                  <c:v>1.553328</c:v>
                </c:pt>
                <c:pt idx="3083">
                  <c:v>1.553832</c:v>
                </c:pt>
                <c:pt idx="3084">
                  <c:v>1.554336</c:v>
                </c:pt>
                <c:pt idx="3085">
                  <c:v>1.55484</c:v>
                </c:pt>
                <c:pt idx="3086">
                  <c:v>1.555344</c:v>
                </c:pt>
                <c:pt idx="3087">
                  <c:v>1.555848</c:v>
                </c:pt>
                <c:pt idx="3088">
                  <c:v>1.556352</c:v>
                </c:pt>
                <c:pt idx="3089">
                  <c:v>1.556856</c:v>
                </c:pt>
                <c:pt idx="3090">
                  <c:v>1.55736</c:v>
                </c:pt>
                <c:pt idx="3091">
                  <c:v>1.557864</c:v>
                </c:pt>
                <c:pt idx="3092">
                  <c:v>1.558368</c:v>
                </c:pt>
                <c:pt idx="3093">
                  <c:v>1.558872</c:v>
                </c:pt>
                <c:pt idx="3094">
                  <c:v>1.559376</c:v>
                </c:pt>
                <c:pt idx="3095">
                  <c:v>1.55988</c:v>
                </c:pt>
                <c:pt idx="3096">
                  <c:v>1.560384</c:v>
                </c:pt>
                <c:pt idx="3097">
                  <c:v>1.560888</c:v>
                </c:pt>
                <c:pt idx="3098">
                  <c:v>1.561392</c:v>
                </c:pt>
                <c:pt idx="3099">
                  <c:v>1.561896</c:v>
                </c:pt>
                <c:pt idx="3100">
                  <c:v>1.5624</c:v>
                </c:pt>
                <c:pt idx="3101">
                  <c:v>1.562904</c:v>
                </c:pt>
                <c:pt idx="3102">
                  <c:v>1.563408</c:v>
                </c:pt>
                <c:pt idx="3103">
                  <c:v>1.563912</c:v>
                </c:pt>
                <c:pt idx="3104">
                  <c:v>1.564416</c:v>
                </c:pt>
                <c:pt idx="3105">
                  <c:v>1.56492</c:v>
                </c:pt>
                <c:pt idx="3106">
                  <c:v>1.565424</c:v>
                </c:pt>
                <c:pt idx="3107">
                  <c:v>1.565928</c:v>
                </c:pt>
                <c:pt idx="3108">
                  <c:v>1.566432</c:v>
                </c:pt>
                <c:pt idx="3109">
                  <c:v>1.566936</c:v>
                </c:pt>
                <c:pt idx="3110">
                  <c:v>1.56744</c:v>
                </c:pt>
                <c:pt idx="3111">
                  <c:v>1.567944</c:v>
                </c:pt>
                <c:pt idx="3112">
                  <c:v>1.568448</c:v>
                </c:pt>
                <c:pt idx="3113">
                  <c:v>1.568952</c:v>
                </c:pt>
                <c:pt idx="3114">
                  <c:v>1.569456</c:v>
                </c:pt>
                <c:pt idx="3115">
                  <c:v>1.56996</c:v>
                </c:pt>
                <c:pt idx="3116">
                  <c:v>1.570464</c:v>
                </c:pt>
                <c:pt idx="3117">
                  <c:v>1.570968</c:v>
                </c:pt>
                <c:pt idx="3118">
                  <c:v>1.571472</c:v>
                </c:pt>
                <c:pt idx="3119">
                  <c:v>1.571976</c:v>
                </c:pt>
                <c:pt idx="3120">
                  <c:v>1.57248</c:v>
                </c:pt>
                <c:pt idx="3121">
                  <c:v>1.572984</c:v>
                </c:pt>
                <c:pt idx="3122">
                  <c:v>1.573488</c:v>
                </c:pt>
                <c:pt idx="3123">
                  <c:v>1.573992</c:v>
                </c:pt>
                <c:pt idx="3124">
                  <c:v>1.574496</c:v>
                </c:pt>
                <c:pt idx="3125">
                  <c:v>1.575</c:v>
                </c:pt>
                <c:pt idx="3126">
                  <c:v>1.575504</c:v>
                </c:pt>
                <c:pt idx="3127">
                  <c:v>1.576008</c:v>
                </c:pt>
                <c:pt idx="3128">
                  <c:v>1.576512</c:v>
                </c:pt>
                <c:pt idx="3129">
                  <c:v>1.577016</c:v>
                </c:pt>
                <c:pt idx="3130">
                  <c:v>1.57752</c:v>
                </c:pt>
                <c:pt idx="3131">
                  <c:v>1.578024</c:v>
                </c:pt>
                <c:pt idx="3132">
                  <c:v>1.578528</c:v>
                </c:pt>
                <c:pt idx="3133">
                  <c:v>1.579032</c:v>
                </c:pt>
                <c:pt idx="3134">
                  <c:v>1.579536</c:v>
                </c:pt>
                <c:pt idx="3135">
                  <c:v>1.58004</c:v>
                </c:pt>
                <c:pt idx="3136">
                  <c:v>1.580544</c:v>
                </c:pt>
                <c:pt idx="3137">
                  <c:v>1.581048</c:v>
                </c:pt>
                <c:pt idx="3138">
                  <c:v>1.581552</c:v>
                </c:pt>
                <c:pt idx="3139">
                  <c:v>1.582056</c:v>
                </c:pt>
                <c:pt idx="3140">
                  <c:v>1.58256</c:v>
                </c:pt>
                <c:pt idx="3141">
                  <c:v>1.583064</c:v>
                </c:pt>
                <c:pt idx="3142">
                  <c:v>1.583568</c:v>
                </c:pt>
                <c:pt idx="3143">
                  <c:v>1.584072</c:v>
                </c:pt>
                <c:pt idx="3144">
                  <c:v>1.584576</c:v>
                </c:pt>
                <c:pt idx="3145">
                  <c:v>1.58508</c:v>
                </c:pt>
                <c:pt idx="3146">
                  <c:v>1.585584</c:v>
                </c:pt>
                <c:pt idx="3147">
                  <c:v>1.586088</c:v>
                </c:pt>
                <c:pt idx="3148">
                  <c:v>1.586592</c:v>
                </c:pt>
                <c:pt idx="3149">
                  <c:v>1.587096</c:v>
                </c:pt>
                <c:pt idx="3150">
                  <c:v>1.5876</c:v>
                </c:pt>
                <c:pt idx="3151">
                  <c:v>1.588104</c:v>
                </c:pt>
                <c:pt idx="3152">
                  <c:v>1.588608</c:v>
                </c:pt>
                <c:pt idx="3153">
                  <c:v>1.589112</c:v>
                </c:pt>
                <c:pt idx="3154">
                  <c:v>1.589616</c:v>
                </c:pt>
                <c:pt idx="3155">
                  <c:v>1.59012</c:v>
                </c:pt>
                <c:pt idx="3156">
                  <c:v>1.590624</c:v>
                </c:pt>
                <c:pt idx="3157">
                  <c:v>1.591128</c:v>
                </c:pt>
                <c:pt idx="3158">
                  <c:v>1.591632</c:v>
                </c:pt>
                <c:pt idx="3159">
                  <c:v>1.592136</c:v>
                </c:pt>
                <c:pt idx="3160">
                  <c:v>1.59264</c:v>
                </c:pt>
                <c:pt idx="3161">
                  <c:v>1.593144</c:v>
                </c:pt>
                <c:pt idx="3162">
                  <c:v>1.593648</c:v>
                </c:pt>
                <c:pt idx="3163">
                  <c:v>1.594152</c:v>
                </c:pt>
                <c:pt idx="3164">
                  <c:v>1.594656</c:v>
                </c:pt>
                <c:pt idx="3165">
                  <c:v>1.59516</c:v>
                </c:pt>
                <c:pt idx="3166">
                  <c:v>1.595664</c:v>
                </c:pt>
                <c:pt idx="3167">
                  <c:v>1.596168</c:v>
                </c:pt>
                <c:pt idx="3168">
                  <c:v>1.596672</c:v>
                </c:pt>
                <c:pt idx="3169">
                  <c:v>1.597176</c:v>
                </c:pt>
                <c:pt idx="3170">
                  <c:v>1.59768</c:v>
                </c:pt>
                <c:pt idx="3171">
                  <c:v>1.598184</c:v>
                </c:pt>
                <c:pt idx="3172">
                  <c:v>1.598688</c:v>
                </c:pt>
                <c:pt idx="3173">
                  <c:v>1.599192</c:v>
                </c:pt>
                <c:pt idx="3174">
                  <c:v>1.599696</c:v>
                </c:pt>
                <c:pt idx="3175">
                  <c:v>1.6002</c:v>
                </c:pt>
                <c:pt idx="3176">
                  <c:v>1.600704</c:v>
                </c:pt>
                <c:pt idx="3177">
                  <c:v>1.601208</c:v>
                </c:pt>
                <c:pt idx="3178">
                  <c:v>1.601712</c:v>
                </c:pt>
                <c:pt idx="3179">
                  <c:v>1.602216</c:v>
                </c:pt>
                <c:pt idx="3180">
                  <c:v>1.60272</c:v>
                </c:pt>
                <c:pt idx="3181">
                  <c:v>1.603224</c:v>
                </c:pt>
                <c:pt idx="3182">
                  <c:v>1.603728</c:v>
                </c:pt>
                <c:pt idx="3183">
                  <c:v>1.604232</c:v>
                </c:pt>
                <c:pt idx="3184">
                  <c:v>1.604736</c:v>
                </c:pt>
                <c:pt idx="3185">
                  <c:v>1.60524</c:v>
                </c:pt>
                <c:pt idx="3186">
                  <c:v>1.605744</c:v>
                </c:pt>
                <c:pt idx="3187">
                  <c:v>1.606248</c:v>
                </c:pt>
                <c:pt idx="3188">
                  <c:v>1.606752</c:v>
                </c:pt>
                <c:pt idx="3189">
                  <c:v>1.607256</c:v>
                </c:pt>
                <c:pt idx="3190">
                  <c:v>1.60776</c:v>
                </c:pt>
                <c:pt idx="3191">
                  <c:v>1.608264</c:v>
                </c:pt>
                <c:pt idx="3192">
                  <c:v>1.608768</c:v>
                </c:pt>
                <c:pt idx="3193">
                  <c:v>1.609272</c:v>
                </c:pt>
                <c:pt idx="3194">
                  <c:v>1.609776</c:v>
                </c:pt>
                <c:pt idx="3195">
                  <c:v>1.61028</c:v>
                </c:pt>
                <c:pt idx="3196">
                  <c:v>1.610784</c:v>
                </c:pt>
                <c:pt idx="3197">
                  <c:v>1.611288</c:v>
                </c:pt>
                <c:pt idx="3198">
                  <c:v>1.611792</c:v>
                </c:pt>
                <c:pt idx="3199">
                  <c:v>1.612296</c:v>
                </c:pt>
                <c:pt idx="3200">
                  <c:v>1.6128</c:v>
                </c:pt>
                <c:pt idx="3201">
                  <c:v>1.613304</c:v>
                </c:pt>
                <c:pt idx="3202">
                  <c:v>1.613808</c:v>
                </c:pt>
                <c:pt idx="3203">
                  <c:v>1.614312</c:v>
                </c:pt>
                <c:pt idx="3204">
                  <c:v>1.614816</c:v>
                </c:pt>
                <c:pt idx="3205">
                  <c:v>1.61532</c:v>
                </c:pt>
                <c:pt idx="3206">
                  <c:v>1.615824</c:v>
                </c:pt>
                <c:pt idx="3207">
                  <c:v>1.616328</c:v>
                </c:pt>
                <c:pt idx="3208">
                  <c:v>1.616832</c:v>
                </c:pt>
                <c:pt idx="3209">
                  <c:v>1.617336</c:v>
                </c:pt>
                <c:pt idx="3210">
                  <c:v>1.61784</c:v>
                </c:pt>
                <c:pt idx="3211">
                  <c:v>1.618344</c:v>
                </c:pt>
                <c:pt idx="3212">
                  <c:v>1.618848</c:v>
                </c:pt>
                <c:pt idx="3213">
                  <c:v>1.619352</c:v>
                </c:pt>
                <c:pt idx="3214">
                  <c:v>1.619856</c:v>
                </c:pt>
                <c:pt idx="3215">
                  <c:v>1.62036</c:v>
                </c:pt>
                <c:pt idx="3216">
                  <c:v>1.620864</c:v>
                </c:pt>
                <c:pt idx="3217">
                  <c:v>1.621368</c:v>
                </c:pt>
                <c:pt idx="3218">
                  <c:v>1.621872</c:v>
                </c:pt>
                <c:pt idx="3219">
                  <c:v>1.622376</c:v>
                </c:pt>
                <c:pt idx="3220">
                  <c:v>1.62288</c:v>
                </c:pt>
                <c:pt idx="3221">
                  <c:v>1.623384</c:v>
                </c:pt>
                <c:pt idx="3222">
                  <c:v>1.623888</c:v>
                </c:pt>
                <c:pt idx="3223">
                  <c:v>1.624392</c:v>
                </c:pt>
                <c:pt idx="3224">
                  <c:v>1.624896</c:v>
                </c:pt>
                <c:pt idx="3225">
                  <c:v>1.6254</c:v>
                </c:pt>
                <c:pt idx="3226">
                  <c:v>1.625904</c:v>
                </c:pt>
                <c:pt idx="3227">
                  <c:v>1.626408</c:v>
                </c:pt>
                <c:pt idx="3228">
                  <c:v>1.626912</c:v>
                </c:pt>
                <c:pt idx="3229">
                  <c:v>1.627416</c:v>
                </c:pt>
                <c:pt idx="3230">
                  <c:v>1.62792</c:v>
                </c:pt>
                <c:pt idx="3231">
                  <c:v>1.628424</c:v>
                </c:pt>
                <c:pt idx="3232">
                  <c:v>1.628928</c:v>
                </c:pt>
                <c:pt idx="3233">
                  <c:v>1.629432</c:v>
                </c:pt>
                <c:pt idx="3234">
                  <c:v>1.629936</c:v>
                </c:pt>
                <c:pt idx="3235">
                  <c:v>1.63044</c:v>
                </c:pt>
                <c:pt idx="3236">
                  <c:v>1.630944</c:v>
                </c:pt>
                <c:pt idx="3237">
                  <c:v>1.631448</c:v>
                </c:pt>
                <c:pt idx="3238">
                  <c:v>1.631952</c:v>
                </c:pt>
                <c:pt idx="3239">
                  <c:v>1.632456</c:v>
                </c:pt>
                <c:pt idx="3240">
                  <c:v>1.63296</c:v>
                </c:pt>
                <c:pt idx="3241">
                  <c:v>1.633464</c:v>
                </c:pt>
                <c:pt idx="3242">
                  <c:v>1.633968</c:v>
                </c:pt>
                <c:pt idx="3243">
                  <c:v>1.634472</c:v>
                </c:pt>
                <c:pt idx="3244">
                  <c:v>1.634976</c:v>
                </c:pt>
                <c:pt idx="3245">
                  <c:v>1.63548</c:v>
                </c:pt>
                <c:pt idx="3246">
                  <c:v>1.635984</c:v>
                </c:pt>
                <c:pt idx="3247">
                  <c:v>1.636488</c:v>
                </c:pt>
                <c:pt idx="3248">
                  <c:v>1.636992</c:v>
                </c:pt>
                <c:pt idx="3249">
                  <c:v>1.637496</c:v>
                </c:pt>
                <c:pt idx="3250">
                  <c:v>1.638</c:v>
                </c:pt>
                <c:pt idx="3251">
                  <c:v>1.638504</c:v>
                </c:pt>
                <c:pt idx="3252">
                  <c:v>1.639008</c:v>
                </c:pt>
                <c:pt idx="3253">
                  <c:v>1.639512</c:v>
                </c:pt>
                <c:pt idx="3254">
                  <c:v>1.640016</c:v>
                </c:pt>
                <c:pt idx="3255">
                  <c:v>1.64052</c:v>
                </c:pt>
                <c:pt idx="3256">
                  <c:v>1.641024</c:v>
                </c:pt>
                <c:pt idx="3257">
                  <c:v>1.641528</c:v>
                </c:pt>
                <c:pt idx="3258">
                  <c:v>1.642032</c:v>
                </c:pt>
                <c:pt idx="3259">
                  <c:v>1.642536</c:v>
                </c:pt>
                <c:pt idx="3260">
                  <c:v>1.64304</c:v>
                </c:pt>
                <c:pt idx="3261">
                  <c:v>1.643544</c:v>
                </c:pt>
                <c:pt idx="3262">
                  <c:v>1.644048</c:v>
                </c:pt>
                <c:pt idx="3263">
                  <c:v>1.644552</c:v>
                </c:pt>
                <c:pt idx="3264">
                  <c:v>1.645056</c:v>
                </c:pt>
                <c:pt idx="3265">
                  <c:v>1.64556</c:v>
                </c:pt>
                <c:pt idx="3266">
                  <c:v>1.646064</c:v>
                </c:pt>
                <c:pt idx="3267">
                  <c:v>1.646568</c:v>
                </c:pt>
                <c:pt idx="3268">
                  <c:v>1.647072</c:v>
                </c:pt>
                <c:pt idx="3269">
                  <c:v>1.647576</c:v>
                </c:pt>
                <c:pt idx="3270">
                  <c:v>1.64808</c:v>
                </c:pt>
                <c:pt idx="3271">
                  <c:v>1.648584</c:v>
                </c:pt>
                <c:pt idx="3272">
                  <c:v>1.649088</c:v>
                </c:pt>
                <c:pt idx="3273">
                  <c:v>1.649592</c:v>
                </c:pt>
                <c:pt idx="3274">
                  <c:v>1.650096</c:v>
                </c:pt>
                <c:pt idx="3275">
                  <c:v>1.6506</c:v>
                </c:pt>
                <c:pt idx="3276">
                  <c:v>1.651104</c:v>
                </c:pt>
                <c:pt idx="3277">
                  <c:v>1.651608</c:v>
                </c:pt>
                <c:pt idx="3278">
                  <c:v>1.652112</c:v>
                </c:pt>
                <c:pt idx="3279">
                  <c:v>1.652616</c:v>
                </c:pt>
                <c:pt idx="3280">
                  <c:v>1.65312</c:v>
                </c:pt>
                <c:pt idx="3281">
                  <c:v>1.653624</c:v>
                </c:pt>
                <c:pt idx="3282">
                  <c:v>1.654128</c:v>
                </c:pt>
                <c:pt idx="3283">
                  <c:v>1.654632</c:v>
                </c:pt>
                <c:pt idx="3284">
                  <c:v>1.655136</c:v>
                </c:pt>
                <c:pt idx="3285">
                  <c:v>1.65564</c:v>
                </c:pt>
                <c:pt idx="3286">
                  <c:v>1.656144</c:v>
                </c:pt>
                <c:pt idx="3287">
                  <c:v>1.656648</c:v>
                </c:pt>
                <c:pt idx="3288">
                  <c:v>1.657152</c:v>
                </c:pt>
                <c:pt idx="3289">
                  <c:v>1.657656</c:v>
                </c:pt>
                <c:pt idx="3290">
                  <c:v>1.65816</c:v>
                </c:pt>
                <c:pt idx="3291">
                  <c:v>1.658664</c:v>
                </c:pt>
                <c:pt idx="3292">
                  <c:v>1.659168</c:v>
                </c:pt>
                <c:pt idx="3293">
                  <c:v>1.659672</c:v>
                </c:pt>
                <c:pt idx="3294">
                  <c:v>1.660176</c:v>
                </c:pt>
                <c:pt idx="3295">
                  <c:v>1.66068</c:v>
                </c:pt>
                <c:pt idx="3296">
                  <c:v>1.661184</c:v>
                </c:pt>
                <c:pt idx="3297">
                  <c:v>1.661688</c:v>
                </c:pt>
                <c:pt idx="3298">
                  <c:v>1.662192</c:v>
                </c:pt>
                <c:pt idx="3299">
                  <c:v>1.662696</c:v>
                </c:pt>
                <c:pt idx="3300">
                  <c:v>1.6632</c:v>
                </c:pt>
                <c:pt idx="3301">
                  <c:v>1.663704</c:v>
                </c:pt>
                <c:pt idx="3302">
                  <c:v>1.664208</c:v>
                </c:pt>
                <c:pt idx="3303">
                  <c:v>1.664712</c:v>
                </c:pt>
                <c:pt idx="3304">
                  <c:v>1.665216</c:v>
                </c:pt>
                <c:pt idx="3305">
                  <c:v>1.66572</c:v>
                </c:pt>
                <c:pt idx="3306">
                  <c:v>1.666224</c:v>
                </c:pt>
                <c:pt idx="3307">
                  <c:v>1.666728</c:v>
                </c:pt>
                <c:pt idx="3308">
                  <c:v>1.667232</c:v>
                </c:pt>
                <c:pt idx="3309">
                  <c:v>1.667736</c:v>
                </c:pt>
                <c:pt idx="3310">
                  <c:v>1.66824</c:v>
                </c:pt>
                <c:pt idx="3311">
                  <c:v>1.668744</c:v>
                </c:pt>
                <c:pt idx="3312">
                  <c:v>1.669248</c:v>
                </c:pt>
                <c:pt idx="3313">
                  <c:v>1.669752</c:v>
                </c:pt>
                <c:pt idx="3314">
                  <c:v>1.670256</c:v>
                </c:pt>
                <c:pt idx="3315">
                  <c:v>1.67076</c:v>
                </c:pt>
                <c:pt idx="3316">
                  <c:v>1.671264</c:v>
                </c:pt>
                <c:pt idx="3317">
                  <c:v>1.671768</c:v>
                </c:pt>
                <c:pt idx="3318">
                  <c:v>1.672272</c:v>
                </c:pt>
                <c:pt idx="3319">
                  <c:v>1.672776</c:v>
                </c:pt>
                <c:pt idx="3320">
                  <c:v>1.67328</c:v>
                </c:pt>
                <c:pt idx="3321">
                  <c:v>1.673784</c:v>
                </c:pt>
                <c:pt idx="3322">
                  <c:v>1.674288</c:v>
                </c:pt>
                <c:pt idx="3323">
                  <c:v>1.674792</c:v>
                </c:pt>
                <c:pt idx="3324">
                  <c:v>1.675296</c:v>
                </c:pt>
                <c:pt idx="3325">
                  <c:v>1.6758</c:v>
                </c:pt>
                <c:pt idx="3326">
                  <c:v>1.676304</c:v>
                </c:pt>
                <c:pt idx="3327">
                  <c:v>1.676808</c:v>
                </c:pt>
                <c:pt idx="3328">
                  <c:v>1.677312</c:v>
                </c:pt>
                <c:pt idx="3329">
                  <c:v>1.677816</c:v>
                </c:pt>
                <c:pt idx="3330">
                  <c:v>1.67832</c:v>
                </c:pt>
                <c:pt idx="3331">
                  <c:v>1.678824</c:v>
                </c:pt>
                <c:pt idx="3332">
                  <c:v>1.679328</c:v>
                </c:pt>
                <c:pt idx="3333">
                  <c:v>1.679832</c:v>
                </c:pt>
                <c:pt idx="3334">
                  <c:v>1.680336</c:v>
                </c:pt>
                <c:pt idx="3335">
                  <c:v>1.68084</c:v>
                </c:pt>
                <c:pt idx="3336">
                  <c:v>1.681344</c:v>
                </c:pt>
                <c:pt idx="3337">
                  <c:v>1.681848</c:v>
                </c:pt>
                <c:pt idx="3338">
                  <c:v>1.682352</c:v>
                </c:pt>
                <c:pt idx="3339">
                  <c:v>1.682856</c:v>
                </c:pt>
                <c:pt idx="3340">
                  <c:v>1.68336</c:v>
                </c:pt>
                <c:pt idx="3341">
                  <c:v>1.683864</c:v>
                </c:pt>
                <c:pt idx="3342">
                  <c:v>1.684368</c:v>
                </c:pt>
                <c:pt idx="3343">
                  <c:v>1.684872</c:v>
                </c:pt>
                <c:pt idx="3344">
                  <c:v>1.685376</c:v>
                </c:pt>
                <c:pt idx="3345">
                  <c:v>1.68588</c:v>
                </c:pt>
                <c:pt idx="3346">
                  <c:v>1.686384</c:v>
                </c:pt>
                <c:pt idx="3347">
                  <c:v>1.686888</c:v>
                </c:pt>
                <c:pt idx="3348">
                  <c:v>1.687392</c:v>
                </c:pt>
                <c:pt idx="3349">
                  <c:v>1.687896</c:v>
                </c:pt>
                <c:pt idx="3350">
                  <c:v>1.6884</c:v>
                </c:pt>
                <c:pt idx="3351">
                  <c:v>1.688904</c:v>
                </c:pt>
                <c:pt idx="3352">
                  <c:v>1.689408</c:v>
                </c:pt>
                <c:pt idx="3353">
                  <c:v>1.689912</c:v>
                </c:pt>
                <c:pt idx="3354">
                  <c:v>1.690416</c:v>
                </c:pt>
                <c:pt idx="3355">
                  <c:v>1.69092</c:v>
                </c:pt>
                <c:pt idx="3356">
                  <c:v>1.691424</c:v>
                </c:pt>
                <c:pt idx="3357">
                  <c:v>1.691928</c:v>
                </c:pt>
                <c:pt idx="3358">
                  <c:v>1.692432</c:v>
                </c:pt>
                <c:pt idx="3359">
                  <c:v>1.692936</c:v>
                </c:pt>
                <c:pt idx="3360">
                  <c:v>1.69344</c:v>
                </c:pt>
                <c:pt idx="3361">
                  <c:v>1.693944</c:v>
                </c:pt>
                <c:pt idx="3362">
                  <c:v>1.694448</c:v>
                </c:pt>
                <c:pt idx="3363">
                  <c:v>1.694952</c:v>
                </c:pt>
                <c:pt idx="3364">
                  <c:v>1.695456</c:v>
                </c:pt>
                <c:pt idx="3365">
                  <c:v>1.69596</c:v>
                </c:pt>
                <c:pt idx="3366">
                  <c:v>1.696464</c:v>
                </c:pt>
                <c:pt idx="3367">
                  <c:v>1.696968</c:v>
                </c:pt>
                <c:pt idx="3368">
                  <c:v>1.697472</c:v>
                </c:pt>
                <c:pt idx="3369">
                  <c:v>1.697976</c:v>
                </c:pt>
                <c:pt idx="3370">
                  <c:v>1.69848</c:v>
                </c:pt>
                <c:pt idx="3371">
                  <c:v>1.698984</c:v>
                </c:pt>
                <c:pt idx="3372">
                  <c:v>1.699488</c:v>
                </c:pt>
                <c:pt idx="3373">
                  <c:v>1.699992</c:v>
                </c:pt>
                <c:pt idx="3374">
                  <c:v>1.700496</c:v>
                </c:pt>
                <c:pt idx="3375">
                  <c:v>1.701</c:v>
                </c:pt>
                <c:pt idx="3376">
                  <c:v>1.701504</c:v>
                </c:pt>
                <c:pt idx="3377">
                  <c:v>1.702008</c:v>
                </c:pt>
                <c:pt idx="3378">
                  <c:v>1.702512</c:v>
                </c:pt>
                <c:pt idx="3379">
                  <c:v>1.703016</c:v>
                </c:pt>
                <c:pt idx="3380">
                  <c:v>1.70352</c:v>
                </c:pt>
                <c:pt idx="3381">
                  <c:v>1.704024</c:v>
                </c:pt>
                <c:pt idx="3382">
                  <c:v>1.704528</c:v>
                </c:pt>
                <c:pt idx="3383">
                  <c:v>1.705032</c:v>
                </c:pt>
                <c:pt idx="3384">
                  <c:v>1.705536</c:v>
                </c:pt>
                <c:pt idx="3385">
                  <c:v>1.70604</c:v>
                </c:pt>
                <c:pt idx="3386">
                  <c:v>1.706544</c:v>
                </c:pt>
                <c:pt idx="3387">
                  <c:v>1.707048</c:v>
                </c:pt>
                <c:pt idx="3388">
                  <c:v>1.707552</c:v>
                </c:pt>
                <c:pt idx="3389">
                  <c:v>1.708056</c:v>
                </c:pt>
                <c:pt idx="3390">
                  <c:v>1.70856</c:v>
                </c:pt>
                <c:pt idx="3391">
                  <c:v>1.709064</c:v>
                </c:pt>
                <c:pt idx="3392">
                  <c:v>1.709568</c:v>
                </c:pt>
                <c:pt idx="3393">
                  <c:v>1.710072</c:v>
                </c:pt>
                <c:pt idx="3394">
                  <c:v>1.710576</c:v>
                </c:pt>
                <c:pt idx="3395">
                  <c:v>1.71108</c:v>
                </c:pt>
                <c:pt idx="3396">
                  <c:v>1.711584</c:v>
                </c:pt>
                <c:pt idx="3397">
                  <c:v>1.712088</c:v>
                </c:pt>
                <c:pt idx="3398">
                  <c:v>1.712592</c:v>
                </c:pt>
                <c:pt idx="3399">
                  <c:v>1.713096</c:v>
                </c:pt>
                <c:pt idx="3400">
                  <c:v>1.7136</c:v>
                </c:pt>
                <c:pt idx="3401">
                  <c:v>1.714104</c:v>
                </c:pt>
                <c:pt idx="3402">
                  <c:v>1.714608</c:v>
                </c:pt>
                <c:pt idx="3403">
                  <c:v>1.715112</c:v>
                </c:pt>
                <c:pt idx="3404">
                  <c:v>1.715616</c:v>
                </c:pt>
                <c:pt idx="3405">
                  <c:v>1.71612</c:v>
                </c:pt>
                <c:pt idx="3406">
                  <c:v>1.716624</c:v>
                </c:pt>
                <c:pt idx="3407">
                  <c:v>1.717128</c:v>
                </c:pt>
                <c:pt idx="3408">
                  <c:v>1.717632</c:v>
                </c:pt>
                <c:pt idx="3409">
                  <c:v>1.718136</c:v>
                </c:pt>
                <c:pt idx="3410">
                  <c:v>1.71864</c:v>
                </c:pt>
                <c:pt idx="3411">
                  <c:v>1.719144</c:v>
                </c:pt>
                <c:pt idx="3412">
                  <c:v>1.719648</c:v>
                </c:pt>
                <c:pt idx="3413">
                  <c:v>1.720152</c:v>
                </c:pt>
                <c:pt idx="3414">
                  <c:v>1.720656</c:v>
                </c:pt>
                <c:pt idx="3415">
                  <c:v>1.72116</c:v>
                </c:pt>
                <c:pt idx="3416">
                  <c:v>1.721664</c:v>
                </c:pt>
                <c:pt idx="3417">
                  <c:v>1.722168</c:v>
                </c:pt>
                <c:pt idx="3418">
                  <c:v>1.722672</c:v>
                </c:pt>
                <c:pt idx="3419">
                  <c:v>1.723176</c:v>
                </c:pt>
                <c:pt idx="3420">
                  <c:v>1.72368</c:v>
                </c:pt>
                <c:pt idx="3421">
                  <c:v>1.724184</c:v>
                </c:pt>
                <c:pt idx="3422">
                  <c:v>1.724688</c:v>
                </c:pt>
                <c:pt idx="3423">
                  <c:v>1.725192</c:v>
                </c:pt>
                <c:pt idx="3424">
                  <c:v>1.725696</c:v>
                </c:pt>
                <c:pt idx="3425">
                  <c:v>1.7262</c:v>
                </c:pt>
                <c:pt idx="3426">
                  <c:v>1.726704</c:v>
                </c:pt>
                <c:pt idx="3427">
                  <c:v>1.727208</c:v>
                </c:pt>
                <c:pt idx="3428">
                  <c:v>1.727712</c:v>
                </c:pt>
                <c:pt idx="3429">
                  <c:v>1.728216</c:v>
                </c:pt>
                <c:pt idx="3430">
                  <c:v>1.72872</c:v>
                </c:pt>
                <c:pt idx="3431">
                  <c:v>1.729224</c:v>
                </c:pt>
                <c:pt idx="3432">
                  <c:v>1.729728</c:v>
                </c:pt>
                <c:pt idx="3433">
                  <c:v>1.730232</c:v>
                </c:pt>
                <c:pt idx="3434">
                  <c:v>1.730736</c:v>
                </c:pt>
                <c:pt idx="3435">
                  <c:v>1.73124</c:v>
                </c:pt>
                <c:pt idx="3436">
                  <c:v>1.731744</c:v>
                </c:pt>
                <c:pt idx="3437">
                  <c:v>1.732248</c:v>
                </c:pt>
                <c:pt idx="3438">
                  <c:v>1.732752</c:v>
                </c:pt>
                <c:pt idx="3439">
                  <c:v>1.733256</c:v>
                </c:pt>
                <c:pt idx="3440">
                  <c:v>1.73376</c:v>
                </c:pt>
                <c:pt idx="3441">
                  <c:v>1.734264</c:v>
                </c:pt>
                <c:pt idx="3442">
                  <c:v>1.734768</c:v>
                </c:pt>
                <c:pt idx="3443">
                  <c:v>1.735272</c:v>
                </c:pt>
                <c:pt idx="3444">
                  <c:v>1.735776</c:v>
                </c:pt>
                <c:pt idx="3445">
                  <c:v>1.73628</c:v>
                </c:pt>
                <c:pt idx="3446">
                  <c:v>1.736784</c:v>
                </c:pt>
                <c:pt idx="3447">
                  <c:v>1.737288</c:v>
                </c:pt>
                <c:pt idx="3448">
                  <c:v>1.737792</c:v>
                </c:pt>
                <c:pt idx="3449">
                  <c:v>1.738296</c:v>
                </c:pt>
                <c:pt idx="3450">
                  <c:v>1.7388</c:v>
                </c:pt>
                <c:pt idx="3451">
                  <c:v>1.739304</c:v>
                </c:pt>
                <c:pt idx="3452">
                  <c:v>1.739808</c:v>
                </c:pt>
                <c:pt idx="3453">
                  <c:v>1.740312</c:v>
                </c:pt>
                <c:pt idx="3454">
                  <c:v>1.740816</c:v>
                </c:pt>
                <c:pt idx="3455">
                  <c:v>1.74132</c:v>
                </c:pt>
                <c:pt idx="3456">
                  <c:v>1.741824</c:v>
                </c:pt>
                <c:pt idx="3457">
                  <c:v>1.742328</c:v>
                </c:pt>
                <c:pt idx="3458">
                  <c:v>1.742832</c:v>
                </c:pt>
                <c:pt idx="3459">
                  <c:v>1.743336</c:v>
                </c:pt>
                <c:pt idx="3460">
                  <c:v>1.74384</c:v>
                </c:pt>
                <c:pt idx="3461">
                  <c:v>1.744344</c:v>
                </c:pt>
                <c:pt idx="3462">
                  <c:v>1.744848</c:v>
                </c:pt>
                <c:pt idx="3463">
                  <c:v>1.745352</c:v>
                </c:pt>
                <c:pt idx="3464">
                  <c:v>1.745856</c:v>
                </c:pt>
                <c:pt idx="3465">
                  <c:v>1.74636</c:v>
                </c:pt>
                <c:pt idx="3466">
                  <c:v>1.746864</c:v>
                </c:pt>
                <c:pt idx="3467">
                  <c:v>1.747368</c:v>
                </c:pt>
                <c:pt idx="3468">
                  <c:v>1.747872</c:v>
                </c:pt>
                <c:pt idx="3469">
                  <c:v>1.748376</c:v>
                </c:pt>
                <c:pt idx="3470">
                  <c:v>1.74888</c:v>
                </c:pt>
                <c:pt idx="3471">
                  <c:v>1.749384</c:v>
                </c:pt>
                <c:pt idx="3472">
                  <c:v>1.749888</c:v>
                </c:pt>
                <c:pt idx="3473">
                  <c:v>1.750392</c:v>
                </c:pt>
                <c:pt idx="3474">
                  <c:v>1.750896</c:v>
                </c:pt>
                <c:pt idx="3475">
                  <c:v>1.7514</c:v>
                </c:pt>
                <c:pt idx="3476">
                  <c:v>1.751904</c:v>
                </c:pt>
                <c:pt idx="3477">
                  <c:v>1.752408</c:v>
                </c:pt>
                <c:pt idx="3478">
                  <c:v>1.752912</c:v>
                </c:pt>
                <c:pt idx="3479">
                  <c:v>1.753416</c:v>
                </c:pt>
                <c:pt idx="3480">
                  <c:v>1.75392</c:v>
                </c:pt>
                <c:pt idx="3481">
                  <c:v>1.754424</c:v>
                </c:pt>
                <c:pt idx="3482">
                  <c:v>1.754928</c:v>
                </c:pt>
                <c:pt idx="3483">
                  <c:v>1.755432</c:v>
                </c:pt>
                <c:pt idx="3484">
                  <c:v>1.755936</c:v>
                </c:pt>
                <c:pt idx="3485">
                  <c:v>1.75644</c:v>
                </c:pt>
                <c:pt idx="3486">
                  <c:v>1.756944</c:v>
                </c:pt>
                <c:pt idx="3487">
                  <c:v>1.757448</c:v>
                </c:pt>
                <c:pt idx="3488">
                  <c:v>1.757952</c:v>
                </c:pt>
                <c:pt idx="3489">
                  <c:v>1.758456</c:v>
                </c:pt>
                <c:pt idx="3490">
                  <c:v>1.75896</c:v>
                </c:pt>
                <c:pt idx="3491">
                  <c:v>1.759464</c:v>
                </c:pt>
                <c:pt idx="3492">
                  <c:v>1.759968</c:v>
                </c:pt>
                <c:pt idx="3493">
                  <c:v>1.760472</c:v>
                </c:pt>
                <c:pt idx="3494">
                  <c:v>1.760976</c:v>
                </c:pt>
                <c:pt idx="3495">
                  <c:v>1.76148</c:v>
                </c:pt>
                <c:pt idx="3496">
                  <c:v>1.761984</c:v>
                </c:pt>
                <c:pt idx="3497">
                  <c:v>1.762488</c:v>
                </c:pt>
                <c:pt idx="3498">
                  <c:v>1.762992</c:v>
                </c:pt>
                <c:pt idx="3499">
                  <c:v>1.763496</c:v>
                </c:pt>
                <c:pt idx="3500">
                  <c:v>1.764</c:v>
                </c:pt>
                <c:pt idx="3501">
                  <c:v>1.764504</c:v>
                </c:pt>
                <c:pt idx="3502">
                  <c:v>1.765008</c:v>
                </c:pt>
                <c:pt idx="3503">
                  <c:v>1.765512</c:v>
                </c:pt>
                <c:pt idx="3504">
                  <c:v>1.766016</c:v>
                </c:pt>
                <c:pt idx="3505">
                  <c:v>1.76652</c:v>
                </c:pt>
                <c:pt idx="3506">
                  <c:v>1.767024</c:v>
                </c:pt>
                <c:pt idx="3507">
                  <c:v>1.767528</c:v>
                </c:pt>
                <c:pt idx="3508">
                  <c:v>1.768032</c:v>
                </c:pt>
                <c:pt idx="3509">
                  <c:v>1.768536</c:v>
                </c:pt>
                <c:pt idx="3510">
                  <c:v>1.76904</c:v>
                </c:pt>
                <c:pt idx="3511">
                  <c:v>1.769544</c:v>
                </c:pt>
                <c:pt idx="3512">
                  <c:v>1.770048</c:v>
                </c:pt>
                <c:pt idx="3513">
                  <c:v>1.770552</c:v>
                </c:pt>
                <c:pt idx="3514">
                  <c:v>1.771056</c:v>
                </c:pt>
                <c:pt idx="3515">
                  <c:v>1.77156</c:v>
                </c:pt>
                <c:pt idx="3516">
                  <c:v>1.772064</c:v>
                </c:pt>
                <c:pt idx="3517">
                  <c:v>1.772568</c:v>
                </c:pt>
                <c:pt idx="3518">
                  <c:v>1.773072</c:v>
                </c:pt>
                <c:pt idx="3519">
                  <c:v>1.773576</c:v>
                </c:pt>
                <c:pt idx="3520">
                  <c:v>1.77408</c:v>
                </c:pt>
                <c:pt idx="3521">
                  <c:v>1.774584</c:v>
                </c:pt>
                <c:pt idx="3522">
                  <c:v>1.775088</c:v>
                </c:pt>
                <c:pt idx="3523">
                  <c:v>1.775592</c:v>
                </c:pt>
                <c:pt idx="3524">
                  <c:v>1.776096</c:v>
                </c:pt>
                <c:pt idx="3525">
                  <c:v>1.7766</c:v>
                </c:pt>
                <c:pt idx="3526">
                  <c:v>1.777104</c:v>
                </c:pt>
                <c:pt idx="3527">
                  <c:v>1.777608</c:v>
                </c:pt>
                <c:pt idx="3528">
                  <c:v>1.778112</c:v>
                </c:pt>
                <c:pt idx="3529">
                  <c:v>1.778616</c:v>
                </c:pt>
                <c:pt idx="3530">
                  <c:v>1.77912</c:v>
                </c:pt>
                <c:pt idx="3531">
                  <c:v>1.779624</c:v>
                </c:pt>
                <c:pt idx="3532">
                  <c:v>1.780128</c:v>
                </c:pt>
                <c:pt idx="3533">
                  <c:v>1.780632</c:v>
                </c:pt>
                <c:pt idx="3534">
                  <c:v>1.781136</c:v>
                </c:pt>
                <c:pt idx="3535">
                  <c:v>1.78164</c:v>
                </c:pt>
                <c:pt idx="3536">
                  <c:v>1.782144</c:v>
                </c:pt>
                <c:pt idx="3537">
                  <c:v>1.782648</c:v>
                </c:pt>
                <c:pt idx="3538">
                  <c:v>1.783152</c:v>
                </c:pt>
                <c:pt idx="3539">
                  <c:v>1.783656</c:v>
                </c:pt>
                <c:pt idx="3540">
                  <c:v>1.78416</c:v>
                </c:pt>
                <c:pt idx="3541">
                  <c:v>1.784664</c:v>
                </c:pt>
                <c:pt idx="3542">
                  <c:v>1.785168</c:v>
                </c:pt>
                <c:pt idx="3543">
                  <c:v>1.785672</c:v>
                </c:pt>
                <c:pt idx="3544">
                  <c:v>1.786176</c:v>
                </c:pt>
                <c:pt idx="3545">
                  <c:v>1.78668</c:v>
                </c:pt>
                <c:pt idx="3546">
                  <c:v>1.787184</c:v>
                </c:pt>
                <c:pt idx="3547">
                  <c:v>1.787688</c:v>
                </c:pt>
                <c:pt idx="3548">
                  <c:v>1.788192</c:v>
                </c:pt>
                <c:pt idx="3549">
                  <c:v>1.788696</c:v>
                </c:pt>
                <c:pt idx="3550">
                  <c:v>1.7892</c:v>
                </c:pt>
                <c:pt idx="3551">
                  <c:v>1.789704</c:v>
                </c:pt>
                <c:pt idx="3552">
                  <c:v>1.790208</c:v>
                </c:pt>
                <c:pt idx="3553">
                  <c:v>1.790712</c:v>
                </c:pt>
                <c:pt idx="3554">
                  <c:v>1.791216</c:v>
                </c:pt>
                <c:pt idx="3555">
                  <c:v>1.79172</c:v>
                </c:pt>
                <c:pt idx="3556">
                  <c:v>1.792224</c:v>
                </c:pt>
                <c:pt idx="3557">
                  <c:v>1.792728</c:v>
                </c:pt>
                <c:pt idx="3558">
                  <c:v>1.793232</c:v>
                </c:pt>
                <c:pt idx="3559">
                  <c:v>1.793736</c:v>
                </c:pt>
                <c:pt idx="3560">
                  <c:v>1.79424</c:v>
                </c:pt>
                <c:pt idx="3561">
                  <c:v>1.794744</c:v>
                </c:pt>
                <c:pt idx="3562">
                  <c:v>1.795248</c:v>
                </c:pt>
                <c:pt idx="3563">
                  <c:v>1.795752</c:v>
                </c:pt>
                <c:pt idx="3564">
                  <c:v>1.796256</c:v>
                </c:pt>
                <c:pt idx="3565">
                  <c:v>1.79676</c:v>
                </c:pt>
                <c:pt idx="3566">
                  <c:v>1.797264</c:v>
                </c:pt>
                <c:pt idx="3567">
                  <c:v>1.797768</c:v>
                </c:pt>
                <c:pt idx="3568">
                  <c:v>1.798272</c:v>
                </c:pt>
                <c:pt idx="3569">
                  <c:v>1.798776</c:v>
                </c:pt>
                <c:pt idx="3570">
                  <c:v>1.79928</c:v>
                </c:pt>
                <c:pt idx="3571">
                  <c:v>1.799784</c:v>
                </c:pt>
                <c:pt idx="3572">
                  <c:v>1.800288</c:v>
                </c:pt>
                <c:pt idx="3573">
                  <c:v>1.800792</c:v>
                </c:pt>
                <c:pt idx="3574">
                  <c:v>1.801296</c:v>
                </c:pt>
                <c:pt idx="3575">
                  <c:v>1.8018</c:v>
                </c:pt>
                <c:pt idx="3576">
                  <c:v>1.802304</c:v>
                </c:pt>
                <c:pt idx="3577">
                  <c:v>1.802808</c:v>
                </c:pt>
                <c:pt idx="3578">
                  <c:v>1.803312</c:v>
                </c:pt>
                <c:pt idx="3579">
                  <c:v>1.803816</c:v>
                </c:pt>
                <c:pt idx="3580">
                  <c:v>1.80432</c:v>
                </c:pt>
                <c:pt idx="3581">
                  <c:v>1.804824</c:v>
                </c:pt>
                <c:pt idx="3582">
                  <c:v>1.805328</c:v>
                </c:pt>
                <c:pt idx="3583">
                  <c:v>1.805832</c:v>
                </c:pt>
                <c:pt idx="3584">
                  <c:v>1.806336</c:v>
                </c:pt>
                <c:pt idx="3585">
                  <c:v>1.80684</c:v>
                </c:pt>
                <c:pt idx="3586">
                  <c:v>1.807344</c:v>
                </c:pt>
                <c:pt idx="3587">
                  <c:v>1.807848</c:v>
                </c:pt>
                <c:pt idx="3588">
                  <c:v>1.808352</c:v>
                </c:pt>
                <c:pt idx="3589">
                  <c:v>1.808856</c:v>
                </c:pt>
                <c:pt idx="3590">
                  <c:v>1.80936</c:v>
                </c:pt>
                <c:pt idx="3591">
                  <c:v>1.809864</c:v>
                </c:pt>
                <c:pt idx="3592">
                  <c:v>1.810368</c:v>
                </c:pt>
                <c:pt idx="3593">
                  <c:v>1.810872</c:v>
                </c:pt>
                <c:pt idx="3594">
                  <c:v>1.811376</c:v>
                </c:pt>
                <c:pt idx="3595">
                  <c:v>1.81188</c:v>
                </c:pt>
                <c:pt idx="3596">
                  <c:v>1.812384</c:v>
                </c:pt>
                <c:pt idx="3597">
                  <c:v>1.812888</c:v>
                </c:pt>
                <c:pt idx="3598">
                  <c:v>1.813392</c:v>
                </c:pt>
                <c:pt idx="3599">
                  <c:v>1.813896</c:v>
                </c:pt>
                <c:pt idx="3600">
                  <c:v>1.8144</c:v>
                </c:pt>
                <c:pt idx="3601">
                  <c:v>1.814904</c:v>
                </c:pt>
                <c:pt idx="3602">
                  <c:v>1.815408</c:v>
                </c:pt>
                <c:pt idx="3603">
                  <c:v>1.815912</c:v>
                </c:pt>
                <c:pt idx="3604">
                  <c:v>1.816416</c:v>
                </c:pt>
                <c:pt idx="3605">
                  <c:v>1.81692</c:v>
                </c:pt>
                <c:pt idx="3606">
                  <c:v>1.817424</c:v>
                </c:pt>
                <c:pt idx="3607">
                  <c:v>1.817928</c:v>
                </c:pt>
                <c:pt idx="3608">
                  <c:v>1.818432</c:v>
                </c:pt>
                <c:pt idx="3609">
                  <c:v>1.818936</c:v>
                </c:pt>
                <c:pt idx="3610">
                  <c:v>1.81944</c:v>
                </c:pt>
                <c:pt idx="3611">
                  <c:v>1.819944</c:v>
                </c:pt>
                <c:pt idx="3612">
                  <c:v>1.820448</c:v>
                </c:pt>
                <c:pt idx="3613">
                  <c:v>1.820952</c:v>
                </c:pt>
                <c:pt idx="3614">
                  <c:v>1.821456</c:v>
                </c:pt>
                <c:pt idx="3615">
                  <c:v>1.82196</c:v>
                </c:pt>
                <c:pt idx="3616">
                  <c:v>1.822464</c:v>
                </c:pt>
                <c:pt idx="3617">
                  <c:v>1.822968</c:v>
                </c:pt>
                <c:pt idx="3618">
                  <c:v>1.823472</c:v>
                </c:pt>
                <c:pt idx="3619">
                  <c:v>1.823976</c:v>
                </c:pt>
                <c:pt idx="3620">
                  <c:v>1.82448</c:v>
                </c:pt>
                <c:pt idx="3621">
                  <c:v>1.824984</c:v>
                </c:pt>
                <c:pt idx="3622">
                  <c:v>1.825488</c:v>
                </c:pt>
                <c:pt idx="3623">
                  <c:v>1.825992</c:v>
                </c:pt>
                <c:pt idx="3624">
                  <c:v>1.826496</c:v>
                </c:pt>
                <c:pt idx="3625">
                  <c:v>1.827</c:v>
                </c:pt>
                <c:pt idx="3626">
                  <c:v>1.827504</c:v>
                </c:pt>
                <c:pt idx="3627">
                  <c:v>1.828008</c:v>
                </c:pt>
                <c:pt idx="3628">
                  <c:v>1.828512</c:v>
                </c:pt>
                <c:pt idx="3629">
                  <c:v>1.829016</c:v>
                </c:pt>
                <c:pt idx="3630">
                  <c:v>1.82952</c:v>
                </c:pt>
                <c:pt idx="3631">
                  <c:v>1.830024</c:v>
                </c:pt>
                <c:pt idx="3632">
                  <c:v>1.830528</c:v>
                </c:pt>
                <c:pt idx="3633">
                  <c:v>1.831032</c:v>
                </c:pt>
                <c:pt idx="3634">
                  <c:v>1.831536</c:v>
                </c:pt>
                <c:pt idx="3635">
                  <c:v>1.83204</c:v>
                </c:pt>
                <c:pt idx="3636">
                  <c:v>1.832544</c:v>
                </c:pt>
                <c:pt idx="3637">
                  <c:v>1.833048</c:v>
                </c:pt>
                <c:pt idx="3638">
                  <c:v>1.833552</c:v>
                </c:pt>
                <c:pt idx="3639">
                  <c:v>1.834056</c:v>
                </c:pt>
                <c:pt idx="3640">
                  <c:v>1.83456</c:v>
                </c:pt>
                <c:pt idx="3641">
                  <c:v>1.835064</c:v>
                </c:pt>
                <c:pt idx="3642">
                  <c:v>1.835568</c:v>
                </c:pt>
                <c:pt idx="3643">
                  <c:v>1.836072</c:v>
                </c:pt>
                <c:pt idx="3644">
                  <c:v>1.836576</c:v>
                </c:pt>
                <c:pt idx="3645">
                  <c:v>1.83708</c:v>
                </c:pt>
                <c:pt idx="3646">
                  <c:v>1.837584</c:v>
                </c:pt>
                <c:pt idx="3647">
                  <c:v>1.838088</c:v>
                </c:pt>
                <c:pt idx="3648">
                  <c:v>1.838592</c:v>
                </c:pt>
                <c:pt idx="3649">
                  <c:v>1.839096</c:v>
                </c:pt>
                <c:pt idx="3650">
                  <c:v>1.8396</c:v>
                </c:pt>
                <c:pt idx="3651">
                  <c:v>1.840104</c:v>
                </c:pt>
                <c:pt idx="3652">
                  <c:v>1.840608</c:v>
                </c:pt>
                <c:pt idx="3653">
                  <c:v>1.841112</c:v>
                </c:pt>
                <c:pt idx="3654">
                  <c:v>1.841616</c:v>
                </c:pt>
                <c:pt idx="3655">
                  <c:v>1.84212</c:v>
                </c:pt>
                <c:pt idx="3656">
                  <c:v>1.842624</c:v>
                </c:pt>
                <c:pt idx="3657">
                  <c:v>1.843128</c:v>
                </c:pt>
                <c:pt idx="3658">
                  <c:v>1.843632</c:v>
                </c:pt>
                <c:pt idx="3659">
                  <c:v>1.844136</c:v>
                </c:pt>
                <c:pt idx="3660">
                  <c:v>1.84464</c:v>
                </c:pt>
                <c:pt idx="3661">
                  <c:v>1.845144</c:v>
                </c:pt>
                <c:pt idx="3662">
                  <c:v>1.845648</c:v>
                </c:pt>
                <c:pt idx="3663">
                  <c:v>1.846152</c:v>
                </c:pt>
                <c:pt idx="3664">
                  <c:v>1.846656</c:v>
                </c:pt>
                <c:pt idx="3665">
                  <c:v>1.84716</c:v>
                </c:pt>
                <c:pt idx="3666">
                  <c:v>1.847664</c:v>
                </c:pt>
                <c:pt idx="3667">
                  <c:v>1.848168</c:v>
                </c:pt>
                <c:pt idx="3668">
                  <c:v>1.848672</c:v>
                </c:pt>
                <c:pt idx="3669">
                  <c:v>1.849176</c:v>
                </c:pt>
                <c:pt idx="3670">
                  <c:v>1.84968</c:v>
                </c:pt>
                <c:pt idx="3671">
                  <c:v>1.850184</c:v>
                </c:pt>
                <c:pt idx="3672">
                  <c:v>1.850688</c:v>
                </c:pt>
                <c:pt idx="3673">
                  <c:v>1.851192</c:v>
                </c:pt>
                <c:pt idx="3674">
                  <c:v>1.851696</c:v>
                </c:pt>
                <c:pt idx="3675">
                  <c:v>1.8522</c:v>
                </c:pt>
                <c:pt idx="3676">
                  <c:v>1.852704</c:v>
                </c:pt>
                <c:pt idx="3677">
                  <c:v>1.853208</c:v>
                </c:pt>
                <c:pt idx="3678">
                  <c:v>1.853712</c:v>
                </c:pt>
                <c:pt idx="3679">
                  <c:v>1.854216</c:v>
                </c:pt>
                <c:pt idx="3680">
                  <c:v>1.85472</c:v>
                </c:pt>
                <c:pt idx="3681">
                  <c:v>1.855224</c:v>
                </c:pt>
                <c:pt idx="3682">
                  <c:v>1.855728</c:v>
                </c:pt>
                <c:pt idx="3683">
                  <c:v>1.856232</c:v>
                </c:pt>
                <c:pt idx="3684">
                  <c:v>1.856736</c:v>
                </c:pt>
                <c:pt idx="3685">
                  <c:v>1.85724</c:v>
                </c:pt>
                <c:pt idx="3686">
                  <c:v>1.857744</c:v>
                </c:pt>
                <c:pt idx="3687">
                  <c:v>1.858248</c:v>
                </c:pt>
                <c:pt idx="3688">
                  <c:v>1.858752</c:v>
                </c:pt>
                <c:pt idx="3689">
                  <c:v>1.859256</c:v>
                </c:pt>
                <c:pt idx="3690">
                  <c:v>1.85976</c:v>
                </c:pt>
                <c:pt idx="3691">
                  <c:v>1.860264</c:v>
                </c:pt>
                <c:pt idx="3692">
                  <c:v>1.860768</c:v>
                </c:pt>
                <c:pt idx="3693">
                  <c:v>1.861272</c:v>
                </c:pt>
                <c:pt idx="3694">
                  <c:v>1.861776</c:v>
                </c:pt>
                <c:pt idx="3695">
                  <c:v>1.86228</c:v>
                </c:pt>
                <c:pt idx="3696">
                  <c:v>1.862784</c:v>
                </c:pt>
                <c:pt idx="3697">
                  <c:v>1.863288</c:v>
                </c:pt>
                <c:pt idx="3698">
                  <c:v>1.863792</c:v>
                </c:pt>
                <c:pt idx="3699">
                  <c:v>1.864296</c:v>
                </c:pt>
                <c:pt idx="3700">
                  <c:v>1.8648</c:v>
                </c:pt>
                <c:pt idx="3701">
                  <c:v>1.865304</c:v>
                </c:pt>
                <c:pt idx="3702">
                  <c:v>1.865808</c:v>
                </c:pt>
                <c:pt idx="3703">
                  <c:v>1.866312</c:v>
                </c:pt>
                <c:pt idx="3704">
                  <c:v>1.866816</c:v>
                </c:pt>
                <c:pt idx="3705">
                  <c:v>1.86732</c:v>
                </c:pt>
                <c:pt idx="3706">
                  <c:v>1.867824</c:v>
                </c:pt>
                <c:pt idx="3707">
                  <c:v>1.868328</c:v>
                </c:pt>
                <c:pt idx="3708">
                  <c:v>1.868832</c:v>
                </c:pt>
                <c:pt idx="3709">
                  <c:v>1.869336</c:v>
                </c:pt>
                <c:pt idx="3710">
                  <c:v>1.86984</c:v>
                </c:pt>
                <c:pt idx="3711">
                  <c:v>1.870344</c:v>
                </c:pt>
                <c:pt idx="3712">
                  <c:v>1.870848</c:v>
                </c:pt>
                <c:pt idx="3713">
                  <c:v>1.871352</c:v>
                </c:pt>
                <c:pt idx="3714">
                  <c:v>1.871856</c:v>
                </c:pt>
                <c:pt idx="3715">
                  <c:v>1.87236</c:v>
                </c:pt>
                <c:pt idx="3716">
                  <c:v>1.872864</c:v>
                </c:pt>
                <c:pt idx="3717">
                  <c:v>1.873368</c:v>
                </c:pt>
                <c:pt idx="3718">
                  <c:v>1.873872</c:v>
                </c:pt>
                <c:pt idx="3719">
                  <c:v>1.874376</c:v>
                </c:pt>
                <c:pt idx="3720">
                  <c:v>1.87488</c:v>
                </c:pt>
                <c:pt idx="3721">
                  <c:v>1.875384</c:v>
                </c:pt>
                <c:pt idx="3722">
                  <c:v>1.875888</c:v>
                </c:pt>
                <c:pt idx="3723">
                  <c:v>1.876392</c:v>
                </c:pt>
                <c:pt idx="3724">
                  <c:v>1.876896</c:v>
                </c:pt>
                <c:pt idx="3725">
                  <c:v>1.8774</c:v>
                </c:pt>
                <c:pt idx="3726">
                  <c:v>1.877904</c:v>
                </c:pt>
                <c:pt idx="3727">
                  <c:v>1.878408</c:v>
                </c:pt>
                <c:pt idx="3728">
                  <c:v>1.878912</c:v>
                </c:pt>
                <c:pt idx="3729">
                  <c:v>1.879416</c:v>
                </c:pt>
                <c:pt idx="3730">
                  <c:v>1.87992</c:v>
                </c:pt>
                <c:pt idx="3731">
                  <c:v>1.880424</c:v>
                </c:pt>
                <c:pt idx="3732">
                  <c:v>1.880928</c:v>
                </c:pt>
                <c:pt idx="3733">
                  <c:v>1.881432</c:v>
                </c:pt>
                <c:pt idx="3734">
                  <c:v>1.881936</c:v>
                </c:pt>
                <c:pt idx="3735">
                  <c:v>1.88244</c:v>
                </c:pt>
                <c:pt idx="3736">
                  <c:v>1.882944</c:v>
                </c:pt>
                <c:pt idx="3737">
                  <c:v>1.883448</c:v>
                </c:pt>
                <c:pt idx="3738">
                  <c:v>1.883952</c:v>
                </c:pt>
                <c:pt idx="3739">
                  <c:v>1.884456</c:v>
                </c:pt>
                <c:pt idx="3740">
                  <c:v>1.88496</c:v>
                </c:pt>
                <c:pt idx="3741">
                  <c:v>1.885464</c:v>
                </c:pt>
                <c:pt idx="3742">
                  <c:v>1.885968</c:v>
                </c:pt>
                <c:pt idx="3743">
                  <c:v>1.886472</c:v>
                </c:pt>
                <c:pt idx="3744">
                  <c:v>1.886976</c:v>
                </c:pt>
                <c:pt idx="3745">
                  <c:v>1.88748</c:v>
                </c:pt>
                <c:pt idx="3746">
                  <c:v>1.887984</c:v>
                </c:pt>
                <c:pt idx="3747">
                  <c:v>1.888488</c:v>
                </c:pt>
                <c:pt idx="3748">
                  <c:v>1.888992</c:v>
                </c:pt>
                <c:pt idx="3749">
                  <c:v>1.889496</c:v>
                </c:pt>
                <c:pt idx="3750">
                  <c:v>1.89</c:v>
                </c:pt>
                <c:pt idx="3751">
                  <c:v>1.890504</c:v>
                </c:pt>
                <c:pt idx="3752">
                  <c:v>1.891008</c:v>
                </c:pt>
                <c:pt idx="3753">
                  <c:v>1.891512</c:v>
                </c:pt>
                <c:pt idx="3754">
                  <c:v>1.892016</c:v>
                </c:pt>
                <c:pt idx="3755">
                  <c:v>1.89252</c:v>
                </c:pt>
                <c:pt idx="3756">
                  <c:v>1.893024</c:v>
                </c:pt>
                <c:pt idx="3757">
                  <c:v>1.893528</c:v>
                </c:pt>
                <c:pt idx="3758">
                  <c:v>1.894032</c:v>
                </c:pt>
                <c:pt idx="3759">
                  <c:v>1.894536</c:v>
                </c:pt>
                <c:pt idx="3760">
                  <c:v>1.89504</c:v>
                </c:pt>
                <c:pt idx="3761">
                  <c:v>1.895544</c:v>
                </c:pt>
                <c:pt idx="3762">
                  <c:v>1.896048</c:v>
                </c:pt>
                <c:pt idx="3763">
                  <c:v>1.896552</c:v>
                </c:pt>
                <c:pt idx="3764">
                  <c:v>1.897056</c:v>
                </c:pt>
                <c:pt idx="3765">
                  <c:v>1.89756</c:v>
                </c:pt>
                <c:pt idx="3766">
                  <c:v>1.898064</c:v>
                </c:pt>
                <c:pt idx="3767">
                  <c:v>1.898568</c:v>
                </c:pt>
                <c:pt idx="3768">
                  <c:v>1.899072</c:v>
                </c:pt>
                <c:pt idx="3769">
                  <c:v>1.899576</c:v>
                </c:pt>
                <c:pt idx="3770">
                  <c:v>1.90008</c:v>
                </c:pt>
                <c:pt idx="3771">
                  <c:v>1.900584</c:v>
                </c:pt>
                <c:pt idx="3772">
                  <c:v>1.901088</c:v>
                </c:pt>
                <c:pt idx="3773">
                  <c:v>1.901592</c:v>
                </c:pt>
                <c:pt idx="3774">
                  <c:v>1.902096</c:v>
                </c:pt>
                <c:pt idx="3775">
                  <c:v>1.9026</c:v>
                </c:pt>
                <c:pt idx="3776">
                  <c:v>1.903104</c:v>
                </c:pt>
                <c:pt idx="3777">
                  <c:v>1.903608</c:v>
                </c:pt>
                <c:pt idx="3778">
                  <c:v>1.904112</c:v>
                </c:pt>
                <c:pt idx="3779">
                  <c:v>1.904616</c:v>
                </c:pt>
                <c:pt idx="3780">
                  <c:v>1.90512</c:v>
                </c:pt>
                <c:pt idx="3781">
                  <c:v>1.905624</c:v>
                </c:pt>
                <c:pt idx="3782">
                  <c:v>1.906128</c:v>
                </c:pt>
                <c:pt idx="3783">
                  <c:v>1.906632</c:v>
                </c:pt>
                <c:pt idx="3784">
                  <c:v>1.907136</c:v>
                </c:pt>
                <c:pt idx="3785">
                  <c:v>1.90764</c:v>
                </c:pt>
                <c:pt idx="3786">
                  <c:v>1.908144</c:v>
                </c:pt>
                <c:pt idx="3787">
                  <c:v>1.908648</c:v>
                </c:pt>
                <c:pt idx="3788">
                  <c:v>1.909152</c:v>
                </c:pt>
                <c:pt idx="3789">
                  <c:v>1.909656</c:v>
                </c:pt>
                <c:pt idx="3790">
                  <c:v>1.91016</c:v>
                </c:pt>
                <c:pt idx="3791">
                  <c:v>1.910664</c:v>
                </c:pt>
                <c:pt idx="3792">
                  <c:v>1.911168</c:v>
                </c:pt>
                <c:pt idx="3793">
                  <c:v>1.911672</c:v>
                </c:pt>
                <c:pt idx="3794">
                  <c:v>1.912176</c:v>
                </c:pt>
                <c:pt idx="3795">
                  <c:v>1.91268</c:v>
                </c:pt>
                <c:pt idx="3796">
                  <c:v>1.913184</c:v>
                </c:pt>
                <c:pt idx="3797">
                  <c:v>1.913688</c:v>
                </c:pt>
                <c:pt idx="3798">
                  <c:v>1.914192</c:v>
                </c:pt>
                <c:pt idx="3799">
                  <c:v>1.914696</c:v>
                </c:pt>
                <c:pt idx="3800">
                  <c:v>1.9152</c:v>
                </c:pt>
                <c:pt idx="3801">
                  <c:v>1.915704</c:v>
                </c:pt>
                <c:pt idx="3802">
                  <c:v>1.916208</c:v>
                </c:pt>
                <c:pt idx="3803">
                  <c:v>1.916712</c:v>
                </c:pt>
                <c:pt idx="3804">
                  <c:v>1.917216</c:v>
                </c:pt>
                <c:pt idx="3805">
                  <c:v>1.91772</c:v>
                </c:pt>
                <c:pt idx="3806">
                  <c:v>1.918224</c:v>
                </c:pt>
                <c:pt idx="3807">
                  <c:v>1.918728</c:v>
                </c:pt>
                <c:pt idx="3808">
                  <c:v>1.919232</c:v>
                </c:pt>
                <c:pt idx="3809">
                  <c:v>1.919736</c:v>
                </c:pt>
                <c:pt idx="3810">
                  <c:v>1.92024</c:v>
                </c:pt>
                <c:pt idx="3811">
                  <c:v>1.920744</c:v>
                </c:pt>
                <c:pt idx="3812">
                  <c:v>1.921248</c:v>
                </c:pt>
                <c:pt idx="3813">
                  <c:v>1.921752</c:v>
                </c:pt>
                <c:pt idx="3814">
                  <c:v>1.922256</c:v>
                </c:pt>
                <c:pt idx="3815">
                  <c:v>1.92276</c:v>
                </c:pt>
                <c:pt idx="3816">
                  <c:v>1.923264</c:v>
                </c:pt>
                <c:pt idx="3817">
                  <c:v>1.923768</c:v>
                </c:pt>
                <c:pt idx="3818">
                  <c:v>1.924272</c:v>
                </c:pt>
                <c:pt idx="3819">
                  <c:v>1.924776</c:v>
                </c:pt>
                <c:pt idx="3820">
                  <c:v>1.92528</c:v>
                </c:pt>
                <c:pt idx="3821">
                  <c:v>1.925784</c:v>
                </c:pt>
                <c:pt idx="3822">
                  <c:v>1.926288</c:v>
                </c:pt>
                <c:pt idx="3823">
                  <c:v>1.926792</c:v>
                </c:pt>
                <c:pt idx="3824">
                  <c:v>1.927296</c:v>
                </c:pt>
                <c:pt idx="3825">
                  <c:v>1.9278</c:v>
                </c:pt>
                <c:pt idx="3826">
                  <c:v>1.928304</c:v>
                </c:pt>
                <c:pt idx="3827">
                  <c:v>1.928808</c:v>
                </c:pt>
                <c:pt idx="3828">
                  <c:v>1.929312</c:v>
                </c:pt>
                <c:pt idx="3829">
                  <c:v>1.929816</c:v>
                </c:pt>
                <c:pt idx="3830">
                  <c:v>1.93032</c:v>
                </c:pt>
                <c:pt idx="3831">
                  <c:v>1.930824</c:v>
                </c:pt>
                <c:pt idx="3832">
                  <c:v>1.931328</c:v>
                </c:pt>
                <c:pt idx="3833">
                  <c:v>1.931832</c:v>
                </c:pt>
                <c:pt idx="3834">
                  <c:v>1.932336</c:v>
                </c:pt>
                <c:pt idx="3835">
                  <c:v>1.93284</c:v>
                </c:pt>
                <c:pt idx="3836">
                  <c:v>1.933344</c:v>
                </c:pt>
                <c:pt idx="3837">
                  <c:v>1.933848</c:v>
                </c:pt>
                <c:pt idx="3838">
                  <c:v>1.934352</c:v>
                </c:pt>
                <c:pt idx="3839">
                  <c:v>1.934856</c:v>
                </c:pt>
                <c:pt idx="3840">
                  <c:v>1.93536</c:v>
                </c:pt>
                <c:pt idx="3841">
                  <c:v>1.935864</c:v>
                </c:pt>
                <c:pt idx="3842">
                  <c:v>1.936368</c:v>
                </c:pt>
                <c:pt idx="3843">
                  <c:v>1.936872</c:v>
                </c:pt>
                <c:pt idx="3844">
                  <c:v>1.937376</c:v>
                </c:pt>
                <c:pt idx="3845">
                  <c:v>1.93788</c:v>
                </c:pt>
                <c:pt idx="3846">
                  <c:v>1.938384</c:v>
                </c:pt>
                <c:pt idx="3847">
                  <c:v>1.938888</c:v>
                </c:pt>
                <c:pt idx="3848">
                  <c:v>1.939392</c:v>
                </c:pt>
                <c:pt idx="3849">
                  <c:v>1.939896</c:v>
                </c:pt>
                <c:pt idx="3850">
                  <c:v>1.9404</c:v>
                </c:pt>
                <c:pt idx="3851">
                  <c:v>1.940904</c:v>
                </c:pt>
                <c:pt idx="3852">
                  <c:v>1.941408</c:v>
                </c:pt>
                <c:pt idx="3853">
                  <c:v>1.941912</c:v>
                </c:pt>
                <c:pt idx="3854">
                  <c:v>1.942416</c:v>
                </c:pt>
                <c:pt idx="3855">
                  <c:v>1.94292</c:v>
                </c:pt>
                <c:pt idx="3856">
                  <c:v>1.943424</c:v>
                </c:pt>
                <c:pt idx="3857">
                  <c:v>1.943928</c:v>
                </c:pt>
                <c:pt idx="3858">
                  <c:v>1.944432</c:v>
                </c:pt>
                <c:pt idx="3859">
                  <c:v>1.944936</c:v>
                </c:pt>
                <c:pt idx="3860">
                  <c:v>1.94544</c:v>
                </c:pt>
                <c:pt idx="3861">
                  <c:v>1.945944</c:v>
                </c:pt>
                <c:pt idx="3862">
                  <c:v>1.946448</c:v>
                </c:pt>
                <c:pt idx="3863">
                  <c:v>1.946952</c:v>
                </c:pt>
                <c:pt idx="3864">
                  <c:v>1.947456</c:v>
                </c:pt>
                <c:pt idx="3865">
                  <c:v>1.94796</c:v>
                </c:pt>
                <c:pt idx="3866">
                  <c:v>1.948464</c:v>
                </c:pt>
                <c:pt idx="3867">
                  <c:v>1.948968</c:v>
                </c:pt>
                <c:pt idx="3868">
                  <c:v>1.949472</c:v>
                </c:pt>
                <c:pt idx="3869">
                  <c:v>1.949976</c:v>
                </c:pt>
                <c:pt idx="3870">
                  <c:v>1.95048</c:v>
                </c:pt>
                <c:pt idx="3871">
                  <c:v>1.950984</c:v>
                </c:pt>
                <c:pt idx="3872">
                  <c:v>1.951488</c:v>
                </c:pt>
                <c:pt idx="3873">
                  <c:v>1.951992</c:v>
                </c:pt>
                <c:pt idx="3874">
                  <c:v>1.952496</c:v>
                </c:pt>
                <c:pt idx="3875">
                  <c:v>1.953</c:v>
                </c:pt>
                <c:pt idx="3876">
                  <c:v>1.953504</c:v>
                </c:pt>
                <c:pt idx="3877">
                  <c:v>1.954008</c:v>
                </c:pt>
                <c:pt idx="3878">
                  <c:v>1.954512</c:v>
                </c:pt>
                <c:pt idx="3879">
                  <c:v>1.955016</c:v>
                </c:pt>
                <c:pt idx="3880">
                  <c:v>1.95552</c:v>
                </c:pt>
                <c:pt idx="3881">
                  <c:v>1.956024</c:v>
                </c:pt>
                <c:pt idx="3882">
                  <c:v>1.956528</c:v>
                </c:pt>
                <c:pt idx="3883">
                  <c:v>1.957032</c:v>
                </c:pt>
                <c:pt idx="3884">
                  <c:v>1.957536</c:v>
                </c:pt>
                <c:pt idx="3885">
                  <c:v>1.95804</c:v>
                </c:pt>
                <c:pt idx="3886">
                  <c:v>1.958544</c:v>
                </c:pt>
                <c:pt idx="3887">
                  <c:v>1.959048</c:v>
                </c:pt>
                <c:pt idx="3888">
                  <c:v>1.959552</c:v>
                </c:pt>
                <c:pt idx="3889">
                  <c:v>1.960056</c:v>
                </c:pt>
                <c:pt idx="3890">
                  <c:v>1.96056</c:v>
                </c:pt>
                <c:pt idx="3891">
                  <c:v>1.961064</c:v>
                </c:pt>
                <c:pt idx="3892">
                  <c:v>1.961568</c:v>
                </c:pt>
                <c:pt idx="3893">
                  <c:v>1.962072</c:v>
                </c:pt>
                <c:pt idx="3894">
                  <c:v>1.962576</c:v>
                </c:pt>
                <c:pt idx="3895">
                  <c:v>1.96308</c:v>
                </c:pt>
                <c:pt idx="3896">
                  <c:v>1.963584</c:v>
                </c:pt>
                <c:pt idx="3897">
                  <c:v>1.964088</c:v>
                </c:pt>
                <c:pt idx="3898">
                  <c:v>1.964592</c:v>
                </c:pt>
                <c:pt idx="3899">
                  <c:v>1.965096</c:v>
                </c:pt>
                <c:pt idx="3900">
                  <c:v>1.9656</c:v>
                </c:pt>
                <c:pt idx="3901">
                  <c:v>1.966104</c:v>
                </c:pt>
                <c:pt idx="3902">
                  <c:v>1.966608</c:v>
                </c:pt>
                <c:pt idx="3903">
                  <c:v>1.967112</c:v>
                </c:pt>
                <c:pt idx="3904">
                  <c:v>1.967616</c:v>
                </c:pt>
                <c:pt idx="3905">
                  <c:v>1.96812</c:v>
                </c:pt>
                <c:pt idx="3906">
                  <c:v>1.968624</c:v>
                </c:pt>
                <c:pt idx="3907">
                  <c:v>1.969128</c:v>
                </c:pt>
                <c:pt idx="3908">
                  <c:v>1.969632</c:v>
                </c:pt>
                <c:pt idx="3909">
                  <c:v>1.970136</c:v>
                </c:pt>
                <c:pt idx="3910">
                  <c:v>1.97064</c:v>
                </c:pt>
                <c:pt idx="3911">
                  <c:v>1.971144</c:v>
                </c:pt>
                <c:pt idx="3912">
                  <c:v>1.971648</c:v>
                </c:pt>
                <c:pt idx="3913">
                  <c:v>1.972152</c:v>
                </c:pt>
                <c:pt idx="3914">
                  <c:v>1.972656</c:v>
                </c:pt>
                <c:pt idx="3915">
                  <c:v>1.97316</c:v>
                </c:pt>
                <c:pt idx="3916">
                  <c:v>1.973664</c:v>
                </c:pt>
                <c:pt idx="3917">
                  <c:v>1.974168</c:v>
                </c:pt>
                <c:pt idx="3918">
                  <c:v>1.974672</c:v>
                </c:pt>
                <c:pt idx="3919">
                  <c:v>1.975176</c:v>
                </c:pt>
                <c:pt idx="3920">
                  <c:v>1.97568</c:v>
                </c:pt>
                <c:pt idx="3921">
                  <c:v>1.976184</c:v>
                </c:pt>
                <c:pt idx="3922">
                  <c:v>1.976688</c:v>
                </c:pt>
                <c:pt idx="3923">
                  <c:v>1.977192</c:v>
                </c:pt>
                <c:pt idx="3924">
                  <c:v>1.977696</c:v>
                </c:pt>
                <c:pt idx="3925">
                  <c:v>1.9782</c:v>
                </c:pt>
                <c:pt idx="3926">
                  <c:v>1.978704</c:v>
                </c:pt>
                <c:pt idx="3927">
                  <c:v>1.979208</c:v>
                </c:pt>
                <c:pt idx="3928">
                  <c:v>1.979712</c:v>
                </c:pt>
                <c:pt idx="3929">
                  <c:v>1.980216</c:v>
                </c:pt>
                <c:pt idx="3930">
                  <c:v>1.98072</c:v>
                </c:pt>
                <c:pt idx="3931">
                  <c:v>1.981224</c:v>
                </c:pt>
                <c:pt idx="3932">
                  <c:v>1.981728</c:v>
                </c:pt>
                <c:pt idx="3933">
                  <c:v>1.982232</c:v>
                </c:pt>
                <c:pt idx="3934">
                  <c:v>1.982736</c:v>
                </c:pt>
                <c:pt idx="3935">
                  <c:v>1.98324</c:v>
                </c:pt>
                <c:pt idx="3936">
                  <c:v>1.983744</c:v>
                </c:pt>
                <c:pt idx="3937">
                  <c:v>1.984248</c:v>
                </c:pt>
                <c:pt idx="3938">
                  <c:v>1.984752</c:v>
                </c:pt>
                <c:pt idx="3939">
                  <c:v>1.985256</c:v>
                </c:pt>
                <c:pt idx="3940">
                  <c:v>1.98576</c:v>
                </c:pt>
                <c:pt idx="3941">
                  <c:v>1.986264</c:v>
                </c:pt>
                <c:pt idx="3942">
                  <c:v>1.986768</c:v>
                </c:pt>
                <c:pt idx="3943">
                  <c:v>1.987272</c:v>
                </c:pt>
                <c:pt idx="3944">
                  <c:v>1.987776</c:v>
                </c:pt>
                <c:pt idx="3945">
                  <c:v>1.98828</c:v>
                </c:pt>
                <c:pt idx="3946">
                  <c:v>1.988784</c:v>
                </c:pt>
                <c:pt idx="3947">
                  <c:v>1.989288</c:v>
                </c:pt>
                <c:pt idx="3948">
                  <c:v>1.989792</c:v>
                </c:pt>
                <c:pt idx="3949">
                  <c:v>1.990296</c:v>
                </c:pt>
                <c:pt idx="3950">
                  <c:v>1.9908</c:v>
                </c:pt>
                <c:pt idx="3951">
                  <c:v>1.991304</c:v>
                </c:pt>
                <c:pt idx="3952">
                  <c:v>1.991808</c:v>
                </c:pt>
                <c:pt idx="3953">
                  <c:v>1.992312</c:v>
                </c:pt>
                <c:pt idx="3954">
                  <c:v>1.992816</c:v>
                </c:pt>
                <c:pt idx="3955">
                  <c:v>1.99332</c:v>
                </c:pt>
                <c:pt idx="3956">
                  <c:v>1.993824</c:v>
                </c:pt>
                <c:pt idx="3957">
                  <c:v>1.994328</c:v>
                </c:pt>
                <c:pt idx="3958">
                  <c:v>1.994832</c:v>
                </c:pt>
                <c:pt idx="3959">
                  <c:v>1.995336</c:v>
                </c:pt>
                <c:pt idx="3960">
                  <c:v>1.99584</c:v>
                </c:pt>
                <c:pt idx="3961">
                  <c:v>1.996344</c:v>
                </c:pt>
                <c:pt idx="3962">
                  <c:v>1.996848</c:v>
                </c:pt>
                <c:pt idx="3963">
                  <c:v>1.997352</c:v>
                </c:pt>
                <c:pt idx="3964">
                  <c:v>1.997856</c:v>
                </c:pt>
                <c:pt idx="3965">
                  <c:v>1.99836</c:v>
                </c:pt>
                <c:pt idx="3966">
                  <c:v>1.998864</c:v>
                </c:pt>
                <c:pt idx="3967">
                  <c:v>1.999368</c:v>
                </c:pt>
                <c:pt idx="3968">
                  <c:v>1.999872</c:v>
                </c:pt>
                <c:pt idx="3969">
                  <c:v>2.000376</c:v>
                </c:pt>
                <c:pt idx="3970">
                  <c:v>2.00088</c:v>
                </c:pt>
                <c:pt idx="3971">
                  <c:v>2.001384</c:v>
                </c:pt>
                <c:pt idx="3972">
                  <c:v>2.001888</c:v>
                </c:pt>
                <c:pt idx="3973">
                  <c:v>2.002392</c:v>
                </c:pt>
                <c:pt idx="3974">
                  <c:v>2.002896</c:v>
                </c:pt>
                <c:pt idx="3975">
                  <c:v>2.0034</c:v>
                </c:pt>
                <c:pt idx="3976">
                  <c:v>2.003904</c:v>
                </c:pt>
                <c:pt idx="3977">
                  <c:v>2.004408</c:v>
                </c:pt>
                <c:pt idx="3978">
                  <c:v>2.004912</c:v>
                </c:pt>
                <c:pt idx="3979">
                  <c:v>2.005416</c:v>
                </c:pt>
                <c:pt idx="3980">
                  <c:v>2.00592</c:v>
                </c:pt>
                <c:pt idx="3981">
                  <c:v>2.006424</c:v>
                </c:pt>
                <c:pt idx="3982">
                  <c:v>2.006928</c:v>
                </c:pt>
                <c:pt idx="3983">
                  <c:v>2.007432</c:v>
                </c:pt>
                <c:pt idx="3984">
                  <c:v>2.007936</c:v>
                </c:pt>
                <c:pt idx="3985">
                  <c:v>2.00844</c:v>
                </c:pt>
                <c:pt idx="3986">
                  <c:v>2.008944</c:v>
                </c:pt>
                <c:pt idx="3987">
                  <c:v>2.009448</c:v>
                </c:pt>
                <c:pt idx="3988">
                  <c:v>2.009952</c:v>
                </c:pt>
                <c:pt idx="3989">
                  <c:v>2.010456</c:v>
                </c:pt>
                <c:pt idx="3990">
                  <c:v>2.01096</c:v>
                </c:pt>
                <c:pt idx="3991">
                  <c:v>2.011464</c:v>
                </c:pt>
                <c:pt idx="3992">
                  <c:v>2.011968</c:v>
                </c:pt>
                <c:pt idx="3993">
                  <c:v>2.012472</c:v>
                </c:pt>
                <c:pt idx="3994">
                  <c:v>2.012976</c:v>
                </c:pt>
                <c:pt idx="3995">
                  <c:v>2.01348</c:v>
                </c:pt>
                <c:pt idx="3996">
                  <c:v>2.013984</c:v>
                </c:pt>
                <c:pt idx="3997">
                  <c:v>2.014488</c:v>
                </c:pt>
                <c:pt idx="3998">
                  <c:v>2.014992</c:v>
                </c:pt>
                <c:pt idx="3999">
                  <c:v>2.015496</c:v>
                </c:pt>
                <c:pt idx="4000">
                  <c:v>2.016</c:v>
                </c:pt>
                <c:pt idx="4001">
                  <c:v>2.016504</c:v>
                </c:pt>
                <c:pt idx="4002">
                  <c:v>2.017008</c:v>
                </c:pt>
                <c:pt idx="4003">
                  <c:v>2.017512</c:v>
                </c:pt>
                <c:pt idx="4004">
                  <c:v>2.018016</c:v>
                </c:pt>
                <c:pt idx="4005">
                  <c:v>2.01852</c:v>
                </c:pt>
                <c:pt idx="4006">
                  <c:v>2.019024</c:v>
                </c:pt>
                <c:pt idx="4007">
                  <c:v>2.019528</c:v>
                </c:pt>
                <c:pt idx="4008">
                  <c:v>2.020032</c:v>
                </c:pt>
                <c:pt idx="4009">
                  <c:v>2.020536</c:v>
                </c:pt>
                <c:pt idx="4010">
                  <c:v>2.02104</c:v>
                </c:pt>
                <c:pt idx="4011">
                  <c:v>2.021544</c:v>
                </c:pt>
                <c:pt idx="4012">
                  <c:v>2.022048</c:v>
                </c:pt>
                <c:pt idx="4013">
                  <c:v>2.022552</c:v>
                </c:pt>
                <c:pt idx="4014">
                  <c:v>2.023056</c:v>
                </c:pt>
                <c:pt idx="4015">
                  <c:v>2.02356</c:v>
                </c:pt>
                <c:pt idx="4016">
                  <c:v>2.024064</c:v>
                </c:pt>
                <c:pt idx="4017">
                  <c:v>2.024568</c:v>
                </c:pt>
                <c:pt idx="4018">
                  <c:v>2.025072</c:v>
                </c:pt>
                <c:pt idx="4019">
                  <c:v>2.025576</c:v>
                </c:pt>
                <c:pt idx="4020">
                  <c:v>2.02608</c:v>
                </c:pt>
                <c:pt idx="4021">
                  <c:v>2.026584</c:v>
                </c:pt>
                <c:pt idx="4022">
                  <c:v>2.027088</c:v>
                </c:pt>
                <c:pt idx="4023">
                  <c:v>2.027592</c:v>
                </c:pt>
                <c:pt idx="4024">
                  <c:v>2.028096</c:v>
                </c:pt>
                <c:pt idx="4025">
                  <c:v>2.0286</c:v>
                </c:pt>
                <c:pt idx="4026">
                  <c:v>2.029104</c:v>
                </c:pt>
                <c:pt idx="4027">
                  <c:v>2.029608</c:v>
                </c:pt>
                <c:pt idx="4028">
                  <c:v>2.030112</c:v>
                </c:pt>
                <c:pt idx="4029">
                  <c:v>2.030616</c:v>
                </c:pt>
                <c:pt idx="4030">
                  <c:v>2.03112</c:v>
                </c:pt>
                <c:pt idx="4031">
                  <c:v>2.031624</c:v>
                </c:pt>
                <c:pt idx="4032">
                  <c:v>2.032128</c:v>
                </c:pt>
                <c:pt idx="4033">
                  <c:v>2.032632</c:v>
                </c:pt>
                <c:pt idx="4034">
                  <c:v>2.033136</c:v>
                </c:pt>
                <c:pt idx="4035">
                  <c:v>2.03364</c:v>
                </c:pt>
                <c:pt idx="4036">
                  <c:v>2.034144</c:v>
                </c:pt>
                <c:pt idx="4037">
                  <c:v>2.034648</c:v>
                </c:pt>
                <c:pt idx="4038">
                  <c:v>2.035152</c:v>
                </c:pt>
                <c:pt idx="4039">
                  <c:v>2.035656</c:v>
                </c:pt>
                <c:pt idx="4040">
                  <c:v>2.03616</c:v>
                </c:pt>
                <c:pt idx="4041">
                  <c:v>2.036664</c:v>
                </c:pt>
                <c:pt idx="4042">
                  <c:v>2.037168</c:v>
                </c:pt>
                <c:pt idx="4043">
                  <c:v>2.037672</c:v>
                </c:pt>
                <c:pt idx="4044">
                  <c:v>2.038176</c:v>
                </c:pt>
                <c:pt idx="4045">
                  <c:v>2.03868</c:v>
                </c:pt>
                <c:pt idx="4046">
                  <c:v>2.039184</c:v>
                </c:pt>
                <c:pt idx="4047">
                  <c:v>2.039688</c:v>
                </c:pt>
                <c:pt idx="4048">
                  <c:v>2.040192</c:v>
                </c:pt>
                <c:pt idx="4049">
                  <c:v>2.040696</c:v>
                </c:pt>
                <c:pt idx="4050">
                  <c:v>2.0412</c:v>
                </c:pt>
                <c:pt idx="4051">
                  <c:v>2.041704</c:v>
                </c:pt>
                <c:pt idx="4052">
                  <c:v>2.042208</c:v>
                </c:pt>
                <c:pt idx="4053">
                  <c:v>2.042712</c:v>
                </c:pt>
                <c:pt idx="4054">
                  <c:v>2.043216</c:v>
                </c:pt>
                <c:pt idx="4055">
                  <c:v>2.04372</c:v>
                </c:pt>
                <c:pt idx="4056">
                  <c:v>2.044224</c:v>
                </c:pt>
                <c:pt idx="4057">
                  <c:v>2.044728</c:v>
                </c:pt>
                <c:pt idx="4058">
                  <c:v>2.045232</c:v>
                </c:pt>
                <c:pt idx="4059">
                  <c:v>2.045736</c:v>
                </c:pt>
                <c:pt idx="4060">
                  <c:v>2.04624</c:v>
                </c:pt>
                <c:pt idx="4061">
                  <c:v>2.046744</c:v>
                </c:pt>
                <c:pt idx="4062">
                  <c:v>2.047248</c:v>
                </c:pt>
                <c:pt idx="4063">
                  <c:v>2.047752</c:v>
                </c:pt>
                <c:pt idx="4064">
                  <c:v>2.048256</c:v>
                </c:pt>
                <c:pt idx="4065">
                  <c:v>2.04876</c:v>
                </c:pt>
                <c:pt idx="4066">
                  <c:v>2.049264</c:v>
                </c:pt>
                <c:pt idx="4067">
                  <c:v>2.049768</c:v>
                </c:pt>
                <c:pt idx="4068">
                  <c:v>2.050272</c:v>
                </c:pt>
                <c:pt idx="4069">
                  <c:v>2.050776</c:v>
                </c:pt>
                <c:pt idx="4070">
                  <c:v>2.05128</c:v>
                </c:pt>
                <c:pt idx="4071">
                  <c:v>2.051784</c:v>
                </c:pt>
                <c:pt idx="4072">
                  <c:v>2.052288</c:v>
                </c:pt>
                <c:pt idx="4073">
                  <c:v>2.052792</c:v>
                </c:pt>
                <c:pt idx="4074">
                  <c:v>2.053296</c:v>
                </c:pt>
                <c:pt idx="4075">
                  <c:v>2.0538</c:v>
                </c:pt>
                <c:pt idx="4076">
                  <c:v>2.054304</c:v>
                </c:pt>
                <c:pt idx="4077">
                  <c:v>2.054808</c:v>
                </c:pt>
                <c:pt idx="4078">
                  <c:v>2.055312</c:v>
                </c:pt>
                <c:pt idx="4079">
                  <c:v>2.055816</c:v>
                </c:pt>
                <c:pt idx="4080">
                  <c:v>2.05632</c:v>
                </c:pt>
                <c:pt idx="4081">
                  <c:v>2.056824</c:v>
                </c:pt>
                <c:pt idx="4082">
                  <c:v>2.057328</c:v>
                </c:pt>
                <c:pt idx="4083">
                  <c:v>2.057832</c:v>
                </c:pt>
                <c:pt idx="4084">
                  <c:v>2.058336</c:v>
                </c:pt>
                <c:pt idx="4085">
                  <c:v>2.05884</c:v>
                </c:pt>
                <c:pt idx="4086">
                  <c:v>2.059344</c:v>
                </c:pt>
                <c:pt idx="4087">
                  <c:v>2.059848</c:v>
                </c:pt>
                <c:pt idx="4088">
                  <c:v>2.060352</c:v>
                </c:pt>
                <c:pt idx="4089">
                  <c:v>2.060856</c:v>
                </c:pt>
                <c:pt idx="4090">
                  <c:v>2.06136</c:v>
                </c:pt>
                <c:pt idx="4091">
                  <c:v>2.061864</c:v>
                </c:pt>
                <c:pt idx="4092">
                  <c:v>2.062368</c:v>
                </c:pt>
                <c:pt idx="4093">
                  <c:v>2.062872</c:v>
                </c:pt>
                <c:pt idx="4094">
                  <c:v>2.063376</c:v>
                </c:pt>
                <c:pt idx="4095">
                  <c:v>2.06388</c:v>
                </c:pt>
                <c:pt idx="4096">
                  <c:v>2.064384</c:v>
                </c:pt>
                <c:pt idx="4097">
                  <c:v>2.064888</c:v>
                </c:pt>
                <c:pt idx="4098">
                  <c:v>2.065392</c:v>
                </c:pt>
                <c:pt idx="4099">
                  <c:v>2.065896</c:v>
                </c:pt>
                <c:pt idx="4100">
                  <c:v>2.0664</c:v>
                </c:pt>
                <c:pt idx="4101">
                  <c:v>2.066904</c:v>
                </c:pt>
                <c:pt idx="4102">
                  <c:v>2.067408</c:v>
                </c:pt>
                <c:pt idx="4103">
                  <c:v>2.067912</c:v>
                </c:pt>
                <c:pt idx="4104">
                  <c:v>2.068416</c:v>
                </c:pt>
                <c:pt idx="4105">
                  <c:v>2.06892</c:v>
                </c:pt>
                <c:pt idx="4106">
                  <c:v>2.069424</c:v>
                </c:pt>
                <c:pt idx="4107">
                  <c:v>2.069928</c:v>
                </c:pt>
                <c:pt idx="4108">
                  <c:v>2.070432</c:v>
                </c:pt>
                <c:pt idx="4109">
                  <c:v>2.070936</c:v>
                </c:pt>
                <c:pt idx="4110">
                  <c:v>2.07144</c:v>
                </c:pt>
                <c:pt idx="4111">
                  <c:v>2.071944</c:v>
                </c:pt>
                <c:pt idx="4112">
                  <c:v>2.072448</c:v>
                </c:pt>
                <c:pt idx="4113">
                  <c:v>2.072952</c:v>
                </c:pt>
                <c:pt idx="4114">
                  <c:v>2.073456</c:v>
                </c:pt>
                <c:pt idx="4115">
                  <c:v>2.07396</c:v>
                </c:pt>
                <c:pt idx="4116">
                  <c:v>2.074464</c:v>
                </c:pt>
                <c:pt idx="4117">
                  <c:v>2.074968</c:v>
                </c:pt>
                <c:pt idx="4118">
                  <c:v>2.075472</c:v>
                </c:pt>
                <c:pt idx="4119">
                  <c:v>2.075976</c:v>
                </c:pt>
                <c:pt idx="4120">
                  <c:v>2.07648</c:v>
                </c:pt>
                <c:pt idx="4121">
                  <c:v>2.076984</c:v>
                </c:pt>
                <c:pt idx="4122">
                  <c:v>2.077488</c:v>
                </c:pt>
                <c:pt idx="4123">
                  <c:v>2.077992</c:v>
                </c:pt>
                <c:pt idx="4124">
                  <c:v>2.078496</c:v>
                </c:pt>
                <c:pt idx="4125">
                  <c:v>2.079</c:v>
                </c:pt>
                <c:pt idx="4126">
                  <c:v>2.079504</c:v>
                </c:pt>
                <c:pt idx="4127">
                  <c:v>2.080008</c:v>
                </c:pt>
                <c:pt idx="4128">
                  <c:v>2.080512</c:v>
                </c:pt>
                <c:pt idx="4129">
                  <c:v>2.081016</c:v>
                </c:pt>
                <c:pt idx="4130">
                  <c:v>2.08152</c:v>
                </c:pt>
                <c:pt idx="4131">
                  <c:v>2.082024</c:v>
                </c:pt>
                <c:pt idx="4132">
                  <c:v>2.082528</c:v>
                </c:pt>
                <c:pt idx="4133">
                  <c:v>2.083032</c:v>
                </c:pt>
                <c:pt idx="4134">
                  <c:v>2.083536</c:v>
                </c:pt>
                <c:pt idx="4135">
                  <c:v>2.08404</c:v>
                </c:pt>
                <c:pt idx="4136">
                  <c:v>2.084544</c:v>
                </c:pt>
                <c:pt idx="4137">
                  <c:v>2.085048</c:v>
                </c:pt>
                <c:pt idx="4138">
                  <c:v>2.085552</c:v>
                </c:pt>
                <c:pt idx="4139">
                  <c:v>2.086056</c:v>
                </c:pt>
                <c:pt idx="4140">
                  <c:v>2.08656</c:v>
                </c:pt>
                <c:pt idx="4141">
                  <c:v>2.087064</c:v>
                </c:pt>
                <c:pt idx="4142">
                  <c:v>2.087568</c:v>
                </c:pt>
                <c:pt idx="4143">
                  <c:v>2.088072</c:v>
                </c:pt>
                <c:pt idx="4144">
                  <c:v>2.088576</c:v>
                </c:pt>
                <c:pt idx="4145">
                  <c:v>2.08908</c:v>
                </c:pt>
                <c:pt idx="4146">
                  <c:v>2.089584</c:v>
                </c:pt>
                <c:pt idx="4147">
                  <c:v>2.090088</c:v>
                </c:pt>
                <c:pt idx="4148">
                  <c:v>2.090592</c:v>
                </c:pt>
                <c:pt idx="4149">
                  <c:v>2.091096</c:v>
                </c:pt>
                <c:pt idx="4150">
                  <c:v>2.0916</c:v>
                </c:pt>
                <c:pt idx="4151">
                  <c:v>2.092104</c:v>
                </c:pt>
                <c:pt idx="4152">
                  <c:v>2.092608</c:v>
                </c:pt>
                <c:pt idx="4153">
                  <c:v>2.093112</c:v>
                </c:pt>
                <c:pt idx="4154">
                  <c:v>2.093616</c:v>
                </c:pt>
                <c:pt idx="4155">
                  <c:v>2.09412</c:v>
                </c:pt>
                <c:pt idx="4156">
                  <c:v>2.094624</c:v>
                </c:pt>
                <c:pt idx="4157">
                  <c:v>2.095128</c:v>
                </c:pt>
                <c:pt idx="4158">
                  <c:v>2.095632</c:v>
                </c:pt>
                <c:pt idx="4159">
                  <c:v>2.096136</c:v>
                </c:pt>
                <c:pt idx="4160">
                  <c:v>2.09664</c:v>
                </c:pt>
                <c:pt idx="4161">
                  <c:v>2.097144</c:v>
                </c:pt>
                <c:pt idx="4162">
                  <c:v>2.097648</c:v>
                </c:pt>
                <c:pt idx="4163">
                  <c:v>2.098152</c:v>
                </c:pt>
                <c:pt idx="4164">
                  <c:v>2.098656</c:v>
                </c:pt>
                <c:pt idx="4165">
                  <c:v>2.09916</c:v>
                </c:pt>
                <c:pt idx="4166">
                  <c:v>2.099664</c:v>
                </c:pt>
                <c:pt idx="4167">
                  <c:v>2.100168</c:v>
                </c:pt>
                <c:pt idx="4168">
                  <c:v>2.100672</c:v>
                </c:pt>
                <c:pt idx="4169">
                  <c:v>2.101176</c:v>
                </c:pt>
                <c:pt idx="4170">
                  <c:v>2.10168</c:v>
                </c:pt>
                <c:pt idx="4171">
                  <c:v>2.102184</c:v>
                </c:pt>
                <c:pt idx="4172">
                  <c:v>2.102688</c:v>
                </c:pt>
                <c:pt idx="4173">
                  <c:v>2.103192</c:v>
                </c:pt>
                <c:pt idx="4174">
                  <c:v>2.103696</c:v>
                </c:pt>
                <c:pt idx="4175">
                  <c:v>2.1042</c:v>
                </c:pt>
                <c:pt idx="4176">
                  <c:v>2.104704</c:v>
                </c:pt>
                <c:pt idx="4177">
                  <c:v>2.105208</c:v>
                </c:pt>
                <c:pt idx="4178">
                  <c:v>2.105712</c:v>
                </c:pt>
                <c:pt idx="4179">
                  <c:v>2.106216</c:v>
                </c:pt>
                <c:pt idx="4180">
                  <c:v>2.10672</c:v>
                </c:pt>
                <c:pt idx="4181">
                  <c:v>2.107224</c:v>
                </c:pt>
                <c:pt idx="4182">
                  <c:v>2.107728</c:v>
                </c:pt>
                <c:pt idx="4183">
                  <c:v>2.108232</c:v>
                </c:pt>
                <c:pt idx="4184">
                  <c:v>2.108736</c:v>
                </c:pt>
                <c:pt idx="4185">
                  <c:v>2.10924</c:v>
                </c:pt>
                <c:pt idx="4186">
                  <c:v>2.109744</c:v>
                </c:pt>
                <c:pt idx="4187">
                  <c:v>2.110248</c:v>
                </c:pt>
                <c:pt idx="4188">
                  <c:v>2.110752</c:v>
                </c:pt>
                <c:pt idx="4189">
                  <c:v>2.111256</c:v>
                </c:pt>
                <c:pt idx="4190">
                  <c:v>2.11176</c:v>
                </c:pt>
                <c:pt idx="4191">
                  <c:v>2.112264</c:v>
                </c:pt>
                <c:pt idx="4192">
                  <c:v>2.112768</c:v>
                </c:pt>
                <c:pt idx="4193">
                  <c:v>2.113272</c:v>
                </c:pt>
                <c:pt idx="4194">
                  <c:v>2.113776</c:v>
                </c:pt>
                <c:pt idx="4195">
                  <c:v>2.11428</c:v>
                </c:pt>
                <c:pt idx="4196">
                  <c:v>2.114784</c:v>
                </c:pt>
                <c:pt idx="4197">
                  <c:v>2.115288</c:v>
                </c:pt>
                <c:pt idx="4198">
                  <c:v>2.115792</c:v>
                </c:pt>
                <c:pt idx="4199">
                  <c:v>2.116296</c:v>
                </c:pt>
                <c:pt idx="4200">
                  <c:v>2.1168</c:v>
                </c:pt>
                <c:pt idx="4201">
                  <c:v>2.117304</c:v>
                </c:pt>
                <c:pt idx="4202">
                  <c:v>2.117808</c:v>
                </c:pt>
                <c:pt idx="4203">
                  <c:v>2.118312</c:v>
                </c:pt>
                <c:pt idx="4204">
                  <c:v>2.118816</c:v>
                </c:pt>
                <c:pt idx="4205">
                  <c:v>2.11932</c:v>
                </c:pt>
                <c:pt idx="4206">
                  <c:v>2.119824</c:v>
                </c:pt>
                <c:pt idx="4207">
                  <c:v>2.120328</c:v>
                </c:pt>
                <c:pt idx="4208">
                  <c:v>2.120832</c:v>
                </c:pt>
                <c:pt idx="4209">
                  <c:v>2.121336</c:v>
                </c:pt>
                <c:pt idx="4210">
                  <c:v>2.12184</c:v>
                </c:pt>
                <c:pt idx="4211">
                  <c:v>2.122344</c:v>
                </c:pt>
                <c:pt idx="4212">
                  <c:v>2.122848</c:v>
                </c:pt>
                <c:pt idx="4213">
                  <c:v>2.123352</c:v>
                </c:pt>
                <c:pt idx="4214">
                  <c:v>2.123856</c:v>
                </c:pt>
                <c:pt idx="4215">
                  <c:v>2.12436</c:v>
                </c:pt>
                <c:pt idx="4216">
                  <c:v>2.124864</c:v>
                </c:pt>
                <c:pt idx="4217">
                  <c:v>2.125368</c:v>
                </c:pt>
                <c:pt idx="4218">
                  <c:v>2.125872</c:v>
                </c:pt>
                <c:pt idx="4219">
                  <c:v>2.126376</c:v>
                </c:pt>
                <c:pt idx="4220">
                  <c:v>2.12688</c:v>
                </c:pt>
                <c:pt idx="4221">
                  <c:v>2.127384</c:v>
                </c:pt>
                <c:pt idx="4222">
                  <c:v>2.127888</c:v>
                </c:pt>
                <c:pt idx="4223">
                  <c:v>2.128392</c:v>
                </c:pt>
                <c:pt idx="4224">
                  <c:v>2.128896</c:v>
                </c:pt>
                <c:pt idx="4225">
                  <c:v>2.1294</c:v>
                </c:pt>
                <c:pt idx="4226">
                  <c:v>2.129904</c:v>
                </c:pt>
                <c:pt idx="4227">
                  <c:v>2.130408</c:v>
                </c:pt>
                <c:pt idx="4228">
                  <c:v>2.130912</c:v>
                </c:pt>
                <c:pt idx="4229">
                  <c:v>2.131416</c:v>
                </c:pt>
                <c:pt idx="4230">
                  <c:v>2.13192</c:v>
                </c:pt>
                <c:pt idx="4231">
                  <c:v>2.132424</c:v>
                </c:pt>
                <c:pt idx="4232">
                  <c:v>2.132928</c:v>
                </c:pt>
                <c:pt idx="4233">
                  <c:v>2.133432</c:v>
                </c:pt>
                <c:pt idx="4234">
                  <c:v>2.133936</c:v>
                </c:pt>
                <c:pt idx="4235">
                  <c:v>2.13444</c:v>
                </c:pt>
                <c:pt idx="4236">
                  <c:v>2.134944</c:v>
                </c:pt>
                <c:pt idx="4237">
                  <c:v>2.135448</c:v>
                </c:pt>
                <c:pt idx="4238">
                  <c:v>2.135952</c:v>
                </c:pt>
                <c:pt idx="4239">
                  <c:v>2.136456</c:v>
                </c:pt>
                <c:pt idx="4240">
                  <c:v>2.13696</c:v>
                </c:pt>
                <c:pt idx="4241">
                  <c:v>2.137464</c:v>
                </c:pt>
                <c:pt idx="4242">
                  <c:v>2.137968</c:v>
                </c:pt>
                <c:pt idx="4243">
                  <c:v>2.138472</c:v>
                </c:pt>
                <c:pt idx="4244">
                  <c:v>2.138976</c:v>
                </c:pt>
                <c:pt idx="4245">
                  <c:v>2.13948</c:v>
                </c:pt>
                <c:pt idx="4246">
                  <c:v>2.139984</c:v>
                </c:pt>
                <c:pt idx="4247">
                  <c:v>2.140488</c:v>
                </c:pt>
                <c:pt idx="4248">
                  <c:v>2.140992</c:v>
                </c:pt>
                <c:pt idx="4249">
                  <c:v>2.141496</c:v>
                </c:pt>
                <c:pt idx="4250">
                  <c:v>2.142</c:v>
                </c:pt>
                <c:pt idx="4251">
                  <c:v>2.142504</c:v>
                </c:pt>
                <c:pt idx="4252">
                  <c:v>2.143008</c:v>
                </c:pt>
                <c:pt idx="4253">
                  <c:v>2.143512</c:v>
                </c:pt>
                <c:pt idx="4254">
                  <c:v>2.144016</c:v>
                </c:pt>
                <c:pt idx="4255">
                  <c:v>2.14452</c:v>
                </c:pt>
                <c:pt idx="4256">
                  <c:v>2.145024</c:v>
                </c:pt>
                <c:pt idx="4257">
                  <c:v>2.145528</c:v>
                </c:pt>
                <c:pt idx="4258">
                  <c:v>2.146032</c:v>
                </c:pt>
                <c:pt idx="4259">
                  <c:v>2.146536</c:v>
                </c:pt>
                <c:pt idx="4260">
                  <c:v>2.14704</c:v>
                </c:pt>
                <c:pt idx="4261">
                  <c:v>2.147544</c:v>
                </c:pt>
                <c:pt idx="4262">
                  <c:v>2.148048</c:v>
                </c:pt>
                <c:pt idx="4263">
                  <c:v>2.148552</c:v>
                </c:pt>
                <c:pt idx="4264">
                  <c:v>2.149056</c:v>
                </c:pt>
                <c:pt idx="4265">
                  <c:v>2.14956</c:v>
                </c:pt>
                <c:pt idx="4266">
                  <c:v>2.150064</c:v>
                </c:pt>
                <c:pt idx="4267">
                  <c:v>2.150568</c:v>
                </c:pt>
                <c:pt idx="4268">
                  <c:v>2.151072</c:v>
                </c:pt>
                <c:pt idx="4269">
                  <c:v>2.151576</c:v>
                </c:pt>
                <c:pt idx="4270">
                  <c:v>2.15208</c:v>
                </c:pt>
                <c:pt idx="4271">
                  <c:v>2.152584</c:v>
                </c:pt>
                <c:pt idx="4272">
                  <c:v>2.153088</c:v>
                </c:pt>
                <c:pt idx="4273">
                  <c:v>2.153592</c:v>
                </c:pt>
                <c:pt idx="4274">
                  <c:v>2.154096</c:v>
                </c:pt>
                <c:pt idx="4275">
                  <c:v>2.1546</c:v>
                </c:pt>
                <c:pt idx="4276">
                  <c:v>2.155104</c:v>
                </c:pt>
                <c:pt idx="4277">
                  <c:v>2.155608</c:v>
                </c:pt>
                <c:pt idx="4278">
                  <c:v>2.156112</c:v>
                </c:pt>
                <c:pt idx="4279">
                  <c:v>2.156616</c:v>
                </c:pt>
                <c:pt idx="4280">
                  <c:v>2.15712</c:v>
                </c:pt>
                <c:pt idx="4281">
                  <c:v>2.157624</c:v>
                </c:pt>
                <c:pt idx="4282">
                  <c:v>2.158128</c:v>
                </c:pt>
                <c:pt idx="4283">
                  <c:v>2.158632</c:v>
                </c:pt>
                <c:pt idx="4284">
                  <c:v>2.159136</c:v>
                </c:pt>
                <c:pt idx="4285">
                  <c:v>2.15964</c:v>
                </c:pt>
                <c:pt idx="4286">
                  <c:v>2.160144</c:v>
                </c:pt>
                <c:pt idx="4287">
                  <c:v>2.160648</c:v>
                </c:pt>
                <c:pt idx="4288">
                  <c:v>2.161152</c:v>
                </c:pt>
                <c:pt idx="4289">
                  <c:v>2.161656</c:v>
                </c:pt>
                <c:pt idx="4290">
                  <c:v>2.16216</c:v>
                </c:pt>
                <c:pt idx="4291">
                  <c:v>2.162664</c:v>
                </c:pt>
                <c:pt idx="4292">
                  <c:v>2.163168</c:v>
                </c:pt>
                <c:pt idx="4293">
                  <c:v>2.163672</c:v>
                </c:pt>
                <c:pt idx="4294">
                  <c:v>2.164176</c:v>
                </c:pt>
                <c:pt idx="4295">
                  <c:v>2.16468</c:v>
                </c:pt>
                <c:pt idx="4296">
                  <c:v>2.165184</c:v>
                </c:pt>
                <c:pt idx="4297">
                  <c:v>2.165688</c:v>
                </c:pt>
                <c:pt idx="4298">
                  <c:v>2.166192</c:v>
                </c:pt>
                <c:pt idx="4299">
                  <c:v>2.166696</c:v>
                </c:pt>
                <c:pt idx="4300">
                  <c:v>2.1672</c:v>
                </c:pt>
                <c:pt idx="4301">
                  <c:v>2.167704</c:v>
                </c:pt>
                <c:pt idx="4302">
                  <c:v>2.168208</c:v>
                </c:pt>
                <c:pt idx="4303">
                  <c:v>2.168712</c:v>
                </c:pt>
                <c:pt idx="4304">
                  <c:v>2.169216</c:v>
                </c:pt>
                <c:pt idx="4305">
                  <c:v>2.16972</c:v>
                </c:pt>
                <c:pt idx="4306">
                  <c:v>2.170224</c:v>
                </c:pt>
                <c:pt idx="4307">
                  <c:v>2.170728</c:v>
                </c:pt>
                <c:pt idx="4308">
                  <c:v>2.171232</c:v>
                </c:pt>
                <c:pt idx="4309">
                  <c:v>2.171736</c:v>
                </c:pt>
                <c:pt idx="4310">
                  <c:v>2.17224</c:v>
                </c:pt>
                <c:pt idx="4311">
                  <c:v>2.172744</c:v>
                </c:pt>
                <c:pt idx="4312">
                  <c:v>2.173248</c:v>
                </c:pt>
                <c:pt idx="4313">
                  <c:v>2.173752</c:v>
                </c:pt>
                <c:pt idx="4314">
                  <c:v>2.174256</c:v>
                </c:pt>
                <c:pt idx="4315">
                  <c:v>2.17476</c:v>
                </c:pt>
                <c:pt idx="4316">
                  <c:v>2.175264</c:v>
                </c:pt>
                <c:pt idx="4317">
                  <c:v>2.175768</c:v>
                </c:pt>
                <c:pt idx="4318">
                  <c:v>2.176272</c:v>
                </c:pt>
                <c:pt idx="4319">
                  <c:v>2.176776</c:v>
                </c:pt>
                <c:pt idx="4320">
                  <c:v>2.17728</c:v>
                </c:pt>
                <c:pt idx="4321">
                  <c:v>2.177784</c:v>
                </c:pt>
                <c:pt idx="4322">
                  <c:v>2.178288</c:v>
                </c:pt>
                <c:pt idx="4323">
                  <c:v>2.178792</c:v>
                </c:pt>
                <c:pt idx="4324">
                  <c:v>2.179296</c:v>
                </c:pt>
                <c:pt idx="4325">
                  <c:v>2.1798</c:v>
                </c:pt>
                <c:pt idx="4326">
                  <c:v>2.180304</c:v>
                </c:pt>
                <c:pt idx="4327">
                  <c:v>2.180808</c:v>
                </c:pt>
                <c:pt idx="4328">
                  <c:v>2.181312</c:v>
                </c:pt>
                <c:pt idx="4329">
                  <c:v>2.181816</c:v>
                </c:pt>
                <c:pt idx="4330">
                  <c:v>2.18232</c:v>
                </c:pt>
                <c:pt idx="4331">
                  <c:v>2.182824</c:v>
                </c:pt>
                <c:pt idx="4332">
                  <c:v>2.183328</c:v>
                </c:pt>
                <c:pt idx="4333">
                  <c:v>2.183832</c:v>
                </c:pt>
                <c:pt idx="4334">
                  <c:v>2.184336</c:v>
                </c:pt>
                <c:pt idx="4335">
                  <c:v>2.18484</c:v>
                </c:pt>
                <c:pt idx="4336">
                  <c:v>2.185344</c:v>
                </c:pt>
                <c:pt idx="4337">
                  <c:v>2.185848</c:v>
                </c:pt>
                <c:pt idx="4338">
                  <c:v>2.186352</c:v>
                </c:pt>
                <c:pt idx="4339">
                  <c:v>2.186856</c:v>
                </c:pt>
                <c:pt idx="4340">
                  <c:v>2.18736</c:v>
                </c:pt>
                <c:pt idx="4341">
                  <c:v>2.187864</c:v>
                </c:pt>
                <c:pt idx="4342">
                  <c:v>2.188368</c:v>
                </c:pt>
                <c:pt idx="4343">
                  <c:v>2.188872</c:v>
                </c:pt>
                <c:pt idx="4344">
                  <c:v>2.189376</c:v>
                </c:pt>
                <c:pt idx="4345">
                  <c:v>2.18988</c:v>
                </c:pt>
                <c:pt idx="4346">
                  <c:v>2.190384</c:v>
                </c:pt>
                <c:pt idx="4347">
                  <c:v>2.190888</c:v>
                </c:pt>
                <c:pt idx="4348">
                  <c:v>2.191392</c:v>
                </c:pt>
                <c:pt idx="4349">
                  <c:v>2.191896</c:v>
                </c:pt>
                <c:pt idx="4350">
                  <c:v>2.1924</c:v>
                </c:pt>
                <c:pt idx="4351">
                  <c:v>2.192904</c:v>
                </c:pt>
                <c:pt idx="4352">
                  <c:v>2.193408</c:v>
                </c:pt>
                <c:pt idx="4353">
                  <c:v>2.193912</c:v>
                </c:pt>
                <c:pt idx="4354">
                  <c:v>2.194416</c:v>
                </c:pt>
                <c:pt idx="4355">
                  <c:v>2.19492</c:v>
                </c:pt>
                <c:pt idx="4356">
                  <c:v>2.195424</c:v>
                </c:pt>
                <c:pt idx="4357">
                  <c:v>2.195928</c:v>
                </c:pt>
                <c:pt idx="4358">
                  <c:v>2.196432</c:v>
                </c:pt>
                <c:pt idx="4359">
                  <c:v>2.196936</c:v>
                </c:pt>
                <c:pt idx="4360">
                  <c:v>2.19744</c:v>
                </c:pt>
                <c:pt idx="4361">
                  <c:v>2.197944</c:v>
                </c:pt>
                <c:pt idx="4362">
                  <c:v>2.198448</c:v>
                </c:pt>
                <c:pt idx="4363">
                  <c:v>2.198952</c:v>
                </c:pt>
                <c:pt idx="4364">
                  <c:v>2.199456</c:v>
                </c:pt>
                <c:pt idx="4365">
                  <c:v>2.19996</c:v>
                </c:pt>
                <c:pt idx="4366">
                  <c:v>2.200464</c:v>
                </c:pt>
                <c:pt idx="4367">
                  <c:v>2.200968</c:v>
                </c:pt>
                <c:pt idx="4368">
                  <c:v>2.201472</c:v>
                </c:pt>
                <c:pt idx="4369">
                  <c:v>2.201976</c:v>
                </c:pt>
                <c:pt idx="4370">
                  <c:v>2.20248</c:v>
                </c:pt>
                <c:pt idx="4371">
                  <c:v>2.202984</c:v>
                </c:pt>
                <c:pt idx="4372">
                  <c:v>2.203488</c:v>
                </c:pt>
                <c:pt idx="4373">
                  <c:v>2.203992</c:v>
                </c:pt>
                <c:pt idx="4374">
                  <c:v>2.204496</c:v>
                </c:pt>
                <c:pt idx="4375">
                  <c:v>2.205</c:v>
                </c:pt>
                <c:pt idx="4376">
                  <c:v>2.205504</c:v>
                </c:pt>
                <c:pt idx="4377">
                  <c:v>2.206008</c:v>
                </c:pt>
                <c:pt idx="4378">
                  <c:v>2.206512</c:v>
                </c:pt>
                <c:pt idx="4379">
                  <c:v>2.207016</c:v>
                </c:pt>
                <c:pt idx="4380">
                  <c:v>2.20752</c:v>
                </c:pt>
                <c:pt idx="4381">
                  <c:v>2.208024</c:v>
                </c:pt>
                <c:pt idx="4382">
                  <c:v>2.208528</c:v>
                </c:pt>
                <c:pt idx="4383">
                  <c:v>2.209032</c:v>
                </c:pt>
                <c:pt idx="4384">
                  <c:v>2.209536</c:v>
                </c:pt>
                <c:pt idx="4385">
                  <c:v>2.21004</c:v>
                </c:pt>
                <c:pt idx="4386">
                  <c:v>2.210544</c:v>
                </c:pt>
                <c:pt idx="4387">
                  <c:v>2.211048</c:v>
                </c:pt>
                <c:pt idx="4388">
                  <c:v>2.211552</c:v>
                </c:pt>
                <c:pt idx="4389">
                  <c:v>2.212056</c:v>
                </c:pt>
                <c:pt idx="4390">
                  <c:v>2.21256</c:v>
                </c:pt>
                <c:pt idx="4391">
                  <c:v>2.213064</c:v>
                </c:pt>
                <c:pt idx="4392">
                  <c:v>2.213568</c:v>
                </c:pt>
                <c:pt idx="4393">
                  <c:v>2.214072</c:v>
                </c:pt>
                <c:pt idx="4394">
                  <c:v>2.214576</c:v>
                </c:pt>
                <c:pt idx="4395">
                  <c:v>2.21508</c:v>
                </c:pt>
                <c:pt idx="4396">
                  <c:v>2.215584</c:v>
                </c:pt>
                <c:pt idx="4397">
                  <c:v>2.216088</c:v>
                </c:pt>
                <c:pt idx="4398">
                  <c:v>2.216592</c:v>
                </c:pt>
                <c:pt idx="4399">
                  <c:v>2.217096</c:v>
                </c:pt>
                <c:pt idx="4400">
                  <c:v>2.2176</c:v>
                </c:pt>
                <c:pt idx="4401">
                  <c:v>2.218104</c:v>
                </c:pt>
                <c:pt idx="4402">
                  <c:v>2.218608</c:v>
                </c:pt>
                <c:pt idx="4403">
                  <c:v>2.219112</c:v>
                </c:pt>
                <c:pt idx="4404">
                  <c:v>2.219616</c:v>
                </c:pt>
                <c:pt idx="4405">
                  <c:v>2.22012</c:v>
                </c:pt>
                <c:pt idx="4406">
                  <c:v>2.220624</c:v>
                </c:pt>
                <c:pt idx="4407">
                  <c:v>2.221128</c:v>
                </c:pt>
                <c:pt idx="4408">
                  <c:v>2.221632</c:v>
                </c:pt>
                <c:pt idx="4409">
                  <c:v>2.222136</c:v>
                </c:pt>
                <c:pt idx="4410">
                  <c:v>2.22264</c:v>
                </c:pt>
                <c:pt idx="4411">
                  <c:v>2.223144</c:v>
                </c:pt>
                <c:pt idx="4412">
                  <c:v>2.223648</c:v>
                </c:pt>
                <c:pt idx="4413">
                  <c:v>2.224152</c:v>
                </c:pt>
                <c:pt idx="4414">
                  <c:v>2.224656</c:v>
                </c:pt>
                <c:pt idx="4415">
                  <c:v>2.22516</c:v>
                </c:pt>
                <c:pt idx="4416">
                  <c:v>2.225664</c:v>
                </c:pt>
                <c:pt idx="4417">
                  <c:v>2.226168</c:v>
                </c:pt>
                <c:pt idx="4418">
                  <c:v>2.226672</c:v>
                </c:pt>
                <c:pt idx="4419">
                  <c:v>2.227176</c:v>
                </c:pt>
                <c:pt idx="4420">
                  <c:v>2.22768</c:v>
                </c:pt>
                <c:pt idx="4421">
                  <c:v>2.228184</c:v>
                </c:pt>
                <c:pt idx="4422">
                  <c:v>2.228688</c:v>
                </c:pt>
                <c:pt idx="4423">
                  <c:v>2.229192</c:v>
                </c:pt>
                <c:pt idx="4424">
                  <c:v>2.229696</c:v>
                </c:pt>
                <c:pt idx="4425">
                  <c:v>2.2302</c:v>
                </c:pt>
                <c:pt idx="4426">
                  <c:v>2.230704</c:v>
                </c:pt>
                <c:pt idx="4427">
                  <c:v>2.231208</c:v>
                </c:pt>
                <c:pt idx="4428">
                  <c:v>2.231712</c:v>
                </c:pt>
                <c:pt idx="4429">
                  <c:v>2.232216</c:v>
                </c:pt>
                <c:pt idx="4430">
                  <c:v>2.23272</c:v>
                </c:pt>
                <c:pt idx="4431">
                  <c:v>2.233224</c:v>
                </c:pt>
                <c:pt idx="4432">
                  <c:v>2.233728</c:v>
                </c:pt>
                <c:pt idx="4433">
                  <c:v>2.234232</c:v>
                </c:pt>
                <c:pt idx="4434">
                  <c:v>2.234736</c:v>
                </c:pt>
                <c:pt idx="4435">
                  <c:v>2.23524</c:v>
                </c:pt>
                <c:pt idx="4436">
                  <c:v>2.235744</c:v>
                </c:pt>
                <c:pt idx="4437">
                  <c:v>2.236248</c:v>
                </c:pt>
                <c:pt idx="4438">
                  <c:v>2.236752</c:v>
                </c:pt>
                <c:pt idx="4439">
                  <c:v>2.237256</c:v>
                </c:pt>
                <c:pt idx="4440">
                  <c:v>2.23776</c:v>
                </c:pt>
                <c:pt idx="4441">
                  <c:v>2.238264</c:v>
                </c:pt>
                <c:pt idx="4442">
                  <c:v>2.238768</c:v>
                </c:pt>
                <c:pt idx="4443">
                  <c:v>2.239272</c:v>
                </c:pt>
                <c:pt idx="4444">
                  <c:v>2.239776</c:v>
                </c:pt>
                <c:pt idx="4445">
                  <c:v>2.24028</c:v>
                </c:pt>
                <c:pt idx="4446">
                  <c:v>2.240784</c:v>
                </c:pt>
                <c:pt idx="4447">
                  <c:v>2.241288</c:v>
                </c:pt>
                <c:pt idx="4448">
                  <c:v>2.241792</c:v>
                </c:pt>
                <c:pt idx="4449">
                  <c:v>2.242296</c:v>
                </c:pt>
                <c:pt idx="4450">
                  <c:v>2.2428</c:v>
                </c:pt>
                <c:pt idx="4451">
                  <c:v>2.243304</c:v>
                </c:pt>
                <c:pt idx="4452">
                  <c:v>2.243808</c:v>
                </c:pt>
                <c:pt idx="4453">
                  <c:v>2.244312</c:v>
                </c:pt>
                <c:pt idx="4454">
                  <c:v>2.244816</c:v>
                </c:pt>
                <c:pt idx="4455">
                  <c:v>2.24532</c:v>
                </c:pt>
                <c:pt idx="4456">
                  <c:v>2.245824</c:v>
                </c:pt>
                <c:pt idx="4457">
                  <c:v>2.246328</c:v>
                </c:pt>
                <c:pt idx="4458">
                  <c:v>2.246832</c:v>
                </c:pt>
                <c:pt idx="4459">
                  <c:v>2.247336</c:v>
                </c:pt>
                <c:pt idx="4460">
                  <c:v>2.24784</c:v>
                </c:pt>
                <c:pt idx="4461">
                  <c:v>2.248344</c:v>
                </c:pt>
                <c:pt idx="4462">
                  <c:v>2.248848</c:v>
                </c:pt>
                <c:pt idx="4463">
                  <c:v>2.249352</c:v>
                </c:pt>
                <c:pt idx="4464">
                  <c:v>2.249856</c:v>
                </c:pt>
                <c:pt idx="4465">
                  <c:v>2.25036</c:v>
                </c:pt>
                <c:pt idx="4466">
                  <c:v>2.250864</c:v>
                </c:pt>
                <c:pt idx="4467">
                  <c:v>2.251368</c:v>
                </c:pt>
                <c:pt idx="4468">
                  <c:v>2.251872</c:v>
                </c:pt>
                <c:pt idx="4469">
                  <c:v>2.252376</c:v>
                </c:pt>
                <c:pt idx="4470">
                  <c:v>2.25288</c:v>
                </c:pt>
                <c:pt idx="4471">
                  <c:v>2.253384</c:v>
                </c:pt>
                <c:pt idx="4472">
                  <c:v>2.253888</c:v>
                </c:pt>
                <c:pt idx="4473">
                  <c:v>2.254392</c:v>
                </c:pt>
                <c:pt idx="4474">
                  <c:v>2.254896</c:v>
                </c:pt>
                <c:pt idx="4475">
                  <c:v>2.2554</c:v>
                </c:pt>
                <c:pt idx="4476">
                  <c:v>2.255904</c:v>
                </c:pt>
                <c:pt idx="4477">
                  <c:v>2.256408</c:v>
                </c:pt>
                <c:pt idx="4478">
                  <c:v>2.256912</c:v>
                </c:pt>
                <c:pt idx="4479">
                  <c:v>2.257416</c:v>
                </c:pt>
                <c:pt idx="4480">
                  <c:v>2.25792</c:v>
                </c:pt>
                <c:pt idx="4481">
                  <c:v>2.258424</c:v>
                </c:pt>
                <c:pt idx="4482">
                  <c:v>2.258928</c:v>
                </c:pt>
                <c:pt idx="4483">
                  <c:v>2.259432</c:v>
                </c:pt>
                <c:pt idx="4484">
                  <c:v>2.259936</c:v>
                </c:pt>
                <c:pt idx="4485">
                  <c:v>2.26044</c:v>
                </c:pt>
                <c:pt idx="4486">
                  <c:v>2.260944</c:v>
                </c:pt>
                <c:pt idx="4487">
                  <c:v>2.261448</c:v>
                </c:pt>
                <c:pt idx="4488">
                  <c:v>2.261952</c:v>
                </c:pt>
                <c:pt idx="4489">
                  <c:v>2.262456</c:v>
                </c:pt>
                <c:pt idx="4490">
                  <c:v>2.26296</c:v>
                </c:pt>
                <c:pt idx="4491">
                  <c:v>2.263464</c:v>
                </c:pt>
                <c:pt idx="4492">
                  <c:v>2.263968</c:v>
                </c:pt>
                <c:pt idx="4493">
                  <c:v>2.264472</c:v>
                </c:pt>
                <c:pt idx="4494">
                  <c:v>2.264976</c:v>
                </c:pt>
                <c:pt idx="4495">
                  <c:v>2.26548</c:v>
                </c:pt>
                <c:pt idx="4496">
                  <c:v>2.265984</c:v>
                </c:pt>
                <c:pt idx="4497">
                  <c:v>2.266488</c:v>
                </c:pt>
                <c:pt idx="4498">
                  <c:v>2.266992</c:v>
                </c:pt>
                <c:pt idx="4499">
                  <c:v>2.267496</c:v>
                </c:pt>
                <c:pt idx="4500">
                  <c:v>2.268</c:v>
                </c:pt>
                <c:pt idx="4501">
                  <c:v>2.268504</c:v>
                </c:pt>
                <c:pt idx="4502">
                  <c:v>2.269008</c:v>
                </c:pt>
                <c:pt idx="4503">
                  <c:v>2.269512</c:v>
                </c:pt>
                <c:pt idx="4504">
                  <c:v>2.270016</c:v>
                </c:pt>
                <c:pt idx="4505">
                  <c:v>2.27052</c:v>
                </c:pt>
                <c:pt idx="4506">
                  <c:v>2.271024</c:v>
                </c:pt>
                <c:pt idx="4507">
                  <c:v>2.271528</c:v>
                </c:pt>
                <c:pt idx="4508">
                  <c:v>2.272032</c:v>
                </c:pt>
                <c:pt idx="4509">
                  <c:v>2.272536</c:v>
                </c:pt>
                <c:pt idx="4510">
                  <c:v>2.27304</c:v>
                </c:pt>
                <c:pt idx="4511">
                  <c:v>2.273544</c:v>
                </c:pt>
                <c:pt idx="4512">
                  <c:v>2.274048</c:v>
                </c:pt>
                <c:pt idx="4513">
                  <c:v>2.274552</c:v>
                </c:pt>
                <c:pt idx="4514">
                  <c:v>2.275056</c:v>
                </c:pt>
                <c:pt idx="4515">
                  <c:v>2.27556</c:v>
                </c:pt>
                <c:pt idx="4516">
                  <c:v>2.276064</c:v>
                </c:pt>
                <c:pt idx="4517">
                  <c:v>2.276568</c:v>
                </c:pt>
                <c:pt idx="4518">
                  <c:v>2.277072</c:v>
                </c:pt>
                <c:pt idx="4519">
                  <c:v>2.277576</c:v>
                </c:pt>
                <c:pt idx="4520">
                  <c:v>2.27808</c:v>
                </c:pt>
                <c:pt idx="4521">
                  <c:v>2.278584</c:v>
                </c:pt>
                <c:pt idx="4522">
                  <c:v>2.279088</c:v>
                </c:pt>
                <c:pt idx="4523">
                  <c:v>2.279592</c:v>
                </c:pt>
                <c:pt idx="4524">
                  <c:v>2.280096</c:v>
                </c:pt>
                <c:pt idx="4525">
                  <c:v>2.2806</c:v>
                </c:pt>
                <c:pt idx="4526">
                  <c:v>2.281104</c:v>
                </c:pt>
                <c:pt idx="4527">
                  <c:v>2.281608</c:v>
                </c:pt>
                <c:pt idx="4528">
                  <c:v>2.282112</c:v>
                </c:pt>
                <c:pt idx="4529">
                  <c:v>2.282616</c:v>
                </c:pt>
                <c:pt idx="4530">
                  <c:v>2.28312</c:v>
                </c:pt>
                <c:pt idx="4531">
                  <c:v>2.283624</c:v>
                </c:pt>
                <c:pt idx="4532">
                  <c:v>2.284128</c:v>
                </c:pt>
                <c:pt idx="4533">
                  <c:v>2.284632</c:v>
                </c:pt>
                <c:pt idx="4534">
                  <c:v>2.285136</c:v>
                </c:pt>
                <c:pt idx="4535">
                  <c:v>2.28564</c:v>
                </c:pt>
                <c:pt idx="4536">
                  <c:v>2.286144</c:v>
                </c:pt>
                <c:pt idx="4537">
                  <c:v>2.286648</c:v>
                </c:pt>
                <c:pt idx="4538">
                  <c:v>2.287152</c:v>
                </c:pt>
                <c:pt idx="4539">
                  <c:v>2.287656</c:v>
                </c:pt>
                <c:pt idx="4540">
                  <c:v>2.28816</c:v>
                </c:pt>
                <c:pt idx="4541">
                  <c:v>2.288664</c:v>
                </c:pt>
                <c:pt idx="4542">
                  <c:v>2.289168</c:v>
                </c:pt>
                <c:pt idx="4543">
                  <c:v>2.289672</c:v>
                </c:pt>
                <c:pt idx="4544">
                  <c:v>2.290176</c:v>
                </c:pt>
                <c:pt idx="4545">
                  <c:v>2.29068</c:v>
                </c:pt>
                <c:pt idx="4546">
                  <c:v>2.291184</c:v>
                </c:pt>
                <c:pt idx="4547">
                  <c:v>2.291688</c:v>
                </c:pt>
                <c:pt idx="4548">
                  <c:v>2.292192</c:v>
                </c:pt>
                <c:pt idx="4549">
                  <c:v>2.292696</c:v>
                </c:pt>
                <c:pt idx="4550">
                  <c:v>2.2932</c:v>
                </c:pt>
                <c:pt idx="4551">
                  <c:v>2.293704</c:v>
                </c:pt>
                <c:pt idx="4552">
                  <c:v>2.294208</c:v>
                </c:pt>
                <c:pt idx="4553">
                  <c:v>2.294712</c:v>
                </c:pt>
                <c:pt idx="4554">
                  <c:v>2.295216</c:v>
                </c:pt>
                <c:pt idx="4555">
                  <c:v>2.29572</c:v>
                </c:pt>
                <c:pt idx="4556">
                  <c:v>2.296224</c:v>
                </c:pt>
                <c:pt idx="4557">
                  <c:v>2.296728</c:v>
                </c:pt>
                <c:pt idx="4558">
                  <c:v>2.297232</c:v>
                </c:pt>
                <c:pt idx="4559">
                  <c:v>2.297736</c:v>
                </c:pt>
                <c:pt idx="4560">
                  <c:v>2.29824</c:v>
                </c:pt>
                <c:pt idx="4561">
                  <c:v>2.298744</c:v>
                </c:pt>
                <c:pt idx="4562">
                  <c:v>2.299248</c:v>
                </c:pt>
                <c:pt idx="4563">
                  <c:v>2.299752</c:v>
                </c:pt>
                <c:pt idx="4564">
                  <c:v>2.300256</c:v>
                </c:pt>
                <c:pt idx="4565">
                  <c:v>2.30076</c:v>
                </c:pt>
                <c:pt idx="4566">
                  <c:v>2.301264</c:v>
                </c:pt>
                <c:pt idx="4567">
                  <c:v>2.301768</c:v>
                </c:pt>
                <c:pt idx="4568">
                  <c:v>2.302272</c:v>
                </c:pt>
                <c:pt idx="4569">
                  <c:v>2.302776</c:v>
                </c:pt>
                <c:pt idx="4570">
                  <c:v>2.30328</c:v>
                </c:pt>
                <c:pt idx="4571">
                  <c:v>2.303784</c:v>
                </c:pt>
                <c:pt idx="4572">
                  <c:v>2.304288</c:v>
                </c:pt>
                <c:pt idx="4573">
                  <c:v>2.304792</c:v>
                </c:pt>
                <c:pt idx="4574">
                  <c:v>2.305296</c:v>
                </c:pt>
                <c:pt idx="4575">
                  <c:v>2.3058</c:v>
                </c:pt>
                <c:pt idx="4576">
                  <c:v>2.306304</c:v>
                </c:pt>
                <c:pt idx="4577">
                  <c:v>2.306808</c:v>
                </c:pt>
                <c:pt idx="4578">
                  <c:v>2.307312</c:v>
                </c:pt>
                <c:pt idx="4579">
                  <c:v>2.307816</c:v>
                </c:pt>
                <c:pt idx="4580">
                  <c:v>2.30832</c:v>
                </c:pt>
                <c:pt idx="4581">
                  <c:v>2.308824</c:v>
                </c:pt>
                <c:pt idx="4582">
                  <c:v>2.309328</c:v>
                </c:pt>
                <c:pt idx="4583">
                  <c:v>2.309832</c:v>
                </c:pt>
                <c:pt idx="4584">
                  <c:v>2.310336</c:v>
                </c:pt>
                <c:pt idx="4585">
                  <c:v>2.31084</c:v>
                </c:pt>
                <c:pt idx="4586">
                  <c:v>2.311344</c:v>
                </c:pt>
                <c:pt idx="4587">
                  <c:v>2.311848</c:v>
                </c:pt>
                <c:pt idx="4588">
                  <c:v>2.312352</c:v>
                </c:pt>
                <c:pt idx="4589">
                  <c:v>2.312856</c:v>
                </c:pt>
                <c:pt idx="4590">
                  <c:v>2.31336</c:v>
                </c:pt>
                <c:pt idx="4591">
                  <c:v>2.313864</c:v>
                </c:pt>
                <c:pt idx="4592">
                  <c:v>2.314368</c:v>
                </c:pt>
                <c:pt idx="4593">
                  <c:v>2.314872</c:v>
                </c:pt>
                <c:pt idx="4594">
                  <c:v>2.315376</c:v>
                </c:pt>
                <c:pt idx="4595">
                  <c:v>2.31588</c:v>
                </c:pt>
                <c:pt idx="4596">
                  <c:v>2.316384</c:v>
                </c:pt>
                <c:pt idx="4597">
                  <c:v>2.316888</c:v>
                </c:pt>
                <c:pt idx="4598">
                  <c:v>2.317392</c:v>
                </c:pt>
                <c:pt idx="4599">
                  <c:v>2.317896</c:v>
                </c:pt>
                <c:pt idx="4600">
                  <c:v>2.3184</c:v>
                </c:pt>
                <c:pt idx="4601">
                  <c:v>2.318904</c:v>
                </c:pt>
                <c:pt idx="4602">
                  <c:v>2.319408</c:v>
                </c:pt>
                <c:pt idx="4603">
                  <c:v>2.319912</c:v>
                </c:pt>
                <c:pt idx="4604">
                  <c:v>2.320416</c:v>
                </c:pt>
                <c:pt idx="4605">
                  <c:v>2.32092</c:v>
                </c:pt>
                <c:pt idx="4606">
                  <c:v>2.321424</c:v>
                </c:pt>
                <c:pt idx="4607">
                  <c:v>2.321928</c:v>
                </c:pt>
                <c:pt idx="4608">
                  <c:v>2.322432</c:v>
                </c:pt>
                <c:pt idx="4609">
                  <c:v>2.322936</c:v>
                </c:pt>
                <c:pt idx="4610">
                  <c:v>2.32344</c:v>
                </c:pt>
                <c:pt idx="4611">
                  <c:v>2.323944</c:v>
                </c:pt>
                <c:pt idx="4612">
                  <c:v>2.324448</c:v>
                </c:pt>
                <c:pt idx="4613">
                  <c:v>2.324952</c:v>
                </c:pt>
                <c:pt idx="4614">
                  <c:v>2.325456</c:v>
                </c:pt>
                <c:pt idx="4615">
                  <c:v>2.32596</c:v>
                </c:pt>
                <c:pt idx="4616">
                  <c:v>2.326464</c:v>
                </c:pt>
                <c:pt idx="4617">
                  <c:v>2.326968</c:v>
                </c:pt>
                <c:pt idx="4618">
                  <c:v>2.327472</c:v>
                </c:pt>
                <c:pt idx="4619">
                  <c:v>2.327976</c:v>
                </c:pt>
                <c:pt idx="4620">
                  <c:v>2.32848</c:v>
                </c:pt>
                <c:pt idx="4621">
                  <c:v>2.328984</c:v>
                </c:pt>
                <c:pt idx="4622">
                  <c:v>2.329488</c:v>
                </c:pt>
                <c:pt idx="4623">
                  <c:v>2.329992</c:v>
                </c:pt>
                <c:pt idx="4624">
                  <c:v>2.330496</c:v>
                </c:pt>
                <c:pt idx="4625">
                  <c:v>2.331</c:v>
                </c:pt>
                <c:pt idx="4626">
                  <c:v>2.331504</c:v>
                </c:pt>
                <c:pt idx="4627">
                  <c:v>2.332008</c:v>
                </c:pt>
                <c:pt idx="4628">
                  <c:v>2.332512</c:v>
                </c:pt>
                <c:pt idx="4629">
                  <c:v>2.333016</c:v>
                </c:pt>
                <c:pt idx="4630">
                  <c:v>2.33352</c:v>
                </c:pt>
                <c:pt idx="4631">
                  <c:v>2.334024</c:v>
                </c:pt>
                <c:pt idx="4632">
                  <c:v>2.334528</c:v>
                </c:pt>
                <c:pt idx="4633">
                  <c:v>2.335032</c:v>
                </c:pt>
                <c:pt idx="4634">
                  <c:v>2.335536</c:v>
                </c:pt>
                <c:pt idx="4635">
                  <c:v>2.33604</c:v>
                </c:pt>
                <c:pt idx="4636">
                  <c:v>2.336544</c:v>
                </c:pt>
                <c:pt idx="4637">
                  <c:v>2.337048</c:v>
                </c:pt>
                <c:pt idx="4638">
                  <c:v>2.337552</c:v>
                </c:pt>
                <c:pt idx="4639">
                  <c:v>2.338056</c:v>
                </c:pt>
                <c:pt idx="4640">
                  <c:v>2.33856</c:v>
                </c:pt>
                <c:pt idx="4641">
                  <c:v>2.339064</c:v>
                </c:pt>
                <c:pt idx="4642">
                  <c:v>2.339568</c:v>
                </c:pt>
                <c:pt idx="4643">
                  <c:v>2.340072</c:v>
                </c:pt>
                <c:pt idx="4644">
                  <c:v>2.340576</c:v>
                </c:pt>
                <c:pt idx="4645">
                  <c:v>2.34108</c:v>
                </c:pt>
                <c:pt idx="4646">
                  <c:v>2.341584</c:v>
                </c:pt>
                <c:pt idx="4647">
                  <c:v>2.342088</c:v>
                </c:pt>
                <c:pt idx="4648">
                  <c:v>2.342592</c:v>
                </c:pt>
                <c:pt idx="4649">
                  <c:v>2.343096</c:v>
                </c:pt>
                <c:pt idx="4650">
                  <c:v>2.3436</c:v>
                </c:pt>
                <c:pt idx="4651">
                  <c:v>2.344104</c:v>
                </c:pt>
                <c:pt idx="4652">
                  <c:v>2.344608</c:v>
                </c:pt>
                <c:pt idx="4653">
                  <c:v>2.345112</c:v>
                </c:pt>
                <c:pt idx="4654">
                  <c:v>2.345616</c:v>
                </c:pt>
                <c:pt idx="4655">
                  <c:v>2.34612</c:v>
                </c:pt>
                <c:pt idx="4656">
                  <c:v>2.346624</c:v>
                </c:pt>
                <c:pt idx="4657">
                  <c:v>2.347128</c:v>
                </c:pt>
                <c:pt idx="4658">
                  <c:v>2.347632</c:v>
                </c:pt>
                <c:pt idx="4659">
                  <c:v>2.348136</c:v>
                </c:pt>
                <c:pt idx="4660">
                  <c:v>2.34864</c:v>
                </c:pt>
                <c:pt idx="4661">
                  <c:v>2.349144</c:v>
                </c:pt>
                <c:pt idx="4662">
                  <c:v>2.349648</c:v>
                </c:pt>
                <c:pt idx="4663">
                  <c:v>2.350152</c:v>
                </c:pt>
                <c:pt idx="4664">
                  <c:v>2.350656</c:v>
                </c:pt>
                <c:pt idx="4665">
                  <c:v>2.35116</c:v>
                </c:pt>
                <c:pt idx="4666">
                  <c:v>2.351664</c:v>
                </c:pt>
                <c:pt idx="4667">
                  <c:v>2.352168</c:v>
                </c:pt>
                <c:pt idx="4668">
                  <c:v>2.352672</c:v>
                </c:pt>
                <c:pt idx="4669">
                  <c:v>2.353176</c:v>
                </c:pt>
                <c:pt idx="4670">
                  <c:v>2.35368</c:v>
                </c:pt>
                <c:pt idx="4671">
                  <c:v>2.354184</c:v>
                </c:pt>
                <c:pt idx="4672">
                  <c:v>2.354688</c:v>
                </c:pt>
                <c:pt idx="4673">
                  <c:v>2.355192</c:v>
                </c:pt>
                <c:pt idx="4674">
                  <c:v>2.355696</c:v>
                </c:pt>
                <c:pt idx="4675">
                  <c:v>2.3562</c:v>
                </c:pt>
                <c:pt idx="4676">
                  <c:v>2.356704</c:v>
                </c:pt>
                <c:pt idx="4677">
                  <c:v>2.357208</c:v>
                </c:pt>
                <c:pt idx="4678">
                  <c:v>2.357712</c:v>
                </c:pt>
                <c:pt idx="4679">
                  <c:v>2.358216</c:v>
                </c:pt>
                <c:pt idx="4680">
                  <c:v>2.35872</c:v>
                </c:pt>
                <c:pt idx="4681">
                  <c:v>2.359224</c:v>
                </c:pt>
                <c:pt idx="4682">
                  <c:v>2.359728</c:v>
                </c:pt>
                <c:pt idx="4683">
                  <c:v>2.360232</c:v>
                </c:pt>
                <c:pt idx="4684">
                  <c:v>2.360736</c:v>
                </c:pt>
                <c:pt idx="4685">
                  <c:v>2.36124</c:v>
                </c:pt>
                <c:pt idx="4686">
                  <c:v>2.361744</c:v>
                </c:pt>
                <c:pt idx="4687">
                  <c:v>2.362248</c:v>
                </c:pt>
                <c:pt idx="4688">
                  <c:v>2.362752</c:v>
                </c:pt>
                <c:pt idx="4689">
                  <c:v>2.363256</c:v>
                </c:pt>
                <c:pt idx="4690">
                  <c:v>2.36376</c:v>
                </c:pt>
                <c:pt idx="4691">
                  <c:v>2.364264</c:v>
                </c:pt>
                <c:pt idx="4692">
                  <c:v>2.364768</c:v>
                </c:pt>
                <c:pt idx="4693">
                  <c:v>2.365272</c:v>
                </c:pt>
                <c:pt idx="4694">
                  <c:v>2.365776</c:v>
                </c:pt>
                <c:pt idx="4695">
                  <c:v>2.36628</c:v>
                </c:pt>
                <c:pt idx="4696">
                  <c:v>2.366784</c:v>
                </c:pt>
                <c:pt idx="4697">
                  <c:v>2.367288</c:v>
                </c:pt>
                <c:pt idx="4698">
                  <c:v>2.367792</c:v>
                </c:pt>
                <c:pt idx="4699">
                  <c:v>2.368296</c:v>
                </c:pt>
                <c:pt idx="4700">
                  <c:v>2.3688</c:v>
                </c:pt>
                <c:pt idx="4701">
                  <c:v>2.369304</c:v>
                </c:pt>
                <c:pt idx="4702">
                  <c:v>2.369808</c:v>
                </c:pt>
                <c:pt idx="4703">
                  <c:v>2.370312</c:v>
                </c:pt>
                <c:pt idx="4704">
                  <c:v>2.370816</c:v>
                </c:pt>
                <c:pt idx="4705">
                  <c:v>2.37132</c:v>
                </c:pt>
                <c:pt idx="4706">
                  <c:v>2.371824</c:v>
                </c:pt>
                <c:pt idx="4707">
                  <c:v>2.372328</c:v>
                </c:pt>
                <c:pt idx="4708">
                  <c:v>2.372832</c:v>
                </c:pt>
                <c:pt idx="4709">
                  <c:v>2.373336</c:v>
                </c:pt>
                <c:pt idx="4710">
                  <c:v>2.37384</c:v>
                </c:pt>
                <c:pt idx="4711">
                  <c:v>2.374344</c:v>
                </c:pt>
                <c:pt idx="4712">
                  <c:v>2.374848</c:v>
                </c:pt>
                <c:pt idx="4713">
                  <c:v>2.375352</c:v>
                </c:pt>
                <c:pt idx="4714">
                  <c:v>2.375856</c:v>
                </c:pt>
                <c:pt idx="4715">
                  <c:v>2.37636</c:v>
                </c:pt>
                <c:pt idx="4716">
                  <c:v>2.376864</c:v>
                </c:pt>
                <c:pt idx="4717">
                  <c:v>2.377368</c:v>
                </c:pt>
                <c:pt idx="4718">
                  <c:v>2.377872</c:v>
                </c:pt>
                <c:pt idx="4719">
                  <c:v>2.378376</c:v>
                </c:pt>
                <c:pt idx="4720">
                  <c:v>2.37888</c:v>
                </c:pt>
                <c:pt idx="4721">
                  <c:v>2.379384</c:v>
                </c:pt>
                <c:pt idx="4722">
                  <c:v>2.379888</c:v>
                </c:pt>
                <c:pt idx="4723">
                  <c:v>2.380392</c:v>
                </c:pt>
                <c:pt idx="4724">
                  <c:v>2.380896</c:v>
                </c:pt>
                <c:pt idx="4725">
                  <c:v>2.3814</c:v>
                </c:pt>
                <c:pt idx="4726">
                  <c:v>2.381904</c:v>
                </c:pt>
                <c:pt idx="4727">
                  <c:v>2.382408</c:v>
                </c:pt>
                <c:pt idx="4728">
                  <c:v>2.382912</c:v>
                </c:pt>
                <c:pt idx="4729">
                  <c:v>2.383416</c:v>
                </c:pt>
                <c:pt idx="4730">
                  <c:v>2.38392</c:v>
                </c:pt>
                <c:pt idx="4731">
                  <c:v>2.384424</c:v>
                </c:pt>
                <c:pt idx="4732">
                  <c:v>2.384928</c:v>
                </c:pt>
                <c:pt idx="4733">
                  <c:v>2.385432</c:v>
                </c:pt>
                <c:pt idx="4734">
                  <c:v>2.385936</c:v>
                </c:pt>
                <c:pt idx="4735">
                  <c:v>2.38644</c:v>
                </c:pt>
                <c:pt idx="4736">
                  <c:v>2.386944</c:v>
                </c:pt>
                <c:pt idx="4737">
                  <c:v>2.387448</c:v>
                </c:pt>
                <c:pt idx="4738">
                  <c:v>2.387952</c:v>
                </c:pt>
                <c:pt idx="4739">
                  <c:v>2.388456</c:v>
                </c:pt>
                <c:pt idx="4740">
                  <c:v>2.38896</c:v>
                </c:pt>
                <c:pt idx="4741">
                  <c:v>2.389464</c:v>
                </c:pt>
                <c:pt idx="4742">
                  <c:v>2.389968</c:v>
                </c:pt>
                <c:pt idx="4743">
                  <c:v>2.390472</c:v>
                </c:pt>
                <c:pt idx="4744">
                  <c:v>2.390976</c:v>
                </c:pt>
                <c:pt idx="4745">
                  <c:v>2.39148</c:v>
                </c:pt>
                <c:pt idx="4746">
                  <c:v>2.391984</c:v>
                </c:pt>
                <c:pt idx="4747">
                  <c:v>2.392488</c:v>
                </c:pt>
                <c:pt idx="4748">
                  <c:v>2.392992</c:v>
                </c:pt>
                <c:pt idx="4749">
                  <c:v>2.393496</c:v>
                </c:pt>
                <c:pt idx="4750">
                  <c:v>2.394</c:v>
                </c:pt>
                <c:pt idx="4751">
                  <c:v>2.394504</c:v>
                </c:pt>
                <c:pt idx="4752">
                  <c:v>2.395008</c:v>
                </c:pt>
                <c:pt idx="4753">
                  <c:v>2.395512</c:v>
                </c:pt>
                <c:pt idx="4754">
                  <c:v>2.396016</c:v>
                </c:pt>
                <c:pt idx="4755">
                  <c:v>2.39652</c:v>
                </c:pt>
                <c:pt idx="4756">
                  <c:v>2.397024</c:v>
                </c:pt>
                <c:pt idx="4757">
                  <c:v>2.397528</c:v>
                </c:pt>
                <c:pt idx="4758">
                  <c:v>2.398032</c:v>
                </c:pt>
                <c:pt idx="4759">
                  <c:v>2.398536</c:v>
                </c:pt>
                <c:pt idx="4760">
                  <c:v>2.39904</c:v>
                </c:pt>
                <c:pt idx="4761">
                  <c:v>2.399544</c:v>
                </c:pt>
                <c:pt idx="4762">
                  <c:v>2.400048</c:v>
                </c:pt>
                <c:pt idx="4763">
                  <c:v>2.400552</c:v>
                </c:pt>
                <c:pt idx="4764">
                  <c:v>2.401056</c:v>
                </c:pt>
                <c:pt idx="4765">
                  <c:v>2.40156</c:v>
                </c:pt>
                <c:pt idx="4766">
                  <c:v>2.402064</c:v>
                </c:pt>
                <c:pt idx="4767">
                  <c:v>2.402568</c:v>
                </c:pt>
                <c:pt idx="4768">
                  <c:v>2.403072</c:v>
                </c:pt>
                <c:pt idx="4769">
                  <c:v>2.403576</c:v>
                </c:pt>
                <c:pt idx="4770">
                  <c:v>2.40408</c:v>
                </c:pt>
                <c:pt idx="4771">
                  <c:v>2.404584</c:v>
                </c:pt>
                <c:pt idx="4772">
                  <c:v>2.405088</c:v>
                </c:pt>
                <c:pt idx="4773">
                  <c:v>2.405592</c:v>
                </c:pt>
                <c:pt idx="4774">
                  <c:v>2.406096</c:v>
                </c:pt>
                <c:pt idx="4775">
                  <c:v>2.4066</c:v>
                </c:pt>
                <c:pt idx="4776">
                  <c:v>2.407104</c:v>
                </c:pt>
                <c:pt idx="4777">
                  <c:v>2.407608</c:v>
                </c:pt>
                <c:pt idx="4778">
                  <c:v>2.408112</c:v>
                </c:pt>
                <c:pt idx="4779">
                  <c:v>2.408616</c:v>
                </c:pt>
                <c:pt idx="4780">
                  <c:v>2.40912</c:v>
                </c:pt>
                <c:pt idx="4781">
                  <c:v>2.409624</c:v>
                </c:pt>
                <c:pt idx="4782">
                  <c:v>2.410128</c:v>
                </c:pt>
                <c:pt idx="4783">
                  <c:v>2.410632</c:v>
                </c:pt>
                <c:pt idx="4784">
                  <c:v>2.411136</c:v>
                </c:pt>
                <c:pt idx="4785">
                  <c:v>2.41164</c:v>
                </c:pt>
                <c:pt idx="4786">
                  <c:v>2.412144</c:v>
                </c:pt>
                <c:pt idx="4787">
                  <c:v>2.412648</c:v>
                </c:pt>
                <c:pt idx="4788">
                  <c:v>2.413152</c:v>
                </c:pt>
                <c:pt idx="4789">
                  <c:v>2.413656</c:v>
                </c:pt>
                <c:pt idx="4790">
                  <c:v>2.41416</c:v>
                </c:pt>
                <c:pt idx="4791">
                  <c:v>2.414664</c:v>
                </c:pt>
                <c:pt idx="4792">
                  <c:v>2.415168</c:v>
                </c:pt>
                <c:pt idx="4793">
                  <c:v>2.415672</c:v>
                </c:pt>
                <c:pt idx="4794">
                  <c:v>2.416176</c:v>
                </c:pt>
                <c:pt idx="4795">
                  <c:v>2.41668</c:v>
                </c:pt>
                <c:pt idx="4796">
                  <c:v>2.417184</c:v>
                </c:pt>
                <c:pt idx="4797">
                  <c:v>2.417688</c:v>
                </c:pt>
                <c:pt idx="4798">
                  <c:v>2.418192</c:v>
                </c:pt>
                <c:pt idx="4799">
                  <c:v>2.418696</c:v>
                </c:pt>
                <c:pt idx="4800">
                  <c:v>2.4192</c:v>
                </c:pt>
                <c:pt idx="4801">
                  <c:v>2.419704</c:v>
                </c:pt>
                <c:pt idx="4802">
                  <c:v>2.420208</c:v>
                </c:pt>
                <c:pt idx="4803">
                  <c:v>2.420712</c:v>
                </c:pt>
                <c:pt idx="4804">
                  <c:v>2.421216</c:v>
                </c:pt>
                <c:pt idx="4805">
                  <c:v>2.42172</c:v>
                </c:pt>
                <c:pt idx="4806">
                  <c:v>2.422224</c:v>
                </c:pt>
                <c:pt idx="4807">
                  <c:v>2.422728</c:v>
                </c:pt>
                <c:pt idx="4808">
                  <c:v>2.423232</c:v>
                </c:pt>
                <c:pt idx="4809">
                  <c:v>2.423736</c:v>
                </c:pt>
                <c:pt idx="4810">
                  <c:v>2.42424</c:v>
                </c:pt>
                <c:pt idx="4811">
                  <c:v>2.424744</c:v>
                </c:pt>
                <c:pt idx="4812">
                  <c:v>2.425248</c:v>
                </c:pt>
                <c:pt idx="4813">
                  <c:v>2.425752</c:v>
                </c:pt>
                <c:pt idx="4814">
                  <c:v>2.426256</c:v>
                </c:pt>
                <c:pt idx="4815">
                  <c:v>2.42676</c:v>
                </c:pt>
                <c:pt idx="4816">
                  <c:v>2.427264</c:v>
                </c:pt>
                <c:pt idx="4817">
                  <c:v>2.427768</c:v>
                </c:pt>
                <c:pt idx="4818">
                  <c:v>2.428272</c:v>
                </c:pt>
                <c:pt idx="4819">
                  <c:v>2.428776</c:v>
                </c:pt>
                <c:pt idx="4820">
                  <c:v>2.42928</c:v>
                </c:pt>
                <c:pt idx="4821">
                  <c:v>2.429784</c:v>
                </c:pt>
                <c:pt idx="4822">
                  <c:v>2.430288</c:v>
                </c:pt>
                <c:pt idx="4823">
                  <c:v>2.430792</c:v>
                </c:pt>
                <c:pt idx="4824">
                  <c:v>2.431296</c:v>
                </c:pt>
                <c:pt idx="4825">
                  <c:v>2.4318</c:v>
                </c:pt>
                <c:pt idx="4826">
                  <c:v>2.432304</c:v>
                </c:pt>
                <c:pt idx="4827">
                  <c:v>2.432808</c:v>
                </c:pt>
                <c:pt idx="4828">
                  <c:v>2.433312</c:v>
                </c:pt>
                <c:pt idx="4829">
                  <c:v>2.433816</c:v>
                </c:pt>
                <c:pt idx="4830">
                  <c:v>2.43432</c:v>
                </c:pt>
                <c:pt idx="4831">
                  <c:v>2.434824</c:v>
                </c:pt>
                <c:pt idx="4832">
                  <c:v>2.435328</c:v>
                </c:pt>
                <c:pt idx="4833">
                  <c:v>2.435832</c:v>
                </c:pt>
                <c:pt idx="4834">
                  <c:v>2.436336</c:v>
                </c:pt>
                <c:pt idx="4835">
                  <c:v>2.43684</c:v>
                </c:pt>
                <c:pt idx="4836">
                  <c:v>2.437344</c:v>
                </c:pt>
                <c:pt idx="4837">
                  <c:v>2.437848</c:v>
                </c:pt>
                <c:pt idx="4838">
                  <c:v>2.438352</c:v>
                </c:pt>
                <c:pt idx="4839">
                  <c:v>2.438856</c:v>
                </c:pt>
                <c:pt idx="4840">
                  <c:v>2.43936</c:v>
                </c:pt>
                <c:pt idx="4841">
                  <c:v>2.439864</c:v>
                </c:pt>
                <c:pt idx="4842">
                  <c:v>2.440368</c:v>
                </c:pt>
                <c:pt idx="4843">
                  <c:v>2.440872</c:v>
                </c:pt>
                <c:pt idx="4844">
                  <c:v>2.441376</c:v>
                </c:pt>
                <c:pt idx="4845">
                  <c:v>2.44188</c:v>
                </c:pt>
                <c:pt idx="4846">
                  <c:v>2.442384</c:v>
                </c:pt>
                <c:pt idx="4847">
                  <c:v>2.442888</c:v>
                </c:pt>
                <c:pt idx="4848">
                  <c:v>2.443392</c:v>
                </c:pt>
                <c:pt idx="4849">
                  <c:v>2.443896</c:v>
                </c:pt>
                <c:pt idx="4850">
                  <c:v>2.4444</c:v>
                </c:pt>
                <c:pt idx="4851">
                  <c:v>2.444904</c:v>
                </c:pt>
                <c:pt idx="4852">
                  <c:v>2.445408</c:v>
                </c:pt>
                <c:pt idx="4853">
                  <c:v>2.445912</c:v>
                </c:pt>
                <c:pt idx="4854">
                  <c:v>2.446416</c:v>
                </c:pt>
                <c:pt idx="4855">
                  <c:v>2.44692</c:v>
                </c:pt>
                <c:pt idx="4856">
                  <c:v>2.447424</c:v>
                </c:pt>
                <c:pt idx="4857">
                  <c:v>2.447928</c:v>
                </c:pt>
                <c:pt idx="4858">
                  <c:v>2.448432</c:v>
                </c:pt>
                <c:pt idx="4859">
                  <c:v>2.448936</c:v>
                </c:pt>
                <c:pt idx="4860">
                  <c:v>2.44944</c:v>
                </c:pt>
                <c:pt idx="4861">
                  <c:v>2.449944</c:v>
                </c:pt>
                <c:pt idx="4862">
                  <c:v>2.450448</c:v>
                </c:pt>
                <c:pt idx="4863">
                  <c:v>2.450952</c:v>
                </c:pt>
                <c:pt idx="4864">
                  <c:v>2.451456</c:v>
                </c:pt>
                <c:pt idx="4865">
                  <c:v>2.45196</c:v>
                </c:pt>
                <c:pt idx="4866">
                  <c:v>2.452464</c:v>
                </c:pt>
                <c:pt idx="4867">
                  <c:v>2.452968</c:v>
                </c:pt>
                <c:pt idx="4868">
                  <c:v>2.453472</c:v>
                </c:pt>
                <c:pt idx="4869">
                  <c:v>2.453976</c:v>
                </c:pt>
                <c:pt idx="4870">
                  <c:v>2.45448</c:v>
                </c:pt>
                <c:pt idx="4871">
                  <c:v>2.454984</c:v>
                </c:pt>
                <c:pt idx="4872">
                  <c:v>2.455488</c:v>
                </c:pt>
                <c:pt idx="4873">
                  <c:v>2.455992</c:v>
                </c:pt>
                <c:pt idx="4874">
                  <c:v>2.456496</c:v>
                </c:pt>
                <c:pt idx="4875">
                  <c:v>2.457</c:v>
                </c:pt>
                <c:pt idx="4876">
                  <c:v>2.457504</c:v>
                </c:pt>
                <c:pt idx="4877">
                  <c:v>2.458008</c:v>
                </c:pt>
                <c:pt idx="4878">
                  <c:v>2.458512</c:v>
                </c:pt>
                <c:pt idx="4879">
                  <c:v>2.459016</c:v>
                </c:pt>
                <c:pt idx="4880">
                  <c:v>2.45952</c:v>
                </c:pt>
                <c:pt idx="4881">
                  <c:v>2.460024</c:v>
                </c:pt>
                <c:pt idx="4882">
                  <c:v>2.460528</c:v>
                </c:pt>
                <c:pt idx="4883">
                  <c:v>2.461032</c:v>
                </c:pt>
                <c:pt idx="4884">
                  <c:v>2.461536</c:v>
                </c:pt>
                <c:pt idx="4885">
                  <c:v>2.46204</c:v>
                </c:pt>
                <c:pt idx="4886">
                  <c:v>2.462544</c:v>
                </c:pt>
                <c:pt idx="4887">
                  <c:v>2.463048</c:v>
                </c:pt>
                <c:pt idx="4888">
                  <c:v>2.463552</c:v>
                </c:pt>
                <c:pt idx="4889">
                  <c:v>2.464056</c:v>
                </c:pt>
                <c:pt idx="4890">
                  <c:v>2.46456</c:v>
                </c:pt>
                <c:pt idx="4891">
                  <c:v>2.465064</c:v>
                </c:pt>
                <c:pt idx="4892">
                  <c:v>2.465568</c:v>
                </c:pt>
                <c:pt idx="4893">
                  <c:v>2.466072</c:v>
                </c:pt>
                <c:pt idx="4894">
                  <c:v>2.466576</c:v>
                </c:pt>
                <c:pt idx="4895">
                  <c:v>2.46708</c:v>
                </c:pt>
                <c:pt idx="4896">
                  <c:v>2.467584</c:v>
                </c:pt>
                <c:pt idx="4897">
                  <c:v>2.468088</c:v>
                </c:pt>
                <c:pt idx="4898">
                  <c:v>2.468592</c:v>
                </c:pt>
                <c:pt idx="4899">
                  <c:v>2.469096</c:v>
                </c:pt>
                <c:pt idx="4900">
                  <c:v>2.4696</c:v>
                </c:pt>
                <c:pt idx="4901">
                  <c:v>2.470104</c:v>
                </c:pt>
                <c:pt idx="4902">
                  <c:v>2.470608</c:v>
                </c:pt>
                <c:pt idx="4903">
                  <c:v>2.471112</c:v>
                </c:pt>
                <c:pt idx="4904">
                  <c:v>2.471616</c:v>
                </c:pt>
                <c:pt idx="4905">
                  <c:v>2.47212</c:v>
                </c:pt>
                <c:pt idx="4906">
                  <c:v>2.472624</c:v>
                </c:pt>
                <c:pt idx="4907">
                  <c:v>2.473128</c:v>
                </c:pt>
                <c:pt idx="4908">
                  <c:v>2.473632</c:v>
                </c:pt>
                <c:pt idx="4909">
                  <c:v>2.474136</c:v>
                </c:pt>
                <c:pt idx="4910">
                  <c:v>2.47464</c:v>
                </c:pt>
                <c:pt idx="4911">
                  <c:v>2.475144</c:v>
                </c:pt>
                <c:pt idx="4912">
                  <c:v>2.475648</c:v>
                </c:pt>
                <c:pt idx="4913">
                  <c:v>2.476152</c:v>
                </c:pt>
                <c:pt idx="4914">
                  <c:v>2.476656</c:v>
                </c:pt>
                <c:pt idx="4915">
                  <c:v>2.47716</c:v>
                </c:pt>
                <c:pt idx="4916">
                  <c:v>2.477664</c:v>
                </c:pt>
                <c:pt idx="4917">
                  <c:v>2.478168</c:v>
                </c:pt>
                <c:pt idx="4918">
                  <c:v>2.478672</c:v>
                </c:pt>
                <c:pt idx="4919">
                  <c:v>2.479176</c:v>
                </c:pt>
                <c:pt idx="4920">
                  <c:v>2.47968</c:v>
                </c:pt>
                <c:pt idx="4921">
                  <c:v>2.480184</c:v>
                </c:pt>
                <c:pt idx="4922">
                  <c:v>2.480688</c:v>
                </c:pt>
                <c:pt idx="4923">
                  <c:v>2.481192</c:v>
                </c:pt>
                <c:pt idx="4924">
                  <c:v>2.481696</c:v>
                </c:pt>
                <c:pt idx="4925">
                  <c:v>2.4822</c:v>
                </c:pt>
                <c:pt idx="4926">
                  <c:v>2.482704</c:v>
                </c:pt>
                <c:pt idx="4927">
                  <c:v>2.483208</c:v>
                </c:pt>
                <c:pt idx="4928">
                  <c:v>2.483712</c:v>
                </c:pt>
                <c:pt idx="4929">
                  <c:v>2.484216</c:v>
                </c:pt>
                <c:pt idx="4930">
                  <c:v>2.48472</c:v>
                </c:pt>
                <c:pt idx="4931">
                  <c:v>2.485224</c:v>
                </c:pt>
                <c:pt idx="4932">
                  <c:v>2.485728</c:v>
                </c:pt>
                <c:pt idx="4933">
                  <c:v>2.486232</c:v>
                </c:pt>
                <c:pt idx="4934">
                  <c:v>2.486736</c:v>
                </c:pt>
                <c:pt idx="4935">
                  <c:v>2.48724</c:v>
                </c:pt>
                <c:pt idx="4936">
                  <c:v>2.487744</c:v>
                </c:pt>
                <c:pt idx="4937">
                  <c:v>2.488248</c:v>
                </c:pt>
                <c:pt idx="4938">
                  <c:v>2.488752</c:v>
                </c:pt>
                <c:pt idx="4939">
                  <c:v>2.489256</c:v>
                </c:pt>
                <c:pt idx="4940">
                  <c:v>2.48976</c:v>
                </c:pt>
                <c:pt idx="4941">
                  <c:v>2.490264</c:v>
                </c:pt>
                <c:pt idx="4942">
                  <c:v>2.490768</c:v>
                </c:pt>
                <c:pt idx="4943">
                  <c:v>2.491272</c:v>
                </c:pt>
                <c:pt idx="4944">
                  <c:v>2.491776</c:v>
                </c:pt>
                <c:pt idx="4945">
                  <c:v>2.49228</c:v>
                </c:pt>
                <c:pt idx="4946">
                  <c:v>2.492784</c:v>
                </c:pt>
                <c:pt idx="4947">
                  <c:v>2.493288</c:v>
                </c:pt>
                <c:pt idx="4948">
                  <c:v>2.493792</c:v>
                </c:pt>
                <c:pt idx="4949">
                  <c:v>2.494296</c:v>
                </c:pt>
                <c:pt idx="4950">
                  <c:v>2.4948</c:v>
                </c:pt>
                <c:pt idx="4951">
                  <c:v>2.495304</c:v>
                </c:pt>
                <c:pt idx="4952">
                  <c:v>2.495808</c:v>
                </c:pt>
                <c:pt idx="4953">
                  <c:v>2.496312</c:v>
                </c:pt>
                <c:pt idx="4954">
                  <c:v>2.496816</c:v>
                </c:pt>
                <c:pt idx="4955">
                  <c:v>2.49732</c:v>
                </c:pt>
                <c:pt idx="4956">
                  <c:v>2.497824</c:v>
                </c:pt>
                <c:pt idx="4957">
                  <c:v>2.498328</c:v>
                </c:pt>
                <c:pt idx="4958">
                  <c:v>2.498832</c:v>
                </c:pt>
                <c:pt idx="4959">
                  <c:v>2.499336</c:v>
                </c:pt>
                <c:pt idx="4960">
                  <c:v>2.49984</c:v>
                </c:pt>
                <c:pt idx="4961">
                  <c:v>2.500344</c:v>
                </c:pt>
                <c:pt idx="4962">
                  <c:v>2.500848</c:v>
                </c:pt>
                <c:pt idx="4963">
                  <c:v>2.501352</c:v>
                </c:pt>
                <c:pt idx="4964">
                  <c:v>2.501856</c:v>
                </c:pt>
                <c:pt idx="4965">
                  <c:v>2.50236</c:v>
                </c:pt>
                <c:pt idx="4966">
                  <c:v>2.502864</c:v>
                </c:pt>
                <c:pt idx="4967">
                  <c:v>2.503368</c:v>
                </c:pt>
                <c:pt idx="4968">
                  <c:v>2.503872</c:v>
                </c:pt>
                <c:pt idx="4969">
                  <c:v>2.504376</c:v>
                </c:pt>
                <c:pt idx="4970">
                  <c:v>2.50488</c:v>
                </c:pt>
                <c:pt idx="4971">
                  <c:v>2.505384</c:v>
                </c:pt>
                <c:pt idx="4972">
                  <c:v>2.505888</c:v>
                </c:pt>
                <c:pt idx="4973">
                  <c:v>2.506392</c:v>
                </c:pt>
                <c:pt idx="4974">
                  <c:v>2.506896</c:v>
                </c:pt>
                <c:pt idx="4975">
                  <c:v>2.5074</c:v>
                </c:pt>
                <c:pt idx="4976">
                  <c:v>2.507904</c:v>
                </c:pt>
                <c:pt idx="4977">
                  <c:v>2.508408</c:v>
                </c:pt>
                <c:pt idx="4978">
                  <c:v>2.508912</c:v>
                </c:pt>
                <c:pt idx="4979">
                  <c:v>2.509416</c:v>
                </c:pt>
                <c:pt idx="4980">
                  <c:v>2.50992</c:v>
                </c:pt>
                <c:pt idx="4981">
                  <c:v>2.510424</c:v>
                </c:pt>
                <c:pt idx="4982">
                  <c:v>2.510928</c:v>
                </c:pt>
                <c:pt idx="4983">
                  <c:v>2.511432</c:v>
                </c:pt>
                <c:pt idx="4984">
                  <c:v>2.511936</c:v>
                </c:pt>
                <c:pt idx="4985">
                  <c:v>2.51244</c:v>
                </c:pt>
                <c:pt idx="4986">
                  <c:v>2.512944</c:v>
                </c:pt>
                <c:pt idx="4987">
                  <c:v>2.513448</c:v>
                </c:pt>
                <c:pt idx="4988">
                  <c:v>2.513952</c:v>
                </c:pt>
                <c:pt idx="4989">
                  <c:v>2.514456</c:v>
                </c:pt>
                <c:pt idx="4990">
                  <c:v>2.51496</c:v>
                </c:pt>
                <c:pt idx="4991">
                  <c:v>2.515464</c:v>
                </c:pt>
                <c:pt idx="4992">
                  <c:v>2.515968</c:v>
                </c:pt>
                <c:pt idx="4993">
                  <c:v>2.516472</c:v>
                </c:pt>
                <c:pt idx="4994">
                  <c:v>2.516976</c:v>
                </c:pt>
                <c:pt idx="4995">
                  <c:v>2.51748</c:v>
                </c:pt>
                <c:pt idx="4996">
                  <c:v>2.517984</c:v>
                </c:pt>
                <c:pt idx="4997">
                  <c:v>2.518488</c:v>
                </c:pt>
                <c:pt idx="4998">
                  <c:v>2.518992</c:v>
                </c:pt>
                <c:pt idx="4999">
                  <c:v>2.519496</c:v>
                </c:pt>
                <c:pt idx="5000">
                  <c:v>2.52</c:v>
                </c:pt>
                <c:pt idx="5001">
                  <c:v>2.520504</c:v>
                </c:pt>
                <c:pt idx="5002">
                  <c:v>2.521008</c:v>
                </c:pt>
                <c:pt idx="5003">
                  <c:v>2.521512</c:v>
                </c:pt>
                <c:pt idx="5004">
                  <c:v>2.522016</c:v>
                </c:pt>
                <c:pt idx="5005">
                  <c:v>2.52252</c:v>
                </c:pt>
                <c:pt idx="5006">
                  <c:v>2.523024</c:v>
                </c:pt>
                <c:pt idx="5007">
                  <c:v>2.523528</c:v>
                </c:pt>
                <c:pt idx="5008">
                  <c:v>2.524032</c:v>
                </c:pt>
                <c:pt idx="5009">
                  <c:v>2.524536</c:v>
                </c:pt>
                <c:pt idx="5010">
                  <c:v>2.52504</c:v>
                </c:pt>
                <c:pt idx="5011">
                  <c:v>2.525544</c:v>
                </c:pt>
                <c:pt idx="5012">
                  <c:v>2.526048</c:v>
                </c:pt>
                <c:pt idx="5013">
                  <c:v>2.526552</c:v>
                </c:pt>
                <c:pt idx="5014">
                  <c:v>2.527056</c:v>
                </c:pt>
                <c:pt idx="5015">
                  <c:v>2.52756</c:v>
                </c:pt>
                <c:pt idx="5016">
                  <c:v>2.528064</c:v>
                </c:pt>
                <c:pt idx="5017">
                  <c:v>2.528568</c:v>
                </c:pt>
                <c:pt idx="5018">
                  <c:v>2.529072</c:v>
                </c:pt>
                <c:pt idx="5019">
                  <c:v>2.529576</c:v>
                </c:pt>
                <c:pt idx="5020">
                  <c:v>2.53008</c:v>
                </c:pt>
                <c:pt idx="5021">
                  <c:v>2.530584</c:v>
                </c:pt>
                <c:pt idx="5022">
                  <c:v>2.531088</c:v>
                </c:pt>
                <c:pt idx="5023">
                  <c:v>2.531592</c:v>
                </c:pt>
                <c:pt idx="5024">
                  <c:v>2.532096</c:v>
                </c:pt>
                <c:pt idx="5025">
                  <c:v>2.5326</c:v>
                </c:pt>
                <c:pt idx="5026">
                  <c:v>2.533104</c:v>
                </c:pt>
                <c:pt idx="5027">
                  <c:v>2.533608</c:v>
                </c:pt>
                <c:pt idx="5028">
                  <c:v>2.534112</c:v>
                </c:pt>
                <c:pt idx="5029">
                  <c:v>2.534616</c:v>
                </c:pt>
                <c:pt idx="5030">
                  <c:v>2.53512</c:v>
                </c:pt>
                <c:pt idx="5031">
                  <c:v>2.535624</c:v>
                </c:pt>
                <c:pt idx="5032">
                  <c:v>2.536128</c:v>
                </c:pt>
                <c:pt idx="5033">
                  <c:v>2.536632</c:v>
                </c:pt>
                <c:pt idx="5034">
                  <c:v>2.537136</c:v>
                </c:pt>
                <c:pt idx="5035">
                  <c:v>2.53764</c:v>
                </c:pt>
                <c:pt idx="5036">
                  <c:v>2.538144</c:v>
                </c:pt>
                <c:pt idx="5037">
                  <c:v>2.538648</c:v>
                </c:pt>
                <c:pt idx="5038">
                  <c:v>2.539152</c:v>
                </c:pt>
                <c:pt idx="5039">
                  <c:v>2.539656</c:v>
                </c:pt>
                <c:pt idx="5040">
                  <c:v>2.54016</c:v>
                </c:pt>
                <c:pt idx="5041">
                  <c:v>2.540664</c:v>
                </c:pt>
                <c:pt idx="5042">
                  <c:v>2.541168</c:v>
                </c:pt>
                <c:pt idx="5043">
                  <c:v>2.541672</c:v>
                </c:pt>
                <c:pt idx="5044">
                  <c:v>2.542176</c:v>
                </c:pt>
                <c:pt idx="5045">
                  <c:v>2.54268</c:v>
                </c:pt>
                <c:pt idx="5046">
                  <c:v>2.543184</c:v>
                </c:pt>
                <c:pt idx="5047">
                  <c:v>2.543688</c:v>
                </c:pt>
                <c:pt idx="5048">
                  <c:v>2.544192</c:v>
                </c:pt>
                <c:pt idx="5049">
                  <c:v>2.544696</c:v>
                </c:pt>
                <c:pt idx="5050">
                  <c:v>2.5452</c:v>
                </c:pt>
                <c:pt idx="5051">
                  <c:v>2.545704</c:v>
                </c:pt>
                <c:pt idx="5052">
                  <c:v>2.546208</c:v>
                </c:pt>
                <c:pt idx="5053">
                  <c:v>2.546712</c:v>
                </c:pt>
                <c:pt idx="5054">
                  <c:v>2.547216</c:v>
                </c:pt>
                <c:pt idx="5055">
                  <c:v>2.54772</c:v>
                </c:pt>
                <c:pt idx="5056">
                  <c:v>2.548224</c:v>
                </c:pt>
                <c:pt idx="5057">
                  <c:v>2.548728</c:v>
                </c:pt>
                <c:pt idx="5058">
                  <c:v>2.549232</c:v>
                </c:pt>
                <c:pt idx="5059">
                  <c:v>2.549736</c:v>
                </c:pt>
                <c:pt idx="5060">
                  <c:v>2.55024</c:v>
                </c:pt>
                <c:pt idx="5061">
                  <c:v>2.550744</c:v>
                </c:pt>
                <c:pt idx="5062">
                  <c:v>2.551248</c:v>
                </c:pt>
                <c:pt idx="5063">
                  <c:v>2.551752</c:v>
                </c:pt>
                <c:pt idx="5064">
                  <c:v>2.552256</c:v>
                </c:pt>
                <c:pt idx="5065">
                  <c:v>2.55276</c:v>
                </c:pt>
                <c:pt idx="5066">
                  <c:v>2.553264</c:v>
                </c:pt>
                <c:pt idx="5067">
                  <c:v>2.553768</c:v>
                </c:pt>
                <c:pt idx="5068">
                  <c:v>2.554272</c:v>
                </c:pt>
                <c:pt idx="5069">
                  <c:v>2.554776</c:v>
                </c:pt>
                <c:pt idx="5070">
                  <c:v>2.55528</c:v>
                </c:pt>
                <c:pt idx="5071">
                  <c:v>2.555784</c:v>
                </c:pt>
                <c:pt idx="5072">
                  <c:v>2.556288</c:v>
                </c:pt>
                <c:pt idx="5073">
                  <c:v>2.556792</c:v>
                </c:pt>
                <c:pt idx="5074">
                  <c:v>2.557296</c:v>
                </c:pt>
                <c:pt idx="5075">
                  <c:v>2.5578</c:v>
                </c:pt>
                <c:pt idx="5076">
                  <c:v>2.558304</c:v>
                </c:pt>
                <c:pt idx="5077">
                  <c:v>2.558808</c:v>
                </c:pt>
                <c:pt idx="5078">
                  <c:v>2.559312</c:v>
                </c:pt>
                <c:pt idx="5079">
                  <c:v>2.559816</c:v>
                </c:pt>
                <c:pt idx="5080">
                  <c:v>2.56032</c:v>
                </c:pt>
                <c:pt idx="5081">
                  <c:v>2.560824</c:v>
                </c:pt>
                <c:pt idx="5082">
                  <c:v>2.561328</c:v>
                </c:pt>
                <c:pt idx="5083">
                  <c:v>2.561832</c:v>
                </c:pt>
                <c:pt idx="5084">
                  <c:v>2.562336</c:v>
                </c:pt>
                <c:pt idx="5085">
                  <c:v>2.56284</c:v>
                </c:pt>
                <c:pt idx="5086">
                  <c:v>2.563344</c:v>
                </c:pt>
                <c:pt idx="5087">
                  <c:v>2.563848</c:v>
                </c:pt>
                <c:pt idx="5088">
                  <c:v>2.564352</c:v>
                </c:pt>
                <c:pt idx="5089">
                  <c:v>2.564856</c:v>
                </c:pt>
                <c:pt idx="5090">
                  <c:v>2.56536</c:v>
                </c:pt>
                <c:pt idx="5091">
                  <c:v>2.565864</c:v>
                </c:pt>
                <c:pt idx="5092">
                  <c:v>2.566368</c:v>
                </c:pt>
                <c:pt idx="5093">
                  <c:v>2.566872</c:v>
                </c:pt>
                <c:pt idx="5094">
                  <c:v>2.567376</c:v>
                </c:pt>
                <c:pt idx="5095">
                  <c:v>2.56788</c:v>
                </c:pt>
                <c:pt idx="5096">
                  <c:v>2.568384</c:v>
                </c:pt>
                <c:pt idx="5097">
                  <c:v>2.568888</c:v>
                </c:pt>
                <c:pt idx="5098">
                  <c:v>2.569392</c:v>
                </c:pt>
                <c:pt idx="5099">
                  <c:v>2.569896</c:v>
                </c:pt>
                <c:pt idx="5100">
                  <c:v>2.5704</c:v>
                </c:pt>
                <c:pt idx="5101">
                  <c:v>2.570904</c:v>
                </c:pt>
                <c:pt idx="5102">
                  <c:v>2.571408</c:v>
                </c:pt>
                <c:pt idx="5103">
                  <c:v>2.571912</c:v>
                </c:pt>
                <c:pt idx="5104">
                  <c:v>2.572416</c:v>
                </c:pt>
                <c:pt idx="5105">
                  <c:v>2.57292</c:v>
                </c:pt>
                <c:pt idx="5106">
                  <c:v>2.573424</c:v>
                </c:pt>
                <c:pt idx="5107">
                  <c:v>2.573928</c:v>
                </c:pt>
                <c:pt idx="5108">
                  <c:v>2.574432</c:v>
                </c:pt>
                <c:pt idx="5109">
                  <c:v>2.574936</c:v>
                </c:pt>
                <c:pt idx="5110">
                  <c:v>2.57544</c:v>
                </c:pt>
                <c:pt idx="5111">
                  <c:v>2.575944</c:v>
                </c:pt>
                <c:pt idx="5112">
                  <c:v>2.576448</c:v>
                </c:pt>
                <c:pt idx="5113">
                  <c:v>2.576952</c:v>
                </c:pt>
                <c:pt idx="5114">
                  <c:v>2.577456</c:v>
                </c:pt>
                <c:pt idx="5115">
                  <c:v>2.57796</c:v>
                </c:pt>
                <c:pt idx="5116">
                  <c:v>2.578464</c:v>
                </c:pt>
                <c:pt idx="5117">
                  <c:v>2.578968</c:v>
                </c:pt>
                <c:pt idx="5118">
                  <c:v>2.579472</c:v>
                </c:pt>
                <c:pt idx="5119">
                  <c:v>2.579976</c:v>
                </c:pt>
                <c:pt idx="5120">
                  <c:v>2.58048</c:v>
                </c:pt>
                <c:pt idx="5121">
                  <c:v>2.580984</c:v>
                </c:pt>
                <c:pt idx="5122">
                  <c:v>2.581488</c:v>
                </c:pt>
                <c:pt idx="5123">
                  <c:v>2.581992</c:v>
                </c:pt>
                <c:pt idx="5124">
                  <c:v>2.582496</c:v>
                </c:pt>
                <c:pt idx="5125">
                  <c:v>2.583</c:v>
                </c:pt>
                <c:pt idx="5126">
                  <c:v>2.583504</c:v>
                </c:pt>
                <c:pt idx="5127">
                  <c:v>2.584008</c:v>
                </c:pt>
                <c:pt idx="5128">
                  <c:v>2.584512</c:v>
                </c:pt>
                <c:pt idx="5129">
                  <c:v>2.585016</c:v>
                </c:pt>
                <c:pt idx="5130">
                  <c:v>2.58552</c:v>
                </c:pt>
                <c:pt idx="5131">
                  <c:v>2.586024</c:v>
                </c:pt>
                <c:pt idx="5132">
                  <c:v>2.586528</c:v>
                </c:pt>
                <c:pt idx="5133">
                  <c:v>2.587032</c:v>
                </c:pt>
                <c:pt idx="5134">
                  <c:v>2.587536</c:v>
                </c:pt>
                <c:pt idx="5135">
                  <c:v>2.58804</c:v>
                </c:pt>
                <c:pt idx="5136">
                  <c:v>2.588544</c:v>
                </c:pt>
                <c:pt idx="5137">
                  <c:v>2.589048</c:v>
                </c:pt>
                <c:pt idx="5138">
                  <c:v>2.589552</c:v>
                </c:pt>
                <c:pt idx="5139">
                  <c:v>2.590056</c:v>
                </c:pt>
                <c:pt idx="5140">
                  <c:v>2.59056</c:v>
                </c:pt>
                <c:pt idx="5141">
                  <c:v>2.591064</c:v>
                </c:pt>
                <c:pt idx="5142">
                  <c:v>2.591568</c:v>
                </c:pt>
                <c:pt idx="5143">
                  <c:v>2.592072</c:v>
                </c:pt>
                <c:pt idx="5144">
                  <c:v>2.592576</c:v>
                </c:pt>
                <c:pt idx="5145">
                  <c:v>2.59308</c:v>
                </c:pt>
                <c:pt idx="5146">
                  <c:v>2.593584</c:v>
                </c:pt>
                <c:pt idx="5147">
                  <c:v>2.594088</c:v>
                </c:pt>
                <c:pt idx="5148">
                  <c:v>2.594592</c:v>
                </c:pt>
                <c:pt idx="5149">
                  <c:v>2.595096</c:v>
                </c:pt>
                <c:pt idx="5150">
                  <c:v>2.5956</c:v>
                </c:pt>
                <c:pt idx="5151">
                  <c:v>2.596104</c:v>
                </c:pt>
                <c:pt idx="5152">
                  <c:v>2.596608</c:v>
                </c:pt>
                <c:pt idx="5153">
                  <c:v>2.597112</c:v>
                </c:pt>
                <c:pt idx="5154">
                  <c:v>2.597616</c:v>
                </c:pt>
                <c:pt idx="5155">
                  <c:v>2.59812</c:v>
                </c:pt>
                <c:pt idx="5156">
                  <c:v>2.598624</c:v>
                </c:pt>
                <c:pt idx="5157">
                  <c:v>2.599128</c:v>
                </c:pt>
                <c:pt idx="5158">
                  <c:v>2.599632</c:v>
                </c:pt>
                <c:pt idx="5159">
                  <c:v>2.600136</c:v>
                </c:pt>
                <c:pt idx="5160">
                  <c:v>2.60064</c:v>
                </c:pt>
                <c:pt idx="5161">
                  <c:v>2.601144</c:v>
                </c:pt>
                <c:pt idx="5162">
                  <c:v>2.601648</c:v>
                </c:pt>
                <c:pt idx="5163">
                  <c:v>2.602152</c:v>
                </c:pt>
                <c:pt idx="5164">
                  <c:v>2.602656</c:v>
                </c:pt>
                <c:pt idx="5165">
                  <c:v>2.60316</c:v>
                </c:pt>
                <c:pt idx="5166">
                  <c:v>2.603664</c:v>
                </c:pt>
                <c:pt idx="5167">
                  <c:v>2.604168</c:v>
                </c:pt>
                <c:pt idx="5168">
                  <c:v>2.604672</c:v>
                </c:pt>
                <c:pt idx="5169">
                  <c:v>2.605176</c:v>
                </c:pt>
                <c:pt idx="5170">
                  <c:v>2.60568</c:v>
                </c:pt>
                <c:pt idx="5171">
                  <c:v>2.606184</c:v>
                </c:pt>
                <c:pt idx="5172">
                  <c:v>2.606688</c:v>
                </c:pt>
                <c:pt idx="5173">
                  <c:v>2.607192</c:v>
                </c:pt>
                <c:pt idx="5174">
                  <c:v>2.607696</c:v>
                </c:pt>
                <c:pt idx="5175">
                  <c:v>2.6082</c:v>
                </c:pt>
                <c:pt idx="5176">
                  <c:v>2.608704</c:v>
                </c:pt>
                <c:pt idx="5177">
                  <c:v>2.609208</c:v>
                </c:pt>
                <c:pt idx="5178">
                  <c:v>2.609712</c:v>
                </c:pt>
                <c:pt idx="5179">
                  <c:v>2.610216</c:v>
                </c:pt>
                <c:pt idx="5180">
                  <c:v>2.61072</c:v>
                </c:pt>
                <c:pt idx="5181">
                  <c:v>2.611224</c:v>
                </c:pt>
                <c:pt idx="5182">
                  <c:v>2.611728</c:v>
                </c:pt>
                <c:pt idx="5183">
                  <c:v>2.612232</c:v>
                </c:pt>
                <c:pt idx="5184">
                  <c:v>2.612736</c:v>
                </c:pt>
                <c:pt idx="5185">
                  <c:v>2.61324</c:v>
                </c:pt>
                <c:pt idx="5186">
                  <c:v>2.613744</c:v>
                </c:pt>
                <c:pt idx="5187">
                  <c:v>2.614248</c:v>
                </c:pt>
                <c:pt idx="5188">
                  <c:v>2.614752</c:v>
                </c:pt>
                <c:pt idx="5189">
                  <c:v>2.615256</c:v>
                </c:pt>
                <c:pt idx="5190">
                  <c:v>2.61576</c:v>
                </c:pt>
                <c:pt idx="5191">
                  <c:v>2.616264</c:v>
                </c:pt>
                <c:pt idx="5192">
                  <c:v>2.616768</c:v>
                </c:pt>
                <c:pt idx="5193">
                  <c:v>2.617272</c:v>
                </c:pt>
                <c:pt idx="5194">
                  <c:v>2.617776</c:v>
                </c:pt>
                <c:pt idx="5195">
                  <c:v>2.61828</c:v>
                </c:pt>
                <c:pt idx="5196">
                  <c:v>2.618784</c:v>
                </c:pt>
                <c:pt idx="5197">
                  <c:v>2.619288</c:v>
                </c:pt>
                <c:pt idx="5198">
                  <c:v>2.619792</c:v>
                </c:pt>
                <c:pt idx="5199">
                  <c:v>2.620296</c:v>
                </c:pt>
                <c:pt idx="5200">
                  <c:v>2.6208</c:v>
                </c:pt>
                <c:pt idx="5201">
                  <c:v>2.621304</c:v>
                </c:pt>
                <c:pt idx="5202">
                  <c:v>2.621808</c:v>
                </c:pt>
                <c:pt idx="5203">
                  <c:v>2.622312</c:v>
                </c:pt>
                <c:pt idx="5204">
                  <c:v>2.622816</c:v>
                </c:pt>
                <c:pt idx="5205">
                  <c:v>2.62332</c:v>
                </c:pt>
                <c:pt idx="5206">
                  <c:v>2.623824</c:v>
                </c:pt>
                <c:pt idx="5207">
                  <c:v>2.624328</c:v>
                </c:pt>
                <c:pt idx="5208">
                  <c:v>2.624832</c:v>
                </c:pt>
                <c:pt idx="5209">
                  <c:v>2.625336</c:v>
                </c:pt>
                <c:pt idx="5210">
                  <c:v>2.62584</c:v>
                </c:pt>
                <c:pt idx="5211">
                  <c:v>2.626344</c:v>
                </c:pt>
                <c:pt idx="5212">
                  <c:v>2.626848</c:v>
                </c:pt>
                <c:pt idx="5213">
                  <c:v>2.627352</c:v>
                </c:pt>
                <c:pt idx="5214">
                  <c:v>2.627856</c:v>
                </c:pt>
                <c:pt idx="5215">
                  <c:v>2.62836</c:v>
                </c:pt>
                <c:pt idx="5216">
                  <c:v>2.628864</c:v>
                </c:pt>
                <c:pt idx="5217">
                  <c:v>2.629368</c:v>
                </c:pt>
                <c:pt idx="5218">
                  <c:v>2.629872</c:v>
                </c:pt>
                <c:pt idx="5219">
                  <c:v>2.630376</c:v>
                </c:pt>
                <c:pt idx="5220">
                  <c:v>2.63088</c:v>
                </c:pt>
                <c:pt idx="5221">
                  <c:v>2.631384</c:v>
                </c:pt>
                <c:pt idx="5222">
                  <c:v>2.631888</c:v>
                </c:pt>
                <c:pt idx="5223">
                  <c:v>2.632392</c:v>
                </c:pt>
                <c:pt idx="5224">
                  <c:v>2.632896</c:v>
                </c:pt>
                <c:pt idx="5225">
                  <c:v>2.6334</c:v>
                </c:pt>
                <c:pt idx="5226">
                  <c:v>2.633904</c:v>
                </c:pt>
                <c:pt idx="5227">
                  <c:v>2.634408</c:v>
                </c:pt>
                <c:pt idx="5228">
                  <c:v>2.634912</c:v>
                </c:pt>
                <c:pt idx="5229">
                  <c:v>2.635416</c:v>
                </c:pt>
                <c:pt idx="5230">
                  <c:v>2.63592</c:v>
                </c:pt>
                <c:pt idx="5231">
                  <c:v>2.636424</c:v>
                </c:pt>
                <c:pt idx="5232">
                  <c:v>2.636928</c:v>
                </c:pt>
                <c:pt idx="5233">
                  <c:v>2.637432</c:v>
                </c:pt>
                <c:pt idx="5234">
                  <c:v>2.637936</c:v>
                </c:pt>
                <c:pt idx="5235">
                  <c:v>2.63844</c:v>
                </c:pt>
                <c:pt idx="5236">
                  <c:v>2.638944</c:v>
                </c:pt>
                <c:pt idx="5237">
                  <c:v>2.639448</c:v>
                </c:pt>
                <c:pt idx="5238">
                  <c:v>2.639952</c:v>
                </c:pt>
                <c:pt idx="5239">
                  <c:v>2.640456</c:v>
                </c:pt>
                <c:pt idx="5240">
                  <c:v>2.64096</c:v>
                </c:pt>
                <c:pt idx="5241">
                  <c:v>2.641464</c:v>
                </c:pt>
                <c:pt idx="5242">
                  <c:v>2.641968</c:v>
                </c:pt>
                <c:pt idx="5243">
                  <c:v>2.642472</c:v>
                </c:pt>
                <c:pt idx="5244">
                  <c:v>2.642976</c:v>
                </c:pt>
                <c:pt idx="5245">
                  <c:v>2.64348</c:v>
                </c:pt>
                <c:pt idx="5246">
                  <c:v>2.643984</c:v>
                </c:pt>
                <c:pt idx="5247">
                  <c:v>2.644488</c:v>
                </c:pt>
                <c:pt idx="5248">
                  <c:v>2.644992</c:v>
                </c:pt>
                <c:pt idx="5249">
                  <c:v>2.645496</c:v>
                </c:pt>
                <c:pt idx="5250">
                  <c:v>2.646</c:v>
                </c:pt>
                <c:pt idx="5251">
                  <c:v>2.646504</c:v>
                </c:pt>
                <c:pt idx="5252">
                  <c:v>2.647008</c:v>
                </c:pt>
                <c:pt idx="5253">
                  <c:v>2.647512</c:v>
                </c:pt>
                <c:pt idx="5254">
                  <c:v>2.648016</c:v>
                </c:pt>
                <c:pt idx="5255">
                  <c:v>2.64852</c:v>
                </c:pt>
                <c:pt idx="5256">
                  <c:v>2.649024</c:v>
                </c:pt>
                <c:pt idx="5257">
                  <c:v>2.649528</c:v>
                </c:pt>
                <c:pt idx="5258">
                  <c:v>2.650032</c:v>
                </c:pt>
                <c:pt idx="5259">
                  <c:v>2.650536</c:v>
                </c:pt>
                <c:pt idx="5260">
                  <c:v>2.65104</c:v>
                </c:pt>
                <c:pt idx="5261">
                  <c:v>2.651544</c:v>
                </c:pt>
                <c:pt idx="5262">
                  <c:v>2.652048</c:v>
                </c:pt>
                <c:pt idx="5263">
                  <c:v>2.652552</c:v>
                </c:pt>
                <c:pt idx="5264">
                  <c:v>2.653056</c:v>
                </c:pt>
                <c:pt idx="5265">
                  <c:v>2.65356</c:v>
                </c:pt>
                <c:pt idx="5266">
                  <c:v>2.654064</c:v>
                </c:pt>
                <c:pt idx="5267">
                  <c:v>2.654568</c:v>
                </c:pt>
                <c:pt idx="5268">
                  <c:v>2.655072</c:v>
                </c:pt>
                <c:pt idx="5269">
                  <c:v>2.655576</c:v>
                </c:pt>
                <c:pt idx="5270">
                  <c:v>2.65608</c:v>
                </c:pt>
                <c:pt idx="5271">
                  <c:v>2.656584</c:v>
                </c:pt>
                <c:pt idx="5272">
                  <c:v>2.657088</c:v>
                </c:pt>
                <c:pt idx="5273">
                  <c:v>2.657592</c:v>
                </c:pt>
                <c:pt idx="5274">
                  <c:v>2.658096</c:v>
                </c:pt>
                <c:pt idx="5275">
                  <c:v>2.6586</c:v>
                </c:pt>
                <c:pt idx="5276">
                  <c:v>2.659104</c:v>
                </c:pt>
                <c:pt idx="5277">
                  <c:v>2.659608</c:v>
                </c:pt>
                <c:pt idx="5278">
                  <c:v>2.660112</c:v>
                </c:pt>
                <c:pt idx="5279">
                  <c:v>2.660616</c:v>
                </c:pt>
                <c:pt idx="5280">
                  <c:v>2.66112</c:v>
                </c:pt>
                <c:pt idx="5281">
                  <c:v>2.661624</c:v>
                </c:pt>
                <c:pt idx="5282">
                  <c:v>2.662128</c:v>
                </c:pt>
                <c:pt idx="5283">
                  <c:v>2.662632</c:v>
                </c:pt>
                <c:pt idx="5284">
                  <c:v>2.663136</c:v>
                </c:pt>
                <c:pt idx="5285">
                  <c:v>2.66364</c:v>
                </c:pt>
                <c:pt idx="5286">
                  <c:v>2.664144</c:v>
                </c:pt>
                <c:pt idx="5287">
                  <c:v>2.664648</c:v>
                </c:pt>
                <c:pt idx="5288">
                  <c:v>2.665152</c:v>
                </c:pt>
                <c:pt idx="5289">
                  <c:v>2.665656</c:v>
                </c:pt>
                <c:pt idx="5290">
                  <c:v>2.66616</c:v>
                </c:pt>
                <c:pt idx="5291">
                  <c:v>2.666664</c:v>
                </c:pt>
                <c:pt idx="5292">
                  <c:v>2.667168</c:v>
                </c:pt>
                <c:pt idx="5293">
                  <c:v>2.667672</c:v>
                </c:pt>
                <c:pt idx="5294">
                  <c:v>2.668176</c:v>
                </c:pt>
                <c:pt idx="5295">
                  <c:v>2.66868</c:v>
                </c:pt>
                <c:pt idx="5296">
                  <c:v>2.669184</c:v>
                </c:pt>
                <c:pt idx="5297">
                  <c:v>2.669688</c:v>
                </c:pt>
                <c:pt idx="5298">
                  <c:v>2.670192</c:v>
                </c:pt>
                <c:pt idx="5299">
                  <c:v>2.670696</c:v>
                </c:pt>
                <c:pt idx="5300">
                  <c:v>2.6712</c:v>
                </c:pt>
                <c:pt idx="5301">
                  <c:v>2.671704</c:v>
                </c:pt>
                <c:pt idx="5302">
                  <c:v>2.672208</c:v>
                </c:pt>
                <c:pt idx="5303">
                  <c:v>2.672712</c:v>
                </c:pt>
                <c:pt idx="5304">
                  <c:v>2.673216</c:v>
                </c:pt>
                <c:pt idx="5305">
                  <c:v>2.67372</c:v>
                </c:pt>
                <c:pt idx="5306">
                  <c:v>2.674224</c:v>
                </c:pt>
                <c:pt idx="5307">
                  <c:v>2.674728</c:v>
                </c:pt>
                <c:pt idx="5308">
                  <c:v>2.675232</c:v>
                </c:pt>
                <c:pt idx="5309">
                  <c:v>2.675736</c:v>
                </c:pt>
                <c:pt idx="5310">
                  <c:v>2.67624</c:v>
                </c:pt>
                <c:pt idx="5311">
                  <c:v>2.676744</c:v>
                </c:pt>
                <c:pt idx="5312">
                  <c:v>2.677248</c:v>
                </c:pt>
                <c:pt idx="5313">
                  <c:v>2.677752</c:v>
                </c:pt>
                <c:pt idx="5314">
                  <c:v>2.678256</c:v>
                </c:pt>
                <c:pt idx="5315">
                  <c:v>2.67876</c:v>
                </c:pt>
                <c:pt idx="5316">
                  <c:v>2.679264</c:v>
                </c:pt>
                <c:pt idx="5317">
                  <c:v>2.679768</c:v>
                </c:pt>
                <c:pt idx="5318">
                  <c:v>2.680272</c:v>
                </c:pt>
                <c:pt idx="5319">
                  <c:v>2.680776</c:v>
                </c:pt>
                <c:pt idx="5320">
                  <c:v>2.68128</c:v>
                </c:pt>
                <c:pt idx="5321">
                  <c:v>2.681784</c:v>
                </c:pt>
                <c:pt idx="5322">
                  <c:v>2.682288</c:v>
                </c:pt>
                <c:pt idx="5323">
                  <c:v>2.682792</c:v>
                </c:pt>
                <c:pt idx="5324">
                  <c:v>2.683296</c:v>
                </c:pt>
                <c:pt idx="5325">
                  <c:v>2.6838</c:v>
                </c:pt>
                <c:pt idx="5326">
                  <c:v>2.684304</c:v>
                </c:pt>
                <c:pt idx="5327">
                  <c:v>2.684808</c:v>
                </c:pt>
                <c:pt idx="5328">
                  <c:v>2.685312</c:v>
                </c:pt>
                <c:pt idx="5329">
                  <c:v>2.685816</c:v>
                </c:pt>
                <c:pt idx="5330">
                  <c:v>2.68632</c:v>
                </c:pt>
                <c:pt idx="5331">
                  <c:v>2.686824</c:v>
                </c:pt>
                <c:pt idx="5332">
                  <c:v>2.687328</c:v>
                </c:pt>
                <c:pt idx="5333">
                  <c:v>2.687832</c:v>
                </c:pt>
                <c:pt idx="5334">
                  <c:v>2.688336</c:v>
                </c:pt>
                <c:pt idx="5335">
                  <c:v>2.68884</c:v>
                </c:pt>
                <c:pt idx="5336">
                  <c:v>2.689344</c:v>
                </c:pt>
                <c:pt idx="5337">
                  <c:v>2.689848</c:v>
                </c:pt>
                <c:pt idx="5338">
                  <c:v>2.690352</c:v>
                </c:pt>
                <c:pt idx="5339">
                  <c:v>2.690856</c:v>
                </c:pt>
                <c:pt idx="5340">
                  <c:v>2.69136</c:v>
                </c:pt>
                <c:pt idx="5341">
                  <c:v>2.691864</c:v>
                </c:pt>
                <c:pt idx="5342">
                  <c:v>2.692368</c:v>
                </c:pt>
                <c:pt idx="5343">
                  <c:v>2.692872</c:v>
                </c:pt>
                <c:pt idx="5344">
                  <c:v>2.693376</c:v>
                </c:pt>
                <c:pt idx="5345">
                  <c:v>2.69388</c:v>
                </c:pt>
                <c:pt idx="5346">
                  <c:v>2.694384</c:v>
                </c:pt>
                <c:pt idx="5347">
                  <c:v>2.694888</c:v>
                </c:pt>
                <c:pt idx="5348">
                  <c:v>2.695392</c:v>
                </c:pt>
                <c:pt idx="5349">
                  <c:v>2.695896</c:v>
                </c:pt>
                <c:pt idx="5350">
                  <c:v>2.6964</c:v>
                </c:pt>
                <c:pt idx="5351">
                  <c:v>2.696904</c:v>
                </c:pt>
                <c:pt idx="5352">
                  <c:v>2.697408</c:v>
                </c:pt>
                <c:pt idx="5353">
                  <c:v>2.697912</c:v>
                </c:pt>
                <c:pt idx="5354">
                  <c:v>2.698416</c:v>
                </c:pt>
                <c:pt idx="5355">
                  <c:v>2.69892</c:v>
                </c:pt>
                <c:pt idx="5356">
                  <c:v>2.699424</c:v>
                </c:pt>
                <c:pt idx="5357">
                  <c:v>2.699928</c:v>
                </c:pt>
                <c:pt idx="5358">
                  <c:v>2.700432</c:v>
                </c:pt>
                <c:pt idx="5359">
                  <c:v>2.700936</c:v>
                </c:pt>
                <c:pt idx="5360">
                  <c:v>2.70144</c:v>
                </c:pt>
                <c:pt idx="5361">
                  <c:v>2.701944</c:v>
                </c:pt>
                <c:pt idx="5362">
                  <c:v>2.702448</c:v>
                </c:pt>
                <c:pt idx="5363">
                  <c:v>2.702952</c:v>
                </c:pt>
                <c:pt idx="5364">
                  <c:v>2.703456</c:v>
                </c:pt>
                <c:pt idx="5365">
                  <c:v>2.70396</c:v>
                </c:pt>
                <c:pt idx="5366">
                  <c:v>2.704464</c:v>
                </c:pt>
                <c:pt idx="5367">
                  <c:v>2.704968</c:v>
                </c:pt>
                <c:pt idx="5368">
                  <c:v>2.705472</c:v>
                </c:pt>
                <c:pt idx="5369">
                  <c:v>2.705976</c:v>
                </c:pt>
                <c:pt idx="5370">
                  <c:v>2.70648</c:v>
                </c:pt>
                <c:pt idx="5371">
                  <c:v>2.706984</c:v>
                </c:pt>
                <c:pt idx="5372">
                  <c:v>2.707488</c:v>
                </c:pt>
                <c:pt idx="5373">
                  <c:v>2.707992</c:v>
                </c:pt>
                <c:pt idx="5374">
                  <c:v>2.708496</c:v>
                </c:pt>
                <c:pt idx="5375">
                  <c:v>2.709</c:v>
                </c:pt>
                <c:pt idx="5376">
                  <c:v>2.709504</c:v>
                </c:pt>
                <c:pt idx="5377">
                  <c:v>2.710008</c:v>
                </c:pt>
                <c:pt idx="5378">
                  <c:v>2.710512</c:v>
                </c:pt>
                <c:pt idx="5379">
                  <c:v>2.711016</c:v>
                </c:pt>
                <c:pt idx="5380">
                  <c:v>2.71152</c:v>
                </c:pt>
                <c:pt idx="5381">
                  <c:v>2.712024</c:v>
                </c:pt>
                <c:pt idx="5382">
                  <c:v>2.712528</c:v>
                </c:pt>
                <c:pt idx="5383">
                  <c:v>2.713032</c:v>
                </c:pt>
                <c:pt idx="5384">
                  <c:v>2.713536</c:v>
                </c:pt>
                <c:pt idx="5385">
                  <c:v>2.71404</c:v>
                </c:pt>
                <c:pt idx="5386">
                  <c:v>2.714544</c:v>
                </c:pt>
                <c:pt idx="5387">
                  <c:v>2.715048</c:v>
                </c:pt>
                <c:pt idx="5388">
                  <c:v>2.715552</c:v>
                </c:pt>
                <c:pt idx="5389">
                  <c:v>2.716056</c:v>
                </c:pt>
                <c:pt idx="5390">
                  <c:v>2.71656</c:v>
                </c:pt>
                <c:pt idx="5391">
                  <c:v>2.717064</c:v>
                </c:pt>
                <c:pt idx="5392">
                  <c:v>2.717568</c:v>
                </c:pt>
                <c:pt idx="5393">
                  <c:v>2.718072</c:v>
                </c:pt>
                <c:pt idx="5394">
                  <c:v>2.718576</c:v>
                </c:pt>
                <c:pt idx="5395">
                  <c:v>2.71908</c:v>
                </c:pt>
                <c:pt idx="5396">
                  <c:v>2.719584</c:v>
                </c:pt>
                <c:pt idx="5397">
                  <c:v>2.720088</c:v>
                </c:pt>
                <c:pt idx="5398">
                  <c:v>2.720592</c:v>
                </c:pt>
                <c:pt idx="5399">
                  <c:v>2.721096</c:v>
                </c:pt>
                <c:pt idx="5400">
                  <c:v>2.7216</c:v>
                </c:pt>
                <c:pt idx="5401">
                  <c:v>2.722104</c:v>
                </c:pt>
                <c:pt idx="5402">
                  <c:v>2.722608</c:v>
                </c:pt>
                <c:pt idx="5403">
                  <c:v>2.723112</c:v>
                </c:pt>
                <c:pt idx="5404">
                  <c:v>2.723616</c:v>
                </c:pt>
                <c:pt idx="5405">
                  <c:v>2.72412</c:v>
                </c:pt>
                <c:pt idx="5406">
                  <c:v>2.724624</c:v>
                </c:pt>
                <c:pt idx="5407">
                  <c:v>2.725128</c:v>
                </c:pt>
                <c:pt idx="5408">
                  <c:v>2.725632</c:v>
                </c:pt>
                <c:pt idx="5409">
                  <c:v>2.726136</c:v>
                </c:pt>
                <c:pt idx="5410">
                  <c:v>2.72664</c:v>
                </c:pt>
                <c:pt idx="5411">
                  <c:v>2.727144</c:v>
                </c:pt>
                <c:pt idx="5412">
                  <c:v>2.727648</c:v>
                </c:pt>
                <c:pt idx="5413">
                  <c:v>2.728152</c:v>
                </c:pt>
                <c:pt idx="5414">
                  <c:v>2.728656</c:v>
                </c:pt>
                <c:pt idx="5415">
                  <c:v>2.72916</c:v>
                </c:pt>
                <c:pt idx="5416">
                  <c:v>2.729664</c:v>
                </c:pt>
                <c:pt idx="5417">
                  <c:v>2.730168</c:v>
                </c:pt>
                <c:pt idx="5418">
                  <c:v>2.730672</c:v>
                </c:pt>
                <c:pt idx="5419">
                  <c:v>2.731176</c:v>
                </c:pt>
                <c:pt idx="5420">
                  <c:v>2.73168</c:v>
                </c:pt>
                <c:pt idx="5421">
                  <c:v>2.732184</c:v>
                </c:pt>
                <c:pt idx="5422">
                  <c:v>2.732688</c:v>
                </c:pt>
                <c:pt idx="5423">
                  <c:v>2.733192</c:v>
                </c:pt>
                <c:pt idx="5424">
                  <c:v>2.733696</c:v>
                </c:pt>
                <c:pt idx="5425">
                  <c:v>2.7342</c:v>
                </c:pt>
                <c:pt idx="5426">
                  <c:v>2.734704</c:v>
                </c:pt>
                <c:pt idx="5427">
                  <c:v>2.735208</c:v>
                </c:pt>
                <c:pt idx="5428">
                  <c:v>2.735712</c:v>
                </c:pt>
                <c:pt idx="5429">
                  <c:v>2.736216</c:v>
                </c:pt>
                <c:pt idx="5430">
                  <c:v>2.73672</c:v>
                </c:pt>
                <c:pt idx="5431">
                  <c:v>2.737224</c:v>
                </c:pt>
                <c:pt idx="5432">
                  <c:v>2.737728</c:v>
                </c:pt>
                <c:pt idx="5433">
                  <c:v>2.738232</c:v>
                </c:pt>
                <c:pt idx="5434">
                  <c:v>2.738736</c:v>
                </c:pt>
                <c:pt idx="5435">
                  <c:v>2.73924</c:v>
                </c:pt>
                <c:pt idx="5436">
                  <c:v>2.739744</c:v>
                </c:pt>
                <c:pt idx="5437">
                  <c:v>2.740248</c:v>
                </c:pt>
                <c:pt idx="5438">
                  <c:v>2.740752</c:v>
                </c:pt>
                <c:pt idx="5439">
                  <c:v>2.741256</c:v>
                </c:pt>
                <c:pt idx="5440">
                  <c:v>2.74176</c:v>
                </c:pt>
                <c:pt idx="5441">
                  <c:v>2.742264</c:v>
                </c:pt>
                <c:pt idx="5442">
                  <c:v>2.742768</c:v>
                </c:pt>
                <c:pt idx="5443">
                  <c:v>2.743272</c:v>
                </c:pt>
                <c:pt idx="5444">
                  <c:v>2.743776</c:v>
                </c:pt>
                <c:pt idx="5445">
                  <c:v>2.74428</c:v>
                </c:pt>
                <c:pt idx="5446">
                  <c:v>2.744784</c:v>
                </c:pt>
                <c:pt idx="5447">
                  <c:v>2.745288</c:v>
                </c:pt>
                <c:pt idx="5448">
                  <c:v>2.745792</c:v>
                </c:pt>
                <c:pt idx="5449">
                  <c:v>2.746296</c:v>
                </c:pt>
                <c:pt idx="5450">
                  <c:v>2.7468</c:v>
                </c:pt>
                <c:pt idx="5451">
                  <c:v>2.747304</c:v>
                </c:pt>
                <c:pt idx="5452">
                  <c:v>2.747808</c:v>
                </c:pt>
                <c:pt idx="5453">
                  <c:v>2.748312</c:v>
                </c:pt>
                <c:pt idx="5454">
                  <c:v>2.748816</c:v>
                </c:pt>
                <c:pt idx="5455">
                  <c:v>2.74932</c:v>
                </c:pt>
                <c:pt idx="5456">
                  <c:v>2.749824</c:v>
                </c:pt>
                <c:pt idx="5457">
                  <c:v>2.750328</c:v>
                </c:pt>
                <c:pt idx="5458">
                  <c:v>2.750832</c:v>
                </c:pt>
                <c:pt idx="5459">
                  <c:v>2.751336</c:v>
                </c:pt>
                <c:pt idx="5460">
                  <c:v>2.75184</c:v>
                </c:pt>
                <c:pt idx="5461">
                  <c:v>2.752344</c:v>
                </c:pt>
                <c:pt idx="5462">
                  <c:v>2.752848</c:v>
                </c:pt>
                <c:pt idx="5463">
                  <c:v>2.753352</c:v>
                </c:pt>
                <c:pt idx="5464">
                  <c:v>2.753856</c:v>
                </c:pt>
                <c:pt idx="5465">
                  <c:v>2.75436</c:v>
                </c:pt>
                <c:pt idx="5466">
                  <c:v>2.754864</c:v>
                </c:pt>
                <c:pt idx="5467">
                  <c:v>2.755368</c:v>
                </c:pt>
                <c:pt idx="5468">
                  <c:v>2.755872</c:v>
                </c:pt>
                <c:pt idx="5469">
                  <c:v>2.756376</c:v>
                </c:pt>
                <c:pt idx="5470">
                  <c:v>2.75688</c:v>
                </c:pt>
                <c:pt idx="5471">
                  <c:v>2.757384</c:v>
                </c:pt>
                <c:pt idx="5472">
                  <c:v>2.757888</c:v>
                </c:pt>
                <c:pt idx="5473">
                  <c:v>2.758392</c:v>
                </c:pt>
                <c:pt idx="5474">
                  <c:v>2.758896</c:v>
                </c:pt>
                <c:pt idx="5475">
                  <c:v>2.7594</c:v>
                </c:pt>
                <c:pt idx="5476">
                  <c:v>2.759904</c:v>
                </c:pt>
                <c:pt idx="5477">
                  <c:v>2.760408</c:v>
                </c:pt>
                <c:pt idx="5478">
                  <c:v>2.760912</c:v>
                </c:pt>
                <c:pt idx="5479">
                  <c:v>2.761416</c:v>
                </c:pt>
                <c:pt idx="5480">
                  <c:v>2.76192</c:v>
                </c:pt>
                <c:pt idx="5481">
                  <c:v>2.762424</c:v>
                </c:pt>
                <c:pt idx="5482">
                  <c:v>2.762928</c:v>
                </c:pt>
                <c:pt idx="5483">
                  <c:v>2.763432</c:v>
                </c:pt>
                <c:pt idx="5484">
                  <c:v>2.763936</c:v>
                </c:pt>
                <c:pt idx="5485">
                  <c:v>2.76444</c:v>
                </c:pt>
                <c:pt idx="5486">
                  <c:v>2.764944</c:v>
                </c:pt>
                <c:pt idx="5487">
                  <c:v>2.765448</c:v>
                </c:pt>
                <c:pt idx="5488">
                  <c:v>2.765952</c:v>
                </c:pt>
                <c:pt idx="5489">
                  <c:v>2.766456</c:v>
                </c:pt>
                <c:pt idx="5490">
                  <c:v>2.76696</c:v>
                </c:pt>
                <c:pt idx="5491">
                  <c:v>2.767464</c:v>
                </c:pt>
                <c:pt idx="5492">
                  <c:v>2.767968</c:v>
                </c:pt>
                <c:pt idx="5493">
                  <c:v>2.768472</c:v>
                </c:pt>
                <c:pt idx="5494">
                  <c:v>2.768976</c:v>
                </c:pt>
                <c:pt idx="5495">
                  <c:v>2.76948</c:v>
                </c:pt>
                <c:pt idx="5496">
                  <c:v>2.769984</c:v>
                </c:pt>
                <c:pt idx="5497">
                  <c:v>2.770488</c:v>
                </c:pt>
                <c:pt idx="5498">
                  <c:v>2.770992</c:v>
                </c:pt>
                <c:pt idx="5499">
                  <c:v>2.771496</c:v>
                </c:pt>
                <c:pt idx="5500">
                  <c:v>2.772</c:v>
                </c:pt>
                <c:pt idx="5501">
                  <c:v>2.772504</c:v>
                </c:pt>
                <c:pt idx="5502">
                  <c:v>2.773008</c:v>
                </c:pt>
                <c:pt idx="5503">
                  <c:v>2.773512</c:v>
                </c:pt>
                <c:pt idx="5504">
                  <c:v>2.774016</c:v>
                </c:pt>
                <c:pt idx="5505">
                  <c:v>2.77452</c:v>
                </c:pt>
                <c:pt idx="5506">
                  <c:v>2.775024</c:v>
                </c:pt>
                <c:pt idx="5507">
                  <c:v>2.775528</c:v>
                </c:pt>
                <c:pt idx="5508">
                  <c:v>2.776032</c:v>
                </c:pt>
                <c:pt idx="5509">
                  <c:v>2.776536</c:v>
                </c:pt>
                <c:pt idx="5510">
                  <c:v>2.77704</c:v>
                </c:pt>
                <c:pt idx="5511">
                  <c:v>2.777544</c:v>
                </c:pt>
                <c:pt idx="5512">
                  <c:v>2.778048</c:v>
                </c:pt>
                <c:pt idx="5513">
                  <c:v>2.778552</c:v>
                </c:pt>
                <c:pt idx="5514">
                  <c:v>2.779056</c:v>
                </c:pt>
                <c:pt idx="5515">
                  <c:v>2.77956</c:v>
                </c:pt>
                <c:pt idx="5516">
                  <c:v>2.780064</c:v>
                </c:pt>
                <c:pt idx="5517">
                  <c:v>2.780568</c:v>
                </c:pt>
                <c:pt idx="5518">
                  <c:v>2.781072</c:v>
                </c:pt>
                <c:pt idx="5519">
                  <c:v>2.781576</c:v>
                </c:pt>
                <c:pt idx="5520">
                  <c:v>2.78208</c:v>
                </c:pt>
                <c:pt idx="5521">
                  <c:v>2.782584</c:v>
                </c:pt>
                <c:pt idx="5522">
                  <c:v>2.783088</c:v>
                </c:pt>
                <c:pt idx="5523">
                  <c:v>2.783592</c:v>
                </c:pt>
                <c:pt idx="5524">
                  <c:v>2.784096</c:v>
                </c:pt>
                <c:pt idx="5525">
                  <c:v>2.7846</c:v>
                </c:pt>
                <c:pt idx="5526">
                  <c:v>2.785104</c:v>
                </c:pt>
                <c:pt idx="5527">
                  <c:v>2.785608</c:v>
                </c:pt>
                <c:pt idx="5528">
                  <c:v>2.786112</c:v>
                </c:pt>
                <c:pt idx="5529">
                  <c:v>2.786616</c:v>
                </c:pt>
                <c:pt idx="5530">
                  <c:v>2.78712</c:v>
                </c:pt>
                <c:pt idx="5531">
                  <c:v>2.787624</c:v>
                </c:pt>
                <c:pt idx="5532">
                  <c:v>2.788128</c:v>
                </c:pt>
                <c:pt idx="5533">
                  <c:v>2.788632</c:v>
                </c:pt>
                <c:pt idx="5534">
                  <c:v>2.789136</c:v>
                </c:pt>
                <c:pt idx="5535">
                  <c:v>2.78964</c:v>
                </c:pt>
                <c:pt idx="5536">
                  <c:v>2.790144</c:v>
                </c:pt>
                <c:pt idx="5537">
                  <c:v>2.790648</c:v>
                </c:pt>
                <c:pt idx="5538">
                  <c:v>2.791152</c:v>
                </c:pt>
                <c:pt idx="5539">
                  <c:v>2.791656</c:v>
                </c:pt>
                <c:pt idx="5540">
                  <c:v>2.79216</c:v>
                </c:pt>
                <c:pt idx="5541">
                  <c:v>2.792664</c:v>
                </c:pt>
                <c:pt idx="5542">
                  <c:v>2.793168</c:v>
                </c:pt>
                <c:pt idx="5543">
                  <c:v>2.793672</c:v>
                </c:pt>
                <c:pt idx="5544">
                  <c:v>2.794176</c:v>
                </c:pt>
                <c:pt idx="5545">
                  <c:v>2.79468</c:v>
                </c:pt>
                <c:pt idx="5546">
                  <c:v>2.795184</c:v>
                </c:pt>
                <c:pt idx="5547">
                  <c:v>2.795688</c:v>
                </c:pt>
                <c:pt idx="5548">
                  <c:v>2.796192</c:v>
                </c:pt>
                <c:pt idx="5549">
                  <c:v>2.796696</c:v>
                </c:pt>
                <c:pt idx="5550">
                  <c:v>2.7972</c:v>
                </c:pt>
                <c:pt idx="5551">
                  <c:v>2.797704</c:v>
                </c:pt>
                <c:pt idx="5552">
                  <c:v>2.798208</c:v>
                </c:pt>
                <c:pt idx="5553">
                  <c:v>2.798712</c:v>
                </c:pt>
                <c:pt idx="5554">
                  <c:v>2.799216</c:v>
                </c:pt>
                <c:pt idx="5555">
                  <c:v>2.79972</c:v>
                </c:pt>
                <c:pt idx="5556">
                  <c:v>2.800224</c:v>
                </c:pt>
                <c:pt idx="5557">
                  <c:v>2.800728</c:v>
                </c:pt>
                <c:pt idx="5558">
                  <c:v>2.801232</c:v>
                </c:pt>
                <c:pt idx="5559">
                  <c:v>2.801736</c:v>
                </c:pt>
                <c:pt idx="5560">
                  <c:v>2.80224</c:v>
                </c:pt>
                <c:pt idx="5561">
                  <c:v>2.802744</c:v>
                </c:pt>
                <c:pt idx="5562">
                  <c:v>2.803248</c:v>
                </c:pt>
                <c:pt idx="5563">
                  <c:v>2.803752</c:v>
                </c:pt>
                <c:pt idx="5564">
                  <c:v>2.804256</c:v>
                </c:pt>
                <c:pt idx="5565">
                  <c:v>2.80476</c:v>
                </c:pt>
                <c:pt idx="5566">
                  <c:v>2.805264</c:v>
                </c:pt>
                <c:pt idx="5567">
                  <c:v>2.805768</c:v>
                </c:pt>
                <c:pt idx="5568">
                  <c:v>2.806272</c:v>
                </c:pt>
                <c:pt idx="5569">
                  <c:v>2.806776</c:v>
                </c:pt>
                <c:pt idx="5570">
                  <c:v>2.80728</c:v>
                </c:pt>
                <c:pt idx="5571">
                  <c:v>2.807784</c:v>
                </c:pt>
                <c:pt idx="5572">
                  <c:v>2.808288</c:v>
                </c:pt>
                <c:pt idx="5573">
                  <c:v>2.808792</c:v>
                </c:pt>
                <c:pt idx="5574">
                  <c:v>2.809296</c:v>
                </c:pt>
                <c:pt idx="5575">
                  <c:v>2.8098</c:v>
                </c:pt>
                <c:pt idx="5576">
                  <c:v>2.810304</c:v>
                </c:pt>
                <c:pt idx="5577">
                  <c:v>2.810808</c:v>
                </c:pt>
                <c:pt idx="5578">
                  <c:v>2.811312</c:v>
                </c:pt>
                <c:pt idx="5579">
                  <c:v>2.811816</c:v>
                </c:pt>
                <c:pt idx="5580">
                  <c:v>2.81232</c:v>
                </c:pt>
                <c:pt idx="5581">
                  <c:v>2.812824</c:v>
                </c:pt>
                <c:pt idx="5582">
                  <c:v>2.813328</c:v>
                </c:pt>
                <c:pt idx="5583">
                  <c:v>2.813832</c:v>
                </c:pt>
                <c:pt idx="5584">
                  <c:v>2.814336</c:v>
                </c:pt>
                <c:pt idx="5585">
                  <c:v>2.81484</c:v>
                </c:pt>
                <c:pt idx="5586">
                  <c:v>2.815344</c:v>
                </c:pt>
                <c:pt idx="5587">
                  <c:v>2.815848</c:v>
                </c:pt>
                <c:pt idx="5588">
                  <c:v>2.816352</c:v>
                </c:pt>
                <c:pt idx="5589">
                  <c:v>2.816856</c:v>
                </c:pt>
                <c:pt idx="5590">
                  <c:v>2.81736</c:v>
                </c:pt>
                <c:pt idx="5591">
                  <c:v>2.817864</c:v>
                </c:pt>
                <c:pt idx="5592">
                  <c:v>2.818368</c:v>
                </c:pt>
                <c:pt idx="5593">
                  <c:v>2.818872</c:v>
                </c:pt>
                <c:pt idx="5594">
                  <c:v>2.819376</c:v>
                </c:pt>
                <c:pt idx="5595">
                  <c:v>2.81988</c:v>
                </c:pt>
                <c:pt idx="5596">
                  <c:v>2.820384</c:v>
                </c:pt>
                <c:pt idx="5597">
                  <c:v>2.820888</c:v>
                </c:pt>
                <c:pt idx="5598">
                  <c:v>2.821392</c:v>
                </c:pt>
                <c:pt idx="5599">
                  <c:v>2.821896</c:v>
                </c:pt>
                <c:pt idx="5600">
                  <c:v>2.8224</c:v>
                </c:pt>
                <c:pt idx="5601">
                  <c:v>2.822904</c:v>
                </c:pt>
                <c:pt idx="5602">
                  <c:v>2.823408</c:v>
                </c:pt>
                <c:pt idx="5603">
                  <c:v>2.823912</c:v>
                </c:pt>
                <c:pt idx="5604">
                  <c:v>2.824416</c:v>
                </c:pt>
                <c:pt idx="5605">
                  <c:v>2.82492</c:v>
                </c:pt>
                <c:pt idx="5606">
                  <c:v>2.825424</c:v>
                </c:pt>
                <c:pt idx="5607">
                  <c:v>2.825928</c:v>
                </c:pt>
                <c:pt idx="5608">
                  <c:v>2.826432</c:v>
                </c:pt>
                <c:pt idx="5609">
                  <c:v>2.826936</c:v>
                </c:pt>
                <c:pt idx="5610">
                  <c:v>2.82744</c:v>
                </c:pt>
                <c:pt idx="5611">
                  <c:v>2.827944</c:v>
                </c:pt>
                <c:pt idx="5612">
                  <c:v>2.828448</c:v>
                </c:pt>
                <c:pt idx="5613">
                  <c:v>2.828952</c:v>
                </c:pt>
                <c:pt idx="5614">
                  <c:v>2.829456</c:v>
                </c:pt>
                <c:pt idx="5615">
                  <c:v>2.82996</c:v>
                </c:pt>
                <c:pt idx="5616">
                  <c:v>2.830464</c:v>
                </c:pt>
                <c:pt idx="5617">
                  <c:v>2.830968</c:v>
                </c:pt>
                <c:pt idx="5618">
                  <c:v>2.831472</c:v>
                </c:pt>
                <c:pt idx="5619">
                  <c:v>2.831976</c:v>
                </c:pt>
                <c:pt idx="5620">
                  <c:v>2.83248</c:v>
                </c:pt>
                <c:pt idx="5621">
                  <c:v>2.832984</c:v>
                </c:pt>
                <c:pt idx="5622">
                  <c:v>2.833488</c:v>
                </c:pt>
                <c:pt idx="5623">
                  <c:v>2.833992</c:v>
                </c:pt>
                <c:pt idx="5624">
                  <c:v>2.834496</c:v>
                </c:pt>
                <c:pt idx="5625">
                  <c:v>2.835</c:v>
                </c:pt>
                <c:pt idx="5626">
                  <c:v>2.835504</c:v>
                </c:pt>
                <c:pt idx="5627">
                  <c:v>2.836008</c:v>
                </c:pt>
                <c:pt idx="5628">
                  <c:v>2.836512</c:v>
                </c:pt>
                <c:pt idx="5629">
                  <c:v>2.837016</c:v>
                </c:pt>
                <c:pt idx="5630">
                  <c:v>2.83752</c:v>
                </c:pt>
                <c:pt idx="5631">
                  <c:v>2.838024</c:v>
                </c:pt>
                <c:pt idx="5632">
                  <c:v>2.838528</c:v>
                </c:pt>
                <c:pt idx="5633">
                  <c:v>2.839032</c:v>
                </c:pt>
                <c:pt idx="5634">
                  <c:v>2.839536</c:v>
                </c:pt>
                <c:pt idx="5635">
                  <c:v>2.84004</c:v>
                </c:pt>
                <c:pt idx="5636">
                  <c:v>2.840544</c:v>
                </c:pt>
                <c:pt idx="5637">
                  <c:v>2.841048</c:v>
                </c:pt>
                <c:pt idx="5638">
                  <c:v>2.841552</c:v>
                </c:pt>
                <c:pt idx="5639">
                  <c:v>2.842056</c:v>
                </c:pt>
                <c:pt idx="5640">
                  <c:v>2.84256</c:v>
                </c:pt>
                <c:pt idx="5641">
                  <c:v>2.843064</c:v>
                </c:pt>
                <c:pt idx="5642">
                  <c:v>2.843568</c:v>
                </c:pt>
                <c:pt idx="5643">
                  <c:v>2.844072</c:v>
                </c:pt>
                <c:pt idx="5644">
                  <c:v>2.844576</c:v>
                </c:pt>
                <c:pt idx="5645">
                  <c:v>2.84508</c:v>
                </c:pt>
                <c:pt idx="5646">
                  <c:v>2.845584</c:v>
                </c:pt>
                <c:pt idx="5647">
                  <c:v>2.846088</c:v>
                </c:pt>
                <c:pt idx="5648">
                  <c:v>2.846592</c:v>
                </c:pt>
                <c:pt idx="5649">
                  <c:v>2.847096</c:v>
                </c:pt>
                <c:pt idx="5650">
                  <c:v>2.8476</c:v>
                </c:pt>
                <c:pt idx="5651">
                  <c:v>2.848104</c:v>
                </c:pt>
                <c:pt idx="5652">
                  <c:v>2.848608</c:v>
                </c:pt>
                <c:pt idx="5653">
                  <c:v>2.849112</c:v>
                </c:pt>
                <c:pt idx="5654">
                  <c:v>2.849616</c:v>
                </c:pt>
                <c:pt idx="5655">
                  <c:v>2.85012</c:v>
                </c:pt>
                <c:pt idx="5656">
                  <c:v>2.850624</c:v>
                </c:pt>
                <c:pt idx="5657">
                  <c:v>2.851128</c:v>
                </c:pt>
                <c:pt idx="5658">
                  <c:v>2.851632</c:v>
                </c:pt>
                <c:pt idx="5659">
                  <c:v>2.852136</c:v>
                </c:pt>
                <c:pt idx="5660">
                  <c:v>2.85264</c:v>
                </c:pt>
                <c:pt idx="5661">
                  <c:v>2.853144</c:v>
                </c:pt>
                <c:pt idx="5662">
                  <c:v>2.853648</c:v>
                </c:pt>
                <c:pt idx="5663">
                  <c:v>2.854152</c:v>
                </c:pt>
                <c:pt idx="5664">
                  <c:v>2.854656</c:v>
                </c:pt>
                <c:pt idx="5665">
                  <c:v>2.85516</c:v>
                </c:pt>
                <c:pt idx="5666">
                  <c:v>2.855664</c:v>
                </c:pt>
                <c:pt idx="5667">
                  <c:v>2.856168</c:v>
                </c:pt>
                <c:pt idx="5668">
                  <c:v>2.856672</c:v>
                </c:pt>
                <c:pt idx="5669">
                  <c:v>2.857176</c:v>
                </c:pt>
                <c:pt idx="5670">
                  <c:v>2.85768</c:v>
                </c:pt>
                <c:pt idx="5671">
                  <c:v>2.858184</c:v>
                </c:pt>
                <c:pt idx="5672">
                  <c:v>2.858688</c:v>
                </c:pt>
                <c:pt idx="5673">
                  <c:v>2.859192</c:v>
                </c:pt>
                <c:pt idx="5674">
                  <c:v>2.859696</c:v>
                </c:pt>
                <c:pt idx="5675">
                  <c:v>2.8602</c:v>
                </c:pt>
                <c:pt idx="5676">
                  <c:v>2.860704</c:v>
                </c:pt>
                <c:pt idx="5677">
                  <c:v>2.861208</c:v>
                </c:pt>
                <c:pt idx="5678">
                  <c:v>2.861712</c:v>
                </c:pt>
                <c:pt idx="5679">
                  <c:v>2.862216</c:v>
                </c:pt>
                <c:pt idx="5680">
                  <c:v>2.86272</c:v>
                </c:pt>
                <c:pt idx="5681">
                  <c:v>2.863224</c:v>
                </c:pt>
                <c:pt idx="5682">
                  <c:v>2.863728</c:v>
                </c:pt>
                <c:pt idx="5683">
                  <c:v>2.864232</c:v>
                </c:pt>
                <c:pt idx="5684">
                  <c:v>2.864736</c:v>
                </c:pt>
                <c:pt idx="5685">
                  <c:v>2.86524</c:v>
                </c:pt>
                <c:pt idx="5686">
                  <c:v>2.865744</c:v>
                </c:pt>
                <c:pt idx="5687">
                  <c:v>2.866248</c:v>
                </c:pt>
                <c:pt idx="5688">
                  <c:v>2.866752</c:v>
                </c:pt>
                <c:pt idx="5689">
                  <c:v>2.867256</c:v>
                </c:pt>
                <c:pt idx="5690">
                  <c:v>2.86776</c:v>
                </c:pt>
                <c:pt idx="5691">
                  <c:v>2.868264</c:v>
                </c:pt>
                <c:pt idx="5692">
                  <c:v>2.868768</c:v>
                </c:pt>
                <c:pt idx="5693">
                  <c:v>2.869272</c:v>
                </c:pt>
                <c:pt idx="5694">
                  <c:v>2.869776</c:v>
                </c:pt>
                <c:pt idx="5695">
                  <c:v>2.87028</c:v>
                </c:pt>
                <c:pt idx="5696">
                  <c:v>2.870784</c:v>
                </c:pt>
                <c:pt idx="5697">
                  <c:v>2.871288</c:v>
                </c:pt>
                <c:pt idx="5698">
                  <c:v>2.871792</c:v>
                </c:pt>
                <c:pt idx="5699">
                  <c:v>2.872296</c:v>
                </c:pt>
                <c:pt idx="5700">
                  <c:v>2.8728</c:v>
                </c:pt>
                <c:pt idx="5701">
                  <c:v>2.873304</c:v>
                </c:pt>
                <c:pt idx="5702">
                  <c:v>2.873808</c:v>
                </c:pt>
                <c:pt idx="5703">
                  <c:v>2.874312</c:v>
                </c:pt>
                <c:pt idx="5704">
                  <c:v>2.874816</c:v>
                </c:pt>
                <c:pt idx="5705">
                  <c:v>2.87532</c:v>
                </c:pt>
                <c:pt idx="5706">
                  <c:v>2.875824</c:v>
                </c:pt>
                <c:pt idx="5707">
                  <c:v>2.876328</c:v>
                </c:pt>
                <c:pt idx="5708">
                  <c:v>2.876832</c:v>
                </c:pt>
                <c:pt idx="5709">
                  <c:v>2.877336</c:v>
                </c:pt>
                <c:pt idx="5710">
                  <c:v>2.87784</c:v>
                </c:pt>
                <c:pt idx="5711">
                  <c:v>2.878344</c:v>
                </c:pt>
                <c:pt idx="5712">
                  <c:v>2.878848</c:v>
                </c:pt>
                <c:pt idx="5713">
                  <c:v>2.879352</c:v>
                </c:pt>
                <c:pt idx="5714">
                  <c:v>2.879856</c:v>
                </c:pt>
                <c:pt idx="5715">
                  <c:v>2.88036</c:v>
                </c:pt>
                <c:pt idx="5716">
                  <c:v>2.880864</c:v>
                </c:pt>
                <c:pt idx="5717">
                  <c:v>2.881368</c:v>
                </c:pt>
                <c:pt idx="5718">
                  <c:v>2.881872</c:v>
                </c:pt>
                <c:pt idx="5719">
                  <c:v>2.882376</c:v>
                </c:pt>
                <c:pt idx="5720">
                  <c:v>2.88288</c:v>
                </c:pt>
                <c:pt idx="5721">
                  <c:v>2.883384</c:v>
                </c:pt>
                <c:pt idx="5722">
                  <c:v>2.883888</c:v>
                </c:pt>
                <c:pt idx="5723">
                  <c:v>2.884392</c:v>
                </c:pt>
                <c:pt idx="5724">
                  <c:v>2.884896</c:v>
                </c:pt>
                <c:pt idx="5725">
                  <c:v>2.8854</c:v>
                </c:pt>
                <c:pt idx="5726">
                  <c:v>2.885904</c:v>
                </c:pt>
                <c:pt idx="5727">
                  <c:v>2.886408</c:v>
                </c:pt>
                <c:pt idx="5728">
                  <c:v>2.886912</c:v>
                </c:pt>
                <c:pt idx="5729">
                  <c:v>2.887416</c:v>
                </c:pt>
                <c:pt idx="5730">
                  <c:v>2.88792</c:v>
                </c:pt>
                <c:pt idx="5731">
                  <c:v>2.888424</c:v>
                </c:pt>
                <c:pt idx="5732">
                  <c:v>2.888928</c:v>
                </c:pt>
                <c:pt idx="5733">
                  <c:v>2.889432</c:v>
                </c:pt>
                <c:pt idx="5734">
                  <c:v>2.889936</c:v>
                </c:pt>
                <c:pt idx="5735">
                  <c:v>2.89044</c:v>
                </c:pt>
                <c:pt idx="5736">
                  <c:v>2.890944</c:v>
                </c:pt>
                <c:pt idx="5737">
                  <c:v>2.891448</c:v>
                </c:pt>
                <c:pt idx="5738">
                  <c:v>2.891952</c:v>
                </c:pt>
                <c:pt idx="5739">
                  <c:v>2.892456</c:v>
                </c:pt>
                <c:pt idx="5740">
                  <c:v>2.89296</c:v>
                </c:pt>
                <c:pt idx="5741">
                  <c:v>2.893464</c:v>
                </c:pt>
                <c:pt idx="5742">
                  <c:v>2.893968</c:v>
                </c:pt>
                <c:pt idx="5743">
                  <c:v>2.894472</c:v>
                </c:pt>
                <c:pt idx="5744">
                  <c:v>2.894976</c:v>
                </c:pt>
                <c:pt idx="5745">
                  <c:v>2.89548</c:v>
                </c:pt>
                <c:pt idx="5746">
                  <c:v>2.895984</c:v>
                </c:pt>
                <c:pt idx="5747">
                  <c:v>2.896488</c:v>
                </c:pt>
                <c:pt idx="5748">
                  <c:v>2.896992</c:v>
                </c:pt>
                <c:pt idx="5749">
                  <c:v>2.897496</c:v>
                </c:pt>
                <c:pt idx="5750">
                  <c:v>2.898</c:v>
                </c:pt>
                <c:pt idx="5751">
                  <c:v>2.898504</c:v>
                </c:pt>
                <c:pt idx="5752">
                  <c:v>2.899008</c:v>
                </c:pt>
                <c:pt idx="5753">
                  <c:v>2.899512</c:v>
                </c:pt>
                <c:pt idx="5754">
                  <c:v>2.900016</c:v>
                </c:pt>
                <c:pt idx="5755">
                  <c:v>2.90052</c:v>
                </c:pt>
                <c:pt idx="5756">
                  <c:v>2.901024</c:v>
                </c:pt>
                <c:pt idx="5757">
                  <c:v>2.901528</c:v>
                </c:pt>
                <c:pt idx="5758">
                  <c:v>2.902032</c:v>
                </c:pt>
                <c:pt idx="5759">
                  <c:v>2.902536</c:v>
                </c:pt>
                <c:pt idx="5760">
                  <c:v>2.90304</c:v>
                </c:pt>
                <c:pt idx="5761">
                  <c:v>2.903544</c:v>
                </c:pt>
                <c:pt idx="5762">
                  <c:v>2.904048</c:v>
                </c:pt>
                <c:pt idx="5763">
                  <c:v>2.904552</c:v>
                </c:pt>
                <c:pt idx="5764">
                  <c:v>2.905056</c:v>
                </c:pt>
                <c:pt idx="5765">
                  <c:v>2.90556</c:v>
                </c:pt>
                <c:pt idx="5766">
                  <c:v>2.906064</c:v>
                </c:pt>
                <c:pt idx="5767">
                  <c:v>2.906568</c:v>
                </c:pt>
                <c:pt idx="5768">
                  <c:v>2.907072</c:v>
                </c:pt>
                <c:pt idx="5769">
                  <c:v>2.907576</c:v>
                </c:pt>
                <c:pt idx="5770">
                  <c:v>2.90808</c:v>
                </c:pt>
                <c:pt idx="5771">
                  <c:v>2.908584</c:v>
                </c:pt>
                <c:pt idx="5772">
                  <c:v>2.909088</c:v>
                </c:pt>
                <c:pt idx="5773">
                  <c:v>2.909592</c:v>
                </c:pt>
                <c:pt idx="5774">
                  <c:v>2.910096</c:v>
                </c:pt>
                <c:pt idx="5775">
                  <c:v>2.9106</c:v>
                </c:pt>
                <c:pt idx="5776">
                  <c:v>2.911104</c:v>
                </c:pt>
                <c:pt idx="5777">
                  <c:v>2.911608</c:v>
                </c:pt>
                <c:pt idx="5778">
                  <c:v>2.912112</c:v>
                </c:pt>
                <c:pt idx="5779">
                  <c:v>2.912616</c:v>
                </c:pt>
                <c:pt idx="5780">
                  <c:v>2.91312</c:v>
                </c:pt>
                <c:pt idx="5781">
                  <c:v>2.913624</c:v>
                </c:pt>
                <c:pt idx="5782">
                  <c:v>2.914128</c:v>
                </c:pt>
                <c:pt idx="5783">
                  <c:v>2.914632</c:v>
                </c:pt>
                <c:pt idx="5784">
                  <c:v>2.915136</c:v>
                </c:pt>
                <c:pt idx="5785">
                  <c:v>2.91564</c:v>
                </c:pt>
                <c:pt idx="5786">
                  <c:v>2.916144</c:v>
                </c:pt>
                <c:pt idx="5787">
                  <c:v>2.916648</c:v>
                </c:pt>
                <c:pt idx="5788">
                  <c:v>2.917152</c:v>
                </c:pt>
                <c:pt idx="5789">
                  <c:v>2.917656</c:v>
                </c:pt>
                <c:pt idx="5790">
                  <c:v>2.91816</c:v>
                </c:pt>
                <c:pt idx="5791">
                  <c:v>2.918664</c:v>
                </c:pt>
                <c:pt idx="5792">
                  <c:v>2.919168</c:v>
                </c:pt>
                <c:pt idx="5793">
                  <c:v>2.919672</c:v>
                </c:pt>
                <c:pt idx="5794">
                  <c:v>2.920176</c:v>
                </c:pt>
                <c:pt idx="5795">
                  <c:v>2.92068</c:v>
                </c:pt>
                <c:pt idx="5796">
                  <c:v>2.921184</c:v>
                </c:pt>
                <c:pt idx="5797">
                  <c:v>2.921688</c:v>
                </c:pt>
                <c:pt idx="5798">
                  <c:v>2.922192</c:v>
                </c:pt>
                <c:pt idx="5799">
                  <c:v>2.922696</c:v>
                </c:pt>
                <c:pt idx="5800">
                  <c:v>2.9232</c:v>
                </c:pt>
                <c:pt idx="5801">
                  <c:v>2.923704</c:v>
                </c:pt>
                <c:pt idx="5802">
                  <c:v>2.924208</c:v>
                </c:pt>
                <c:pt idx="5803">
                  <c:v>2.924712</c:v>
                </c:pt>
                <c:pt idx="5804">
                  <c:v>2.925216</c:v>
                </c:pt>
                <c:pt idx="5805">
                  <c:v>2.92572</c:v>
                </c:pt>
                <c:pt idx="5806">
                  <c:v>2.926224</c:v>
                </c:pt>
                <c:pt idx="5807">
                  <c:v>2.926728</c:v>
                </c:pt>
                <c:pt idx="5808">
                  <c:v>2.927232</c:v>
                </c:pt>
                <c:pt idx="5809">
                  <c:v>2.927736</c:v>
                </c:pt>
                <c:pt idx="5810">
                  <c:v>2.92824</c:v>
                </c:pt>
                <c:pt idx="5811">
                  <c:v>2.928744</c:v>
                </c:pt>
                <c:pt idx="5812">
                  <c:v>2.929248</c:v>
                </c:pt>
                <c:pt idx="5813">
                  <c:v>2.929752</c:v>
                </c:pt>
                <c:pt idx="5814">
                  <c:v>2.930256</c:v>
                </c:pt>
                <c:pt idx="5815">
                  <c:v>2.93076</c:v>
                </c:pt>
                <c:pt idx="5816">
                  <c:v>2.931264</c:v>
                </c:pt>
                <c:pt idx="5817">
                  <c:v>2.931768</c:v>
                </c:pt>
                <c:pt idx="5818">
                  <c:v>2.932272</c:v>
                </c:pt>
                <c:pt idx="5819">
                  <c:v>2.932776</c:v>
                </c:pt>
                <c:pt idx="5820">
                  <c:v>2.93328</c:v>
                </c:pt>
                <c:pt idx="5821">
                  <c:v>2.933784</c:v>
                </c:pt>
                <c:pt idx="5822">
                  <c:v>2.934288</c:v>
                </c:pt>
                <c:pt idx="5823">
                  <c:v>2.934792</c:v>
                </c:pt>
                <c:pt idx="5824">
                  <c:v>2.935296</c:v>
                </c:pt>
                <c:pt idx="5825">
                  <c:v>2.9358</c:v>
                </c:pt>
                <c:pt idx="5826">
                  <c:v>2.936304</c:v>
                </c:pt>
                <c:pt idx="5827">
                  <c:v>2.936808</c:v>
                </c:pt>
                <c:pt idx="5828">
                  <c:v>2.937312</c:v>
                </c:pt>
                <c:pt idx="5829">
                  <c:v>2.937816</c:v>
                </c:pt>
                <c:pt idx="5830">
                  <c:v>2.93832</c:v>
                </c:pt>
                <c:pt idx="5831">
                  <c:v>2.938824</c:v>
                </c:pt>
                <c:pt idx="5832">
                  <c:v>2.939328</c:v>
                </c:pt>
                <c:pt idx="5833">
                  <c:v>2.939832</c:v>
                </c:pt>
                <c:pt idx="5834">
                  <c:v>2.940336</c:v>
                </c:pt>
                <c:pt idx="5835">
                  <c:v>2.94084</c:v>
                </c:pt>
                <c:pt idx="5836">
                  <c:v>2.941344</c:v>
                </c:pt>
                <c:pt idx="5837">
                  <c:v>2.941848</c:v>
                </c:pt>
                <c:pt idx="5838">
                  <c:v>2.942352</c:v>
                </c:pt>
                <c:pt idx="5839">
                  <c:v>2.942856</c:v>
                </c:pt>
                <c:pt idx="5840">
                  <c:v>2.94336</c:v>
                </c:pt>
                <c:pt idx="5841">
                  <c:v>2.943864</c:v>
                </c:pt>
                <c:pt idx="5842">
                  <c:v>2.944368</c:v>
                </c:pt>
                <c:pt idx="5843">
                  <c:v>2.944872</c:v>
                </c:pt>
                <c:pt idx="5844">
                  <c:v>2.945376</c:v>
                </c:pt>
                <c:pt idx="5845">
                  <c:v>2.94588</c:v>
                </c:pt>
                <c:pt idx="5846">
                  <c:v>2.946384</c:v>
                </c:pt>
                <c:pt idx="5847">
                  <c:v>2.946888</c:v>
                </c:pt>
                <c:pt idx="5848">
                  <c:v>2.947392</c:v>
                </c:pt>
                <c:pt idx="5849">
                  <c:v>2.947896</c:v>
                </c:pt>
                <c:pt idx="5850">
                  <c:v>2.9484</c:v>
                </c:pt>
                <c:pt idx="5851">
                  <c:v>2.948904</c:v>
                </c:pt>
                <c:pt idx="5852">
                  <c:v>2.949408</c:v>
                </c:pt>
                <c:pt idx="5853">
                  <c:v>2.949912</c:v>
                </c:pt>
                <c:pt idx="5854">
                  <c:v>2.950416</c:v>
                </c:pt>
                <c:pt idx="5855">
                  <c:v>2.95092</c:v>
                </c:pt>
                <c:pt idx="5856">
                  <c:v>2.951424</c:v>
                </c:pt>
                <c:pt idx="5857">
                  <c:v>2.951928</c:v>
                </c:pt>
                <c:pt idx="5858">
                  <c:v>2.952432</c:v>
                </c:pt>
                <c:pt idx="5859">
                  <c:v>2.952936</c:v>
                </c:pt>
                <c:pt idx="5860">
                  <c:v>2.95344</c:v>
                </c:pt>
                <c:pt idx="5861">
                  <c:v>2.953944</c:v>
                </c:pt>
                <c:pt idx="5862">
                  <c:v>2.954448</c:v>
                </c:pt>
                <c:pt idx="5863">
                  <c:v>2.954952</c:v>
                </c:pt>
                <c:pt idx="5864">
                  <c:v>2.955456</c:v>
                </c:pt>
                <c:pt idx="5865">
                  <c:v>2.95596</c:v>
                </c:pt>
                <c:pt idx="5866">
                  <c:v>2.956464</c:v>
                </c:pt>
                <c:pt idx="5867">
                  <c:v>2.956968</c:v>
                </c:pt>
                <c:pt idx="5868">
                  <c:v>2.957472</c:v>
                </c:pt>
                <c:pt idx="5869">
                  <c:v>2.957976</c:v>
                </c:pt>
                <c:pt idx="5870">
                  <c:v>2.95848</c:v>
                </c:pt>
                <c:pt idx="5871">
                  <c:v>2.958984</c:v>
                </c:pt>
                <c:pt idx="5872">
                  <c:v>2.959488</c:v>
                </c:pt>
                <c:pt idx="5873">
                  <c:v>2.959992</c:v>
                </c:pt>
                <c:pt idx="5874">
                  <c:v>2.960496</c:v>
                </c:pt>
                <c:pt idx="5875">
                  <c:v>2.961</c:v>
                </c:pt>
                <c:pt idx="5876">
                  <c:v>2.961504</c:v>
                </c:pt>
                <c:pt idx="5877">
                  <c:v>2.962008</c:v>
                </c:pt>
                <c:pt idx="5878">
                  <c:v>2.962512</c:v>
                </c:pt>
                <c:pt idx="5879">
                  <c:v>2.963016</c:v>
                </c:pt>
                <c:pt idx="5880">
                  <c:v>2.96352</c:v>
                </c:pt>
                <c:pt idx="5881">
                  <c:v>2.964024</c:v>
                </c:pt>
                <c:pt idx="5882">
                  <c:v>2.964528</c:v>
                </c:pt>
                <c:pt idx="5883">
                  <c:v>2.965032</c:v>
                </c:pt>
                <c:pt idx="5884">
                  <c:v>2.965536</c:v>
                </c:pt>
                <c:pt idx="5885">
                  <c:v>2.96604</c:v>
                </c:pt>
                <c:pt idx="5886">
                  <c:v>2.966544</c:v>
                </c:pt>
                <c:pt idx="5887">
                  <c:v>2.967048</c:v>
                </c:pt>
                <c:pt idx="5888">
                  <c:v>2.967552</c:v>
                </c:pt>
                <c:pt idx="5889">
                  <c:v>2.968056</c:v>
                </c:pt>
                <c:pt idx="5890">
                  <c:v>2.96856</c:v>
                </c:pt>
                <c:pt idx="5891">
                  <c:v>2.969064</c:v>
                </c:pt>
                <c:pt idx="5892">
                  <c:v>2.969568</c:v>
                </c:pt>
                <c:pt idx="5893">
                  <c:v>2.970072</c:v>
                </c:pt>
                <c:pt idx="5894">
                  <c:v>2.970576</c:v>
                </c:pt>
                <c:pt idx="5895">
                  <c:v>2.97108</c:v>
                </c:pt>
                <c:pt idx="5896">
                  <c:v>2.971584</c:v>
                </c:pt>
                <c:pt idx="5897">
                  <c:v>2.972088</c:v>
                </c:pt>
                <c:pt idx="5898">
                  <c:v>2.972592</c:v>
                </c:pt>
                <c:pt idx="5899">
                  <c:v>2.973096</c:v>
                </c:pt>
                <c:pt idx="5900">
                  <c:v>2.9736</c:v>
                </c:pt>
                <c:pt idx="5901">
                  <c:v>2.974104</c:v>
                </c:pt>
                <c:pt idx="5902">
                  <c:v>2.974608</c:v>
                </c:pt>
                <c:pt idx="5903">
                  <c:v>2.975112</c:v>
                </c:pt>
                <c:pt idx="5904">
                  <c:v>2.975616</c:v>
                </c:pt>
                <c:pt idx="5905">
                  <c:v>2.97612</c:v>
                </c:pt>
                <c:pt idx="5906">
                  <c:v>2.976624</c:v>
                </c:pt>
                <c:pt idx="5907">
                  <c:v>2.977128</c:v>
                </c:pt>
                <c:pt idx="5908">
                  <c:v>2.977632</c:v>
                </c:pt>
                <c:pt idx="5909">
                  <c:v>2.978136</c:v>
                </c:pt>
                <c:pt idx="5910">
                  <c:v>2.97864</c:v>
                </c:pt>
                <c:pt idx="5911">
                  <c:v>2.979144</c:v>
                </c:pt>
                <c:pt idx="5912">
                  <c:v>2.979648</c:v>
                </c:pt>
                <c:pt idx="5913">
                  <c:v>2.980152</c:v>
                </c:pt>
                <c:pt idx="5914">
                  <c:v>2.980656</c:v>
                </c:pt>
                <c:pt idx="5915">
                  <c:v>2.98116</c:v>
                </c:pt>
                <c:pt idx="5916">
                  <c:v>2.981664</c:v>
                </c:pt>
                <c:pt idx="5917">
                  <c:v>2.982168</c:v>
                </c:pt>
                <c:pt idx="5918">
                  <c:v>2.982672</c:v>
                </c:pt>
                <c:pt idx="5919">
                  <c:v>2.983176</c:v>
                </c:pt>
                <c:pt idx="5920">
                  <c:v>2.98368</c:v>
                </c:pt>
                <c:pt idx="5921">
                  <c:v>2.984184</c:v>
                </c:pt>
                <c:pt idx="5922">
                  <c:v>2.984688</c:v>
                </c:pt>
                <c:pt idx="5923">
                  <c:v>2.985192</c:v>
                </c:pt>
                <c:pt idx="5924">
                  <c:v>2.985696</c:v>
                </c:pt>
                <c:pt idx="5925">
                  <c:v>2.9862</c:v>
                </c:pt>
                <c:pt idx="5926">
                  <c:v>2.986704</c:v>
                </c:pt>
                <c:pt idx="5927">
                  <c:v>2.987208</c:v>
                </c:pt>
                <c:pt idx="5928">
                  <c:v>2.987712</c:v>
                </c:pt>
                <c:pt idx="5929">
                  <c:v>2.988216</c:v>
                </c:pt>
                <c:pt idx="5930">
                  <c:v>2.98872</c:v>
                </c:pt>
                <c:pt idx="5931">
                  <c:v>2.989224</c:v>
                </c:pt>
                <c:pt idx="5932">
                  <c:v>2.989728</c:v>
                </c:pt>
                <c:pt idx="5933">
                  <c:v>2.990232</c:v>
                </c:pt>
                <c:pt idx="5934">
                  <c:v>2.990736</c:v>
                </c:pt>
                <c:pt idx="5935">
                  <c:v>2.99124</c:v>
                </c:pt>
                <c:pt idx="5936">
                  <c:v>2.991744</c:v>
                </c:pt>
                <c:pt idx="5937">
                  <c:v>2.992248</c:v>
                </c:pt>
                <c:pt idx="5938">
                  <c:v>2.992752</c:v>
                </c:pt>
                <c:pt idx="5939">
                  <c:v>2.993256</c:v>
                </c:pt>
                <c:pt idx="5940">
                  <c:v>2.99376</c:v>
                </c:pt>
                <c:pt idx="5941">
                  <c:v>2.994264</c:v>
                </c:pt>
                <c:pt idx="5942">
                  <c:v>2.994768</c:v>
                </c:pt>
                <c:pt idx="5943">
                  <c:v>2.995272</c:v>
                </c:pt>
                <c:pt idx="5944">
                  <c:v>2.995776</c:v>
                </c:pt>
                <c:pt idx="5945">
                  <c:v>2.99628</c:v>
                </c:pt>
                <c:pt idx="5946">
                  <c:v>2.996784</c:v>
                </c:pt>
                <c:pt idx="5947">
                  <c:v>2.997288</c:v>
                </c:pt>
                <c:pt idx="5948">
                  <c:v>2.997792</c:v>
                </c:pt>
                <c:pt idx="5949">
                  <c:v>2.998296</c:v>
                </c:pt>
                <c:pt idx="5950">
                  <c:v>2.9988</c:v>
                </c:pt>
                <c:pt idx="5951">
                  <c:v>2.999304</c:v>
                </c:pt>
                <c:pt idx="5952">
                  <c:v>2.999808</c:v>
                </c:pt>
                <c:pt idx="5953">
                  <c:v>3.000312</c:v>
                </c:pt>
                <c:pt idx="5954">
                  <c:v>3.000816</c:v>
                </c:pt>
                <c:pt idx="5955">
                  <c:v>3.00132</c:v>
                </c:pt>
                <c:pt idx="5956">
                  <c:v>3.001824</c:v>
                </c:pt>
                <c:pt idx="5957">
                  <c:v>3.002328</c:v>
                </c:pt>
                <c:pt idx="5958">
                  <c:v>3.002832</c:v>
                </c:pt>
                <c:pt idx="5959">
                  <c:v>3.003336</c:v>
                </c:pt>
                <c:pt idx="5960">
                  <c:v>3.00384</c:v>
                </c:pt>
                <c:pt idx="5961">
                  <c:v>3.004344</c:v>
                </c:pt>
                <c:pt idx="5962">
                  <c:v>3.004848</c:v>
                </c:pt>
                <c:pt idx="5963">
                  <c:v>3.005352</c:v>
                </c:pt>
                <c:pt idx="5964">
                  <c:v>3.005856</c:v>
                </c:pt>
                <c:pt idx="5965">
                  <c:v>3.00636</c:v>
                </c:pt>
                <c:pt idx="5966">
                  <c:v>3.006864</c:v>
                </c:pt>
                <c:pt idx="5967">
                  <c:v>3.007368</c:v>
                </c:pt>
                <c:pt idx="5968">
                  <c:v>3.007872</c:v>
                </c:pt>
                <c:pt idx="5969">
                  <c:v>3.008376</c:v>
                </c:pt>
                <c:pt idx="5970">
                  <c:v>3.00888</c:v>
                </c:pt>
                <c:pt idx="5971">
                  <c:v>3.009384</c:v>
                </c:pt>
                <c:pt idx="5972">
                  <c:v>3.009888</c:v>
                </c:pt>
                <c:pt idx="5973">
                  <c:v>3.010392</c:v>
                </c:pt>
                <c:pt idx="5974">
                  <c:v>3.010896</c:v>
                </c:pt>
                <c:pt idx="5975">
                  <c:v>3.0114</c:v>
                </c:pt>
                <c:pt idx="5976">
                  <c:v>3.011904</c:v>
                </c:pt>
                <c:pt idx="5977">
                  <c:v>3.012408</c:v>
                </c:pt>
                <c:pt idx="5978">
                  <c:v>3.012912</c:v>
                </c:pt>
                <c:pt idx="5979">
                  <c:v>3.013416</c:v>
                </c:pt>
                <c:pt idx="5980">
                  <c:v>3.01392</c:v>
                </c:pt>
                <c:pt idx="5981">
                  <c:v>3.014424</c:v>
                </c:pt>
                <c:pt idx="5982">
                  <c:v>3.014928</c:v>
                </c:pt>
                <c:pt idx="5983">
                  <c:v>3.015432</c:v>
                </c:pt>
                <c:pt idx="5984">
                  <c:v>3.015936</c:v>
                </c:pt>
                <c:pt idx="5985">
                  <c:v>3.01644</c:v>
                </c:pt>
                <c:pt idx="5986">
                  <c:v>3.016944</c:v>
                </c:pt>
                <c:pt idx="5987">
                  <c:v>3.017448</c:v>
                </c:pt>
                <c:pt idx="5988">
                  <c:v>3.017952</c:v>
                </c:pt>
                <c:pt idx="5989">
                  <c:v>3.018456</c:v>
                </c:pt>
                <c:pt idx="5990">
                  <c:v>3.01896</c:v>
                </c:pt>
                <c:pt idx="5991">
                  <c:v>3.019464</c:v>
                </c:pt>
                <c:pt idx="5992">
                  <c:v>3.019968</c:v>
                </c:pt>
                <c:pt idx="5993">
                  <c:v>3.020472</c:v>
                </c:pt>
                <c:pt idx="5994">
                  <c:v>3.020976</c:v>
                </c:pt>
                <c:pt idx="5995">
                  <c:v>3.02148</c:v>
                </c:pt>
                <c:pt idx="5996">
                  <c:v>3.021984</c:v>
                </c:pt>
                <c:pt idx="5997">
                  <c:v>3.022488</c:v>
                </c:pt>
                <c:pt idx="5998">
                  <c:v>3.022992</c:v>
                </c:pt>
                <c:pt idx="5999">
                  <c:v>3.023496</c:v>
                </c:pt>
                <c:pt idx="6000">
                  <c:v>3.024</c:v>
                </c:pt>
                <c:pt idx="6001">
                  <c:v>3.024504</c:v>
                </c:pt>
                <c:pt idx="6002">
                  <c:v>3.025008</c:v>
                </c:pt>
                <c:pt idx="6003">
                  <c:v>3.025512</c:v>
                </c:pt>
                <c:pt idx="6004">
                  <c:v>3.026016</c:v>
                </c:pt>
                <c:pt idx="6005">
                  <c:v>3.02652</c:v>
                </c:pt>
                <c:pt idx="6006">
                  <c:v>3.027024</c:v>
                </c:pt>
                <c:pt idx="6007">
                  <c:v>3.027528</c:v>
                </c:pt>
                <c:pt idx="6008">
                  <c:v>3.028032</c:v>
                </c:pt>
                <c:pt idx="6009">
                  <c:v>3.028536</c:v>
                </c:pt>
                <c:pt idx="6010">
                  <c:v>3.02904</c:v>
                </c:pt>
                <c:pt idx="6011">
                  <c:v>3.029544</c:v>
                </c:pt>
                <c:pt idx="6012">
                  <c:v>3.030048</c:v>
                </c:pt>
                <c:pt idx="6013">
                  <c:v>3.030552</c:v>
                </c:pt>
                <c:pt idx="6014">
                  <c:v>3.031056</c:v>
                </c:pt>
                <c:pt idx="6015">
                  <c:v>3.03156</c:v>
                </c:pt>
                <c:pt idx="6016">
                  <c:v>3.032064</c:v>
                </c:pt>
                <c:pt idx="6017">
                  <c:v>3.032568</c:v>
                </c:pt>
                <c:pt idx="6018">
                  <c:v>3.033072</c:v>
                </c:pt>
                <c:pt idx="6019">
                  <c:v>3.033576</c:v>
                </c:pt>
                <c:pt idx="6020">
                  <c:v>3.03408</c:v>
                </c:pt>
                <c:pt idx="6021">
                  <c:v>3.034584</c:v>
                </c:pt>
                <c:pt idx="6022">
                  <c:v>3.035088</c:v>
                </c:pt>
                <c:pt idx="6023">
                  <c:v>3.035592</c:v>
                </c:pt>
                <c:pt idx="6024">
                  <c:v>3.036096</c:v>
                </c:pt>
                <c:pt idx="6025">
                  <c:v>3.0366</c:v>
                </c:pt>
                <c:pt idx="6026">
                  <c:v>3.037104</c:v>
                </c:pt>
                <c:pt idx="6027">
                  <c:v>3.037608</c:v>
                </c:pt>
                <c:pt idx="6028">
                  <c:v>3.038112</c:v>
                </c:pt>
                <c:pt idx="6029">
                  <c:v>3.038616</c:v>
                </c:pt>
                <c:pt idx="6030">
                  <c:v>3.03912</c:v>
                </c:pt>
                <c:pt idx="6031">
                  <c:v>3.039624</c:v>
                </c:pt>
                <c:pt idx="6032">
                  <c:v>3.040128</c:v>
                </c:pt>
                <c:pt idx="6033">
                  <c:v>3.040632</c:v>
                </c:pt>
                <c:pt idx="6034">
                  <c:v>3.041136</c:v>
                </c:pt>
                <c:pt idx="6035">
                  <c:v>3.04164</c:v>
                </c:pt>
                <c:pt idx="6036">
                  <c:v>3.042144</c:v>
                </c:pt>
                <c:pt idx="6037">
                  <c:v>3.042648</c:v>
                </c:pt>
                <c:pt idx="6038">
                  <c:v>3.043152</c:v>
                </c:pt>
                <c:pt idx="6039">
                  <c:v>3.043656</c:v>
                </c:pt>
                <c:pt idx="6040">
                  <c:v>3.04416</c:v>
                </c:pt>
                <c:pt idx="6041">
                  <c:v>3.044664</c:v>
                </c:pt>
                <c:pt idx="6042">
                  <c:v>3.045168</c:v>
                </c:pt>
                <c:pt idx="6043">
                  <c:v>3.045672</c:v>
                </c:pt>
                <c:pt idx="6044">
                  <c:v>3.046176</c:v>
                </c:pt>
                <c:pt idx="6045">
                  <c:v>3.04668</c:v>
                </c:pt>
                <c:pt idx="6046">
                  <c:v>3.047184</c:v>
                </c:pt>
                <c:pt idx="6047">
                  <c:v>3.047688</c:v>
                </c:pt>
                <c:pt idx="6048">
                  <c:v>3.048192</c:v>
                </c:pt>
                <c:pt idx="6049">
                  <c:v>3.048696</c:v>
                </c:pt>
                <c:pt idx="6050">
                  <c:v>3.0492</c:v>
                </c:pt>
                <c:pt idx="6051">
                  <c:v>3.049704</c:v>
                </c:pt>
                <c:pt idx="6052">
                  <c:v>3.050208</c:v>
                </c:pt>
                <c:pt idx="6053">
                  <c:v>3.050712</c:v>
                </c:pt>
                <c:pt idx="6054">
                  <c:v>3.051216</c:v>
                </c:pt>
                <c:pt idx="6055">
                  <c:v>3.05172</c:v>
                </c:pt>
                <c:pt idx="6056">
                  <c:v>3.052224</c:v>
                </c:pt>
                <c:pt idx="6057">
                  <c:v>3.052728</c:v>
                </c:pt>
                <c:pt idx="6058">
                  <c:v>3.053232</c:v>
                </c:pt>
                <c:pt idx="6059">
                  <c:v>3.053736</c:v>
                </c:pt>
                <c:pt idx="6060">
                  <c:v>3.05424</c:v>
                </c:pt>
                <c:pt idx="6061">
                  <c:v>3.054744</c:v>
                </c:pt>
                <c:pt idx="6062">
                  <c:v>3.055248</c:v>
                </c:pt>
                <c:pt idx="6063">
                  <c:v>3.055752</c:v>
                </c:pt>
                <c:pt idx="6064">
                  <c:v>3.056256</c:v>
                </c:pt>
                <c:pt idx="6065">
                  <c:v>3.05676</c:v>
                </c:pt>
                <c:pt idx="6066">
                  <c:v>3.057264</c:v>
                </c:pt>
                <c:pt idx="6067">
                  <c:v>3.057768</c:v>
                </c:pt>
                <c:pt idx="6068">
                  <c:v>3.058272</c:v>
                </c:pt>
                <c:pt idx="6069">
                  <c:v>3.058776</c:v>
                </c:pt>
                <c:pt idx="6070">
                  <c:v>3.05928</c:v>
                </c:pt>
                <c:pt idx="6071">
                  <c:v>3.059784</c:v>
                </c:pt>
                <c:pt idx="6072">
                  <c:v>3.060288</c:v>
                </c:pt>
                <c:pt idx="6073">
                  <c:v>3.060792</c:v>
                </c:pt>
                <c:pt idx="6074">
                  <c:v>3.061296</c:v>
                </c:pt>
                <c:pt idx="6075">
                  <c:v>3.0618</c:v>
                </c:pt>
                <c:pt idx="6076">
                  <c:v>3.062304</c:v>
                </c:pt>
                <c:pt idx="6077">
                  <c:v>3.062808</c:v>
                </c:pt>
                <c:pt idx="6078">
                  <c:v>3.063312</c:v>
                </c:pt>
                <c:pt idx="6079">
                  <c:v>3.063816</c:v>
                </c:pt>
                <c:pt idx="6080">
                  <c:v>3.06432</c:v>
                </c:pt>
                <c:pt idx="6081">
                  <c:v>3.064824</c:v>
                </c:pt>
                <c:pt idx="6082">
                  <c:v>3.065328</c:v>
                </c:pt>
                <c:pt idx="6083">
                  <c:v>3.065832</c:v>
                </c:pt>
                <c:pt idx="6084">
                  <c:v>3.066336</c:v>
                </c:pt>
                <c:pt idx="6085">
                  <c:v>3.06684</c:v>
                </c:pt>
                <c:pt idx="6086">
                  <c:v>3.067344</c:v>
                </c:pt>
                <c:pt idx="6087">
                  <c:v>3.067848</c:v>
                </c:pt>
                <c:pt idx="6088">
                  <c:v>3.068352</c:v>
                </c:pt>
                <c:pt idx="6089">
                  <c:v>3.068856</c:v>
                </c:pt>
                <c:pt idx="6090">
                  <c:v>3.06936</c:v>
                </c:pt>
                <c:pt idx="6091">
                  <c:v>3.069864</c:v>
                </c:pt>
                <c:pt idx="6092">
                  <c:v>3.070368</c:v>
                </c:pt>
                <c:pt idx="6093">
                  <c:v>3.070872</c:v>
                </c:pt>
                <c:pt idx="6094">
                  <c:v>3.071376</c:v>
                </c:pt>
                <c:pt idx="6095">
                  <c:v>3.07188</c:v>
                </c:pt>
                <c:pt idx="6096">
                  <c:v>3.072384</c:v>
                </c:pt>
                <c:pt idx="6097">
                  <c:v>3.072888</c:v>
                </c:pt>
                <c:pt idx="6098">
                  <c:v>3.073392</c:v>
                </c:pt>
                <c:pt idx="6099">
                  <c:v>3.073896</c:v>
                </c:pt>
                <c:pt idx="6100">
                  <c:v>3.0744</c:v>
                </c:pt>
                <c:pt idx="6101">
                  <c:v>3.074904</c:v>
                </c:pt>
                <c:pt idx="6102">
                  <c:v>3.075408</c:v>
                </c:pt>
                <c:pt idx="6103">
                  <c:v>3.075912</c:v>
                </c:pt>
                <c:pt idx="6104">
                  <c:v>3.076416</c:v>
                </c:pt>
                <c:pt idx="6105">
                  <c:v>3.07692</c:v>
                </c:pt>
                <c:pt idx="6106">
                  <c:v>3.077424</c:v>
                </c:pt>
                <c:pt idx="6107">
                  <c:v>3.077928</c:v>
                </c:pt>
                <c:pt idx="6108">
                  <c:v>3.078432</c:v>
                </c:pt>
                <c:pt idx="6109">
                  <c:v>3.078936</c:v>
                </c:pt>
                <c:pt idx="6110">
                  <c:v>3.07944</c:v>
                </c:pt>
                <c:pt idx="6111">
                  <c:v>3.079944</c:v>
                </c:pt>
                <c:pt idx="6112">
                  <c:v>3.080448</c:v>
                </c:pt>
                <c:pt idx="6113">
                  <c:v>3.080952</c:v>
                </c:pt>
                <c:pt idx="6114">
                  <c:v>3.081456</c:v>
                </c:pt>
                <c:pt idx="6115">
                  <c:v>3.08196</c:v>
                </c:pt>
                <c:pt idx="6116">
                  <c:v>3.082464</c:v>
                </c:pt>
                <c:pt idx="6117">
                  <c:v>3.082968</c:v>
                </c:pt>
                <c:pt idx="6118">
                  <c:v>3.083472</c:v>
                </c:pt>
                <c:pt idx="6119">
                  <c:v>3.083976</c:v>
                </c:pt>
                <c:pt idx="6120">
                  <c:v>3.08448</c:v>
                </c:pt>
                <c:pt idx="6121">
                  <c:v>3.084984</c:v>
                </c:pt>
                <c:pt idx="6122">
                  <c:v>3.085488</c:v>
                </c:pt>
                <c:pt idx="6123">
                  <c:v>3.085992</c:v>
                </c:pt>
                <c:pt idx="6124">
                  <c:v>3.086496</c:v>
                </c:pt>
                <c:pt idx="6125">
                  <c:v>3.087</c:v>
                </c:pt>
                <c:pt idx="6126">
                  <c:v>3.087504</c:v>
                </c:pt>
                <c:pt idx="6127">
                  <c:v>3.088008</c:v>
                </c:pt>
                <c:pt idx="6128">
                  <c:v>3.088512</c:v>
                </c:pt>
                <c:pt idx="6129">
                  <c:v>3.089016</c:v>
                </c:pt>
                <c:pt idx="6130">
                  <c:v>3.08952</c:v>
                </c:pt>
                <c:pt idx="6131">
                  <c:v>3.090024</c:v>
                </c:pt>
                <c:pt idx="6132">
                  <c:v>3.090528</c:v>
                </c:pt>
                <c:pt idx="6133">
                  <c:v>3.091032</c:v>
                </c:pt>
                <c:pt idx="6134">
                  <c:v>3.091536</c:v>
                </c:pt>
                <c:pt idx="6135">
                  <c:v>3.09204</c:v>
                </c:pt>
                <c:pt idx="6136">
                  <c:v>3.092544</c:v>
                </c:pt>
                <c:pt idx="6137">
                  <c:v>3.093048</c:v>
                </c:pt>
                <c:pt idx="6138">
                  <c:v>3.093552</c:v>
                </c:pt>
                <c:pt idx="6139">
                  <c:v>3.094056</c:v>
                </c:pt>
                <c:pt idx="6140">
                  <c:v>3.09456</c:v>
                </c:pt>
                <c:pt idx="6141">
                  <c:v>3.095064</c:v>
                </c:pt>
                <c:pt idx="6142">
                  <c:v>3.095568</c:v>
                </c:pt>
                <c:pt idx="6143">
                  <c:v>3.096072</c:v>
                </c:pt>
                <c:pt idx="6144">
                  <c:v>3.096576</c:v>
                </c:pt>
                <c:pt idx="6145">
                  <c:v>3.09708</c:v>
                </c:pt>
                <c:pt idx="6146">
                  <c:v>3.097584</c:v>
                </c:pt>
                <c:pt idx="6147">
                  <c:v>3.098088</c:v>
                </c:pt>
                <c:pt idx="6148">
                  <c:v>3.098592</c:v>
                </c:pt>
                <c:pt idx="6149">
                  <c:v>3.099096</c:v>
                </c:pt>
                <c:pt idx="6150">
                  <c:v>3.0996</c:v>
                </c:pt>
                <c:pt idx="6151">
                  <c:v>3.100104</c:v>
                </c:pt>
                <c:pt idx="6152">
                  <c:v>3.100608</c:v>
                </c:pt>
                <c:pt idx="6153">
                  <c:v>3.101112</c:v>
                </c:pt>
                <c:pt idx="6154">
                  <c:v>3.101616</c:v>
                </c:pt>
                <c:pt idx="6155">
                  <c:v>3.10212</c:v>
                </c:pt>
                <c:pt idx="6156">
                  <c:v>3.102624</c:v>
                </c:pt>
                <c:pt idx="6157">
                  <c:v>3.103128</c:v>
                </c:pt>
                <c:pt idx="6158">
                  <c:v>3.103632</c:v>
                </c:pt>
                <c:pt idx="6159">
                  <c:v>3.104136</c:v>
                </c:pt>
                <c:pt idx="6160">
                  <c:v>3.10464</c:v>
                </c:pt>
                <c:pt idx="6161">
                  <c:v>3.105144</c:v>
                </c:pt>
                <c:pt idx="6162">
                  <c:v>3.105648</c:v>
                </c:pt>
                <c:pt idx="6163">
                  <c:v>3.106152</c:v>
                </c:pt>
                <c:pt idx="6164">
                  <c:v>3.106656</c:v>
                </c:pt>
                <c:pt idx="6165">
                  <c:v>3.10716</c:v>
                </c:pt>
                <c:pt idx="6166">
                  <c:v>3.107664</c:v>
                </c:pt>
                <c:pt idx="6167">
                  <c:v>3.108168</c:v>
                </c:pt>
                <c:pt idx="6168">
                  <c:v>3.108672</c:v>
                </c:pt>
                <c:pt idx="6169">
                  <c:v>3.109176</c:v>
                </c:pt>
                <c:pt idx="6170">
                  <c:v>3.10968</c:v>
                </c:pt>
                <c:pt idx="6171">
                  <c:v>3.110184</c:v>
                </c:pt>
                <c:pt idx="6172">
                  <c:v>3.110688</c:v>
                </c:pt>
                <c:pt idx="6173">
                  <c:v>3.111192</c:v>
                </c:pt>
                <c:pt idx="6174">
                  <c:v>3.111696</c:v>
                </c:pt>
                <c:pt idx="6175">
                  <c:v>3.1122</c:v>
                </c:pt>
                <c:pt idx="6176">
                  <c:v>3.112704</c:v>
                </c:pt>
                <c:pt idx="6177">
                  <c:v>3.113208</c:v>
                </c:pt>
                <c:pt idx="6178">
                  <c:v>3.113712</c:v>
                </c:pt>
                <c:pt idx="6179">
                  <c:v>3.114216</c:v>
                </c:pt>
                <c:pt idx="6180">
                  <c:v>3.11472</c:v>
                </c:pt>
                <c:pt idx="6181">
                  <c:v>3.115224</c:v>
                </c:pt>
                <c:pt idx="6182">
                  <c:v>3.115728</c:v>
                </c:pt>
                <c:pt idx="6183">
                  <c:v>3.116232</c:v>
                </c:pt>
                <c:pt idx="6184">
                  <c:v>3.116736</c:v>
                </c:pt>
                <c:pt idx="6185">
                  <c:v>3.11724</c:v>
                </c:pt>
                <c:pt idx="6186">
                  <c:v>3.117744</c:v>
                </c:pt>
                <c:pt idx="6187">
                  <c:v>3.118248</c:v>
                </c:pt>
                <c:pt idx="6188">
                  <c:v>3.118752</c:v>
                </c:pt>
                <c:pt idx="6189">
                  <c:v>3.119256</c:v>
                </c:pt>
                <c:pt idx="6190">
                  <c:v>3.11976</c:v>
                </c:pt>
                <c:pt idx="6191">
                  <c:v>3.120264</c:v>
                </c:pt>
                <c:pt idx="6192">
                  <c:v>3.120768</c:v>
                </c:pt>
                <c:pt idx="6193">
                  <c:v>3.121272</c:v>
                </c:pt>
                <c:pt idx="6194">
                  <c:v>3.121776</c:v>
                </c:pt>
                <c:pt idx="6195">
                  <c:v>3.12228</c:v>
                </c:pt>
                <c:pt idx="6196">
                  <c:v>3.122784</c:v>
                </c:pt>
                <c:pt idx="6197">
                  <c:v>3.123288</c:v>
                </c:pt>
                <c:pt idx="6198">
                  <c:v>3.123792</c:v>
                </c:pt>
                <c:pt idx="6199">
                  <c:v>3.124296</c:v>
                </c:pt>
                <c:pt idx="6200">
                  <c:v>3.1248</c:v>
                </c:pt>
                <c:pt idx="6201">
                  <c:v>3.125304</c:v>
                </c:pt>
                <c:pt idx="6202">
                  <c:v>3.125808</c:v>
                </c:pt>
                <c:pt idx="6203">
                  <c:v>3.126312</c:v>
                </c:pt>
                <c:pt idx="6204">
                  <c:v>3.126816</c:v>
                </c:pt>
                <c:pt idx="6205">
                  <c:v>3.12732</c:v>
                </c:pt>
                <c:pt idx="6206">
                  <c:v>3.127824</c:v>
                </c:pt>
                <c:pt idx="6207">
                  <c:v>3.128328</c:v>
                </c:pt>
                <c:pt idx="6208">
                  <c:v>3.128832</c:v>
                </c:pt>
                <c:pt idx="6209">
                  <c:v>3.129336</c:v>
                </c:pt>
                <c:pt idx="6210">
                  <c:v>3.12984</c:v>
                </c:pt>
                <c:pt idx="6211">
                  <c:v>3.130344</c:v>
                </c:pt>
                <c:pt idx="6212">
                  <c:v>3.130848</c:v>
                </c:pt>
                <c:pt idx="6213">
                  <c:v>3.131352</c:v>
                </c:pt>
                <c:pt idx="6214">
                  <c:v>3.131856</c:v>
                </c:pt>
                <c:pt idx="6215">
                  <c:v>3.13236</c:v>
                </c:pt>
                <c:pt idx="6216">
                  <c:v>3.132864</c:v>
                </c:pt>
                <c:pt idx="6217">
                  <c:v>3.133368</c:v>
                </c:pt>
                <c:pt idx="6218">
                  <c:v>3.133872</c:v>
                </c:pt>
                <c:pt idx="6219">
                  <c:v>3.134376</c:v>
                </c:pt>
                <c:pt idx="6220">
                  <c:v>3.13488</c:v>
                </c:pt>
                <c:pt idx="6221">
                  <c:v>3.135384</c:v>
                </c:pt>
                <c:pt idx="6222">
                  <c:v>3.135888</c:v>
                </c:pt>
                <c:pt idx="6223">
                  <c:v>3.136392</c:v>
                </c:pt>
                <c:pt idx="6224">
                  <c:v>3.136896</c:v>
                </c:pt>
                <c:pt idx="6225">
                  <c:v>3.1374</c:v>
                </c:pt>
                <c:pt idx="6226">
                  <c:v>3.137904</c:v>
                </c:pt>
                <c:pt idx="6227">
                  <c:v>3.138408</c:v>
                </c:pt>
                <c:pt idx="6228">
                  <c:v>3.138912</c:v>
                </c:pt>
                <c:pt idx="6229">
                  <c:v>3.139416</c:v>
                </c:pt>
                <c:pt idx="6230">
                  <c:v>3.13992</c:v>
                </c:pt>
                <c:pt idx="6231">
                  <c:v>3.140424</c:v>
                </c:pt>
                <c:pt idx="6232">
                  <c:v>3.140928</c:v>
                </c:pt>
                <c:pt idx="6233">
                  <c:v>3.141432</c:v>
                </c:pt>
                <c:pt idx="6234">
                  <c:v>3.141936</c:v>
                </c:pt>
                <c:pt idx="6235">
                  <c:v>3.14244</c:v>
                </c:pt>
                <c:pt idx="6236">
                  <c:v>3.142944</c:v>
                </c:pt>
                <c:pt idx="6237">
                  <c:v>3.143448</c:v>
                </c:pt>
                <c:pt idx="6238">
                  <c:v>3.143952</c:v>
                </c:pt>
                <c:pt idx="6239">
                  <c:v>3.144456</c:v>
                </c:pt>
                <c:pt idx="6240">
                  <c:v>3.14496</c:v>
                </c:pt>
                <c:pt idx="6241">
                  <c:v>3.145464</c:v>
                </c:pt>
                <c:pt idx="6242">
                  <c:v>3.145968</c:v>
                </c:pt>
                <c:pt idx="6243">
                  <c:v>3.146472</c:v>
                </c:pt>
                <c:pt idx="6244">
                  <c:v>3.146976</c:v>
                </c:pt>
                <c:pt idx="6245">
                  <c:v>3.14748</c:v>
                </c:pt>
                <c:pt idx="6246">
                  <c:v>3.147984</c:v>
                </c:pt>
                <c:pt idx="6247">
                  <c:v>3.148488</c:v>
                </c:pt>
                <c:pt idx="6248">
                  <c:v>3.148992</c:v>
                </c:pt>
                <c:pt idx="6249">
                  <c:v>3.149496</c:v>
                </c:pt>
                <c:pt idx="6250">
                  <c:v>3.15</c:v>
                </c:pt>
                <c:pt idx="6251">
                  <c:v>3.150504</c:v>
                </c:pt>
                <c:pt idx="6252">
                  <c:v>3.151008</c:v>
                </c:pt>
                <c:pt idx="6253">
                  <c:v>3.151512</c:v>
                </c:pt>
                <c:pt idx="6254">
                  <c:v>3.152016</c:v>
                </c:pt>
                <c:pt idx="6255">
                  <c:v>3.15252</c:v>
                </c:pt>
                <c:pt idx="6256">
                  <c:v>3.153024</c:v>
                </c:pt>
                <c:pt idx="6257">
                  <c:v>3.153528</c:v>
                </c:pt>
                <c:pt idx="6258">
                  <c:v>3.154032</c:v>
                </c:pt>
                <c:pt idx="6259">
                  <c:v>3.154536</c:v>
                </c:pt>
                <c:pt idx="6260">
                  <c:v>3.15504</c:v>
                </c:pt>
                <c:pt idx="6261">
                  <c:v>3.155544</c:v>
                </c:pt>
                <c:pt idx="6262">
                  <c:v>3.156048</c:v>
                </c:pt>
                <c:pt idx="6263">
                  <c:v>3.156552</c:v>
                </c:pt>
                <c:pt idx="6264">
                  <c:v>3.157056</c:v>
                </c:pt>
                <c:pt idx="6265">
                  <c:v>3.15756</c:v>
                </c:pt>
                <c:pt idx="6266">
                  <c:v>3.158064</c:v>
                </c:pt>
                <c:pt idx="6267">
                  <c:v>3.158568</c:v>
                </c:pt>
                <c:pt idx="6268">
                  <c:v>3.159072</c:v>
                </c:pt>
                <c:pt idx="6269">
                  <c:v>3.159576</c:v>
                </c:pt>
                <c:pt idx="6270">
                  <c:v>3.16008</c:v>
                </c:pt>
                <c:pt idx="6271">
                  <c:v>3.160584</c:v>
                </c:pt>
                <c:pt idx="6272">
                  <c:v>3.161088</c:v>
                </c:pt>
                <c:pt idx="6273">
                  <c:v>3.161592</c:v>
                </c:pt>
                <c:pt idx="6274">
                  <c:v>3.162096</c:v>
                </c:pt>
                <c:pt idx="6275">
                  <c:v>3.1626</c:v>
                </c:pt>
                <c:pt idx="6276">
                  <c:v>3.163104</c:v>
                </c:pt>
                <c:pt idx="6277">
                  <c:v>3.163608</c:v>
                </c:pt>
                <c:pt idx="6278">
                  <c:v>3.164112</c:v>
                </c:pt>
                <c:pt idx="6279">
                  <c:v>3.164616</c:v>
                </c:pt>
                <c:pt idx="6280">
                  <c:v>3.16512</c:v>
                </c:pt>
                <c:pt idx="6281">
                  <c:v>3.165624</c:v>
                </c:pt>
                <c:pt idx="6282">
                  <c:v>3.166128</c:v>
                </c:pt>
                <c:pt idx="6283">
                  <c:v>3.166632</c:v>
                </c:pt>
                <c:pt idx="6284">
                  <c:v>3.167136</c:v>
                </c:pt>
                <c:pt idx="6285">
                  <c:v>3.16764</c:v>
                </c:pt>
                <c:pt idx="6286">
                  <c:v>3.168144</c:v>
                </c:pt>
                <c:pt idx="6287">
                  <c:v>3.168648</c:v>
                </c:pt>
                <c:pt idx="6288">
                  <c:v>3.169152</c:v>
                </c:pt>
                <c:pt idx="6289">
                  <c:v>3.169656</c:v>
                </c:pt>
                <c:pt idx="6290">
                  <c:v>3.17016</c:v>
                </c:pt>
                <c:pt idx="6291">
                  <c:v>3.170664</c:v>
                </c:pt>
                <c:pt idx="6292">
                  <c:v>3.171168</c:v>
                </c:pt>
                <c:pt idx="6293">
                  <c:v>3.171672</c:v>
                </c:pt>
                <c:pt idx="6294">
                  <c:v>3.172176</c:v>
                </c:pt>
                <c:pt idx="6295">
                  <c:v>3.17268</c:v>
                </c:pt>
                <c:pt idx="6296">
                  <c:v>3.173184</c:v>
                </c:pt>
                <c:pt idx="6297">
                  <c:v>3.173688</c:v>
                </c:pt>
                <c:pt idx="6298">
                  <c:v>3.174192</c:v>
                </c:pt>
                <c:pt idx="6299">
                  <c:v>3.174696</c:v>
                </c:pt>
                <c:pt idx="6300">
                  <c:v>3.1752</c:v>
                </c:pt>
                <c:pt idx="6301">
                  <c:v>3.175704</c:v>
                </c:pt>
                <c:pt idx="6302">
                  <c:v>3.176208</c:v>
                </c:pt>
                <c:pt idx="6303">
                  <c:v>3.176712</c:v>
                </c:pt>
                <c:pt idx="6304">
                  <c:v>3.177216</c:v>
                </c:pt>
                <c:pt idx="6305">
                  <c:v>3.17772</c:v>
                </c:pt>
                <c:pt idx="6306">
                  <c:v>3.178224</c:v>
                </c:pt>
                <c:pt idx="6307">
                  <c:v>3.178728</c:v>
                </c:pt>
                <c:pt idx="6308">
                  <c:v>3.179232</c:v>
                </c:pt>
                <c:pt idx="6309">
                  <c:v>3.179736</c:v>
                </c:pt>
                <c:pt idx="6310">
                  <c:v>3.18024</c:v>
                </c:pt>
                <c:pt idx="6311">
                  <c:v>3.180744</c:v>
                </c:pt>
                <c:pt idx="6312">
                  <c:v>3.181248</c:v>
                </c:pt>
                <c:pt idx="6313">
                  <c:v>3.181752</c:v>
                </c:pt>
                <c:pt idx="6314">
                  <c:v>3.182256</c:v>
                </c:pt>
                <c:pt idx="6315">
                  <c:v>3.18276</c:v>
                </c:pt>
                <c:pt idx="6316">
                  <c:v>3.183264</c:v>
                </c:pt>
                <c:pt idx="6317">
                  <c:v>3.183768</c:v>
                </c:pt>
                <c:pt idx="6318">
                  <c:v>3.184272</c:v>
                </c:pt>
                <c:pt idx="6319">
                  <c:v>3.184776</c:v>
                </c:pt>
                <c:pt idx="6320">
                  <c:v>3.18528</c:v>
                </c:pt>
                <c:pt idx="6321">
                  <c:v>3.185784</c:v>
                </c:pt>
                <c:pt idx="6322">
                  <c:v>3.186288</c:v>
                </c:pt>
                <c:pt idx="6323">
                  <c:v>3.186792</c:v>
                </c:pt>
                <c:pt idx="6324">
                  <c:v>3.187296</c:v>
                </c:pt>
                <c:pt idx="6325">
                  <c:v>3.1878</c:v>
                </c:pt>
                <c:pt idx="6326">
                  <c:v>3.188304</c:v>
                </c:pt>
                <c:pt idx="6327">
                  <c:v>3.188808</c:v>
                </c:pt>
                <c:pt idx="6328">
                  <c:v>3.189312</c:v>
                </c:pt>
                <c:pt idx="6329">
                  <c:v>3.189816</c:v>
                </c:pt>
                <c:pt idx="6330">
                  <c:v>3.19032</c:v>
                </c:pt>
                <c:pt idx="6331">
                  <c:v>3.190824</c:v>
                </c:pt>
                <c:pt idx="6332">
                  <c:v>3.191328</c:v>
                </c:pt>
                <c:pt idx="6333">
                  <c:v>3.191832</c:v>
                </c:pt>
                <c:pt idx="6334">
                  <c:v>3.192336</c:v>
                </c:pt>
                <c:pt idx="6335">
                  <c:v>3.19284</c:v>
                </c:pt>
                <c:pt idx="6336">
                  <c:v>3.193344</c:v>
                </c:pt>
                <c:pt idx="6337">
                  <c:v>3.193848</c:v>
                </c:pt>
                <c:pt idx="6338">
                  <c:v>3.194352</c:v>
                </c:pt>
                <c:pt idx="6339">
                  <c:v>3.194856</c:v>
                </c:pt>
                <c:pt idx="6340">
                  <c:v>3.19536</c:v>
                </c:pt>
                <c:pt idx="6341">
                  <c:v>3.195864</c:v>
                </c:pt>
                <c:pt idx="6342">
                  <c:v>3.196368</c:v>
                </c:pt>
                <c:pt idx="6343">
                  <c:v>3.196872</c:v>
                </c:pt>
                <c:pt idx="6344">
                  <c:v>3.197376</c:v>
                </c:pt>
                <c:pt idx="6345">
                  <c:v>3.19788</c:v>
                </c:pt>
                <c:pt idx="6346">
                  <c:v>3.198384</c:v>
                </c:pt>
                <c:pt idx="6347">
                  <c:v>3.198888</c:v>
                </c:pt>
                <c:pt idx="6348">
                  <c:v>3.199392</c:v>
                </c:pt>
                <c:pt idx="6349">
                  <c:v>3.199896</c:v>
                </c:pt>
                <c:pt idx="6350">
                  <c:v>3.2004</c:v>
                </c:pt>
                <c:pt idx="6351">
                  <c:v>3.200904</c:v>
                </c:pt>
                <c:pt idx="6352">
                  <c:v>3.201408</c:v>
                </c:pt>
                <c:pt idx="6353">
                  <c:v>3.201912</c:v>
                </c:pt>
                <c:pt idx="6354">
                  <c:v>3.202416</c:v>
                </c:pt>
                <c:pt idx="6355">
                  <c:v>3.20292</c:v>
                </c:pt>
                <c:pt idx="6356">
                  <c:v>3.203424</c:v>
                </c:pt>
                <c:pt idx="6357">
                  <c:v>3.203928</c:v>
                </c:pt>
                <c:pt idx="6358">
                  <c:v>3.204432</c:v>
                </c:pt>
                <c:pt idx="6359">
                  <c:v>3.204936</c:v>
                </c:pt>
                <c:pt idx="6360">
                  <c:v>3.20544</c:v>
                </c:pt>
                <c:pt idx="6361">
                  <c:v>3.205944</c:v>
                </c:pt>
                <c:pt idx="6362">
                  <c:v>3.206448</c:v>
                </c:pt>
                <c:pt idx="6363">
                  <c:v>3.206952</c:v>
                </c:pt>
                <c:pt idx="6364">
                  <c:v>3.207456</c:v>
                </c:pt>
                <c:pt idx="6365">
                  <c:v>3.20796</c:v>
                </c:pt>
                <c:pt idx="6366">
                  <c:v>3.208464</c:v>
                </c:pt>
                <c:pt idx="6367">
                  <c:v>3.208968</c:v>
                </c:pt>
                <c:pt idx="6368">
                  <c:v>3.209472</c:v>
                </c:pt>
                <c:pt idx="6369">
                  <c:v>3.209976</c:v>
                </c:pt>
                <c:pt idx="6370">
                  <c:v>3.21048</c:v>
                </c:pt>
                <c:pt idx="6371">
                  <c:v>3.210984</c:v>
                </c:pt>
                <c:pt idx="6372">
                  <c:v>3.211488</c:v>
                </c:pt>
                <c:pt idx="6373">
                  <c:v>3.211992</c:v>
                </c:pt>
                <c:pt idx="6374">
                  <c:v>3.212496</c:v>
                </c:pt>
                <c:pt idx="6375">
                  <c:v>3.213</c:v>
                </c:pt>
                <c:pt idx="6376">
                  <c:v>3.213504</c:v>
                </c:pt>
                <c:pt idx="6377">
                  <c:v>3.214008</c:v>
                </c:pt>
                <c:pt idx="6378">
                  <c:v>3.214512</c:v>
                </c:pt>
                <c:pt idx="6379">
                  <c:v>3.215016</c:v>
                </c:pt>
                <c:pt idx="6380">
                  <c:v>3.21552</c:v>
                </c:pt>
                <c:pt idx="6381">
                  <c:v>3.216024</c:v>
                </c:pt>
                <c:pt idx="6382">
                  <c:v>3.216528</c:v>
                </c:pt>
                <c:pt idx="6383">
                  <c:v>3.217032</c:v>
                </c:pt>
                <c:pt idx="6384">
                  <c:v>3.217536</c:v>
                </c:pt>
                <c:pt idx="6385">
                  <c:v>3.21804</c:v>
                </c:pt>
                <c:pt idx="6386">
                  <c:v>3.218544</c:v>
                </c:pt>
                <c:pt idx="6387">
                  <c:v>3.219048</c:v>
                </c:pt>
                <c:pt idx="6388">
                  <c:v>3.219552</c:v>
                </c:pt>
                <c:pt idx="6389">
                  <c:v>3.220056</c:v>
                </c:pt>
                <c:pt idx="6390">
                  <c:v>3.22056</c:v>
                </c:pt>
                <c:pt idx="6391">
                  <c:v>3.221064</c:v>
                </c:pt>
                <c:pt idx="6392">
                  <c:v>3.221568</c:v>
                </c:pt>
                <c:pt idx="6393">
                  <c:v>3.222072</c:v>
                </c:pt>
                <c:pt idx="6394">
                  <c:v>3.222576</c:v>
                </c:pt>
                <c:pt idx="6395">
                  <c:v>3.22308</c:v>
                </c:pt>
                <c:pt idx="6396">
                  <c:v>3.223584</c:v>
                </c:pt>
                <c:pt idx="6397">
                  <c:v>3.224088</c:v>
                </c:pt>
                <c:pt idx="6398">
                  <c:v>3.224592</c:v>
                </c:pt>
                <c:pt idx="6399">
                  <c:v>3.225096</c:v>
                </c:pt>
                <c:pt idx="6400">
                  <c:v>3.2256</c:v>
                </c:pt>
                <c:pt idx="6401">
                  <c:v>3.226104</c:v>
                </c:pt>
                <c:pt idx="6402">
                  <c:v>3.226608</c:v>
                </c:pt>
                <c:pt idx="6403">
                  <c:v>3.227112</c:v>
                </c:pt>
                <c:pt idx="6404">
                  <c:v>3.227616</c:v>
                </c:pt>
                <c:pt idx="6405">
                  <c:v>3.22812</c:v>
                </c:pt>
                <c:pt idx="6406">
                  <c:v>3.228624</c:v>
                </c:pt>
                <c:pt idx="6407">
                  <c:v>3.229128</c:v>
                </c:pt>
                <c:pt idx="6408">
                  <c:v>3.229632</c:v>
                </c:pt>
                <c:pt idx="6409">
                  <c:v>3.230136</c:v>
                </c:pt>
                <c:pt idx="6410">
                  <c:v>3.23064</c:v>
                </c:pt>
                <c:pt idx="6411">
                  <c:v>3.231144</c:v>
                </c:pt>
                <c:pt idx="6412">
                  <c:v>3.231648</c:v>
                </c:pt>
                <c:pt idx="6413">
                  <c:v>3.232152</c:v>
                </c:pt>
                <c:pt idx="6414">
                  <c:v>3.232656</c:v>
                </c:pt>
                <c:pt idx="6415">
                  <c:v>3.23316</c:v>
                </c:pt>
                <c:pt idx="6416">
                  <c:v>3.233664</c:v>
                </c:pt>
                <c:pt idx="6417">
                  <c:v>3.234168</c:v>
                </c:pt>
                <c:pt idx="6418">
                  <c:v>3.234672</c:v>
                </c:pt>
                <c:pt idx="6419">
                  <c:v>3.235176</c:v>
                </c:pt>
                <c:pt idx="6420">
                  <c:v>3.23568</c:v>
                </c:pt>
                <c:pt idx="6421">
                  <c:v>3.236184</c:v>
                </c:pt>
                <c:pt idx="6422">
                  <c:v>3.236688</c:v>
                </c:pt>
                <c:pt idx="6423">
                  <c:v>3.237192</c:v>
                </c:pt>
                <c:pt idx="6424">
                  <c:v>3.237696</c:v>
                </c:pt>
                <c:pt idx="6425">
                  <c:v>3.2382</c:v>
                </c:pt>
                <c:pt idx="6426">
                  <c:v>3.238704</c:v>
                </c:pt>
                <c:pt idx="6427">
                  <c:v>3.239208</c:v>
                </c:pt>
                <c:pt idx="6428">
                  <c:v>3.239712</c:v>
                </c:pt>
                <c:pt idx="6429">
                  <c:v>3.240216</c:v>
                </c:pt>
                <c:pt idx="6430">
                  <c:v>3.24072</c:v>
                </c:pt>
                <c:pt idx="6431">
                  <c:v>3.241224</c:v>
                </c:pt>
                <c:pt idx="6432">
                  <c:v>3.241728</c:v>
                </c:pt>
                <c:pt idx="6433">
                  <c:v>3.242232</c:v>
                </c:pt>
                <c:pt idx="6434">
                  <c:v>3.242736</c:v>
                </c:pt>
                <c:pt idx="6435">
                  <c:v>3.24324</c:v>
                </c:pt>
                <c:pt idx="6436">
                  <c:v>3.243744</c:v>
                </c:pt>
                <c:pt idx="6437">
                  <c:v>3.244248</c:v>
                </c:pt>
                <c:pt idx="6438">
                  <c:v>3.244752</c:v>
                </c:pt>
                <c:pt idx="6439">
                  <c:v>3.245256</c:v>
                </c:pt>
                <c:pt idx="6440">
                  <c:v>3.24576</c:v>
                </c:pt>
                <c:pt idx="6441">
                  <c:v>3.246264</c:v>
                </c:pt>
                <c:pt idx="6442">
                  <c:v>3.246768</c:v>
                </c:pt>
                <c:pt idx="6443">
                  <c:v>3.247272</c:v>
                </c:pt>
                <c:pt idx="6444">
                  <c:v>3.247776</c:v>
                </c:pt>
                <c:pt idx="6445">
                  <c:v>3.24828</c:v>
                </c:pt>
                <c:pt idx="6446">
                  <c:v>3.248784</c:v>
                </c:pt>
                <c:pt idx="6447">
                  <c:v>3.249288</c:v>
                </c:pt>
                <c:pt idx="6448">
                  <c:v>3.249792</c:v>
                </c:pt>
                <c:pt idx="6449">
                  <c:v>3.250296</c:v>
                </c:pt>
                <c:pt idx="6450">
                  <c:v>3.2508</c:v>
                </c:pt>
                <c:pt idx="6451">
                  <c:v>3.251304</c:v>
                </c:pt>
                <c:pt idx="6452">
                  <c:v>3.251808</c:v>
                </c:pt>
                <c:pt idx="6453">
                  <c:v>3.252312</c:v>
                </c:pt>
                <c:pt idx="6454">
                  <c:v>3.252816</c:v>
                </c:pt>
                <c:pt idx="6455">
                  <c:v>3.25332</c:v>
                </c:pt>
                <c:pt idx="6456">
                  <c:v>3.253824</c:v>
                </c:pt>
                <c:pt idx="6457">
                  <c:v>3.254328</c:v>
                </c:pt>
                <c:pt idx="6458">
                  <c:v>3.254832</c:v>
                </c:pt>
                <c:pt idx="6459">
                  <c:v>3.255336</c:v>
                </c:pt>
                <c:pt idx="6460">
                  <c:v>3.25584</c:v>
                </c:pt>
                <c:pt idx="6461">
                  <c:v>3.256344</c:v>
                </c:pt>
                <c:pt idx="6462">
                  <c:v>3.256848</c:v>
                </c:pt>
                <c:pt idx="6463">
                  <c:v>3.257352</c:v>
                </c:pt>
                <c:pt idx="6464">
                  <c:v>3.257856</c:v>
                </c:pt>
                <c:pt idx="6465">
                  <c:v>3.25836</c:v>
                </c:pt>
                <c:pt idx="6466">
                  <c:v>3.258864</c:v>
                </c:pt>
                <c:pt idx="6467">
                  <c:v>3.259368</c:v>
                </c:pt>
                <c:pt idx="6468">
                  <c:v>3.259872</c:v>
                </c:pt>
                <c:pt idx="6469">
                  <c:v>3.260376</c:v>
                </c:pt>
                <c:pt idx="6470">
                  <c:v>3.26088</c:v>
                </c:pt>
                <c:pt idx="6471">
                  <c:v>3.261384</c:v>
                </c:pt>
                <c:pt idx="6472">
                  <c:v>3.261888</c:v>
                </c:pt>
                <c:pt idx="6473">
                  <c:v>3.262392</c:v>
                </c:pt>
                <c:pt idx="6474">
                  <c:v>3.262896</c:v>
                </c:pt>
                <c:pt idx="6475">
                  <c:v>3.2634</c:v>
                </c:pt>
                <c:pt idx="6476">
                  <c:v>3.263904</c:v>
                </c:pt>
                <c:pt idx="6477">
                  <c:v>3.264408</c:v>
                </c:pt>
                <c:pt idx="6478">
                  <c:v>3.264912</c:v>
                </c:pt>
                <c:pt idx="6479">
                  <c:v>3.265416</c:v>
                </c:pt>
                <c:pt idx="6480">
                  <c:v>3.26592</c:v>
                </c:pt>
                <c:pt idx="6481">
                  <c:v>3.266424</c:v>
                </c:pt>
                <c:pt idx="6482">
                  <c:v>3.266928</c:v>
                </c:pt>
                <c:pt idx="6483">
                  <c:v>3.267432</c:v>
                </c:pt>
                <c:pt idx="6484">
                  <c:v>3.267936</c:v>
                </c:pt>
                <c:pt idx="6485">
                  <c:v>3.26844</c:v>
                </c:pt>
                <c:pt idx="6486">
                  <c:v>3.268944</c:v>
                </c:pt>
                <c:pt idx="6487">
                  <c:v>3.269448</c:v>
                </c:pt>
                <c:pt idx="6488">
                  <c:v>3.269952</c:v>
                </c:pt>
                <c:pt idx="6489">
                  <c:v>3.270456</c:v>
                </c:pt>
                <c:pt idx="6490">
                  <c:v>3.27096</c:v>
                </c:pt>
                <c:pt idx="6491">
                  <c:v>3.271464</c:v>
                </c:pt>
                <c:pt idx="6492">
                  <c:v>3.271968</c:v>
                </c:pt>
                <c:pt idx="6493">
                  <c:v>3.272472</c:v>
                </c:pt>
                <c:pt idx="6494">
                  <c:v>3.272976</c:v>
                </c:pt>
                <c:pt idx="6495">
                  <c:v>3.27348</c:v>
                </c:pt>
                <c:pt idx="6496">
                  <c:v>3.273984</c:v>
                </c:pt>
                <c:pt idx="6497">
                  <c:v>3.274488</c:v>
                </c:pt>
                <c:pt idx="6498">
                  <c:v>3.274992</c:v>
                </c:pt>
                <c:pt idx="6499">
                  <c:v>3.275496</c:v>
                </c:pt>
                <c:pt idx="6500">
                  <c:v>3.276</c:v>
                </c:pt>
                <c:pt idx="6501">
                  <c:v>3.276504</c:v>
                </c:pt>
                <c:pt idx="6502">
                  <c:v>3.277008</c:v>
                </c:pt>
                <c:pt idx="6503">
                  <c:v>3.277512</c:v>
                </c:pt>
                <c:pt idx="6504">
                  <c:v>3.278016</c:v>
                </c:pt>
                <c:pt idx="6505">
                  <c:v>3.27852</c:v>
                </c:pt>
                <c:pt idx="6506">
                  <c:v>3.279024</c:v>
                </c:pt>
                <c:pt idx="6507">
                  <c:v>3.279528</c:v>
                </c:pt>
                <c:pt idx="6508">
                  <c:v>3.280032</c:v>
                </c:pt>
                <c:pt idx="6509">
                  <c:v>3.280536</c:v>
                </c:pt>
                <c:pt idx="6510">
                  <c:v>3.28104</c:v>
                </c:pt>
                <c:pt idx="6511">
                  <c:v>3.281544</c:v>
                </c:pt>
                <c:pt idx="6512">
                  <c:v>3.282048</c:v>
                </c:pt>
                <c:pt idx="6513">
                  <c:v>3.282552</c:v>
                </c:pt>
                <c:pt idx="6514">
                  <c:v>3.283056</c:v>
                </c:pt>
                <c:pt idx="6515">
                  <c:v>3.28356</c:v>
                </c:pt>
                <c:pt idx="6516">
                  <c:v>3.284064</c:v>
                </c:pt>
                <c:pt idx="6517">
                  <c:v>3.284568</c:v>
                </c:pt>
                <c:pt idx="6518">
                  <c:v>3.285072</c:v>
                </c:pt>
                <c:pt idx="6519">
                  <c:v>3.285576</c:v>
                </c:pt>
                <c:pt idx="6520">
                  <c:v>3.28608</c:v>
                </c:pt>
                <c:pt idx="6521">
                  <c:v>3.286584</c:v>
                </c:pt>
                <c:pt idx="6522">
                  <c:v>3.287088</c:v>
                </c:pt>
                <c:pt idx="6523">
                  <c:v>3.287592</c:v>
                </c:pt>
                <c:pt idx="6524">
                  <c:v>3.288096</c:v>
                </c:pt>
                <c:pt idx="6525">
                  <c:v>3.2886</c:v>
                </c:pt>
                <c:pt idx="6526">
                  <c:v>3.289104</c:v>
                </c:pt>
                <c:pt idx="6527">
                  <c:v>3.289608</c:v>
                </c:pt>
                <c:pt idx="6528">
                  <c:v>3.290112</c:v>
                </c:pt>
                <c:pt idx="6529">
                  <c:v>3.290616</c:v>
                </c:pt>
                <c:pt idx="6530">
                  <c:v>3.29112</c:v>
                </c:pt>
                <c:pt idx="6531">
                  <c:v>3.291624</c:v>
                </c:pt>
                <c:pt idx="6532">
                  <c:v>3.292128</c:v>
                </c:pt>
                <c:pt idx="6533">
                  <c:v>3.292632</c:v>
                </c:pt>
                <c:pt idx="6534">
                  <c:v>3.293136</c:v>
                </c:pt>
                <c:pt idx="6535">
                  <c:v>3.29364</c:v>
                </c:pt>
                <c:pt idx="6536">
                  <c:v>3.294144</c:v>
                </c:pt>
                <c:pt idx="6537">
                  <c:v>3.294648</c:v>
                </c:pt>
                <c:pt idx="6538">
                  <c:v>3.295152</c:v>
                </c:pt>
                <c:pt idx="6539">
                  <c:v>3.295656</c:v>
                </c:pt>
                <c:pt idx="6540">
                  <c:v>3.29616</c:v>
                </c:pt>
                <c:pt idx="6541">
                  <c:v>3.296664</c:v>
                </c:pt>
                <c:pt idx="6542">
                  <c:v>3.297168</c:v>
                </c:pt>
                <c:pt idx="6543">
                  <c:v>3.297672</c:v>
                </c:pt>
                <c:pt idx="6544">
                  <c:v>3.298176</c:v>
                </c:pt>
                <c:pt idx="6545">
                  <c:v>3.29868</c:v>
                </c:pt>
                <c:pt idx="6546">
                  <c:v>3.299184</c:v>
                </c:pt>
                <c:pt idx="6547">
                  <c:v>3.299688</c:v>
                </c:pt>
                <c:pt idx="6548">
                  <c:v>3.300192</c:v>
                </c:pt>
                <c:pt idx="6549">
                  <c:v>3.300696</c:v>
                </c:pt>
                <c:pt idx="6550">
                  <c:v>3.3012</c:v>
                </c:pt>
                <c:pt idx="6551">
                  <c:v>3.301704</c:v>
                </c:pt>
                <c:pt idx="6552">
                  <c:v>3.302208</c:v>
                </c:pt>
                <c:pt idx="6553">
                  <c:v>3.302712</c:v>
                </c:pt>
                <c:pt idx="6554">
                  <c:v>3.303216</c:v>
                </c:pt>
                <c:pt idx="6555">
                  <c:v>3.30372</c:v>
                </c:pt>
                <c:pt idx="6556">
                  <c:v>3.304224</c:v>
                </c:pt>
                <c:pt idx="6557">
                  <c:v>3.304728</c:v>
                </c:pt>
                <c:pt idx="6558">
                  <c:v>3.305232</c:v>
                </c:pt>
                <c:pt idx="6559">
                  <c:v>3.305736</c:v>
                </c:pt>
                <c:pt idx="6560">
                  <c:v>3.30624</c:v>
                </c:pt>
                <c:pt idx="6561">
                  <c:v>3.306744</c:v>
                </c:pt>
                <c:pt idx="6562">
                  <c:v>3.307248</c:v>
                </c:pt>
                <c:pt idx="6563">
                  <c:v>3.307752</c:v>
                </c:pt>
                <c:pt idx="6564">
                  <c:v>3.308256</c:v>
                </c:pt>
                <c:pt idx="6565">
                  <c:v>3.30876</c:v>
                </c:pt>
                <c:pt idx="6566">
                  <c:v>3.309264</c:v>
                </c:pt>
                <c:pt idx="6567">
                  <c:v>3.309768</c:v>
                </c:pt>
                <c:pt idx="6568">
                  <c:v>3.310272</c:v>
                </c:pt>
                <c:pt idx="6569">
                  <c:v>3.310776</c:v>
                </c:pt>
                <c:pt idx="6570">
                  <c:v>3.31128</c:v>
                </c:pt>
                <c:pt idx="6571">
                  <c:v>3.311784</c:v>
                </c:pt>
                <c:pt idx="6572">
                  <c:v>3.312288</c:v>
                </c:pt>
                <c:pt idx="6573">
                  <c:v>3.312792</c:v>
                </c:pt>
                <c:pt idx="6574">
                  <c:v>3.313296</c:v>
                </c:pt>
                <c:pt idx="6575">
                  <c:v>3.3138</c:v>
                </c:pt>
                <c:pt idx="6576">
                  <c:v>3.314304</c:v>
                </c:pt>
                <c:pt idx="6577">
                  <c:v>3.314808</c:v>
                </c:pt>
                <c:pt idx="6578">
                  <c:v>3.315312</c:v>
                </c:pt>
                <c:pt idx="6579">
                  <c:v>3.315816</c:v>
                </c:pt>
                <c:pt idx="6580">
                  <c:v>3.31632</c:v>
                </c:pt>
                <c:pt idx="6581">
                  <c:v>3.316824</c:v>
                </c:pt>
                <c:pt idx="6582">
                  <c:v>3.317328</c:v>
                </c:pt>
                <c:pt idx="6583">
                  <c:v>3.317832</c:v>
                </c:pt>
                <c:pt idx="6584">
                  <c:v>3.318336</c:v>
                </c:pt>
                <c:pt idx="6585">
                  <c:v>3.31884</c:v>
                </c:pt>
                <c:pt idx="6586">
                  <c:v>3.319344</c:v>
                </c:pt>
                <c:pt idx="6587">
                  <c:v>3.319848</c:v>
                </c:pt>
                <c:pt idx="6588">
                  <c:v>3.320352</c:v>
                </c:pt>
                <c:pt idx="6589">
                  <c:v>3.320856</c:v>
                </c:pt>
                <c:pt idx="6590">
                  <c:v>3.32136</c:v>
                </c:pt>
                <c:pt idx="6591">
                  <c:v>3.321864</c:v>
                </c:pt>
                <c:pt idx="6592">
                  <c:v>3.322368</c:v>
                </c:pt>
                <c:pt idx="6593">
                  <c:v>3.322872</c:v>
                </c:pt>
                <c:pt idx="6594">
                  <c:v>3.323376</c:v>
                </c:pt>
                <c:pt idx="6595">
                  <c:v>3.32388</c:v>
                </c:pt>
                <c:pt idx="6596">
                  <c:v>3.324384</c:v>
                </c:pt>
                <c:pt idx="6597">
                  <c:v>3.324888</c:v>
                </c:pt>
                <c:pt idx="6598">
                  <c:v>3.325392</c:v>
                </c:pt>
                <c:pt idx="6599">
                  <c:v>3.325896</c:v>
                </c:pt>
                <c:pt idx="6600">
                  <c:v>3.3264</c:v>
                </c:pt>
                <c:pt idx="6601">
                  <c:v>3.326904</c:v>
                </c:pt>
                <c:pt idx="6602">
                  <c:v>3.327408</c:v>
                </c:pt>
                <c:pt idx="6603">
                  <c:v>3.327912</c:v>
                </c:pt>
                <c:pt idx="6604">
                  <c:v>3.328416</c:v>
                </c:pt>
                <c:pt idx="6605">
                  <c:v>3.32892</c:v>
                </c:pt>
                <c:pt idx="6606">
                  <c:v>3.329424</c:v>
                </c:pt>
                <c:pt idx="6607">
                  <c:v>3.329928</c:v>
                </c:pt>
                <c:pt idx="6608">
                  <c:v>3.330432</c:v>
                </c:pt>
                <c:pt idx="6609">
                  <c:v>3.330936</c:v>
                </c:pt>
                <c:pt idx="6610">
                  <c:v>3.33144</c:v>
                </c:pt>
                <c:pt idx="6611">
                  <c:v>3.331944</c:v>
                </c:pt>
                <c:pt idx="6612">
                  <c:v>3.332448</c:v>
                </c:pt>
                <c:pt idx="6613">
                  <c:v>3.332952</c:v>
                </c:pt>
                <c:pt idx="6614">
                  <c:v>3.333456</c:v>
                </c:pt>
                <c:pt idx="6615">
                  <c:v>3.33396</c:v>
                </c:pt>
                <c:pt idx="6616">
                  <c:v>3.334464</c:v>
                </c:pt>
                <c:pt idx="6617">
                  <c:v>3.334968</c:v>
                </c:pt>
                <c:pt idx="6618">
                  <c:v>3.335472</c:v>
                </c:pt>
                <c:pt idx="6619">
                  <c:v>3.335976</c:v>
                </c:pt>
                <c:pt idx="6620">
                  <c:v>3.33648</c:v>
                </c:pt>
                <c:pt idx="6621">
                  <c:v>3.336984</c:v>
                </c:pt>
                <c:pt idx="6622">
                  <c:v>3.337488</c:v>
                </c:pt>
                <c:pt idx="6623">
                  <c:v>3.337992</c:v>
                </c:pt>
                <c:pt idx="6624">
                  <c:v>3.338496</c:v>
                </c:pt>
                <c:pt idx="6625">
                  <c:v>3.339</c:v>
                </c:pt>
                <c:pt idx="6626">
                  <c:v>3.339504</c:v>
                </c:pt>
                <c:pt idx="6627">
                  <c:v>3.340008</c:v>
                </c:pt>
                <c:pt idx="6628">
                  <c:v>3.340512</c:v>
                </c:pt>
                <c:pt idx="6629">
                  <c:v>3.341016</c:v>
                </c:pt>
                <c:pt idx="6630">
                  <c:v>3.34152</c:v>
                </c:pt>
                <c:pt idx="6631">
                  <c:v>3.342024</c:v>
                </c:pt>
                <c:pt idx="6632">
                  <c:v>3.342528</c:v>
                </c:pt>
                <c:pt idx="6633">
                  <c:v>3.343032</c:v>
                </c:pt>
                <c:pt idx="6634">
                  <c:v>3.343536</c:v>
                </c:pt>
                <c:pt idx="6635">
                  <c:v>3.34404</c:v>
                </c:pt>
                <c:pt idx="6636">
                  <c:v>3.344544</c:v>
                </c:pt>
                <c:pt idx="6637">
                  <c:v>3.345048</c:v>
                </c:pt>
                <c:pt idx="6638">
                  <c:v>3.345552</c:v>
                </c:pt>
                <c:pt idx="6639">
                  <c:v>3.346056</c:v>
                </c:pt>
                <c:pt idx="6640">
                  <c:v>3.34656</c:v>
                </c:pt>
                <c:pt idx="6641">
                  <c:v>3.347064</c:v>
                </c:pt>
                <c:pt idx="6642">
                  <c:v>3.347568</c:v>
                </c:pt>
                <c:pt idx="6643">
                  <c:v>3.348072</c:v>
                </c:pt>
                <c:pt idx="6644">
                  <c:v>3.348576</c:v>
                </c:pt>
                <c:pt idx="6645">
                  <c:v>3.34908</c:v>
                </c:pt>
                <c:pt idx="6646">
                  <c:v>3.349584</c:v>
                </c:pt>
                <c:pt idx="6647">
                  <c:v>3.350088</c:v>
                </c:pt>
                <c:pt idx="6648">
                  <c:v>3.350592</c:v>
                </c:pt>
                <c:pt idx="6649">
                  <c:v>3.351096</c:v>
                </c:pt>
                <c:pt idx="6650">
                  <c:v>3.3516</c:v>
                </c:pt>
                <c:pt idx="6651">
                  <c:v>3.352104</c:v>
                </c:pt>
                <c:pt idx="6652">
                  <c:v>3.352608</c:v>
                </c:pt>
                <c:pt idx="6653">
                  <c:v>3.353112</c:v>
                </c:pt>
                <c:pt idx="6654">
                  <c:v>3.353616</c:v>
                </c:pt>
                <c:pt idx="6655">
                  <c:v>3.35412</c:v>
                </c:pt>
                <c:pt idx="6656">
                  <c:v>3.354624</c:v>
                </c:pt>
                <c:pt idx="6657">
                  <c:v>3.355128</c:v>
                </c:pt>
                <c:pt idx="6658">
                  <c:v>3.355632</c:v>
                </c:pt>
                <c:pt idx="6659">
                  <c:v>3.356136</c:v>
                </c:pt>
                <c:pt idx="6660">
                  <c:v>3.35664</c:v>
                </c:pt>
                <c:pt idx="6661">
                  <c:v>3.357144</c:v>
                </c:pt>
                <c:pt idx="6662">
                  <c:v>3.357648</c:v>
                </c:pt>
                <c:pt idx="6663">
                  <c:v>3.358152</c:v>
                </c:pt>
                <c:pt idx="6664">
                  <c:v>3.358656</c:v>
                </c:pt>
                <c:pt idx="6665">
                  <c:v>3.35916</c:v>
                </c:pt>
                <c:pt idx="6666">
                  <c:v>3.359664</c:v>
                </c:pt>
                <c:pt idx="6667">
                  <c:v>3.360168</c:v>
                </c:pt>
                <c:pt idx="6668">
                  <c:v>3.360672</c:v>
                </c:pt>
                <c:pt idx="6669">
                  <c:v>3.361176</c:v>
                </c:pt>
                <c:pt idx="6670">
                  <c:v>3.36168</c:v>
                </c:pt>
                <c:pt idx="6671">
                  <c:v>3.362184</c:v>
                </c:pt>
                <c:pt idx="6672">
                  <c:v>3.362688</c:v>
                </c:pt>
                <c:pt idx="6673">
                  <c:v>3.363192</c:v>
                </c:pt>
                <c:pt idx="6674">
                  <c:v>3.363696</c:v>
                </c:pt>
                <c:pt idx="6675">
                  <c:v>3.3642</c:v>
                </c:pt>
                <c:pt idx="6676">
                  <c:v>3.364704</c:v>
                </c:pt>
                <c:pt idx="6677">
                  <c:v>3.365208</c:v>
                </c:pt>
                <c:pt idx="6678">
                  <c:v>3.365712</c:v>
                </c:pt>
                <c:pt idx="6679">
                  <c:v>3.366216</c:v>
                </c:pt>
                <c:pt idx="6680">
                  <c:v>3.36672</c:v>
                </c:pt>
                <c:pt idx="6681">
                  <c:v>3.367224</c:v>
                </c:pt>
                <c:pt idx="6682">
                  <c:v>3.367728</c:v>
                </c:pt>
                <c:pt idx="6683">
                  <c:v>3.368232</c:v>
                </c:pt>
                <c:pt idx="6684">
                  <c:v>3.368736</c:v>
                </c:pt>
                <c:pt idx="6685">
                  <c:v>3.36924</c:v>
                </c:pt>
                <c:pt idx="6686">
                  <c:v>3.369744</c:v>
                </c:pt>
                <c:pt idx="6687">
                  <c:v>3.370248</c:v>
                </c:pt>
                <c:pt idx="6688">
                  <c:v>3.370752</c:v>
                </c:pt>
                <c:pt idx="6689">
                  <c:v>3.371256</c:v>
                </c:pt>
                <c:pt idx="6690">
                  <c:v>3.37176</c:v>
                </c:pt>
                <c:pt idx="6691">
                  <c:v>3.372264</c:v>
                </c:pt>
                <c:pt idx="6692">
                  <c:v>3.372768</c:v>
                </c:pt>
                <c:pt idx="6693">
                  <c:v>3.373272</c:v>
                </c:pt>
                <c:pt idx="6694">
                  <c:v>3.373776</c:v>
                </c:pt>
                <c:pt idx="6695">
                  <c:v>3.37428</c:v>
                </c:pt>
                <c:pt idx="6696">
                  <c:v>3.374784</c:v>
                </c:pt>
                <c:pt idx="6697">
                  <c:v>3.375288</c:v>
                </c:pt>
                <c:pt idx="6698">
                  <c:v>3.375792</c:v>
                </c:pt>
                <c:pt idx="6699">
                  <c:v>3.376296</c:v>
                </c:pt>
                <c:pt idx="6700">
                  <c:v>3.3768</c:v>
                </c:pt>
                <c:pt idx="6701">
                  <c:v>3.377304</c:v>
                </c:pt>
                <c:pt idx="6702">
                  <c:v>3.377808</c:v>
                </c:pt>
                <c:pt idx="6703">
                  <c:v>3.378312</c:v>
                </c:pt>
                <c:pt idx="6704">
                  <c:v>3.378816</c:v>
                </c:pt>
                <c:pt idx="6705">
                  <c:v>3.37932</c:v>
                </c:pt>
                <c:pt idx="6706">
                  <c:v>3.379824</c:v>
                </c:pt>
                <c:pt idx="6707">
                  <c:v>3.380328</c:v>
                </c:pt>
                <c:pt idx="6708">
                  <c:v>3.380832</c:v>
                </c:pt>
                <c:pt idx="6709">
                  <c:v>3.381336</c:v>
                </c:pt>
                <c:pt idx="6710">
                  <c:v>3.38184</c:v>
                </c:pt>
                <c:pt idx="6711">
                  <c:v>3.382344</c:v>
                </c:pt>
                <c:pt idx="6712">
                  <c:v>3.382848</c:v>
                </c:pt>
                <c:pt idx="6713">
                  <c:v>3.383352</c:v>
                </c:pt>
                <c:pt idx="6714">
                  <c:v>3.383856</c:v>
                </c:pt>
                <c:pt idx="6715">
                  <c:v>3.38436</c:v>
                </c:pt>
                <c:pt idx="6716">
                  <c:v>3.384864</c:v>
                </c:pt>
                <c:pt idx="6717">
                  <c:v>3.385368</c:v>
                </c:pt>
                <c:pt idx="6718">
                  <c:v>3.385872</c:v>
                </c:pt>
                <c:pt idx="6719">
                  <c:v>3.386376</c:v>
                </c:pt>
                <c:pt idx="6720">
                  <c:v>3.38688</c:v>
                </c:pt>
                <c:pt idx="6721">
                  <c:v>3.387384</c:v>
                </c:pt>
                <c:pt idx="6722">
                  <c:v>3.387888</c:v>
                </c:pt>
                <c:pt idx="6723">
                  <c:v>3.388392</c:v>
                </c:pt>
                <c:pt idx="6724">
                  <c:v>3.388896</c:v>
                </c:pt>
                <c:pt idx="6725">
                  <c:v>3.3894</c:v>
                </c:pt>
                <c:pt idx="6726">
                  <c:v>3.389904</c:v>
                </c:pt>
                <c:pt idx="6727">
                  <c:v>3.390408</c:v>
                </c:pt>
                <c:pt idx="6728">
                  <c:v>3.390912</c:v>
                </c:pt>
                <c:pt idx="6729">
                  <c:v>3.391416</c:v>
                </c:pt>
                <c:pt idx="6730">
                  <c:v>3.39192</c:v>
                </c:pt>
                <c:pt idx="6731">
                  <c:v>3.392424</c:v>
                </c:pt>
                <c:pt idx="6732">
                  <c:v>3.392928</c:v>
                </c:pt>
                <c:pt idx="6733">
                  <c:v>3.393432</c:v>
                </c:pt>
                <c:pt idx="6734">
                  <c:v>3.393936</c:v>
                </c:pt>
                <c:pt idx="6735">
                  <c:v>3.39444</c:v>
                </c:pt>
                <c:pt idx="6736">
                  <c:v>3.394944</c:v>
                </c:pt>
                <c:pt idx="6737">
                  <c:v>3.395448</c:v>
                </c:pt>
                <c:pt idx="6738">
                  <c:v>3.395952</c:v>
                </c:pt>
                <c:pt idx="6739">
                  <c:v>3.396456</c:v>
                </c:pt>
                <c:pt idx="6740">
                  <c:v>3.39696</c:v>
                </c:pt>
                <c:pt idx="6741">
                  <c:v>3.397464</c:v>
                </c:pt>
                <c:pt idx="6742">
                  <c:v>3.397968</c:v>
                </c:pt>
                <c:pt idx="6743">
                  <c:v>3.398472</c:v>
                </c:pt>
                <c:pt idx="6744">
                  <c:v>3.398976</c:v>
                </c:pt>
                <c:pt idx="6745">
                  <c:v>3.39948</c:v>
                </c:pt>
                <c:pt idx="6746">
                  <c:v>3.399984</c:v>
                </c:pt>
                <c:pt idx="6747">
                  <c:v>3.400488</c:v>
                </c:pt>
                <c:pt idx="6748">
                  <c:v>3.400992</c:v>
                </c:pt>
                <c:pt idx="6749">
                  <c:v>3.401496</c:v>
                </c:pt>
                <c:pt idx="6750">
                  <c:v>3.402</c:v>
                </c:pt>
                <c:pt idx="6751">
                  <c:v>3.402504</c:v>
                </c:pt>
                <c:pt idx="6752">
                  <c:v>3.403008</c:v>
                </c:pt>
                <c:pt idx="6753">
                  <c:v>3.403512</c:v>
                </c:pt>
                <c:pt idx="6754">
                  <c:v>3.404016</c:v>
                </c:pt>
                <c:pt idx="6755">
                  <c:v>3.40452</c:v>
                </c:pt>
                <c:pt idx="6756">
                  <c:v>3.405024</c:v>
                </c:pt>
                <c:pt idx="6757">
                  <c:v>3.405528</c:v>
                </c:pt>
                <c:pt idx="6758">
                  <c:v>3.406032</c:v>
                </c:pt>
                <c:pt idx="6759">
                  <c:v>3.406536</c:v>
                </c:pt>
                <c:pt idx="6760">
                  <c:v>3.40704</c:v>
                </c:pt>
                <c:pt idx="6761">
                  <c:v>3.407544</c:v>
                </c:pt>
                <c:pt idx="6762">
                  <c:v>3.408048</c:v>
                </c:pt>
                <c:pt idx="6763">
                  <c:v>3.408552</c:v>
                </c:pt>
                <c:pt idx="6764">
                  <c:v>3.409056</c:v>
                </c:pt>
                <c:pt idx="6765">
                  <c:v>3.40956</c:v>
                </c:pt>
                <c:pt idx="6766">
                  <c:v>3.410064</c:v>
                </c:pt>
                <c:pt idx="6767">
                  <c:v>3.410568</c:v>
                </c:pt>
                <c:pt idx="6768">
                  <c:v>3.411072</c:v>
                </c:pt>
                <c:pt idx="6769">
                  <c:v>3.411576</c:v>
                </c:pt>
                <c:pt idx="6770">
                  <c:v>3.41208</c:v>
                </c:pt>
                <c:pt idx="6771">
                  <c:v>3.412584</c:v>
                </c:pt>
                <c:pt idx="6772">
                  <c:v>3.413088</c:v>
                </c:pt>
                <c:pt idx="6773">
                  <c:v>3.413592</c:v>
                </c:pt>
                <c:pt idx="6774">
                  <c:v>3.414096</c:v>
                </c:pt>
                <c:pt idx="6775">
                  <c:v>3.4146</c:v>
                </c:pt>
                <c:pt idx="6776">
                  <c:v>3.415104</c:v>
                </c:pt>
                <c:pt idx="6777">
                  <c:v>3.415608</c:v>
                </c:pt>
                <c:pt idx="6778">
                  <c:v>3.416112</c:v>
                </c:pt>
                <c:pt idx="6779">
                  <c:v>3.416616</c:v>
                </c:pt>
                <c:pt idx="6780">
                  <c:v>3.41712</c:v>
                </c:pt>
                <c:pt idx="6781">
                  <c:v>3.417624</c:v>
                </c:pt>
                <c:pt idx="6782">
                  <c:v>3.418128</c:v>
                </c:pt>
                <c:pt idx="6783">
                  <c:v>3.418632</c:v>
                </c:pt>
                <c:pt idx="6784">
                  <c:v>3.419136</c:v>
                </c:pt>
                <c:pt idx="6785">
                  <c:v>3.41964</c:v>
                </c:pt>
                <c:pt idx="6786">
                  <c:v>3.420144</c:v>
                </c:pt>
                <c:pt idx="6787">
                  <c:v>3.420648</c:v>
                </c:pt>
                <c:pt idx="6788">
                  <c:v>3.421152</c:v>
                </c:pt>
                <c:pt idx="6789">
                  <c:v>3.421656</c:v>
                </c:pt>
                <c:pt idx="6790">
                  <c:v>3.42216</c:v>
                </c:pt>
                <c:pt idx="6791">
                  <c:v>3.422664</c:v>
                </c:pt>
                <c:pt idx="6792">
                  <c:v>3.423168</c:v>
                </c:pt>
                <c:pt idx="6793">
                  <c:v>3.423672</c:v>
                </c:pt>
                <c:pt idx="6794">
                  <c:v>3.424176</c:v>
                </c:pt>
                <c:pt idx="6795">
                  <c:v>3.42468</c:v>
                </c:pt>
                <c:pt idx="6796">
                  <c:v>3.425184</c:v>
                </c:pt>
                <c:pt idx="6797">
                  <c:v>3.425688</c:v>
                </c:pt>
                <c:pt idx="6798">
                  <c:v>3.426192</c:v>
                </c:pt>
                <c:pt idx="6799">
                  <c:v>3.426696</c:v>
                </c:pt>
                <c:pt idx="6800">
                  <c:v>3.4272</c:v>
                </c:pt>
                <c:pt idx="6801">
                  <c:v>3.427704</c:v>
                </c:pt>
                <c:pt idx="6802">
                  <c:v>3.428208</c:v>
                </c:pt>
                <c:pt idx="6803">
                  <c:v>3.428712</c:v>
                </c:pt>
                <c:pt idx="6804">
                  <c:v>3.429216</c:v>
                </c:pt>
                <c:pt idx="6805">
                  <c:v>3.42972</c:v>
                </c:pt>
                <c:pt idx="6806">
                  <c:v>3.430224</c:v>
                </c:pt>
                <c:pt idx="6807">
                  <c:v>3.430728</c:v>
                </c:pt>
                <c:pt idx="6808">
                  <c:v>3.431232</c:v>
                </c:pt>
                <c:pt idx="6809">
                  <c:v>3.431736</c:v>
                </c:pt>
                <c:pt idx="6810">
                  <c:v>3.43224</c:v>
                </c:pt>
                <c:pt idx="6811">
                  <c:v>3.432744</c:v>
                </c:pt>
                <c:pt idx="6812">
                  <c:v>3.433248</c:v>
                </c:pt>
                <c:pt idx="6813">
                  <c:v>3.433752</c:v>
                </c:pt>
                <c:pt idx="6814">
                  <c:v>3.434256</c:v>
                </c:pt>
                <c:pt idx="6815">
                  <c:v>3.43476</c:v>
                </c:pt>
                <c:pt idx="6816">
                  <c:v>3.435264</c:v>
                </c:pt>
                <c:pt idx="6817">
                  <c:v>3.435768</c:v>
                </c:pt>
                <c:pt idx="6818">
                  <c:v>3.436272</c:v>
                </c:pt>
                <c:pt idx="6819">
                  <c:v>3.436776</c:v>
                </c:pt>
                <c:pt idx="6820">
                  <c:v>3.43728</c:v>
                </c:pt>
                <c:pt idx="6821">
                  <c:v>3.437784</c:v>
                </c:pt>
                <c:pt idx="6822">
                  <c:v>3.438288</c:v>
                </c:pt>
                <c:pt idx="6823">
                  <c:v>3.438792</c:v>
                </c:pt>
                <c:pt idx="6824">
                  <c:v>3.439296</c:v>
                </c:pt>
                <c:pt idx="6825">
                  <c:v>3.4398</c:v>
                </c:pt>
                <c:pt idx="6826">
                  <c:v>3.440304</c:v>
                </c:pt>
                <c:pt idx="6827">
                  <c:v>3.440808</c:v>
                </c:pt>
                <c:pt idx="6828">
                  <c:v>3.441312</c:v>
                </c:pt>
                <c:pt idx="6829">
                  <c:v>3.441816</c:v>
                </c:pt>
                <c:pt idx="6830">
                  <c:v>3.44232</c:v>
                </c:pt>
                <c:pt idx="6831">
                  <c:v>3.442824</c:v>
                </c:pt>
                <c:pt idx="6832">
                  <c:v>3.443328</c:v>
                </c:pt>
                <c:pt idx="6833">
                  <c:v>3.443832</c:v>
                </c:pt>
                <c:pt idx="6834">
                  <c:v>3.444336</c:v>
                </c:pt>
                <c:pt idx="6835">
                  <c:v>3.44484</c:v>
                </c:pt>
                <c:pt idx="6836">
                  <c:v>3.445344</c:v>
                </c:pt>
                <c:pt idx="6837">
                  <c:v>3.445848</c:v>
                </c:pt>
                <c:pt idx="6838">
                  <c:v>3.446352</c:v>
                </c:pt>
                <c:pt idx="6839">
                  <c:v>3.446856</c:v>
                </c:pt>
                <c:pt idx="6840">
                  <c:v>3.44736</c:v>
                </c:pt>
                <c:pt idx="6841">
                  <c:v>3.447864</c:v>
                </c:pt>
                <c:pt idx="6842">
                  <c:v>3.448368</c:v>
                </c:pt>
                <c:pt idx="6843">
                  <c:v>3.448872</c:v>
                </c:pt>
                <c:pt idx="6844">
                  <c:v>3.449376</c:v>
                </c:pt>
                <c:pt idx="6845">
                  <c:v>3.44988</c:v>
                </c:pt>
                <c:pt idx="6846">
                  <c:v>3.450384</c:v>
                </c:pt>
                <c:pt idx="6847">
                  <c:v>3.450888</c:v>
                </c:pt>
                <c:pt idx="6848">
                  <c:v>3.451392</c:v>
                </c:pt>
                <c:pt idx="6849">
                  <c:v>3.451896</c:v>
                </c:pt>
                <c:pt idx="6850">
                  <c:v>3.4524</c:v>
                </c:pt>
                <c:pt idx="6851">
                  <c:v>3.452904</c:v>
                </c:pt>
                <c:pt idx="6852">
                  <c:v>3.453408</c:v>
                </c:pt>
                <c:pt idx="6853">
                  <c:v>3.453912</c:v>
                </c:pt>
                <c:pt idx="6854">
                  <c:v>3.454416</c:v>
                </c:pt>
                <c:pt idx="6855">
                  <c:v>3.45492</c:v>
                </c:pt>
                <c:pt idx="6856">
                  <c:v>3.455424</c:v>
                </c:pt>
                <c:pt idx="6857">
                  <c:v>3.455928</c:v>
                </c:pt>
                <c:pt idx="6858">
                  <c:v>3.456432</c:v>
                </c:pt>
                <c:pt idx="6859">
                  <c:v>3.456936</c:v>
                </c:pt>
                <c:pt idx="6860">
                  <c:v>3.45744</c:v>
                </c:pt>
                <c:pt idx="6861">
                  <c:v>3.457944</c:v>
                </c:pt>
                <c:pt idx="6862">
                  <c:v>3.458448</c:v>
                </c:pt>
                <c:pt idx="6863">
                  <c:v>3.458952</c:v>
                </c:pt>
                <c:pt idx="6864">
                  <c:v>3.459456</c:v>
                </c:pt>
                <c:pt idx="6865">
                  <c:v>3.45996</c:v>
                </c:pt>
                <c:pt idx="6866">
                  <c:v>3.460464</c:v>
                </c:pt>
                <c:pt idx="6867">
                  <c:v>3.460968</c:v>
                </c:pt>
                <c:pt idx="6868">
                  <c:v>3.461472</c:v>
                </c:pt>
                <c:pt idx="6869">
                  <c:v>3.461976</c:v>
                </c:pt>
                <c:pt idx="6870">
                  <c:v>3.46248</c:v>
                </c:pt>
                <c:pt idx="6871">
                  <c:v>3.462984</c:v>
                </c:pt>
                <c:pt idx="6872">
                  <c:v>3.463488</c:v>
                </c:pt>
                <c:pt idx="6873">
                  <c:v>3.463992</c:v>
                </c:pt>
                <c:pt idx="6874">
                  <c:v>3.464496</c:v>
                </c:pt>
                <c:pt idx="6875">
                  <c:v>3.465</c:v>
                </c:pt>
                <c:pt idx="6876">
                  <c:v>3.465504</c:v>
                </c:pt>
                <c:pt idx="6877">
                  <c:v>3.466008</c:v>
                </c:pt>
                <c:pt idx="6878">
                  <c:v>3.466512</c:v>
                </c:pt>
                <c:pt idx="6879">
                  <c:v>3.467016</c:v>
                </c:pt>
                <c:pt idx="6880">
                  <c:v>3.46752</c:v>
                </c:pt>
                <c:pt idx="6881">
                  <c:v>3.468024</c:v>
                </c:pt>
                <c:pt idx="6882">
                  <c:v>3.468528</c:v>
                </c:pt>
                <c:pt idx="6883">
                  <c:v>3.469032</c:v>
                </c:pt>
                <c:pt idx="6884">
                  <c:v>3.469536</c:v>
                </c:pt>
                <c:pt idx="6885">
                  <c:v>3.47004</c:v>
                </c:pt>
                <c:pt idx="6886">
                  <c:v>3.470544</c:v>
                </c:pt>
                <c:pt idx="6887">
                  <c:v>3.471048</c:v>
                </c:pt>
                <c:pt idx="6888">
                  <c:v>3.471552</c:v>
                </c:pt>
                <c:pt idx="6889">
                  <c:v>3.472056</c:v>
                </c:pt>
                <c:pt idx="6890">
                  <c:v>3.47256</c:v>
                </c:pt>
                <c:pt idx="6891">
                  <c:v>3.473064</c:v>
                </c:pt>
                <c:pt idx="6892">
                  <c:v>3.473568</c:v>
                </c:pt>
                <c:pt idx="6893">
                  <c:v>3.474072</c:v>
                </c:pt>
                <c:pt idx="6894">
                  <c:v>3.474576</c:v>
                </c:pt>
                <c:pt idx="6895">
                  <c:v>3.47508</c:v>
                </c:pt>
                <c:pt idx="6896">
                  <c:v>3.475584</c:v>
                </c:pt>
                <c:pt idx="6897">
                  <c:v>3.476088</c:v>
                </c:pt>
                <c:pt idx="6898">
                  <c:v>3.476592</c:v>
                </c:pt>
                <c:pt idx="6899">
                  <c:v>3.477096</c:v>
                </c:pt>
                <c:pt idx="6900">
                  <c:v>3.4776</c:v>
                </c:pt>
                <c:pt idx="6901">
                  <c:v>3.478104</c:v>
                </c:pt>
                <c:pt idx="6902">
                  <c:v>3.478608</c:v>
                </c:pt>
                <c:pt idx="6903">
                  <c:v>3.479112</c:v>
                </c:pt>
                <c:pt idx="6904">
                  <c:v>3.479616</c:v>
                </c:pt>
                <c:pt idx="6905">
                  <c:v>3.48012</c:v>
                </c:pt>
                <c:pt idx="6906">
                  <c:v>3.480624</c:v>
                </c:pt>
                <c:pt idx="6907">
                  <c:v>3.481128</c:v>
                </c:pt>
                <c:pt idx="6908">
                  <c:v>3.481632</c:v>
                </c:pt>
                <c:pt idx="6909">
                  <c:v>3.482136</c:v>
                </c:pt>
                <c:pt idx="6910">
                  <c:v>3.48264</c:v>
                </c:pt>
                <c:pt idx="6911">
                  <c:v>3.483144</c:v>
                </c:pt>
              </c:strCache>
            </c:strRef>
          </c:cat>
          <c:val>
            <c:numRef>
              <c:f>Data!$B$3:$B$6914</c:f>
              <c:numCache>
                <c:formatCode>General</c:formatCode>
                <c:ptCount val="6912"/>
                <c:pt idx="0">
                  <c:v>1.9810000000000001E-2</c:v>
                </c:pt>
                <c:pt idx="1">
                  <c:v>-1.5200000000000001E-4</c:v>
                </c:pt>
                <c:pt idx="2">
                  <c:v>-5.6111000000000001E-2</c:v>
                </c:pt>
                <c:pt idx="3">
                  <c:v>-3.9341000000000001E-2</c:v>
                </c:pt>
                <c:pt idx="4">
                  <c:v>-3.2365999999999999E-2</c:v>
                </c:pt>
                <c:pt idx="5">
                  <c:v>-6.3274999999999998E-2</c:v>
                </c:pt>
                <c:pt idx="6">
                  <c:v>-8.0985000000000001E-2</c:v>
                </c:pt>
                <c:pt idx="7">
                  <c:v>-2.7605999999999999E-2</c:v>
                </c:pt>
                <c:pt idx="8">
                  <c:v>-3.01E-4</c:v>
                </c:pt>
                <c:pt idx="9">
                  <c:v>-1.5610000000000001E-2</c:v>
                </c:pt>
                <c:pt idx="10">
                  <c:v>-9.2000000000000003E-4</c:v>
                </c:pt>
                <c:pt idx="11">
                  <c:v>2.0511999999999999E-2</c:v>
                </c:pt>
                <c:pt idx="12">
                  <c:v>3.6072E-2</c:v>
                </c:pt>
                <c:pt idx="13">
                  <c:v>0.175812</c:v>
                </c:pt>
                <c:pt idx="14">
                  <c:v>0.12187099999999999</c:v>
                </c:pt>
                <c:pt idx="15">
                  <c:v>-3.9280000000000002E-2</c:v>
                </c:pt>
                <c:pt idx="16">
                  <c:v>-0.12639</c:v>
                </c:pt>
                <c:pt idx="17">
                  <c:v>8.9219999999999994E-2</c:v>
                </c:pt>
                <c:pt idx="18">
                  <c:v>0.200073</c:v>
                </c:pt>
                <c:pt idx="19">
                  <c:v>0.13405700000000001</c:v>
                </c:pt>
                <c:pt idx="20">
                  <c:v>0.106431</c:v>
                </c:pt>
                <c:pt idx="21">
                  <c:v>-4.3908000000000003E-2</c:v>
                </c:pt>
                <c:pt idx="22">
                  <c:v>1.2008E-2</c:v>
                </c:pt>
                <c:pt idx="23">
                  <c:v>0.16834099999999999</c:v>
                </c:pt>
                <c:pt idx="24">
                  <c:v>-1.7474E-2</c:v>
                </c:pt>
                <c:pt idx="25">
                  <c:v>2.3708E-2</c:v>
                </c:pt>
                <c:pt idx="26">
                  <c:v>0.173904</c:v>
                </c:pt>
                <c:pt idx="27">
                  <c:v>-0.22243299999999999</c:v>
                </c:pt>
                <c:pt idx="28">
                  <c:v>-9.0827000000000005E-2</c:v>
                </c:pt>
                <c:pt idx="29">
                  <c:v>0.29690800000000001</c:v>
                </c:pt>
                <c:pt idx="30">
                  <c:v>3.9303999999999999E-2</c:v>
                </c:pt>
                <c:pt idx="31">
                  <c:v>-8.8054999999999994E-2</c:v>
                </c:pt>
                <c:pt idx="32">
                  <c:v>0.1106</c:v>
                </c:pt>
                <c:pt idx="33">
                  <c:v>0.21416399999999999</c:v>
                </c:pt>
                <c:pt idx="34">
                  <c:v>0.144875</c:v>
                </c:pt>
                <c:pt idx="35">
                  <c:v>0.115652</c:v>
                </c:pt>
                <c:pt idx="36">
                  <c:v>0.103052</c:v>
                </c:pt>
                <c:pt idx="37">
                  <c:v>0.30531000000000003</c:v>
                </c:pt>
                <c:pt idx="38">
                  <c:v>7.2356000000000004E-2</c:v>
                </c:pt>
                <c:pt idx="39">
                  <c:v>-0.106234</c:v>
                </c:pt>
                <c:pt idx="40">
                  <c:v>0.120378</c:v>
                </c:pt>
                <c:pt idx="41">
                  <c:v>0.10226399999999999</c:v>
                </c:pt>
                <c:pt idx="42">
                  <c:v>-4.4194999999999998E-2</c:v>
                </c:pt>
                <c:pt idx="43">
                  <c:v>1.3270000000000001E-2</c:v>
                </c:pt>
                <c:pt idx="44">
                  <c:v>3.1558999999999997E-2</c:v>
                </c:pt>
                <c:pt idx="45">
                  <c:v>4.5581000000000003E-2</c:v>
                </c:pt>
                <c:pt idx="46">
                  <c:v>4.5829000000000002E-2</c:v>
                </c:pt>
                <c:pt idx="47">
                  <c:v>5.2333999999999999E-2</c:v>
                </c:pt>
                <c:pt idx="48">
                  <c:v>0.188057</c:v>
                </c:pt>
                <c:pt idx="49">
                  <c:v>0.13220000000000001</c:v>
                </c:pt>
                <c:pt idx="50">
                  <c:v>0.10864500000000001</c:v>
                </c:pt>
                <c:pt idx="51">
                  <c:v>9.8492999999999997E-2</c:v>
                </c:pt>
                <c:pt idx="52">
                  <c:v>9.3913999999999997E-2</c:v>
                </c:pt>
                <c:pt idx="53">
                  <c:v>9.1662999999999994E-2</c:v>
                </c:pt>
                <c:pt idx="54">
                  <c:v>9.0396000000000004E-2</c:v>
                </c:pt>
                <c:pt idx="55">
                  <c:v>-4.9077999999999997E-2</c:v>
                </c:pt>
                <c:pt idx="56">
                  <c:v>1.1287999999999999E-2</c:v>
                </c:pt>
                <c:pt idx="57">
                  <c:v>3.0786999999999998E-2</c:v>
                </c:pt>
                <c:pt idx="58">
                  <c:v>4.5317000000000003E-2</c:v>
                </c:pt>
                <c:pt idx="59">
                  <c:v>0.18441199999999999</c:v>
                </c:pt>
                <c:pt idx="60">
                  <c:v>0.129997</c:v>
                </c:pt>
                <c:pt idx="61">
                  <c:v>-3.1546999999999999E-2</c:v>
                </c:pt>
                <c:pt idx="62">
                  <c:v>1.9623000000000002E-2</c:v>
                </c:pt>
                <c:pt idx="63">
                  <c:v>0.17389399999999999</c:v>
                </c:pt>
                <c:pt idx="64">
                  <c:v>0.12576100000000001</c:v>
                </c:pt>
                <c:pt idx="65">
                  <c:v>0.105446</c:v>
                </c:pt>
                <c:pt idx="66">
                  <c:v>9.6673999999999996E-2</c:v>
                </c:pt>
                <c:pt idx="67">
                  <c:v>9.2702999999999994E-2</c:v>
                </c:pt>
                <c:pt idx="68">
                  <c:v>9.0737999999999999E-2</c:v>
                </c:pt>
                <c:pt idx="69">
                  <c:v>8.9621000000000006E-2</c:v>
                </c:pt>
                <c:pt idx="70">
                  <c:v>-4.9757999999999997E-2</c:v>
                </c:pt>
                <c:pt idx="71">
                  <c:v>1.0676E-2</c:v>
                </c:pt>
                <c:pt idx="72">
                  <c:v>3.0231000000000001E-2</c:v>
                </c:pt>
                <c:pt idx="73">
                  <c:v>4.4810000000000003E-2</c:v>
                </c:pt>
                <c:pt idx="74">
                  <c:v>4.5322000000000001E-2</c:v>
                </c:pt>
                <c:pt idx="75">
                  <c:v>-8.6665000000000006E-2</c:v>
                </c:pt>
                <c:pt idx="76">
                  <c:v>0.110161</c:v>
                </c:pt>
                <c:pt idx="77">
                  <c:v>0.21304999999999999</c:v>
                </c:pt>
                <c:pt idx="78">
                  <c:v>0.14355999999999999</c:v>
                </c:pt>
                <c:pt idx="79">
                  <c:v>-2.4301E-2</c:v>
                </c:pt>
                <c:pt idx="80">
                  <c:v>2.4184000000000001E-2</c:v>
                </c:pt>
                <c:pt idx="81">
                  <c:v>3.8644999999999999E-2</c:v>
                </c:pt>
                <c:pt idx="82">
                  <c:v>5.0978000000000002E-2</c:v>
                </c:pt>
                <c:pt idx="83">
                  <c:v>0.53563499999999997</c:v>
                </c:pt>
                <c:pt idx="84">
                  <c:v>0.18953</c:v>
                </c:pt>
                <c:pt idx="85">
                  <c:v>-0.16938600000000001</c:v>
                </c:pt>
                <c:pt idx="86">
                  <c:v>-4.4427000000000001E-2</c:v>
                </c:pt>
                <c:pt idx="87">
                  <c:v>1.3827000000000001E-2</c:v>
                </c:pt>
                <c:pt idx="88">
                  <c:v>0.171074</c:v>
                </c:pt>
                <c:pt idx="89">
                  <c:v>-1.4416999999999999E-2</c:v>
                </c:pt>
                <c:pt idx="90">
                  <c:v>2.6848E-2</c:v>
                </c:pt>
                <c:pt idx="91">
                  <c:v>3.8399000000000003E-2</c:v>
                </c:pt>
                <c:pt idx="92">
                  <c:v>-8.9028999999999997E-2</c:v>
                </c:pt>
                <c:pt idx="93">
                  <c:v>-2.8958999999999999E-2</c:v>
                </c:pt>
                <c:pt idx="94">
                  <c:v>0.13571</c:v>
                </c:pt>
                <c:pt idx="95">
                  <c:v>8.6577000000000001E-2</c:v>
                </c:pt>
                <c:pt idx="96">
                  <c:v>7.2487999999999997E-2</c:v>
                </c:pt>
                <c:pt idx="97">
                  <c:v>0.19955000000000001</c:v>
                </c:pt>
                <c:pt idx="98">
                  <c:v>0.13998099999999999</c:v>
                </c:pt>
                <c:pt idx="99">
                  <c:v>-2.3859999999999999E-2</c:v>
                </c:pt>
                <c:pt idx="100">
                  <c:v>-0.112424</c:v>
                </c:pt>
                <c:pt idx="101">
                  <c:v>-3.6371000000000001E-2</c:v>
                </c:pt>
                <c:pt idx="102">
                  <c:v>-3.823E-3</c:v>
                </c:pt>
                <c:pt idx="103">
                  <c:v>0.149281</c:v>
                </c:pt>
                <c:pt idx="104">
                  <c:v>9.5202999999999996E-2</c:v>
                </c:pt>
                <c:pt idx="105">
                  <c:v>-5.9712000000000001E-2</c:v>
                </c:pt>
                <c:pt idx="106">
                  <c:v>0.12731600000000001</c:v>
                </c:pt>
                <c:pt idx="107">
                  <c:v>8.7232000000000004E-2</c:v>
                </c:pt>
                <c:pt idx="108">
                  <c:v>7.6688000000000006E-2</c:v>
                </c:pt>
                <c:pt idx="109">
                  <c:v>0.20502500000000001</c:v>
                </c:pt>
                <c:pt idx="110">
                  <c:v>7.169E-3</c:v>
                </c:pt>
                <c:pt idx="111">
                  <c:v>-9.5687999999999995E-2</c:v>
                </c:pt>
                <c:pt idx="112">
                  <c:v>0.112882</c:v>
                </c:pt>
                <c:pt idx="113">
                  <c:v>0.22033</c:v>
                </c:pt>
                <c:pt idx="114">
                  <c:v>1.3806000000000001E-2</c:v>
                </c:pt>
                <c:pt idx="115">
                  <c:v>-9.2655000000000001E-2</c:v>
                </c:pt>
                <c:pt idx="116">
                  <c:v>0.114408</c:v>
                </c:pt>
                <c:pt idx="117">
                  <c:v>0.42916500000000002</c:v>
                </c:pt>
                <c:pt idx="118">
                  <c:v>0.47741699999999998</c:v>
                </c:pt>
                <c:pt idx="119">
                  <c:v>-1.9734999999999999E-2</c:v>
                </c:pt>
                <c:pt idx="120">
                  <c:v>-0.487037</c:v>
                </c:pt>
                <c:pt idx="121">
                  <c:v>-0.222695</c:v>
                </c:pt>
                <c:pt idx="122">
                  <c:v>8.8013999999999995E-2</c:v>
                </c:pt>
                <c:pt idx="123">
                  <c:v>5.0181000000000003E-2</c:v>
                </c:pt>
                <c:pt idx="124">
                  <c:v>0.174012</c:v>
                </c:pt>
                <c:pt idx="125">
                  <c:v>0.24632599999999999</c:v>
                </c:pt>
                <c:pt idx="126">
                  <c:v>0.16384899999999999</c:v>
                </c:pt>
                <c:pt idx="127">
                  <c:v>-9.698E-3</c:v>
                </c:pt>
                <c:pt idx="128">
                  <c:v>-0.102489</c:v>
                </c:pt>
                <c:pt idx="129">
                  <c:v>0.110247</c:v>
                </c:pt>
                <c:pt idx="130">
                  <c:v>8.0786999999999998E-2</c:v>
                </c:pt>
                <c:pt idx="131">
                  <c:v>-6.4010999999999998E-2</c:v>
                </c:pt>
                <c:pt idx="132">
                  <c:v>0.127133</c:v>
                </c:pt>
                <c:pt idx="133">
                  <c:v>8.8679999999999995E-2</c:v>
                </c:pt>
                <c:pt idx="134">
                  <c:v>7.8743999999999995E-2</c:v>
                </c:pt>
                <c:pt idx="135">
                  <c:v>6.8637000000000004E-2</c:v>
                </c:pt>
                <c:pt idx="136">
                  <c:v>-6.8187999999999999E-2</c:v>
                </c:pt>
                <c:pt idx="137">
                  <c:v>0.12621599999999999</c:v>
                </c:pt>
                <c:pt idx="138">
                  <c:v>0.22770499999999999</c:v>
                </c:pt>
                <c:pt idx="139">
                  <c:v>1.8626E-2</c:v>
                </c:pt>
                <c:pt idx="140">
                  <c:v>4.9654999999999998E-2</c:v>
                </c:pt>
                <c:pt idx="141">
                  <c:v>5.6522999999999997E-2</c:v>
                </c:pt>
                <c:pt idx="142">
                  <c:v>6.5364000000000005E-2</c:v>
                </c:pt>
                <c:pt idx="143">
                  <c:v>0.20167099999999999</c:v>
                </c:pt>
                <c:pt idx="144">
                  <c:v>7.0590000000000002E-3</c:v>
                </c:pt>
                <c:pt idx="145">
                  <c:v>-9.4508999999999996E-2</c:v>
                </c:pt>
                <c:pt idx="146">
                  <c:v>-2.4087999999999998E-2</c:v>
                </c:pt>
                <c:pt idx="147">
                  <c:v>5.8950000000000001E-3</c:v>
                </c:pt>
                <c:pt idx="148">
                  <c:v>1.9085999999999999E-2</c:v>
                </c:pt>
                <c:pt idx="149">
                  <c:v>2.5281999999999999E-2</c:v>
                </c:pt>
                <c:pt idx="150">
                  <c:v>0.16717399999999999</c:v>
                </c:pt>
                <c:pt idx="151">
                  <c:v>0.24679899999999999</c:v>
                </c:pt>
                <c:pt idx="152">
                  <c:v>0.167189</c:v>
                </c:pt>
                <c:pt idx="153">
                  <c:v>0.13330700000000001</c:v>
                </c:pt>
                <c:pt idx="154">
                  <c:v>0.118412</c:v>
                </c:pt>
                <c:pt idx="155">
                  <c:v>0.111427</c:v>
                </c:pt>
                <c:pt idx="156">
                  <c:v>0.10775999999999999</c:v>
                </c:pt>
                <c:pt idx="157">
                  <c:v>0.105507</c:v>
                </c:pt>
                <c:pt idx="158">
                  <c:v>0.103876</c:v>
                </c:pt>
                <c:pt idx="159">
                  <c:v>-3.6089999999999997E-2</c:v>
                </c:pt>
                <c:pt idx="160">
                  <c:v>2.3744000000000001E-2</c:v>
                </c:pt>
                <c:pt idx="161">
                  <c:v>4.2713000000000001E-2</c:v>
                </c:pt>
                <c:pt idx="162">
                  <c:v>-8.1903000000000004E-2</c:v>
                </c:pt>
                <c:pt idx="163">
                  <c:v>0.117715</c:v>
                </c:pt>
                <c:pt idx="164">
                  <c:v>8.2881999999999997E-2</c:v>
                </c:pt>
                <c:pt idx="165">
                  <c:v>7.4548000000000003E-2</c:v>
                </c:pt>
                <c:pt idx="166">
                  <c:v>6.5202999999999997E-2</c:v>
                </c:pt>
                <c:pt idx="167">
                  <c:v>-7.1212999999999999E-2</c:v>
                </c:pt>
                <c:pt idx="168">
                  <c:v>0.123449</c:v>
                </c:pt>
                <c:pt idx="169">
                  <c:v>0.225129</c:v>
                </c:pt>
                <c:pt idx="170">
                  <c:v>1.6211E-2</c:v>
                </c:pt>
                <c:pt idx="171">
                  <c:v>-9.1248999999999997E-2</c:v>
                </c:pt>
                <c:pt idx="172">
                  <c:v>0.115396</c:v>
                </c:pt>
                <c:pt idx="173">
                  <c:v>0.222029</c:v>
                </c:pt>
                <c:pt idx="174">
                  <c:v>1.5151E-2</c:v>
                </c:pt>
                <c:pt idx="175">
                  <c:v>-9.1472999999999999E-2</c:v>
                </c:pt>
                <c:pt idx="176">
                  <c:v>-2.3122E-2</c:v>
                </c:pt>
                <c:pt idx="177">
                  <c:v>0.14465600000000001</c:v>
                </c:pt>
                <c:pt idx="178">
                  <c:v>9.6506999999999996E-2</c:v>
                </c:pt>
                <c:pt idx="179">
                  <c:v>8.2535999999999998E-2</c:v>
                </c:pt>
                <c:pt idx="180">
                  <c:v>0.209372</c:v>
                </c:pt>
                <c:pt idx="181">
                  <c:v>1.0815999999999999E-2</c:v>
                </c:pt>
                <c:pt idx="182">
                  <c:v>4.6226000000000003E-2</c:v>
                </c:pt>
                <c:pt idx="183">
                  <c:v>0.19355900000000001</c:v>
                </c:pt>
                <c:pt idx="184">
                  <c:v>0.14216400000000001</c:v>
                </c:pt>
                <c:pt idx="185">
                  <c:v>-0.22644700000000001</c:v>
                </c:pt>
                <c:pt idx="186">
                  <c:v>-8.3741999999999997E-2</c:v>
                </c:pt>
                <c:pt idx="187">
                  <c:v>0.16959199999999999</c:v>
                </c:pt>
                <c:pt idx="188">
                  <c:v>-2.5593999999999999E-2</c:v>
                </c:pt>
                <c:pt idx="189">
                  <c:v>0.14460799999999999</c:v>
                </c:pt>
                <c:pt idx="190">
                  <c:v>9.7416000000000003E-2</c:v>
                </c:pt>
                <c:pt idx="191">
                  <c:v>-5.4831999999999999E-2</c:v>
                </c:pt>
                <c:pt idx="192">
                  <c:v>-5.5069999999999997E-3</c:v>
                </c:pt>
                <c:pt idx="193">
                  <c:v>0.15426999999999999</c:v>
                </c:pt>
                <c:pt idx="194">
                  <c:v>0.24132300000000001</c:v>
                </c:pt>
                <c:pt idx="195">
                  <c:v>2.6176999999999999E-2</c:v>
                </c:pt>
                <c:pt idx="196">
                  <c:v>5.4609999999999999E-2</c:v>
                </c:pt>
                <c:pt idx="197">
                  <c:v>0.19895299999999999</c:v>
                </c:pt>
                <c:pt idx="198">
                  <c:v>0.14622499999999999</c:v>
                </c:pt>
                <c:pt idx="199">
                  <c:v>0.123547</c:v>
                </c:pt>
                <c:pt idx="200">
                  <c:v>0.113361</c:v>
                </c:pt>
                <c:pt idx="201">
                  <c:v>-3.0242000000000002E-2</c:v>
                </c:pt>
                <c:pt idx="202">
                  <c:v>2.8000000000000001E-2</c:v>
                </c:pt>
                <c:pt idx="203">
                  <c:v>0.18485699999999999</c:v>
                </c:pt>
                <c:pt idx="204">
                  <c:v>-1.1609999999999999E-3</c:v>
                </c:pt>
                <c:pt idx="205">
                  <c:v>-9.9090999999999999E-2</c:v>
                </c:pt>
                <c:pt idx="206">
                  <c:v>0.111542</c:v>
                </c:pt>
                <c:pt idx="207">
                  <c:v>0.219864</c:v>
                </c:pt>
                <c:pt idx="208">
                  <c:v>1.3723000000000001E-2</c:v>
                </c:pt>
                <c:pt idx="209">
                  <c:v>-9.2561000000000004E-2</c:v>
                </c:pt>
                <c:pt idx="210">
                  <c:v>-2.4036999999999999E-2</c:v>
                </c:pt>
                <c:pt idx="211">
                  <c:v>0.143845</c:v>
                </c:pt>
                <c:pt idx="212">
                  <c:v>9.5768000000000006E-2</c:v>
                </c:pt>
                <c:pt idx="213">
                  <c:v>8.1854999999999997E-2</c:v>
                </c:pt>
                <c:pt idx="214">
                  <c:v>0.20874200000000001</c:v>
                </c:pt>
                <c:pt idx="215">
                  <c:v>0.148863</c:v>
                </c:pt>
                <c:pt idx="216">
                  <c:v>0.12330000000000001</c:v>
                </c:pt>
                <c:pt idx="217">
                  <c:v>-2.664E-2</c:v>
                </c:pt>
                <c:pt idx="218">
                  <c:v>-0.109622</c:v>
                </c:pt>
                <c:pt idx="219">
                  <c:v>0.10720499999999999</c:v>
                </c:pt>
                <c:pt idx="220">
                  <c:v>7.9465999999999995E-2</c:v>
                </c:pt>
                <c:pt idx="221">
                  <c:v>7.4037000000000006E-2</c:v>
                </c:pt>
                <c:pt idx="222">
                  <c:v>0.20449400000000001</c:v>
                </c:pt>
                <c:pt idx="223">
                  <c:v>7.5180000000000004E-3</c:v>
                </c:pt>
                <c:pt idx="224">
                  <c:v>4.3657000000000001E-2</c:v>
                </c:pt>
                <c:pt idx="225">
                  <c:v>0.19136300000000001</c:v>
                </c:pt>
                <c:pt idx="226">
                  <c:v>1.5610000000000001E-3</c:v>
                </c:pt>
                <c:pt idx="227">
                  <c:v>4.0697999999999998E-2</c:v>
                </c:pt>
                <c:pt idx="228">
                  <c:v>0.18967300000000001</c:v>
                </c:pt>
                <c:pt idx="229">
                  <c:v>4.2000000000000002E-4</c:v>
                </c:pt>
                <c:pt idx="230">
                  <c:v>-9.8821000000000006E-2</c:v>
                </c:pt>
                <c:pt idx="231">
                  <c:v>-2.7335000000000002E-2</c:v>
                </c:pt>
                <c:pt idx="232">
                  <c:v>0.141816</c:v>
                </c:pt>
                <c:pt idx="233">
                  <c:v>0.232935</c:v>
                </c:pt>
                <c:pt idx="234">
                  <c:v>1.9649E-2</c:v>
                </c:pt>
                <c:pt idx="235">
                  <c:v>-8.9612999999999998E-2</c:v>
                </c:pt>
                <c:pt idx="236">
                  <c:v>-2.2339000000000001E-2</c:v>
                </c:pt>
                <c:pt idx="237">
                  <c:v>0.145009</c:v>
                </c:pt>
                <c:pt idx="238">
                  <c:v>9.6695000000000003E-2</c:v>
                </c:pt>
                <c:pt idx="239">
                  <c:v>-5.5960000000000003E-2</c:v>
                </c:pt>
                <c:pt idx="240">
                  <c:v>0.131882</c:v>
                </c:pt>
                <c:pt idx="241">
                  <c:v>9.2019000000000004E-2</c:v>
                </c:pt>
                <c:pt idx="242">
                  <c:v>8.1456000000000001E-2</c:v>
                </c:pt>
                <c:pt idx="243">
                  <c:v>0.20968000000000001</c:v>
                </c:pt>
                <c:pt idx="244">
                  <c:v>0.150309</c:v>
                </c:pt>
                <c:pt idx="245">
                  <c:v>-1.372E-2</c:v>
                </c:pt>
                <c:pt idx="246">
                  <c:v>-0.102618</c:v>
                </c:pt>
                <c:pt idx="247">
                  <c:v>0.111683</c:v>
                </c:pt>
                <c:pt idx="248">
                  <c:v>0.22145599999999999</c:v>
                </c:pt>
                <c:pt idx="249">
                  <c:v>0.15448000000000001</c:v>
                </c:pt>
                <c:pt idx="250">
                  <c:v>0.125968</c:v>
                </c:pt>
                <c:pt idx="251">
                  <c:v>-2.52E-2</c:v>
                </c:pt>
                <c:pt idx="252">
                  <c:v>-0.108699</c:v>
                </c:pt>
                <c:pt idx="253">
                  <c:v>0.107907</c:v>
                </c:pt>
                <c:pt idx="254">
                  <c:v>0.21870000000000001</c:v>
                </c:pt>
                <c:pt idx="255">
                  <c:v>0.15220900000000001</c:v>
                </c:pt>
                <c:pt idx="256">
                  <c:v>-1.4673E-2</c:v>
                </c:pt>
                <c:pt idx="257">
                  <c:v>-0.10466200000000001</c:v>
                </c:pt>
                <c:pt idx="258">
                  <c:v>-2.9356E-2</c:v>
                </c:pt>
                <c:pt idx="259">
                  <c:v>2.7330000000000002E-3</c:v>
                </c:pt>
                <c:pt idx="260">
                  <c:v>0.15550600000000001</c:v>
                </c:pt>
                <c:pt idx="261">
                  <c:v>0.101156</c:v>
                </c:pt>
                <c:pt idx="262">
                  <c:v>-5.3999999999999999E-2</c:v>
                </c:pt>
                <c:pt idx="263">
                  <c:v>0.13280700000000001</c:v>
                </c:pt>
                <c:pt idx="264">
                  <c:v>0.23114499999999999</c:v>
                </c:pt>
                <c:pt idx="265">
                  <c:v>2.0759E-2</c:v>
                </c:pt>
                <c:pt idx="266">
                  <c:v>-8.7387000000000006E-2</c:v>
                </c:pt>
                <c:pt idx="267">
                  <c:v>-1.9732E-2</c:v>
                </c:pt>
                <c:pt idx="268">
                  <c:v>9.0650000000000001E-3</c:v>
                </c:pt>
                <c:pt idx="269">
                  <c:v>2.1727E-2</c:v>
                </c:pt>
                <c:pt idx="270">
                  <c:v>0.166299</c:v>
                </c:pt>
                <c:pt idx="271">
                  <c:v>0.108405</c:v>
                </c:pt>
                <c:pt idx="272">
                  <c:v>9.0272000000000005E-2</c:v>
                </c:pt>
                <c:pt idx="273">
                  <c:v>7.6635999999999996E-2</c:v>
                </c:pt>
                <c:pt idx="274">
                  <c:v>7.6850000000000002E-2</c:v>
                </c:pt>
                <c:pt idx="275">
                  <c:v>7.0827000000000001E-2</c:v>
                </c:pt>
                <c:pt idx="276">
                  <c:v>-6.4421999999999993E-2</c:v>
                </c:pt>
                <c:pt idx="277">
                  <c:v>0.130525</c:v>
                </c:pt>
                <c:pt idx="278">
                  <c:v>0.23213400000000001</c:v>
                </c:pt>
                <c:pt idx="279">
                  <c:v>2.3005999999999999E-2</c:v>
                </c:pt>
                <c:pt idx="280">
                  <c:v>5.3920000000000003E-2</c:v>
                </c:pt>
                <c:pt idx="281">
                  <c:v>6.0650000000000003E-2</c:v>
                </c:pt>
                <c:pt idx="282">
                  <c:v>-6.9280999999999995E-2</c:v>
                </c:pt>
                <c:pt idx="283">
                  <c:v>0.12790199999999999</c:v>
                </c:pt>
                <c:pt idx="284">
                  <c:v>9.1838000000000003E-2</c:v>
                </c:pt>
                <c:pt idx="285">
                  <c:v>8.2782999999999995E-2</c:v>
                </c:pt>
                <c:pt idx="286">
                  <c:v>7.2939000000000004E-2</c:v>
                </c:pt>
                <c:pt idx="287">
                  <c:v>-6.3874E-2</c:v>
                </c:pt>
                <c:pt idx="288">
                  <c:v>-8.1869999999999998E-3</c:v>
                </c:pt>
                <c:pt idx="289">
                  <c:v>0.154193</c:v>
                </c:pt>
                <c:pt idx="290">
                  <c:v>0.10366300000000001</c:v>
                </c:pt>
                <c:pt idx="291">
                  <c:v>8.8568999999999995E-2</c:v>
                </c:pt>
                <c:pt idx="292">
                  <c:v>7.6179999999999998E-2</c:v>
                </c:pt>
                <c:pt idx="293">
                  <c:v>-6.173E-2</c:v>
                </c:pt>
                <c:pt idx="294">
                  <c:v>0.13209199999999999</c:v>
                </c:pt>
                <c:pt idx="295">
                  <c:v>9.4583E-2</c:v>
                </c:pt>
                <c:pt idx="296">
                  <c:v>-5.3751E-2</c:v>
                </c:pt>
                <c:pt idx="297">
                  <c:v>0.13573499999999999</c:v>
                </c:pt>
                <c:pt idx="298">
                  <c:v>9.6412999999999999E-2</c:v>
                </c:pt>
                <c:pt idx="299">
                  <c:v>8.5942000000000005E-2</c:v>
                </c:pt>
                <c:pt idx="300">
                  <c:v>0.21407799999999999</c:v>
                </c:pt>
                <c:pt idx="301">
                  <c:v>0.15454999999999999</c:v>
                </c:pt>
                <c:pt idx="302">
                  <c:v>-9.6559999999999997E-3</c:v>
                </c:pt>
                <c:pt idx="303">
                  <c:v>3.9893999999999999E-2</c:v>
                </c:pt>
                <c:pt idx="304">
                  <c:v>0.19300100000000001</c:v>
                </c:pt>
                <c:pt idx="305">
                  <c:v>0.14391799999999999</c:v>
                </c:pt>
                <c:pt idx="306">
                  <c:v>-1.5865000000000001E-2</c:v>
                </c:pt>
                <c:pt idx="307">
                  <c:v>-0.10302</c:v>
                </c:pt>
                <c:pt idx="308">
                  <c:v>-2.6643E-2</c:v>
                </c:pt>
                <c:pt idx="309">
                  <c:v>0.144423</c:v>
                </c:pt>
                <c:pt idx="310">
                  <c:v>9.7600999999999993E-2</c:v>
                </c:pt>
                <c:pt idx="311">
                  <c:v>-5.4482999999999997E-2</c:v>
                </c:pt>
                <c:pt idx="312">
                  <c:v>-5.0790000000000002E-3</c:v>
                </c:pt>
                <c:pt idx="313">
                  <c:v>1.6111E-2</c:v>
                </c:pt>
                <c:pt idx="314">
                  <c:v>2.5576999999999999E-2</c:v>
                </c:pt>
                <c:pt idx="315">
                  <c:v>0.37672699999999998</c:v>
                </c:pt>
                <c:pt idx="316">
                  <c:v>0.36533199999999999</c:v>
                </c:pt>
                <c:pt idx="317">
                  <c:v>-9.0761999999999995E-2</c:v>
                </c:pt>
                <c:pt idx="318">
                  <c:v>5.3880000000000004E-3</c:v>
                </c:pt>
                <c:pt idx="319">
                  <c:v>3.9217000000000002E-2</c:v>
                </c:pt>
                <c:pt idx="320">
                  <c:v>-7.9417000000000001E-2</c:v>
                </c:pt>
                <c:pt idx="321">
                  <c:v>-1.6118E-2</c:v>
                </c:pt>
                <c:pt idx="322">
                  <c:v>1.0865E-2</c:v>
                </c:pt>
                <c:pt idx="323">
                  <c:v>0.16139600000000001</c:v>
                </c:pt>
                <c:pt idx="324">
                  <c:v>0.24462700000000001</c:v>
                </c:pt>
                <c:pt idx="325">
                  <c:v>0.16653599999999999</c:v>
                </c:pt>
                <c:pt idx="326">
                  <c:v>-5.3220000000000003E-3</c:v>
                </c:pt>
                <c:pt idx="327">
                  <c:v>-9.7536999999999999E-2</c:v>
                </c:pt>
                <c:pt idx="328">
                  <c:v>-2.3309E-2</c:v>
                </c:pt>
                <c:pt idx="329">
                  <c:v>8.1860000000000006E-3</c:v>
                </c:pt>
                <c:pt idx="330">
                  <c:v>0.16057199999999999</c:v>
                </c:pt>
                <c:pt idx="331">
                  <c:v>0.244558</c:v>
                </c:pt>
                <c:pt idx="332">
                  <c:v>2.8136999999999999E-2</c:v>
                </c:pt>
                <c:pt idx="333">
                  <c:v>-8.2594000000000001E-2</c:v>
                </c:pt>
                <c:pt idx="334">
                  <c:v>-1.609E-2</c:v>
                </c:pt>
                <c:pt idx="335">
                  <c:v>0.150784</c:v>
                </c:pt>
                <c:pt idx="336">
                  <c:v>0.240758</c:v>
                </c:pt>
                <c:pt idx="337">
                  <c:v>0.165435</c:v>
                </c:pt>
                <c:pt idx="338">
                  <c:v>0.133329</c:v>
                </c:pt>
                <c:pt idx="339">
                  <c:v>-1.9459000000000001E-2</c:v>
                </c:pt>
                <c:pt idx="340">
                  <c:v>-0.103753</c:v>
                </c:pt>
                <c:pt idx="341">
                  <c:v>-2.6224000000000001E-2</c:v>
                </c:pt>
                <c:pt idx="342">
                  <c:v>0.145287</c:v>
                </c:pt>
                <c:pt idx="343">
                  <c:v>9.8618999999999998E-2</c:v>
                </c:pt>
                <c:pt idx="344">
                  <c:v>-5.3430999999999999E-2</c:v>
                </c:pt>
                <c:pt idx="345">
                  <c:v>-4.0410000000000003E-3</c:v>
                </c:pt>
                <c:pt idx="346">
                  <c:v>3.643E-3</c:v>
                </c:pt>
                <c:pt idx="347">
                  <c:v>0.13772999999999999</c:v>
                </c:pt>
                <c:pt idx="348">
                  <c:v>0.20543400000000001</c:v>
                </c:pt>
                <c:pt idx="349">
                  <c:v>-2.6686999999999999E-2</c:v>
                </c:pt>
                <c:pt idx="350">
                  <c:v>-1.4489E-2</c:v>
                </c:pt>
                <c:pt idx="351">
                  <c:v>-2.4936E-2</c:v>
                </c:pt>
                <c:pt idx="352">
                  <c:v>-0.37957400000000002</c:v>
                </c:pt>
                <c:pt idx="353">
                  <c:v>-0.24629999999999999</c:v>
                </c:pt>
                <c:pt idx="354">
                  <c:v>-2.4909000000000001E-2</c:v>
                </c:pt>
                <c:pt idx="355">
                  <c:v>-0.12778</c:v>
                </c:pt>
                <c:pt idx="356">
                  <c:v>-0.197991</c:v>
                </c:pt>
                <c:pt idx="357">
                  <c:v>-0.25574400000000003</c:v>
                </c:pt>
                <c:pt idx="358">
                  <c:v>-0.17303499999999999</c:v>
                </c:pt>
                <c:pt idx="359">
                  <c:v>-0.148892</c:v>
                </c:pt>
                <c:pt idx="360">
                  <c:v>-0.42049199999999998</c:v>
                </c:pt>
                <c:pt idx="361">
                  <c:v>-0.451463</c:v>
                </c:pt>
                <c:pt idx="362">
                  <c:v>-0.40161799999999998</c:v>
                </c:pt>
                <c:pt idx="363">
                  <c:v>-0.55300199999999999</c:v>
                </c:pt>
                <c:pt idx="364">
                  <c:v>-0.67820199999999997</c:v>
                </c:pt>
                <c:pt idx="365">
                  <c:v>-0.79473700000000003</c:v>
                </c:pt>
                <c:pt idx="366">
                  <c:v>-0.90976199999999996</c:v>
                </c:pt>
                <c:pt idx="367">
                  <c:v>-1.0261469999999999</c:v>
                </c:pt>
                <c:pt idx="368">
                  <c:v>-1.144987</c:v>
                </c:pt>
                <c:pt idx="369">
                  <c:v>-1.266651</c:v>
                </c:pt>
                <c:pt idx="370">
                  <c:v>-1.4443809999999999</c:v>
                </c:pt>
                <c:pt idx="371">
                  <c:v>-1.6289199999999999</c:v>
                </c:pt>
                <c:pt idx="372">
                  <c:v>-1.6154980000000001</c:v>
                </c:pt>
                <c:pt idx="373">
                  <c:v>-1.6972739999999999</c:v>
                </c:pt>
                <c:pt idx="374">
                  <c:v>-1.8868739999999999</c:v>
                </c:pt>
                <c:pt idx="375">
                  <c:v>-2.0722520000000002</c:v>
                </c:pt>
                <c:pt idx="376">
                  <c:v>-2.3930470000000001</c:v>
                </c:pt>
                <c:pt idx="377">
                  <c:v>-2.320011</c:v>
                </c:pt>
                <c:pt idx="378">
                  <c:v>-2.4296679999999999</c:v>
                </c:pt>
                <c:pt idx="379">
                  <c:v>-2.5942829999999999</c:v>
                </c:pt>
                <c:pt idx="380">
                  <c:v>-2.5915119999999998</c:v>
                </c:pt>
                <c:pt idx="381">
                  <c:v>-2.692091</c:v>
                </c:pt>
                <c:pt idx="382">
                  <c:v>-2.914209</c:v>
                </c:pt>
                <c:pt idx="383">
                  <c:v>-3.1329959999999999</c:v>
                </c:pt>
                <c:pt idx="384">
                  <c:v>-2.9523459999999999</c:v>
                </c:pt>
                <c:pt idx="385">
                  <c:v>-2.9551850000000002</c:v>
                </c:pt>
                <c:pt idx="386">
                  <c:v>-3.1022219999999998</c:v>
                </c:pt>
                <c:pt idx="387">
                  <c:v>-3.1628090000000002</c:v>
                </c:pt>
                <c:pt idx="388">
                  <c:v>-3.3088109999999999</c:v>
                </c:pt>
                <c:pt idx="389">
                  <c:v>-3.0931000000000002</c:v>
                </c:pt>
                <c:pt idx="390">
                  <c:v>-3.1514340000000001</c:v>
                </c:pt>
                <c:pt idx="391">
                  <c:v>-3.4745170000000001</c:v>
                </c:pt>
                <c:pt idx="392">
                  <c:v>-3.3447230000000001</c:v>
                </c:pt>
                <c:pt idx="393">
                  <c:v>-3.3793760000000002</c:v>
                </c:pt>
                <c:pt idx="394">
                  <c:v>-3.739404</c:v>
                </c:pt>
                <c:pt idx="395">
                  <c:v>-3.8556189999999999</c:v>
                </c:pt>
                <c:pt idx="396">
                  <c:v>-3.918901</c:v>
                </c:pt>
                <c:pt idx="397">
                  <c:v>-4.4239189999999997</c:v>
                </c:pt>
                <c:pt idx="398">
                  <c:v>-4.9722280000000003</c:v>
                </c:pt>
                <c:pt idx="399">
                  <c:v>-5.3014679999999998</c:v>
                </c:pt>
                <c:pt idx="400">
                  <c:v>-5.660514</c:v>
                </c:pt>
                <c:pt idx="401">
                  <c:v>-6.0402240000000003</c:v>
                </c:pt>
                <c:pt idx="402">
                  <c:v>-6.4780920000000002</c:v>
                </c:pt>
                <c:pt idx="403">
                  <c:v>-6.7273310000000004</c:v>
                </c:pt>
                <c:pt idx="404">
                  <c:v>-7.0800999999999998</c:v>
                </c:pt>
                <c:pt idx="405">
                  <c:v>-7.6847310000000002</c:v>
                </c:pt>
                <c:pt idx="406">
                  <c:v>-8.2330919999999992</c:v>
                </c:pt>
                <c:pt idx="407">
                  <c:v>-8.5604739999999993</c:v>
                </c:pt>
                <c:pt idx="408">
                  <c:v>-8.6356769999999994</c:v>
                </c:pt>
                <c:pt idx="409">
                  <c:v>-8.7626039999999996</c:v>
                </c:pt>
                <c:pt idx="410">
                  <c:v>-9.0709060000000008</c:v>
                </c:pt>
                <c:pt idx="411">
                  <c:v>-9.4492419999999999</c:v>
                </c:pt>
                <c:pt idx="412">
                  <c:v>-9.8663679999999996</c:v>
                </c:pt>
                <c:pt idx="413">
                  <c:v>-10.3088865</c:v>
                </c:pt>
                <c:pt idx="414">
                  <c:v>-10.5663242</c:v>
                </c:pt>
                <c:pt idx="415">
                  <c:v>-10.588424699999999</c:v>
                </c:pt>
                <c:pt idx="416">
                  <c:v>-11.0119057</c:v>
                </c:pt>
                <c:pt idx="417">
                  <c:v>-11.777051</c:v>
                </c:pt>
                <c:pt idx="418">
                  <c:v>-12.091760600000001</c:v>
                </c:pt>
                <c:pt idx="419">
                  <c:v>-12.1666107</c:v>
                </c:pt>
                <c:pt idx="420">
                  <c:v>-12.705481499999999</c:v>
                </c:pt>
                <c:pt idx="421">
                  <c:v>-13.215652499999999</c:v>
                </c:pt>
                <c:pt idx="422">
                  <c:v>-13.3192825</c:v>
                </c:pt>
                <c:pt idx="423">
                  <c:v>-13.74011</c:v>
                </c:pt>
                <c:pt idx="424">
                  <c:v>-14.18384</c:v>
                </c:pt>
                <c:pt idx="425">
                  <c:v>-14.3111382</c:v>
                </c:pt>
                <c:pt idx="426">
                  <c:v>-14.627853399999999</c:v>
                </c:pt>
                <c:pt idx="427">
                  <c:v>-14.884353600000001</c:v>
                </c:pt>
                <c:pt idx="428">
                  <c:v>-15.1752272</c:v>
                </c:pt>
                <c:pt idx="429">
                  <c:v>-15.544351600000001</c:v>
                </c:pt>
                <c:pt idx="430">
                  <c:v>-15.6868134</c:v>
                </c:pt>
                <c:pt idx="431">
                  <c:v>-15.769531300000001</c:v>
                </c:pt>
                <c:pt idx="432">
                  <c:v>-16.214061699999998</c:v>
                </c:pt>
                <c:pt idx="433">
                  <c:v>-16.509202999999999</c:v>
                </c:pt>
                <c:pt idx="434">
                  <c:v>-16.62201</c:v>
                </c:pt>
                <c:pt idx="435">
                  <c:v>-17.0903168</c:v>
                </c:pt>
                <c:pt idx="436">
                  <c:v>-17.2754555</c:v>
                </c:pt>
                <c:pt idx="437">
                  <c:v>-17.587263100000001</c:v>
                </c:pt>
                <c:pt idx="438">
                  <c:v>-18.092578899999999</c:v>
                </c:pt>
                <c:pt idx="439">
                  <c:v>-18.376915</c:v>
                </c:pt>
                <c:pt idx="440">
                  <c:v>-18.612735700000002</c:v>
                </c:pt>
                <c:pt idx="441">
                  <c:v>-18.81897</c:v>
                </c:pt>
                <c:pt idx="442">
                  <c:v>-19.156078300000001</c:v>
                </c:pt>
                <c:pt idx="443">
                  <c:v>-19.5537949</c:v>
                </c:pt>
                <c:pt idx="444">
                  <c:v>-19.784685100000001</c:v>
                </c:pt>
                <c:pt idx="445">
                  <c:v>-20.336574599999999</c:v>
                </c:pt>
                <c:pt idx="446">
                  <c:v>-20.7197</c:v>
                </c:pt>
                <c:pt idx="447">
                  <c:v>-20.6231823</c:v>
                </c:pt>
                <c:pt idx="448">
                  <c:v>-20.790286999999999</c:v>
                </c:pt>
                <c:pt idx="449">
                  <c:v>-20.944545699999999</c:v>
                </c:pt>
                <c:pt idx="450">
                  <c:v>-21.086986499999998</c:v>
                </c:pt>
                <c:pt idx="451">
                  <c:v>-21.217052500000001</c:v>
                </c:pt>
                <c:pt idx="452">
                  <c:v>-21.268672899999999</c:v>
                </c:pt>
                <c:pt idx="453">
                  <c:v>-21.474027599999999</c:v>
                </c:pt>
                <c:pt idx="454">
                  <c:v>-21.6214218</c:v>
                </c:pt>
                <c:pt idx="455">
                  <c:v>-21.741160000000001</c:v>
                </c:pt>
                <c:pt idx="456">
                  <c:v>-22.180789999999998</c:v>
                </c:pt>
                <c:pt idx="457">
                  <c:v>-22.528335599999998</c:v>
                </c:pt>
                <c:pt idx="458">
                  <c:v>-22.6231346</c:v>
                </c:pt>
                <c:pt idx="459">
                  <c:v>-22.8618469</c:v>
                </c:pt>
                <c:pt idx="460">
                  <c:v>-22.833173800000001</c:v>
                </c:pt>
                <c:pt idx="461">
                  <c:v>-22.931098899999999</c:v>
                </c:pt>
                <c:pt idx="462">
                  <c:v>-23.1465073</c:v>
                </c:pt>
                <c:pt idx="463">
                  <c:v>-23.0930939</c:v>
                </c:pt>
                <c:pt idx="464">
                  <c:v>-23.361673400000001</c:v>
                </c:pt>
                <c:pt idx="465">
                  <c:v>-23.528148699999999</c:v>
                </c:pt>
                <c:pt idx="466">
                  <c:v>-23.327545199999999</c:v>
                </c:pt>
                <c:pt idx="467">
                  <c:v>-23.351161999999999</c:v>
                </c:pt>
                <c:pt idx="468">
                  <c:v>-23.481403400000001</c:v>
                </c:pt>
                <c:pt idx="469">
                  <c:v>-23.5384216</c:v>
                </c:pt>
                <c:pt idx="470">
                  <c:v>-23.761232400000001</c:v>
                </c:pt>
                <c:pt idx="471">
                  <c:v>-23.737533599999999</c:v>
                </c:pt>
                <c:pt idx="472">
                  <c:v>-23.6544685</c:v>
                </c:pt>
                <c:pt idx="473">
                  <c:v>-23.728284800000001</c:v>
                </c:pt>
                <c:pt idx="474">
                  <c:v>-23.627557800000002</c:v>
                </c:pt>
                <c:pt idx="475">
                  <c:v>-23.524183300000001</c:v>
                </c:pt>
                <c:pt idx="476">
                  <c:v>-23.5485954</c:v>
                </c:pt>
                <c:pt idx="477">
                  <c:v>-23.502925900000001</c:v>
                </c:pt>
                <c:pt idx="478">
                  <c:v>-23.423278799999999</c:v>
                </c:pt>
                <c:pt idx="479">
                  <c:v>-23.523328800000002</c:v>
                </c:pt>
                <c:pt idx="480">
                  <c:v>-23.383323699999998</c:v>
                </c:pt>
                <c:pt idx="481">
                  <c:v>-23.456994999999999</c:v>
                </c:pt>
                <c:pt idx="482">
                  <c:v>-23.504909999999999</c:v>
                </c:pt>
                <c:pt idx="483">
                  <c:v>-23.451477100000002</c:v>
                </c:pt>
                <c:pt idx="484">
                  <c:v>-23.544107400000001</c:v>
                </c:pt>
                <c:pt idx="485">
                  <c:v>-23.587646500000002</c:v>
                </c:pt>
                <c:pt idx="486">
                  <c:v>-23.404016500000001</c:v>
                </c:pt>
                <c:pt idx="487">
                  <c:v>-23.233875300000001</c:v>
                </c:pt>
                <c:pt idx="488">
                  <c:v>-23.257915499999999</c:v>
                </c:pt>
                <c:pt idx="489">
                  <c:v>-23.185142500000001</c:v>
                </c:pt>
                <c:pt idx="490">
                  <c:v>-23.359991099999998</c:v>
                </c:pt>
                <c:pt idx="491">
                  <c:v>-23.2877121</c:v>
                </c:pt>
                <c:pt idx="492">
                  <c:v>-23.369087199999999</c:v>
                </c:pt>
                <c:pt idx="493">
                  <c:v>-23.7986279</c:v>
                </c:pt>
                <c:pt idx="494">
                  <c:v>-23.694109000000001</c:v>
                </c:pt>
                <c:pt idx="495">
                  <c:v>-23.787778899999999</c:v>
                </c:pt>
                <c:pt idx="496">
                  <c:v>-23.9771252</c:v>
                </c:pt>
                <c:pt idx="497">
                  <c:v>-23.891475700000001</c:v>
                </c:pt>
                <c:pt idx="498">
                  <c:v>-24.2238331</c:v>
                </c:pt>
                <c:pt idx="499">
                  <c:v>-24.264102900000001</c:v>
                </c:pt>
                <c:pt idx="500">
                  <c:v>-23.758626899999999</c:v>
                </c:pt>
                <c:pt idx="501">
                  <c:v>-24.021778099999999</c:v>
                </c:pt>
                <c:pt idx="502">
                  <c:v>-24.413301499999999</c:v>
                </c:pt>
                <c:pt idx="503">
                  <c:v>-24.227664900000001</c:v>
                </c:pt>
                <c:pt idx="504">
                  <c:v>-24.071059999999999</c:v>
                </c:pt>
                <c:pt idx="505">
                  <c:v>-24.18515</c:v>
                </c:pt>
                <c:pt idx="506">
                  <c:v>-24.331211100000001</c:v>
                </c:pt>
                <c:pt idx="507">
                  <c:v>-23.988012300000001</c:v>
                </c:pt>
                <c:pt idx="508">
                  <c:v>-23.582742700000001</c:v>
                </c:pt>
                <c:pt idx="509">
                  <c:v>-23.591051100000001</c:v>
                </c:pt>
                <c:pt idx="510">
                  <c:v>-23.6816444</c:v>
                </c:pt>
                <c:pt idx="511">
                  <c:v>-23.625080000000001</c:v>
                </c:pt>
                <c:pt idx="512">
                  <c:v>-23.361160000000002</c:v>
                </c:pt>
                <c:pt idx="513">
                  <c:v>-23.3189487</c:v>
                </c:pt>
                <c:pt idx="514">
                  <c:v>-23.163969000000002</c:v>
                </c:pt>
                <c:pt idx="515">
                  <c:v>-23.0370445</c:v>
                </c:pt>
                <c:pt idx="516">
                  <c:v>-22.712844799999999</c:v>
                </c:pt>
                <c:pt idx="517">
                  <c:v>-22.5576477</c:v>
                </c:pt>
                <c:pt idx="518">
                  <c:v>-22.747465099999999</c:v>
                </c:pt>
                <c:pt idx="519">
                  <c:v>-22.533502599999998</c:v>
                </c:pt>
                <c:pt idx="520">
                  <c:v>-22.310615500000001</c:v>
                </c:pt>
                <c:pt idx="521">
                  <c:v>-22.211254100000001</c:v>
                </c:pt>
                <c:pt idx="522">
                  <c:v>-22.006748200000001</c:v>
                </c:pt>
                <c:pt idx="523">
                  <c:v>-21.700285000000001</c:v>
                </c:pt>
                <c:pt idx="524">
                  <c:v>-21.603480000000001</c:v>
                </c:pt>
                <c:pt idx="525">
                  <c:v>-21.482694599999999</c:v>
                </c:pt>
                <c:pt idx="526">
                  <c:v>-21.220929999999999</c:v>
                </c:pt>
                <c:pt idx="527">
                  <c:v>-21.085266099999998</c:v>
                </c:pt>
                <c:pt idx="528">
                  <c:v>-20.946716299999999</c:v>
                </c:pt>
                <c:pt idx="529">
                  <c:v>-20.948370000000001</c:v>
                </c:pt>
                <c:pt idx="530">
                  <c:v>-20.804086699999999</c:v>
                </c:pt>
                <c:pt idx="531">
                  <c:v>-20.81073</c:v>
                </c:pt>
                <c:pt idx="532">
                  <c:v>-20.896568299999998</c:v>
                </c:pt>
                <c:pt idx="533">
                  <c:v>-20.842783000000001</c:v>
                </c:pt>
                <c:pt idx="534">
                  <c:v>-20.919339999999998</c:v>
                </c:pt>
                <c:pt idx="535">
                  <c:v>-20.940427799999998</c:v>
                </c:pt>
                <c:pt idx="536">
                  <c:v>-21.208984399999999</c:v>
                </c:pt>
                <c:pt idx="537">
                  <c:v>-21.418900000000001</c:v>
                </c:pt>
                <c:pt idx="538">
                  <c:v>-21.101140000000001</c:v>
                </c:pt>
                <c:pt idx="539">
                  <c:v>-20.991959999999999</c:v>
                </c:pt>
                <c:pt idx="540">
                  <c:v>-21.041496299999999</c:v>
                </c:pt>
                <c:pt idx="541">
                  <c:v>-20.913013500000002</c:v>
                </c:pt>
                <c:pt idx="542">
                  <c:v>-20.888595599999999</c:v>
                </c:pt>
                <c:pt idx="543">
                  <c:v>-20.851642600000002</c:v>
                </c:pt>
                <c:pt idx="544">
                  <c:v>-20.876405699999999</c:v>
                </c:pt>
                <c:pt idx="545">
                  <c:v>-20.732713700000001</c:v>
                </c:pt>
                <c:pt idx="546">
                  <c:v>-20.6716576</c:v>
                </c:pt>
                <c:pt idx="547">
                  <c:v>-20.731016199999999</c:v>
                </c:pt>
                <c:pt idx="548">
                  <c:v>-20.592056299999999</c:v>
                </c:pt>
                <c:pt idx="549">
                  <c:v>-20.3459</c:v>
                </c:pt>
                <c:pt idx="550">
                  <c:v>-20.169065499999999</c:v>
                </c:pt>
                <c:pt idx="551">
                  <c:v>-20.359107999999999</c:v>
                </c:pt>
                <c:pt idx="552">
                  <c:v>-20.209001499999999</c:v>
                </c:pt>
                <c:pt idx="553">
                  <c:v>-20.094165799999999</c:v>
                </c:pt>
                <c:pt idx="554">
                  <c:v>-20.166837699999999</c:v>
                </c:pt>
                <c:pt idx="555">
                  <c:v>-20.158927899999998</c:v>
                </c:pt>
                <c:pt idx="556">
                  <c:v>-20.1770611</c:v>
                </c:pt>
                <c:pt idx="557">
                  <c:v>-20.081790000000002</c:v>
                </c:pt>
                <c:pt idx="558">
                  <c:v>-20.330760999999999</c:v>
                </c:pt>
                <c:pt idx="559">
                  <c:v>-20.2274818</c:v>
                </c:pt>
                <c:pt idx="560">
                  <c:v>-19.947372399999999</c:v>
                </c:pt>
                <c:pt idx="561">
                  <c:v>-19.89048</c:v>
                </c:pt>
                <c:pt idx="562">
                  <c:v>-19.961196900000001</c:v>
                </c:pt>
                <c:pt idx="563">
                  <c:v>-20.095283500000001</c:v>
                </c:pt>
                <c:pt idx="564">
                  <c:v>-20.2775383</c:v>
                </c:pt>
                <c:pt idx="565">
                  <c:v>-20.152582200000001</c:v>
                </c:pt>
                <c:pt idx="566">
                  <c:v>-20.278381299999999</c:v>
                </c:pt>
                <c:pt idx="567">
                  <c:v>-20.593446700000001</c:v>
                </c:pt>
                <c:pt idx="568">
                  <c:v>-20.4237213</c:v>
                </c:pt>
                <c:pt idx="569">
                  <c:v>-20.395851100000002</c:v>
                </c:pt>
                <c:pt idx="570">
                  <c:v>-20.448944099999999</c:v>
                </c:pt>
                <c:pt idx="571">
                  <c:v>-20.401669999999999</c:v>
                </c:pt>
                <c:pt idx="572">
                  <c:v>-20.504201900000002</c:v>
                </c:pt>
                <c:pt idx="573">
                  <c:v>-20.6159134</c:v>
                </c:pt>
                <c:pt idx="574">
                  <c:v>-20.334144599999998</c:v>
                </c:pt>
                <c:pt idx="575">
                  <c:v>-20.2390823</c:v>
                </c:pt>
                <c:pt idx="576">
                  <c:v>-20.4306068</c:v>
                </c:pt>
                <c:pt idx="577">
                  <c:v>-20.307865100000001</c:v>
                </c:pt>
                <c:pt idx="578">
                  <c:v>-20.106210000000001</c:v>
                </c:pt>
                <c:pt idx="579">
                  <c:v>-19.9070663</c:v>
                </c:pt>
                <c:pt idx="580">
                  <c:v>-19.9052048</c:v>
                </c:pt>
                <c:pt idx="581">
                  <c:v>-20.0702076</c:v>
                </c:pt>
                <c:pt idx="582">
                  <c:v>-19.795805000000001</c:v>
                </c:pt>
                <c:pt idx="583">
                  <c:v>-19.488077199999999</c:v>
                </c:pt>
                <c:pt idx="584">
                  <c:v>-19.413530000000002</c:v>
                </c:pt>
                <c:pt idx="585">
                  <c:v>-19.595659999999999</c:v>
                </c:pt>
                <c:pt idx="586">
                  <c:v>-19.657505</c:v>
                </c:pt>
                <c:pt idx="587">
                  <c:v>-19.603502299999999</c:v>
                </c:pt>
                <c:pt idx="588">
                  <c:v>-19.688896199999999</c:v>
                </c:pt>
                <c:pt idx="589">
                  <c:v>-19.514404299999999</c:v>
                </c:pt>
                <c:pt idx="590">
                  <c:v>-19.334987600000002</c:v>
                </c:pt>
                <c:pt idx="591">
                  <c:v>-19.343360000000001</c:v>
                </c:pt>
                <c:pt idx="592">
                  <c:v>-19.315782500000001</c:v>
                </c:pt>
                <c:pt idx="593">
                  <c:v>-19.068401300000001</c:v>
                </c:pt>
                <c:pt idx="594">
                  <c:v>-18.848161699999999</c:v>
                </c:pt>
                <c:pt idx="595">
                  <c:v>-18.958728799999999</c:v>
                </c:pt>
                <c:pt idx="596">
                  <c:v>-19.181343099999999</c:v>
                </c:pt>
                <c:pt idx="597">
                  <c:v>-18.937608699999998</c:v>
                </c:pt>
                <c:pt idx="598">
                  <c:v>-18.583046</c:v>
                </c:pt>
                <c:pt idx="599">
                  <c:v>-18.347003900000001</c:v>
                </c:pt>
                <c:pt idx="600">
                  <c:v>-18.0278168</c:v>
                </c:pt>
                <c:pt idx="601">
                  <c:v>-17.718316999999999</c:v>
                </c:pt>
                <c:pt idx="602">
                  <c:v>-17.628971100000001</c:v>
                </c:pt>
                <c:pt idx="603">
                  <c:v>-17.572372399999999</c:v>
                </c:pt>
                <c:pt idx="604">
                  <c:v>-17.2716751</c:v>
                </c:pt>
                <c:pt idx="605">
                  <c:v>-17.038762999999999</c:v>
                </c:pt>
                <c:pt idx="606">
                  <c:v>-16.9016476</c:v>
                </c:pt>
                <c:pt idx="607">
                  <c:v>-16.542812300000001</c:v>
                </c:pt>
                <c:pt idx="608">
                  <c:v>-16.2662449</c:v>
                </c:pt>
                <c:pt idx="609">
                  <c:v>-16.428472500000002</c:v>
                </c:pt>
                <c:pt idx="610">
                  <c:v>-16.237594600000001</c:v>
                </c:pt>
                <c:pt idx="611">
                  <c:v>-15.9335775</c:v>
                </c:pt>
                <c:pt idx="612">
                  <c:v>-15.757</c:v>
                </c:pt>
                <c:pt idx="613">
                  <c:v>-15.580083800000001</c:v>
                </c:pt>
                <c:pt idx="614">
                  <c:v>-15.807262400000001</c:v>
                </c:pt>
                <c:pt idx="615">
                  <c:v>-15.9253941</c:v>
                </c:pt>
                <c:pt idx="616">
                  <c:v>-15.60116</c:v>
                </c:pt>
                <c:pt idx="617">
                  <c:v>-15.3071289</c:v>
                </c:pt>
                <c:pt idx="618">
                  <c:v>-15.36872</c:v>
                </c:pt>
                <c:pt idx="619">
                  <c:v>-15.4744358</c:v>
                </c:pt>
                <c:pt idx="620">
                  <c:v>-15.414373400000001</c:v>
                </c:pt>
                <c:pt idx="621">
                  <c:v>-15.0654755</c:v>
                </c:pt>
                <c:pt idx="622">
                  <c:v>-14.6873627</c:v>
                </c:pt>
                <c:pt idx="623">
                  <c:v>-14.541893</c:v>
                </c:pt>
                <c:pt idx="624">
                  <c:v>-14.30992</c:v>
                </c:pt>
                <c:pt idx="625">
                  <c:v>-14.030486099999999</c:v>
                </c:pt>
                <c:pt idx="626">
                  <c:v>-13.8668575</c:v>
                </c:pt>
                <c:pt idx="627">
                  <c:v>-13.617864600000001</c:v>
                </c:pt>
                <c:pt idx="628">
                  <c:v>-13.185288399999999</c:v>
                </c:pt>
                <c:pt idx="629">
                  <c:v>-13.118850699999999</c:v>
                </c:pt>
                <c:pt idx="630">
                  <c:v>-12.9016018</c:v>
                </c:pt>
                <c:pt idx="631">
                  <c:v>-12.481162100000001</c:v>
                </c:pt>
                <c:pt idx="632">
                  <c:v>-12.138590799999999</c:v>
                </c:pt>
                <c:pt idx="633">
                  <c:v>-11.764846800000001</c:v>
                </c:pt>
                <c:pt idx="634">
                  <c:v>-11.791684200000001</c:v>
                </c:pt>
                <c:pt idx="635">
                  <c:v>-11.8934975</c:v>
                </c:pt>
                <c:pt idx="636">
                  <c:v>-11.6489067</c:v>
                </c:pt>
                <c:pt idx="637">
                  <c:v>-11.4308929</c:v>
                </c:pt>
                <c:pt idx="638">
                  <c:v>-11.420276599999999</c:v>
                </c:pt>
                <c:pt idx="639">
                  <c:v>-11.188038799999999</c:v>
                </c:pt>
                <c:pt idx="640">
                  <c:v>-10.9749289</c:v>
                </c:pt>
                <c:pt idx="641">
                  <c:v>-10.7644348</c:v>
                </c:pt>
                <c:pt idx="642">
                  <c:v>-10.6403</c:v>
                </c:pt>
                <c:pt idx="643">
                  <c:v>-10.2763662</c:v>
                </c:pt>
                <c:pt idx="644">
                  <c:v>-9.7142160000000004</c:v>
                </c:pt>
                <c:pt idx="645">
                  <c:v>-9.4955479999999994</c:v>
                </c:pt>
                <c:pt idx="646">
                  <c:v>-9.3155439999999992</c:v>
                </c:pt>
                <c:pt idx="647">
                  <c:v>-8.9578089999999992</c:v>
                </c:pt>
                <c:pt idx="648">
                  <c:v>-8.5710820000000005</c:v>
                </c:pt>
                <c:pt idx="649">
                  <c:v>-8.2948500000000003</c:v>
                </c:pt>
                <c:pt idx="650">
                  <c:v>-7.9530479999999999</c:v>
                </c:pt>
                <c:pt idx="651">
                  <c:v>-7.498329</c:v>
                </c:pt>
                <c:pt idx="652">
                  <c:v>-6.9046450000000004</c:v>
                </c:pt>
                <c:pt idx="653">
                  <c:v>-6.7667739999999998</c:v>
                </c:pt>
                <c:pt idx="654">
                  <c:v>-6.7299480000000003</c:v>
                </c:pt>
                <c:pt idx="655">
                  <c:v>-6.5029490000000001</c:v>
                </c:pt>
                <c:pt idx="656">
                  <c:v>-6.3136539999999997</c:v>
                </c:pt>
                <c:pt idx="657">
                  <c:v>-6.0168559999999998</c:v>
                </c:pt>
                <c:pt idx="658">
                  <c:v>-5.9975820000000004</c:v>
                </c:pt>
                <c:pt idx="659">
                  <c:v>-5.9294159999999998</c:v>
                </c:pt>
                <c:pt idx="660">
                  <c:v>-5.6458130000000004</c:v>
                </c:pt>
                <c:pt idx="661">
                  <c:v>-5.3133140000000001</c:v>
                </c:pt>
                <c:pt idx="662">
                  <c:v>-5.2863920000000002</c:v>
                </c:pt>
                <c:pt idx="663">
                  <c:v>-5.2866780000000002</c:v>
                </c:pt>
                <c:pt idx="664">
                  <c:v>-4.9114329999999997</c:v>
                </c:pt>
                <c:pt idx="665">
                  <c:v>-4.5344199999999999</c:v>
                </c:pt>
                <c:pt idx="666">
                  <c:v>-4.2075379999999996</c:v>
                </c:pt>
                <c:pt idx="667">
                  <c:v>-3.8970940000000001</c:v>
                </c:pt>
                <c:pt idx="668">
                  <c:v>-3.5883259999999999</c:v>
                </c:pt>
                <c:pt idx="669">
                  <c:v>-3.48123</c:v>
                </c:pt>
                <c:pt idx="670">
                  <c:v>-3.2109589999999999</c:v>
                </c:pt>
                <c:pt idx="671">
                  <c:v>-2.7945250000000001</c:v>
                </c:pt>
                <c:pt idx="672">
                  <c:v>-2.4218280000000001</c:v>
                </c:pt>
                <c:pt idx="673">
                  <c:v>-2.3399399999999999</c:v>
                </c:pt>
                <c:pt idx="674">
                  <c:v>-2.1367889999999998</c:v>
                </c:pt>
                <c:pt idx="675">
                  <c:v>-1.750532</c:v>
                </c:pt>
                <c:pt idx="676">
                  <c:v>-1.592651</c:v>
                </c:pt>
                <c:pt idx="677">
                  <c:v>-1.2891060000000001</c:v>
                </c:pt>
                <c:pt idx="678">
                  <c:v>-0.974491</c:v>
                </c:pt>
                <c:pt idx="679">
                  <c:v>-0.854827</c:v>
                </c:pt>
                <c:pt idx="680">
                  <c:v>-0.63599799999999995</c:v>
                </c:pt>
                <c:pt idx="681">
                  <c:v>-0.30648599999999998</c:v>
                </c:pt>
                <c:pt idx="682">
                  <c:v>-0.25506699999999999</c:v>
                </c:pt>
                <c:pt idx="683">
                  <c:v>-0.150145</c:v>
                </c:pt>
                <c:pt idx="684">
                  <c:v>0.176925</c:v>
                </c:pt>
                <c:pt idx="685">
                  <c:v>0.55732300000000001</c:v>
                </c:pt>
                <c:pt idx="686">
                  <c:v>0.63847900000000002</c:v>
                </c:pt>
                <c:pt idx="687">
                  <c:v>0.56009399999999998</c:v>
                </c:pt>
                <c:pt idx="688">
                  <c:v>0.78610000000000002</c:v>
                </c:pt>
                <c:pt idx="689">
                  <c:v>1.0310349999999999</c:v>
                </c:pt>
                <c:pt idx="690">
                  <c:v>0.88733899999999999</c:v>
                </c:pt>
                <c:pt idx="691">
                  <c:v>0.52498900000000004</c:v>
                </c:pt>
                <c:pt idx="692">
                  <c:v>0.42446600000000001</c:v>
                </c:pt>
                <c:pt idx="693">
                  <c:v>0.64575000000000005</c:v>
                </c:pt>
                <c:pt idx="694">
                  <c:v>0.77434499999999995</c:v>
                </c:pt>
                <c:pt idx="695">
                  <c:v>0.66075600000000001</c:v>
                </c:pt>
                <c:pt idx="696">
                  <c:v>0.68642000000000003</c:v>
                </c:pt>
                <c:pt idx="697">
                  <c:v>0.64135699999999995</c:v>
                </c:pt>
                <c:pt idx="698">
                  <c:v>0.83529299999999995</c:v>
                </c:pt>
                <c:pt idx="699">
                  <c:v>1.1531100000000001</c:v>
                </c:pt>
                <c:pt idx="700">
                  <c:v>1.0856239999999999</c:v>
                </c:pt>
                <c:pt idx="701">
                  <c:v>1.2183090000000001</c:v>
                </c:pt>
                <c:pt idx="702">
                  <c:v>1.317936</c:v>
                </c:pt>
                <c:pt idx="703">
                  <c:v>1.5421</c:v>
                </c:pt>
                <c:pt idx="704">
                  <c:v>1.8343739999999999</c:v>
                </c:pt>
                <c:pt idx="705">
                  <c:v>1.838706</c:v>
                </c:pt>
                <c:pt idx="706">
                  <c:v>1.958658</c:v>
                </c:pt>
                <c:pt idx="707">
                  <c:v>2.3390770000000001</c:v>
                </c:pt>
                <c:pt idx="708">
                  <c:v>2.6654089999999999</c:v>
                </c:pt>
                <c:pt idx="709">
                  <c:v>2.7748010000000001</c:v>
                </c:pt>
                <c:pt idx="710">
                  <c:v>2.8368380000000002</c:v>
                </c:pt>
                <c:pt idx="711">
                  <c:v>3.0012970000000001</c:v>
                </c:pt>
                <c:pt idx="712">
                  <c:v>3.1483509999999999</c:v>
                </c:pt>
                <c:pt idx="713">
                  <c:v>2.94659</c:v>
                </c:pt>
                <c:pt idx="714">
                  <c:v>3.2280039999999999</c:v>
                </c:pt>
                <c:pt idx="715">
                  <c:v>3.4138600000000001</c:v>
                </c:pt>
                <c:pt idx="716">
                  <c:v>3.2307329999999999</c:v>
                </c:pt>
                <c:pt idx="717">
                  <c:v>3.3050600000000001</c:v>
                </c:pt>
                <c:pt idx="718">
                  <c:v>3.3766449999999999</c:v>
                </c:pt>
                <c:pt idx="719">
                  <c:v>3.5798760000000001</c:v>
                </c:pt>
                <c:pt idx="720">
                  <c:v>3.3835440000000001</c:v>
                </c:pt>
                <c:pt idx="721">
                  <c:v>3.1052729999999999</c:v>
                </c:pt>
                <c:pt idx="722">
                  <c:v>3.231824</c:v>
                </c:pt>
                <c:pt idx="723">
                  <c:v>3.3683399999999999</c:v>
                </c:pt>
                <c:pt idx="724">
                  <c:v>3.2499449999999999</c:v>
                </c:pt>
                <c:pt idx="725">
                  <c:v>3.1979899999999999</c:v>
                </c:pt>
                <c:pt idx="726">
                  <c:v>3.239954</c:v>
                </c:pt>
                <c:pt idx="727">
                  <c:v>2.994459</c:v>
                </c:pt>
                <c:pt idx="728">
                  <c:v>2.8606020000000001</c:v>
                </c:pt>
                <c:pt idx="729">
                  <c:v>2.975422</c:v>
                </c:pt>
                <c:pt idx="730">
                  <c:v>3.0273490000000001</c:v>
                </c:pt>
                <c:pt idx="731">
                  <c:v>2.7128730000000001</c:v>
                </c:pt>
                <c:pt idx="732">
                  <c:v>2.53687</c:v>
                </c:pt>
                <c:pt idx="733">
                  <c:v>2.6182539999999999</c:v>
                </c:pt>
                <c:pt idx="734">
                  <c:v>2.6429619999999998</c:v>
                </c:pt>
                <c:pt idx="735">
                  <c:v>2.5744220000000002</c:v>
                </c:pt>
                <c:pt idx="736">
                  <c:v>2.665778</c:v>
                </c:pt>
                <c:pt idx="737">
                  <c:v>2.5003190000000002</c:v>
                </c:pt>
                <c:pt idx="738">
                  <c:v>2.0687069999999999</c:v>
                </c:pt>
                <c:pt idx="739">
                  <c:v>2.079329</c:v>
                </c:pt>
                <c:pt idx="740">
                  <c:v>2.1184470000000002</c:v>
                </c:pt>
                <c:pt idx="741">
                  <c:v>2.2514880000000002</c:v>
                </c:pt>
                <c:pt idx="742">
                  <c:v>2.241123</c:v>
                </c:pt>
                <c:pt idx="743">
                  <c:v>1.9602360000000001</c:v>
                </c:pt>
                <c:pt idx="744">
                  <c:v>1.999895</c:v>
                </c:pt>
                <c:pt idx="745">
                  <c:v>2.1363150000000002</c:v>
                </c:pt>
                <c:pt idx="746">
                  <c:v>2.0686909999999998</c:v>
                </c:pt>
                <c:pt idx="747">
                  <c:v>2.029404</c:v>
                </c:pt>
                <c:pt idx="748">
                  <c:v>1.9349400000000001</c:v>
                </c:pt>
                <c:pt idx="749">
                  <c:v>1.8766860000000001</c:v>
                </c:pt>
                <c:pt idx="750">
                  <c:v>1.83351</c:v>
                </c:pt>
                <c:pt idx="751">
                  <c:v>1.7995779999999999</c:v>
                </c:pt>
                <c:pt idx="752">
                  <c:v>1.769401</c:v>
                </c:pt>
                <c:pt idx="753">
                  <c:v>1.60731</c:v>
                </c:pt>
                <c:pt idx="754">
                  <c:v>1.6420220000000001</c:v>
                </c:pt>
                <c:pt idx="755">
                  <c:v>1.302489</c:v>
                </c:pt>
                <c:pt idx="756">
                  <c:v>0.89850399999999997</c:v>
                </c:pt>
                <c:pt idx="757">
                  <c:v>0.70098499999999997</c:v>
                </c:pt>
                <c:pt idx="758">
                  <c:v>0.81576099999999996</c:v>
                </c:pt>
                <c:pt idx="759">
                  <c:v>0.62170300000000001</c:v>
                </c:pt>
                <c:pt idx="760">
                  <c:v>0.28273999999999999</c:v>
                </c:pt>
                <c:pt idx="761">
                  <c:v>0.38484099999999999</c:v>
                </c:pt>
                <c:pt idx="762">
                  <c:v>0.26051800000000003</c:v>
                </c:pt>
                <c:pt idx="763">
                  <c:v>8.7222999999999995E-2</c:v>
                </c:pt>
                <c:pt idx="764">
                  <c:v>-4.4324000000000002E-2</c:v>
                </c:pt>
                <c:pt idx="765">
                  <c:v>0.11405</c:v>
                </c:pt>
                <c:pt idx="766">
                  <c:v>3.0463E-2</c:v>
                </c:pt>
                <c:pt idx="767">
                  <c:v>-3.3695000000000003E-2</c:v>
                </c:pt>
                <c:pt idx="768">
                  <c:v>4.2261E-2</c:v>
                </c:pt>
                <c:pt idx="769">
                  <c:v>-3.1000000000000001E-5</c:v>
                </c:pt>
                <c:pt idx="770">
                  <c:v>-0.37675799999999998</c:v>
                </c:pt>
                <c:pt idx="771">
                  <c:v>-0.59990699999999997</c:v>
                </c:pt>
                <c:pt idx="772">
                  <c:v>-0.49248700000000001</c:v>
                </c:pt>
                <c:pt idx="773">
                  <c:v>-0.74021000000000003</c:v>
                </c:pt>
                <c:pt idx="774">
                  <c:v>-0.90531700000000004</c:v>
                </c:pt>
                <c:pt idx="775">
                  <c:v>-1.1726080000000001</c:v>
                </c:pt>
                <c:pt idx="776">
                  <c:v>-1.2243569999999999</c:v>
                </c:pt>
                <c:pt idx="777">
                  <c:v>-1.509533</c:v>
                </c:pt>
                <c:pt idx="778">
                  <c:v>-1.9788669999999999</c:v>
                </c:pt>
                <c:pt idx="779">
                  <c:v>-1.75746</c:v>
                </c:pt>
                <c:pt idx="780">
                  <c:v>-1.9728669999999999</c:v>
                </c:pt>
                <c:pt idx="781">
                  <c:v>-2.2680579999999999</c:v>
                </c:pt>
                <c:pt idx="782">
                  <c:v>-2.28335</c:v>
                </c:pt>
                <c:pt idx="783">
                  <c:v>-2.3449469999999999</c:v>
                </c:pt>
                <c:pt idx="784">
                  <c:v>-2.4263530000000002</c:v>
                </c:pt>
                <c:pt idx="785">
                  <c:v>-2.5107149999999998</c:v>
                </c:pt>
                <c:pt idx="786">
                  <c:v>-2.5290089999999998</c:v>
                </c:pt>
                <c:pt idx="787">
                  <c:v>-2.3682949999999998</c:v>
                </c:pt>
                <c:pt idx="788">
                  <c:v>-2.3071199999999998</c:v>
                </c:pt>
                <c:pt idx="789">
                  <c:v>-2.4174440000000001</c:v>
                </c:pt>
                <c:pt idx="790">
                  <c:v>-2.3526590000000001</c:v>
                </c:pt>
                <c:pt idx="791">
                  <c:v>-2.259001</c:v>
                </c:pt>
                <c:pt idx="792">
                  <c:v>-2.2112690000000002</c:v>
                </c:pt>
                <c:pt idx="793">
                  <c:v>-2.3178390000000002</c:v>
                </c:pt>
                <c:pt idx="794">
                  <c:v>-2.1018240000000001</c:v>
                </c:pt>
                <c:pt idx="795">
                  <c:v>-2.0529000000000002</c:v>
                </c:pt>
                <c:pt idx="796">
                  <c:v>-2.2817910000000001</c:v>
                </c:pt>
                <c:pt idx="797">
                  <c:v>-2.3358629999999998</c:v>
                </c:pt>
                <c:pt idx="798">
                  <c:v>-2.5076939999999999</c:v>
                </c:pt>
                <c:pt idx="799">
                  <c:v>-2.4771830000000001</c:v>
                </c:pt>
                <c:pt idx="800">
                  <c:v>-2.615046</c:v>
                </c:pt>
                <c:pt idx="801">
                  <c:v>-2.9064399999999999</c:v>
                </c:pt>
                <c:pt idx="802">
                  <c:v>-2.889459</c:v>
                </c:pt>
                <c:pt idx="803">
                  <c:v>-3.0491280000000001</c:v>
                </c:pt>
                <c:pt idx="804">
                  <c:v>-3.095415</c:v>
                </c:pt>
                <c:pt idx="805">
                  <c:v>-3.086992</c:v>
                </c:pt>
                <c:pt idx="806">
                  <c:v>-3.0382199999999999</c:v>
                </c:pt>
                <c:pt idx="807">
                  <c:v>-2.9660669999999998</c:v>
                </c:pt>
                <c:pt idx="808">
                  <c:v>-3.4128539999999998</c:v>
                </c:pt>
                <c:pt idx="809">
                  <c:v>-3.673956</c:v>
                </c:pt>
                <c:pt idx="810">
                  <c:v>-3.4520710000000001</c:v>
                </c:pt>
                <c:pt idx="811">
                  <c:v>-3.5048400000000002</c:v>
                </c:pt>
                <c:pt idx="812">
                  <c:v>-3.6888459999999998</c:v>
                </c:pt>
                <c:pt idx="813">
                  <c:v>-3.5438049999999999</c:v>
                </c:pt>
                <c:pt idx="814">
                  <c:v>-3.489182</c:v>
                </c:pt>
                <c:pt idx="815">
                  <c:v>-3.537239</c:v>
                </c:pt>
                <c:pt idx="816">
                  <c:v>-3.6411630000000001</c:v>
                </c:pt>
                <c:pt idx="817">
                  <c:v>-3.6402839999999999</c:v>
                </c:pt>
                <c:pt idx="818">
                  <c:v>-3.7923770000000001</c:v>
                </c:pt>
                <c:pt idx="819">
                  <c:v>-3.955384</c:v>
                </c:pt>
                <c:pt idx="820">
                  <c:v>-3.7986589999999998</c:v>
                </c:pt>
                <c:pt idx="821">
                  <c:v>-3.7334360000000002</c:v>
                </c:pt>
                <c:pt idx="822">
                  <c:v>-3.8427159999999998</c:v>
                </c:pt>
                <c:pt idx="823">
                  <c:v>-3.7042790000000001</c:v>
                </c:pt>
                <c:pt idx="824">
                  <c:v>-3.5710769999999998</c:v>
                </c:pt>
                <c:pt idx="825">
                  <c:v>-3.7638240000000001</c:v>
                </c:pt>
                <c:pt idx="826">
                  <c:v>-3.867178</c:v>
                </c:pt>
                <c:pt idx="827">
                  <c:v>-3.7964669999999998</c:v>
                </c:pt>
                <c:pt idx="828">
                  <c:v>-3.4279440000000001</c:v>
                </c:pt>
                <c:pt idx="829">
                  <c:v>-3.4272399999999998</c:v>
                </c:pt>
                <c:pt idx="830">
                  <c:v>-3.4714079999999998</c:v>
                </c:pt>
                <c:pt idx="831">
                  <c:v>-3.4181309999999998</c:v>
                </c:pt>
                <c:pt idx="832">
                  <c:v>-3.3754059999999999</c:v>
                </c:pt>
                <c:pt idx="833">
                  <c:v>-3.4121630000000001</c:v>
                </c:pt>
                <c:pt idx="834">
                  <c:v>-3.350695</c:v>
                </c:pt>
                <c:pt idx="835">
                  <c:v>-3.382495</c:v>
                </c:pt>
                <c:pt idx="836">
                  <c:v>-3.523209</c:v>
                </c:pt>
                <c:pt idx="837">
                  <c:v>-3.3314469999999998</c:v>
                </c:pt>
                <c:pt idx="838">
                  <c:v>-3.3617750000000002</c:v>
                </c:pt>
                <c:pt idx="839">
                  <c:v>-3.302918</c:v>
                </c:pt>
                <c:pt idx="840">
                  <c:v>-3.1986349999999999</c:v>
                </c:pt>
                <c:pt idx="841">
                  <c:v>-3.3356479999999999</c:v>
                </c:pt>
                <c:pt idx="842">
                  <c:v>-3.3334280000000001</c:v>
                </c:pt>
                <c:pt idx="843">
                  <c:v>-2.9251849999999999</c:v>
                </c:pt>
                <c:pt idx="844">
                  <c:v>-2.6917879999999998</c:v>
                </c:pt>
                <c:pt idx="845">
                  <c:v>-2.9381889999999999</c:v>
                </c:pt>
                <c:pt idx="846">
                  <c:v>-2.9751050000000001</c:v>
                </c:pt>
                <c:pt idx="847">
                  <c:v>-3.1920220000000001</c:v>
                </c:pt>
                <c:pt idx="848">
                  <c:v>-3.1678850000000001</c:v>
                </c:pt>
                <c:pt idx="849">
                  <c:v>-2.7601840000000002</c:v>
                </c:pt>
                <c:pt idx="850">
                  <c:v>-2.5955460000000001</c:v>
                </c:pt>
                <c:pt idx="851">
                  <c:v>-2.5490219999999999</c:v>
                </c:pt>
                <c:pt idx="852">
                  <c:v>-2.765263</c:v>
                </c:pt>
                <c:pt idx="853">
                  <c:v>-2.728488</c:v>
                </c:pt>
                <c:pt idx="854">
                  <c:v>-2.4993319999999999</c:v>
                </c:pt>
                <c:pt idx="855">
                  <c:v>-2.4283769999999998</c:v>
                </c:pt>
                <c:pt idx="856">
                  <c:v>-2.5032779999999999</c:v>
                </c:pt>
                <c:pt idx="857">
                  <c:v>-2.3211750000000002</c:v>
                </c:pt>
                <c:pt idx="858">
                  <c:v>-2.0718209999999999</c:v>
                </c:pt>
                <c:pt idx="859">
                  <c:v>-2.1787489999999998</c:v>
                </c:pt>
                <c:pt idx="860">
                  <c:v>-2.2072340000000001</c:v>
                </c:pt>
                <c:pt idx="861">
                  <c:v>-2.0704899999999999</c:v>
                </c:pt>
                <c:pt idx="862">
                  <c:v>-1.9104829999999999</c:v>
                </c:pt>
                <c:pt idx="863">
                  <c:v>-2.0046580000000001</c:v>
                </c:pt>
                <c:pt idx="864">
                  <c:v>-2.0307750000000002</c:v>
                </c:pt>
                <c:pt idx="865">
                  <c:v>-1.8305849999999999</c:v>
                </c:pt>
                <c:pt idx="866">
                  <c:v>-1.7046749999999999</c:v>
                </c:pt>
                <c:pt idx="867">
                  <c:v>-1.817212</c:v>
                </c:pt>
                <c:pt idx="868">
                  <c:v>-1.718645</c:v>
                </c:pt>
                <c:pt idx="869">
                  <c:v>-1.4500850000000001</c:v>
                </c:pt>
                <c:pt idx="870">
                  <c:v>-1.481339</c:v>
                </c:pt>
                <c:pt idx="871">
                  <c:v>-1.6063080000000001</c:v>
                </c:pt>
                <c:pt idx="872">
                  <c:v>-1.6552230000000001</c:v>
                </c:pt>
                <c:pt idx="873">
                  <c:v>-1.5392479999999999</c:v>
                </c:pt>
                <c:pt idx="874">
                  <c:v>-1.604031</c:v>
                </c:pt>
                <c:pt idx="875">
                  <c:v>-1.765093</c:v>
                </c:pt>
                <c:pt idx="876">
                  <c:v>-1.92133</c:v>
                </c:pt>
                <c:pt idx="877">
                  <c:v>-1.812208</c:v>
                </c:pt>
                <c:pt idx="878">
                  <c:v>-1.6306069999999999</c:v>
                </c:pt>
                <c:pt idx="879">
                  <c:v>-1.665124</c:v>
                </c:pt>
                <c:pt idx="880">
                  <c:v>-1.540994</c:v>
                </c:pt>
                <c:pt idx="881">
                  <c:v>-1.4669140000000001</c:v>
                </c:pt>
                <c:pt idx="882">
                  <c:v>-1.479611</c:v>
                </c:pt>
                <c:pt idx="883">
                  <c:v>-1.6105309999999999</c:v>
                </c:pt>
                <c:pt idx="884">
                  <c:v>-1.6053390000000001</c:v>
                </c:pt>
                <c:pt idx="885">
                  <c:v>-1.469257</c:v>
                </c:pt>
                <c:pt idx="886">
                  <c:v>-1.5249630000000001</c:v>
                </c:pt>
                <c:pt idx="887">
                  <c:v>-1.5481549999999999</c:v>
                </c:pt>
                <c:pt idx="888">
                  <c:v>-1.3532649999999999</c:v>
                </c:pt>
                <c:pt idx="889">
                  <c:v>-1.1734169999999999</c:v>
                </c:pt>
                <c:pt idx="890">
                  <c:v>-1.2589170000000001</c:v>
                </c:pt>
                <c:pt idx="891">
                  <c:v>-1.4216230000000001</c:v>
                </c:pt>
                <c:pt idx="892">
                  <c:v>-1.365899</c:v>
                </c:pt>
                <c:pt idx="893">
                  <c:v>-1.3362449999999999</c:v>
                </c:pt>
                <c:pt idx="894">
                  <c:v>-1.381278</c:v>
                </c:pt>
                <c:pt idx="895">
                  <c:v>-1.267736</c:v>
                </c:pt>
                <c:pt idx="896">
                  <c:v>-1.473684</c:v>
                </c:pt>
                <c:pt idx="897">
                  <c:v>-1.64924</c:v>
                </c:pt>
                <c:pt idx="898">
                  <c:v>-1.4864900000000001</c:v>
                </c:pt>
                <c:pt idx="899">
                  <c:v>-1.477244</c:v>
                </c:pt>
                <c:pt idx="900">
                  <c:v>-1.6088420000000001</c:v>
                </c:pt>
                <c:pt idx="901">
                  <c:v>-1.4813559999999999</c:v>
                </c:pt>
                <c:pt idx="902">
                  <c:v>-1.5554889999999999</c:v>
                </c:pt>
                <c:pt idx="903">
                  <c:v>-1.5250589999999999</c:v>
                </c:pt>
                <c:pt idx="904">
                  <c:v>-1.3798079999999999</c:v>
                </c:pt>
                <c:pt idx="905">
                  <c:v>-1.566343</c:v>
                </c:pt>
                <c:pt idx="906">
                  <c:v>-1.4610879999999999</c:v>
                </c:pt>
                <c:pt idx="907">
                  <c:v>-1.4076040000000001</c:v>
                </c:pt>
                <c:pt idx="908">
                  <c:v>-1.5077700000000001</c:v>
                </c:pt>
                <c:pt idx="909">
                  <c:v>-1.4925010000000001</c:v>
                </c:pt>
                <c:pt idx="910">
                  <c:v>-1.621572</c:v>
                </c:pt>
                <c:pt idx="911">
                  <c:v>-1.762732</c:v>
                </c:pt>
                <c:pt idx="912">
                  <c:v>-1.6485460000000001</c:v>
                </c:pt>
                <c:pt idx="913">
                  <c:v>-1.66753</c:v>
                </c:pt>
                <c:pt idx="914">
                  <c:v>-1.8171520000000001</c:v>
                </c:pt>
                <c:pt idx="915">
                  <c:v>-1.841037</c:v>
                </c:pt>
                <c:pt idx="916">
                  <c:v>-2.004248</c:v>
                </c:pt>
                <c:pt idx="917">
                  <c:v>-2.1767789999999998</c:v>
                </c:pt>
                <c:pt idx="918">
                  <c:v>-2.1603110000000001</c:v>
                </c:pt>
                <c:pt idx="919">
                  <c:v>-2.1096509999999999</c:v>
                </c:pt>
                <c:pt idx="920">
                  <c:v>-2.2365309999999998</c:v>
                </c:pt>
                <c:pt idx="921">
                  <c:v>-2.388827</c:v>
                </c:pt>
                <c:pt idx="922">
                  <c:v>-2.5635349999999999</c:v>
                </c:pt>
                <c:pt idx="923">
                  <c:v>-2.618204</c:v>
                </c:pt>
                <c:pt idx="924">
                  <c:v>-2.5455770000000002</c:v>
                </c:pt>
                <c:pt idx="925">
                  <c:v>-2.5980850000000002</c:v>
                </c:pt>
                <c:pt idx="926">
                  <c:v>-2.6454430000000002</c:v>
                </c:pt>
                <c:pt idx="927">
                  <c:v>-2.8259699999999999</c:v>
                </c:pt>
                <c:pt idx="928">
                  <c:v>-3.0812430000000002</c:v>
                </c:pt>
                <c:pt idx="929">
                  <c:v>-3.0483910000000001</c:v>
                </c:pt>
                <c:pt idx="930">
                  <c:v>-3.0672160000000002</c:v>
                </c:pt>
                <c:pt idx="931">
                  <c:v>-3.1699630000000001</c:v>
                </c:pt>
                <c:pt idx="932">
                  <c:v>-3.3211560000000002</c:v>
                </c:pt>
                <c:pt idx="933">
                  <c:v>-3.3618760000000001</c:v>
                </c:pt>
                <c:pt idx="934">
                  <c:v>-3.2128670000000001</c:v>
                </c:pt>
                <c:pt idx="935">
                  <c:v>-3.2879369999999999</c:v>
                </c:pt>
                <c:pt idx="936">
                  <c:v>-3.2734860000000001</c:v>
                </c:pt>
                <c:pt idx="937">
                  <c:v>-3.280529</c:v>
                </c:pt>
                <c:pt idx="938">
                  <c:v>-3.3613249999999999</c:v>
                </c:pt>
                <c:pt idx="939">
                  <c:v>-3.5537990000000002</c:v>
                </c:pt>
                <c:pt idx="940">
                  <c:v>-3.8108490000000002</c:v>
                </c:pt>
                <c:pt idx="941">
                  <c:v>-3.9135970000000002</c:v>
                </c:pt>
                <c:pt idx="942">
                  <c:v>-3.8700709999999998</c:v>
                </c:pt>
                <c:pt idx="943">
                  <c:v>-4.2206799999999998</c:v>
                </c:pt>
                <c:pt idx="944">
                  <c:v>-4.3730929999999999</c:v>
                </c:pt>
                <c:pt idx="945">
                  <c:v>-4.2360639999999998</c:v>
                </c:pt>
                <c:pt idx="946">
                  <c:v>-4.5370419999999996</c:v>
                </c:pt>
                <c:pt idx="947">
                  <c:v>-4.6673080000000002</c:v>
                </c:pt>
                <c:pt idx="948">
                  <c:v>-4.5789939999999998</c:v>
                </c:pt>
                <c:pt idx="949">
                  <c:v>-4.7731019999999997</c:v>
                </c:pt>
                <c:pt idx="950">
                  <c:v>-5.0446439999999999</c:v>
                </c:pt>
                <c:pt idx="951">
                  <c:v>-5.0319609999999999</c:v>
                </c:pt>
                <c:pt idx="952">
                  <c:v>-4.7967190000000004</c:v>
                </c:pt>
                <c:pt idx="953">
                  <c:v>-4.6298349999999999</c:v>
                </c:pt>
                <c:pt idx="954">
                  <c:v>-4.4770279999999998</c:v>
                </c:pt>
                <c:pt idx="955">
                  <c:v>-4.7327050000000002</c:v>
                </c:pt>
                <c:pt idx="956">
                  <c:v>-5.2058280000000003</c:v>
                </c:pt>
                <c:pt idx="957">
                  <c:v>-4.9453110000000002</c:v>
                </c:pt>
                <c:pt idx="958">
                  <c:v>-4.8363290000000001</c:v>
                </c:pt>
                <c:pt idx="959">
                  <c:v>-5.4648459999999996</c:v>
                </c:pt>
                <c:pt idx="960">
                  <c:v>-5.8280370000000001</c:v>
                </c:pt>
                <c:pt idx="961">
                  <c:v>-5.6077120000000003</c:v>
                </c:pt>
                <c:pt idx="962">
                  <c:v>-5.5396150000000004</c:v>
                </c:pt>
                <c:pt idx="963">
                  <c:v>-5.8719640000000002</c:v>
                </c:pt>
                <c:pt idx="964">
                  <c:v>-5.9470190000000001</c:v>
                </c:pt>
                <c:pt idx="965">
                  <c:v>-5.8967960000000001</c:v>
                </c:pt>
                <c:pt idx="966">
                  <c:v>-6.105842</c:v>
                </c:pt>
                <c:pt idx="967">
                  <c:v>-5.9798470000000004</c:v>
                </c:pt>
                <c:pt idx="968">
                  <c:v>-6.0128339999999998</c:v>
                </c:pt>
                <c:pt idx="969">
                  <c:v>-6.0477489999999996</c:v>
                </c:pt>
                <c:pt idx="970">
                  <c:v>-5.8178179999999999</c:v>
                </c:pt>
                <c:pt idx="971">
                  <c:v>-6.042573</c:v>
                </c:pt>
                <c:pt idx="972">
                  <c:v>-5.896452</c:v>
                </c:pt>
                <c:pt idx="973">
                  <c:v>-5.5606419999999996</c:v>
                </c:pt>
                <c:pt idx="974">
                  <c:v>-5.7756809999999996</c:v>
                </c:pt>
                <c:pt idx="975">
                  <c:v>-5.8120649999999996</c:v>
                </c:pt>
                <c:pt idx="976">
                  <c:v>-5.4943289999999996</c:v>
                </c:pt>
                <c:pt idx="977">
                  <c:v>-5.6559359999999996</c:v>
                </c:pt>
                <c:pt idx="978">
                  <c:v>-5.8625119999999997</c:v>
                </c:pt>
                <c:pt idx="979">
                  <c:v>-5.5735960000000002</c:v>
                </c:pt>
                <c:pt idx="980">
                  <c:v>-5.5548200000000003</c:v>
                </c:pt>
                <c:pt idx="981">
                  <c:v>-5.6689679999999996</c:v>
                </c:pt>
                <c:pt idx="982">
                  <c:v>-5.9323610000000002</c:v>
                </c:pt>
                <c:pt idx="983">
                  <c:v>-5.946116</c:v>
                </c:pt>
                <c:pt idx="984">
                  <c:v>-5.6360960000000002</c:v>
                </c:pt>
                <c:pt idx="985">
                  <c:v>-5.6765280000000002</c:v>
                </c:pt>
                <c:pt idx="986">
                  <c:v>-5.9645299999999999</c:v>
                </c:pt>
                <c:pt idx="987">
                  <c:v>-5.990672</c:v>
                </c:pt>
                <c:pt idx="988">
                  <c:v>-5.616784</c:v>
                </c:pt>
                <c:pt idx="989">
                  <c:v>-5.6226180000000001</c:v>
                </c:pt>
                <c:pt idx="990">
                  <c:v>-5.679583</c:v>
                </c:pt>
                <c:pt idx="991">
                  <c:v>-5.4355580000000003</c:v>
                </c:pt>
                <c:pt idx="992">
                  <c:v>-5.497268</c:v>
                </c:pt>
                <c:pt idx="993">
                  <c:v>-5.7867709999999999</c:v>
                </c:pt>
                <c:pt idx="994">
                  <c:v>-5.6716329999999999</c:v>
                </c:pt>
                <c:pt idx="995">
                  <c:v>-5.5526249999999999</c:v>
                </c:pt>
                <c:pt idx="996">
                  <c:v>-5.755782</c:v>
                </c:pt>
                <c:pt idx="997">
                  <c:v>-5.3908399999999999</c:v>
                </c:pt>
                <c:pt idx="998">
                  <c:v>-5.2632250000000003</c:v>
                </c:pt>
                <c:pt idx="999">
                  <c:v>-5.372503</c:v>
                </c:pt>
                <c:pt idx="1000">
                  <c:v>-5.3519759999999996</c:v>
                </c:pt>
                <c:pt idx="1001">
                  <c:v>-5.5330139999999997</c:v>
                </c:pt>
                <c:pt idx="1002">
                  <c:v>-5.4944329999999999</c:v>
                </c:pt>
                <c:pt idx="1003">
                  <c:v>-5.5468019999999996</c:v>
                </c:pt>
                <c:pt idx="1004">
                  <c:v>-5.5097100000000001</c:v>
                </c:pt>
                <c:pt idx="1005">
                  <c:v>-5.4282240000000002</c:v>
                </c:pt>
                <c:pt idx="1006">
                  <c:v>-5.382136</c:v>
                </c:pt>
                <c:pt idx="1007">
                  <c:v>-5.1500560000000002</c:v>
                </c:pt>
                <c:pt idx="1008">
                  <c:v>-5.1487080000000001</c:v>
                </c:pt>
                <c:pt idx="1009">
                  <c:v>-4.9232810000000002</c:v>
                </c:pt>
                <c:pt idx="1010">
                  <c:v>-4.511641</c:v>
                </c:pt>
                <c:pt idx="1011">
                  <c:v>-4.9294440000000002</c:v>
                </c:pt>
                <c:pt idx="1012">
                  <c:v>-5.0508689999999996</c:v>
                </c:pt>
                <c:pt idx="1013">
                  <c:v>-4.7097980000000002</c:v>
                </c:pt>
                <c:pt idx="1014">
                  <c:v>-4.7834830000000004</c:v>
                </c:pt>
                <c:pt idx="1015">
                  <c:v>-4.599996</c:v>
                </c:pt>
                <c:pt idx="1016">
                  <c:v>-4.2131309999999997</c:v>
                </c:pt>
                <c:pt idx="1017">
                  <c:v>-4.1058570000000003</c:v>
                </c:pt>
                <c:pt idx="1018">
                  <c:v>-4.2067750000000004</c:v>
                </c:pt>
                <c:pt idx="1019">
                  <c:v>-4.4303369999999997</c:v>
                </c:pt>
                <c:pt idx="1020">
                  <c:v>-3.920172</c:v>
                </c:pt>
                <c:pt idx="1021">
                  <c:v>-3.6297570000000001</c:v>
                </c:pt>
                <c:pt idx="1022">
                  <c:v>-3.9629479999999999</c:v>
                </c:pt>
                <c:pt idx="1023">
                  <c:v>-4.0432550000000003</c:v>
                </c:pt>
                <c:pt idx="1024">
                  <c:v>-3.8675139999999999</c:v>
                </c:pt>
                <c:pt idx="1025">
                  <c:v>-3.5581299999999998</c:v>
                </c:pt>
                <c:pt idx="1026">
                  <c:v>-3.770127</c:v>
                </c:pt>
                <c:pt idx="1027">
                  <c:v>-3.7203149999999998</c:v>
                </c:pt>
                <c:pt idx="1028">
                  <c:v>-3.6838449999999998</c:v>
                </c:pt>
                <c:pt idx="1029">
                  <c:v>-3.7811499999999998</c:v>
                </c:pt>
                <c:pt idx="1030">
                  <c:v>-3.5553170000000001</c:v>
                </c:pt>
                <c:pt idx="1031">
                  <c:v>-3.3529520000000002</c:v>
                </c:pt>
                <c:pt idx="1032">
                  <c:v>-3.2881010000000002</c:v>
                </c:pt>
                <c:pt idx="1033">
                  <c:v>-3.3592499999999998</c:v>
                </c:pt>
                <c:pt idx="1034">
                  <c:v>-3.1710180000000001</c:v>
                </c:pt>
                <c:pt idx="1035">
                  <c:v>-2.913252</c:v>
                </c:pt>
                <c:pt idx="1036">
                  <c:v>-2.9443419999999998</c:v>
                </c:pt>
                <c:pt idx="1037">
                  <c:v>-2.9256199999999999</c:v>
                </c:pt>
                <c:pt idx="1038">
                  <c:v>-2.8223180000000001</c:v>
                </c:pt>
                <c:pt idx="1039">
                  <c:v>-2.6718600000000001</c:v>
                </c:pt>
                <c:pt idx="1040">
                  <c:v>-2.6309680000000002</c:v>
                </c:pt>
                <c:pt idx="1041">
                  <c:v>-2.8491399999999998</c:v>
                </c:pt>
                <c:pt idx="1042">
                  <c:v>-2.9489529999999999</c:v>
                </c:pt>
                <c:pt idx="1043">
                  <c:v>-2.796243</c:v>
                </c:pt>
                <c:pt idx="1044">
                  <c:v>-2.5742989999999999</c:v>
                </c:pt>
                <c:pt idx="1045">
                  <c:v>-2.437354</c:v>
                </c:pt>
                <c:pt idx="1046">
                  <c:v>-2.610033</c:v>
                </c:pt>
                <c:pt idx="1047">
                  <c:v>-2.8174090000000001</c:v>
                </c:pt>
                <c:pt idx="1048">
                  <c:v>-2.5201880000000001</c:v>
                </c:pt>
                <c:pt idx="1049">
                  <c:v>-2.1526800000000001</c:v>
                </c:pt>
                <c:pt idx="1050">
                  <c:v>-2.061706</c:v>
                </c:pt>
                <c:pt idx="1051">
                  <c:v>-2.0420970000000001</c:v>
                </c:pt>
                <c:pt idx="1052">
                  <c:v>-1.9975350000000001</c:v>
                </c:pt>
                <c:pt idx="1053">
                  <c:v>-1.807644</c:v>
                </c:pt>
                <c:pt idx="1054">
                  <c:v>-1.810921</c:v>
                </c:pt>
                <c:pt idx="1055">
                  <c:v>-1.8457159999999999</c:v>
                </c:pt>
                <c:pt idx="1056">
                  <c:v>-1.8427640000000001</c:v>
                </c:pt>
                <c:pt idx="1057">
                  <c:v>-1.615788</c:v>
                </c:pt>
                <c:pt idx="1058">
                  <c:v>-1.202089</c:v>
                </c:pt>
                <c:pt idx="1059">
                  <c:v>-1.344462</c:v>
                </c:pt>
                <c:pt idx="1060">
                  <c:v>-1.649097</c:v>
                </c:pt>
                <c:pt idx="1061">
                  <c:v>-1.6597770000000001</c:v>
                </c:pt>
                <c:pt idx="1062">
                  <c:v>-1.5270090000000001</c:v>
                </c:pt>
                <c:pt idx="1063">
                  <c:v>-1.58375</c:v>
                </c:pt>
                <c:pt idx="1064">
                  <c:v>-1.8766069999999999</c:v>
                </c:pt>
                <c:pt idx="1065">
                  <c:v>-1.7658689999999999</c:v>
                </c:pt>
                <c:pt idx="1066">
                  <c:v>-1.6523330000000001</c:v>
                </c:pt>
                <c:pt idx="1067">
                  <c:v>-1.5864419999999999</c:v>
                </c:pt>
                <c:pt idx="1068">
                  <c:v>-1.684469</c:v>
                </c:pt>
                <c:pt idx="1069">
                  <c:v>-1.8637969999999999</c:v>
                </c:pt>
                <c:pt idx="1070">
                  <c:v>-1.766454</c:v>
                </c:pt>
                <c:pt idx="1071">
                  <c:v>-1.5147379999999999</c:v>
                </c:pt>
                <c:pt idx="1072">
                  <c:v>-1.307547</c:v>
                </c:pt>
                <c:pt idx="1073">
                  <c:v>-1.3750150000000001</c:v>
                </c:pt>
                <c:pt idx="1074">
                  <c:v>-1.2539769999999999</c:v>
                </c:pt>
                <c:pt idx="1075">
                  <c:v>-1.305728</c:v>
                </c:pt>
                <c:pt idx="1076">
                  <c:v>-1.3811100000000001</c:v>
                </c:pt>
                <c:pt idx="1077">
                  <c:v>-1.2767630000000001</c:v>
                </c:pt>
                <c:pt idx="1078">
                  <c:v>-1.210485</c:v>
                </c:pt>
                <c:pt idx="1079">
                  <c:v>-1.2287999999999999</c:v>
                </c:pt>
                <c:pt idx="1080">
                  <c:v>-1.0885579999999999</c:v>
                </c:pt>
                <c:pt idx="1081">
                  <c:v>-1.0000579999999999</c:v>
                </c:pt>
                <c:pt idx="1082">
                  <c:v>-1.202172</c:v>
                </c:pt>
                <c:pt idx="1083">
                  <c:v>-1.4349240000000001</c:v>
                </c:pt>
                <c:pt idx="1084">
                  <c:v>-1.088082</c:v>
                </c:pt>
                <c:pt idx="1085">
                  <c:v>-1.1787829999999999</c:v>
                </c:pt>
                <c:pt idx="1086">
                  <c:v>-1.6858379999999999</c:v>
                </c:pt>
                <c:pt idx="1087">
                  <c:v>-1.500621</c:v>
                </c:pt>
                <c:pt idx="1088">
                  <c:v>-1.4228609999999999</c:v>
                </c:pt>
                <c:pt idx="1089">
                  <c:v>-1.3182700000000001</c:v>
                </c:pt>
                <c:pt idx="1090">
                  <c:v>-1.1951290000000001</c:v>
                </c:pt>
                <c:pt idx="1091">
                  <c:v>-0.98165599999999997</c:v>
                </c:pt>
                <c:pt idx="1092">
                  <c:v>-1.054759</c:v>
                </c:pt>
                <c:pt idx="1093">
                  <c:v>-1.2048300000000001</c:v>
                </c:pt>
                <c:pt idx="1094">
                  <c:v>-0.87267799999999995</c:v>
                </c:pt>
                <c:pt idx="1095">
                  <c:v>-0.952511</c:v>
                </c:pt>
                <c:pt idx="1096">
                  <c:v>-1.1764250000000001</c:v>
                </c:pt>
                <c:pt idx="1097">
                  <c:v>-0.95313800000000004</c:v>
                </c:pt>
                <c:pt idx="1098">
                  <c:v>-0.69344700000000004</c:v>
                </c:pt>
                <c:pt idx="1099">
                  <c:v>-0.93997900000000001</c:v>
                </c:pt>
                <c:pt idx="1100">
                  <c:v>-1.120438</c:v>
                </c:pt>
                <c:pt idx="1101">
                  <c:v>-0.81325499999999995</c:v>
                </c:pt>
                <c:pt idx="1102">
                  <c:v>-0.78042400000000001</c:v>
                </c:pt>
                <c:pt idx="1103">
                  <c:v>-1.0165709999999999</c:v>
                </c:pt>
                <c:pt idx="1104">
                  <c:v>-1.343556</c:v>
                </c:pt>
                <c:pt idx="1105">
                  <c:v>-1.3968290000000001</c:v>
                </c:pt>
                <c:pt idx="1106">
                  <c:v>-1.1817219999999999</c:v>
                </c:pt>
                <c:pt idx="1107">
                  <c:v>-1.2823800000000001</c:v>
                </c:pt>
                <c:pt idx="1108">
                  <c:v>-1.410131</c:v>
                </c:pt>
                <c:pt idx="1109">
                  <c:v>-1.49312</c:v>
                </c:pt>
                <c:pt idx="1110">
                  <c:v>-1.350106</c:v>
                </c:pt>
                <c:pt idx="1111">
                  <c:v>-1.2872239999999999</c:v>
                </c:pt>
                <c:pt idx="1112">
                  <c:v>-1.3878820000000001</c:v>
                </c:pt>
                <c:pt idx="1113">
                  <c:v>-1.3783540000000001</c:v>
                </c:pt>
                <c:pt idx="1114">
                  <c:v>-1.5135080000000001</c:v>
                </c:pt>
                <c:pt idx="1115">
                  <c:v>-1.4575959999999999</c:v>
                </c:pt>
                <c:pt idx="1116">
                  <c:v>-1.370374</c:v>
                </c:pt>
                <c:pt idx="1117">
                  <c:v>-1.391419</c:v>
                </c:pt>
                <c:pt idx="1118">
                  <c:v>-1.266256</c:v>
                </c:pt>
                <c:pt idx="1119">
                  <c:v>-1.398987</c:v>
                </c:pt>
                <c:pt idx="1120">
                  <c:v>-1.463997</c:v>
                </c:pt>
                <c:pt idx="1121">
                  <c:v>-1.369848</c:v>
                </c:pt>
                <c:pt idx="1122">
                  <c:v>-1.3869769999999999</c:v>
                </c:pt>
                <c:pt idx="1123">
                  <c:v>-1.5318419999999999</c:v>
                </c:pt>
                <c:pt idx="1124">
                  <c:v>-1.8165720000000001</c:v>
                </c:pt>
                <c:pt idx="1125">
                  <c:v>-1.7844340000000001</c:v>
                </c:pt>
                <c:pt idx="1126">
                  <c:v>-1.655932</c:v>
                </c:pt>
                <c:pt idx="1127">
                  <c:v>-1.665985</c:v>
                </c:pt>
                <c:pt idx="1128">
                  <c:v>-1.608862</c:v>
                </c:pt>
                <c:pt idx="1129">
                  <c:v>-1.5813280000000001</c:v>
                </c:pt>
                <c:pt idx="1130">
                  <c:v>-1.6327210000000001</c:v>
                </c:pt>
                <c:pt idx="1131">
                  <c:v>-1.5240959999999999</c:v>
                </c:pt>
                <c:pt idx="1132">
                  <c:v>-1.6008420000000001</c:v>
                </c:pt>
                <c:pt idx="1133">
                  <c:v>-1.7723949999999999</c:v>
                </c:pt>
                <c:pt idx="1134">
                  <c:v>-1.736666</c:v>
                </c:pt>
                <c:pt idx="1135">
                  <c:v>-1.7265219999999999</c:v>
                </c:pt>
                <c:pt idx="1136">
                  <c:v>-1.6584490000000001</c:v>
                </c:pt>
                <c:pt idx="1137">
                  <c:v>-1.55576</c:v>
                </c:pt>
                <c:pt idx="1138">
                  <c:v>-1.563409</c:v>
                </c:pt>
                <c:pt idx="1139">
                  <c:v>-1.6957679999999999</c:v>
                </c:pt>
                <c:pt idx="1140">
                  <c:v>-1.6292720000000001</c:v>
                </c:pt>
                <c:pt idx="1141">
                  <c:v>-1.665022</c:v>
                </c:pt>
                <c:pt idx="1142">
                  <c:v>-1.749026</c:v>
                </c:pt>
                <c:pt idx="1143">
                  <c:v>-1.800791</c:v>
                </c:pt>
                <c:pt idx="1144">
                  <c:v>-1.833936</c:v>
                </c:pt>
                <c:pt idx="1145">
                  <c:v>-1.794969</c:v>
                </c:pt>
                <c:pt idx="1146">
                  <c:v>-1.642509</c:v>
                </c:pt>
                <c:pt idx="1147">
                  <c:v>-1.6979200000000001</c:v>
                </c:pt>
                <c:pt idx="1148">
                  <c:v>-1.99102</c:v>
                </c:pt>
                <c:pt idx="1149">
                  <c:v>-2.091621</c:v>
                </c:pt>
                <c:pt idx="1150">
                  <c:v>-2.0971839999999999</c:v>
                </c:pt>
                <c:pt idx="1151">
                  <c:v>-2.1212879999999998</c:v>
                </c:pt>
                <c:pt idx="1152">
                  <c:v>-2.1491220000000002</c:v>
                </c:pt>
                <c:pt idx="1153">
                  <c:v>-2.0442659999999999</c:v>
                </c:pt>
                <c:pt idx="1154">
                  <c:v>-2.2008519999999998</c:v>
                </c:pt>
                <c:pt idx="1155">
                  <c:v>-2.4966430000000002</c:v>
                </c:pt>
                <c:pt idx="1156">
                  <c:v>-2.5433309999999998</c:v>
                </c:pt>
                <c:pt idx="1157">
                  <c:v>-2.4637169999999999</c:v>
                </c:pt>
                <c:pt idx="1158">
                  <c:v>-2.5111940000000001</c:v>
                </c:pt>
                <c:pt idx="1159">
                  <c:v>-2.6891940000000001</c:v>
                </c:pt>
                <c:pt idx="1160">
                  <c:v>-2.6015139999999999</c:v>
                </c:pt>
                <c:pt idx="1161">
                  <c:v>-2.372627</c:v>
                </c:pt>
                <c:pt idx="1162">
                  <c:v>-2.2525270000000002</c:v>
                </c:pt>
                <c:pt idx="1163">
                  <c:v>-2.1118109999999999</c:v>
                </c:pt>
                <c:pt idx="1164">
                  <c:v>-2.1562060000000001</c:v>
                </c:pt>
                <c:pt idx="1165">
                  <c:v>-2.2991700000000002</c:v>
                </c:pt>
                <c:pt idx="1166">
                  <c:v>-2.3705569999999998</c:v>
                </c:pt>
                <c:pt idx="1167">
                  <c:v>-2.1390950000000002</c:v>
                </c:pt>
                <c:pt idx="1168">
                  <c:v>-2.1495340000000001</c:v>
                </c:pt>
                <c:pt idx="1169">
                  <c:v>-2.344201</c:v>
                </c:pt>
                <c:pt idx="1170">
                  <c:v>-2.1782010000000001</c:v>
                </c:pt>
                <c:pt idx="1171">
                  <c:v>-2.2933119999999998</c:v>
                </c:pt>
                <c:pt idx="1172">
                  <c:v>-2.5550169999999999</c:v>
                </c:pt>
                <c:pt idx="1173">
                  <c:v>-2.6410480000000001</c:v>
                </c:pt>
                <c:pt idx="1174">
                  <c:v>-2.6406369999999999</c:v>
                </c:pt>
                <c:pt idx="1175">
                  <c:v>-2.729117</c:v>
                </c:pt>
                <c:pt idx="1176">
                  <c:v>-2.7260399999999998</c:v>
                </c:pt>
                <c:pt idx="1177">
                  <c:v>-2.472029</c:v>
                </c:pt>
                <c:pt idx="1178">
                  <c:v>-2.6130520000000002</c:v>
                </c:pt>
                <c:pt idx="1179">
                  <c:v>-2.8220960000000002</c:v>
                </c:pt>
                <c:pt idx="1180">
                  <c:v>-2.33683</c:v>
                </c:pt>
                <c:pt idx="1181">
                  <c:v>-2.0788359999999999</c:v>
                </c:pt>
                <c:pt idx="1182">
                  <c:v>-2.3856630000000001</c:v>
                </c:pt>
                <c:pt idx="1183">
                  <c:v>-2.4644699999999999</c:v>
                </c:pt>
                <c:pt idx="1184">
                  <c:v>-2.2346879999999998</c:v>
                </c:pt>
                <c:pt idx="1185">
                  <c:v>-2.4460600000000001</c:v>
                </c:pt>
                <c:pt idx="1186">
                  <c:v>-2.6855060000000002</c:v>
                </c:pt>
                <c:pt idx="1187">
                  <c:v>-2.6259199999999998</c:v>
                </c:pt>
                <c:pt idx="1188">
                  <c:v>-2.6068910000000001</c:v>
                </c:pt>
                <c:pt idx="1189">
                  <c:v>-2.4710329999999998</c:v>
                </c:pt>
                <c:pt idx="1190">
                  <c:v>-2.6037569999999999</c:v>
                </c:pt>
                <c:pt idx="1191">
                  <c:v>-2.947346</c:v>
                </c:pt>
                <c:pt idx="1192">
                  <c:v>-2.809663</c:v>
                </c:pt>
                <c:pt idx="1193">
                  <c:v>-2.761031</c:v>
                </c:pt>
                <c:pt idx="1194">
                  <c:v>-2.8083149999999999</c:v>
                </c:pt>
                <c:pt idx="1195">
                  <c:v>-2.7781359999999999</c:v>
                </c:pt>
                <c:pt idx="1196">
                  <c:v>-3.0383339999999999</c:v>
                </c:pt>
                <c:pt idx="1197">
                  <c:v>-2.8523489999999998</c:v>
                </c:pt>
                <c:pt idx="1198">
                  <c:v>-2.8372389999999998</c:v>
                </c:pt>
                <c:pt idx="1199">
                  <c:v>-2.827979</c:v>
                </c:pt>
                <c:pt idx="1200">
                  <c:v>-2.4211429999999998</c:v>
                </c:pt>
                <c:pt idx="1201">
                  <c:v>-2.460582</c:v>
                </c:pt>
                <c:pt idx="1202">
                  <c:v>-2.5923389999999999</c:v>
                </c:pt>
                <c:pt idx="1203">
                  <c:v>-2.5851419999999998</c:v>
                </c:pt>
                <c:pt idx="1204">
                  <c:v>-2.4387620000000001</c:v>
                </c:pt>
                <c:pt idx="1205">
                  <c:v>-2.4885969999999999</c:v>
                </c:pt>
                <c:pt idx="1206">
                  <c:v>-2.5687530000000001</c:v>
                </c:pt>
                <c:pt idx="1207">
                  <c:v>-2.3386309999999999</c:v>
                </c:pt>
                <c:pt idx="1208">
                  <c:v>-2.409761</c:v>
                </c:pt>
                <c:pt idx="1209">
                  <c:v>-2.4335719999999998</c:v>
                </c:pt>
                <c:pt idx="1210">
                  <c:v>-2.4424009999999998</c:v>
                </c:pt>
                <c:pt idx="1211">
                  <c:v>-2.6451349999999998</c:v>
                </c:pt>
                <c:pt idx="1212">
                  <c:v>-2.5546470000000001</c:v>
                </c:pt>
                <c:pt idx="1213">
                  <c:v>-2.65143</c:v>
                </c:pt>
                <c:pt idx="1214">
                  <c:v>-2.7738529999999999</c:v>
                </c:pt>
                <c:pt idx="1215">
                  <c:v>-2.651268</c:v>
                </c:pt>
                <c:pt idx="1216">
                  <c:v>-2.6618689999999998</c:v>
                </c:pt>
                <c:pt idx="1217">
                  <c:v>-2.6715049999999998</c:v>
                </c:pt>
                <c:pt idx="1218">
                  <c:v>-2.6805279999999998</c:v>
                </c:pt>
                <c:pt idx="1219">
                  <c:v>-2.6209380000000002</c:v>
                </c:pt>
                <c:pt idx="1220">
                  <c:v>-2.5906220000000002</c:v>
                </c:pt>
                <c:pt idx="1221">
                  <c:v>-2.5030450000000002</c:v>
                </c:pt>
                <c:pt idx="1222">
                  <c:v>-2.3832309999999999</c:v>
                </c:pt>
                <c:pt idx="1223">
                  <c:v>-2.2374879999999999</c:v>
                </c:pt>
                <c:pt idx="1224">
                  <c:v>-2.2096689999999999</c:v>
                </c:pt>
                <c:pt idx="1225">
                  <c:v>-2.3758050000000002</c:v>
                </c:pt>
                <c:pt idx="1226">
                  <c:v>-2.317777</c:v>
                </c:pt>
                <c:pt idx="1227">
                  <c:v>-2.4185680000000001</c:v>
                </c:pt>
                <c:pt idx="1228">
                  <c:v>-2.6032060000000001</c:v>
                </c:pt>
                <c:pt idx="1229">
                  <c:v>-2.6442019999999999</c:v>
                </c:pt>
                <c:pt idx="1230">
                  <c:v>-2.5429590000000002</c:v>
                </c:pt>
                <c:pt idx="1231">
                  <c:v>-2.4311180000000001</c:v>
                </c:pt>
                <c:pt idx="1232">
                  <c:v>-2.7774009999999998</c:v>
                </c:pt>
                <c:pt idx="1233">
                  <c:v>-2.9015610000000001</c:v>
                </c:pt>
                <c:pt idx="1234">
                  <c:v>-2.5183140000000002</c:v>
                </c:pt>
                <c:pt idx="1235">
                  <c:v>-2.4573420000000001</c:v>
                </c:pt>
                <c:pt idx="1236">
                  <c:v>-2.617235</c:v>
                </c:pt>
                <c:pt idx="1237">
                  <c:v>-2.4289689999999999</c:v>
                </c:pt>
                <c:pt idx="1238">
                  <c:v>-2.257657</c:v>
                </c:pt>
                <c:pt idx="1239">
                  <c:v>-2.2842060000000002</c:v>
                </c:pt>
                <c:pt idx="1240">
                  <c:v>-2.1451289999999998</c:v>
                </c:pt>
                <c:pt idx="1241">
                  <c:v>-2.2582529999999998</c:v>
                </c:pt>
                <c:pt idx="1242">
                  <c:v>-2.0961090000000002</c:v>
                </c:pt>
                <c:pt idx="1243">
                  <c:v>-1.7966070000000001</c:v>
                </c:pt>
                <c:pt idx="1244">
                  <c:v>-1.944034</c:v>
                </c:pt>
                <c:pt idx="1245">
                  <c:v>-2.065445</c:v>
                </c:pt>
                <c:pt idx="1246">
                  <c:v>-1.91395</c:v>
                </c:pt>
                <c:pt idx="1247">
                  <c:v>-1.7561880000000001</c:v>
                </c:pt>
                <c:pt idx="1248">
                  <c:v>-1.9215180000000001</c:v>
                </c:pt>
                <c:pt idx="1249">
                  <c:v>-2.063329</c:v>
                </c:pt>
                <c:pt idx="1250">
                  <c:v>-2.274991</c:v>
                </c:pt>
                <c:pt idx="1251">
                  <c:v>-2.4671979999999998</c:v>
                </c:pt>
                <c:pt idx="1252">
                  <c:v>-2.458488</c:v>
                </c:pt>
                <c:pt idx="1253">
                  <c:v>-2.4788190000000001</c:v>
                </c:pt>
                <c:pt idx="1254">
                  <c:v>-2.6449910000000001</c:v>
                </c:pt>
                <c:pt idx="1255">
                  <c:v>-2.6881840000000001</c:v>
                </c:pt>
                <c:pt idx="1256">
                  <c:v>-2.260869</c:v>
                </c:pt>
                <c:pt idx="1257">
                  <c:v>-2.1077650000000001</c:v>
                </c:pt>
                <c:pt idx="1258">
                  <c:v>-2.2774640000000002</c:v>
                </c:pt>
                <c:pt idx="1259">
                  <c:v>-2.1552349999999998</c:v>
                </c:pt>
                <c:pt idx="1260">
                  <c:v>-1.8777870000000001</c:v>
                </c:pt>
                <c:pt idx="1261">
                  <c:v>-1.981762</c:v>
                </c:pt>
                <c:pt idx="1262">
                  <c:v>-2.0795629999999998</c:v>
                </c:pt>
                <c:pt idx="1263">
                  <c:v>-2.1262080000000001</c:v>
                </c:pt>
                <c:pt idx="1264">
                  <c:v>-2.212161</c:v>
                </c:pt>
                <c:pt idx="1265">
                  <c:v>-2.1275140000000001</c:v>
                </c:pt>
                <c:pt idx="1266">
                  <c:v>-2.0813839999999999</c:v>
                </c:pt>
                <c:pt idx="1267">
                  <c:v>-2.054532</c:v>
                </c:pt>
                <c:pt idx="1268">
                  <c:v>-2.3737919999999999</c:v>
                </c:pt>
                <c:pt idx="1269">
                  <c:v>-2.4821170000000001</c:v>
                </c:pt>
                <c:pt idx="1270">
                  <c:v>-2.5634670000000002</c:v>
                </c:pt>
                <c:pt idx="1271">
                  <c:v>-2.489903</c:v>
                </c:pt>
                <c:pt idx="1272">
                  <c:v>-2.3362569999999998</c:v>
                </c:pt>
                <c:pt idx="1273">
                  <c:v>-2.528489</c:v>
                </c:pt>
                <c:pt idx="1274">
                  <c:v>-2.7071360000000002</c:v>
                </c:pt>
                <c:pt idx="1275">
                  <c:v>-2.7528049999999999</c:v>
                </c:pt>
                <c:pt idx="1276">
                  <c:v>-2.5966109999999998</c:v>
                </c:pt>
                <c:pt idx="1277">
                  <c:v>-2.2536689999999999</c:v>
                </c:pt>
                <c:pt idx="1278">
                  <c:v>-2.3363339999999999</c:v>
                </c:pt>
                <c:pt idx="1279">
                  <c:v>-2.497636</c:v>
                </c:pt>
                <c:pt idx="1280">
                  <c:v>-2.3137240000000001</c:v>
                </c:pt>
                <c:pt idx="1281">
                  <c:v>-2.3464330000000002</c:v>
                </c:pt>
                <c:pt idx="1282">
                  <c:v>-2.5601630000000002</c:v>
                </c:pt>
                <c:pt idx="1283">
                  <c:v>-2.6086779999999998</c:v>
                </c:pt>
                <c:pt idx="1284">
                  <c:v>-2.5120779999999998</c:v>
                </c:pt>
                <c:pt idx="1285">
                  <c:v>-2.6022470000000002</c:v>
                </c:pt>
                <c:pt idx="1286">
                  <c:v>-2.723884</c:v>
                </c:pt>
                <c:pt idx="1287">
                  <c:v>-2.8014709999999998</c:v>
                </c:pt>
                <c:pt idx="1288">
                  <c:v>-3.0641780000000001</c:v>
                </c:pt>
                <c:pt idx="1289">
                  <c:v>-3.0925210000000001</c:v>
                </c:pt>
                <c:pt idx="1290">
                  <c:v>-3.1416900000000001</c:v>
                </c:pt>
                <c:pt idx="1291">
                  <c:v>-3.2588170000000001</c:v>
                </c:pt>
                <c:pt idx="1292">
                  <c:v>-3.1479379999999999</c:v>
                </c:pt>
                <c:pt idx="1293">
                  <c:v>-2.904134</c:v>
                </c:pt>
                <c:pt idx="1294">
                  <c:v>-2.848366</c:v>
                </c:pt>
                <c:pt idx="1295">
                  <c:v>-3.1485530000000002</c:v>
                </c:pt>
                <c:pt idx="1296">
                  <c:v>-3.110395</c:v>
                </c:pt>
                <c:pt idx="1297">
                  <c:v>-2.8996010000000001</c:v>
                </c:pt>
                <c:pt idx="1298">
                  <c:v>-3.1270539999999998</c:v>
                </c:pt>
                <c:pt idx="1299">
                  <c:v>-3.247754</c:v>
                </c:pt>
                <c:pt idx="1300">
                  <c:v>-3.1260680000000001</c:v>
                </c:pt>
                <c:pt idx="1301">
                  <c:v>-2.9327109999999998</c:v>
                </c:pt>
                <c:pt idx="1302">
                  <c:v>-2.8287429999999998</c:v>
                </c:pt>
                <c:pt idx="1303">
                  <c:v>-2.8933170000000001</c:v>
                </c:pt>
                <c:pt idx="1304">
                  <c:v>-2.850892</c:v>
                </c:pt>
                <c:pt idx="1305">
                  <c:v>-3.0236930000000002</c:v>
                </c:pt>
                <c:pt idx="1306">
                  <c:v>-3.1822530000000002</c:v>
                </c:pt>
                <c:pt idx="1307">
                  <c:v>-3.1429279999999999</c:v>
                </c:pt>
                <c:pt idx="1308">
                  <c:v>-3.1347269999999998</c:v>
                </c:pt>
                <c:pt idx="1309">
                  <c:v>-3.0695299999999999</c:v>
                </c:pt>
                <c:pt idx="1310">
                  <c:v>-3.1762260000000002</c:v>
                </c:pt>
                <c:pt idx="1311">
                  <c:v>-3.4400870000000001</c:v>
                </c:pt>
                <c:pt idx="1312">
                  <c:v>-3.328068</c:v>
                </c:pt>
                <c:pt idx="1313">
                  <c:v>-3.2884129999999998</c:v>
                </c:pt>
                <c:pt idx="1314">
                  <c:v>-3.3423180000000001</c:v>
                </c:pt>
                <c:pt idx="1315">
                  <c:v>-3.3133499999999998</c:v>
                </c:pt>
                <c:pt idx="1316">
                  <c:v>-3.2362540000000002</c:v>
                </c:pt>
                <c:pt idx="1317">
                  <c:v>-3.1303990000000002</c:v>
                </c:pt>
                <c:pt idx="1318">
                  <c:v>-3.2724129999999998</c:v>
                </c:pt>
                <c:pt idx="1319">
                  <c:v>-3.345777</c:v>
                </c:pt>
                <c:pt idx="1320">
                  <c:v>-3.1886580000000002</c:v>
                </c:pt>
                <c:pt idx="1321">
                  <c:v>-3.3106849999999999</c:v>
                </c:pt>
                <c:pt idx="1322">
                  <c:v>-3.374034</c:v>
                </c:pt>
                <c:pt idx="1323">
                  <c:v>-3.2140369999999998</c:v>
                </c:pt>
                <c:pt idx="1324">
                  <c:v>-3.1968369999999999</c:v>
                </c:pt>
                <c:pt idx="1325">
                  <c:v>-3.5240689999999999</c:v>
                </c:pt>
                <c:pt idx="1326">
                  <c:v>-3.773066</c:v>
                </c:pt>
                <c:pt idx="1327">
                  <c:v>-3.5283829999999998</c:v>
                </c:pt>
                <c:pt idx="1328">
                  <c:v>-3.4182640000000002</c:v>
                </c:pt>
                <c:pt idx="1329">
                  <c:v>-3.497773</c:v>
                </c:pt>
                <c:pt idx="1330">
                  <c:v>-3.6799050000000002</c:v>
                </c:pt>
                <c:pt idx="1331">
                  <c:v>-3.7202130000000002</c:v>
                </c:pt>
                <c:pt idx="1332">
                  <c:v>-3.5568840000000002</c:v>
                </c:pt>
                <c:pt idx="1333">
                  <c:v>-3.4776069999999999</c:v>
                </c:pt>
                <c:pt idx="1334">
                  <c:v>-3.5700940000000001</c:v>
                </c:pt>
                <c:pt idx="1335">
                  <c:v>-3.7548750000000002</c:v>
                </c:pt>
                <c:pt idx="1336">
                  <c:v>-3.7284470000000001</c:v>
                </c:pt>
                <c:pt idx="1337">
                  <c:v>-3.5245959999999998</c:v>
                </c:pt>
                <c:pt idx="1338">
                  <c:v>-3.4858159999999998</c:v>
                </c:pt>
                <c:pt idx="1339">
                  <c:v>-3.8661110000000001</c:v>
                </c:pt>
                <c:pt idx="1340">
                  <c:v>-4.0081030000000002</c:v>
                </c:pt>
                <c:pt idx="1341">
                  <c:v>-3.9768080000000001</c:v>
                </c:pt>
                <c:pt idx="1342">
                  <c:v>-3.9804339999999998</c:v>
                </c:pt>
                <c:pt idx="1343">
                  <c:v>-4.0705850000000003</c:v>
                </c:pt>
                <c:pt idx="1344">
                  <c:v>-3.929141</c:v>
                </c:pt>
                <c:pt idx="1345">
                  <c:v>-3.4614569999999998</c:v>
                </c:pt>
                <c:pt idx="1346">
                  <c:v>-3.468531</c:v>
                </c:pt>
                <c:pt idx="1347">
                  <c:v>-3.5816400000000002</c:v>
                </c:pt>
                <c:pt idx="1348">
                  <c:v>-3.4922119999999999</c:v>
                </c:pt>
                <c:pt idx="1349">
                  <c:v>-3.2970169999999999</c:v>
                </c:pt>
                <c:pt idx="1350">
                  <c:v>-3.3096920000000001</c:v>
                </c:pt>
                <c:pt idx="1351">
                  <c:v>-3.3612880000000001</c:v>
                </c:pt>
                <c:pt idx="1352">
                  <c:v>-3.308373</c:v>
                </c:pt>
                <c:pt idx="1353">
                  <c:v>-3.3356539999999999</c:v>
                </c:pt>
                <c:pt idx="1354">
                  <c:v>-3.3406229999999999</c:v>
                </c:pt>
                <c:pt idx="1355">
                  <c:v>-3.132234</c:v>
                </c:pt>
                <c:pt idx="1356">
                  <c:v>-3.1457959999999998</c:v>
                </c:pt>
                <c:pt idx="1357">
                  <c:v>-3.2008740000000002</c:v>
                </c:pt>
                <c:pt idx="1358">
                  <c:v>-3.0871309999999998</c:v>
                </c:pt>
                <c:pt idx="1359">
                  <c:v>-3.21794</c:v>
                </c:pt>
                <c:pt idx="1360">
                  <c:v>-3.212323</c:v>
                </c:pt>
                <c:pt idx="1361">
                  <c:v>-3.2774350000000001</c:v>
                </c:pt>
                <c:pt idx="1362">
                  <c:v>-3.311124</c:v>
                </c:pt>
                <c:pt idx="1363">
                  <c:v>-3.0633499999999998</c:v>
                </c:pt>
                <c:pt idx="1364">
                  <c:v>-2.9939179999999999</c:v>
                </c:pt>
                <c:pt idx="1365">
                  <c:v>-2.940515</c:v>
                </c:pt>
                <c:pt idx="1366">
                  <c:v>-2.8977560000000002</c:v>
                </c:pt>
                <c:pt idx="1367">
                  <c:v>-3.0618620000000001</c:v>
                </c:pt>
                <c:pt idx="1368">
                  <c:v>-2.937411</c:v>
                </c:pt>
                <c:pt idx="1369">
                  <c:v>-2.7317819999999999</c:v>
                </c:pt>
                <c:pt idx="1370">
                  <c:v>-2.739522</c:v>
                </c:pt>
                <c:pt idx="1371">
                  <c:v>-2.8609450000000001</c:v>
                </c:pt>
                <c:pt idx="1372">
                  <c:v>-2.9144399999999999</c:v>
                </c:pt>
                <c:pt idx="1373">
                  <c:v>-2.8744529999999999</c:v>
                </c:pt>
                <c:pt idx="1374">
                  <c:v>-2.85046</c:v>
                </c:pt>
                <c:pt idx="1375">
                  <c:v>-2.7667169999999999</c:v>
                </c:pt>
                <c:pt idx="1376">
                  <c:v>-2.7830490000000001</c:v>
                </c:pt>
                <c:pt idx="1377">
                  <c:v>-2.851823</c:v>
                </c:pt>
                <c:pt idx="1378">
                  <c:v>-3.0224790000000001</c:v>
                </c:pt>
                <c:pt idx="1379">
                  <c:v>-3.2556470000000002</c:v>
                </c:pt>
                <c:pt idx="1380">
                  <c:v>-3.128155</c:v>
                </c:pt>
                <c:pt idx="1381">
                  <c:v>-2.9445130000000002</c:v>
                </c:pt>
                <c:pt idx="1382">
                  <c:v>-2.9154870000000002</c:v>
                </c:pt>
                <c:pt idx="1383">
                  <c:v>-3.1009359999999999</c:v>
                </c:pt>
                <c:pt idx="1384">
                  <c:v>-2.8596010000000001</c:v>
                </c:pt>
                <c:pt idx="1385">
                  <c:v>-2.6677170000000001</c:v>
                </c:pt>
                <c:pt idx="1386">
                  <c:v>-2.8146420000000001</c:v>
                </c:pt>
                <c:pt idx="1387">
                  <c:v>-2.6795339999999999</c:v>
                </c:pt>
                <c:pt idx="1388">
                  <c:v>-2.5268839999999999</c:v>
                </c:pt>
                <c:pt idx="1389">
                  <c:v>-2.563825</c:v>
                </c:pt>
                <c:pt idx="1390">
                  <c:v>-2.6983839999999999</c:v>
                </c:pt>
                <c:pt idx="1391">
                  <c:v>-2.6959979999999999</c:v>
                </c:pt>
                <c:pt idx="1392">
                  <c:v>-2.4869119999999998</c:v>
                </c:pt>
                <c:pt idx="1393">
                  <c:v>-2.2311480000000001</c:v>
                </c:pt>
                <c:pt idx="1394">
                  <c:v>-2.4080840000000001</c:v>
                </c:pt>
                <c:pt idx="1395">
                  <c:v>-2.4800960000000001</c:v>
                </c:pt>
                <c:pt idx="1396">
                  <c:v>-2.3767230000000001</c:v>
                </c:pt>
                <c:pt idx="1397">
                  <c:v>-2.516375</c:v>
                </c:pt>
                <c:pt idx="1398">
                  <c:v>-2.6535139999999999</c:v>
                </c:pt>
                <c:pt idx="1399">
                  <c:v>-2.5978219999999999</c:v>
                </c:pt>
                <c:pt idx="1400">
                  <c:v>-2.6436920000000002</c:v>
                </c:pt>
                <c:pt idx="1401">
                  <c:v>-2.7403599999999999</c:v>
                </c:pt>
                <c:pt idx="1402">
                  <c:v>-2.7345220000000001</c:v>
                </c:pt>
                <c:pt idx="1403">
                  <c:v>-2.8098510000000001</c:v>
                </c:pt>
                <c:pt idx="1404">
                  <c:v>-2.9286500000000002</c:v>
                </c:pt>
                <c:pt idx="1405">
                  <c:v>-2.803722</c:v>
                </c:pt>
                <c:pt idx="1406">
                  <c:v>-2.6820710000000001</c:v>
                </c:pt>
                <c:pt idx="1407">
                  <c:v>-2.6153270000000002</c:v>
                </c:pt>
                <c:pt idx="1408">
                  <c:v>-2.3022689999999999</c:v>
                </c:pt>
                <c:pt idx="1409">
                  <c:v>-2.2526250000000001</c:v>
                </c:pt>
                <c:pt idx="1410">
                  <c:v>-2.400156</c:v>
                </c:pt>
                <c:pt idx="1411">
                  <c:v>-2.1903670000000002</c:v>
                </c:pt>
                <c:pt idx="1412">
                  <c:v>-2.2670110000000001</c:v>
                </c:pt>
                <c:pt idx="1413">
                  <c:v>-2.422183</c:v>
                </c:pt>
                <c:pt idx="1414">
                  <c:v>-2.5033729999999998</c:v>
                </c:pt>
                <c:pt idx="1415">
                  <c:v>-2.410955</c:v>
                </c:pt>
                <c:pt idx="1416">
                  <c:v>-2.2314639999999999</c:v>
                </c:pt>
                <c:pt idx="1417">
                  <c:v>-2.327496</c:v>
                </c:pt>
                <c:pt idx="1418">
                  <c:v>-2.371197</c:v>
                </c:pt>
                <c:pt idx="1419">
                  <c:v>-2.5960049999999999</c:v>
                </c:pt>
                <c:pt idx="1420">
                  <c:v>-2.5871490000000001</c:v>
                </c:pt>
                <c:pt idx="1421">
                  <c:v>-2.530573</c:v>
                </c:pt>
                <c:pt idx="1422">
                  <c:v>-2.710048</c:v>
                </c:pt>
                <c:pt idx="1423">
                  <c:v>-2.5454059999999998</c:v>
                </c:pt>
                <c:pt idx="1424">
                  <c:v>-2.3320180000000001</c:v>
                </c:pt>
                <c:pt idx="1425">
                  <c:v>-2.2768199999999998</c:v>
                </c:pt>
                <c:pt idx="1426">
                  <c:v>-2.4380769999999998</c:v>
                </c:pt>
                <c:pt idx="1427">
                  <c:v>-2.4464800000000002</c:v>
                </c:pt>
                <c:pt idx="1428">
                  <c:v>-2.1822119999999998</c:v>
                </c:pt>
                <c:pt idx="1429">
                  <c:v>-1.960788</c:v>
                </c:pt>
                <c:pt idx="1430">
                  <c:v>-1.613715</c:v>
                </c:pt>
                <c:pt idx="1431">
                  <c:v>-1.5918239999999999</c:v>
                </c:pt>
                <c:pt idx="1432">
                  <c:v>-1.669114</c:v>
                </c:pt>
                <c:pt idx="1433">
                  <c:v>-1.6113519999999999</c:v>
                </c:pt>
                <c:pt idx="1434">
                  <c:v>-1.621507</c:v>
                </c:pt>
                <c:pt idx="1435">
                  <c:v>-1.604627</c:v>
                </c:pt>
                <c:pt idx="1436">
                  <c:v>-1.7135830000000001</c:v>
                </c:pt>
                <c:pt idx="1437">
                  <c:v>-1.827725</c:v>
                </c:pt>
                <c:pt idx="1438">
                  <c:v>-1.88886</c:v>
                </c:pt>
                <c:pt idx="1439">
                  <c:v>-2.1303239999999999</c:v>
                </c:pt>
                <c:pt idx="1440">
                  <c:v>-2.2054879999999999</c:v>
                </c:pt>
                <c:pt idx="1441">
                  <c:v>-2.3388249999999999</c:v>
                </c:pt>
                <c:pt idx="1442">
                  <c:v>-2.5005999999999999</c:v>
                </c:pt>
                <c:pt idx="1443">
                  <c:v>-2.415956</c:v>
                </c:pt>
                <c:pt idx="1444">
                  <c:v>-2.3280609999999999</c:v>
                </c:pt>
                <c:pt idx="1445">
                  <c:v>-2.4323160000000001</c:v>
                </c:pt>
                <c:pt idx="1446">
                  <c:v>-2.4986570000000001</c:v>
                </c:pt>
                <c:pt idx="1447">
                  <c:v>-2.348185</c:v>
                </c:pt>
                <c:pt idx="1448">
                  <c:v>-2.2759999999999998</c:v>
                </c:pt>
                <c:pt idx="1449">
                  <c:v>-2.1684230000000002</c:v>
                </c:pt>
                <c:pt idx="1450">
                  <c:v>-2.1044010000000002</c:v>
                </c:pt>
                <c:pt idx="1451">
                  <c:v>-1.98952</c:v>
                </c:pt>
                <c:pt idx="1452">
                  <c:v>-1.913678</c:v>
                </c:pt>
                <c:pt idx="1453">
                  <c:v>-1.98847</c:v>
                </c:pt>
                <c:pt idx="1454">
                  <c:v>-2.0821200000000002</c:v>
                </c:pt>
                <c:pt idx="1455">
                  <c:v>-2.2621440000000002</c:v>
                </c:pt>
                <c:pt idx="1456">
                  <c:v>-2.4314990000000001</c:v>
                </c:pt>
                <c:pt idx="1457">
                  <c:v>-2.5388169999999999</c:v>
                </c:pt>
                <c:pt idx="1458">
                  <c:v>-2.4825020000000002</c:v>
                </c:pt>
                <c:pt idx="1459">
                  <c:v>-2.5408110000000002</c:v>
                </c:pt>
                <c:pt idx="1460">
                  <c:v>-2.6533220000000002</c:v>
                </c:pt>
                <c:pt idx="1461">
                  <c:v>-2.597594</c:v>
                </c:pt>
                <c:pt idx="1462">
                  <c:v>-2.5835759999999999</c:v>
                </c:pt>
                <c:pt idx="1463">
                  <c:v>-2.7227489999999999</c:v>
                </c:pt>
                <c:pt idx="1464">
                  <c:v>-2.74105</c:v>
                </c:pt>
                <c:pt idx="1465">
                  <c:v>-2.496251</c:v>
                </c:pt>
                <c:pt idx="1466">
                  <c:v>-2.4369239999999999</c:v>
                </c:pt>
                <c:pt idx="1467">
                  <c:v>-2.5324529999999998</c:v>
                </c:pt>
                <c:pt idx="1468">
                  <c:v>-2.3754420000000001</c:v>
                </c:pt>
                <c:pt idx="1469">
                  <c:v>-2.1508099999999999</c:v>
                </c:pt>
                <c:pt idx="1470">
                  <c:v>-2.2831100000000002</c:v>
                </c:pt>
                <c:pt idx="1471">
                  <c:v>-2.403251</c:v>
                </c:pt>
                <c:pt idx="1472">
                  <c:v>-2.328611</c:v>
                </c:pt>
                <c:pt idx="1473">
                  <c:v>-2.3537469999999998</c:v>
                </c:pt>
                <c:pt idx="1474">
                  <c:v>-2.2946140000000002</c:v>
                </c:pt>
                <c:pt idx="1475">
                  <c:v>-2.2599339999999999</c:v>
                </c:pt>
                <c:pt idx="1476">
                  <c:v>-2.4373040000000001</c:v>
                </c:pt>
                <c:pt idx="1477">
                  <c:v>-2.6004130000000001</c:v>
                </c:pt>
                <c:pt idx="1478">
                  <c:v>-2.7002549999999998</c:v>
                </c:pt>
                <c:pt idx="1479">
                  <c:v>-2.8406829999999998</c:v>
                </c:pt>
                <c:pt idx="1480">
                  <c:v>-3.143214</c:v>
                </c:pt>
                <c:pt idx="1481">
                  <c:v>-3.1345550000000002</c:v>
                </c:pt>
                <c:pt idx="1482">
                  <c:v>-2.8980399999999999</c:v>
                </c:pt>
                <c:pt idx="1483">
                  <c:v>-2.8579029999999999</c:v>
                </c:pt>
                <c:pt idx="1484">
                  <c:v>-2.8431440000000001</c:v>
                </c:pt>
                <c:pt idx="1485">
                  <c:v>-2.8388439999999999</c:v>
                </c:pt>
                <c:pt idx="1486">
                  <c:v>-2.8388230000000001</c:v>
                </c:pt>
                <c:pt idx="1487">
                  <c:v>-2.908693</c:v>
                </c:pt>
                <c:pt idx="1488">
                  <c:v>-2.7450899999999998</c:v>
                </c:pt>
                <c:pt idx="1489">
                  <c:v>-2.6594470000000001</c:v>
                </c:pt>
                <c:pt idx="1490">
                  <c:v>-2.873634</c:v>
                </c:pt>
                <c:pt idx="1491">
                  <c:v>-2.8509760000000002</c:v>
                </c:pt>
                <c:pt idx="1492">
                  <c:v>-2.708656</c:v>
                </c:pt>
                <c:pt idx="1493">
                  <c:v>-2.9021409999999999</c:v>
                </c:pt>
                <c:pt idx="1494">
                  <c:v>-3.0040239999999998</c:v>
                </c:pt>
                <c:pt idx="1495">
                  <c:v>-2.9366400000000001</c:v>
                </c:pt>
                <c:pt idx="1496">
                  <c:v>-2.907972</c:v>
                </c:pt>
                <c:pt idx="1497">
                  <c:v>-3.1028280000000001</c:v>
                </c:pt>
                <c:pt idx="1498">
                  <c:v>-3.349939</c:v>
                </c:pt>
                <c:pt idx="1499">
                  <c:v>-3.2364160000000002</c:v>
                </c:pt>
                <c:pt idx="1500">
                  <c:v>-3.130207</c:v>
                </c:pt>
                <c:pt idx="1501">
                  <c:v>-3.0831490000000001</c:v>
                </c:pt>
                <c:pt idx="1502">
                  <c:v>-2.9926189999999999</c:v>
                </c:pt>
                <c:pt idx="1503">
                  <c:v>-2.8739910000000002</c:v>
                </c:pt>
                <c:pt idx="1504">
                  <c:v>-2.9370660000000002</c:v>
                </c:pt>
                <c:pt idx="1505">
                  <c:v>-2.960677</c:v>
                </c:pt>
                <c:pt idx="1506">
                  <c:v>-2.971028</c:v>
                </c:pt>
                <c:pt idx="1507">
                  <c:v>-2.836652</c:v>
                </c:pt>
                <c:pt idx="1508">
                  <c:v>-2.7611789999999998</c:v>
                </c:pt>
                <c:pt idx="1509">
                  <c:v>-2.8414190000000001</c:v>
                </c:pt>
                <c:pt idx="1510">
                  <c:v>-2.8773059999999999</c:v>
                </c:pt>
                <c:pt idx="1511">
                  <c:v>-2.8236479999999999</c:v>
                </c:pt>
                <c:pt idx="1512">
                  <c:v>-2.7256019999999999</c:v>
                </c:pt>
                <c:pt idx="1513">
                  <c:v>-2.867486</c:v>
                </c:pt>
                <c:pt idx="1514">
                  <c:v>-3.1434389999999999</c:v>
                </c:pt>
                <c:pt idx="1515">
                  <c:v>-2.893262</c:v>
                </c:pt>
                <c:pt idx="1516">
                  <c:v>-2.705444</c:v>
                </c:pt>
                <c:pt idx="1517">
                  <c:v>-2.7947839999999999</c:v>
                </c:pt>
                <c:pt idx="1518">
                  <c:v>-3.1097570000000001</c:v>
                </c:pt>
                <c:pt idx="1519">
                  <c:v>-3.28057</c:v>
                </c:pt>
                <c:pt idx="1520">
                  <c:v>-2.9928110000000001</c:v>
                </c:pt>
                <c:pt idx="1521">
                  <c:v>-3.1212939999999998</c:v>
                </c:pt>
                <c:pt idx="1522">
                  <c:v>-3.1264970000000001</c:v>
                </c:pt>
                <c:pt idx="1523">
                  <c:v>-3.0043540000000002</c:v>
                </c:pt>
                <c:pt idx="1524">
                  <c:v>-2.9403890000000001</c:v>
                </c:pt>
                <c:pt idx="1525">
                  <c:v>-2.9707560000000002</c:v>
                </c:pt>
                <c:pt idx="1526">
                  <c:v>-2.9813550000000002</c:v>
                </c:pt>
                <c:pt idx="1527">
                  <c:v>-3.1913130000000001</c:v>
                </c:pt>
                <c:pt idx="1528">
                  <c:v>-3.3072499999999998</c:v>
                </c:pt>
                <c:pt idx="1529">
                  <c:v>-2.8451430000000002</c:v>
                </c:pt>
                <c:pt idx="1530">
                  <c:v>-2.666131</c:v>
                </c:pt>
                <c:pt idx="1531">
                  <c:v>-2.7489319999999999</c:v>
                </c:pt>
                <c:pt idx="1532">
                  <c:v>-2.7743799999999998</c:v>
                </c:pt>
                <c:pt idx="1533">
                  <c:v>-2.843159</c:v>
                </c:pt>
                <c:pt idx="1534">
                  <c:v>-2.873901</c:v>
                </c:pt>
                <c:pt idx="1535">
                  <c:v>-2.8206470000000001</c:v>
                </c:pt>
                <c:pt idx="1536">
                  <c:v>-2.8585850000000002</c:v>
                </c:pt>
                <c:pt idx="1537">
                  <c:v>-2.9434610000000001</c:v>
                </c:pt>
                <c:pt idx="1538">
                  <c:v>-2.9246439999999998</c:v>
                </c:pt>
                <c:pt idx="1539">
                  <c:v>-2.9868969999999999</c:v>
                </c:pt>
                <c:pt idx="1540">
                  <c:v>-2.9566270000000001</c:v>
                </c:pt>
                <c:pt idx="1541">
                  <c:v>-3.0150709999999998</c:v>
                </c:pt>
                <c:pt idx="1542">
                  <c:v>-2.981201</c:v>
                </c:pt>
                <c:pt idx="1543">
                  <c:v>-2.834667</c:v>
                </c:pt>
                <c:pt idx="1544">
                  <c:v>-2.887578</c:v>
                </c:pt>
                <c:pt idx="1545">
                  <c:v>-2.843064</c:v>
                </c:pt>
                <c:pt idx="1546">
                  <c:v>-2.9523579999999998</c:v>
                </c:pt>
                <c:pt idx="1547">
                  <c:v>-2.8040120000000002</c:v>
                </c:pt>
                <c:pt idx="1548">
                  <c:v>-2.590265</c:v>
                </c:pt>
                <c:pt idx="1549">
                  <c:v>-2.797892</c:v>
                </c:pt>
                <c:pt idx="1550">
                  <c:v>-2.762016</c:v>
                </c:pt>
                <c:pt idx="1551">
                  <c:v>-2.6737649999999999</c:v>
                </c:pt>
                <c:pt idx="1552">
                  <c:v>-2.7538550000000002</c:v>
                </c:pt>
                <c:pt idx="1553">
                  <c:v>-2.8598129999999999</c:v>
                </c:pt>
                <c:pt idx="1554">
                  <c:v>-2.85025</c:v>
                </c:pt>
                <c:pt idx="1555">
                  <c:v>-2.851585</c:v>
                </c:pt>
                <c:pt idx="1556">
                  <c:v>-3.126941</c:v>
                </c:pt>
                <c:pt idx="1557">
                  <c:v>-3.0826190000000002</c:v>
                </c:pt>
                <c:pt idx="1558">
                  <c:v>-2.8761130000000001</c:v>
                </c:pt>
                <c:pt idx="1559">
                  <c:v>-3.040756</c:v>
                </c:pt>
                <c:pt idx="1560">
                  <c:v>-2.9269919999999998</c:v>
                </c:pt>
                <c:pt idx="1561">
                  <c:v>-2.737276</c:v>
                </c:pt>
                <c:pt idx="1562">
                  <c:v>-2.8293089999999999</c:v>
                </c:pt>
                <c:pt idx="1563">
                  <c:v>-2.870209</c:v>
                </c:pt>
                <c:pt idx="1564">
                  <c:v>-2.8898290000000002</c:v>
                </c:pt>
                <c:pt idx="1565">
                  <c:v>-2.8323809999999998</c:v>
                </c:pt>
                <c:pt idx="1566">
                  <c:v>-2.7326440000000001</c:v>
                </c:pt>
                <c:pt idx="1567">
                  <c:v>-2.8084739999999999</c:v>
                </c:pt>
                <c:pt idx="1568">
                  <c:v>-3.0465409999999999</c:v>
                </c:pt>
                <c:pt idx="1569">
                  <c:v>-2.9765139999999999</c:v>
                </c:pt>
                <c:pt idx="1570">
                  <c:v>-2.7480570000000002</c:v>
                </c:pt>
                <c:pt idx="1571">
                  <c:v>-2.8260649999999998</c:v>
                </c:pt>
                <c:pt idx="1572">
                  <c:v>-2.9964789999999999</c:v>
                </c:pt>
                <c:pt idx="1573">
                  <c:v>-3.0922689999999999</c:v>
                </c:pt>
                <c:pt idx="1574">
                  <c:v>-2.8834780000000002</c:v>
                </c:pt>
                <c:pt idx="1575">
                  <c:v>-2.7109429999999999</c:v>
                </c:pt>
                <c:pt idx="1576">
                  <c:v>-2.9470109999999998</c:v>
                </c:pt>
                <c:pt idx="1577">
                  <c:v>-2.932366</c:v>
                </c:pt>
                <c:pt idx="1578">
                  <c:v>-2.6589649999999998</c:v>
                </c:pt>
                <c:pt idx="1579">
                  <c:v>-2.5038580000000001</c:v>
                </c:pt>
                <c:pt idx="1580">
                  <c:v>-2.7403029999999999</c:v>
                </c:pt>
                <c:pt idx="1581">
                  <c:v>-2.8511470000000001</c:v>
                </c:pt>
                <c:pt idx="1582">
                  <c:v>-2.64412</c:v>
                </c:pt>
                <c:pt idx="1583">
                  <c:v>-2.4606590000000002</c:v>
                </c:pt>
                <c:pt idx="1584">
                  <c:v>-2.279366</c:v>
                </c:pt>
                <c:pt idx="1585">
                  <c:v>-2.496248</c:v>
                </c:pt>
                <c:pt idx="1586">
                  <c:v>-2.6602380000000001</c:v>
                </c:pt>
                <c:pt idx="1587">
                  <c:v>-2.6818550000000001</c:v>
                </c:pt>
                <c:pt idx="1588">
                  <c:v>-2.6288909999999999</c:v>
                </c:pt>
                <c:pt idx="1589">
                  <c:v>-2.3329219999999999</c:v>
                </c:pt>
                <c:pt idx="1590">
                  <c:v>-2.3679600000000001</c:v>
                </c:pt>
                <c:pt idx="1591">
                  <c:v>-2.5713599999999999</c:v>
                </c:pt>
                <c:pt idx="1592">
                  <c:v>-2.6091440000000001</c:v>
                </c:pt>
                <c:pt idx="1593">
                  <c:v>-2.6338089999999998</c:v>
                </c:pt>
                <c:pt idx="1594">
                  <c:v>-2.5844689999999999</c:v>
                </c:pt>
                <c:pt idx="1595">
                  <c:v>-2.4938120000000001</c:v>
                </c:pt>
                <c:pt idx="1596">
                  <c:v>-2.4425110000000001</c:v>
                </c:pt>
                <c:pt idx="1597">
                  <c:v>-2.6125310000000002</c:v>
                </c:pt>
                <c:pt idx="1598">
                  <c:v>-2.4965799999999998</c:v>
                </c:pt>
                <c:pt idx="1599">
                  <c:v>-2.3712979999999999</c:v>
                </c:pt>
                <c:pt idx="1600">
                  <c:v>-2.4960469999999999</c:v>
                </c:pt>
                <c:pt idx="1601">
                  <c:v>-2.4909889999999999</c:v>
                </c:pt>
                <c:pt idx="1602">
                  <c:v>-2.5547569999999999</c:v>
                </c:pt>
                <c:pt idx="1603">
                  <c:v>-2.6588270000000001</c:v>
                </c:pt>
                <c:pt idx="1604">
                  <c:v>-2.8575940000000002</c:v>
                </c:pt>
                <c:pt idx="1605">
                  <c:v>-2.9122840000000001</c:v>
                </c:pt>
                <c:pt idx="1606">
                  <c:v>-2.8286349999999998</c:v>
                </c:pt>
                <c:pt idx="1607">
                  <c:v>-2.7992710000000001</c:v>
                </c:pt>
                <c:pt idx="1608">
                  <c:v>-2.9966560000000002</c:v>
                </c:pt>
                <c:pt idx="1609">
                  <c:v>-3.1140919999999999</c:v>
                </c:pt>
                <c:pt idx="1610">
                  <c:v>-2.9287030000000001</c:v>
                </c:pt>
                <c:pt idx="1611">
                  <c:v>-2.7752840000000001</c:v>
                </c:pt>
                <c:pt idx="1612">
                  <c:v>-2.760062</c:v>
                </c:pt>
                <c:pt idx="1613">
                  <c:v>-2.949516</c:v>
                </c:pt>
                <c:pt idx="1614">
                  <c:v>-2.847442</c:v>
                </c:pt>
                <c:pt idx="1615">
                  <c:v>-2.8002349999999998</c:v>
                </c:pt>
                <c:pt idx="1616">
                  <c:v>-2.495984</c:v>
                </c:pt>
                <c:pt idx="1617">
                  <c:v>-2.3246639999999998</c:v>
                </c:pt>
                <c:pt idx="1618">
                  <c:v>-2.674188</c:v>
                </c:pt>
                <c:pt idx="1619">
                  <c:v>-2.6452930000000001</c:v>
                </c:pt>
                <c:pt idx="1620">
                  <c:v>-2.4927579999999998</c:v>
                </c:pt>
                <c:pt idx="1621">
                  <c:v>-2.5397989999999999</c:v>
                </c:pt>
                <c:pt idx="1622">
                  <c:v>-2.6896450000000001</c:v>
                </c:pt>
                <c:pt idx="1623">
                  <c:v>-2.4982739999999999</c:v>
                </c:pt>
                <c:pt idx="1624">
                  <c:v>-2.6674820000000001</c:v>
                </c:pt>
                <c:pt idx="1625">
                  <c:v>-2.7510620000000001</c:v>
                </c:pt>
                <c:pt idx="1626">
                  <c:v>-2.6725439999999998</c:v>
                </c:pt>
                <c:pt idx="1627">
                  <c:v>-2.6995659999999999</c:v>
                </c:pt>
                <c:pt idx="1628">
                  <c:v>-2.7882600000000002</c:v>
                </c:pt>
                <c:pt idx="1629">
                  <c:v>-2.974666</c:v>
                </c:pt>
                <c:pt idx="1630">
                  <c:v>-2.8199049999999999</c:v>
                </c:pt>
                <c:pt idx="1631">
                  <c:v>-2.9537719999999998</c:v>
                </c:pt>
                <c:pt idx="1632">
                  <c:v>-2.9641829999999998</c:v>
                </c:pt>
                <c:pt idx="1633">
                  <c:v>-2.7817789999999998</c:v>
                </c:pt>
                <c:pt idx="1634">
                  <c:v>-3.0259260000000001</c:v>
                </c:pt>
                <c:pt idx="1635">
                  <c:v>-2.956655</c:v>
                </c:pt>
                <c:pt idx="1636">
                  <c:v>-2.6615899999999999</c:v>
                </c:pt>
                <c:pt idx="1637">
                  <c:v>-2.6318229999999998</c:v>
                </c:pt>
                <c:pt idx="1638">
                  <c:v>-2.6009350000000002</c:v>
                </c:pt>
                <c:pt idx="1639">
                  <c:v>-2.774832</c:v>
                </c:pt>
                <c:pt idx="1640">
                  <c:v>-2.9969510000000001</c:v>
                </c:pt>
                <c:pt idx="1641">
                  <c:v>-3.0589400000000002</c:v>
                </c:pt>
                <c:pt idx="1642">
                  <c:v>-2.9731299999999998</c:v>
                </c:pt>
                <c:pt idx="1643">
                  <c:v>-3.0090270000000001</c:v>
                </c:pt>
                <c:pt idx="1644">
                  <c:v>-3.0344060000000002</c:v>
                </c:pt>
                <c:pt idx="1645">
                  <c:v>-2.923098</c:v>
                </c:pt>
                <c:pt idx="1646">
                  <c:v>-3.0704660000000001</c:v>
                </c:pt>
                <c:pt idx="1647">
                  <c:v>-3.2214330000000002</c:v>
                </c:pt>
                <c:pt idx="1648">
                  <c:v>-3.0454210000000002</c:v>
                </c:pt>
                <c:pt idx="1649">
                  <c:v>-3.0990129999999998</c:v>
                </c:pt>
                <c:pt idx="1650">
                  <c:v>-3.1961490000000001</c:v>
                </c:pt>
                <c:pt idx="1651">
                  <c:v>-3.260535</c:v>
                </c:pt>
                <c:pt idx="1652">
                  <c:v>-3.2363770000000001</c:v>
                </c:pt>
                <c:pt idx="1653">
                  <c:v>-3.102322</c:v>
                </c:pt>
                <c:pt idx="1654">
                  <c:v>-2.894415</c:v>
                </c:pt>
                <c:pt idx="1655">
                  <c:v>-2.9131360000000002</c:v>
                </c:pt>
                <c:pt idx="1656">
                  <c:v>-2.9039640000000002</c:v>
                </c:pt>
                <c:pt idx="1657">
                  <c:v>-3.0305759999999999</c:v>
                </c:pt>
                <c:pt idx="1658">
                  <c:v>-2.883178</c:v>
                </c:pt>
                <c:pt idx="1659">
                  <c:v>-2.4000270000000001</c:v>
                </c:pt>
                <c:pt idx="1660">
                  <c:v>-2.6533760000000002</c:v>
                </c:pt>
                <c:pt idx="1661">
                  <c:v>-2.8976329999999999</c:v>
                </c:pt>
                <c:pt idx="1662">
                  <c:v>-2.8206690000000001</c:v>
                </c:pt>
                <c:pt idx="1663">
                  <c:v>-2.715068</c:v>
                </c:pt>
                <c:pt idx="1664">
                  <c:v>-2.787649</c:v>
                </c:pt>
                <c:pt idx="1665">
                  <c:v>-2.9583550000000001</c:v>
                </c:pt>
                <c:pt idx="1666">
                  <c:v>-3.1900719999999998</c:v>
                </c:pt>
                <c:pt idx="1667">
                  <c:v>-3.060568</c:v>
                </c:pt>
                <c:pt idx="1668">
                  <c:v>-2.8747370000000001</c:v>
                </c:pt>
                <c:pt idx="1669">
                  <c:v>-3.0479889999999998</c:v>
                </c:pt>
                <c:pt idx="1670">
                  <c:v>-3.2104780000000002</c:v>
                </c:pt>
                <c:pt idx="1671">
                  <c:v>-3.244491</c:v>
                </c:pt>
                <c:pt idx="1672">
                  <c:v>-3.2121430000000002</c:v>
                </c:pt>
                <c:pt idx="1673">
                  <c:v>-3.0048499999999998</c:v>
                </c:pt>
                <c:pt idx="1674">
                  <c:v>-2.9650720000000002</c:v>
                </c:pt>
                <c:pt idx="1675">
                  <c:v>-3.0711400000000002</c:v>
                </c:pt>
                <c:pt idx="1676">
                  <c:v>-2.990529</c:v>
                </c:pt>
                <c:pt idx="1677">
                  <c:v>-2.741968</c:v>
                </c:pt>
                <c:pt idx="1678">
                  <c:v>-2.8691610000000001</c:v>
                </c:pt>
                <c:pt idx="1679">
                  <c:v>-2.9874550000000002</c:v>
                </c:pt>
                <c:pt idx="1680">
                  <c:v>-2.984947</c:v>
                </c:pt>
                <c:pt idx="1681">
                  <c:v>-3.1867740000000002</c:v>
                </c:pt>
                <c:pt idx="1682">
                  <c:v>-3.169219</c:v>
                </c:pt>
                <c:pt idx="1683">
                  <c:v>-3.1055190000000001</c:v>
                </c:pt>
                <c:pt idx="1684">
                  <c:v>-3.2150080000000001</c:v>
                </c:pt>
                <c:pt idx="1685">
                  <c:v>-3.2123590000000002</c:v>
                </c:pt>
                <c:pt idx="1686">
                  <c:v>-3.291461</c:v>
                </c:pt>
                <c:pt idx="1687">
                  <c:v>-3.5461770000000001</c:v>
                </c:pt>
                <c:pt idx="1688">
                  <c:v>-3.5688580000000001</c:v>
                </c:pt>
                <c:pt idx="1689">
                  <c:v>-3.2667920000000001</c:v>
                </c:pt>
                <c:pt idx="1690">
                  <c:v>-3.1852100000000001</c:v>
                </c:pt>
                <c:pt idx="1691">
                  <c:v>-3.473109</c:v>
                </c:pt>
                <c:pt idx="1692">
                  <c:v>-3.5646529999999998</c:v>
                </c:pt>
                <c:pt idx="1693">
                  <c:v>-3.1540330000000001</c:v>
                </c:pt>
                <c:pt idx="1694">
                  <c:v>-2.733571</c:v>
                </c:pt>
                <c:pt idx="1695">
                  <c:v>-2.884836</c:v>
                </c:pt>
                <c:pt idx="1696">
                  <c:v>-2.8653420000000001</c:v>
                </c:pt>
                <c:pt idx="1697">
                  <c:v>-2.9061880000000002</c:v>
                </c:pt>
                <c:pt idx="1698">
                  <c:v>-2.977255</c:v>
                </c:pt>
                <c:pt idx="1699">
                  <c:v>-2.7382520000000001</c:v>
                </c:pt>
                <c:pt idx="1700">
                  <c:v>-2.7326700000000002</c:v>
                </c:pt>
                <c:pt idx="1701">
                  <c:v>-3.0506009999999999</c:v>
                </c:pt>
                <c:pt idx="1702">
                  <c:v>-3.0124040000000001</c:v>
                </c:pt>
                <c:pt idx="1703">
                  <c:v>-2.7988629999999999</c:v>
                </c:pt>
                <c:pt idx="1704">
                  <c:v>-3.0180920000000002</c:v>
                </c:pt>
                <c:pt idx="1705">
                  <c:v>-2.928445</c:v>
                </c:pt>
                <c:pt idx="1706">
                  <c:v>-3.1591230000000001</c:v>
                </c:pt>
                <c:pt idx="1707">
                  <c:v>-3.3519730000000001</c:v>
                </c:pt>
                <c:pt idx="1708">
                  <c:v>-3.142493</c:v>
                </c:pt>
                <c:pt idx="1709">
                  <c:v>-3.1782940000000002</c:v>
                </c:pt>
                <c:pt idx="1710">
                  <c:v>-3.0686110000000002</c:v>
                </c:pt>
                <c:pt idx="1711">
                  <c:v>-3.0125229999999998</c:v>
                </c:pt>
                <c:pt idx="1712">
                  <c:v>-3.0458129999999999</c:v>
                </c:pt>
                <c:pt idx="1713">
                  <c:v>-2.5830850000000001</c:v>
                </c:pt>
                <c:pt idx="1714">
                  <c:v>-2.8654099999999998</c:v>
                </c:pt>
                <c:pt idx="1715">
                  <c:v>-2.985935</c:v>
                </c:pt>
                <c:pt idx="1716">
                  <c:v>-2.7205119999999998</c:v>
                </c:pt>
                <c:pt idx="1717">
                  <c:v>-2.9705680000000001</c:v>
                </c:pt>
                <c:pt idx="1718">
                  <c:v>-3.0353729999999999</c:v>
                </c:pt>
                <c:pt idx="1719">
                  <c:v>-2.8697629999999998</c:v>
                </c:pt>
                <c:pt idx="1720">
                  <c:v>-2.85446</c:v>
                </c:pt>
                <c:pt idx="1721">
                  <c:v>-2.9716670000000001</c:v>
                </c:pt>
                <c:pt idx="1722">
                  <c:v>-2.8343159999999998</c:v>
                </c:pt>
                <c:pt idx="1723">
                  <c:v>-2.8934099999999998</c:v>
                </c:pt>
                <c:pt idx="1724">
                  <c:v>-3.0582069999999999</c:v>
                </c:pt>
                <c:pt idx="1725">
                  <c:v>-3.0826889999999998</c:v>
                </c:pt>
                <c:pt idx="1726">
                  <c:v>-3.1088809999999998</c:v>
                </c:pt>
                <c:pt idx="1727">
                  <c:v>-3.3352189999999999</c:v>
                </c:pt>
                <c:pt idx="1728">
                  <c:v>-3.4066149999999999</c:v>
                </c:pt>
                <c:pt idx="1729">
                  <c:v>-3.129054</c:v>
                </c:pt>
                <c:pt idx="1730">
                  <c:v>-3.0617350000000001</c:v>
                </c:pt>
                <c:pt idx="1731">
                  <c:v>-3.1549619999999998</c:v>
                </c:pt>
                <c:pt idx="1732">
                  <c:v>-2.8661150000000002</c:v>
                </c:pt>
                <c:pt idx="1733">
                  <c:v>-3.04434</c:v>
                </c:pt>
                <c:pt idx="1734">
                  <c:v>-3.125464</c:v>
                </c:pt>
                <c:pt idx="1735">
                  <c:v>-2.8355640000000002</c:v>
                </c:pt>
                <c:pt idx="1736">
                  <c:v>-2.8749370000000001</c:v>
                </c:pt>
                <c:pt idx="1737">
                  <c:v>-2.8818609999999998</c:v>
                </c:pt>
                <c:pt idx="1738">
                  <c:v>-2.7408920000000001</c:v>
                </c:pt>
                <c:pt idx="1739">
                  <c:v>-2.7214520000000002</c:v>
                </c:pt>
                <c:pt idx="1740">
                  <c:v>-2.762372</c:v>
                </c:pt>
                <c:pt idx="1741">
                  <c:v>-2.842292</c:v>
                </c:pt>
                <c:pt idx="1742">
                  <c:v>-2.9473760000000002</c:v>
                </c:pt>
                <c:pt idx="1743">
                  <c:v>-2.9396100000000001</c:v>
                </c:pt>
                <c:pt idx="1744">
                  <c:v>-2.8726569999999998</c:v>
                </c:pt>
                <c:pt idx="1745">
                  <c:v>-2.90706</c:v>
                </c:pt>
                <c:pt idx="1746">
                  <c:v>-2.7880159999999998</c:v>
                </c:pt>
                <c:pt idx="1747">
                  <c:v>-2.7239969999999998</c:v>
                </c:pt>
                <c:pt idx="1748">
                  <c:v>-2.813828</c:v>
                </c:pt>
                <c:pt idx="1749">
                  <c:v>-2.9264559999999999</c:v>
                </c:pt>
                <c:pt idx="1750">
                  <c:v>-2.8510740000000001</c:v>
                </c:pt>
                <c:pt idx="1751">
                  <c:v>-2.6129120000000001</c:v>
                </c:pt>
                <c:pt idx="1752">
                  <c:v>-2.9508740000000002</c:v>
                </c:pt>
                <c:pt idx="1753">
                  <c:v>-2.9223789999999998</c:v>
                </c:pt>
                <c:pt idx="1754">
                  <c:v>-2.7852679999999999</c:v>
                </c:pt>
                <c:pt idx="1755">
                  <c:v>-2.9112260000000001</c:v>
                </c:pt>
                <c:pt idx="1756">
                  <c:v>-2.7777050000000001</c:v>
                </c:pt>
                <c:pt idx="1757">
                  <c:v>-2.7051759999999998</c:v>
                </c:pt>
                <c:pt idx="1758">
                  <c:v>-2.6586189999999998</c:v>
                </c:pt>
                <c:pt idx="1759">
                  <c:v>-2.4871599999999998</c:v>
                </c:pt>
                <c:pt idx="1760">
                  <c:v>-2.448534</c:v>
                </c:pt>
                <c:pt idx="1761">
                  <c:v>-2.6782020000000002</c:v>
                </c:pt>
                <c:pt idx="1762">
                  <c:v>-2.792929</c:v>
                </c:pt>
                <c:pt idx="1763">
                  <c:v>-2.724345</c:v>
                </c:pt>
                <c:pt idx="1764">
                  <c:v>-2.8295889999999999</c:v>
                </c:pt>
                <c:pt idx="1765">
                  <c:v>-2.957843</c:v>
                </c:pt>
                <c:pt idx="1766">
                  <c:v>-2.7687900000000001</c:v>
                </c:pt>
                <c:pt idx="1767">
                  <c:v>-2.6074830000000002</c:v>
                </c:pt>
                <c:pt idx="1768">
                  <c:v>-2.6495419999999998</c:v>
                </c:pt>
                <c:pt idx="1769">
                  <c:v>-2.5944790000000002</c:v>
                </c:pt>
                <c:pt idx="1770">
                  <c:v>-2.4905279999999999</c:v>
                </c:pt>
                <c:pt idx="1771">
                  <c:v>-2.5581070000000001</c:v>
                </c:pt>
                <c:pt idx="1772">
                  <c:v>-2.515288</c:v>
                </c:pt>
                <c:pt idx="1773">
                  <c:v>-2.4861610000000001</c:v>
                </c:pt>
                <c:pt idx="1774">
                  <c:v>-2.5965180000000001</c:v>
                </c:pt>
                <c:pt idx="1775">
                  <c:v>-2.5160149999999999</c:v>
                </c:pt>
                <c:pt idx="1776">
                  <c:v>-2.3354360000000001</c:v>
                </c:pt>
                <c:pt idx="1777">
                  <c:v>-2.2266439999999998</c:v>
                </c:pt>
                <c:pt idx="1778">
                  <c:v>-2.2170930000000002</c:v>
                </c:pt>
                <c:pt idx="1779">
                  <c:v>-2.3283619999999998</c:v>
                </c:pt>
                <c:pt idx="1780">
                  <c:v>-2.307998</c:v>
                </c:pt>
                <c:pt idx="1781">
                  <c:v>-2.2241529999999998</c:v>
                </c:pt>
                <c:pt idx="1782">
                  <c:v>-2.305501</c:v>
                </c:pt>
                <c:pt idx="1783">
                  <c:v>-2.2735609999999999</c:v>
                </c:pt>
                <c:pt idx="1784">
                  <c:v>-2.2538550000000002</c:v>
                </c:pt>
                <c:pt idx="1785">
                  <c:v>-2.3727839999999998</c:v>
                </c:pt>
                <c:pt idx="1786">
                  <c:v>-2.3684280000000002</c:v>
                </c:pt>
                <c:pt idx="1787">
                  <c:v>-2.165718</c:v>
                </c:pt>
                <c:pt idx="1788">
                  <c:v>-2.2572969999999999</c:v>
                </c:pt>
                <c:pt idx="1789">
                  <c:v>-2.4316019999999998</c:v>
                </c:pt>
                <c:pt idx="1790">
                  <c:v>-2.3953229999999999</c:v>
                </c:pt>
                <c:pt idx="1791">
                  <c:v>-2.3137889999999999</c:v>
                </c:pt>
                <c:pt idx="1792">
                  <c:v>-2.2727140000000001</c:v>
                </c:pt>
                <c:pt idx="1793">
                  <c:v>-2.4501729999999999</c:v>
                </c:pt>
                <c:pt idx="1794">
                  <c:v>-2.4114270000000002</c:v>
                </c:pt>
                <c:pt idx="1795">
                  <c:v>-2.1948089999999998</c:v>
                </c:pt>
                <c:pt idx="1796">
                  <c:v>-2.209857</c:v>
                </c:pt>
                <c:pt idx="1797">
                  <c:v>-2.342641</c:v>
                </c:pt>
                <c:pt idx="1798">
                  <c:v>-2.2753380000000001</c:v>
                </c:pt>
                <c:pt idx="1799">
                  <c:v>-2.1039479999999999</c:v>
                </c:pt>
                <c:pt idx="1800">
                  <c:v>-2.2069770000000002</c:v>
                </c:pt>
                <c:pt idx="1801">
                  <c:v>-2.3875030000000002</c:v>
                </c:pt>
                <c:pt idx="1802">
                  <c:v>-2.3522820000000002</c:v>
                </c:pt>
                <c:pt idx="1803">
                  <c:v>-2.2726609999999998</c:v>
                </c:pt>
                <c:pt idx="1804">
                  <c:v>-2.2308599999999998</c:v>
                </c:pt>
                <c:pt idx="1805">
                  <c:v>-2.2731650000000001</c:v>
                </c:pt>
                <c:pt idx="1806">
                  <c:v>-2.1563620000000001</c:v>
                </c:pt>
                <c:pt idx="1807">
                  <c:v>-2.1588940000000001</c:v>
                </c:pt>
                <c:pt idx="1808">
                  <c:v>-2.353669</c:v>
                </c:pt>
                <c:pt idx="1809">
                  <c:v>-2.3243119999999999</c:v>
                </c:pt>
                <c:pt idx="1810">
                  <c:v>-2.178922</c:v>
                </c:pt>
                <c:pt idx="1811">
                  <c:v>-2.0314030000000001</c:v>
                </c:pt>
                <c:pt idx="1812">
                  <c:v>-2.1446139999999998</c:v>
                </c:pt>
                <c:pt idx="1813">
                  <c:v>-2.397796</c:v>
                </c:pt>
                <c:pt idx="1814">
                  <c:v>-2.266877</c:v>
                </c:pt>
                <c:pt idx="1815">
                  <c:v>-2.2067969999999999</c:v>
                </c:pt>
                <c:pt idx="1816">
                  <c:v>-2.306667</c:v>
                </c:pt>
                <c:pt idx="1817">
                  <c:v>-2.2269549999999998</c:v>
                </c:pt>
                <c:pt idx="1818">
                  <c:v>-2.184984</c:v>
                </c:pt>
                <c:pt idx="1819">
                  <c:v>-2.2270889999999999</c:v>
                </c:pt>
                <c:pt idx="1820">
                  <c:v>-2.382733</c:v>
                </c:pt>
                <c:pt idx="1821">
                  <c:v>-2.4027669999999999</c:v>
                </c:pt>
                <c:pt idx="1822">
                  <c:v>-2.1522779999999999</c:v>
                </c:pt>
                <c:pt idx="1823">
                  <c:v>-2.0858680000000001</c:v>
                </c:pt>
                <c:pt idx="1824">
                  <c:v>-2.0360740000000002</c:v>
                </c:pt>
                <c:pt idx="1825">
                  <c:v>-2.1347179999999999</c:v>
                </c:pt>
                <c:pt idx="1826">
                  <c:v>-2.3116059999999998</c:v>
                </c:pt>
                <c:pt idx="1827">
                  <c:v>-2.5487109999999999</c:v>
                </c:pt>
                <c:pt idx="1828">
                  <c:v>-2.5530300000000001</c:v>
                </c:pt>
                <c:pt idx="1829">
                  <c:v>-2.4458959999999998</c:v>
                </c:pt>
                <c:pt idx="1830">
                  <c:v>-2.601388</c:v>
                </c:pt>
                <c:pt idx="1831">
                  <c:v>-2.4949919999999999</c:v>
                </c:pt>
                <c:pt idx="1832">
                  <c:v>-2.5857269999999999</c:v>
                </c:pt>
                <c:pt idx="1833">
                  <c:v>-2.9135339999999998</c:v>
                </c:pt>
                <c:pt idx="1834">
                  <c:v>-2.9753120000000002</c:v>
                </c:pt>
                <c:pt idx="1835">
                  <c:v>-2.9052190000000002</c:v>
                </c:pt>
                <c:pt idx="1836">
                  <c:v>-2.7538649999999998</c:v>
                </c:pt>
                <c:pt idx="1837">
                  <c:v>-2.6855190000000002</c:v>
                </c:pt>
                <c:pt idx="1838">
                  <c:v>-2.7837100000000001</c:v>
                </c:pt>
                <c:pt idx="1839">
                  <c:v>-2.9080789999999999</c:v>
                </c:pt>
                <c:pt idx="1840">
                  <c:v>-3.0514579999999998</c:v>
                </c:pt>
                <c:pt idx="1841">
                  <c:v>-2.9423059999999999</c:v>
                </c:pt>
                <c:pt idx="1842">
                  <c:v>-2.6266319999999999</c:v>
                </c:pt>
                <c:pt idx="1843">
                  <c:v>-2.5902810000000001</c:v>
                </c:pt>
                <c:pt idx="1844">
                  <c:v>-2.6889940000000001</c:v>
                </c:pt>
                <c:pt idx="1845">
                  <c:v>-2.5301939999999998</c:v>
                </c:pt>
                <c:pt idx="1846">
                  <c:v>-2.4352550000000002</c:v>
                </c:pt>
                <c:pt idx="1847">
                  <c:v>-2.5709849999999999</c:v>
                </c:pt>
                <c:pt idx="1848">
                  <c:v>-2.6312660000000001</c:v>
                </c:pt>
                <c:pt idx="1849">
                  <c:v>-2.7993649999999999</c:v>
                </c:pt>
                <c:pt idx="1850">
                  <c:v>-2.8931230000000001</c:v>
                </c:pt>
                <c:pt idx="1851">
                  <c:v>-2.688304</c:v>
                </c:pt>
                <c:pt idx="1852">
                  <c:v>-2.6524549999999998</c:v>
                </c:pt>
                <c:pt idx="1853">
                  <c:v>-2.6295009999999999</c:v>
                </c:pt>
                <c:pt idx="1854">
                  <c:v>-2.886333</c:v>
                </c:pt>
                <c:pt idx="1855">
                  <c:v>-3.0944569999999998</c:v>
                </c:pt>
                <c:pt idx="1856">
                  <c:v>-2.9578259999999998</c:v>
                </c:pt>
                <c:pt idx="1857">
                  <c:v>-2.8338670000000001</c:v>
                </c:pt>
                <c:pt idx="1858">
                  <c:v>-2.8412000000000002</c:v>
                </c:pt>
                <c:pt idx="1859">
                  <c:v>-2.7758099999999999</c:v>
                </c:pt>
                <c:pt idx="1860">
                  <c:v>-2.7411479999999999</c:v>
                </c:pt>
                <c:pt idx="1861">
                  <c:v>-2.6469819999999999</c:v>
                </c:pt>
                <c:pt idx="1862">
                  <c:v>-2.5227879999999998</c:v>
                </c:pt>
                <c:pt idx="1863">
                  <c:v>-2.7115279999999999</c:v>
                </c:pt>
                <c:pt idx="1864">
                  <c:v>-2.5995949999999999</c:v>
                </c:pt>
                <c:pt idx="1865">
                  <c:v>-2.4013260000000001</c:v>
                </c:pt>
                <c:pt idx="1866">
                  <c:v>-2.5504869999999999</c:v>
                </c:pt>
                <c:pt idx="1867">
                  <c:v>-2.8211210000000002</c:v>
                </c:pt>
                <c:pt idx="1868">
                  <c:v>-2.9711430000000001</c:v>
                </c:pt>
                <c:pt idx="1869">
                  <c:v>-2.8666140000000002</c:v>
                </c:pt>
                <c:pt idx="1870">
                  <c:v>-2.8954409999999999</c:v>
                </c:pt>
                <c:pt idx="1871">
                  <c:v>-2.7822089999999999</c:v>
                </c:pt>
                <c:pt idx="1872">
                  <c:v>-2.7298619999999998</c:v>
                </c:pt>
                <c:pt idx="1873">
                  <c:v>-2.8319580000000002</c:v>
                </c:pt>
                <c:pt idx="1874">
                  <c:v>-2.821952</c:v>
                </c:pt>
                <c:pt idx="1875">
                  <c:v>-3.091002</c:v>
                </c:pt>
                <c:pt idx="1876">
                  <c:v>-3.0425270000000002</c:v>
                </c:pt>
                <c:pt idx="1877">
                  <c:v>-2.7646679999999999</c:v>
                </c:pt>
                <c:pt idx="1878">
                  <c:v>-2.7517399999999999</c:v>
                </c:pt>
                <c:pt idx="1879">
                  <c:v>-3.0083299999999999</c:v>
                </c:pt>
                <c:pt idx="1880">
                  <c:v>-3.0106169999999999</c:v>
                </c:pt>
                <c:pt idx="1881">
                  <c:v>-2.753784</c:v>
                </c:pt>
                <c:pt idx="1882">
                  <c:v>-2.9540540000000002</c:v>
                </c:pt>
                <c:pt idx="1883">
                  <c:v>-2.8526449999999999</c:v>
                </c:pt>
                <c:pt idx="1884">
                  <c:v>-2.5323579999999999</c:v>
                </c:pt>
                <c:pt idx="1885">
                  <c:v>-2.4792610000000002</c:v>
                </c:pt>
                <c:pt idx="1886">
                  <c:v>-2.4959829999999998</c:v>
                </c:pt>
                <c:pt idx="1887">
                  <c:v>-2.2789959999999998</c:v>
                </c:pt>
                <c:pt idx="1888">
                  <c:v>-2.4152360000000002</c:v>
                </c:pt>
                <c:pt idx="1889">
                  <c:v>-2.8016030000000001</c:v>
                </c:pt>
                <c:pt idx="1890">
                  <c:v>-2.4023140000000001</c:v>
                </c:pt>
                <c:pt idx="1891">
                  <c:v>-2.190448</c:v>
                </c:pt>
                <c:pt idx="1892">
                  <c:v>-2.3915790000000001</c:v>
                </c:pt>
                <c:pt idx="1893">
                  <c:v>-2.6882679999999999</c:v>
                </c:pt>
                <c:pt idx="1894">
                  <c:v>-2.7141410000000001</c:v>
                </c:pt>
                <c:pt idx="1895">
                  <c:v>-2.678194</c:v>
                </c:pt>
                <c:pt idx="1896">
                  <c:v>-2.9389280000000002</c:v>
                </c:pt>
                <c:pt idx="1897">
                  <c:v>-3.1648900000000002</c:v>
                </c:pt>
                <c:pt idx="1898">
                  <c:v>-2.7712050000000001</c:v>
                </c:pt>
                <c:pt idx="1899">
                  <c:v>-2.8556849999999998</c:v>
                </c:pt>
                <c:pt idx="1900">
                  <c:v>-3.167163</c:v>
                </c:pt>
                <c:pt idx="1901">
                  <c:v>-2.8829220000000002</c:v>
                </c:pt>
                <c:pt idx="1902">
                  <c:v>-2.7413110000000001</c:v>
                </c:pt>
                <c:pt idx="1903">
                  <c:v>-2.6627299999999998</c:v>
                </c:pt>
                <c:pt idx="1904">
                  <c:v>-2.8126470000000001</c:v>
                </c:pt>
                <c:pt idx="1905">
                  <c:v>-2.682922</c:v>
                </c:pt>
                <c:pt idx="1906">
                  <c:v>-2.6119810000000001</c:v>
                </c:pt>
                <c:pt idx="1907">
                  <c:v>-2.6283970000000001</c:v>
                </c:pt>
                <c:pt idx="1908">
                  <c:v>-2.7662249999999999</c:v>
                </c:pt>
                <c:pt idx="1909">
                  <c:v>-2.8343850000000002</c:v>
                </c:pt>
                <c:pt idx="1910">
                  <c:v>-2.6760830000000002</c:v>
                </c:pt>
                <c:pt idx="1911">
                  <c:v>-2.862212</c:v>
                </c:pt>
                <c:pt idx="1912">
                  <c:v>-3.0995819999999998</c:v>
                </c:pt>
                <c:pt idx="1913">
                  <c:v>-3.1080380000000001</c:v>
                </c:pt>
                <c:pt idx="1914">
                  <c:v>-2.999228</c:v>
                </c:pt>
                <c:pt idx="1915">
                  <c:v>-3.0900449999999999</c:v>
                </c:pt>
                <c:pt idx="1916">
                  <c:v>-3.3523149999999999</c:v>
                </c:pt>
                <c:pt idx="1917">
                  <c:v>-3.2414390000000002</c:v>
                </c:pt>
                <c:pt idx="1918">
                  <c:v>-3.0023879999999998</c:v>
                </c:pt>
                <c:pt idx="1919">
                  <c:v>-3.0806529999999999</c:v>
                </c:pt>
                <c:pt idx="1920">
                  <c:v>-3.1207980000000002</c:v>
                </c:pt>
                <c:pt idx="1921">
                  <c:v>-2.9418790000000001</c:v>
                </c:pt>
                <c:pt idx="1922">
                  <c:v>-2.912258</c:v>
                </c:pt>
                <c:pt idx="1923">
                  <c:v>-2.8165239999999998</c:v>
                </c:pt>
                <c:pt idx="1924">
                  <c:v>-2.6200459999999999</c:v>
                </c:pt>
                <c:pt idx="1925">
                  <c:v>-2.6289440000000002</c:v>
                </c:pt>
                <c:pt idx="1926">
                  <c:v>-2.7483219999999999</c:v>
                </c:pt>
                <c:pt idx="1927">
                  <c:v>-2.7985500000000001</c:v>
                </c:pt>
                <c:pt idx="1928">
                  <c:v>-2.4140730000000001</c:v>
                </c:pt>
                <c:pt idx="1929">
                  <c:v>-2.6027520000000002</c:v>
                </c:pt>
                <c:pt idx="1930">
                  <c:v>-2.8144840000000002</c:v>
                </c:pt>
                <c:pt idx="1931">
                  <c:v>-2.5258060000000002</c:v>
                </c:pt>
                <c:pt idx="1932">
                  <c:v>-2.63672</c:v>
                </c:pt>
                <c:pt idx="1933">
                  <c:v>-2.7544360000000001</c:v>
                </c:pt>
                <c:pt idx="1934">
                  <c:v>-2.8880110000000001</c:v>
                </c:pt>
                <c:pt idx="1935">
                  <c:v>-3.2407569999999999</c:v>
                </c:pt>
                <c:pt idx="1936">
                  <c:v>-3.1138409999999999</c:v>
                </c:pt>
                <c:pt idx="1937">
                  <c:v>-2.8051840000000001</c:v>
                </c:pt>
                <c:pt idx="1938">
                  <c:v>-2.9145219999999998</c:v>
                </c:pt>
                <c:pt idx="1939">
                  <c:v>-3.1076640000000002</c:v>
                </c:pt>
                <c:pt idx="1940">
                  <c:v>-3.0844360000000002</c:v>
                </c:pt>
                <c:pt idx="1941">
                  <c:v>-3.0193289999999999</c:v>
                </c:pt>
                <c:pt idx="1942">
                  <c:v>-2.9898750000000001</c:v>
                </c:pt>
                <c:pt idx="1943">
                  <c:v>-2.9782649999999999</c:v>
                </c:pt>
                <c:pt idx="1944">
                  <c:v>-2.9029600000000002</c:v>
                </c:pt>
                <c:pt idx="1945">
                  <c:v>-2.52142</c:v>
                </c:pt>
                <c:pt idx="1946">
                  <c:v>-2.5711379999999999</c:v>
                </c:pt>
                <c:pt idx="1947">
                  <c:v>-2.8403450000000001</c:v>
                </c:pt>
                <c:pt idx="1948">
                  <c:v>-2.5015909999999999</c:v>
                </c:pt>
                <c:pt idx="1949">
                  <c:v>-2.5166629999999999</c:v>
                </c:pt>
                <c:pt idx="1950">
                  <c:v>-2.9764550000000001</c:v>
                </c:pt>
                <c:pt idx="1951">
                  <c:v>-3.0916199999999998</c:v>
                </c:pt>
                <c:pt idx="1952">
                  <c:v>-2.9713419999999999</c:v>
                </c:pt>
                <c:pt idx="1953">
                  <c:v>-2.7879119999999999</c:v>
                </c:pt>
                <c:pt idx="1954">
                  <c:v>-2.8955609999999998</c:v>
                </c:pt>
                <c:pt idx="1955">
                  <c:v>-3.0873179999999998</c:v>
                </c:pt>
                <c:pt idx="1956">
                  <c:v>-2.8613</c:v>
                </c:pt>
                <c:pt idx="1957">
                  <c:v>-2.7487680000000001</c:v>
                </c:pt>
                <c:pt idx="1958">
                  <c:v>-2.8144990000000001</c:v>
                </c:pt>
                <c:pt idx="1959">
                  <c:v>-2.913332</c:v>
                </c:pt>
                <c:pt idx="1960">
                  <c:v>-2.760443</c:v>
                </c:pt>
                <c:pt idx="1961">
                  <c:v>-2.5446</c:v>
                </c:pt>
                <c:pt idx="1962">
                  <c:v>-2.6148150000000001</c:v>
                </c:pt>
                <c:pt idx="1963">
                  <c:v>-3.3192029999999999</c:v>
                </c:pt>
                <c:pt idx="1964">
                  <c:v>-3.092733</c:v>
                </c:pt>
                <c:pt idx="1965">
                  <c:v>-2.1959590000000002</c:v>
                </c:pt>
                <c:pt idx="1966">
                  <c:v>-2.3678530000000002</c:v>
                </c:pt>
                <c:pt idx="1967">
                  <c:v>-2.693635</c:v>
                </c:pt>
                <c:pt idx="1968">
                  <c:v>-2.7189429999999999</c:v>
                </c:pt>
                <c:pt idx="1969">
                  <c:v>-2.601054</c:v>
                </c:pt>
                <c:pt idx="1970">
                  <c:v>-2.669743</c:v>
                </c:pt>
                <c:pt idx="1971">
                  <c:v>-2.7717969999999998</c:v>
                </c:pt>
                <c:pt idx="1972">
                  <c:v>-2.8977059999999999</c:v>
                </c:pt>
                <c:pt idx="1973">
                  <c:v>-2.9764279999999999</c:v>
                </c:pt>
                <c:pt idx="1974">
                  <c:v>-2.9663390000000001</c:v>
                </c:pt>
                <c:pt idx="1975">
                  <c:v>-2.9081480000000002</c:v>
                </c:pt>
                <c:pt idx="1976">
                  <c:v>-2.6132339999999998</c:v>
                </c:pt>
                <c:pt idx="1977">
                  <c:v>-2.7925550000000001</c:v>
                </c:pt>
                <c:pt idx="1978">
                  <c:v>-3.0791240000000002</c:v>
                </c:pt>
                <c:pt idx="1979">
                  <c:v>-2.840376</c:v>
                </c:pt>
                <c:pt idx="1980">
                  <c:v>-2.720434</c:v>
                </c:pt>
                <c:pt idx="1981">
                  <c:v>-2.7869160000000002</c:v>
                </c:pt>
                <c:pt idx="1982">
                  <c:v>-2.8156840000000001</c:v>
                </c:pt>
                <c:pt idx="1983">
                  <c:v>-2.6953960000000001</c:v>
                </c:pt>
                <c:pt idx="1984">
                  <c:v>-2.6260430000000001</c:v>
                </c:pt>
                <c:pt idx="1985">
                  <c:v>-2.7830819999999998</c:v>
                </c:pt>
                <c:pt idx="1986">
                  <c:v>-2.9291670000000001</c:v>
                </c:pt>
                <c:pt idx="1987">
                  <c:v>-2.8803730000000001</c:v>
                </c:pt>
                <c:pt idx="1988">
                  <c:v>-2.862587</c:v>
                </c:pt>
                <c:pt idx="1989">
                  <c:v>-2.925719</c:v>
                </c:pt>
                <c:pt idx="1990">
                  <c:v>-3.0325549999999999</c:v>
                </c:pt>
                <c:pt idx="1991">
                  <c:v>-3.3050579999999998</c:v>
                </c:pt>
                <c:pt idx="1992">
                  <c:v>-3.198912</c:v>
                </c:pt>
                <c:pt idx="1993">
                  <c:v>-2.9652189999999998</c:v>
                </c:pt>
                <c:pt idx="1994">
                  <c:v>-2.909675</c:v>
                </c:pt>
                <c:pt idx="1995">
                  <c:v>-2.9452229999999999</c:v>
                </c:pt>
                <c:pt idx="1996">
                  <c:v>-2.956642</c:v>
                </c:pt>
                <c:pt idx="1997">
                  <c:v>-2.895947</c:v>
                </c:pt>
                <c:pt idx="1998">
                  <c:v>-2.9936389999999999</c:v>
                </c:pt>
                <c:pt idx="1999">
                  <c:v>-2.8416670000000002</c:v>
                </c:pt>
                <c:pt idx="2000">
                  <c:v>-2.7580070000000001</c:v>
                </c:pt>
                <c:pt idx="2001">
                  <c:v>-3.0413920000000001</c:v>
                </c:pt>
                <c:pt idx="2002">
                  <c:v>-2.9186299999999998</c:v>
                </c:pt>
                <c:pt idx="2003">
                  <c:v>-2.5896210000000002</c:v>
                </c:pt>
                <c:pt idx="2004">
                  <c:v>-2.8056760000000001</c:v>
                </c:pt>
                <c:pt idx="2005">
                  <c:v>-2.838775</c:v>
                </c:pt>
                <c:pt idx="2006">
                  <c:v>-2.8578990000000002</c:v>
                </c:pt>
                <c:pt idx="2007">
                  <c:v>-2.7969879999999998</c:v>
                </c:pt>
                <c:pt idx="2008">
                  <c:v>-2.6985619999999999</c:v>
                </c:pt>
                <c:pt idx="2009">
                  <c:v>-3.0443310000000001</c:v>
                </c:pt>
                <c:pt idx="2010">
                  <c:v>-3.0972469999999999</c:v>
                </c:pt>
                <c:pt idx="2011">
                  <c:v>-2.941195</c:v>
                </c:pt>
                <c:pt idx="2012">
                  <c:v>-3.137953</c:v>
                </c:pt>
                <c:pt idx="2013">
                  <c:v>-3.114935</c:v>
                </c:pt>
                <c:pt idx="2014">
                  <c:v>-2.9834559999999999</c:v>
                </c:pt>
                <c:pt idx="2015">
                  <c:v>-3.1194160000000002</c:v>
                </c:pt>
                <c:pt idx="2016">
                  <c:v>-3.1293470000000001</c:v>
                </c:pt>
                <c:pt idx="2017">
                  <c:v>-2.871454</c:v>
                </c:pt>
                <c:pt idx="2018">
                  <c:v>-2.8004709999999999</c:v>
                </c:pt>
                <c:pt idx="2019">
                  <c:v>-2.950472</c:v>
                </c:pt>
                <c:pt idx="2020">
                  <c:v>-2.9571190000000001</c:v>
                </c:pt>
                <c:pt idx="2021">
                  <c:v>-3.02847</c:v>
                </c:pt>
                <c:pt idx="2022">
                  <c:v>-3.0005809999999999</c:v>
                </c:pt>
                <c:pt idx="2023">
                  <c:v>-2.9223620000000001</c:v>
                </c:pt>
                <c:pt idx="2024">
                  <c:v>-3.0145460000000002</c:v>
                </c:pt>
                <c:pt idx="2025">
                  <c:v>-3.1316790000000001</c:v>
                </c:pt>
                <c:pt idx="2026">
                  <c:v>-3.2023139999999999</c:v>
                </c:pt>
                <c:pt idx="2027">
                  <c:v>-3.048324</c:v>
                </c:pt>
                <c:pt idx="2028">
                  <c:v>-2.974116</c:v>
                </c:pt>
                <c:pt idx="2029">
                  <c:v>-3.2016779999999998</c:v>
                </c:pt>
                <c:pt idx="2030">
                  <c:v>-3.0550730000000001</c:v>
                </c:pt>
                <c:pt idx="2031">
                  <c:v>-2.8489040000000001</c:v>
                </c:pt>
                <c:pt idx="2032">
                  <c:v>-2.9314049999999998</c:v>
                </c:pt>
                <c:pt idx="2033">
                  <c:v>-2.8294410000000001</c:v>
                </c:pt>
                <c:pt idx="2034">
                  <c:v>-2.9713500000000002</c:v>
                </c:pt>
                <c:pt idx="2035">
                  <c:v>-3.174865</c:v>
                </c:pt>
                <c:pt idx="2036">
                  <c:v>-3.0224929999999999</c:v>
                </c:pt>
                <c:pt idx="2037">
                  <c:v>-3.0165600000000001</c:v>
                </c:pt>
                <c:pt idx="2038">
                  <c:v>-3.0124209999999998</c:v>
                </c:pt>
                <c:pt idx="2039">
                  <c:v>-2.8757380000000001</c:v>
                </c:pt>
                <c:pt idx="2040">
                  <c:v>-2.8651279999999999</c:v>
                </c:pt>
                <c:pt idx="2041">
                  <c:v>-2.7816360000000002</c:v>
                </c:pt>
                <c:pt idx="2042">
                  <c:v>-2.6596169999999999</c:v>
                </c:pt>
                <c:pt idx="2043">
                  <c:v>-2.8500519999999998</c:v>
                </c:pt>
                <c:pt idx="2044">
                  <c:v>-2.9411399999999999</c:v>
                </c:pt>
                <c:pt idx="2045">
                  <c:v>-2.8586580000000001</c:v>
                </c:pt>
                <c:pt idx="2046">
                  <c:v>-2.9513199999999999</c:v>
                </c:pt>
                <c:pt idx="2047">
                  <c:v>-2.8663020000000001</c:v>
                </c:pt>
                <c:pt idx="2048">
                  <c:v>-2.7562389999999999</c:v>
                </c:pt>
                <c:pt idx="2049">
                  <c:v>-2.8940619999999999</c:v>
                </c:pt>
                <c:pt idx="2050">
                  <c:v>-2.964712</c:v>
                </c:pt>
                <c:pt idx="2051">
                  <c:v>-2.8039689999999999</c:v>
                </c:pt>
                <c:pt idx="2052">
                  <c:v>-2.718982</c:v>
                </c:pt>
                <c:pt idx="2053">
                  <c:v>-2.7995320000000001</c:v>
                </c:pt>
                <c:pt idx="2054">
                  <c:v>-2.7685010000000001</c:v>
                </c:pt>
                <c:pt idx="2055">
                  <c:v>-2.817142</c:v>
                </c:pt>
                <c:pt idx="2056">
                  <c:v>-2.9078680000000001</c:v>
                </c:pt>
                <c:pt idx="2057">
                  <c:v>-2.8928099999999999</c:v>
                </c:pt>
                <c:pt idx="2058">
                  <c:v>-2.8897140000000001</c:v>
                </c:pt>
                <c:pt idx="2059">
                  <c:v>-2.8232870000000001</c:v>
                </c:pt>
                <c:pt idx="2060">
                  <c:v>-2.9247230000000002</c:v>
                </c:pt>
                <c:pt idx="2061">
                  <c:v>-3.1150769999999999</c:v>
                </c:pt>
                <c:pt idx="2062">
                  <c:v>-3.0259209999999999</c:v>
                </c:pt>
                <c:pt idx="2063">
                  <c:v>-3.05985</c:v>
                </c:pt>
                <c:pt idx="2064">
                  <c:v>-3.2883390000000001</c:v>
                </c:pt>
                <c:pt idx="2065">
                  <c:v>-3.2914560000000002</c:v>
                </c:pt>
                <c:pt idx="2066">
                  <c:v>-3.1106910000000001</c:v>
                </c:pt>
                <c:pt idx="2067">
                  <c:v>-3.091771</c:v>
                </c:pt>
                <c:pt idx="2068">
                  <c:v>-3.149248</c:v>
                </c:pt>
                <c:pt idx="2069">
                  <c:v>-3.1154139999999999</c:v>
                </c:pt>
                <c:pt idx="2070">
                  <c:v>-3.0316290000000001</c:v>
                </c:pt>
                <c:pt idx="2071">
                  <c:v>-2.98515</c:v>
                </c:pt>
                <c:pt idx="2072">
                  <c:v>-2.8168639999999998</c:v>
                </c:pt>
                <c:pt idx="2073">
                  <c:v>-2.852249</c:v>
                </c:pt>
                <c:pt idx="2074">
                  <c:v>-2.7849729999999999</c:v>
                </c:pt>
                <c:pt idx="2075">
                  <c:v>-2.5365030000000002</c:v>
                </c:pt>
                <c:pt idx="2076">
                  <c:v>-2.9238050000000002</c:v>
                </c:pt>
                <c:pt idx="2077">
                  <c:v>-2.8453870000000001</c:v>
                </c:pt>
                <c:pt idx="2078">
                  <c:v>-2.6070679999999999</c:v>
                </c:pt>
                <c:pt idx="2079">
                  <c:v>-2.7356729999999998</c:v>
                </c:pt>
                <c:pt idx="2080">
                  <c:v>-2.8635449999999998</c:v>
                </c:pt>
                <c:pt idx="2081">
                  <c:v>-2.9300169999999999</c:v>
                </c:pt>
                <c:pt idx="2082">
                  <c:v>-2.8385729999999998</c:v>
                </c:pt>
                <c:pt idx="2083">
                  <c:v>-2.8605320000000001</c:v>
                </c:pt>
                <c:pt idx="2084">
                  <c:v>-2.8733909999999998</c:v>
                </c:pt>
                <c:pt idx="2085">
                  <c:v>-2.9504899999999998</c:v>
                </c:pt>
                <c:pt idx="2086">
                  <c:v>-2.8598370000000002</c:v>
                </c:pt>
                <c:pt idx="2087">
                  <c:v>-2.9527009999999998</c:v>
                </c:pt>
                <c:pt idx="2088">
                  <c:v>-3.0016579999999999</c:v>
                </c:pt>
                <c:pt idx="2089">
                  <c:v>-2.8348550000000001</c:v>
                </c:pt>
                <c:pt idx="2090">
                  <c:v>-2.9487800000000002</c:v>
                </c:pt>
                <c:pt idx="2091">
                  <c:v>-3.0091600000000001</c:v>
                </c:pt>
                <c:pt idx="2092">
                  <c:v>-2.911972</c:v>
                </c:pt>
                <c:pt idx="2093">
                  <c:v>-2.9314119999999999</c:v>
                </c:pt>
                <c:pt idx="2094">
                  <c:v>-3.14466</c:v>
                </c:pt>
                <c:pt idx="2095">
                  <c:v>-3.2674400000000001</c:v>
                </c:pt>
                <c:pt idx="2096">
                  <c:v>-3.1483379999999999</c:v>
                </c:pt>
                <c:pt idx="2097">
                  <c:v>-2.9635159999999998</c:v>
                </c:pt>
                <c:pt idx="2098">
                  <c:v>-3.0688049999999998</c:v>
                </c:pt>
                <c:pt idx="2099">
                  <c:v>-3.1215660000000001</c:v>
                </c:pt>
                <c:pt idx="2100">
                  <c:v>-3.1566290000000001</c:v>
                </c:pt>
                <c:pt idx="2101">
                  <c:v>-3.2476099999999999</c:v>
                </c:pt>
                <c:pt idx="2102">
                  <c:v>-3.239805</c:v>
                </c:pt>
                <c:pt idx="2103">
                  <c:v>-3.4496289999999998</c:v>
                </c:pt>
                <c:pt idx="2104">
                  <c:v>-3.577102</c:v>
                </c:pt>
                <c:pt idx="2105">
                  <c:v>-3.4672990000000001</c:v>
                </c:pt>
                <c:pt idx="2106">
                  <c:v>-3.1556419999999998</c:v>
                </c:pt>
                <c:pt idx="2107">
                  <c:v>-2.8539430000000001</c:v>
                </c:pt>
                <c:pt idx="2108">
                  <c:v>-3.1464379999999998</c:v>
                </c:pt>
                <c:pt idx="2109">
                  <c:v>-3.0793499999999998</c:v>
                </c:pt>
                <c:pt idx="2110">
                  <c:v>-2.7725110000000002</c:v>
                </c:pt>
                <c:pt idx="2111">
                  <c:v>-2.7213370000000001</c:v>
                </c:pt>
                <c:pt idx="2112">
                  <c:v>-2.6701540000000001</c:v>
                </c:pt>
                <c:pt idx="2113">
                  <c:v>-2.6839759999999999</c:v>
                </c:pt>
                <c:pt idx="2114">
                  <c:v>-2.6726139999999998</c:v>
                </c:pt>
                <c:pt idx="2115">
                  <c:v>-2.6485880000000002</c:v>
                </c:pt>
                <c:pt idx="2116">
                  <c:v>-2.7593610000000002</c:v>
                </c:pt>
                <c:pt idx="2117">
                  <c:v>-2.8760530000000002</c:v>
                </c:pt>
                <c:pt idx="2118">
                  <c:v>-2.8067299999999999</c:v>
                </c:pt>
                <c:pt idx="2119">
                  <c:v>-2.77095</c:v>
                </c:pt>
                <c:pt idx="2120">
                  <c:v>-2.7508119999999998</c:v>
                </c:pt>
                <c:pt idx="2121">
                  <c:v>-3.0767030000000002</c:v>
                </c:pt>
                <c:pt idx="2122">
                  <c:v>-3.0537320000000001</c:v>
                </c:pt>
                <c:pt idx="2123">
                  <c:v>-2.8593839999999999</c:v>
                </c:pt>
                <c:pt idx="2124">
                  <c:v>-2.9611100000000001</c:v>
                </c:pt>
                <c:pt idx="2125">
                  <c:v>-2.9504519999999999</c:v>
                </c:pt>
                <c:pt idx="2126">
                  <c:v>-3.1535160000000002</c:v>
                </c:pt>
                <c:pt idx="2127">
                  <c:v>-2.9305219999999998</c:v>
                </c:pt>
                <c:pt idx="2128">
                  <c:v>-2.7553510000000001</c:v>
                </c:pt>
                <c:pt idx="2129">
                  <c:v>-2.7830759999999999</c:v>
                </c:pt>
                <c:pt idx="2130">
                  <c:v>-2.5863529999999999</c:v>
                </c:pt>
                <c:pt idx="2131">
                  <c:v>-2.5312950000000001</c:v>
                </c:pt>
                <c:pt idx="2132">
                  <c:v>-2.6179999999999999</c:v>
                </c:pt>
                <c:pt idx="2133">
                  <c:v>-2.7154289999999999</c:v>
                </c:pt>
                <c:pt idx="2134">
                  <c:v>-2.7640669999999998</c:v>
                </c:pt>
                <c:pt idx="2135">
                  <c:v>-2.6528659999999999</c:v>
                </c:pt>
                <c:pt idx="2136">
                  <c:v>-2.5939380000000001</c:v>
                </c:pt>
                <c:pt idx="2137">
                  <c:v>-2.8239429999999999</c:v>
                </c:pt>
                <c:pt idx="2138">
                  <c:v>-2.8805179999999999</c:v>
                </c:pt>
                <c:pt idx="2139">
                  <c:v>-2.7174079999999998</c:v>
                </c:pt>
                <c:pt idx="2140">
                  <c:v>-2.7029010000000002</c:v>
                </c:pt>
                <c:pt idx="2141">
                  <c:v>-2.8260610000000002</c:v>
                </c:pt>
                <c:pt idx="2142">
                  <c:v>-2.6906530000000002</c:v>
                </c:pt>
                <c:pt idx="2143">
                  <c:v>-2.7558959999999999</c:v>
                </c:pt>
                <c:pt idx="2144">
                  <c:v>-2.8543069999999999</c:v>
                </c:pt>
                <c:pt idx="2145">
                  <c:v>-2.709803</c:v>
                </c:pt>
                <c:pt idx="2146">
                  <c:v>-2.5649649999999999</c:v>
                </c:pt>
                <c:pt idx="2147">
                  <c:v>-2.5467140000000001</c:v>
                </c:pt>
                <c:pt idx="2148">
                  <c:v>-2.5907710000000002</c:v>
                </c:pt>
                <c:pt idx="2149">
                  <c:v>-2.2655219999999998</c:v>
                </c:pt>
                <c:pt idx="2150">
                  <c:v>-2.2116730000000002</c:v>
                </c:pt>
                <c:pt idx="2151">
                  <c:v>-2.28715</c:v>
                </c:pt>
                <c:pt idx="2152">
                  <c:v>-2.2425989999999998</c:v>
                </c:pt>
                <c:pt idx="2153">
                  <c:v>-2.200583</c:v>
                </c:pt>
                <c:pt idx="2154">
                  <c:v>-2.2330860000000001</c:v>
                </c:pt>
                <c:pt idx="2155">
                  <c:v>-2.3711509999999998</c:v>
                </c:pt>
                <c:pt idx="2156">
                  <c:v>-2.1707879999999999</c:v>
                </c:pt>
                <c:pt idx="2157">
                  <c:v>-2.0581480000000001</c:v>
                </c:pt>
                <c:pt idx="2158">
                  <c:v>-2.116371</c:v>
                </c:pt>
                <c:pt idx="2159">
                  <c:v>-2.4745349999999999</c:v>
                </c:pt>
                <c:pt idx="2160">
                  <c:v>-2.667675</c:v>
                </c:pt>
                <c:pt idx="2161">
                  <c:v>-2.6615389999999999</c:v>
                </c:pt>
                <c:pt idx="2162">
                  <c:v>-2.815474</c:v>
                </c:pt>
                <c:pt idx="2163">
                  <c:v>-2.5826410000000002</c:v>
                </c:pt>
                <c:pt idx="2164">
                  <c:v>-2.3393700000000002</c:v>
                </c:pt>
                <c:pt idx="2165">
                  <c:v>-2.5428760000000001</c:v>
                </c:pt>
                <c:pt idx="2166">
                  <c:v>-2.6463939999999999</c:v>
                </c:pt>
                <c:pt idx="2167">
                  <c:v>-2.6438959999999998</c:v>
                </c:pt>
                <c:pt idx="2168">
                  <c:v>-2.4454850000000001</c:v>
                </c:pt>
                <c:pt idx="2169">
                  <c:v>-2.1377039999999998</c:v>
                </c:pt>
                <c:pt idx="2170">
                  <c:v>-2.15625</c:v>
                </c:pt>
                <c:pt idx="2171">
                  <c:v>-2.2097500000000001</c:v>
                </c:pt>
                <c:pt idx="2172">
                  <c:v>-2.2221579999999999</c:v>
                </c:pt>
                <c:pt idx="2173">
                  <c:v>-2.5586709999999999</c:v>
                </c:pt>
                <c:pt idx="2174">
                  <c:v>-2.5358239999999999</c:v>
                </c:pt>
                <c:pt idx="2175">
                  <c:v>-2.202496</c:v>
                </c:pt>
                <c:pt idx="2176">
                  <c:v>-2.4264589999999999</c:v>
                </c:pt>
                <c:pt idx="2177">
                  <c:v>-2.4038900000000001</c:v>
                </c:pt>
                <c:pt idx="2178">
                  <c:v>-2.4666079999999999</c:v>
                </c:pt>
                <c:pt idx="2179">
                  <c:v>-2.5673520000000001</c:v>
                </c:pt>
                <c:pt idx="2180">
                  <c:v>-2.2254619999999998</c:v>
                </c:pt>
                <c:pt idx="2181">
                  <c:v>-2.5162399999999998</c:v>
                </c:pt>
                <c:pt idx="2182">
                  <c:v>-2.9368259999999999</c:v>
                </c:pt>
                <c:pt idx="2183">
                  <c:v>-2.7130489999999998</c:v>
                </c:pt>
                <c:pt idx="2184">
                  <c:v>-2.6183969999999999</c:v>
                </c:pt>
                <c:pt idx="2185">
                  <c:v>-2.6410420000000001</c:v>
                </c:pt>
                <c:pt idx="2186">
                  <c:v>-2.5908540000000002</c:v>
                </c:pt>
                <c:pt idx="2187">
                  <c:v>-2.565064</c:v>
                </c:pt>
                <c:pt idx="2188">
                  <c:v>-2.414698</c:v>
                </c:pt>
                <c:pt idx="2189">
                  <c:v>-2.327143</c:v>
                </c:pt>
                <c:pt idx="2190">
                  <c:v>-2.333304</c:v>
                </c:pt>
                <c:pt idx="2191">
                  <c:v>-2.3228759999999999</c:v>
                </c:pt>
                <c:pt idx="2192">
                  <c:v>-2.306057</c:v>
                </c:pt>
                <c:pt idx="2193">
                  <c:v>-2.150725</c:v>
                </c:pt>
                <c:pt idx="2194">
                  <c:v>-2.2587130000000002</c:v>
                </c:pt>
                <c:pt idx="2195">
                  <c:v>-2.43675</c:v>
                </c:pt>
                <c:pt idx="2196">
                  <c:v>-2.3990990000000001</c:v>
                </c:pt>
                <c:pt idx="2197">
                  <c:v>-2.4505379999999999</c:v>
                </c:pt>
                <c:pt idx="2198">
                  <c:v>-2.4142830000000002</c:v>
                </c:pt>
                <c:pt idx="2199">
                  <c:v>-2.2627640000000002</c:v>
                </c:pt>
                <c:pt idx="2200">
                  <c:v>-2.450402</c:v>
                </c:pt>
                <c:pt idx="2201">
                  <c:v>-2.750848</c:v>
                </c:pt>
                <c:pt idx="2202">
                  <c:v>-2.657915</c:v>
                </c:pt>
                <c:pt idx="2203">
                  <c:v>-2.3557790000000001</c:v>
                </c:pt>
                <c:pt idx="2204">
                  <c:v>-2.3996689999999998</c:v>
                </c:pt>
                <c:pt idx="2205">
                  <c:v>-2.7524989999999998</c:v>
                </c:pt>
                <c:pt idx="2206">
                  <c:v>-2.4060980000000001</c:v>
                </c:pt>
                <c:pt idx="2207">
                  <c:v>-2.1627730000000001</c:v>
                </c:pt>
                <c:pt idx="2208">
                  <c:v>-2.5548310000000001</c:v>
                </c:pt>
                <c:pt idx="2209">
                  <c:v>-2.623027</c:v>
                </c:pt>
                <c:pt idx="2210">
                  <c:v>-2.4652259999999999</c:v>
                </c:pt>
                <c:pt idx="2211">
                  <c:v>-2.383181</c:v>
                </c:pt>
                <c:pt idx="2212">
                  <c:v>-2.469341</c:v>
                </c:pt>
                <c:pt idx="2213">
                  <c:v>-2.3735430000000002</c:v>
                </c:pt>
                <c:pt idx="2214">
                  <c:v>-2.4570120000000002</c:v>
                </c:pt>
                <c:pt idx="2215">
                  <c:v>-2.561601</c:v>
                </c:pt>
                <c:pt idx="2216">
                  <c:v>-2.4211</c:v>
                </c:pt>
                <c:pt idx="2217">
                  <c:v>-2.4125260000000002</c:v>
                </c:pt>
                <c:pt idx="2218">
                  <c:v>-2.3327969999999998</c:v>
                </c:pt>
                <c:pt idx="2219">
                  <c:v>-2.485573</c:v>
                </c:pt>
                <c:pt idx="2220">
                  <c:v>-2.6294909999999998</c:v>
                </c:pt>
                <c:pt idx="2221">
                  <c:v>-2.6471499999999999</c:v>
                </c:pt>
                <c:pt idx="2222">
                  <c:v>-2.8022809999999998</c:v>
                </c:pt>
                <c:pt idx="2223">
                  <c:v>-2.8310010000000001</c:v>
                </c:pt>
                <c:pt idx="2224">
                  <c:v>-2.6604869999999998</c:v>
                </c:pt>
                <c:pt idx="2225">
                  <c:v>-2.5087100000000002</c:v>
                </c:pt>
                <c:pt idx="2226">
                  <c:v>-2.5537139999999998</c:v>
                </c:pt>
                <c:pt idx="2227">
                  <c:v>-2.702658</c:v>
                </c:pt>
                <c:pt idx="2228">
                  <c:v>-2.5768879999999998</c:v>
                </c:pt>
                <c:pt idx="2229">
                  <c:v>-2.373281</c:v>
                </c:pt>
                <c:pt idx="2230">
                  <c:v>-2.4532389999999999</c:v>
                </c:pt>
                <c:pt idx="2231">
                  <c:v>-2.3431129999999998</c:v>
                </c:pt>
                <c:pt idx="2232">
                  <c:v>-2.0680730000000001</c:v>
                </c:pt>
                <c:pt idx="2233">
                  <c:v>-1.7565299999999999</c:v>
                </c:pt>
                <c:pt idx="2234">
                  <c:v>-1.95488</c:v>
                </c:pt>
                <c:pt idx="2235">
                  <c:v>-2.3570069999999999</c:v>
                </c:pt>
                <c:pt idx="2236">
                  <c:v>-2.1582319999999999</c:v>
                </c:pt>
                <c:pt idx="2237">
                  <c:v>-2.1855739999999999</c:v>
                </c:pt>
                <c:pt idx="2238">
                  <c:v>-2.256183</c:v>
                </c:pt>
                <c:pt idx="2239">
                  <c:v>-2.360277</c:v>
                </c:pt>
                <c:pt idx="2240">
                  <c:v>-2.3465720000000001</c:v>
                </c:pt>
                <c:pt idx="2241">
                  <c:v>-2.3464369999999999</c:v>
                </c:pt>
                <c:pt idx="2242">
                  <c:v>-2.4761039999999999</c:v>
                </c:pt>
                <c:pt idx="2243">
                  <c:v>-2.3471609999999998</c:v>
                </c:pt>
                <c:pt idx="2244">
                  <c:v>-2.3465259999999999</c:v>
                </c:pt>
                <c:pt idx="2245">
                  <c:v>-2.3406959999999999</c:v>
                </c:pt>
                <c:pt idx="2246">
                  <c:v>-2.469659</c:v>
                </c:pt>
                <c:pt idx="2247">
                  <c:v>-2.5363440000000002</c:v>
                </c:pt>
                <c:pt idx="2248">
                  <c:v>-2.5118589999999998</c:v>
                </c:pt>
                <c:pt idx="2249">
                  <c:v>-2.5013800000000002</c:v>
                </c:pt>
                <c:pt idx="2250">
                  <c:v>-2.3582260000000002</c:v>
                </c:pt>
                <c:pt idx="2251">
                  <c:v>-2.2052260000000001</c:v>
                </c:pt>
                <c:pt idx="2252">
                  <c:v>-2.242194</c:v>
                </c:pt>
                <c:pt idx="2253">
                  <c:v>-2.2408730000000001</c:v>
                </c:pt>
                <c:pt idx="2254">
                  <c:v>-2.091234</c:v>
                </c:pt>
                <c:pt idx="2255">
                  <c:v>-2.0590060000000001</c:v>
                </c:pt>
                <c:pt idx="2256">
                  <c:v>-2.0193530000000002</c:v>
                </c:pt>
                <c:pt idx="2257">
                  <c:v>-2.1128149999999999</c:v>
                </c:pt>
                <c:pt idx="2258">
                  <c:v>-2.0760480000000001</c:v>
                </c:pt>
                <c:pt idx="2259">
                  <c:v>-2.0456470000000002</c:v>
                </c:pt>
                <c:pt idx="2260">
                  <c:v>-2.1491359999999999</c:v>
                </c:pt>
                <c:pt idx="2261">
                  <c:v>-2.1280939999999999</c:v>
                </c:pt>
                <c:pt idx="2262">
                  <c:v>-2.0422739999999999</c:v>
                </c:pt>
                <c:pt idx="2263">
                  <c:v>-1.918439</c:v>
                </c:pt>
                <c:pt idx="2264">
                  <c:v>-2.039323</c:v>
                </c:pt>
                <c:pt idx="2265">
                  <c:v>-2.0198100000000001</c:v>
                </c:pt>
                <c:pt idx="2266">
                  <c:v>-1.9072309999999999</c:v>
                </c:pt>
                <c:pt idx="2267">
                  <c:v>-1.749671</c:v>
                </c:pt>
                <c:pt idx="2268">
                  <c:v>-1.635081</c:v>
                </c:pt>
                <c:pt idx="2269">
                  <c:v>-1.940971</c:v>
                </c:pt>
                <c:pt idx="2270">
                  <c:v>-1.8749359999999999</c:v>
                </c:pt>
                <c:pt idx="2271">
                  <c:v>-1.6240289999999999</c:v>
                </c:pt>
                <c:pt idx="2272">
                  <c:v>-1.5293909999999999</c:v>
                </c:pt>
                <c:pt idx="2273">
                  <c:v>-1.5808610000000001</c:v>
                </c:pt>
                <c:pt idx="2274">
                  <c:v>-1.450976</c:v>
                </c:pt>
                <c:pt idx="2275">
                  <c:v>-1.258553</c:v>
                </c:pt>
                <c:pt idx="2276">
                  <c:v>-1.293892</c:v>
                </c:pt>
                <c:pt idx="2277">
                  <c:v>-1.115953</c:v>
                </c:pt>
                <c:pt idx="2278">
                  <c:v>-0.89389099999999999</c:v>
                </c:pt>
                <c:pt idx="2279">
                  <c:v>-0.77427699999999999</c:v>
                </c:pt>
                <c:pt idx="2280">
                  <c:v>-0.63894700000000004</c:v>
                </c:pt>
                <c:pt idx="2281">
                  <c:v>-0.83577199999999996</c:v>
                </c:pt>
                <c:pt idx="2282">
                  <c:v>-0.88258000000000003</c:v>
                </c:pt>
                <c:pt idx="2283">
                  <c:v>-0.62903600000000004</c:v>
                </c:pt>
                <c:pt idx="2284">
                  <c:v>-0.47935299999999997</c:v>
                </c:pt>
                <c:pt idx="2285">
                  <c:v>-0.51494799999999996</c:v>
                </c:pt>
                <c:pt idx="2286">
                  <c:v>-0.44761000000000001</c:v>
                </c:pt>
                <c:pt idx="2287">
                  <c:v>-0.33504200000000001</c:v>
                </c:pt>
                <c:pt idx="2288">
                  <c:v>-0.19248799999999999</c:v>
                </c:pt>
                <c:pt idx="2289">
                  <c:v>-3.5577999999999999E-2</c:v>
                </c:pt>
                <c:pt idx="2290">
                  <c:v>6.3147999999999996E-2</c:v>
                </c:pt>
                <c:pt idx="2291">
                  <c:v>0.23527500000000001</c:v>
                </c:pt>
                <c:pt idx="2292">
                  <c:v>0.44893899999999998</c:v>
                </c:pt>
                <c:pt idx="2293">
                  <c:v>0.61933300000000002</c:v>
                </c:pt>
                <c:pt idx="2294">
                  <c:v>0.56728400000000001</c:v>
                </c:pt>
                <c:pt idx="2295">
                  <c:v>0.59227799999999997</c:v>
                </c:pt>
                <c:pt idx="2296">
                  <c:v>0.78241899999999998</c:v>
                </c:pt>
                <c:pt idx="2297">
                  <c:v>1.0628919999999999</c:v>
                </c:pt>
                <c:pt idx="2298">
                  <c:v>1.0471790000000001</c:v>
                </c:pt>
                <c:pt idx="2299">
                  <c:v>1.1890590000000001</c:v>
                </c:pt>
                <c:pt idx="2300">
                  <c:v>1.3996569999999999</c:v>
                </c:pt>
                <c:pt idx="2301">
                  <c:v>1.659559</c:v>
                </c:pt>
                <c:pt idx="2302">
                  <c:v>1.9421759999999999</c:v>
                </c:pt>
                <c:pt idx="2303">
                  <c:v>1.7768139999999999</c:v>
                </c:pt>
                <c:pt idx="2304">
                  <c:v>1.8323560000000001</c:v>
                </c:pt>
                <c:pt idx="2305">
                  <c:v>2.1953119999999999</c:v>
                </c:pt>
                <c:pt idx="2306">
                  <c:v>2.52732</c:v>
                </c:pt>
                <c:pt idx="2307">
                  <c:v>2.7554270000000001</c:v>
                </c:pt>
                <c:pt idx="2308">
                  <c:v>2.7909989999999998</c:v>
                </c:pt>
                <c:pt idx="2309">
                  <c:v>2.923934</c:v>
                </c:pt>
                <c:pt idx="2310">
                  <c:v>3.2973729999999999</c:v>
                </c:pt>
                <c:pt idx="2311">
                  <c:v>3.7420810000000002</c:v>
                </c:pt>
                <c:pt idx="2312">
                  <c:v>4.1671630000000004</c:v>
                </c:pt>
                <c:pt idx="2313">
                  <c:v>4.3266999999999998</c:v>
                </c:pt>
                <c:pt idx="2314">
                  <c:v>4.6586600000000002</c:v>
                </c:pt>
                <c:pt idx="2315">
                  <c:v>5.1236990000000002</c:v>
                </c:pt>
                <c:pt idx="2316">
                  <c:v>5.5996370000000004</c:v>
                </c:pt>
                <c:pt idx="2317">
                  <c:v>5.9549060000000003</c:v>
                </c:pt>
                <c:pt idx="2318">
                  <c:v>6.0457739999999998</c:v>
                </c:pt>
                <c:pt idx="2319">
                  <c:v>6.3927550000000002</c:v>
                </c:pt>
                <c:pt idx="2320">
                  <c:v>6.8643700000000001</c:v>
                </c:pt>
                <c:pt idx="2321">
                  <c:v>7.0066329999999999</c:v>
                </c:pt>
                <c:pt idx="2322">
                  <c:v>7.3946589999999999</c:v>
                </c:pt>
                <c:pt idx="2323">
                  <c:v>7.8287560000000003</c:v>
                </c:pt>
                <c:pt idx="2324">
                  <c:v>7.8890529999999996</c:v>
                </c:pt>
                <c:pt idx="2325">
                  <c:v>8.0120690000000003</c:v>
                </c:pt>
                <c:pt idx="2326">
                  <c:v>8.1492609999999992</c:v>
                </c:pt>
                <c:pt idx="2327">
                  <c:v>8.4231189999999998</c:v>
                </c:pt>
                <c:pt idx="2328">
                  <c:v>8.8991930000000004</c:v>
                </c:pt>
                <c:pt idx="2329">
                  <c:v>9.1564010000000007</c:v>
                </c:pt>
                <c:pt idx="2330">
                  <c:v>9.3889329999999998</c:v>
                </c:pt>
                <c:pt idx="2331">
                  <c:v>9.7276100000000003</c:v>
                </c:pt>
                <c:pt idx="2332">
                  <c:v>10.1223679</c:v>
                </c:pt>
                <c:pt idx="2333">
                  <c:v>10.483737</c:v>
                </c:pt>
                <c:pt idx="2334">
                  <c:v>10.831997899999999</c:v>
                </c:pt>
                <c:pt idx="2335">
                  <c:v>11.037668200000001</c:v>
                </c:pt>
                <c:pt idx="2336">
                  <c:v>11.164318099999999</c:v>
                </c:pt>
                <c:pt idx="2337">
                  <c:v>11.6436043</c:v>
                </c:pt>
                <c:pt idx="2338">
                  <c:v>11.9266691</c:v>
                </c:pt>
                <c:pt idx="2339">
                  <c:v>12.034610000000001</c:v>
                </c:pt>
                <c:pt idx="2340">
                  <c:v>12.2357</c:v>
                </c:pt>
                <c:pt idx="2341">
                  <c:v>12.3443308</c:v>
                </c:pt>
                <c:pt idx="2342">
                  <c:v>12.528090000000001</c:v>
                </c:pt>
                <c:pt idx="2343">
                  <c:v>12.814046899999999</c:v>
                </c:pt>
                <c:pt idx="2344">
                  <c:v>13.2901621</c:v>
                </c:pt>
                <c:pt idx="2345">
                  <c:v>13.4023533</c:v>
                </c:pt>
                <c:pt idx="2346">
                  <c:v>13.4955368</c:v>
                </c:pt>
                <c:pt idx="2347">
                  <c:v>14.0870733</c:v>
                </c:pt>
                <c:pt idx="2348">
                  <c:v>14.6829109</c:v>
                </c:pt>
                <c:pt idx="2349">
                  <c:v>14.9646978</c:v>
                </c:pt>
                <c:pt idx="2350">
                  <c:v>15.084501299999999</c:v>
                </c:pt>
                <c:pt idx="2351">
                  <c:v>15.1717739</c:v>
                </c:pt>
                <c:pt idx="2352">
                  <c:v>15.567309399999999</c:v>
                </c:pt>
                <c:pt idx="2353">
                  <c:v>16.053894</c:v>
                </c:pt>
                <c:pt idx="2354">
                  <c:v>16.155113199999999</c:v>
                </c:pt>
                <c:pt idx="2355">
                  <c:v>16.785623600000001</c:v>
                </c:pt>
                <c:pt idx="2356">
                  <c:v>17.289211300000002</c:v>
                </c:pt>
                <c:pt idx="2357">
                  <c:v>17.277717599999999</c:v>
                </c:pt>
                <c:pt idx="2358">
                  <c:v>17.515229999999999</c:v>
                </c:pt>
                <c:pt idx="2359">
                  <c:v>17.805002200000001</c:v>
                </c:pt>
                <c:pt idx="2360">
                  <c:v>18.187830000000002</c:v>
                </c:pt>
                <c:pt idx="2361">
                  <c:v>18.21499</c:v>
                </c:pt>
                <c:pt idx="2362">
                  <c:v>17.981618900000001</c:v>
                </c:pt>
                <c:pt idx="2363">
                  <c:v>18.1238651</c:v>
                </c:pt>
                <c:pt idx="2364">
                  <c:v>18.3148689</c:v>
                </c:pt>
                <c:pt idx="2365">
                  <c:v>18.401733400000001</c:v>
                </c:pt>
                <c:pt idx="2366">
                  <c:v>18.428941699999999</c:v>
                </c:pt>
                <c:pt idx="2367">
                  <c:v>18.488040000000002</c:v>
                </c:pt>
                <c:pt idx="2368">
                  <c:v>18.555005999999999</c:v>
                </c:pt>
                <c:pt idx="2369">
                  <c:v>18.694006000000002</c:v>
                </c:pt>
                <c:pt idx="2370">
                  <c:v>18.7077065</c:v>
                </c:pt>
                <c:pt idx="2371">
                  <c:v>18.740451799999999</c:v>
                </c:pt>
                <c:pt idx="2372">
                  <c:v>18.8416882</c:v>
                </c:pt>
                <c:pt idx="2373">
                  <c:v>18.9859276</c:v>
                </c:pt>
                <c:pt idx="2374">
                  <c:v>19.219750000000001</c:v>
                </c:pt>
                <c:pt idx="2375">
                  <c:v>19.310085300000001</c:v>
                </c:pt>
                <c:pt idx="2376">
                  <c:v>19.596771199999999</c:v>
                </c:pt>
                <c:pt idx="2377">
                  <c:v>19.9258442</c:v>
                </c:pt>
                <c:pt idx="2378">
                  <c:v>20.181785600000001</c:v>
                </c:pt>
                <c:pt idx="2379">
                  <c:v>20.496938700000001</c:v>
                </c:pt>
                <c:pt idx="2380">
                  <c:v>20.511747400000001</c:v>
                </c:pt>
                <c:pt idx="2381">
                  <c:v>20.774927099999999</c:v>
                </c:pt>
                <c:pt idx="2382">
                  <c:v>21.092336700000001</c:v>
                </c:pt>
                <c:pt idx="2383">
                  <c:v>21.1158714</c:v>
                </c:pt>
                <c:pt idx="2384">
                  <c:v>21.176544199999999</c:v>
                </c:pt>
                <c:pt idx="2385">
                  <c:v>21.454341899999999</c:v>
                </c:pt>
                <c:pt idx="2386">
                  <c:v>21.53933</c:v>
                </c:pt>
                <c:pt idx="2387">
                  <c:v>21.342493099999999</c:v>
                </c:pt>
                <c:pt idx="2388">
                  <c:v>21.721738800000001</c:v>
                </c:pt>
                <c:pt idx="2389">
                  <c:v>22.000679000000002</c:v>
                </c:pt>
                <c:pt idx="2390">
                  <c:v>21.907064399999999</c:v>
                </c:pt>
                <c:pt idx="2391">
                  <c:v>22.48997</c:v>
                </c:pt>
                <c:pt idx="2392">
                  <c:v>22.417026499999999</c:v>
                </c:pt>
                <c:pt idx="2393">
                  <c:v>21.946052600000002</c:v>
                </c:pt>
                <c:pt idx="2394">
                  <c:v>22.064966200000001</c:v>
                </c:pt>
                <c:pt idx="2395">
                  <c:v>22.102336900000001</c:v>
                </c:pt>
                <c:pt idx="2396">
                  <c:v>21.9606438</c:v>
                </c:pt>
                <c:pt idx="2397">
                  <c:v>21.789562199999999</c:v>
                </c:pt>
                <c:pt idx="2398">
                  <c:v>21.6534023</c:v>
                </c:pt>
                <c:pt idx="2399">
                  <c:v>21.531942399999998</c:v>
                </c:pt>
                <c:pt idx="2400">
                  <c:v>21.544183700000001</c:v>
                </c:pt>
                <c:pt idx="2401">
                  <c:v>21.42821</c:v>
                </c:pt>
                <c:pt idx="2402">
                  <c:v>21.271251700000001</c:v>
                </c:pt>
                <c:pt idx="2403">
                  <c:v>21.179594000000002</c:v>
                </c:pt>
                <c:pt idx="2404">
                  <c:v>21.122102699999999</c:v>
                </c:pt>
                <c:pt idx="2405">
                  <c:v>21.155090000000001</c:v>
                </c:pt>
                <c:pt idx="2406">
                  <c:v>20.969415699999999</c:v>
                </c:pt>
                <c:pt idx="2407">
                  <c:v>21.079688999999998</c:v>
                </c:pt>
                <c:pt idx="2408">
                  <c:v>21.548227300000001</c:v>
                </c:pt>
                <c:pt idx="2409">
                  <c:v>21.561779000000001</c:v>
                </c:pt>
                <c:pt idx="2410">
                  <c:v>21.5989246</c:v>
                </c:pt>
                <c:pt idx="2411">
                  <c:v>21.7256012</c:v>
                </c:pt>
                <c:pt idx="2412">
                  <c:v>21.9088478</c:v>
                </c:pt>
                <c:pt idx="2413">
                  <c:v>21.923749999999998</c:v>
                </c:pt>
                <c:pt idx="2414">
                  <c:v>21.924213399999999</c:v>
                </c:pt>
                <c:pt idx="2415">
                  <c:v>22.383400000000002</c:v>
                </c:pt>
                <c:pt idx="2416">
                  <c:v>22.286302599999999</c:v>
                </c:pt>
                <c:pt idx="2417">
                  <c:v>22.038948099999999</c:v>
                </c:pt>
                <c:pt idx="2418">
                  <c:v>22.505287200000001</c:v>
                </c:pt>
                <c:pt idx="2419">
                  <c:v>22.818721799999999</c:v>
                </c:pt>
                <c:pt idx="2420">
                  <c:v>22.5333939</c:v>
                </c:pt>
                <c:pt idx="2421">
                  <c:v>22.5985546</c:v>
                </c:pt>
                <c:pt idx="2422">
                  <c:v>23.034880000000001</c:v>
                </c:pt>
                <c:pt idx="2423">
                  <c:v>23.147115700000001</c:v>
                </c:pt>
                <c:pt idx="2424">
                  <c:v>23.163913699999998</c:v>
                </c:pt>
                <c:pt idx="2425">
                  <c:v>23.3277073</c:v>
                </c:pt>
                <c:pt idx="2426">
                  <c:v>23.451899999999998</c:v>
                </c:pt>
                <c:pt idx="2427">
                  <c:v>23.350169999999999</c:v>
                </c:pt>
                <c:pt idx="2428">
                  <c:v>23.323081999999999</c:v>
                </c:pt>
                <c:pt idx="2429">
                  <c:v>23.5969658</c:v>
                </c:pt>
                <c:pt idx="2430">
                  <c:v>23.696110000000001</c:v>
                </c:pt>
                <c:pt idx="2431">
                  <c:v>23.782188399999999</c:v>
                </c:pt>
                <c:pt idx="2432">
                  <c:v>23.922403299999999</c:v>
                </c:pt>
                <c:pt idx="2433">
                  <c:v>24.030529000000001</c:v>
                </c:pt>
                <c:pt idx="2434">
                  <c:v>23.853355400000002</c:v>
                </c:pt>
                <c:pt idx="2435">
                  <c:v>23.862369999999999</c:v>
                </c:pt>
                <c:pt idx="2436">
                  <c:v>24.291419999999999</c:v>
                </c:pt>
                <c:pt idx="2437">
                  <c:v>24.219936400000002</c:v>
                </c:pt>
                <c:pt idx="2438">
                  <c:v>24.158090000000001</c:v>
                </c:pt>
                <c:pt idx="2439">
                  <c:v>24.290836299999999</c:v>
                </c:pt>
                <c:pt idx="2440">
                  <c:v>24.460733399999999</c:v>
                </c:pt>
                <c:pt idx="2441">
                  <c:v>24.792678800000001</c:v>
                </c:pt>
                <c:pt idx="2442">
                  <c:v>24.817356100000001</c:v>
                </c:pt>
                <c:pt idx="2443">
                  <c:v>24.756031</c:v>
                </c:pt>
                <c:pt idx="2444">
                  <c:v>24.8370514</c:v>
                </c:pt>
                <c:pt idx="2445">
                  <c:v>24.994037599999999</c:v>
                </c:pt>
                <c:pt idx="2446">
                  <c:v>25.327621499999999</c:v>
                </c:pt>
                <c:pt idx="2447">
                  <c:v>25.7023926</c:v>
                </c:pt>
                <c:pt idx="2448">
                  <c:v>25.500663800000002</c:v>
                </c:pt>
                <c:pt idx="2449">
                  <c:v>25.05772</c:v>
                </c:pt>
                <c:pt idx="2450">
                  <c:v>25.266574899999998</c:v>
                </c:pt>
                <c:pt idx="2451">
                  <c:v>25.473423</c:v>
                </c:pt>
                <c:pt idx="2452">
                  <c:v>25.832424199999998</c:v>
                </c:pt>
                <c:pt idx="2453">
                  <c:v>26.0108414</c:v>
                </c:pt>
                <c:pt idx="2454">
                  <c:v>26.043189999999999</c:v>
                </c:pt>
                <c:pt idx="2455">
                  <c:v>26.189981499999998</c:v>
                </c:pt>
                <c:pt idx="2456">
                  <c:v>25.9922638</c:v>
                </c:pt>
                <c:pt idx="2457">
                  <c:v>26.0051041</c:v>
                </c:pt>
                <c:pt idx="2458">
                  <c:v>26.398326900000001</c:v>
                </c:pt>
                <c:pt idx="2459">
                  <c:v>26.526008600000001</c:v>
                </c:pt>
                <c:pt idx="2460">
                  <c:v>26.662189999999999</c:v>
                </c:pt>
                <c:pt idx="2461">
                  <c:v>26.8645611</c:v>
                </c:pt>
                <c:pt idx="2462">
                  <c:v>26.906484599999999</c:v>
                </c:pt>
                <c:pt idx="2463">
                  <c:v>27.265626900000001</c:v>
                </c:pt>
                <c:pt idx="2464">
                  <c:v>27.7311382</c:v>
                </c:pt>
                <c:pt idx="2465">
                  <c:v>28.070119999999999</c:v>
                </c:pt>
                <c:pt idx="2466">
                  <c:v>28.2264233</c:v>
                </c:pt>
                <c:pt idx="2467">
                  <c:v>28.417581599999998</c:v>
                </c:pt>
                <c:pt idx="2468">
                  <c:v>28.687107099999999</c:v>
                </c:pt>
                <c:pt idx="2469">
                  <c:v>28.864740000000001</c:v>
                </c:pt>
                <c:pt idx="2470">
                  <c:v>29.058877899999999</c:v>
                </c:pt>
                <c:pt idx="2471">
                  <c:v>29.326602900000001</c:v>
                </c:pt>
                <c:pt idx="2472">
                  <c:v>29.7699432</c:v>
                </c:pt>
                <c:pt idx="2473">
                  <c:v>30.111883200000001</c:v>
                </c:pt>
                <c:pt idx="2474">
                  <c:v>29.951702099999999</c:v>
                </c:pt>
                <c:pt idx="2475">
                  <c:v>29.9768963</c:v>
                </c:pt>
                <c:pt idx="2476">
                  <c:v>30.549287799999998</c:v>
                </c:pt>
                <c:pt idx="2477">
                  <c:v>30.883066199999998</c:v>
                </c:pt>
                <c:pt idx="2478">
                  <c:v>30.971683500000001</c:v>
                </c:pt>
                <c:pt idx="2479">
                  <c:v>31.193813299999999</c:v>
                </c:pt>
                <c:pt idx="2480">
                  <c:v>31.685091</c:v>
                </c:pt>
                <c:pt idx="2481">
                  <c:v>32.056339999999999</c:v>
                </c:pt>
                <c:pt idx="2482">
                  <c:v>32.256862599999998</c:v>
                </c:pt>
                <c:pt idx="2483">
                  <c:v>32.627162900000002</c:v>
                </c:pt>
                <c:pt idx="2484">
                  <c:v>32.611446399999998</c:v>
                </c:pt>
                <c:pt idx="2485">
                  <c:v>33.2698441</c:v>
                </c:pt>
                <c:pt idx="2486">
                  <c:v>34.144370000000002</c:v>
                </c:pt>
                <c:pt idx="2487">
                  <c:v>34.164894099999998</c:v>
                </c:pt>
                <c:pt idx="2488">
                  <c:v>34.334281900000001</c:v>
                </c:pt>
                <c:pt idx="2489">
                  <c:v>34.629875200000001</c:v>
                </c:pt>
                <c:pt idx="2490">
                  <c:v>34.931495699999999</c:v>
                </c:pt>
                <c:pt idx="2491">
                  <c:v>35.161605799999997</c:v>
                </c:pt>
                <c:pt idx="2492">
                  <c:v>35.486514999999997</c:v>
                </c:pt>
                <c:pt idx="2493">
                  <c:v>35.653770000000002</c:v>
                </c:pt>
                <c:pt idx="2494">
                  <c:v>35.600112899999999</c:v>
                </c:pt>
                <c:pt idx="2495">
                  <c:v>35.884113300000003</c:v>
                </c:pt>
                <c:pt idx="2496">
                  <c:v>35.998840000000001</c:v>
                </c:pt>
                <c:pt idx="2497">
                  <c:v>36.094886799999998</c:v>
                </c:pt>
                <c:pt idx="2498">
                  <c:v>36.277526899999998</c:v>
                </c:pt>
                <c:pt idx="2499">
                  <c:v>36.386673000000002</c:v>
                </c:pt>
                <c:pt idx="2500">
                  <c:v>36.3142128</c:v>
                </c:pt>
                <c:pt idx="2501">
                  <c:v>36.343437199999997</c:v>
                </c:pt>
                <c:pt idx="2502">
                  <c:v>36.749565099999998</c:v>
                </c:pt>
                <c:pt idx="2503">
                  <c:v>36.758487700000003</c:v>
                </c:pt>
                <c:pt idx="2504">
                  <c:v>36.560592700000001</c:v>
                </c:pt>
                <c:pt idx="2505">
                  <c:v>36.775775899999999</c:v>
                </c:pt>
                <c:pt idx="2506">
                  <c:v>37.1092224</c:v>
                </c:pt>
                <c:pt idx="2507">
                  <c:v>36.924480000000003</c:v>
                </c:pt>
                <c:pt idx="2508">
                  <c:v>36.732019999999999</c:v>
                </c:pt>
                <c:pt idx="2509">
                  <c:v>36.644782999999997</c:v>
                </c:pt>
                <c:pt idx="2510">
                  <c:v>36.538359999999997</c:v>
                </c:pt>
                <c:pt idx="2511">
                  <c:v>36.682580000000002</c:v>
                </c:pt>
                <c:pt idx="2512">
                  <c:v>36.351979999999998</c:v>
                </c:pt>
                <c:pt idx="2513">
                  <c:v>35.968490000000003</c:v>
                </c:pt>
                <c:pt idx="2514">
                  <c:v>36.034183499999997</c:v>
                </c:pt>
                <c:pt idx="2515">
                  <c:v>35.9488068</c:v>
                </c:pt>
                <c:pt idx="2516">
                  <c:v>35.859142300000002</c:v>
                </c:pt>
                <c:pt idx="2517">
                  <c:v>35.491325400000001</c:v>
                </c:pt>
                <c:pt idx="2518">
                  <c:v>35.037525199999997</c:v>
                </c:pt>
                <c:pt idx="2519">
                  <c:v>35.190776800000002</c:v>
                </c:pt>
                <c:pt idx="2520">
                  <c:v>35.264972700000001</c:v>
                </c:pt>
                <c:pt idx="2521">
                  <c:v>34.844192499999998</c:v>
                </c:pt>
                <c:pt idx="2522">
                  <c:v>34.454006200000002</c:v>
                </c:pt>
                <c:pt idx="2523">
                  <c:v>34.416076699999998</c:v>
                </c:pt>
                <c:pt idx="2524">
                  <c:v>34.158813500000001</c:v>
                </c:pt>
                <c:pt idx="2525">
                  <c:v>33.722683000000004</c:v>
                </c:pt>
                <c:pt idx="2526">
                  <c:v>33.583179999999999</c:v>
                </c:pt>
                <c:pt idx="2527">
                  <c:v>33.598709999999997</c:v>
                </c:pt>
                <c:pt idx="2528">
                  <c:v>33.301659999999998</c:v>
                </c:pt>
                <c:pt idx="2529">
                  <c:v>32.842727699999998</c:v>
                </c:pt>
                <c:pt idx="2530">
                  <c:v>32.651589999999999</c:v>
                </c:pt>
                <c:pt idx="2531">
                  <c:v>32.343887299999999</c:v>
                </c:pt>
                <c:pt idx="2532">
                  <c:v>32.046080000000003</c:v>
                </c:pt>
                <c:pt idx="2533">
                  <c:v>32.018259999999998</c:v>
                </c:pt>
                <c:pt idx="2534">
                  <c:v>31.9410667</c:v>
                </c:pt>
                <c:pt idx="2535">
                  <c:v>31.646560000000001</c:v>
                </c:pt>
                <c:pt idx="2536">
                  <c:v>31.305095699999999</c:v>
                </c:pt>
                <c:pt idx="2537">
                  <c:v>30.859174700000001</c:v>
                </c:pt>
                <c:pt idx="2538">
                  <c:v>30.572654700000001</c:v>
                </c:pt>
                <c:pt idx="2539">
                  <c:v>30.52121</c:v>
                </c:pt>
                <c:pt idx="2540">
                  <c:v>30.271265</c:v>
                </c:pt>
                <c:pt idx="2541">
                  <c:v>30.058216099999999</c:v>
                </c:pt>
                <c:pt idx="2542">
                  <c:v>29.9340172</c:v>
                </c:pt>
                <c:pt idx="2543">
                  <c:v>29.590789999999998</c:v>
                </c:pt>
                <c:pt idx="2544">
                  <c:v>29.4044056</c:v>
                </c:pt>
                <c:pt idx="2545">
                  <c:v>29.2258949</c:v>
                </c:pt>
                <c:pt idx="2546">
                  <c:v>28.786377000000002</c:v>
                </c:pt>
                <c:pt idx="2547">
                  <c:v>28.538414</c:v>
                </c:pt>
                <c:pt idx="2548">
                  <c:v>28.319230000000001</c:v>
                </c:pt>
                <c:pt idx="2549">
                  <c:v>28.050291099999999</c:v>
                </c:pt>
                <c:pt idx="2550">
                  <c:v>27.823270000000001</c:v>
                </c:pt>
                <c:pt idx="2551">
                  <c:v>27.6183777</c:v>
                </c:pt>
                <c:pt idx="2552">
                  <c:v>27.564903300000001</c:v>
                </c:pt>
                <c:pt idx="2553">
                  <c:v>27.257995600000001</c:v>
                </c:pt>
                <c:pt idx="2554">
                  <c:v>26.604289999999999</c:v>
                </c:pt>
                <c:pt idx="2555">
                  <c:v>26.226844799999999</c:v>
                </c:pt>
                <c:pt idx="2556">
                  <c:v>26.1180229</c:v>
                </c:pt>
                <c:pt idx="2557">
                  <c:v>25.888300000000001</c:v>
                </c:pt>
                <c:pt idx="2558">
                  <c:v>25.469768500000001</c:v>
                </c:pt>
                <c:pt idx="2559">
                  <c:v>25.148685499999999</c:v>
                </c:pt>
                <c:pt idx="2560">
                  <c:v>24.737648</c:v>
                </c:pt>
                <c:pt idx="2561">
                  <c:v>24.344064700000001</c:v>
                </c:pt>
                <c:pt idx="2562">
                  <c:v>23.9405155</c:v>
                </c:pt>
                <c:pt idx="2563">
                  <c:v>23.538022999999999</c:v>
                </c:pt>
                <c:pt idx="2564">
                  <c:v>23.266390000000001</c:v>
                </c:pt>
                <c:pt idx="2565">
                  <c:v>22.7287827</c:v>
                </c:pt>
                <c:pt idx="2566">
                  <c:v>22.3871632</c:v>
                </c:pt>
                <c:pt idx="2567">
                  <c:v>22.140344599999999</c:v>
                </c:pt>
                <c:pt idx="2568">
                  <c:v>21.752981200000001</c:v>
                </c:pt>
                <c:pt idx="2569">
                  <c:v>21.220203399999999</c:v>
                </c:pt>
                <c:pt idx="2570">
                  <c:v>20.578645699999999</c:v>
                </c:pt>
                <c:pt idx="2571">
                  <c:v>20.146825799999998</c:v>
                </c:pt>
                <c:pt idx="2572">
                  <c:v>19.550979999999999</c:v>
                </c:pt>
                <c:pt idx="2573">
                  <c:v>19.204675699999999</c:v>
                </c:pt>
                <c:pt idx="2574">
                  <c:v>18.783187900000001</c:v>
                </c:pt>
                <c:pt idx="2575">
                  <c:v>18.3347473</c:v>
                </c:pt>
                <c:pt idx="2576">
                  <c:v>18.0688362</c:v>
                </c:pt>
                <c:pt idx="2577">
                  <c:v>17.572759999999999</c:v>
                </c:pt>
                <c:pt idx="2578">
                  <c:v>17.406374</c:v>
                </c:pt>
                <c:pt idx="2579">
                  <c:v>16.9550877</c:v>
                </c:pt>
                <c:pt idx="2580">
                  <c:v>16.229471199999999</c:v>
                </c:pt>
                <c:pt idx="2581">
                  <c:v>15.946233700000001</c:v>
                </c:pt>
                <c:pt idx="2582">
                  <c:v>15.7618723</c:v>
                </c:pt>
                <c:pt idx="2583">
                  <c:v>15.6461515</c:v>
                </c:pt>
                <c:pt idx="2584">
                  <c:v>15.2430229</c:v>
                </c:pt>
                <c:pt idx="2585">
                  <c:v>14.8311186</c:v>
                </c:pt>
                <c:pt idx="2586">
                  <c:v>14.7300472</c:v>
                </c:pt>
                <c:pt idx="2587">
                  <c:v>14.401897399999999</c:v>
                </c:pt>
                <c:pt idx="2588">
                  <c:v>14.096697799999999</c:v>
                </c:pt>
                <c:pt idx="2589">
                  <c:v>13.9348812</c:v>
                </c:pt>
                <c:pt idx="2590">
                  <c:v>13.857918700000001</c:v>
                </c:pt>
                <c:pt idx="2591">
                  <c:v>13.5633917</c:v>
                </c:pt>
                <c:pt idx="2592">
                  <c:v>13.2974291</c:v>
                </c:pt>
                <c:pt idx="2593">
                  <c:v>12.968417199999999</c:v>
                </c:pt>
                <c:pt idx="2594">
                  <c:v>12.6878271</c:v>
                </c:pt>
                <c:pt idx="2595">
                  <c:v>12.6187592</c:v>
                </c:pt>
                <c:pt idx="2596">
                  <c:v>12.676104499999999</c:v>
                </c:pt>
                <c:pt idx="2597">
                  <c:v>12.265893</c:v>
                </c:pt>
                <c:pt idx="2598">
                  <c:v>11.752174399999999</c:v>
                </c:pt>
                <c:pt idx="2599">
                  <c:v>11.557290999999999</c:v>
                </c:pt>
                <c:pt idx="2600">
                  <c:v>11.1963606</c:v>
                </c:pt>
                <c:pt idx="2601">
                  <c:v>11.2156544</c:v>
                </c:pt>
                <c:pt idx="2602">
                  <c:v>10.9244032</c:v>
                </c:pt>
                <c:pt idx="2603">
                  <c:v>10.739765200000001</c:v>
                </c:pt>
                <c:pt idx="2604">
                  <c:v>10.601028400000001</c:v>
                </c:pt>
                <c:pt idx="2605">
                  <c:v>10.432359999999999</c:v>
                </c:pt>
                <c:pt idx="2606">
                  <c:v>10.3099346</c:v>
                </c:pt>
                <c:pt idx="2607">
                  <c:v>10.019404400000001</c:v>
                </c:pt>
                <c:pt idx="2608">
                  <c:v>9.766527</c:v>
                </c:pt>
                <c:pt idx="2609">
                  <c:v>9.6003349999999994</c:v>
                </c:pt>
                <c:pt idx="2610">
                  <c:v>9.508324</c:v>
                </c:pt>
                <c:pt idx="2611">
                  <c:v>9.3818429999999999</c:v>
                </c:pt>
                <c:pt idx="2612">
                  <c:v>9.5094139999999996</c:v>
                </c:pt>
                <c:pt idx="2613">
                  <c:v>9.4456579999999999</c:v>
                </c:pt>
                <c:pt idx="2614">
                  <c:v>9.3603380000000005</c:v>
                </c:pt>
                <c:pt idx="2615">
                  <c:v>9.3285579999999992</c:v>
                </c:pt>
                <c:pt idx="2616">
                  <c:v>8.9902499999999996</c:v>
                </c:pt>
                <c:pt idx="2617">
                  <c:v>8.6837780000000002</c:v>
                </c:pt>
                <c:pt idx="2618">
                  <c:v>8.5357819999999993</c:v>
                </c:pt>
                <c:pt idx="2619">
                  <c:v>8.4578290000000003</c:v>
                </c:pt>
                <c:pt idx="2620">
                  <c:v>8.4868819999999996</c:v>
                </c:pt>
                <c:pt idx="2621">
                  <c:v>8.3783530000000006</c:v>
                </c:pt>
                <c:pt idx="2622">
                  <c:v>7.9976339999999997</c:v>
                </c:pt>
                <c:pt idx="2623">
                  <c:v>8.0053800000000006</c:v>
                </c:pt>
                <c:pt idx="2624">
                  <c:v>8.2124249999999996</c:v>
                </c:pt>
                <c:pt idx="2625">
                  <c:v>7.7340260000000001</c:v>
                </c:pt>
                <c:pt idx="2626">
                  <c:v>7.4569229999999997</c:v>
                </c:pt>
                <c:pt idx="2627">
                  <c:v>7.4486549999999996</c:v>
                </c:pt>
                <c:pt idx="2628">
                  <c:v>7.3872249999999999</c:v>
                </c:pt>
                <c:pt idx="2629">
                  <c:v>7.4357790000000001</c:v>
                </c:pt>
                <c:pt idx="2630">
                  <c:v>7.2127629999999998</c:v>
                </c:pt>
                <c:pt idx="2631">
                  <c:v>7.0486209999999998</c:v>
                </c:pt>
                <c:pt idx="2632">
                  <c:v>6.8367690000000003</c:v>
                </c:pt>
                <c:pt idx="2633">
                  <c:v>6.7347070000000002</c:v>
                </c:pt>
                <c:pt idx="2634">
                  <c:v>6.7844759999999997</c:v>
                </c:pt>
                <c:pt idx="2635">
                  <c:v>6.9095829999999996</c:v>
                </c:pt>
                <c:pt idx="2636">
                  <c:v>7.0127810000000004</c:v>
                </c:pt>
                <c:pt idx="2637">
                  <c:v>7.0531139999999999</c:v>
                </c:pt>
                <c:pt idx="2638">
                  <c:v>7.2636159999999999</c:v>
                </c:pt>
                <c:pt idx="2639">
                  <c:v>7.1005880000000001</c:v>
                </c:pt>
                <c:pt idx="2640">
                  <c:v>6.8730820000000001</c:v>
                </c:pt>
                <c:pt idx="2641">
                  <c:v>7.0679249999999998</c:v>
                </c:pt>
                <c:pt idx="2642">
                  <c:v>7.0096819999999997</c:v>
                </c:pt>
                <c:pt idx="2643">
                  <c:v>7.0313650000000001</c:v>
                </c:pt>
                <c:pt idx="2644">
                  <c:v>7.1526100000000001</c:v>
                </c:pt>
                <c:pt idx="2645">
                  <c:v>7.0004999999999997</c:v>
                </c:pt>
                <c:pt idx="2646">
                  <c:v>6.9653869999999998</c:v>
                </c:pt>
                <c:pt idx="2647">
                  <c:v>7.1242539999999996</c:v>
                </c:pt>
                <c:pt idx="2648">
                  <c:v>7.1853720000000001</c:v>
                </c:pt>
                <c:pt idx="2649">
                  <c:v>7.069985</c:v>
                </c:pt>
                <c:pt idx="2650">
                  <c:v>7.1929449999999999</c:v>
                </c:pt>
                <c:pt idx="2651">
                  <c:v>7.235131</c:v>
                </c:pt>
                <c:pt idx="2652">
                  <c:v>7.0345820000000003</c:v>
                </c:pt>
                <c:pt idx="2653">
                  <c:v>7.1707780000000003</c:v>
                </c:pt>
                <c:pt idx="2654">
                  <c:v>7.4801549999999999</c:v>
                </c:pt>
                <c:pt idx="2655">
                  <c:v>7.2222059999999999</c:v>
                </c:pt>
                <c:pt idx="2656">
                  <c:v>6.8615029999999999</c:v>
                </c:pt>
                <c:pt idx="2657">
                  <c:v>7.0288399999999998</c:v>
                </c:pt>
                <c:pt idx="2658">
                  <c:v>7.1300140000000001</c:v>
                </c:pt>
                <c:pt idx="2659">
                  <c:v>7.0757700000000003</c:v>
                </c:pt>
                <c:pt idx="2660">
                  <c:v>7.0691699999999997</c:v>
                </c:pt>
                <c:pt idx="2661">
                  <c:v>7.0201909999999996</c:v>
                </c:pt>
                <c:pt idx="2662">
                  <c:v>7.0114489999999998</c:v>
                </c:pt>
                <c:pt idx="2663">
                  <c:v>6.8877730000000001</c:v>
                </c:pt>
                <c:pt idx="2664">
                  <c:v>6.7656749999999999</c:v>
                </c:pt>
                <c:pt idx="2665">
                  <c:v>6.704453</c:v>
                </c:pt>
                <c:pt idx="2666">
                  <c:v>6.8244189999999998</c:v>
                </c:pt>
                <c:pt idx="2667">
                  <c:v>6.694223</c:v>
                </c:pt>
                <c:pt idx="2668">
                  <c:v>6.5704130000000003</c:v>
                </c:pt>
                <c:pt idx="2669">
                  <c:v>6.6387739999999997</c:v>
                </c:pt>
                <c:pt idx="2670">
                  <c:v>6.6800759999999997</c:v>
                </c:pt>
                <c:pt idx="2671">
                  <c:v>6.709238</c:v>
                </c:pt>
                <c:pt idx="2672">
                  <c:v>6.6701819999999996</c:v>
                </c:pt>
                <c:pt idx="2673">
                  <c:v>6.6596349999999997</c:v>
                </c:pt>
                <c:pt idx="2674">
                  <c:v>6.6041449999999999</c:v>
                </c:pt>
                <c:pt idx="2675">
                  <c:v>6.8576639999999998</c:v>
                </c:pt>
                <c:pt idx="2676">
                  <c:v>7.0099239999999998</c:v>
                </c:pt>
                <c:pt idx="2677">
                  <c:v>6.922129</c:v>
                </c:pt>
                <c:pt idx="2678">
                  <c:v>6.8347600000000002</c:v>
                </c:pt>
                <c:pt idx="2679">
                  <c:v>6.6723369999999997</c:v>
                </c:pt>
                <c:pt idx="2680">
                  <c:v>6.6618469999999999</c:v>
                </c:pt>
                <c:pt idx="2681">
                  <c:v>6.7956120000000002</c:v>
                </c:pt>
                <c:pt idx="2682">
                  <c:v>6.7433930000000002</c:v>
                </c:pt>
                <c:pt idx="2683">
                  <c:v>6.5272889999999997</c:v>
                </c:pt>
                <c:pt idx="2684">
                  <c:v>6.5509969999999997</c:v>
                </c:pt>
                <c:pt idx="2685">
                  <c:v>6.4254049999999996</c:v>
                </c:pt>
                <c:pt idx="2686">
                  <c:v>6.1546399999999997</c:v>
                </c:pt>
                <c:pt idx="2687">
                  <c:v>5.8582660000000004</c:v>
                </c:pt>
                <c:pt idx="2688">
                  <c:v>5.809266</c:v>
                </c:pt>
                <c:pt idx="2689">
                  <c:v>5.7475300000000002</c:v>
                </c:pt>
                <c:pt idx="2690">
                  <c:v>5.4959049999999996</c:v>
                </c:pt>
                <c:pt idx="2691">
                  <c:v>5.3319130000000001</c:v>
                </c:pt>
                <c:pt idx="2692">
                  <c:v>5.2802300000000004</c:v>
                </c:pt>
                <c:pt idx="2693">
                  <c:v>5.1506360000000004</c:v>
                </c:pt>
                <c:pt idx="2694">
                  <c:v>4.8506070000000001</c:v>
                </c:pt>
                <c:pt idx="2695">
                  <c:v>4.9244919999999999</c:v>
                </c:pt>
                <c:pt idx="2696">
                  <c:v>4.9967280000000001</c:v>
                </c:pt>
                <c:pt idx="2697">
                  <c:v>4.950005</c:v>
                </c:pt>
                <c:pt idx="2698">
                  <c:v>4.7121409999999999</c:v>
                </c:pt>
                <c:pt idx="2699">
                  <c:v>4.434634</c:v>
                </c:pt>
                <c:pt idx="2700">
                  <c:v>4.527234</c:v>
                </c:pt>
                <c:pt idx="2701">
                  <c:v>4.6857129999999998</c:v>
                </c:pt>
                <c:pt idx="2702">
                  <c:v>4.5569730000000002</c:v>
                </c:pt>
                <c:pt idx="2703">
                  <c:v>4.3483299999999998</c:v>
                </c:pt>
                <c:pt idx="2704">
                  <c:v>4.2208610000000002</c:v>
                </c:pt>
                <c:pt idx="2705">
                  <c:v>4.2004359999999998</c:v>
                </c:pt>
                <c:pt idx="2706">
                  <c:v>4.0322329999999997</c:v>
                </c:pt>
                <c:pt idx="2707">
                  <c:v>3.583256</c:v>
                </c:pt>
                <c:pt idx="2708">
                  <c:v>3.7138529999999998</c:v>
                </c:pt>
                <c:pt idx="2709">
                  <c:v>3.6730849999999999</c:v>
                </c:pt>
                <c:pt idx="2710">
                  <c:v>3.291471</c:v>
                </c:pt>
                <c:pt idx="2711">
                  <c:v>3.3216600000000001</c:v>
                </c:pt>
                <c:pt idx="2712">
                  <c:v>3.232224</c:v>
                </c:pt>
                <c:pt idx="2713">
                  <c:v>3.155586</c:v>
                </c:pt>
                <c:pt idx="2714">
                  <c:v>2.9473600000000002</c:v>
                </c:pt>
                <c:pt idx="2715">
                  <c:v>2.7379009999999999</c:v>
                </c:pt>
                <c:pt idx="2716">
                  <c:v>2.7195800000000001</c:v>
                </c:pt>
                <c:pt idx="2717">
                  <c:v>2.9455209999999998</c:v>
                </c:pt>
                <c:pt idx="2718">
                  <c:v>2.9059020000000002</c:v>
                </c:pt>
                <c:pt idx="2719">
                  <c:v>2.539434</c:v>
                </c:pt>
                <c:pt idx="2720">
                  <c:v>2.5907390000000001</c:v>
                </c:pt>
                <c:pt idx="2721">
                  <c:v>2.6584599999999998</c:v>
                </c:pt>
                <c:pt idx="2722">
                  <c:v>2.5428730000000002</c:v>
                </c:pt>
                <c:pt idx="2723">
                  <c:v>2.33</c:v>
                </c:pt>
                <c:pt idx="2724">
                  <c:v>2.1245850000000002</c:v>
                </c:pt>
                <c:pt idx="2725">
                  <c:v>1.9129400000000001</c:v>
                </c:pt>
                <c:pt idx="2726">
                  <c:v>1.6912339999999999</c:v>
                </c:pt>
                <c:pt idx="2727">
                  <c:v>1.4566859999999999</c:v>
                </c:pt>
                <c:pt idx="2728">
                  <c:v>1.346271</c:v>
                </c:pt>
                <c:pt idx="2729">
                  <c:v>1.0270900000000001</c:v>
                </c:pt>
                <c:pt idx="2730">
                  <c:v>0.59798200000000001</c:v>
                </c:pt>
                <c:pt idx="2731">
                  <c:v>0.42907899999999999</c:v>
                </c:pt>
                <c:pt idx="2732">
                  <c:v>0.46482000000000001</c:v>
                </c:pt>
                <c:pt idx="2733">
                  <c:v>0.41565299999999999</c:v>
                </c:pt>
                <c:pt idx="2734">
                  <c:v>0.27008900000000002</c:v>
                </c:pt>
                <c:pt idx="2735">
                  <c:v>0.27662399999999998</c:v>
                </c:pt>
                <c:pt idx="2736">
                  <c:v>0.304201</c:v>
                </c:pt>
                <c:pt idx="2737">
                  <c:v>0.28421999999999997</c:v>
                </c:pt>
                <c:pt idx="2738">
                  <c:v>0.247499</c:v>
                </c:pt>
                <c:pt idx="2739">
                  <c:v>0.27128799999999997</c:v>
                </c:pt>
                <c:pt idx="2740">
                  <c:v>0.12836400000000001</c:v>
                </c:pt>
                <c:pt idx="2741">
                  <c:v>0.100747</c:v>
                </c:pt>
                <c:pt idx="2742">
                  <c:v>0.26580399999999998</c:v>
                </c:pt>
                <c:pt idx="2743">
                  <c:v>0.41047099999999997</c:v>
                </c:pt>
                <c:pt idx="2744">
                  <c:v>0.42003400000000002</c:v>
                </c:pt>
                <c:pt idx="2745">
                  <c:v>0.63648800000000005</c:v>
                </c:pt>
                <c:pt idx="2746">
                  <c:v>0.62409300000000001</c:v>
                </c:pt>
                <c:pt idx="2747">
                  <c:v>0.638764</c:v>
                </c:pt>
                <c:pt idx="2748">
                  <c:v>0.78962399999999999</c:v>
                </c:pt>
                <c:pt idx="2749">
                  <c:v>0.61815699999999996</c:v>
                </c:pt>
                <c:pt idx="2750">
                  <c:v>0.46739000000000003</c:v>
                </c:pt>
                <c:pt idx="2751">
                  <c:v>0.38480599999999998</c:v>
                </c:pt>
                <c:pt idx="2752">
                  <c:v>0.12363399999999999</c:v>
                </c:pt>
                <c:pt idx="2753">
                  <c:v>0.10209699999999999</c:v>
                </c:pt>
                <c:pt idx="2754">
                  <c:v>0.26397599999999999</c:v>
                </c:pt>
                <c:pt idx="2755">
                  <c:v>-0.20610200000000001</c:v>
                </c:pt>
                <c:pt idx="2756">
                  <c:v>-0.41314400000000001</c:v>
                </c:pt>
                <c:pt idx="2757">
                  <c:v>-0.36744500000000002</c:v>
                </c:pt>
                <c:pt idx="2758">
                  <c:v>-0.58513999999999999</c:v>
                </c:pt>
                <c:pt idx="2759">
                  <c:v>-0.46754299999999999</c:v>
                </c:pt>
                <c:pt idx="2760">
                  <c:v>-0.64621099999999998</c:v>
                </c:pt>
                <c:pt idx="2761">
                  <c:v>-0.90230200000000005</c:v>
                </c:pt>
                <c:pt idx="2762">
                  <c:v>-0.74496200000000001</c:v>
                </c:pt>
                <c:pt idx="2763">
                  <c:v>-1.0346500000000001</c:v>
                </c:pt>
                <c:pt idx="2764">
                  <c:v>-1.221352</c:v>
                </c:pt>
                <c:pt idx="2765">
                  <c:v>-0.755471</c:v>
                </c:pt>
                <c:pt idx="2766">
                  <c:v>-0.736402</c:v>
                </c:pt>
                <c:pt idx="2767">
                  <c:v>-1.336565</c:v>
                </c:pt>
                <c:pt idx="2768">
                  <c:v>-1.4801420000000001</c:v>
                </c:pt>
                <c:pt idx="2769">
                  <c:v>-1.197085</c:v>
                </c:pt>
                <c:pt idx="2770">
                  <c:v>-1.2802899999999999</c:v>
                </c:pt>
                <c:pt idx="2771">
                  <c:v>-1.4076690000000001</c:v>
                </c:pt>
                <c:pt idx="2772">
                  <c:v>-1.29775</c:v>
                </c:pt>
                <c:pt idx="2773">
                  <c:v>-1.324233</c:v>
                </c:pt>
                <c:pt idx="2774">
                  <c:v>-1.1466190000000001</c:v>
                </c:pt>
                <c:pt idx="2775">
                  <c:v>-1.262432</c:v>
                </c:pt>
                <c:pt idx="2776">
                  <c:v>-1.1864809999999999</c:v>
                </c:pt>
                <c:pt idx="2777">
                  <c:v>-0.81483099999999997</c:v>
                </c:pt>
                <c:pt idx="2778">
                  <c:v>-0.94009799999999999</c:v>
                </c:pt>
                <c:pt idx="2779">
                  <c:v>-1.1934579999999999</c:v>
                </c:pt>
                <c:pt idx="2780">
                  <c:v>-1.125232</c:v>
                </c:pt>
                <c:pt idx="2781">
                  <c:v>-0.96175699999999997</c:v>
                </c:pt>
                <c:pt idx="2782">
                  <c:v>-0.93729499999999999</c:v>
                </c:pt>
                <c:pt idx="2783">
                  <c:v>-0.848769</c:v>
                </c:pt>
                <c:pt idx="2784">
                  <c:v>-0.79097300000000004</c:v>
                </c:pt>
                <c:pt idx="2785">
                  <c:v>-0.67903800000000003</c:v>
                </c:pt>
                <c:pt idx="2786">
                  <c:v>-0.671601</c:v>
                </c:pt>
                <c:pt idx="2787">
                  <c:v>-0.71799000000000002</c:v>
                </c:pt>
                <c:pt idx="2788">
                  <c:v>-0.596549</c:v>
                </c:pt>
                <c:pt idx="2789">
                  <c:v>-0.52044599999999996</c:v>
                </c:pt>
                <c:pt idx="2790">
                  <c:v>-0.66756899999999997</c:v>
                </c:pt>
                <c:pt idx="2791">
                  <c:v>-0.804539</c:v>
                </c:pt>
                <c:pt idx="2792">
                  <c:v>-0.74605399999999999</c:v>
                </c:pt>
                <c:pt idx="2793">
                  <c:v>-0.44774799999999998</c:v>
                </c:pt>
                <c:pt idx="2794">
                  <c:v>-0.417126</c:v>
                </c:pt>
                <c:pt idx="2795">
                  <c:v>-0.31109599999999998</c:v>
                </c:pt>
                <c:pt idx="2796">
                  <c:v>-0.104099</c:v>
                </c:pt>
                <c:pt idx="2797">
                  <c:v>-0.16814599999999999</c:v>
                </c:pt>
                <c:pt idx="2798">
                  <c:v>2.5253999999999999E-2</c:v>
                </c:pt>
                <c:pt idx="2799">
                  <c:v>0.42483199999999999</c:v>
                </c:pt>
                <c:pt idx="2800">
                  <c:v>0.47450900000000001</c:v>
                </c:pt>
                <c:pt idx="2801">
                  <c:v>0.483792</c:v>
                </c:pt>
                <c:pt idx="2802">
                  <c:v>0.52440200000000003</c:v>
                </c:pt>
                <c:pt idx="2803">
                  <c:v>0.377639</c:v>
                </c:pt>
                <c:pt idx="2804">
                  <c:v>0.38734200000000002</c:v>
                </c:pt>
                <c:pt idx="2805">
                  <c:v>0.47332999999999997</c:v>
                </c:pt>
                <c:pt idx="2806">
                  <c:v>0.53228600000000004</c:v>
                </c:pt>
                <c:pt idx="2807">
                  <c:v>0.64855700000000005</c:v>
                </c:pt>
                <c:pt idx="2808">
                  <c:v>0.864402</c:v>
                </c:pt>
                <c:pt idx="2809">
                  <c:v>0.93906100000000003</c:v>
                </c:pt>
                <c:pt idx="2810">
                  <c:v>0.46548699999999998</c:v>
                </c:pt>
                <c:pt idx="2811">
                  <c:v>0.42915399999999998</c:v>
                </c:pt>
                <c:pt idx="2812">
                  <c:v>0.93702399999999997</c:v>
                </c:pt>
                <c:pt idx="2813">
                  <c:v>1.2226919999999999</c:v>
                </c:pt>
                <c:pt idx="2814">
                  <c:v>1.410169</c:v>
                </c:pt>
                <c:pt idx="2815">
                  <c:v>1.4888220000000001</c:v>
                </c:pt>
                <c:pt idx="2816">
                  <c:v>1.6425970000000001</c:v>
                </c:pt>
                <c:pt idx="2817">
                  <c:v>1.7688550000000001</c:v>
                </c:pt>
                <c:pt idx="2818">
                  <c:v>1.744799</c:v>
                </c:pt>
                <c:pt idx="2819">
                  <c:v>1.703635</c:v>
                </c:pt>
                <c:pt idx="2820">
                  <c:v>1.5725070000000001</c:v>
                </c:pt>
                <c:pt idx="2821">
                  <c:v>1.7249650000000001</c:v>
                </c:pt>
                <c:pt idx="2822">
                  <c:v>2.2257400000000001</c:v>
                </c:pt>
                <c:pt idx="2823">
                  <c:v>2.2584939999999998</c:v>
                </c:pt>
                <c:pt idx="2824">
                  <c:v>1.7796650000000001</c:v>
                </c:pt>
                <c:pt idx="2825">
                  <c:v>1.680396</c:v>
                </c:pt>
                <c:pt idx="2826">
                  <c:v>2.095459</c:v>
                </c:pt>
                <c:pt idx="2827">
                  <c:v>1.987304</c:v>
                </c:pt>
                <c:pt idx="2828">
                  <c:v>1.814589</c:v>
                </c:pt>
                <c:pt idx="2829">
                  <c:v>1.7900119999999999</c:v>
                </c:pt>
                <c:pt idx="2830">
                  <c:v>1.6394249999999999</c:v>
                </c:pt>
                <c:pt idx="2831">
                  <c:v>1.548273</c:v>
                </c:pt>
                <c:pt idx="2832">
                  <c:v>1.6889609999999999</c:v>
                </c:pt>
                <c:pt idx="2833">
                  <c:v>1.819861</c:v>
                </c:pt>
                <c:pt idx="2834">
                  <c:v>1.6219269999999999</c:v>
                </c:pt>
                <c:pt idx="2835">
                  <c:v>1.9231199999999999</c:v>
                </c:pt>
                <c:pt idx="2836">
                  <c:v>2.356058</c:v>
                </c:pt>
                <c:pt idx="2837">
                  <c:v>2.348258</c:v>
                </c:pt>
                <c:pt idx="2838">
                  <c:v>2.1089630000000001</c:v>
                </c:pt>
                <c:pt idx="2839">
                  <c:v>2.1387879999999999</c:v>
                </c:pt>
                <c:pt idx="2840">
                  <c:v>2.2966579999999999</c:v>
                </c:pt>
                <c:pt idx="2841">
                  <c:v>2.5352030000000001</c:v>
                </c:pt>
                <c:pt idx="2842">
                  <c:v>2.8219129999999999</c:v>
                </c:pt>
                <c:pt idx="2843">
                  <c:v>2.949999</c:v>
                </c:pt>
                <c:pt idx="2844">
                  <c:v>3.1991589999999999</c:v>
                </c:pt>
                <c:pt idx="2845">
                  <c:v>3.2470340000000002</c:v>
                </c:pt>
                <c:pt idx="2846">
                  <c:v>3.1196990000000002</c:v>
                </c:pt>
                <c:pt idx="2847">
                  <c:v>3.4291969999999998</c:v>
                </c:pt>
                <c:pt idx="2848">
                  <c:v>3.832589</c:v>
                </c:pt>
                <c:pt idx="2849">
                  <c:v>3.6983959999999998</c:v>
                </c:pt>
                <c:pt idx="2850">
                  <c:v>3.5439780000000001</c:v>
                </c:pt>
                <c:pt idx="2851">
                  <c:v>3.6958120000000001</c:v>
                </c:pt>
                <c:pt idx="2852">
                  <c:v>3.665842</c:v>
                </c:pt>
                <c:pt idx="2853">
                  <c:v>3.6096490000000001</c:v>
                </c:pt>
                <c:pt idx="2854">
                  <c:v>3.5939410000000001</c:v>
                </c:pt>
                <c:pt idx="2855">
                  <c:v>3.5994410000000001</c:v>
                </c:pt>
                <c:pt idx="2856">
                  <c:v>3.881815</c:v>
                </c:pt>
                <c:pt idx="2857">
                  <c:v>4.1199279999999998</c:v>
                </c:pt>
                <c:pt idx="2858">
                  <c:v>4.1451320000000003</c:v>
                </c:pt>
                <c:pt idx="2859">
                  <c:v>4.1275339999999998</c:v>
                </c:pt>
                <c:pt idx="2860">
                  <c:v>4.2822180000000003</c:v>
                </c:pt>
                <c:pt idx="2861">
                  <c:v>4.2569739999999996</c:v>
                </c:pt>
                <c:pt idx="2862">
                  <c:v>4.2047460000000001</c:v>
                </c:pt>
                <c:pt idx="2863">
                  <c:v>4.3986369999999999</c:v>
                </c:pt>
                <c:pt idx="2864">
                  <c:v>4.5918770000000002</c:v>
                </c:pt>
                <c:pt idx="2865">
                  <c:v>4.4543569999999999</c:v>
                </c:pt>
                <c:pt idx="2866">
                  <c:v>4.6140400000000001</c:v>
                </c:pt>
                <c:pt idx="2867">
                  <c:v>4.7172409999999996</c:v>
                </c:pt>
                <c:pt idx="2868">
                  <c:v>4.2609519999999996</c:v>
                </c:pt>
                <c:pt idx="2869">
                  <c:v>4.1606189999999996</c:v>
                </c:pt>
                <c:pt idx="2870">
                  <c:v>4.2973929999999996</c:v>
                </c:pt>
                <c:pt idx="2871">
                  <c:v>4.3646459999999996</c:v>
                </c:pt>
                <c:pt idx="2872">
                  <c:v>4.4031029999999998</c:v>
                </c:pt>
                <c:pt idx="2873">
                  <c:v>4.225142</c:v>
                </c:pt>
                <c:pt idx="2874">
                  <c:v>4.3356890000000003</c:v>
                </c:pt>
                <c:pt idx="2875">
                  <c:v>4.3889399999999998</c:v>
                </c:pt>
                <c:pt idx="2876">
                  <c:v>4.3592250000000003</c:v>
                </c:pt>
                <c:pt idx="2877">
                  <c:v>4.4802980000000003</c:v>
                </c:pt>
                <c:pt idx="2878">
                  <c:v>4.4196220000000004</c:v>
                </c:pt>
                <c:pt idx="2879">
                  <c:v>4.4625690000000002</c:v>
                </c:pt>
                <c:pt idx="2880">
                  <c:v>4.4924569999999999</c:v>
                </c:pt>
                <c:pt idx="2881">
                  <c:v>4.5168600000000003</c:v>
                </c:pt>
                <c:pt idx="2882">
                  <c:v>4.4026050000000003</c:v>
                </c:pt>
                <c:pt idx="2883">
                  <c:v>4.4829530000000002</c:v>
                </c:pt>
                <c:pt idx="2884">
                  <c:v>4.5259799999999997</c:v>
                </c:pt>
                <c:pt idx="2885">
                  <c:v>4.4231220000000002</c:v>
                </c:pt>
                <c:pt idx="2886">
                  <c:v>4.4376769999999999</c:v>
                </c:pt>
                <c:pt idx="2887">
                  <c:v>4.5149590000000002</c:v>
                </c:pt>
                <c:pt idx="2888">
                  <c:v>4.3546699999999996</c:v>
                </c:pt>
                <c:pt idx="2889">
                  <c:v>4.1361650000000001</c:v>
                </c:pt>
                <c:pt idx="2890">
                  <c:v>4.2756959999999999</c:v>
                </c:pt>
                <c:pt idx="2891">
                  <c:v>4.2022149999999998</c:v>
                </c:pt>
                <c:pt idx="2892">
                  <c:v>4.0216010000000004</c:v>
                </c:pt>
                <c:pt idx="2893">
                  <c:v>4.1815850000000001</c:v>
                </c:pt>
                <c:pt idx="2894">
                  <c:v>4.050014</c:v>
                </c:pt>
                <c:pt idx="2895">
                  <c:v>3.7713510000000001</c:v>
                </c:pt>
                <c:pt idx="2896">
                  <c:v>3.8022649999999998</c:v>
                </c:pt>
                <c:pt idx="2897">
                  <c:v>3.7948930000000001</c:v>
                </c:pt>
                <c:pt idx="2898">
                  <c:v>3.5001679999999999</c:v>
                </c:pt>
                <c:pt idx="2899">
                  <c:v>3.4553889999999998</c:v>
                </c:pt>
                <c:pt idx="2900">
                  <c:v>3.7360319999999998</c:v>
                </c:pt>
                <c:pt idx="2901">
                  <c:v>3.7365159999999999</c:v>
                </c:pt>
                <c:pt idx="2902">
                  <c:v>3.5301979999999999</c:v>
                </c:pt>
                <c:pt idx="2903">
                  <c:v>3.4107690000000002</c:v>
                </c:pt>
                <c:pt idx="2904">
                  <c:v>3.4623870000000001</c:v>
                </c:pt>
                <c:pt idx="2905">
                  <c:v>3.3373940000000002</c:v>
                </c:pt>
                <c:pt idx="2906">
                  <c:v>3.323833</c:v>
                </c:pt>
                <c:pt idx="2907">
                  <c:v>3.297072</c:v>
                </c:pt>
                <c:pt idx="2908">
                  <c:v>3.2021769999999998</c:v>
                </c:pt>
                <c:pt idx="2909">
                  <c:v>3.2697259999999999</c:v>
                </c:pt>
                <c:pt idx="2910">
                  <c:v>3.2931400000000002</c:v>
                </c:pt>
                <c:pt idx="2911">
                  <c:v>3.2304909999999998</c:v>
                </c:pt>
                <c:pt idx="2912">
                  <c:v>2.9859610000000001</c:v>
                </c:pt>
                <c:pt idx="2913">
                  <c:v>2.9753790000000002</c:v>
                </c:pt>
                <c:pt idx="2914">
                  <c:v>2.9450449999999999</c:v>
                </c:pt>
                <c:pt idx="2915">
                  <c:v>2.7773020000000002</c:v>
                </c:pt>
                <c:pt idx="2916">
                  <c:v>2.936124</c:v>
                </c:pt>
                <c:pt idx="2917">
                  <c:v>2.7990780000000002</c:v>
                </c:pt>
                <c:pt idx="2918">
                  <c:v>2.5116480000000001</c:v>
                </c:pt>
                <c:pt idx="2919">
                  <c:v>2.465776</c:v>
                </c:pt>
                <c:pt idx="2920">
                  <c:v>2.341669</c:v>
                </c:pt>
                <c:pt idx="2921">
                  <c:v>2.2446519999999999</c:v>
                </c:pt>
                <c:pt idx="2922">
                  <c:v>2.5683050000000001</c:v>
                </c:pt>
                <c:pt idx="2923">
                  <c:v>2.5177839999999998</c:v>
                </c:pt>
                <c:pt idx="2924">
                  <c:v>2.151691</c:v>
                </c:pt>
                <c:pt idx="2925">
                  <c:v>2.137292</c:v>
                </c:pt>
                <c:pt idx="2926">
                  <c:v>1.9658</c:v>
                </c:pt>
                <c:pt idx="2927">
                  <c:v>1.8462350000000001</c:v>
                </c:pt>
                <c:pt idx="2928">
                  <c:v>1.9517329999999999</c:v>
                </c:pt>
                <c:pt idx="2929">
                  <c:v>1.845432</c:v>
                </c:pt>
                <c:pt idx="2930">
                  <c:v>1.70102</c:v>
                </c:pt>
                <c:pt idx="2931">
                  <c:v>1.663761</c:v>
                </c:pt>
                <c:pt idx="2932">
                  <c:v>1.685932</c:v>
                </c:pt>
                <c:pt idx="2933">
                  <c:v>1.8108900000000001</c:v>
                </c:pt>
                <c:pt idx="2934">
                  <c:v>1.934523</c:v>
                </c:pt>
                <c:pt idx="2935">
                  <c:v>1.7950120000000001</c:v>
                </c:pt>
                <c:pt idx="2936">
                  <c:v>1.516513</c:v>
                </c:pt>
                <c:pt idx="2937">
                  <c:v>1.48516</c:v>
                </c:pt>
                <c:pt idx="2938">
                  <c:v>1.5802719999999999</c:v>
                </c:pt>
                <c:pt idx="2939">
                  <c:v>1.54637</c:v>
                </c:pt>
                <c:pt idx="2940">
                  <c:v>1.6548229999999999</c:v>
                </c:pt>
                <c:pt idx="2941">
                  <c:v>1.703997</c:v>
                </c:pt>
                <c:pt idx="2942">
                  <c:v>1.2570790000000001</c:v>
                </c:pt>
                <c:pt idx="2943">
                  <c:v>1.207991</c:v>
                </c:pt>
                <c:pt idx="2944">
                  <c:v>1.693635</c:v>
                </c:pt>
                <c:pt idx="2945">
                  <c:v>1.8116479999999999</c:v>
                </c:pt>
                <c:pt idx="2946">
                  <c:v>1.7574559999999999</c:v>
                </c:pt>
                <c:pt idx="2947">
                  <c:v>1.604039</c:v>
                </c:pt>
                <c:pt idx="2948">
                  <c:v>1.5960719999999999</c:v>
                </c:pt>
                <c:pt idx="2949">
                  <c:v>1.6531739999999999</c:v>
                </c:pt>
                <c:pt idx="2950">
                  <c:v>1.41425</c:v>
                </c:pt>
                <c:pt idx="2951">
                  <c:v>1.414191</c:v>
                </c:pt>
                <c:pt idx="2952">
                  <c:v>1.3305709999999999</c:v>
                </c:pt>
                <c:pt idx="2953">
                  <c:v>1.3418399999999999</c:v>
                </c:pt>
                <c:pt idx="2954">
                  <c:v>1.262758</c:v>
                </c:pt>
                <c:pt idx="2955">
                  <c:v>1.210521</c:v>
                </c:pt>
                <c:pt idx="2956">
                  <c:v>1.0945720000000001</c:v>
                </c:pt>
                <c:pt idx="2957">
                  <c:v>0.95023599999999997</c:v>
                </c:pt>
                <c:pt idx="2958">
                  <c:v>1.048708</c:v>
                </c:pt>
                <c:pt idx="2959">
                  <c:v>1.0831789999999999</c:v>
                </c:pt>
                <c:pt idx="2960">
                  <c:v>1.224615</c:v>
                </c:pt>
                <c:pt idx="2961">
                  <c:v>1.2295590000000001</c:v>
                </c:pt>
                <c:pt idx="2962">
                  <c:v>0.89427800000000002</c:v>
                </c:pt>
                <c:pt idx="2963">
                  <c:v>0.97837600000000002</c:v>
                </c:pt>
                <c:pt idx="2964">
                  <c:v>1.2051240000000001</c:v>
                </c:pt>
                <c:pt idx="2965">
                  <c:v>0.98856900000000003</c:v>
                </c:pt>
                <c:pt idx="2966">
                  <c:v>0.86905399999999999</c:v>
                </c:pt>
                <c:pt idx="2967">
                  <c:v>0.99527200000000005</c:v>
                </c:pt>
                <c:pt idx="2968">
                  <c:v>1.118776</c:v>
                </c:pt>
                <c:pt idx="2969">
                  <c:v>1.255517</c:v>
                </c:pt>
                <c:pt idx="2970">
                  <c:v>1.1996929999999999</c:v>
                </c:pt>
                <c:pt idx="2971">
                  <c:v>1.1149579999999999</c:v>
                </c:pt>
                <c:pt idx="2972">
                  <c:v>1.3410059999999999</c:v>
                </c:pt>
                <c:pt idx="2973">
                  <c:v>1.3340920000000001</c:v>
                </c:pt>
                <c:pt idx="2974">
                  <c:v>1.481136</c:v>
                </c:pt>
                <c:pt idx="2975">
                  <c:v>1.572535</c:v>
                </c:pt>
                <c:pt idx="2976">
                  <c:v>1.509028</c:v>
                </c:pt>
                <c:pt idx="2977">
                  <c:v>1.4215279999999999</c:v>
                </c:pt>
                <c:pt idx="2978">
                  <c:v>1.5889880000000001</c:v>
                </c:pt>
                <c:pt idx="2979">
                  <c:v>1.6157349999999999</c:v>
                </c:pt>
                <c:pt idx="2980">
                  <c:v>1.513404</c:v>
                </c:pt>
                <c:pt idx="2981">
                  <c:v>1.462053</c:v>
                </c:pt>
                <c:pt idx="2982">
                  <c:v>1.507584</c:v>
                </c:pt>
                <c:pt idx="2983">
                  <c:v>1.732456</c:v>
                </c:pt>
                <c:pt idx="2984">
                  <c:v>1.593939</c:v>
                </c:pt>
                <c:pt idx="2985">
                  <c:v>1.7347490000000001</c:v>
                </c:pt>
                <c:pt idx="2986">
                  <c:v>2.020791</c:v>
                </c:pt>
                <c:pt idx="2987">
                  <c:v>2.402641</c:v>
                </c:pt>
                <c:pt idx="2988">
                  <c:v>2.237581</c:v>
                </c:pt>
                <c:pt idx="2989">
                  <c:v>1.9229499999999999</c:v>
                </c:pt>
                <c:pt idx="2990">
                  <c:v>2.0347789999999999</c:v>
                </c:pt>
                <c:pt idx="2991">
                  <c:v>2.033579</c:v>
                </c:pt>
                <c:pt idx="2992">
                  <c:v>1.9714750000000001</c:v>
                </c:pt>
                <c:pt idx="2993">
                  <c:v>1.806878</c:v>
                </c:pt>
                <c:pt idx="2994">
                  <c:v>1.9854019999999999</c:v>
                </c:pt>
                <c:pt idx="2995">
                  <c:v>1.9392180000000001</c:v>
                </c:pt>
                <c:pt idx="2996">
                  <c:v>1.7845850000000001</c:v>
                </c:pt>
                <c:pt idx="2997">
                  <c:v>1.9645840000000001</c:v>
                </c:pt>
                <c:pt idx="2998">
                  <c:v>1.9905040000000001</c:v>
                </c:pt>
                <c:pt idx="2999">
                  <c:v>2.077814</c:v>
                </c:pt>
                <c:pt idx="3000">
                  <c:v>2.3353100000000002</c:v>
                </c:pt>
                <c:pt idx="3001">
                  <c:v>2.2192090000000002</c:v>
                </c:pt>
                <c:pt idx="3002">
                  <c:v>2.111151</c:v>
                </c:pt>
                <c:pt idx="3003">
                  <c:v>2.3974440000000001</c:v>
                </c:pt>
                <c:pt idx="3004">
                  <c:v>2.4276010000000001</c:v>
                </c:pt>
                <c:pt idx="3005">
                  <c:v>2.6032579999999998</c:v>
                </c:pt>
                <c:pt idx="3006">
                  <c:v>2.7860849999999999</c:v>
                </c:pt>
                <c:pt idx="3007">
                  <c:v>2.7151589999999999</c:v>
                </c:pt>
                <c:pt idx="3008">
                  <c:v>2.7727439999999999</c:v>
                </c:pt>
                <c:pt idx="3009">
                  <c:v>2.8264320000000001</c:v>
                </c:pt>
                <c:pt idx="3010">
                  <c:v>2.9455100000000001</c:v>
                </c:pt>
                <c:pt idx="3011">
                  <c:v>3.0326870000000001</c:v>
                </c:pt>
                <c:pt idx="3012">
                  <c:v>3.1066560000000001</c:v>
                </c:pt>
                <c:pt idx="3013">
                  <c:v>3.1722269999999999</c:v>
                </c:pt>
                <c:pt idx="3014">
                  <c:v>3.0299900000000002</c:v>
                </c:pt>
                <c:pt idx="3015">
                  <c:v>3.10887</c:v>
                </c:pt>
                <c:pt idx="3016">
                  <c:v>3.297031</c:v>
                </c:pt>
                <c:pt idx="3017">
                  <c:v>3.1472609999999999</c:v>
                </c:pt>
                <c:pt idx="3018">
                  <c:v>3.084419</c:v>
                </c:pt>
                <c:pt idx="3019">
                  <c:v>3.0548380000000002</c:v>
                </c:pt>
                <c:pt idx="3020">
                  <c:v>3.178588</c:v>
                </c:pt>
                <c:pt idx="3021">
                  <c:v>3.5199539999999998</c:v>
                </c:pt>
                <c:pt idx="3022">
                  <c:v>3.520734</c:v>
                </c:pt>
                <c:pt idx="3023">
                  <c:v>3.551628</c:v>
                </c:pt>
                <c:pt idx="3024">
                  <c:v>3.5213559999999999</c:v>
                </c:pt>
                <c:pt idx="3025">
                  <c:v>3.3227099999999998</c:v>
                </c:pt>
                <c:pt idx="3026">
                  <c:v>3.5623610000000001</c:v>
                </c:pt>
                <c:pt idx="3027">
                  <c:v>3.8328899999999999</c:v>
                </c:pt>
                <c:pt idx="3028">
                  <c:v>3.8005770000000001</c:v>
                </c:pt>
                <c:pt idx="3029">
                  <c:v>3.6067969999999998</c:v>
                </c:pt>
                <c:pt idx="3030">
                  <c:v>3.5857209999999999</c:v>
                </c:pt>
                <c:pt idx="3031">
                  <c:v>3.575955</c:v>
                </c:pt>
                <c:pt idx="3032">
                  <c:v>3.643707</c:v>
                </c:pt>
                <c:pt idx="3033">
                  <c:v>3.4768590000000001</c:v>
                </c:pt>
                <c:pt idx="3034">
                  <c:v>3.18771</c:v>
                </c:pt>
                <c:pt idx="3035">
                  <c:v>3.4211170000000002</c:v>
                </c:pt>
                <c:pt idx="3036">
                  <c:v>3.3275420000000002</c:v>
                </c:pt>
                <c:pt idx="3037">
                  <c:v>3.0702379999999998</c:v>
                </c:pt>
                <c:pt idx="3038">
                  <c:v>3.18486</c:v>
                </c:pt>
                <c:pt idx="3039">
                  <c:v>3.2953830000000002</c:v>
                </c:pt>
                <c:pt idx="3040">
                  <c:v>3.3496359999999998</c:v>
                </c:pt>
                <c:pt idx="3041">
                  <c:v>3.3789289999999998</c:v>
                </c:pt>
                <c:pt idx="3042">
                  <c:v>3.3992399999999998</c:v>
                </c:pt>
                <c:pt idx="3043">
                  <c:v>3.414193</c:v>
                </c:pt>
                <c:pt idx="3044">
                  <c:v>3.3601369999999999</c:v>
                </c:pt>
                <c:pt idx="3045">
                  <c:v>3.4019219999999999</c:v>
                </c:pt>
                <c:pt idx="3046">
                  <c:v>3.562179</c:v>
                </c:pt>
                <c:pt idx="3047">
                  <c:v>3.793425</c:v>
                </c:pt>
                <c:pt idx="3048">
                  <c:v>3.734283</c:v>
                </c:pt>
                <c:pt idx="3049">
                  <c:v>3.5236499999999999</c:v>
                </c:pt>
                <c:pt idx="3050">
                  <c:v>3.5538240000000001</c:v>
                </c:pt>
                <c:pt idx="3051">
                  <c:v>3.3659300000000001</c:v>
                </c:pt>
                <c:pt idx="3052">
                  <c:v>3.058376</c:v>
                </c:pt>
                <c:pt idx="3053">
                  <c:v>3.0065919999999999</c:v>
                </c:pt>
                <c:pt idx="3054">
                  <c:v>3.1536080000000002</c:v>
                </c:pt>
                <c:pt idx="3055">
                  <c:v>3.2124079999999999</c:v>
                </c:pt>
                <c:pt idx="3056">
                  <c:v>3.033344</c:v>
                </c:pt>
                <c:pt idx="3057">
                  <c:v>3.131059</c:v>
                </c:pt>
                <c:pt idx="3058">
                  <c:v>3.0334490000000001</c:v>
                </c:pt>
                <c:pt idx="3059">
                  <c:v>3.0449380000000001</c:v>
                </c:pt>
                <c:pt idx="3060">
                  <c:v>3.2402030000000002</c:v>
                </c:pt>
                <c:pt idx="3061">
                  <c:v>3.0762489999999998</c:v>
                </c:pt>
                <c:pt idx="3062">
                  <c:v>2.9199860000000002</c:v>
                </c:pt>
                <c:pt idx="3063">
                  <c:v>2.8939089999999998</c:v>
                </c:pt>
                <c:pt idx="3064">
                  <c:v>3.0682119999999999</c:v>
                </c:pt>
                <c:pt idx="3065">
                  <c:v>3.2238519999999999</c:v>
                </c:pt>
                <c:pt idx="3066">
                  <c:v>3.1103230000000002</c:v>
                </c:pt>
                <c:pt idx="3067">
                  <c:v>3.0579710000000002</c:v>
                </c:pt>
                <c:pt idx="3068">
                  <c:v>3.1632120000000001</c:v>
                </c:pt>
                <c:pt idx="3069">
                  <c:v>3.086525</c:v>
                </c:pt>
                <c:pt idx="3070">
                  <c:v>2.843744</c:v>
                </c:pt>
                <c:pt idx="3071">
                  <c:v>2.5002450000000001</c:v>
                </c:pt>
                <c:pt idx="3072">
                  <c:v>2.4237540000000002</c:v>
                </c:pt>
                <c:pt idx="3073">
                  <c:v>2.4117630000000001</c:v>
                </c:pt>
                <c:pt idx="3074">
                  <c:v>2.511377</c:v>
                </c:pt>
                <c:pt idx="3075">
                  <c:v>2.6761759999999999</c:v>
                </c:pt>
                <c:pt idx="3076">
                  <c:v>2.4859779999999998</c:v>
                </c:pt>
                <c:pt idx="3077">
                  <c:v>2.3767960000000001</c:v>
                </c:pt>
                <c:pt idx="3078">
                  <c:v>2.4358339999999998</c:v>
                </c:pt>
                <c:pt idx="3079">
                  <c:v>2.3167239999999998</c:v>
                </c:pt>
                <c:pt idx="3080">
                  <c:v>2.3080660000000002</c:v>
                </c:pt>
                <c:pt idx="3081">
                  <c:v>2.3536280000000001</c:v>
                </c:pt>
                <c:pt idx="3082">
                  <c:v>2.2326139999999999</c:v>
                </c:pt>
                <c:pt idx="3083">
                  <c:v>2.1555780000000002</c:v>
                </c:pt>
                <c:pt idx="3084">
                  <c:v>2.3704960000000002</c:v>
                </c:pt>
                <c:pt idx="3085">
                  <c:v>2.271347</c:v>
                </c:pt>
                <c:pt idx="3086">
                  <c:v>2.084616</c:v>
                </c:pt>
                <c:pt idx="3087">
                  <c:v>2.3764349999999999</c:v>
                </c:pt>
                <c:pt idx="3088">
                  <c:v>2.5280999999999998</c:v>
                </c:pt>
                <c:pt idx="3089">
                  <c:v>2.3492220000000001</c:v>
                </c:pt>
                <c:pt idx="3090">
                  <c:v>2.1940469999999999</c:v>
                </c:pt>
                <c:pt idx="3091">
                  <c:v>2.1026820000000002</c:v>
                </c:pt>
                <c:pt idx="3092">
                  <c:v>2.0417749999999999</c:v>
                </c:pt>
                <c:pt idx="3093">
                  <c:v>1.9232910000000001</c:v>
                </c:pt>
                <c:pt idx="3094">
                  <c:v>1.8427659999999999</c:v>
                </c:pt>
                <c:pt idx="3095">
                  <c:v>1.774802</c:v>
                </c:pt>
                <c:pt idx="3096">
                  <c:v>1.717795</c:v>
                </c:pt>
                <c:pt idx="3097">
                  <c:v>1.593871</c:v>
                </c:pt>
                <c:pt idx="3098">
                  <c:v>1.6420729999999999</c:v>
                </c:pt>
                <c:pt idx="3099">
                  <c:v>1.777666</c:v>
                </c:pt>
                <c:pt idx="3100">
                  <c:v>1.7750649999999999</c:v>
                </c:pt>
                <c:pt idx="3101">
                  <c:v>1.8348979999999999</c:v>
                </c:pt>
                <c:pt idx="3102">
                  <c:v>1.9354549999999999</c:v>
                </c:pt>
                <c:pt idx="3103">
                  <c:v>1.7871509999999999</c:v>
                </c:pt>
                <c:pt idx="3104">
                  <c:v>1.6449590000000001</c:v>
                </c:pt>
                <c:pt idx="3105">
                  <c:v>1.8274440000000001</c:v>
                </c:pt>
                <c:pt idx="3106">
                  <c:v>1.7168909999999999</c:v>
                </c:pt>
                <c:pt idx="3107">
                  <c:v>1.7926040000000001</c:v>
                </c:pt>
                <c:pt idx="3108">
                  <c:v>1.9635849999999999</c:v>
                </c:pt>
                <c:pt idx="3109">
                  <c:v>1.6548989999999999</c:v>
                </c:pt>
                <c:pt idx="3110">
                  <c:v>1.490594</c:v>
                </c:pt>
                <c:pt idx="3111">
                  <c:v>1.4497739999999999</c:v>
                </c:pt>
                <c:pt idx="3112">
                  <c:v>1.341493</c:v>
                </c:pt>
                <c:pt idx="3113">
                  <c:v>1.4640569999999999</c:v>
                </c:pt>
                <c:pt idx="3114">
                  <c:v>1.444736</c:v>
                </c:pt>
                <c:pt idx="3115">
                  <c:v>1.3577680000000001</c:v>
                </c:pt>
                <c:pt idx="3116">
                  <c:v>1.3661859999999999</c:v>
                </c:pt>
                <c:pt idx="3117">
                  <c:v>1.2903530000000001</c:v>
                </c:pt>
                <c:pt idx="3118">
                  <c:v>1.3059700000000001</c:v>
                </c:pt>
                <c:pt idx="3119">
                  <c:v>1.2326520000000001</c:v>
                </c:pt>
                <c:pt idx="3120">
                  <c:v>1.183629</c:v>
                </c:pt>
                <c:pt idx="3121">
                  <c:v>1.2090179999999999</c:v>
                </c:pt>
                <c:pt idx="3122">
                  <c:v>1.280654</c:v>
                </c:pt>
                <c:pt idx="3123">
                  <c:v>1.3107249999999999</c:v>
                </c:pt>
                <c:pt idx="3124">
                  <c:v>1.1914579999999999</c:v>
                </c:pt>
                <c:pt idx="3125">
                  <c:v>1.325817</c:v>
                </c:pt>
                <c:pt idx="3126">
                  <c:v>1.3255440000000001</c:v>
                </c:pt>
                <c:pt idx="3127">
                  <c:v>1.3296399999999999</c:v>
                </c:pt>
                <c:pt idx="3128">
                  <c:v>1.398949</c:v>
                </c:pt>
                <c:pt idx="3129">
                  <c:v>1.3053079999999999</c:v>
                </c:pt>
                <c:pt idx="3130">
                  <c:v>1.1880949999999999</c:v>
                </c:pt>
                <c:pt idx="3131">
                  <c:v>1.1874180000000001</c:v>
                </c:pt>
                <c:pt idx="3132">
                  <c:v>1.0399879999999999</c:v>
                </c:pt>
                <c:pt idx="3133">
                  <c:v>1.018907</c:v>
                </c:pt>
                <c:pt idx="3134">
                  <c:v>1.260025</c:v>
                </c:pt>
                <c:pt idx="3135">
                  <c:v>1.2499579999999999</c:v>
                </c:pt>
                <c:pt idx="3136">
                  <c:v>1.1807030000000001</c:v>
                </c:pt>
                <c:pt idx="3137">
                  <c:v>1.074881</c:v>
                </c:pt>
                <c:pt idx="3138">
                  <c:v>1.0119819999999999</c:v>
                </c:pt>
                <c:pt idx="3139">
                  <c:v>1.102309</c:v>
                </c:pt>
                <c:pt idx="3140">
                  <c:v>1.0742640000000001</c:v>
                </c:pt>
                <c:pt idx="3141">
                  <c:v>1.2607159999999999</c:v>
                </c:pt>
                <c:pt idx="3142">
                  <c:v>1.2231609999999999</c:v>
                </c:pt>
                <c:pt idx="3143">
                  <c:v>0.94220099999999996</c:v>
                </c:pt>
                <c:pt idx="3144">
                  <c:v>1.1220190000000001</c:v>
                </c:pt>
                <c:pt idx="3145">
                  <c:v>1.0729900000000001</c:v>
                </c:pt>
                <c:pt idx="3146">
                  <c:v>0.97898700000000005</c:v>
                </c:pt>
                <c:pt idx="3147">
                  <c:v>1.054729</c:v>
                </c:pt>
                <c:pt idx="3148">
                  <c:v>1.0901019999999999</c:v>
                </c:pt>
                <c:pt idx="3149">
                  <c:v>1.1750849999999999</c:v>
                </c:pt>
                <c:pt idx="3150">
                  <c:v>1.1557489999999999</c:v>
                </c:pt>
                <c:pt idx="3151">
                  <c:v>1.218496</c:v>
                </c:pt>
                <c:pt idx="3152">
                  <c:v>1.1192690000000001</c:v>
                </c:pt>
                <c:pt idx="3153">
                  <c:v>1.0710150000000001</c:v>
                </c:pt>
                <c:pt idx="3154">
                  <c:v>0.96995399999999998</c:v>
                </c:pt>
                <c:pt idx="3155">
                  <c:v>0.97928800000000005</c:v>
                </c:pt>
                <c:pt idx="3156">
                  <c:v>1.1741109999999999</c:v>
                </c:pt>
                <c:pt idx="3157">
                  <c:v>1.0767949999999999</c:v>
                </c:pt>
                <c:pt idx="3158">
                  <c:v>1.0946039999999999</c:v>
                </c:pt>
                <c:pt idx="3159">
                  <c:v>1.0342800000000001</c:v>
                </c:pt>
                <c:pt idx="3160">
                  <c:v>0.93257999999999996</c:v>
                </c:pt>
                <c:pt idx="3161">
                  <c:v>1.1415029999999999</c:v>
                </c:pt>
                <c:pt idx="3162">
                  <c:v>1.181548</c:v>
                </c:pt>
                <c:pt idx="3163">
                  <c:v>1.144687</c:v>
                </c:pt>
                <c:pt idx="3164">
                  <c:v>1.2635190000000001</c:v>
                </c:pt>
                <c:pt idx="3165">
                  <c:v>1.1309009999999999</c:v>
                </c:pt>
                <c:pt idx="3166">
                  <c:v>1.201541</c:v>
                </c:pt>
                <c:pt idx="3167">
                  <c:v>1.4424189999999999</c:v>
                </c:pt>
                <c:pt idx="3168">
                  <c:v>1.4492350000000001</c:v>
                </c:pt>
                <c:pt idx="3169">
                  <c:v>1.4714609999999999</c:v>
                </c:pt>
                <c:pt idx="3170">
                  <c:v>1.702142</c:v>
                </c:pt>
                <c:pt idx="3171">
                  <c:v>1.709813</c:v>
                </c:pt>
                <c:pt idx="3172">
                  <c:v>1.6053740000000001</c:v>
                </c:pt>
                <c:pt idx="3173">
                  <c:v>1.63127</c:v>
                </c:pt>
                <c:pt idx="3174">
                  <c:v>1.7242150000000001</c:v>
                </c:pt>
                <c:pt idx="3175">
                  <c:v>1.648574</c:v>
                </c:pt>
                <c:pt idx="3176">
                  <c:v>1.6889639999999999</c:v>
                </c:pt>
                <c:pt idx="3177">
                  <c:v>2.054227</c:v>
                </c:pt>
                <c:pt idx="3178">
                  <c:v>1.998912</c:v>
                </c:pt>
                <c:pt idx="3179">
                  <c:v>1.5210060000000001</c:v>
                </c:pt>
                <c:pt idx="3180">
                  <c:v>1.6072360000000001</c:v>
                </c:pt>
                <c:pt idx="3181">
                  <c:v>1.771895</c:v>
                </c:pt>
                <c:pt idx="3182">
                  <c:v>1.6607499999999999</c:v>
                </c:pt>
                <c:pt idx="3183">
                  <c:v>1.3946240000000001</c:v>
                </c:pt>
                <c:pt idx="3184">
                  <c:v>1.311104</c:v>
                </c:pt>
                <c:pt idx="3185">
                  <c:v>1.5789599999999999</c:v>
                </c:pt>
                <c:pt idx="3186">
                  <c:v>1.78285</c:v>
                </c:pt>
                <c:pt idx="3187">
                  <c:v>2.0346289999999998</c:v>
                </c:pt>
                <c:pt idx="3188">
                  <c:v>2.193514</c:v>
                </c:pt>
                <c:pt idx="3189">
                  <c:v>1.9693240000000001</c:v>
                </c:pt>
                <c:pt idx="3190">
                  <c:v>1.875224</c:v>
                </c:pt>
                <c:pt idx="3191">
                  <c:v>2.0306989999999998</c:v>
                </c:pt>
                <c:pt idx="3192">
                  <c:v>2.1250719999999998</c:v>
                </c:pt>
                <c:pt idx="3193">
                  <c:v>2.120295</c:v>
                </c:pt>
                <c:pt idx="3194">
                  <c:v>2.2038760000000002</c:v>
                </c:pt>
                <c:pt idx="3195">
                  <c:v>2.0550739999999998</c:v>
                </c:pt>
                <c:pt idx="3196">
                  <c:v>1.9219729999999999</c:v>
                </c:pt>
                <c:pt idx="3197">
                  <c:v>2.3187790000000001</c:v>
                </c:pt>
                <c:pt idx="3198">
                  <c:v>2.4048479999999999</c:v>
                </c:pt>
                <c:pt idx="3199">
                  <c:v>2.3392529999999998</c:v>
                </c:pt>
                <c:pt idx="3200">
                  <c:v>2.3904030000000001</c:v>
                </c:pt>
                <c:pt idx="3201">
                  <c:v>2.295296</c:v>
                </c:pt>
                <c:pt idx="3202">
                  <c:v>2.1878799999999998</c:v>
                </c:pt>
                <c:pt idx="3203">
                  <c:v>2.3333539999999999</c:v>
                </c:pt>
                <c:pt idx="3204">
                  <c:v>2.4134760000000002</c:v>
                </c:pt>
                <c:pt idx="3205">
                  <c:v>2.6035189999999999</c:v>
                </c:pt>
                <c:pt idx="3206">
                  <c:v>2.3802289999999999</c:v>
                </c:pt>
                <c:pt idx="3207">
                  <c:v>2.2780049999999998</c:v>
                </c:pt>
                <c:pt idx="3208">
                  <c:v>2.2146330000000001</c:v>
                </c:pt>
                <c:pt idx="3209">
                  <c:v>2.179999</c:v>
                </c:pt>
                <c:pt idx="3210">
                  <c:v>2.7593640000000001</c:v>
                </c:pt>
                <c:pt idx="3211">
                  <c:v>2.8120069999999999</c:v>
                </c:pt>
                <c:pt idx="3212">
                  <c:v>2.6033650000000002</c:v>
                </c:pt>
                <c:pt idx="3213">
                  <c:v>2.7135150000000001</c:v>
                </c:pt>
                <c:pt idx="3214">
                  <c:v>2.8520729999999999</c:v>
                </c:pt>
                <c:pt idx="3215">
                  <c:v>2.8101759999999998</c:v>
                </c:pt>
                <c:pt idx="3216">
                  <c:v>2.738229</c:v>
                </c:pt>
                <c:pt idx="3217">
                  <c:v>2.8461090000000002</c:v>
                </c:pt>
                <c:pt idx="3218">
                  <c:v>2.844573</c:v>
                </c:pt>
                <c:pt idx="3219">
                  <c:v>2.7895669999999999</c:v>
                </c:pt>
                <c:pt idx="3220">
                  <c:v>2.765428</c:v>
                </c:pt>
                <c:pt idx="3221">
                  <c:v>2.6208399999999998</c:v>
                </c:pt>
                <c:pt idx="3222">
                  <c:v>2.675551</c:v>
                </c:pt>
                <c:pt idx="3223">
                  <c:v>2.6980309999999998</c:v>
                </c:pt>
                <c:pt idx="3224">
                  <c:v>2.4375429999999998</c:v>
                </c:pt>
                <c:pt idx="3225">
                  <c:v>2.4929199999999998</c:v>
                </c:pt>
                <c:pt idx="3226">
                  <c:v>2.7087949999999998</c:v>
                </c:pt>
                <c:pt idx="3227">
                  <c:v>2.6890580000000002</c:v>
                </c:pt>
                <c:pt idx="3228">
                  <c:v>3.0243259999999998</c:v>
                </c:pt>
                <c:pt idx="3229">
                  <c:v>2.8763670000000001</c:v>
                </c:pt>
                <c:pt idx="3230">
                  <c:v>2.8228909999999998</c:v>
                </c:pt>
                <c:pt idx="3231">
                  <c:v>2.9299729999999999</c:v>
                </c:pt>
                <c:pt idx="3232">
                  <c:v>3.0028579999999998</c:v>
                </c:pt>
                <c:pt idx="3233">
                  <c:v>3.2532429999999999</c:v>
                </c:pt>
                <c:pt idx="3234">
                  <c:v>3.0057290000000001</c:v>
                </c:pt>
                <c:pt idx="3235">
                  <c:v>3.094185</c:v>
                </c:pt>
                <c:pt idx="3236">
                  <c:v>3.1473640000000001</c:v>
                </c:pt>
                <c:pt idx="3237">
                  <c:v>2.9867620000000001</c:v>
                </c:pt>
                <c:pt idx="3238">
                  <c:v>2.7001460000000002</c:v>
                </c:pt>
                <c:pt idx="3239">
                  <c:v>2.8098860000000001</c:v>
                </c:pt>
                <c:pt idx="3240">
                  <c:v>3.0528059999999999</c:v>
                </c:pt>
                <c:pt idx="3241">
                  <c:v>2.8485649999999998</c:v>
                </c:pt>
                <c:pt idx="3242">
                  <c:v>2.8761580000000002</c:v>
                </c:pt>
                <c:pt idx="3243">
                  <c:v>2.885116</c:v>
                </c:pt>
                <c:pt idx="3244">
                  <c:v>2.6850149999999999</c:v>
                </c:pt>
                <c:pt idx="3245">
                  <c:v>2.8417729999999999</c:v>
                </c:pt>
                <c:pt idx="3246">
                  <c:v>2.8466320000000001</c:v>
                </c:pt>
                <c:pt idx="3247">
                  <c:v>2.717241</c:v>
                </c:pt>
                <c:pt idx="3248">
                  <c:v>2.7754240000000001</c:v>
                </c:pt>
                <c:pt idx="3249">
                  <c:v>2.8025060000000002</c:v>
                </c:pt>
                <c:pt idx="3250">
                  <c:v>3.018224</c:v>
                </c:pt>
                <c:pt idx="3251">
                  <c:v>3.073277</c:v>
                </c:pt>
                <c:pt idx="3252">
                  <c:v>2.9153500000000001</c:v>
                </c:pt>
                <c:pt idx="3253">
                  <c:v>2.9753820000000002</c:v>
                </c:pt>
                <c:pt idx="3254">
                  <c:v>3.009007</c:v>
                </c:pt>
                <c:pt idx="3255">
                  <c:v>2.899518</c:v>
                </c:pt>
                <c:pt idx="3256">
                  <c:v>2.9098570000000001</c:v>
                </c:pt>
                <c:pt idx="3257">
                  <c:v>2.9140329999999999</c:v>
                </c:pt>
                <c:pt idx="3258">
                  <c:v>2.847601</c:v>
                </c:pt>
                <c:pt idx="3259">
                  <c:v>2.6735899999999999</c:v>
                </c:pt>
                <c:pt idx="3260">
                  <c:v>2.433516</c:v>
                </c:pt>
                <c:pt idx="3261">
                  <c:v>2.4862700000000002</c:v>
                </c:pt>
                <c:pt idx="3262">
                  <c:v>2.555574</c:v>
                </c:pt>
                <c:pt idx="3263">
                  <c:v>2.6487970000000001</c:v>
                </c:pt>
                <c:pt idx="3264">
                  <c:v>2.7580019999999998</c:v>
                </c:pt>
                <c:pt idx="3265">
                  <c:v>2.4809589999999999</c:v>
                </c:pt>
                <c:pt idx="3266">
                  <c:v>2.4645790000000001</c:v>
                </c:pt>
                <c:pt idx="3267">
                  <c:v>2.5754009999999998</c:v>
                </c:pt>
                <c:pt idx="3268">
                  <c:v>2.4935</c:v>
                </c:pt>
                <c:pt idx="3269">
                  <c:v>2.7851110000000001</c:v>
                </c:pt>
                <c:pt idx="3270">
                  <c:v>3.010831</c:v>
                </c:pt>
                <c:pt idx="3271">
                  <c:v>2.748272</c:v>
                </c:pt>
                <c:pt idx="3272">
                  <c:v>2.622789</c:v>
                </c:pt>
                <c:pt idx="3273">
                  <c:v>2.6200679999999998</c:v>
                </c:pt>
                <c:pt idx="3274">
                  <c:v>2.75041</c:v>
                </c:pt>
                <c:pt idx="3275">
                  <c:v>2.7507169999999999</c:v>
                </c:pt>
                <c:pt idx="3276">
                  <c:v>2.8270740000000001</c:v>
                </c:pt>
                <c:pt idx="3277">
                  <c:v>2.8709030000000002</c:v>
                </c:pt>
                <c:pt idx="3278">
                  <c:v>2.567345</c:v>
                </c:pt>
                <c:pt idx="3279">
                  <c:v>2.5375969999999999</c:v>
                </c:pt>
                <c:pt idx="3280">
                  <c:v>2.3708930000000001</c:v>
                </c:pt>
                <c:pt idx="3281">
                  <c:v>2.1987990000000002</c:v>
                </c:pt>
                <c:pt idx="3282">
                  <c:v>2.2142909999999998</c:v>
                </c:pt>
                <c:pt idx="3283">
                  <c:v>2.2663389999999999</c:v>
                </c:pt>
                <c:pt idx="3284">
                  <c:v>2.3432780000000002</c:v>
                </c:pt>
                <c:pt idx="3285">
                  <c:v>2.2397840000000002</c:v>
                </c:pt>
                <c:pt idx="3286">
                  <c:v>2.2439809999999998</c:v>
                </c:pt>
                <c:pt idx="3287">
                  <c:v>2.4387859999999999</c:v>
                </c:pt>
                <c:pt idx="3288">
                  <c:v>2.405961</c:v>
                </c:pt>
                <c:pt idx="3289">
                  <c:v>2.4633050000000001</c:v>
                </c:pt>
                <c:pt idx="3290">
                  <c:v>2.6319189999999999</c:v>
                </c:pt>
                <c:pt idx="3291">
                  <c:v>2.4637289999999998</c:v>
                </c:pt>
                <c:pt idx="3292">
                  <c:v>2.3150580000000001</c:v>
                </c:pt>
                <c:pt idx="3293">
                  <c:v>2.5707</c:v>
                </c:pt>
                <c:pt idx="3294">
                  <c:v>2.570503</c:v>
                </c:pt>
                <c:pt idx="3295">
                  <c:v>2.3802590000000001</c:v>
                </c:pt>
                <c:pt idx="3296">
                  <c:v>2.4119000000000002</c:v>
                </c:pt>
                <c:pt idx="3297">
                  <c:v>2.2206700000000001</c:v>
                </c:pt>
                <c:pt idx="3298">
                  <c:v>2.109321</c:v>
                </c:pt>
                <c:pt idx="3299">
                  <c:v>2.1657769999999998</c:v>
                </c:pt>
                <c:pt idx="3300">
                  <c:v>2.4529299999999998</c:v>
                </c:pt>
                <c:pt idx="3301">
                  <c:v>2.4681220000000001</c:v>
                </c:pt>
                <c:pt idx="3302">
                  <c:v>2.0138199999999999</c:v>
                </c:pt>
                <c:pt idx="3303">
                  <c:v>1.8970860000000001</c:v>
                </c:pt>
                <c:pt idx="3304">
                  <c:v>1.8737600000000001</c:v>
                </c:pt>
                <c:pt idx="3305">
                  <c:v>1.7010639999999999</c:v>
                </c:pt>
                <c:pt idx="3306">
                  <c:v>1.7848740000000001</c:v>
                </c:pt>
                <c:pt idx="3307">
                  <c:v>2.0077240000000001</c:v>
                </c:pt>
                <c:pt idx="3308">
                  <c:v>2.1195140000000001</c:v>
                </c:pt>
                <c:pt idx="3309">
                  <c:v>2.1162679999999998</c:v>
                </c:pt>
                <c:pt idx="3310">
                  <c:v>2.0542699999999998</c:v>
                </c:pt>
                <c:pt idx="3311">
                  <c:v>2.0239919999999998</c:v>
                </c:pt>
                <c:pt idx="3312">
                  <c:v>2.1433140000000002</c:v>
                </c:pt>
                <c:pt idx="3313">
                  <c:v>2.1407959999999999</c:v>
                </c:pt>
                <c:pt idx="3314">
                  <c:v>2.0115829999999999</c:v>
                </c:pt>
                <c:pt idx="3315">
                  <c:v>2.0772059999999999</c:v>
                </c:pt>
                <c:pt idx="3316">
                  <c:v>2.1098840000000001</c:v>
                </c:pt>
                <c:pt idx="3317">
                  <c:v>2.0619450000000001</c:v>
                </c:pt>
                <c:pt idx="3318">
                  <c:v>2.1048680000000002</c:v>
                </c:pt>
                <c:pt idx="3319">
                  <c:v>2.1277159999999999</c:v>
                </c:pt>
                <c:pt idx="3320">
                  <c:v>2.0071340000000002</c:v>
                </c:pt>
                <c:pt idx="3321">
                  <c:v>1.9411449999999999</c:v>
                </c:pt>
                <c:pt idx="3322">
                  <c:v>1.6924269999999999</c:v>
                </c:pt>
                <c:pt idx="3323">
                  <c:v>1.5437909999999999</c:v>
                </c:pt>
                <c:pt idx="3324">
                  <c:v>1.8415269999999999</c:v>
                </c:pt>
                <c:pt idx="3325">
                  <c:v>1.8483430000000001</c:v>
                </c:pt>
                <c:pt idx="3326">
                  <c:v>1.852465</c:v>
                </c:pt>
                <c:pt idx="3327">
                  <c:v>1.7813000000000001</c:v>
                </c:pt>
                <c:pt idx="3328">
                  <c:v>1.674658</c:v>
                </c:pt>
                <c:pt idx="3329">
                  <c:v>1.8086409999999999</c:v>
                </c:pt>
                <c:pt idx="3330">
                  <c:v>1.8073410000000001</c:v>
                </c:pt>
                <c:pt idx="3331">
                  <c:v>2.0103460000000002</c:v>
                </c:pt>
                <c:pt idx="3332">
                  <c:v>1.9879450000000001</c:v>
                </c:pt>
                <c:pt idx="3333">
                  <c:v>1.718396</c:v>
                </c:pt>
                <c:pt idx="3334">
                  <c:v>1.774581</c:v>
                </c:pt>
                <c:pt idx="3335">
                  <c:v>1.7949299999999999</c:v>
                </c:pt>
                <c:pt idx="3336">
                  <c:v>1.8034060000000001</c:v>
                </c:pt>
                <c:pt idx="3337">
                  <c:v>1.8721019999999999</c:v>
                </c:pt>
                <c:pt idx="3338">
                  <c:v>1.842665</c:v>
                </c:pt>
                <c:pt idx="3339">
                  <c:v>1.8966529999999999</c:v>
                </c:pt>
                <c:pt idx="3340">
                  <c:v>1.7228270000000001</c:v>
                </c:pt>
                <c:pt idx="3341">
                  <c:v>1.5611790000000001</c:v>
                </c:pt>
                <c:pt idx="3342">
                  <c:v>1.7300420000000001</c:v>
                </c:pt>
                <c:pt idx="3343">
                  <c:v>1.6737649999999999</c:v>
                </c:pt>
                <c:pt idx="3344">
                  <c:v>1.64096</c:v>
                </c:pt>
                <c:pt idx="3345">
                  <c:v>1.681929</c:v>
                </c:pt>
                <c:pt idx="3346">
                  <c:v>1.4959480000000001</c:v>
                </c:pt>
                <c:pt idx="3347">
                  <c:v>1.659173</c:v>
                </c:pt>
                <c:pt idx="3348">
                  <c:v>1.9397390000000001</c:v>
                </c:pt>
                <c:pt idx="3349">
                  <c:v>1.8294840000000001</c:v>
                </c:pt>
                <c:pt idx="3350">
                  <c:v>1.783957</c:v>
                </c:pt>
                <c:pt idx="3351">
                  <c:v>1.8985339999999999</c:v>
                </c:pt>
                <c:pt idx="3352">
                  <c:v>1.8984570000000001</c:v>
                </c:pt>
                <c:pt idx="3353">
                  <c:v>1.9760040000000001</c:v>
                </c:pt>
                <c:pt idx="3354">
                  <c:v>2.0258820000000002</c:v>
                </c:pt>
                <c:pt idx="3355">
                  <c:v>1.930107</c:v>
                </c:pt>
                <c:pt idx="3356">
                  <c:v>1.954113</c:v>
                </c:pt>
                <c:pt idx="3357">
                  <c:v>1.901807</c:v>
                </c:pt>
                <c:pt idx="3358">
                  <c:v>1.8087759999999999</c:v>
                </c:pt>
                <c:pt idx="3359">
                  <c:v>1.9583870000000001</c:v>
                </c:pt>
                <c:pt idx="3360">
                  <c:v>2.1732390000000001</c:v>
                </c:pt>
                <c:pt idx="3361">
                  <c:v>2.2333690000000002</c:v>
                </c:pt>
                <c:pt idx="3362">
                  <c:v>2.081137</c:v>
                </c:pt>
                <c:pt idx="3363">
                  <c:v>2.0801310000000002</c:v>
                </c:pt>
                <c:pt idx="3364">
                  <c:v>2.285641</c:v>
                </c:pt>
                <c:pt idx="3365">
                  <c:v>2.339175</c:v>
                </c:pt>
                <c:pt idx="3366">
                  <c:v>2.2497859999999998</c:v>
                </c:pt>
                <c:pt idx="3367">
                  <c:v>2.2826209999999998</c:v>
                </c:pt>
                <c:pt idx="3368">
                  <c:v>2.2384840000000001</c:v>
                </c:pt>
                <c:pt idx="3369">
                  <c:v>2.1546789999999998</c:v>
                </c:pt>
                <c:pt idx="3370">
                  <c:v>2.1078130000000002</c:v>
                </c:pt>
                <c:pt idx="3371">
                  <c:v>2.079666</c:v>
                </c:pt>
                <c:pt idx="3372">
                  <c:v>2.1248450000000001</c:v>
                </c:pt>
                <c:pt idx="3373">
                  <c:v>2.077728</c:v>
                </c:pt>
                <c:pt idx="3374">
                  <c:v>2.1850019999999999</c:v>
                </c:pt>
                <c:pt idx="3375">
                  <c:v>2.2408260000000002</c:v>
                </c:pt>
                <c:pt idx="3376">
                  <c:v>2.345939</c:v>
                </c:pt>
                <c:pt idx="3377">
                  <c:v>2.4782220000000001</c:v>
                </c:pt>
                <c:pt idx="3378">
                  <c:v>2.362933</c:v>
                </c:pt>
                <c:pt idx="3379">
                  <c:v>2.314403</c:v>
                </c:pt>
                <c:pt idx="3380">
                  <c:v>2.4284140000000001</c:v>
                </c:pt>
                <c:pt idx="3381">
                  <c:v>2.4955449999999999</c:v>
                </c:pt>
                <c:pt idx="3382">
                  <c:v>2.4075899999999999</c:v>
                </c:pt>
                <c:pt idx="3383">
                  <c:v>2.368862</c:v>
                </c:pt>
                <c:pt idx="3384">
                  <c:v>2.4854970000000001</c:v>
                </c:pt>
                <c:pt idx="3385">
                  <c:v>2.4160210000000002</c:v>
                </c:pt>
                <c:pt idx="3386">
                  <c:v>2.3177859999999999</c:v>
                </c:pt>
                <c:pt idx="3387">
                  <c:v>2.533846</c:v>
                </c:pt>
                <c:pt idx="3388">
                  <c:v>2.379505</c:v>
                </c:pt>
                <c:pt idx="3389">
                  <c:v>2.2368939999999999</c:v>
                </c:pt>
                <c:pt idx="3390">
                  <c:v>2.421322</c:v>
                </c:pt>
                <c:pt idx="3391">
                  <c:v>2.3818980000000001</c:v>
                </c:pt>
                <c:pt idx="3392">
                  <c:v>2.3632230000000001</c:v>
                </c:pt>
                <c:pt idx="3393">
                  <c:v>2.2836280000000002</c:v>
                </c:pt>
                <c:pt idx="3394">
                  <c:v>2.374644</c:v>
                </c:pt>
                <c:pt idx="3395">
                  <c:v>2.8271139999999999</c:v>
                </c:pt>
                <c:pt idx="3396">
                  <c:v>2.7468159999999999</c:v>
                </c:pt>
                <c:pt idx="3397">
                  <c:v>2.4625710000000001</c:v>
                </c:pt>
                <c:pt idx="3398">
                  <c:v>2.5187590000000002</c:v>
                </c:pt>
                <c:pt idx="3399">
                  <c:v>2.6843249999999999</c:v>
                </c:pt>
                <c:pt idx="3400">
                  <c:v>2.9155389999999999</c:v>
                </c:pt>
                <c:pt idx="3401">
                  <c:v>2.7874110000000001</c:v>
                </c:pt>
                <c:pt idx="3402">
                  <c:v>2.6037110000000001</c:v>
                </c:pt>
                <c:pt idx="3403">
                  <c:v>2.6430470000000001</c:v>
                </c:pt>
                <c:pt idx="3404">
                  <c:v>2.7310150000000002</c:v>
                </c:pt>
                <c:pt idx="3405">
                  <c:v>2.5085039999999998</c:v>
                </c:pt>
                <c:pt idx="3406">
                  <c:v>2.5262159999999998</c:v>
                </c:pt>
                <c:pt idx="3407">
                  <c:v>2.794117</c:v>
                </c:pt>
                <c:pt idx="3408">
                  <c:v>2.535949</c:v>
                </c:pt>
                <c:pt idx="3409">
                  <c:v>2.1967159999999999</c:v>
                </c:pt>
                <c:pt idx="3410">
                  <c:v>1.9943630000000001</c:v>
                </c:pt>
                <c:pt idx="3411">
                  <c:v>1.9876149999999999</c:v>
                </c:pt>
                <c:pt idx="3412">
                  <c:v>2.2212190000000001</c:v>
                </c:pt>
                <c:pt idx="3413">
                  <c:v>2.3272569999999999</c:v>
                </c:pt>
                <c:pt idx="3414">
                  <c:v>2.4511599999999998</c:v>
                </c:pt>
                <c:pt idx="3415">
                  <c:v>2.4529869999999998</c:v>
                </c:pt>
                <c:pt idx="3416">
                  <c:v>2.465776</c:v>
                </c:pt>
                <c:pt idx="3417">
                  <c:v>2.5449090000000001</c:v>
                </c:pt>
                <c:pt idx="3418">
                  <c:v>2.2584740000000001</c:v>
                </c:pt>
                <c:pt idx="3419">
                  <c:v>2.172936</c:v>
                </c:pt>
                <c:pt idx="3420">
                  <c:v>2.3157320000000001</c:v>
                </c:pt>
                <c:pt idx="3421">
                  <c:v>2.3849320000000001</c:v>
                </c:pt>
                <c:pt idx="3422">
                  <c:v>2.2869079999999999</c:v>
                </c:pt>
                <c:pt idx="3423">
                  <c:v>2.3713220000000002</c:v>
                </c:pt>
                <c:pt idx="3424">
                  <c:v>2.8220290000000001</c:v>
                </c:pt>
                <c:pt idx="3425">
                  <c:v>2.6056059999999999</c:v>
                </c:pt>
                <c:pt idx="3426">
                  <c:v>2.108981</c:v>
                </c:pt>
                <c:pt idx="3427">
                  <c:v>1.7621910000000001</c:v>
                </c:pt>
                <c:pt idx="3428">
                  <c:v>1.6791</c:v>
                </c:pt>
                <c:pt idx="3429">
                  <c:v>2.0638359999999998</c:v>
                </c:pt>
                <c:pt idx="3430">
                  <c:v>2.1801349999999999</c:v>
                </c:pt>
                <c:pt idx="3431">
                  <c:v>2.17536</c:v>
                </c:pt>
                <c:pt idx="3432">
                  <c:v>2.1065640000000001</c:v>
                </c:pt>
                <c:pt idx="3433">
                  <c:v>2.070516</c:v>
                </c:pt>
                <c:pt idx="3434">
                  <c:v>1.909057</c:v>
                </c:pt>
                <c:pt idx="3435">
                  <c:v>1.814743</c:v>
                </c:pt>
                <c:pt idx="3436">
                  <c:v>2.0842700000000001</c:v>
                </c:pt>
                <c:pt idx="3437">
                  <c:v>2.222216</c:v>
                </c:pt>
                <c:pt idx="3438">
                  <c:v>2.1696710000000001</c:v>
                </c:pt>
                <c:pt idx="3439">
                  <c:v>2.1513819999999999</c:v>
                </c:pt>
                <c:pt idx="3440">
                  <c:v>2.2138010000000001</c:v>
                </c:pt>
                <c:pt idx="3441">
                  <c:v>2.0486330000000001</c:v>
                </c:pt>
                <c:pt idx="3442">
                  <c:v>2.0304310000000001</c:v>
                </c:pt>
                <c:pt idx="3443">
                  <c:v>1.9433659999999999</c:v>
                </c:pt>
                <c:pt idx="3444">
                  <c:v>1.8237920000000001</c:v>
                </c:pt>
                <c:pt idx="3445">
                  <c:v>1.94638</c:v>
                </c:pt>
                <c:pt idx="3446">
                  <c:v>2.002764</c:v>
                </c:pt>
                <c:pt idx="3447">
                  <c:v>1.757325</c:v>
                </c:pt>
                <c:pt idx="3448">
                  <c:v>1.4833460000000001</c:v>
                </c:pt>
                <c:pt idx="3449">
                  <c:v>1.3755599999999999</c:v>
                </c:pt>
                <c:pt idx="3450">
                  <c:v>1.2856259999999999</c:v>
                </c:pt>
                <c:pt idx="3451">
                  <c:v>1.474567</c:v>
                </c:pt>
                <c:pt idx="3452">
                  <c:v>1.620374</c:v>
                </c:pt>
                <c:pt idx="3453">
                  <c:v>1.4887779999999999</c:v>
                </c:pt>
                <c:pt idx="3454">
                  <c:v>1.482003</c:v>
                </c:pt>
                <c:pt idx="3455">
                  <c:v>1.398668</c:v>
                </c:pt>
                <c:pt idx="3456">
                  <c:v>1.2781389999999999</c:v>
                </c:pt>
                <c:pt idx="3457">
                  <c:v>1.331148</c:v>
                </c:pt>
                <c:pt idx="3458">
                  <c:v>1.4140699999999999</c:v>
                </c:pt>
                <c:pt idx="3459">
                  <c:v>1.7228300000000001</c:v>
                </c:pt>
                <c:pt idx="3460">
                  <c:v>1.623661</c:v>
                </c:pt>
                <c:pt idx="3461">
                  <c:v>1.3835120000000001</c:v>
                </c:pt>
                <c:pt idx="3462">
                  <c:v>1.590287</c:v>
                </c:pt>
                <c:pt idx="3463">
                  <c:v>1.834773</c:v>
                </c:pt>
                <c:pt idx="3464">
                  <c:v>1.7765010000000001</c:v>
                </c:pt>
                <c:pt idx="3465">
                  <c:v>2.0371640000000002</c:v>
                </c:pt>
                <c:pt idx="3466">
                  <c:v>1.9207380000000001</c:v>
                </c:pt>
                <c:pt idx="3467">
                  <c:v>1.2062349999999999</c:v>
                </c:pt>
                <c:pt idx="3468">
                  <c:v>1.283148</c:v>
                </c:pt>
                <c:pt idx="3469">
                  <c:v>1.4246620000000001</c:v>
                </c:pt>
                <c:pt idx="3470">
                  <c:v>1.4187810000000001</c:v>
                </c:pt>
                <c:pt idx="3471">
                  <c:v>1.4717519999999999</c:v>
                </c:pt>
                <c:pt idx="3472">
                  <c:v>1.359693</c:v>
                </c:pt>
                <c:pt idx="3473">
                  <c:v>1.3600559999999999</c:v>
                </c:pt>
                <c:pt idx="3474">
                  <c:v>1.4180189999999999</c:v>
                </c:pt>
                <c:pt idx="3475">
                  <c:v>1.443713</c:v>
                </c:pt>
                <c:pt idx="3476">
                  <c:v>1.3876759999999999</c:v>
                </c:pt>
                <c:pt idx="3477">
                  <c:v>1.5599689999999999</c:v>
                </c:pt>
                <c:pt idx="3478">
                  <c:v>1.720113</c:v>
                </c:pt>
                <c:pt idx="3479">
                  <c:v>1.549582</c:v>
                </c:pt>
                <c:pt idx="3480">
                  <c:v>1.6721200000000001</c:v>
                </c:pt>
                <c:pt idx="3481">
                  <c:v>1.7412799999999999</c:v>
                </c:pt>
                <c:pt idx="3482">
                  <c:v>1.3162</c:v>
                </c:pt>
                <c:pt idx="3483">
                  <c:v>1.425481</c:v>
                </c:pt>
                <c:pt idx="3484">
                  <c:v>1.600765</c:v>
                </c:pt>
                <c:pt idx="3485">
                  <c:v>1.495017</c:v>
                </c:pt>
                <c:pt idx="3486">
                  <c:v>1.4365209999999999</c:v>
                </c:pt>
                <c:pt idx="3487">
                  <c:v>1.1298509999999999</c:v>
                </c:pt>
                <c:pt idx="3488">
                  <c:v>1.084141</c:v>
                </c:pt>
                <c:pt idx="3489">
                  <c:v>1.713044</c:v>
                </c:pt>
                <c:pt idx="3490">
                  <c:v>1.571034</c:v>
                </c:pt>
                <c:pt idx="3491">
                  <c:v>1.1130040000000001</c:v>
                </c:pt>
                <c:pt idx="3492">
                  <c:v>1.259301</c:v>
                </c:pt>
                <c:pt idx="3493">
                  <c:v>1.459543</c:v>
                </c:pt>
                <c:pt idx="3494">
                  <c:v>1.63131</c:v>
                </c:pt>
                <c:pt idx="3495">
                  <c:v>1.3293109999999999</c:v>
                </c:pt>
                <c:pt idx="3496">
                  <c:v>1.2405539999999999</c:v>
                </c:pt>
                <c:pt idx="3497">
                  <c:v>1.3835120000000001</c:v>
                </c:pt>
                <c:pt idx="3498">
                  <c:v>1.523714</c:v>
                </c:pt>
                <c:pt idx="3499">
                  <c:v>1.6027629999999999</c:v>
                </c:pt>
                <c:pt idx="3500">
                  <c:v>1.7265870000000001</c:v>
                </c:pt>
                <c:pt idx="3501">
                  <c:v>1.943405</c:v>
                </c:pt>
                <c:pt idx="3502">
                  <c:v>1.74526</c:v>
                </c:pt>
                <c:pt idx="3503">
                  <c:v>1.72909</c:v>
                </c:pt>
                <c:pt idx="3504">
                  <c:v>1.724553</c:v>
                </c:pt>
                <c:pt idx="3505">
                  <c:v>1.5956900000000001</c:v>
                </c:pt>
                <c:pt idx="3506">
                  <c:v>1.591461</c:v>
                </c:pt>
                <c:pt idx="3507">
                  <c:v>1.4497580000000001</c:v>
                </c:pt>
                <c:pt idx="3508">
                  <c:v>1.568505</c:v>
                </c:pt>
                <c:pt idx="3509">
                  <c:v>1.4180120000000001</c:v>
                </c:pt>
                <c:pt idx="3510">
                  <c:v>1.401934</c:v>
                </c:pt>
                <c:pt idx="3511">
                  <c:v>1.7164600000000001</c:v>
                </c:pt>
                <c:pt idx="3512">
                  <c:v>1.61683</c:v>
                </c:pt>
                <c:pt idx="3513">
                  <c:v>1.845054</c:v>
                </c:pt>
                <c:pt idx="3514">
                  <c:v>1.9746410000000001</c:v>
                </c:pt>
                <c:pt idx="3515">
                  <c:v>1.7980069999999999</c:v>
                </c:pt>
                <c:pt idx="3516">
                  <c:v>1.9881120000000001</c:v>
                </c:pt>
                <c:pt idx="3517">
                  <c:v>2.0336820000000002</c:v>
                </c:pt>
                <c:pt idx="3518">
                  <c:v>2.0105499999999998</c:v>
                </c:pt>
                <c:pt idx="3519">
                  <c:v>2.1476510000000002</c:v>
                </c:pt>
                <c:pt idx="3520">
                  <c:v>2.1696589999999998</c:v>
                </c:pt>
                <c:pt idx="3521">
                  <c:v>1.9278299999999999</c:v>
                </c:pt>
                <c:pt idx="3522">
                  <c:v>1.942212</c:v>
                </c:pt>
                <c:pt idx="3523">
                  <c:v>1.875257</c:v>
                </c:pt>
                <c:pt idx="3524">
                  <c:v>1.840015</c:v>
                </c:pt>
                <c:pt idx="3525">
                  <c:v>2.0138690000000001</c:v>
                </c:pt>
                <c:pt idx="3526">
                  <c:v>2.0419520000000002</c:v>
                </c:pt>
                <c:pt idx="3527">
                  <c:v>2.266597</c:v>
                </c:pt>
                <c:pt idx="3528">
                  <c:v>2.0607540000000002</c:v>
                </c:pt>
                <c:pt idx="3529">
                  <c:v>1.7612749999999999</c:v>
                </c:pt>
                <c:pt idx="3530">
                  <c:v>1.792748</c:v>
                </c:pt>
                <c:pt idx="3531">
                  <c:v>1.8622080000000001</c:v>
                </c:pt>
                <c:pt idx="3532">
                  <c:v>1.889972</c:v>
                </c:pt>
                <c:pt idx="3533">
                  <c:v>1.9019459999999999</c:v>
                </c:pt>
                <c:pt idx="3534">
                  <c:v>2.0421830000000001</c:v>
                </c:pt>
                <c:pt idx="3535">
                  <c:v>2.1212620000000002</c:v>
                </c:pt>
                <c:pt idx="3536">
                  <c:v>2.380064</c:v>
                </c:pt>
                <c:pt idx="3537">
                  <c:v>2.53728</c:v>
                </c:pt>
                <c:pt idx="3538">
                  <c:v>2.3154170000000001</c:v>
                </c:pt>
                <c:pt idx="3539">
                  <c:v>2.2860550000000002</c:v>
                </c:pt>
                <c:pt idx="3540">
                  <c:v>2.4136549999999999</c:v>
                </c:pt>
                <c:pt idx="3541">
                  <c:v>2.2206670000000002</c:v>
                </c:pt>
                <c:pt idx="3542">
                  <c:v>2.2616809999999998</c:v>
                </c:pt>
                <c:pt idx="3543">
                  <c:v>2.4149620000000001</c:v>
                </c:pt>
                <c:pt idx="3544">
                  <c:v>2.3033199999999998</c:v>
                </c:pt>
                <c:pt idx="3545">
                  <c:v>2.1803949999999999</c:v>
                </c:pt>
                <c:pt idx="3546">
                  <c:v>2.2488579999999998</c:v>
                </c:pt>
                <c:pt idx="3547">
                  <c:v>2.483101</c:v>
                </c:pt>
                <c:pt idx="3548">
                  <c:v>2.413707</c:v>
                </c:pt>
                <c:pt idx="3549">
                  <c:v>2.2528730000000001</c:v>
                </c:pt>
                <c:pt idx="3550">
                  <c:v>2.3713549999999999</c:v>
                </c:pt>
                <c:pt idx="3551">
                  <c:v>2.5690339999999998</c:v>
                </c:pt>
                <c:pt idx="3552">
                  <c:v>2.551358</c:v>
                </c:pt>
                <c:pt idx="3553">
                  <c:v>2.7617919999999998</c:v>
                </c:pt>
                <c:pt idx="3554">
                  <c:v>2.8910969999999998</c:v>
                </c:pt>
                <c:pt idx="3555">
                  <c:v>2.9228360000000002</c:v>
                </c:pt>
                <c:pt idx="3556">
                  <c:v>3.1006659999999999</c:v>
                </c:pt>
                <c:pt idx="3557">
                  <c:v>3.0902419999999999</c:v>
                </c:pt>
                <c:pt idx="3558">
                  <c:v>2.9096150000000001</c:v>
                </c:pt>
                <c:pt idx="3559">
                  <c:v>2.8296389999999998</c:v>
                </c:pt>
                <c:pt idx="3560">
                  <c:v>2.9250829999999999</c:v>
                </c:pt>
                <c:pt idx="3561">
                  <c:v>2.9807830000000002</c:v>
                </c:pt>
                <c:pt idx="3562">
                  <c:v>2.8831500000000001</c:v>
                </c:pt>
                <c:pt idx="3563">
                  <c:v>2.7690969999999999</c:v>
                </c:pt>
                <c:pt idx="3564">
                  <c:v>2.7717019999999999</c:v>
                </c:pt>
                <c:pt idx="3565">
                  <c:v>2.6989200000000002</c:v>
                </c:pt>
                <c:pt idx="3566">
                  <c:v>2.6531500000000001</c:v>
                </c:pt>
                <c:pt idx="3567">
                  <c:v>2.6178520000000001</c:v>
                </c:pt>
                <c:pt idx="3568">
                  <c:v>2.7936160000000001</c:v>
                </c:pt>
                <c:pt idx="3569">
                  <c:v>2.882355</c:v>
                </c:pt>
                <c:pt idx="3570">
                  <c:v>2.6677119999999999</c:v>
                </c:pt>
                <c:pt idx="3571">
                  <c:v>2.688625</c:v>
                </c:pt>
                <c:pt idx="3572">
                  <c:v>2.7606920000000001</c:v>
                </c:pt>
                <c:pt idx="3573">
                  <c:v>2.6629580000000002</c:v>
                </c:pt>
                <c:pt idx="3574">
                  <c:v>2.6770969999999998</c:v>
                </c:pt>
                <c:pt idx="3575">
                  <c:v>2.8151899999999999</c:v>
                </c:pt>
                <c:pt idx="3576">
                  <c:v>2.755722</c:v>
                </c:pt>
                <c:pt idx="3577">
                  <c:v>2.7294700000000001</c:v>
                </c:pt>
                <c:pt idx="3578">
                  <c:v>2.714207</c:v>
                </c:pt>
                <c:pt idx="3579">
                  <c:v>2.7748590000000002</c:v>
                </c:pt>
                <c:pt idx="3580">
                  <c:v>2.8062770000000001</c:v>
                </c:pt>
                <c:pt idx="3581">
                  <c:v>2.557169</c:v>
                </c:pt>
                <c:pt idx="3582">
                  <c:v>2.6231469999999999</c:v>
                </c:pt>
                <c:pt idx="3583">
                  <c:v>2.8505440000000002</c:v>
                </c:pt>
                <c:pt idx="3584">
                  <c:v>2.7727840000000001</c:v>
                </c:pt>
                <c:pt idx="3585">
                  <c:v>2.7395589999999999</c:v>
                </c:pt>
                <c:pt idx="3586">
                  <c:v>2.7901359999999999</c:v>
                </c:pt>
                <c:pt idx="3587">
                  <c:v>2.6162339999999999</c:v>
                </c:pt>
                <c:pt idx="3588">
                  <c:v>2.725714</c:v>
                </c:pt>
                <c:pt idx="3589">
                  <c:v>2.9133390000000001</c:v>
                </c:pt>
                <c:pt idx="3590">
                  <c:v>2.8202430000000001</c:v>
                </c:pt>
                <c:pt idx="3591">
                  <c:v>2.778826</c:v>
                </c:pt>
                <c:pt idx="3592">
                  <c:v>2.895346</c:v>
                </c:pt>
                <c:pt idx="3593">
                  <c:v>2.8935529999999998</c:v>
                </c:pt>
                <c:pt idx="3594">
                  <c:v>2.9029180000000001</c:v>
                </c:pt>
                <c:pt idx="3595">
                  <c:v>2.9121839999999999</c:v>
                </c:pt>
                <c:pt idx="3596">
                  <c:v>2.6530399999999998</c:v>
                </c:pt>
                <c:pt idx="3597">
                  <c:v>2.5777220000000001</c:v>
                </c:pt>
                <c:pt idx="3598">
                  <c:v>2.588943</c:v>
                </c:pt>
                <c:pt idx="3599">
                  <c:v>2.5140349999999998</c:v>
                </c:pt>
                <c:pt idx="3600">
                  <c:v>2.3922530000000002</c:v>
                </c:pt>
                <c:pt idx="3601">
                  <c:v>2.3780999999999999</c:v>
                </c:pt>
                <c:pt idx="3602">
                  <c:v>2.6231930000000001</c:v>
                </c:pt>
                <c:pt idx="3603">
                  <c:v>2.7479939999999998</c:v>
                </c:pt>
                <c:pt idx="3604">
                  <c:v>2.552349</c:v>
                </c:pt>
                <c:pt idx="3605">
                  <c:v>2.5197539999999998</c:v>
                </c:pt>
                <c:pt idx="3606">
                  <c:v>2.7673939999999999</c:v>
                </c:pt>
                <c:pt idx="3607">
                  <c:v>2.6318410000000001</c:v>
                </c:pt>
                <c:pt idx="3608">
                  <c:v>2.5010530000000002</c:v>
                </c:pt>
                <c:pt idx="3609">
                  <c:v>2.627596</c:v>
                </c:pt>
                <c:pt idx="3610">
                  <c:v>2.7621380000000002</c:v>
                </c:pt>
                <c:pt idx="3611">
                  <c:v>2.7037870000000002</c:v>
                </c:pt>
                <c:pt idx="3612">
                  <c:v>2.5470640000000002</c:v>
                </c:pt>
                <c:pt idx="3613">
                  <c:v>2.7320509999999998</c:v>
                </c:pt>
                <c:pt idx="3614">
                  <c:v>2.7627989999999998</c:v>
                </c:pt>
                <c:pt idx="3615">
                  <c:v>2.72146</c:v>
                </c:pt>
                <c:pt idx="3616">
                  <c:v>2.5669019999999998</c:v>
                </c:pt>
                <c:pt idx="3617">
                  <c:v>2.347944</c:v>
                </c:pt>
                <c:pt idx="3618">
                  <c:v>2.485684</c:v>
                </c:pt>
                <c:pt idx="3619">
                  <c:v>2.2717869999999998</c:v>
                </c:pt>
                <c:pt idx="3620">
                  <c:v>2.4874939999999999</c:v>
                </c:pt>
                <c:pt idx="3621">
                  <c:v>2.720774</c:v>
                </c:pt>
                <c:pt idx="3622">
                  <c:v>2.5206080000000002</c:v>
                </c:pt>
                <c:pt idx="3623">
                  <c:v>2.619834</c:v>
                </c:pt>
                <c:pt idx="3624">
                  <c:v>2.67625</c:v>
                </c:pt>
                <c:pt idx="3625">
                  <c:v>2.917357</c:v>
                </c:pt>
                <c:pt idx="3626">
                  <c:v>2.9941089999999999</c:v>
                </c:pt>
                <c:pt idx="3627">
                  <c:v>2.9936440000000002</c:v>
                </c:pt>
                <c:pt idx="3628">
                  <c:v>3.0132699999999999</c:v>
                </c:pt>
                <c:pt idx="3629">
                  <c:v>2.9070930000000001</c:v>
                </c:pt>
                <c:pt idx="3630">
                  <c:v>2.8608229999999999</c:v>
                </c:pt>
                <c:pt idx="3631">
                  <c:v>2.771388</c:v>
                </c:pt>
                <c:pt idx="3632">
                  <c:v>2.7221329999999999</c:v>
                </c:pt>
                <c:pt idx="3633">
                  <c:v>2.6204809999999998</c:v>
                </c:pt>
                <c:pt idx="3634">
                  <c:v>2.5570909999999998</c:v>
                </c:pt>
                <c:pt idx="3635">
                  <c:v>2.643888</c:v>
                </c:pt>
                <c:pt idx="3636">
                  <c:v>2.6129159999999998</c:v>
                </c:pt>
                <c:pt idx="3637">
                  <c:v>2.3865630000000002</c:v>
                </c:pt>
                <c:pt idx="3638">
                  <c:v>2.4563920000000001</c:v>
                </c:pt>
                <c:pt idx="3639">
                  <c:v>2.6103559999999999</c:v>
                </c:pt>
                <c:pt idx="3640">
                  <c:v>2.4185919999999999</c:v>
                </c:pt>
                <c:pt idx="3641">
                  <c:v>2.3100969999999998</c:v>
                </c:pt>
                <c:pt idx="3642">
                  <c:v>2.3040210000000001</c:v>
                </c:pt>
                <c:pt idx="3643">
                  <c:v>2.2851780000000002</c:v>
                </c:pt>
                <c:pt idx="3644">
                  <c:v>2.466221</c:v>
                </c:pt>
                <c:pt idx="3645">
                  <c:v>2.4207260000000002</c:v>
                </c:pt>
                <c:pt idx="3646">
                  <c:v>2.4009290000000001</c:v>
                </c:pt>
                <c:pt idx="3647">
                  <c:v>2.4526500000000002</c:v>
                </c:pt>
                <c:pt idx="3648">
                  <c:v>2.3474740000000001</c:v>
                </c:pt>
                <c:pt idx="3649">
                  <c:v>2.2868249999999999</c:v>
                </c:pt>
                <c:pt idx="3650">
                  <c:v>2.5209130000000002</c:v>
                </c:pt>
                <c:pt idx="3651">
                  <c:v>2.77948</c:v>
                </c:pt>
                <c:pt idx="3652">
                  <c:v>2.4630529999999999</c:v>
                </c:pt>
                <c:pt idx="3653">
                  <c:v>2.373767</c:v>
                </c:pt>
                <c:pt idx="3654">
                  <c:v>2.590033</c:v>
                </c:pt>
                <c:pt idx="3655">
                  <c:v>2.2990339999999998</c:v>
                </c:pt>
                <c:pt idx="3656">
                  <c:v>2.144082</c:v>
                </c:pt>
                <c:pt idx="3657">
                  <c:v>2.4470839999999998</c:v>
                </c:pt>
                <c:pt idx="3658">
                  <c:v>2.5348229999999998</c:v>
                </c:pt>
                <c:pt idx="3659">
                  <c:v>2.2492200000000002</c:v>
                </c:pt>
                <c:pt idx="3660">
                  <c:v>2.0961699999999999</c:v>
                </c:pt>
                <c:pt idx="3661">
                  <c:v>2.3344040000000001</c:v>
                </c:pt>
                <c:pt idx="3662">
                  <c:v>2.4527559999999999</c:v>
                </c:pt>
                <c:pt idx="3663">
                  <c:v>2.3176079999999999</c:v>
                </c:pt>
                <c:pt idx="3664">
                  <c:v>2.2488079999999999</c:v>
                </c:pt>
                <c:pt idx="3665">
                  <c:v>2.273247</c:v>
                </c:pt>
                <c:pt idx="3666">
                  <c:v>2.486456</c:v>
                </c:pt>
                <c:pt idx="3667">
                  <c:v>2.670938</c:v>
                </c:pt>
                <c:pt idx="3668">
                  <c:v>2.5177010000000002</c:v>
                </c:pt>
                <c:pt idx="3669">
                  <c:v>2.6544379999999999</c:v>
                </c:pt>
                <c:pt idx="3670">
                  <c:v>2.6681900000000001</c:v>
                </c:pt>
                <c:pt idx="3671">
                  <c:v>2.4892470000000002</c:v>
                </c:pt>
                <c:pt idx="3672">
                  <c:v>2.532346</c:v>
                </c:pt>
                <c:pt idx="3673">
                  <c:v>2.487228</c:v>
                </c:pt>
                <c:pt idx="3674">
                  <c:v>2.258778</c:v>
                </c:pt>
                <c:pt idx="3675">
                  <c:v>2.3313069999999998</c:v>
                </c:pt>
                <c:pt idx="3676">
                  <c:v>2.3534600000000001</c:v>
                </c:pt>
                <c:pt idx="3677">
                  <c:v>1.817126</c:v>
                </c:pt>
                <c:pt idx="3678">
                  <c:v>1.846028</c:v>
                </c:pt>
                <c:pt idx="3679">
                  <c:v>2.1597170000000001</c:v>
                </c:pt>
                <c:pt idx="3680">
                  <c:v>1.974445</c:v>
                </c:pt>
                <c:pt idx="3681">
                  <c:v>2.070916</c:v>
                </c:pt>
                <c:pt idx="3682">
                  <c:v>2.3132259999999998</c:v>
                </c:pt>
                <c:pt idx="3683">
                  <c:v>2.4496709999999999</c:v>
                </c:pt>
                <c:pt idx="3684">
                  <c:v>2.5377990000000001</c:v>
                </c:pt>
                <c:pt idx="3685">
                  <c:v>2.3348810000000002</c:v>
                </c:pt>
                <c:pt idx="3686">
                  <c:v>2.2386349999999999</c:v>
                </c:pt>
                <c:pt idx="3687">
                  <c:v>2.4567839999999999</c:v>
                </c:pt>
                <c:pt idx="3688">
                  <c:v>2.5771329999999999</c:v>
                </c:pt>
                <c:pt idx="3689">
                  <c:v>2.45418</c:v>
                </c:pt>
                <c:pt idx="3690">
                  <c:v>2.5361899999999999</c:v>
                </c:pt>
                <c:pt idx="3691">
                  <c:v>2.5178410000000002</c:v>
                </c:pt>
                <c:pt idx="3692">
                  <c:v>2.246918</c:v>
                </c:pt>
                <c:pt idx="3693">
                  <c:v>2.164844</c:v>
                </c:pt>
                <c:pt idx="3694">
                  <c:v>2.2410000000000001</c:v>
                </c:pt>
                <c:pt idx="3695">
                  <c:v>2.2013029999999998</c:v>
                </c:pt>
                <c:pt idx="3696">
                  <c:v>2.036762</c:v>
                </c:pt>
                <c:pt idx="3697">
                  <c:v>2.001979</c:v>
                </c:pt>
                <c:pt idx="3698">
                  <c:v>2.1007910000000001</c:v>
                </c:pt>
                <c:pt idx="3699">
                  <c:v>2.0733920000000001</c:v>
                </c:pt>
                <c:pt idx="3700">
                  <c:v>2.1211980000000001</c:v>
                </c:pt>
                <c:pt idx="3701">
                  <c:v>2.412315</c:v>
                </c:pt>
                <c:pt idx="3702">
                  <c:v>2.099952</c:v>
                </c:pt>
                <c:pt idx="3703">
                  <c:v>2.078767</c:v>
                </c:pt>
                <c:pt idx="3704">
                  <c:v>2.4607779999999999</c:v>
                </c:pt>
                <c:pt idx="3705">
                  <c:v>2.5415459999999999</c:v>
                </c:pt>
                <c:pt idx="3706">
                  <c:v>2.5368189999999999</c:v>
                </c:pt>
                <c:pt idx="3707">
                  <c:v>2.4199299999999999</c:v>
                </c:pt>
                <c:pt idx="3708">
                  <c:v>2.639723</c:v>
                </c:pt>
                <c:pt idx="3709">
                  <c:v>2.5645850000000001</c:v>
                </c:pt>
                <c:pt idx="3710">
                  <c:v>2.3392940000000002</c:v>
                </c:pt>
                <c:pt idx="3711">
                  <c:v>2.284411</c:v>
                </c:pt>
                <c:pt idx="3712">
                  <c:v>2.1797059999999999</c:v>
                </c:pt>
                <c:pt idx="3713">
                  <c:v>2.3143690000000001</c:v>
                </c:pt>
                <c:pt idx="3714">
                  <c:v>2.2407530000000002</c:v>
                </c:pt>
                <c:pt idx="3715">
                  <c:v>1.994791</c:v>
                </c:pt>
                <c:pt idx="3716">
                  <c:v>2.1183239999999999</c:v>
                </c:pt>
                <c:pt idx="3717">
                  <c:v>2.1667480000000001</c:v>
                </c:pt>
                <c:pt idx="3718">
                  <c:v>2.052225</c:v>
                </c:pt>
                <c:pt idx="3719">
                  <c:v>1.9814769999999999</c:v>
                </c:pt>
                <c:pt idx="3720">
                  <c:v>1.9994149999999999</c:v>
                </c:pt>
                <c:pt idx="3721">
                  <c:v>2.3363740000000002</c:v>
                </c:pt>
                <c:pt idx="3722">
                  <c:v>2.3830629999999999</c:v>
                </c:pt>
                <c:pt idx="3723">
                  <c:v>2.4278689999999998</c:v>
                </c:pt>
                <c:pt idx="3724">
                  <c:v>2.531641</c:v>
                </c:pt>
                <c:pt idx="3725">
                  <c:v>2.4722490000000001</c:v>
                </c:pt>
                <c:pt idx="3726">
                  <c:v>2.385602</c:v>
                </c:pt>
                <c:pt idx="3727">
                  <c:v>2.3482370000000001</c:v>
                </c:pt>
                <c:pt idx="3728">
                  <c:v>2.8040780000000001</c:v>
                </c:pt>
                <c:pt idx="3729">
                  <c:v>2.6546669999999999</c:v>
                </c:pt>
                <c:pt idx="3730">
                  <c:v>2.3321960000000002</c:v>
                </c:pt>
                <c:pt idx="3731">
                  <c:v>2.4270849999999999</c:v>
                </c:pt>
                <c:pt idx="3732">
                  <c:v>2.4739469999999999</c:v>
                </c:pt>
                <c:pt idx="3733">
                  <c:v>2.4976780000000001</c:v>
                </c:pt>
                <c:pt idx="3734">
                  <c:v>2.3101129999999999</c:v>
                </c:pt>
                <c:pt idx="3735">
                  <c:v>2.205473</c:v>
                </c:pt>
                <c:pt idx="3736">
                  <c:v>2.1348340000000001</c:v>
                </c:pt>
                <c:pt idx="3737">
                  <c:v>1.944547</c:v>
                </c:pt>
                <c:pt idx="3738">
                  <c:v>1.8200149999999999</c:v>
                </c:pt>
                <c:pt idx="3739">
                  <c:v>2.1320839999999999</c:v>
                </c:pt>
                <c:pt idx="3740">
                  <c:v>2.3491330000000001</c:v>
                </c:pt>
                <c:pt idx="3741">
                  <c:v>2.2027800000000002</c:v>
                </c:pt>
                <c:pt idx="3742">
                  <c:v>2.1982029999999999</c:v>
                </c:pt>
                <c:pt idx="3743">
                  <c:v>2.6039119999999998</c:v>
                </c:pt>
                <c:pt idx="3744">
                  <c:v>2.7655789999999998</c:v>
                </c:pt>
                <c:pt idx="3745">
                  <c:v>2.4116930000000001</c:v>
                </c:pt>
                <c:pt idx="3746">
                  <c:v>2.7154729999999998</c:v>
                </c:pt>
                <c:pt idx="3747">
                  <c:v>2.8861080000000001</c:v>
                </c:pt>
                <c:pt idx="3748">
                  <c:v>2.53437</c:v>
                </c:pt>
                <c:pt idx="3749">
                  <c:v>2.4938199999999999</c:v>
                </c:pt>
                <c:pt idx="3750">
                  <c:v>2.4691860000000001</c:v>
                </c:pt>
                <c:pt idx="3751">
                  <c:v>2.5892789999999999</c:v>
                </c:pt>
                <c:pt idx="3752">
                  <c:v>2.3115480000000002</c:v>
                </c:pt>
                <c:pt idx="3753">
                  <c:v>2.0941779999999999</c:v>
                </c:pt>
                <c:pt idx="3754">
                  <c:v>2.2901929999999999</c:v>
                </c:pt>
                <c:pt idx="3755">
                  <c:v>2.4487009999999998</c:v>
                </c:pt>
                <c:pt idx="3756">
                  <c:v>2.5304660000000001</c:v>
                </c:pt>
                <c:pt idx="3757">
                  <c:v>2.3796930000000001</c:v>
                </c:pt>
                <c:pt idx="3758">
                  <c:v>2.0965630000000002</c:v>
                </c:pt>
                <c:pt idx="3759">
                  <c:v>2.001109</c:v>
                </c:pt>
                <c:pt idx="3760">
                  <c:v>2.1956470000000001</c:v>
                </c:pt>
                <c:pt idx="3761">
                  <c:v>2.490688</c:v>
                </c:pt>
                <c:pt idx="3762">
                  <c:v>2.5169320000000002</c:v>
                </c:pt>
                <c:pt idx="3763">
                  <c:v>2.4140160000000002</c:v>
                </c:pt>
                <c:pt idx="3764">
                  <c:v>2.433265</c:v>
                </c:pt>
                <c:pt idx="3765">
                  <c:v>2.3817279999999998</c:v>
                </c:pt>
                <c:pt idx="3766">
                  <c:v>2.4236309999999999</c:v>
                </c:pt>
                <c:pt idx="3767">
                  <c:v>2.5161799999999999</c:v>
                </c:pt>
                <c:pt idx="3768">
                  <c:v>2.503368</c:v>
                </c:pt>
                <c:pt idx="3769">
                  <c:v>2.5055749999999999</c:v>
                </c:pt>
                <c:pt idx="3770">
                  <c:v>2.4426049999999999</c:v>
                </c:pt>
                <c:pt idx="3771">
                  <c:v>2.3451330000000001</c:v>
                </c:pt>
                <c:pt idx="3772">
                  <c:v>2.4233199999999999</c:v>
                </c:pt>
                <c:pt idx="3773">
                  <c:v>2.5984980000000002</c:v>
                </c:pt>
                <c:pt idx="3774">
                  <c:v>2.5614840000000001</c:v>
                </c:pt>
                <c:pt idx="3775">
                  <c:v>2.3497129999999999</c:v>
                </c:pt>
                <c:pt idx="3776">
                  <c:v>2.2330290000000002</c:v>
                </c:pt>
                <c:pt idx="3777">
                  <c:v>2.1584080000000001</c:v>
                </c:pt>
                <c:pt idx="3778">
                  <c:v>2.3053149999999998</c:v>
                </c:pt>
                <c:pt idx="3779">
                  <c:v>2.2365520000000001</c:v>
                </c:pt>
                <c:pt idx="3780">
                  <c:v>2.2650399999999999</c:v>
                </c:pt>
                <c:pt idx="3781">
                  <c:v>2.4749850000000002</c:v>
                </c:pt>
                <c:pt idx="3782">
                  <c:v>2.4576950000000002</c:v>
                </c:pt>
                <c:pt idx="3783">
                  <c:v>2.7304400000000002</c:v>
                </c:pt>
                <c:pt idx="3784">
                  <c:v>2.8233100000000002</c:v>
                </c:pt>
                <c:pt idx="3785">
                  <c:v>2.6989719999999999</c:v>
                </c:pt>
                <c:pt idx="3786">
                  <c:v>2.71746</c:v>
                </c:pt>
                <c:pt idx="3787">
                  <c:v>2.3993030000000002</c:v>
                </c:pt>
                <c:pt idx="3788">
                  <c:v>2.569896</c:v>
                </c:pt>
                <c:pt idx="3789">
                  <c:v>2.6492429999999998</c:v>
                </c:pt>
                <c:pt idx="3790">
                  <c:v>2.4310239999999999</c:v>
                </c:pt>
                <c:pt idx="3791">
                  <c:v>2.5115129999999999</c:v>
                </c:pt>
                <c:pt idx="3792">
                  <c:v>2.4144929999999998</c:v>
                </c:pt>
                <c:pt idx="3793">
                  <c:v>2.1520760000000001</c:v>
                </c:pt>
                <c:pt idx="3794">
                  <c:v>2.0637189999999999</c:v>
                </c:pt>
                <c:pt idx="3795">
                  <c:v>2.1916329999999999</c:v>
                </c:pt>
                <c:pt idx="3796">
                  <c:v>2.174814</c:v>
                </c:pt>
                <c:pt idx="3797">
                  <c:v>2.0181879999999999</c:v>
                </c:pt>
                <c:pt idx="3798">
                  <c:v>2.1244459999999998</c:v>
                </c:pt>
                <c:pt idx="3799">
                  <c:v>2.2324980000000001</c:v>
                </c:pt>
                <c:pt idx="3800">
                  <c:v>2.2227250000000001</c:v>
                </c:pt>
                <c:pt idx="3801">
                  <c:v>2.283728</c:v>
                </c:pt>
                <c:pt idx="3802">
                  <c:v>2.3888210000000001</c:v>
                </c:pt>
                <c:pt idx="3803">
                  <c:v>2.4508480000000001</c:v>
                </c:pt>
                <c:pt idx="3804">
                  <c:v>2.294171</c:v>
                </c:pt>
                <c:pt idx="3805">
                  <c:v>2.215233</c:v>
                </c:pt>
                <c:pt idx="3806">
                  <c:v>2.4417089999999999</c:v>
                </c:pt>
                <c:pt idx="3807">
                  <c:v>2.4273609999999999</c:v>
                </c:pt>
                <c:pt idx="3808">
                  <c:v>2.2974060000000001</c:v>
                </c:pt>
                <c:pt idx="3809">
                  <c:v>2.4304950000000001</c:v>
                </c:pt>
                <c:pt idx="3810">
                  <c:v>2.369151</c:v>
                </c:pt>
                <c:pt idx="3811">
                  <c:v>2.4089049999999999</c:v>
                </c:pt>
                <c:pt idx="3812">
                  <c:v>2.5676260000000002</c:v>
                </c:pt>
                <c:pt idx="3813">
                  <c:v>2.526211</c:v>
                </c:pt>
                <c:pt idx="3814">
                  <c:v>2.2438199999999999</c:v>
                </c:pt>
                <c:pt idx="3815">
                  <c:v>2.2262599999999999</c:v>
                </c:pt>
                <c:pt idx="3816">
                  <c:v>2.4056869999999999</c:v>
                </c:pt>
                <c:pt idx="3817">
                  <c:v>2.3633250000000001</c:v>
                </c:pt>
                <c:pt idx="3818">
                  <c:v>2.4107460000000001</c:v>
                </c:pt>
                <c:pt idx="3819">
                  <c:v>2.5042909999999998</c:v>
                </c:pt>
                <c:pt idx="3820">
                  <c:v>2.4935870000000002</c:v>
                </c:pt>
                <c:pt idx="3821">
                  <c:v>2.4271889999999998</c:v>
                </c:pt>
                <c:pt idx="3822">
                  <c:v>2.3953530000000001</c:v>
                </c:pt>
                <c:pt idx="3823">
                  <c:v>2.5128810000000001</c:v>
                </c:pt>
                <c:pt idx="3824">
                  <c:v>2.51004</c:v>
                </c:pt>
                <c:pt idx="3825">
                  <c:v>2.3115260000000002</c:v>
                </c:pt>
                <c:pt idx="3826">
                  <c:v>2.4068900000000002</c:v>
                </c:pt>
                <c:pt idx="3827">
                  <c:v>2.449967</c:v>
                </c:pt>
                <c:pt idx="3828">
                  <c:v>2.4089499999999999</c:v>
                </c:pt>
                <c:pt idx="3829">
                  <c:v>2.384735</c:v>
                </c:pt>
                <c:pt idx="3830">
                  <c:v>2.3040219999999998</c:v>
                </c:pt>
                <c:pt idx="3831">
                  <c:v>2.2534939999999999</c:v>
                </c:pt>
                <c:pt idx="3832">
                  <c:v>2.2872729999999999</c:v>
                </c:pt>
                <c:pt idx="3833">
                  <c:v>2.5683449999999999</c:v>
                </c:pt>
                <c:pt idx="3834">
                  <c:v>2.5885940000000001</c:v>
                </c:pt>
                <c:pt idx="3835">
                  <c:v>2.2755830000000001</c:v>
                </c:pt>
                <c:pt idx="3836">
                  <c:v>2.1769319999999999</c:v>
                </c:pt>
                <c:pt idx="3837">
                  <c:v>2.175942</c:v>
                </c:pt>
                <c:pt idx="3838">
                  <c:v>2.1630820000000002</c:v>
                </c:pt>
                <c:pt idx="3839">
                  <c:v>2.3473489999999999</c:v>
                </c:pt>
                <c:pt idx="3840">
                  <c:v>2.511301</c:v>
                </c:pt>
                <c:pt idx="3841">
                  <c:v>2.5414310000000002</c:v>
                </c:pt>
                <c:pt idx="3842">
                  <c:v>2.5045950000000001</c:v>
                </c:pt>
                <c:pt idx="3843">
                  <c:v>2.2911769999999998</c:v>
                </c:pt>
                <c:pt idx="3844">
                  <c:v>2.3143419999999999</c:v>
                </c:pt>
                <c:pt idx="3845">
                  <c:v>2.316344</c:v>
                </c:pt>
                <c:pt idx="3846">
                  <c:v>2.1127410000000002</c:v>
                </c:pt>
                <c:pt idx="3847">
                  <c:v>2.1266069999999999</c:v>
                </c:pt>
                <c:pt idx="3848">
                  <c:v>2.1192679999999999</c:v>
                </c:pt>
                <c:pt idx="3849">
                  <c:v>2.2399819999999999</c:v>
                </c:pt>
                <c:pt idx="3850">
                  <c:v>2.2302949999999999</c:v>
                </c:pt>
                <c:pt idx="3851">
                  <c:v>2.090706</c:v>
                </c:pt>
                <c:pt idx="3852">
                  <c:v>2.213114</c:v>
                </c:pt>
                <c:pt idx="3853">
                  <c:v>2.4773000000000001</c:v>
                </c:pt>
                <c:pt idx="3854">
                  <c:v>2.6290870000000002</c:v>
                </c:pt>
                <c:pt idx="3855">
                  <c:v>2.4613679999999998</c:v>
                </c:pt>
                <c:pt idx="3856">
                  <c:v>2.1851530000000001</c:v>
                </c:pt>
                <c:pt idx="3857">
                  <c:v>2.3059989999999999</c:v>
                </c:pt>
                <c:pt idx="3858">
                  <c:v>2.5657839999999998</c:v>
                </c:pt>
                <c:pt idx="3859">
                  <c:v>2.4424489999999999</c:v>
                </c:pt>
                <c:pt idx="3860">
                  <c:v>2.3887749999999999</c:v>
                </c:pt>
                <c:pt idx="3861">
                  <c:v>2.2915019999999999</c:v>
                </c:pt>
                <c:pt idx="3862">
                  <c:v>1.9660899999999999</c:v>
                </c:pt>
                <c:pt idx="3863">
                  <c:v>1.9768520000000001</c:v>
                </c:pt>
                <c:pt idx="3864">
                  <c:v>2.0919349999999999</c:v>
                </c:pt>
                <c:pt idx="3865">
                  <c:v>2.07172</c:v>
                </c:pt>
                <c:pt idx="3866">
                  <c:v>2.0518339999999999</c:v>
                </c:pt>
                <c:pt idx="3867">
                  <c:v>2.1688399999999999</c:v>
                </c:pt>
                <c:pt idx="3868">
                  <c:v>2.2271909999999999</c:v>
                </c:pt>
                <c:pt idx="3869">
                  <c:v>2.1274039999999999</c:v>
                </c:pt>
                <c:pt idx="3870">
                  <c:v>2.0744060000000002</c:v>
                </c:pt>
                <c:pt idx="3871">
                  <c:v>1.9049039999999999</c:v>
                </c:pt>
                <c:pt idx="3872">
                  <c:v>2.144155</c:v>
                </c:pt>
                <c:pt idx="3873">
                  <c:v>2.1252580000000001</c:v>
                </c:pt>
                <c:pt idx="3874">
                  <c:v>2.0565169999999999</c:v>
                </c:pt>
                <c:pt idx="3875">
                  <c:v>2.2159439999999999</c:v>
                </c:pt>
                <c:pt idx="3876">
                  <c:v>2.3086030000000002</c:v>
                </c:pt>
                <c:pt idx="3877">
                  <c:v>2.5696110000000001</c:v>
                </c:pt>
                <c:pt idx="3878">
                  <c:v>2.5287600000000001</c:v>
                </c:pt>
                <c:pt idx="3879">
                  <c:v>2.1223139999999998</c:v>
                </c:pt>
                <c:pt idx="3880">
                  <c:v>2.2502879999999998</c:v>
                </c:pt>
                <c:pt idx="3881">
                  <c:v>2.5773190000000001</c:v>
                </c:pt>
                <c:pt idx="3882">
                  <c:v>2.2927219999999999</c:v>
                </c:pt>
                <c:pt idx="3883">
                  <c:v>2.216977</c:v>
                </c:pt>
                <c:pt idx="3884">
                  <c:v>2.2376200000000002</c:v>
                </c:pt>
                <c:pt idx="3885">
                  <c:v>2.243887</c:v>
                </c:pt>
                <c:pt idx="3886">
                  <c:v>2.2428059999999999</c:v>
                </c:pt>
                <c:pt idx="3887">
                  <c:v>2.2402839999999999</c:v>
                </c:pt>
                <c:pt idx="3888">
                  <c:v>2.3720859999999999</c:v>
                </c:pt>
                <c:pt idx="3889">
                  <c:v>2.377186</c:v>
                </c:pt>
                <c:pt idx="3890">
                  <c:v>2.388369</c:v>
                </c:pt>
                <c:pt idx="3891">
                  <c:v>2.3305920000000002</c:v>
                </c:pt>
                <c:pt idx="3892">
                  <c:v>2.304824</c:v>
                </c:pt>
                <c:pt idx="3893">
                  <c:v>2.492467</c:v>
                </c:pt>
                <c:pt idx="3894">
                  <c:v>2.395006</c:v>
                </c:pt>
                <c:pt idx="3895">
                  <c:v>2.3519000000000001</c:v>
                </c:pt>
                <c:pt idx="3896">
                  <c:v>2.1906979999999998</c:v>
                </c:pt>
                <c:pt idx="3897">
                  <c:v>1.9647140000000001</c:v>
                </c:pt>
                <c:pt idx="3898">
                  <c:v>2.3665639999999999</c:v>
                </c:pt>
                <c:pt idx="3899">
                  <c:v>2.571812</c:v>
                </c:pt>
                <c:pt idx="3900">
                  <c:v>2.2923710000000002</c:v>
                </c:pt>
                <c:pt idx="3901">
                  <c:v>2.1502979999999998</c:v>
                </c:pt>
                <c:pt idx="3902">
                  <c:v>2.2010689999999999</c:v>
                </c:pt>
                <c:pt idx="3903">
                  <c:v>2.2184949999999999</c:v>
                </c:pt>
                <c:pt idx="3904">
                  <c:v>2.087383</c:v>
                </c:pt>
                <c:pt idx="3905">
                  <c:v>1.9409449999999999</c:v>
                </c:pt>
                <c:pt idx="3906">
                  <c:v>1.913707</c:v>
                </c:pt>
                <c:pt idx="3907">
                  <c:v>1.743025</c:v>
                </c:pt>
                <c:pt idx="3908">
                  <c:v>1.7673939999999999</c:v>
                </c:pt>
                <c:pt idx="3909">
                  <c:v>2.2311570000000001</c:v>
                </c:pt>
                <c:pt idx="3910">
                  <c:v>2.1391369999999998</c:v>
                </c:pt>
                <c:pt idx="3911">
                  <c:v>2.0387189999999999</c:v>
                </c:pt>
                <c:pt idx="3912">
                  <c:v>2.0502980000000002</c:v>
                </c:pt>
                <c:pt idx="3913">
                  <c:v>2.1279240000000001</c:v>
                </c:pt>
                <c:pt idx="3914">
                  <c:v>2.1674310000000001</c:v>
                </c:pt>
                <c:pt idx="3915">
                  <c:v>2.2677679999999998</c:v>
                </c:pt>
                <c:pt idx="3916">
                  <c:v>2.6667169999999998</c:v>
                </c:pt>
                <c:pt idx="3917">
                  <c:v>2.5005030000000001</c:v>
                </c:pt>
                <c:pt idx="3918">
                  <c:v>2.3732039999999999</c:v>
                </c:pt>
                <c:pt idx="3919">
                  <c:v>2.313631</c:v>
                </c:pt>
                <c:pt idx="3920">
                  <c:v>2.1504690000000002</c:v>
                </c:pt>
                <c:pt idx="3921">
                  <c:v>2.124012</c:v>
                </c:pt>
                <c:pt idx="3922">
                  <c:v>2.0988639999999998</c:v>
                </c:pt>
                <c:pt idx="3923">
                  <c:v>1.938499</c:v>
                </c:pt>
                <c:pt idx="3924">
                  <c:v>1.9065920000000001</c:v>
                </c:pt>
                <c:pt idx="3925">
                  <c:v>1.9365859999999999</c:v>
                </c:pt>
                <c:pt idx="3926">
                  <c:v>1.939716</c:v>
                </c:pt>
                <c:pt idx="3927">
                  <c:v>1.860959</c:v>
                </c:pt>
                <c:pt idx="3928">
                  <c:v>1.809536</c:v>
                </c:pt>
                <c:pt idx="3929">
                  <c:v>2.038395</c:v>
                </c:pt>
                <c:pt idx="3930">
                  <c:v>2.088905</c:v>
                </c:pt>
                <c:pt idx="3931">
                  <c:v>2.1920060000000001</c:v>
                </c:pt>
                <c:pt idx="3932">
                  <c:v>2.2554349999999999</c:v>
                </c:pt>
                <c:pt idx="3933">
                  <c:v>2.1696070000000001</c:v>
                </c:pt>
                <c:pt idx="3934">
                  <c:v>2.2004489999999999</c:v>
                </c:pt>
                <c:pt idx="3935">
                  <c:v>2.2913939999999999</c:v>
                </c:pt>
                <c:pt idx="3936">
                  <c:v>2.1444130000000001</c:v>
                </c:pt>
                <c:pt idx="3937">
                  <c:v>2.0049999999999999</c:v>
                </c:pt>
                <c:pt idx="3938">
                  <c:v>2.057458</c:v>
                </c:pt>
                <c:pt idx="3939">
                  <c:v>2.0790630000000001</c:v>
                </c:pt>
                <c:pt idx="3940">
                  <c:v>2.018221</c:v>
                </c:pt>
                <c:pt idx="3941">
                  <c:v>1.9144479999999999</c:v>
                </c:pt>
                <c:pt idx="3942">
                  <c:v>1.6437470000000001</c:v>
                </c:pt>
                <c:pt idx="3943">
                  <c:v>1.7525820000000001</c:v>
                </c:pt>
                <c:pt idx="3944">
                  <c:v>1.919605</c:v>
                </c:pt>
                <c:pt idx="3945">
                  <c:v>1.666401</c:v>
                </c:pt>
                <c:pt idx="3946">
                  <c:v>1.723419</c:v>
                </c:pt>
                <c:pt idx="3947">
                  <c:v>1.8747450000000001</c:v>
                </c:pt>
                <c:pt idx="3948">
                  <c:v>1.9525680000000001</c:v>
                </c:pt>
                <c:pt idx="3949">
                  <c:v>2.2037239999999998</c:v>
                </c:pt>
                <c:pt idx="3950">
                  <c:v>2.216018</c:v>
                </c:pt>
                <c:pt idx="3951">
                  <c:v>1.975004</c:v>
                </c:pt>
                <c:pt idx="3952">
                  <c:v>2.2611029999999999</c:v>
                </c:pt>
                <c:pt idx="3953">
                  <c:v>2.2842630000000002</c:v>
                </c:pt>
                <c:pt idx="3954">
                  <c:v>2.2517230000000001</c:v>
                </c:pt>
                <c:pt idx="3955">
                  <c:v>2.6515900000000001</c:v>
                </c:pt>
                <c:pt idx="3956">
                  <c:v>2.4828739999999998</c:v>
                </c:pt>
                <c:pt idx="3957">
                  <c:v>2.2865510000000002</c:v>
                </c:pt>
                <c:pt idx="3958">
                  <c:v>2.1853570000000002</c:v>
                </c:pt>
                <c:pt idx="3959">
                  <c:v>2.06209</c:v>
                </c:pt>
                <c:pt idx="3960">
                  <c:v>1.9822360000000001</c:v>
                </c:pt>
                <c:pt idx="3961">
                  <c:v>2.062262</c:v>
                </c:pt>
                <c:pt idx="3962">
                  <c:v>2.0892629999999999</c:v>
                </c:pt>
                <c:pt idx="3963">
                  <c:v>1.965541</c:v>
                </c:pt>
                <c:pt idx="3964">
                  <c:v>2.0922160000000001</c:v>
                </c:pt>
                <c:pt idx="3965">
                  <c:v>2.0180889999999998</c:v>
                </c:pt>
                <c:pt idx="3966">
                  <c:v>1.839799</c:v>
                </c:pt>
                <c:pt idx="3967">
                  <c:v>2.2769189999999999</c:v>
                </c:pt>
                <c:pt idx="3968">
                  <c:v>2.3709069999999999</c:v>
                </c:pt>
                <c:pt idx="3969">
                  <c:v>2.2437209999999999</c:v>
                </c:pt>
                <c:pt idx="3970">
                  <c:v>2.250461</c:v>
                </c:pt>
                <c:pt idx="3971">
                  <c:v>1.9927569999999999</c:v>
                </c:pt>
                <c:pt idx="3972">
                  <c:v>2.1203820000000002</c:v>
                </c:pt>
                <c:pt idx="3973">
                  <c:v>2.3168839999999999</c:v>
                </c:pt>
                <c:pt idx="3974">
                  <c:v>2.3605830000000001</c:v>
                </c:pt>
                <c:pt idx="3975">
                  <c:v>2.1249479999999998</c:v>
                </c:pt>
                <c:pt idx="3976">
                  <c:v>2.0028969999999999</c:v>
                </c:pt>
                <c:pt idx="3977">
                  <c:v>1.9244829999999999</c:v>
                </c:pt>
                <c:pt idx="3978">
                  <c:v>1.8015080000000001</c:v>
                </c:pt>
                <c:pt idx="3979">
                  <c:v>1.98709</c:v>
                </c:pt>
                <c:pt idx="3980">
                  <c:v>1.868832</c:v>
                </c:pt>
                <c:pt idx="3981">
                  <c:v>1.86904</c:v>
                </c:pt>
                <c:pt idx="3982">
                  <c:v>2.1946319999999999</c:v>
                </c:pt>
                <c:pt idx="3983">
                  <c:v>2.1704669999999999</c:v>
                </c:pt>
                <c:pt idx="3984">
                  <c:v>1.8990469999999999</c:v>
                </c:pt>
                <c:pt idx="3985">
                  <c:v>1.7533270000000001</c:v>
                </c:pt>
                <c:pt idx="3986">
                  <c:v>1.8625430000000001</c:v>
                </c:pt>
                <c:pt idx="3987">
                  <c:v>1.976186</c:v>
                </c:pt>
                <c:pt idx="3988">
                  <c:v>2.0351689999999998</c:v>
                </c:pt>
                <c:pt idx="3989">
                  <c:v>2.1391230000000001</c:v>
                </c:pt>
                <c:pt idx="3990">
                  <c:v>2.0669759999999999</c:v>
                </c:pt>
                <c:pt idx="3991">
                  <c:v>2.1063689999999999</c:v>
                </c:pt>
                <c:pt idx="3992">
                  <c:v>2.4022380000000001</c:v>
                </c:pt>
                <c:pt idx="3993">
                  <c:v>2.5101749999999998</c:v>
                </c:pt>
                <c:pt idx="3994">
                  <c:v>2.5277639999999999</c:v>
                </c:pt>
                <c:pt idx="3995">
                  <c:v>2.4263210000000002</c:v>
                </c:pt>
                <c:pt idx="3996">
                  <c:v>2.3220489999999998</c:v>
                </c:pt>
                <c:pt idx="3997">
                  <c:v>2.2713190000000001</c:v>
                </c:pt>
                <c:pt idx="3998">
                  <c:v>2.3808769999999999</c:v>
                </c:pt>
                <c:pt idx="3999">
                  <c:v>2.3716650000000001</c:v>
                </c:pt>
                <c:pt idx="4000">
                  <c:v>2.3749920000000002</c:v>
                </c:pt>
                <c:pt idx="4001">
                  <c:v>2.3773529999999998</c:v>
                </c:pt>
                <c:pt idx="4002">
                  <c:v>2.1806709999999998</c:v>
                </c:pt>
                <c:pt idx="4003">
                  <c:v>2.0690599999999999</c:v>
                </c:pt>
                <c:pt idx="4004">
                  <c:v>2.0635650000000001</c:v>
                </c:pt>
                <c:pt idx="4005">
                  <c:v>2.1801189999999999</c:v>
                </c:pt>
                <c:pt idx="4006">
                  <c:v>2.2350989999999999</c:v>
                </c:pt>
                <c:pt idx="4007">
                  <c:v>2.2642790000000002</c:v>
                </c:pt>
                <c:pt idx="4008">
                  <c:v>2.2825009999999999</c:v>
                </c:pt>
                <c:pt idx="4009">
                  <c:v>2.2959160000000001</c:v>
                </c:pt>
                <c:pt idx="4010">
                  <c:v>2.307096</c:v>
                </c:pt>
                <c:pt idx="4011">
                  <c:v>2.3852720000000001</c:v>
                </c:pt>
                <c:pt idx="4012">
                  <c:v>2.3649269999999998</c:v>
                </c:pt>
                <c:pt idx="4013">
                  <c:v>2.2261669999999998</c:v>
                </c:pt>
                <c:pt idx="4014">
                  <c:v>2.2191209999999999</c:v>
                </c:pt>
                <c:pt idx="4015">
                  <c:v>2.3458000000000001</c:v>
                </c:pt>
                <c:pt idx="4016">
                  <c:v>2.277517</c:v>
                </c:pt>
                <c:pt idx="4017">
                  <c:v>2.245072</c:v>
                </c:pt>
                <c:pt idx="4018">
                  <c:v>2.2914089999999998</c:v>
                </c:pt>
                <c:pt idx="4019">
                  <c:v>2.2490760000000001</c:v>
                </c:pt>
                <c:pt idx="4020">
                  <c:v>2.0202059999999999</c:v>
                </c:pt>
                <c:pt idx="4021">
                  <c:v>2.0257990000000001</c:v>
                </c:pt>
                <c:pt idx="4022">
                  <c:v>2.1446640000000001</c:v>
                </c:pt>
                <c:pt idx="4023">
                  <c:v>2.0679460000000001</c:v>
                </c:pt>
                <c:pt idx="4024">
                  <c:v>2.0878369999999999</c:v>
                </c:pt>
                <c:pt idx="4025">
                  <c:v>1.8208</c:v>
                </c:pt>
                <c:pt idx="4026">
                  <c:v>1.801399</c:v>
                </c:pt>
                <c:pt idx="4027">
                  <c:v>2.0388670000000002</c:v>
                </c:pt>
                <c:pt idx="4028">
                  <c:v>2.0232739999999998</c:v>
                </c:pt>
                <c:pt idx="4029">
                  <c:v>2.0843560000000001</c:v>
                </c:pt>
                <c:pt idx="4030">
                  <c:v>1.981503</c:v>
                </c:pt>
                <c:pt idx="4031">
                  <c:v>2.0654050000000002</c:v>
                </c:pt>
                <c:pt idx="4032">
                  <c:v>2.1053769999999998</c:v>
                </c:pt>
                <c:pt idx="4033">
                  <c:v>2.0675469999999998</c:v>
                </c:pt>
                <c:pt idx="4034">
                  <c:v>2.1822849999999998</c:v>
                </c:pt>
                <c:pt idx="4035">
                  <c:v>2.047507</c:v>
                </c:pt>
                <c:pt idx="4036">
                  <c:v>2.1140150000000002</c:v>
                </c:pt>
                <c:pt idx="4037">
                  <c:v>2.1486700000000001</c:v>
                </c:pt>
                <c:pt idx="4038">
                  <c:v>1.9682489999999999</c:v>
                </c:pt>
                <c:pt idx="4039">
                  <c:v>2.0735269999999999</c:v>
                </c:pt>
                <c:pt idx="4040">
                  <c:v>2.0548299999999999</c:v>
                </c:pt>
                <c:pt idx="4041">
                  <c:v>2.1164329999999998</c:v>
                </c:pt>
                <c:pt idx="4042">
                  <c:v>2.21414</c:v>
                </c:pt>
                <c:pt idx="4043">
                  <c:v>2.2093660000000002</c:v>
                </c:pt>
                <c:pt idx="4044">
                  <c:v>2.2798829999999999</c:v>
                </c:pt>
                <c:pt idx="4045">
                  <c:v>2.0567229999999999</c:v>
                </c:pt>
                <c:pt idx="4046">
                  <c:v>2.1426949999999998</c:v>
                </c:pt>
                <c:pt idx="4047">
                  <c:v>2.1826460000000001</c:v>
                </c:pt>
                <c:pt idx="4048">
                  <c:v>2.0047139999999999</c:v>
                </c:pt>
                <c:pt idx="4049">
                  <c:v>2.1083769999999999</c:v>
                </c:pt>
                <c:pt idx="4050">
                  <c:v>2.1575829999999998</c:v>
                </c:pt>
                <c:pt idx="4051">
                  <c:v>2.118719</c:v>
                </c:pt>
                <c:pt idx="4052">
                  <c:v>2.0297770000000002</c:v>
                </c:pt>
                <c:pt idx="4053">
                  <c:v>2.0477799999999999</c:v>
                </c:pt>
                <c:pt idx="4054">
                  <c:v>2.186105</c:v>
                </c:pt>
                <c:pt idx="4055">
                  <c:v>2.1267689999999999</c:v>
                </c:pt>
                <c:pt idx="4056">
                  <c:v>2.099027</c:v>
                </c:pt>
                <c:pt idx="4057">
                  <c:v>2.151179</c:v>
                </c:pt>
                <c:pt idx="4058">
                  <c:v>2.2483279999999999</c:v>
                </c:pt>
                <c:pt idx="4059">
                  <c:v>2.2377389999999999</c:v>
                </c:pt>
                <c:pt idx="4060">
                  <c:v>1.9684980000000001</c:v>
                </c:pt>
                <c:pt idx="4061">
                  <c:v>2.0248840000000001</c:v>
                </c:pt>
                <c:pt idx="4062">
                  <c:v>2.3136860000000001</c:v>
                </c:pt>
                <c:pt idx="4063">
                  <c:v>2.2703350000000002</c:v>
                </c:pt>
                <c:pt idx="4064">
                  <c:v>2.0553780000000001</c:v>
                </c:pt>
                <c:pt idx="4065">
                  <c:v>2.0079020000000001</c:v>
                </c:pt>
                <c:pt idx="4066">
                  <c:v>2.1760199999999998</c:v>
                </c:pt>
                <c:pt idx="4067">
                  <c:v>2.3315359999999998</c:v>
                </c:pt>
                <c:pt idx="4068">
                  <c:v>2.2883420000000001</c:v>
                </c:pt>
                <c:pt idx="4069">
                  <c:v>2.277412</c:v>
                </c:pt>
                <c:pt idx="4070">
                  <c:v>2.4129429999999998</c:v>
                </c:pt>
                <c:pt idx="4071">
                  <c:v>2.2916569999999998</c:v>
                </c:pt>
                <c:pt idx="4072">
                  <c:v>2.1683759999999999</c:v>
                </c:pt>
                <c:pt idx="4073">
                  <c:v>2.3706109999999998</c:v>
                </c:pt>
                <c:pt idx="4074">
                  <c:v>2.548025</c:v>
                </c:pt>
                <c:pt idx="4075">
                  <c:v>2.522834</c:v>
                </c:pt>
                <c:pt idx="4076">
                  <c:v>2.3220010000000002</c:v>
                </c:pt>
                <c:pt idx="4077">
                  <c:v>2.2200479999999998</c:v>
                </c:pt>
                <c:pt idx="4078">
                  <c:v>2.565887</c:v>
                </c:pt>
                <c:pt idx="4079">
                  <c:v>2.9581810000000002</c:v>
                </c:pt>
                <c:pt idx="4080">
                  <c:v>2.9274640000000001</c:v>
                </c:pt>
                <c:pt idx="4081">
                  <c:v>2.8120509999999999</c:v>
                </c:pt>
                <c:pt idx="4082">
                  <c:v>2.9760930000000001</c:v>
                </c:pt>
                <c:pt idx="4083">
                  <c:v>3.2197800000000001</c:v>
                </c:pt>
                <c:pt idx="4084">
                  <c:v>2.9731040000000002</c:v>
                </c:pt>
                <c:pt idx="4085">
                  <c:v>2.7318769999999999</c:v>
                </c:pt>
                <c:pt idx="4086">
                  <c:v>2.872735</c:v>
                </c:pt>
                <c:pt idx="4087">
                  <c:v>2.879426</c:v>
                </c:pt>
                <c:pt idx="4088">
                  <c:v>2.8196829999999999</c:v>
                </c:pt>
                <c:pt idx="4089">
                  <c:v>2.9931860000000001</c:v>
                </c:pt>
                <c:pt idx="4090">
                  <c:v>2.8855059999999999</c:v>
                </c:pt>
                <c:pt idx="4091">
                  <c:v>2.9066529999999999</c:v>
                </c:pt>
                <c:pt idx="4092">
                  <c:v>2.8465039999999999</c:v>
                </c:pt>
                <c:pt idx="4093">
                  <c:v>2.4801630000000001</c:v>
                </c:pt>
                <c:pt idx="4094">
                  <c:v>2.4692910000000001</c:v>
                </c:pt>
                <c:pt idx="4095">
                  <c:v>2.7799200000000002</c:v>
                </c:pt>
                <c:pt idx="4096">
                  <c:v>3.2762159999999998</c:v>
                </c:pt>
                <c:pt idx="4097">
                  <c:v>3.2254809999999998</c:v>
                </c:pt>
                <c:pt idx="4098">
                  <c:v>2.8933849999999999</c:v>
                </c:pt>
                <c:pt idx="4099">
                  <c:v>2.9302100000000002</c:v>
                </c:pt>
                <c:pt idx="4100">
                  <c:v>3.0156969999999998</c:v>
                </c:pt>
                <c:pt idx="4101">
                  <c:v>2.7270650000000001</c:v>
                </c:pt>
                <c:pt idx="4102">
                  <c:v>2.433049</c:v>
                </c:pt>
                <c:pt idx="4103">
                  <c:v>2.8633039999999998</c:v>
                </c:pt>
                <c:pt idx="4104">
                  <c:v>2.9403329999999999</c:v>
                </c:pt>
                <c:pt idx="4105">
                  <c:v>2.9290319999999999</c:v>
                </c:pt>
                <c:pt idx="4106">
                  <c:v>3.1960549999999999</c:v>
                </c:pt>
                <c:pt idx="4107">
                  <c:v>2.8830239999999998</c:v>
                </c:pt>
                <c:pt idx="4108">
                  <c:v>2.7936510000000001</c:v>
                </c:pt>
                <c:pt idx="4109">
                  <c:v>2.8736730000000001</c:v>
                </c:pt>
                <c:pt idx="4110">
                  <c:v>2.708885</c:v>
                </c:pt>
                <c:pt idx="4111">
                  <c:v>2.6828729999999998</c:v>
                </c:pt>
                <c:pt idx="4112">
                  <c:v>2.9273159999999998</c:v>
                </c:pt>
                <c:pt idx="4113">
                  <c:v>2.9211119999999999</c:v>
                </c:pt>
                <c:pt idx="4114">
                  <c:v>2.7227320000000002</c:v>
                </c:pt>
                <c:pt idx="4115">
                  <c:v>2.750054</c:v>
                </c:pt>
                <c:pt idx="4116">
                  <c:v>2.756281</c:v>
                </c:pt>
                <c:pt idx="4117">
                  <c:v>3.0977950000000001</c:v>
                </c:pt>
                <c:pt idx="4118">
                  <c:v>3.2859720000000001</c:v>
                </c:pt>
                <c:pt idx="4119">
                  <c:v>3.282737</c:v>
                </c:pt>
                <c:pt idx="4120">
                  <c:v>3.1672210000000001</c:v>
                </c:pt>
                <c:pt idx="4121">
                  <c:v>3.3319969999999999</c:v>
                </c:pt>
                <c:pt idx="4122">
                  <c:v>3.496877</c:v>
                </c:pt>
                <c:pt idx="4123">
                  <c:v>3.2085750000000002</c:v>
                </c:pt>
                <c:pt idx="4124">
                  <c:v>2.9964840000000001</c:v>
                </c:pt>
                <c:pt idx="4125">
                  <c:v>2.947562</c:v>
                </c:pt>
                <c:pt idx="4126">
                  <c:v>2.9037980000000001</c:v>
                </c:pt>
                <c:pt idx="4127">
                  <c:v>2.8024360000000001</c:v>
                </c:pt>
                <c:pt idx="4128">
                  <c:v>3.0011389999999998</c:v>
                </c:pt>
                <c:pt idx="4129">
                  <c:v>2.9635470000000002</c:v>
                </c:pt>
                <c:pt idx="4130">
                  <c:v>2.5342959999999999</c:v>
                </c:pt>
                <c:pt idx="4131">
                  <c:v>2.423816</c:v>
                </c:pt>
                <c:pt idx="4132">
                  <c:v>2.4629810000000001</c:v>
                </c:pt>
                <c:pt idx="4133">
                  <c:v>2.391178</c:v>
                </c:pt>
                <c:pt idx="4134">
                  <c:v>2.7352599999999998</c:v>
                </c:pt>
                <c:pt idx="4135">
                  <c:v>2.8420139999999998</c:v>
                </c:pt>
                <c:pt idx="4136">
                  <c:v>2.9114529999999998</c:v>
                </c:pt>
                <c:pt idx="4137">
                  <c:v>2.9585789999999998</c:v>
                </c:pt>
                <c:pt idx="4138">
                  <c:v>2.6606869999999998</c:v>
                </c:pt>
                <c:pt idx="4139">
                  <c:v>2.8434020000000002</c:v>
                </c:pt>
                <c:pt idx="4140">
                  <c:v>3.0039359999999999</c:v>
                </c:pt>
                <c:pt idx="4141">
                  <c:v>2.6965910000000002</c:v>
                </c:pt>
                <c:pt idx="4142">
                  <c:v>2.806683</c:v>
                </c:pt>
                <c:pt idx="4143">
                  <c:v>3.1308319999999998</c:v>
                </c:pt>
                <c:pt idx="4144">
                  <c:v>2.9102749999999999</c:v>
                </c:pt>
                <c:pt idx="4145">
                  <c:v>2.7396159999999998</c:v>
                </c:pt>
                <c:pt idx="4146">
                  <c:v>3.047256</c:v>
                </c:pt>
                <c:pt idx="4147">
                  <c:v>3.0092089999999998</c:v>
                </c:pt>
                <c:pt idx="4148">
                  <c:v>2.6621039999999998</c:v>
                </c:pt>
                <c:pt idx="4149">
                  <c:v>2.6731370000000001</c:v>
                </c:pt>
                <c:pt idx="4150">
                  <c:v>2.7971810000000001</c:v>
                </c:pt>
                <c:pt idx="4151">
                  <c:v>2.6528119999999999</c:v>
                </c:pt>
                <c:pt idx="4152">
                  <c:v>2.5008710000000001</c:v>
                </c:pt>
                <c:pt idx="4153">
                  <c:v>2.4016739999999999</c:v>
                </c:pt>
                <c:pt idx="4154">
                  <c:v>2.3921709999999998</c:v>
                </c:pt>
                <c:pt idx="4155">
                  <c:v>2.5673149999999998</c:v>
                </c:pt>
                <c:pt idx="4156">
                  <c:v>2.6489419999999999</c:v>
                </c:pt>
                <c:pt idx="4157">
                  <c:v>2.7607689999999998</c:v>
                </c:pt>
                <c:pt idx="4158">
                  <c:v>2.8931939999999998</c:v>
                </c:pt>
                <c:pt idx="4159">
                  <c:v>2.7055030000000002</c:v>
                </c:pt>
                <c:pt idx="4160">
                  <c:v>2.6137679999999999</c:v>
                </c:pt>
                <c:pt idx="4161">
                  <c:v>2.6939799999999998</c:v>
                </c:pt>
                <c:pt idx="4162">
                  <c:v>2.7988360000000001</c:v>
                </c:pt>
                <c:pt idx="4163">
                  <c:v>2.6506980000000002</c:v>
                </c:pt>
                <c:pt idx="4164">
                  <c:v>2.5050940000000002</c:v>
                </c:pt>
                <c:pt idx="4165">
                  <c:v>2.6156540000000001</c:v>
                </c:pt>
                <c:pt idx="4166">
                  <c:v>2.3926850000000002</c:v>
                </c:pt>
                <c:pt idx="4167">
                  <c:v>1.9882550000000001</c:v>
                </c:pt>
                <c:pt idx="4168">
                  <c:v>2.1458089999999999</c:v>
                </c:pt>
                <c:pt idx="4169">
                  <c:v>2.3946930000000002</c:v>
                </c:pt>
                <c:pt idx="4170">
                  <c:v>2.174328</c:v>
                </c:pt>
                <c:pt idx="4171">
                  <c:v>2.1790099999999999</c:v>
                </c:pt>
                <c:pt idx="4172">
                  <c:v>2.0923080000000001</c:v>
                </c:pt>
                <c:pt idx="4173">
                  <c:v>1.893691</c:v>
                </c:pt>
                <c:pt idx="4174">
                  <c:v>2.0314809999999999</c:v>
                </c:pt>
                <c:pt idx="4175">
                  <c:v>2.2176179999999999</c:v>
                </c:pt>
                <c:pt idx="4176">
                  <c:v>2.3103549999999999</c:v>
                </c:pt>
                <c:pt idx="4177">
                  <c:v>2.2947229999999998</c:v>
                </c:pt>
                <c:pt idx="4178">
                  <c:v>2.4234779999999998</c:v>
                </c:pt>
                <c:pt idx="4179">
                  <c:v>2.495098</c:v>
                </c:pt>
                <c:pt idx="4180">
                  <c:v>2.409341</c:v>
                </c:pt>
                <c:pt idx="4181">
                  <c:v>2.2997190000000001</c:v>
                </c:pt>
                <c:pt idx="4182">
                  <c:v>2.1024690000000001</c:v>
                </c:pt>
                <c:pt idx="4183">
                  <c:v>2.2540420000000001</c:v>
                </c:pt>
                <c:pt idx="4184">
                  <c:v>2.3191609999999998</c:v>
                </c:pt>
                <c:pt idx="4185">
                  <c:v>2.080578</c:v>
                </c:pt>
                <c:pt idx="4186">
                  <c:v>2.0727139999999999</c:v>
                </c:pt>
                <c:pt idx="4187">
                  <c:v>1.910595</c:v>
                </c:pt>
                <c:pt idx="4188">
                  <c:v>1.6666909999999999</c:v>
                </c:pt>
                <c:pt idx="4189">
                  <c:v>1.771927</c:v>
                </c:pt>
                <c:pt idx="4190">
                  <c:v>1.7946899999999999</c:v>
                </c:pt>
                <c:pt idx="4191">
                  <c:v>1.5132159999999999</c:v>
                </c:pt>
                <c:pt idx="4192">
                  <c:v>1.333869</c:v>
                </c:pt>
                <c:pt idx="4193">
                  <c:v>1.4678949999999999</c:v>
                </c:pt>
                <c:pt idx="4194">
                  <c:v>1.5028429999999999</c:v>
                </c:pt>
                <c:pt idx="4195">
                  <c:v>1.4998089999999999</c:v>
                </c:pt>
                <c:pt idx="4196">
                  <c:v>1.4774970000000001</c:v>
                </c:pt>
                <c:pt idx="4197">
                  <c:v>1.5178259999999999</c:v>
                </c:pt>
                <c:pt idx="4198">
                  <c:v>1.5227059999999999</c:v>
                </c:pt>
                <c:pt idx="4199">
                  <c:v>1.51647</c:v>
                </c:pt>
                <c:pt idx="4200">
                  <c:v>1.772885</c:v>
                </c:pt>
                <c:pt idx="4201">
                  <c:v>1.7738780000000001</c:v>
                </c:pt>
                <c:pt idx="4202">
                  <c:v>1.5605450000000001</c:v>
                </c:pt>
                <c:pt idx="4203">
                  <c:v>1.4331609999999999</c:v>
                </c:pt>
                <c:pt idx="4204">
                  <c:v>1.477233</c:v>
                </c:pt>
                <c:pt idx="4205">
                  <c:v>1.4079349999999999</c:v>
                </c:pt>
                <c:pt idx="4206">
                  <c:v>1.2830699999999999</c:v>
                </c:pt>
                <c:pt idx="4207">
                  <c:v>1.1877519999999999</c:v>
                </c:pt>
                <c:pt idx="4208">
                  <c:v>1.311828</c:v>
                </c:pt>
                <c:pt idx="4209">
                  <c:v>1.5542959999999999</c:v>
                </c:pt>
                <c:pt idx="4210">
                  <c:v>1.2821020000000001</c:v>
                </c:pt>
                <c:pt idx="4211">
                  <c:v>0.89569399999999999</c:v>
                </c:pt>
                <c:pt idx="4212">
                  <c:v>0.62907000000000002</c:v>
                </c:pt>
                <c:pt idx="4213">
                  <c:v>0.75225399999999998</c:v>
                </c:pt>
                <c:pt idx="4214">
                  <c:v>0.81503899999999996</c:v>
                </c:pt>
                <c:pt idx="4215">
                  <c:v>0.52692899999999998</c:v>
                </c:pt>
                <c:pt idx="4216">
                  <c:v>0.52036000000000004</c:v>
                </c:pt>
                <c:pt idx="4217">
                  <c:v>0.66004099999999999</c:v>
                </c:pt>
                <c:pt idx="4218">
                  <c:v>0.55916900000000003</c:v>
                </c:pt>
                <c:pt idx="4219">
                  <c:v>0.50089899999999998</c:v>
                </c:pt>
                <c:pt idx="4220">
                  <c:v>0.463007</c:v>
                </c:pt>
                <c:pt idx="4221">
                  <c:v>0.30429400000000001</c:v>
                </c:pt>
                <c:pt idx="4222">
                  <c:v>0.14555499999999999</c:v>
                </c:pt>
                <c:pt idx="4223">
                  <c:v>0.11751</c:v>
                </c:pt>
                <c:pt idx="4224">
                  <c:v>0.15880900000000001</c:v>
                </c:pt>
                <c:pt idx="4225">
                  <c:v>-9.4438999999999995E-2</c:v>
                </c:pt>
                <c:pt idx="4226">
                  <c:v>-0.29976199999999997</c:v>
                </c:pt>
                <c:pt idx="4227">
                  <c:v>-0.39526499999999998</c:v>
                </c:pt>
                <c:pt idx="4228">
                  <c:v>-0.69981700000000002</c:v>
                </c:pt>
                <c:pt idx="4229">
                  <c:v>-0.78263899999999997</c:v>
                </c:pt>
                <c:pt idx="4230">
                  <c:v>-0.81857199999999997</c:v>
                </c:pt>
                <c:pt idx="4231">
                  <c:v>-0.88681100000000002</c:v>
                </c:pt>
                <c:pt idx="4232">
                  <c:v>-1.1732579999999999</c:v>
                </c:pt>
                <c:pt idx="4233">
                  <c:v>-1.1678010000000001</c:v>
                </c:pt>
                <c:pt idx="4234">
                  <c:v>-1.0680400000000001</c:v>
                </c:pt>
                <c:pt idx="4235">
                  <c:v>-1.276548</c:v>
                </c:pt>
                <c:pt idx="4236">
                  <c:v>-1.447862</c:v>
                </c:pt>
                <c:pt idx="4237">
                  <c:v>-1.670188</c:v>
                </c:pt>
                <c:pt idx="4238">
                  <c:v>-1.5857749999999999</c:v>
                </c:pt>
                <c:pt idx="4239">
                  <c:v>-1.6049720000000001</c:v>
                </c:pt>
                <c:pt idx="4240">
                  <c:v>-1.936105</c:v>
                </c:pt>
                <c:pt idx="4241">
                  <c:v>-2.1716099999999998</c:v>
                </c:pt>
                <c:pt idx="4242">
                  <c:v>-2.2305670000000002</c:v>
                </c:pt>
                <c:pt idx="4243">
                  <c:v>-2.6365069999999999</c:v>
                </c:pt>
                <c:pt idx="4244">
                  <c:v>-3.0214150000000002</c:v>
                </c:pt>
                <c:pt idx="4245">
                  <c:v>-3.3498480000000002</c:v>
                </c:pt>
                <c:pt idx="4246">
                  <c:v>-3.919136</c:v>
                </c:pt>
                <c:pt idx="4247">
                  <c:v>-4.0238709999999998</c:v>
                </c:pt>
                <c:pt idx="4248">
                  <c:v>-4.2894500000000004</c:v>
                </c:pt>
                <c:pt idx="4249">
                  <c:v>-4.7632329999999996</c:v>
                </c:pt>
                <c:pt idx="4250">
                  <c:v>-5.1437169999999997</c:v>
                </c:pt>
                <c:pt idx="4251">
                  <c:v>-5.5868609999999999</c:v>
                </c:pt>
                <c:pt idx="4252">
                  <c:v>-5.9306799999999997</c:v>
                </c:pt>
                <c:pt idx="4253">
                  <c:v>-6.4278279999999999</c:v>
                </c:pt>
                <c:pt idx="4254">
                  <c:v>-6.6658989999999996</c:v>
                </c:pt>
                <c:pt idx="4255">
                  <c:v>-6.838203</c:v>
                </c:pt>
                <c:pt idx="4256">
                  <c:v>-7.3622430000000003</c:v>
                </c:pt>
                <c:pt idx="4257">
                  <c:v>-7.3311719999999996</c:v>
                </c:pt>
                <c:pt idx="4258">
                  <c:v>-7.354088</c:v>
                </c:pt>
                <c:pt idx="4259">
                  <c:v>-7.7742269999999998</c:v>
                </c:pt>
                <c:pt idx="4260">
                  <c:v>-7.9330670000000003</c:v>
                </c:pt>
                <c:pt idx="4261">
                  <c:v>-8.0216639999999995</c:v>
                </c:pt>
                <c:pt idx="4262">
                  <c:v>-8.1958219999999997</c:v>
                </c:pt>
                <c:pt idx="4263">
                  <c:v>-8.5458320000000008</c:v>
                </c:pt>
                <c:pt idx="4264">
                  <c:v>-8.7871039999999994</c:v>
                </c:pt>
                <c:pt idx="4265">
                  <c:v>-8.9787929999999996</c:v>
                </c:pt>
                <c:pt idx="4266">
                  <c:v>-9.2949839999999995</c:v>
                </c:pt>
                <c:pt idx="4267">
                  <c:v>-9.6010139999999993</c:v>
                </c:pt>
                <c:pt idx="4268">
                  <c:v>-10.038259999999999</c:v>
                </c:pt>
                <c:pt idx="4269">
                  <c:v>-10.622033099999999</c:v>
                </c:pt>
                <c:pt idx="4270">
                  <c:v>-10.9574471</c:v>
                </c:pt>
                <c:pt idx="4271">
                  <c:v>-11.103775000000001</c:v>
                </c:pt>
                <c:pt idx="4272">
                  <c:v>-11.4746723</c:v>
                </c:pt>
                <c:pt idx="4273">
                  <c:v>-12.0305119</c:v>
                </c:pt>
                <c:pt idx="4274">
                  <c:v>-12.37138</c:v>
                </c:pt>
                <c:pt idx="4275">
                  <c:v>-12.5969734</c:v>
                </c:pt>
                <c:pt idx="4276">
                  <c:v>-13.01928</c:v>
                </c:pt>
                <c:pt idx="4277">
                  <c:v>-13.342859300000001</c:v>
                </c:pt>
                <c:pt idx="4278">
                  <c:v>-13.5453777</c:v>
                </c:pt>
                <c:pt idx="4279">
                  <c:v>-13.8122177</c:v>
                </c:pt>
                <c:pt idx="4280">
                  <c:v>-13.96744</c:v>
                </c:pt>
                <c:pt idx="4281">
                  <c:v>-14.0583525</c:v>
                </c:pt>
                <c:pt idx="4282">
                  <c:v>-14.407087300000001</c:v>
                </c:pt>
                <c:pt idx="4283">
                  <c:v>-14.601255399999999</c:v>
                </c:pt>
                <c:pt idx="4284">
                  <c:v>-14.9178181</c:v>
                </c:pt>
                <c:pt idx="4285">
                  <c:v>-15.225936900000001</c:v>
                </c:pt>
                <c:pt idx="4286">
                  <c:v>-15.19684</c:v>
                </c:pt>
                <c:pt idx="4287">
                  <c:v>-15.3139381</c:v>
                </c:pt>
                <c:pt idx="4288">
                  <c:v>-15.5613022</c:v>
                </c:pt>
                <c:pt idx="4289">
                  <c:v>-15.742366799999999</c:v>
                </c:pt>
                <c:pt idx="4290">
                  <c:v>-15.845493299999999</c:v>
                </c:pt>
                <c:pt idx="4291">
                  <c:v>-16.027942700000001</c:v>
                </c:pt>
                <c:pt idx="4292">
                  <c:v>-16.4515171</c:v>
                </c:pt>
                <c:pt idx="4293">
                  <c:v>-16.809227</c:v>
                </c:pt>
                <c:pt idx="4294">
                  <c:v>-17.2140427</c:v>
                </c:pt>
                <c:pt idx="4295">
                  <c:v>-17.513782500000001</c:v>
                </c:pt>
                <c:pt idx="4296">
                  <c:v>-17.766483300000001</c:v>
                </c:pt>
                <c:pt idx="4297">
                  <c:v>-18.260079999999999</c:v>
                </c:pt>
                <c:pt idx="4298">
                  <c:v>-18.356191599999999</c:v>
                </c:pt>
                <c:pt idx="4299">
                  <c:v>-18.443656900000001</c:v>
                </c:pt>
                <c:pt idx="4300">
                  <c:v>-18.573255499999998</c:v>
                </c:pt>
                <c:pt idx="4301">
                  <c:v>-18.790327099999999</c:v>
                </c:pt>
                <c:pt idx="4302">
                  <c:v>-19.248302500000001</c:v>
                </c:pt>
                <c:pt idx="4303">
                  <c:v>-19.304870000000001</c:v>
                </c:pt>
                <c:pt idx="4304">
                  <c:v>-19.350826300000001</c:v>
                </c:pt>
                <c:pt idx="4305">
                  <c:v>-19.7141533</c:v>
                </c:pt>
                <c:pt idx="4306">
                  <c:v>-19.750820000000001</c:v>
                </c:pt>
                <c:pt idx="4307">
                  <c:v>-19.629867600000001</c:v>
                </c:pt>
                <c:pt idx="4308">
                  <c:v>-19.94774</c:v>
                </c:pt>
                <c:pt idx="4309">
                  <c:v>-20.091266600000001</c:v>
                </c:pt>
                <c:pt idx="4310">
                  <c:v>-19.880287200000001</c:v>
                </c:pt>
                <c:pt idx="4311">
                  <c:v>-20.007038099999999</c:v>
                </c:pt>
                <c:pt idx="4312">
                  <c:v>-20.2337551</c:v>
                </c:pt>
                <c:pt idx="4313">
                  <c:v>-20.253234899999999</c:v>
                </c:pt>
                <c:pt idx="4314">
                  <c:v>-20.10371</c:v>
                </c:pt>
                <c:pt idx="4315">
                  <c:v>-19.951332099999998</c:v>
                </c:pt>
                <c:pt idx="4316">
                  <c:v>-19.986682900000002</c:v>
                </c:pt>
                <c:pt idx="4317">
                  <c:v>-20.392608599999999</c:v>
                </c:pt>
                <c:pt idx="4318">
                  <c:v>-20.671508800000002</c:v>
                </c:pt>
                <c:pt idx="4319">
                  <c:v>-20.501014699999999</c:v>
                </c:pt>
                <c:pt idx="4320">
                  <c:v>-20.490058900000001</c:v>
                </c:pt>
                <c:pt idx="4321">
                  <c:v>-20.6867771</c:v>
                </c:pt>
                <c:pt idx="4322">
                  <c:v>-20.870185899999999</c:v>
                </c:pt>
                <c:pt idx="4323">
                  <c:v>-20.95054</c:v>
                </c:pt>
                <c:pt idx="4324">
                  <c:v>-20.913711500000002</c:v>
                </c:pt>
                <c:pt idx="4325">
                  <c:v>-21.081611599999999</c:v>
                </c:pt>
                <c:pt idx="4326">
                  <c:v>-21.085550000000001</c:v>
                </c:pt>
                <c:pt idx="4327">
                  <c:v>-21.1440144</c:v>
                </c:pt>
                <c:pt idx="4328">
                  <c:v>-21.358247800000001</c:v>
                </c:pt>
                <c:pt idx="4329">
                  <c:v>-21.258690000000001</c:v>
                </c:pt>
                <c:pt idx="4330">
                  <c:v>-21.294605300000001</c:v>
                </c:pt>
                <c:pt idx="4331">
                  <c:v>-21.478675800000001</c:v>
                </c:pt>
                <c:pt idx="4332">
                  <c:v>-21.409898800000001</c:v>
                </c:pt>
                <c:pt idx="4333">
                  <c:v>-21.34235</c:v>
                </c:pt>
                <c:pt idx="4334">
                  <c:v>-21.6045418</c:v>
                </c:pt>
                <c:pt idx="4335">
                  <c:v>-21.640392299999998</c:v>
                </c:pt>
                <c:pt idx="4336">
                  <c:v>-21.7027</c:v>
                </c:pt>
                <c:pt idx="4337">
                  <c:v>-21.7025471</c:v>
                </c:pt>
                <c:pt idx="4338">
                  <c:v>-21.705439999999999</c:v>
                </c:pt>
                <c:pt idx="4339">
                  <c:v>-22.061256400000001</c:v>
                </c:pt>
                <c:pt idx="4340">
                  <c:v>-22.080210000000001</c:v>
                </c:pt>
                <c:pt idx="4341">
                  <c:v>-21.996387500000001</c:v>
                </c:pt>
                <c:pt idx="4342">
                  <c:v>-22.051635699999999</c:v>
                </c:pt>
                <c:pt idx="4343">
                  <c:v>-22.17773</c:v>
                </c:pt>
                <c:pt idx="4344">
                  <c:v>-22.073135400000002</c:v>
                </c:pt>
                <c:pt idx="4345">
                  <c:v>-22.116542800000001</c:v>
                </c:pt>
                <c:pt idx="4346">
                  <c:v>-22.204366700000001</c:v>
                </c:pt>
                <c:pt idx="4347">
                  <c:v>-22.207280000000001</c:v>
                </c:pt>
                <c:pt idx="4348">
                  <c:v>-22.162859999999998</c:v>
                </c:pt>
                <c:pt idx="4349">
                  <c:v>-22.095897699999998</c:v>
                </c:pt>
                <c:pt idx="4350">
                  <c:v>-22.076034499999999</c:v>
                </c:pt>
                <c:pt idx="4351">
                  <c:v>-21.87894</c:v>
                </c:pt>
                <c:pt idx="4352">
                  <c:v>-21.850249999999999</c:v>
                </c:pt>
                <c:pt idx="4353">
                  <c:v>-21.70119</c:v>
                </c:pt>
                <c:pt idx="4354">
                  <c:v>-21.757392899999999</c:v>
                </c:pt>
                <c:pt idx="4355">
                  <c:v>-21.8575287</c:v>
                </c:pt>
                <c:pt idx="4356">
                  <c:v>-21.660144800000001</c:v>
                </c:pt>
                <c:pt idx="4357">
                  <c:v>-21.638225599999998</c:v>
                </c:pt>
                <c:pt idx="4358">
                  <c:v>-21.366415</c:v>
                </c:pt>
                <c:pt idx="4359">
                  <c:v>-21.297893500000001</c:v>
                </c:pt>
                <c:pt idx="4360">
                  <c:v>-21.5293636</c:v>
                </c:pt>
                <c:pt idx="4361">
                  <c:v>-21.5323563</c:v>
                </c:pt>
                <c:pt idx="4362">
                  <c:v>-21.316036199999999</c:v>
                </c:pt>
                <c:pt idx="4363">
                  <c:v>-21.376102400000001</c:v>
                </c:pt>
                <c:pt idx="4364">
                  <c:v>-21.644748700000001</c:v>
                </c:pt>
                <c:pt idx="4365">
                  <c:v>-21.707193400000001</c:v>
                </c:pt>
                <c:pt idx="4366">
                  <c:v>-21.939867</c:v>
                </c:pt>
                <c:pt idx="4367">
                  <c:v>-21.999486900000001</c:v>
                </c:pt>
                <c:pt idx="4368">
                  <c:v>-21.975570000000001</c:v>
                </c:pt>
                <c:pt idx="4369">
                  <c:v>-22.307205199999999</c:v>
                </c:pt>
                <c:pt idx="4370">
                  <c:v>-22.331674599999999</c:v>
                </c:pt>
                <c:pt idx="4371">
                  <c:v>-22.392953899999998</c:v>
                </c:pt>
                <c:pt idx="4372">
                  <c:v>-22.5969753</c:v>
                </c:pt>
                <c:pt idx="4373">
                  <c:v>-22.480716699999999</c:v>
                </c:pt>
                <c:pt idx="4374">
                  <c:v>-22.797136299999998</c:v>
                </c:pt>
                <c:pt idx="4375">
                  <c:v>-23.004051199999999</c:v>
                </c:pt>
                <c:pt idx="4376">
                  <c:v>-22.89873</c:v>
                </c:pt>
                <c:pt idx="4377">
                  <c:v>-22.886358300000001</c:v>
                </c:pt>
                <c:pt idx="4378">
                  <c:v>-22.707075100000001</c:v>
                </c:pt>
                <c:pt idx="4379">
                  <c:v>-22.705732300000001</c:v>
                </c:pt>
                <c:pt idx="4380">
                  <c:v>-23.062280000000001</c:v>
                </c:pt>
                <c:pt idx="4381">
                  <c:v>-23.149276700000001</c:v>
                </c:pt>
                <c:pt idx="4382">
                  <c:v>-23.312461899999999</c:v>
                </c:pt>
                <c:pt idx="4383">
                  <c:v>-23.7176075</c:v>
                </c:pt>
                <c:pt idx="4384">
                  <c:v>-23.863578799999999</c:v>
                </c:pt>
                <c:pt idx="4385">
                  <c:v>-24.151784899999999</c:v>
                </c:pt>
                <c:pt idx="4386">
                  <c:v>-24.524457900000002</c:v>
                </c:pt>
                <c:pt idx="4387">
                  <c:v>-24.409463899999999</c:v>
                </c:pt>
                <c:pt idx="4388">
                  <c:v>-24.573282200000001</c:v>
                </c:pt>
                <c:pt idx="4389">
                  <c:v>-24.8669586</c:v>
                </c:pt>
                <c:pt idx="4390">
                  <c:v>-25.0412064</c:v>
                </c:pt>
                <c:pt idx="4391">
                  <c:v>-25.351871500000001</c:v>
                </c:pt>
                <c:pt idx="4392">
                  <c:v>-25.268000000000001</c:v>
                </c:pt>
                <c:pt idx="4393">
                  <c:v>-25.4419918</c:v>
                </c:pt>
                <c:pt idx="4394">
                  <c:v>-25.670988099999999</c:v>
                </c:pt>
                <c:pt idx="4395">
                  <c:v>-26.075923899999999</c:v>
                </c:pt>
                <c:pt idx="4396">
                  <c:v>-26.372762699999999</c:v>
                </c:pt>
                <c:pt idx="4397">
                  <c:v>-26.155437500000001</c:v>
                </c:pt>
                <c:pt idx="4398">
                  <c:v>-26.253444699999999</c:v>
                </c:pt>
                <c:pt idx="4399">
                  <c:v>-26.9120235</c:v>
                </c:pt>
                <c:pt idx="4400">
                  <c:v>-27.137589999999999</c:v>
                </c:pt>
                <c:pt idx="4401">
                  <c:v>-26.953142199999998</c:v>
                </c:pt>
                <c:pt idx="4402">
                  <c:v>-27.2203789</c:v>
                </c:pt>
                <c:pt idx="4403">
                  <c:v>-27.4396381</c:v>
                </c:pt>
                <c:pt idx="4404">
                  <c:v>-27.774513200000001</c:v>
                </c:pt>
                <c:pt idx="4405">
                  <c:v>-27.833168000000001</c:v>
                </c:pt>
                <c:pt idx="4406">
                  <c:v>-27.8841362</c:v>
                </c:pt>
                <c:pt idx="4407">
                  <c:v>-28.3197346</c:v>
                </c:pt>
                <c:pt idx="4408">
                  <c:v>-28.631242799999999</c:v>
                </c:pt>
                <c:pt idx="4409">
                  <c:v>-28.751228300000001</c:v>
                </c:pt>
                <c:pt idx="4410">
                  <c:v>-28.9363785</c:v>
                </c:pt>
                <c:pt idx="4411">
                  <c:v>-29.131119999999999</c:v>
                </c:pt>
                <c:pt idx="4412">
                  <c:v>-29.058393500000001</c:v>
                </c:pt>
                <c:pt idx="4413">
                  <c:v>-29.306069999999998</c:v>
                </c:pt>
                <c:pt idx="4414">
                  <c:v>-29.850547800000001</c:v>
                </c:pt>
                <c:pt idx="4415">
                  <c:v>-29.961812999999999</c:v>
                </c:pt>
                <c:pt idx="4416">
                  <c:v>-29.916824299999998</c:v>
                </c:pt>
                <c:pt idx="4417">
                  <c:v>-30.109094599999999</c:v>
                </c:pt>
                <c:pt idx="4418">
                  <c:v>-30.457208600000001</c:v>
                </c:pt>
                <c:pt idx="4419">
                  <c:v>-30.879069999999999</c:v>
                </c:pt>
                <c:pt idx="4420">
                  <c:v>-31.1484585</c:v>
                </c:pt>
                <c:pt idx="4421">
                  <c:v>-31.412492799999999</c:v>
                </c:pt>
                <c:pt idx="4422">
                  <c:v>-32.010936700000002</c:v>
                </c:pt>
                <c:pt idx="4423">
                  <c:v>-32.187564799999997</c:v>
                </c:pt>
                <c:pt idx="4424">
                  <c:v>-32.558250000000001</c:v>
                </c:pt>
                <c:pt idx="4425">
                  <c:v>-33.222145099999999</c:v>
                </c:pt>
                <c:pt idx="4426">
                  <c:v>-33.682670000000002</c:v>
                </c:pt>
                <c:pt idx="4427">
                  <c:v>-34.236862199999997</c:v>
                </c:pt>
                <c:pt idx="4428">
                  <c:v>-34.579880000000003</c:v>
                </c:pt>
                <c:pt idx="4429">
                  <c:v>-35.082756000000003</c:v>
                </c:pt>
                <c:pt idx="4430">
                  <c:v>-35.395919999999997</c:v>
                </c:pt>
                <c:pt idx="4431">
                  <c:v>-35.747520000000002</c:v>
                </c:pt>
                <c:pt idx="4432">
                  <c:v>-35.9689178</c:v>
                </c:pt>
                <c:pt idx="4433">
                  <c:v>-36.121006000000001</c:v>
                </c:pt>
                <c:pt idx="4434">
                  <c:v>-36.354293800000001</c:v>
                </c:pt>
                <c:pt idx="4435">
                  <c:v>-36.422718000000003</c:v>
                </c:pt>
                <c:pt idx="4436">
                  <c:v>-36.384709999999998</c:v>
                </c:pt>
                <c:pt idx="4437">
                  <c:v>-36.616990000000001</c:v>
                </c:pt>
                <c:pt idx="4438">
                  <c:v>-36.567869999999999</c:v>
                </c:pt>
                <c:pt idx="4439">
                  <c:v>-36.372979999999998</c:v>
                </c:pt>
                <c:pt idx="4440">
                  <c:v>-36.608420000000002</c:v>
                </c:pt>
                <c:pt idx="4441">
                  <c:v>-36.396636999999998</c:v>
                </c:pt>
                <c:pt idx="4442">
                  <c:v>-36.3187256</c:v>
                </c:pt>
                <c:pt idx="4443">
                  <c:v>-36.237740000000002</c:v>
                </c:pt>
                <c:pt idx="4444">
                  <c:v>-36.017036400000002</c:v>
                </c:pt>
                <c:pt idx="4445">
                  <c:v>-36.046239999999997</c:v>
                </c:pt>
                <c:pt idx="4446">
                  <c:v>-35.796875</c:v>
                </c:pt>
                <c:pt idx="4447">
                  <c:v>-35.464239999999997</c:v>
                </c:pt>
                <c:pt idx="4448">
                  <c:v>-35.472827899999999</c:v>
                </c:pt>
                <c:pt idx="4449">
                  <c:v>-35.2536354</c:v>
                </c:pt>
                <c:pt idx="4450">
                  <c:v>-35.035170000000001</c:v>
                </c:pt>
                <c:pt idx="4451">
                  <c:v>-35.013885500000001</c:v>
                </c:pt>
                <c:pt idx="4452">
                  <c:v>-34.557580000000002</c:v>
                </c:pt>
                <c:pt idx="4453">
                  <c:v>-34.26923</c:v>
                </c:pt>
                <c:pt idx="4454">
                  <c:v>-34.524880000000003</c:v>
                </c:pt>
                <c:pt idx="4455">
                  <c:v>-34.339910000000003</c:v>
                </c:pt>
                <c:pt idx="4456">
                  <c:v>-34.071536999999999</c:v>
                </c:pt>
                <c:pt idx="4457">
                  <c:v>-33.877914400000002</c:v>
                </c:pt>
                <c:pt idx="4458">
                  <c:v>-33.596092200000001</c:v>
                </c:pt>
                <c:pt idx="4459">
                  <c:v>-33.421700000000001</c:v>
                </c:pt>
                <c:pt idx="4460">
                  <c:v>-33.239370000000001</c:v>
                </c:pt>
                <c:pt idx="4461">
                  <c:v>-33.187377900000001</c:v>
                </c:pt>
                <c:pt idx="4462">
                  <c:v>-33.213073700000002</c:v>
                </c:pt>
                <c:pt idx="4463">
                  <c:v>-33.358750000000001</c:v>
                </c:pt>
                <c:pt idx="4464">
                  <c:v>-33.108894300000003</c:v>
                </c:pt>
                <c:pt idx="4465">
                  <c:v>-33.061252600000003</c:v>
                </c:pt>
                <c:pt idx="4466">
                  <c:v>-32.916710000000002</c:v>
                </c:pt>
                <c:pt idx="4467">
                  <c:v>-32.554397600000001</c:v>
                </c:pt>
                <c:pt idx="4468">
                  <c:v>-32.532867400000001</c:v>
                </c:pt>
                <c:pt idx="4469">
                  <c:v>-32.423564900000002</c:v>
                </c:pt>
                <c:pt idx="4470">
                  <c:v>-32.1364059</c:v>
                </c:pt>
                <c:pt idx="4471">
                  <c:v>-31.749954200000001</c:v>
                </c:pt>
                <c:pt idx="4472">
                  <c:v>-31.567409999999999</c:v>
                </c:pt>
                <c:pt idx="4473">
                  <c:v>-31.554914499999999</c:v>
                </c:pt>
                <c:pt idx="4474">
                  <c:v>-31.194934799999999</c:v>
                </c:pt>
                <c:pt idx="4475">
                  <c:v>-30.874126400000002</c:v>
                </c:pt>
                <c:pt idx="4476">
                  <c:v>-30.899000000000001</c:v>
                </c:pt>
                <c:pt idx="4477">
                  <c:v>-30.573886900000002</c:v>
                </c:pt>
                <c:pt idx="4478">
                  <c:v>-29.862575499999998</c:v>
                </c:pt>
                <c:pt idx="4479">
                  <c:v>-29.667593</c:v>
                </c:pt>
                <c:pt idx="4480">
                  <c:v>-29.731855400000001</c:v>
                </c:pt>
                <c:pt idx="4481">
                  <c:v>-29.4148</c:v>
                </c:pt>
                <c:pt idx="4482">
                  <c:v>-29.266647299999999</c:v>
                </c:pt>
                <c:pt idx="4483">
                  <c:v>-29.296758700000002</c:v>
                </c:pt>
                <c:pt idx="4484">
                  <c:v>-29.1679344</c:v>
                </c:pt>
                <c:pt idx="4485">
                  <c:v>-28.964437499999999</c:v>
                </c:pt>
                <c:pt idx="4486">
                  <c:v>-28.857784299999999</c:v>
                </c:pt>
                <c:pt idx="4487">
                  <c:v>-28.7353439</c:v>
                </c:pt>
                <c:pt idx="4488">
                  <c:v>-28.338043200000001</c:v>
                </c:pt>
                <c:pt idx="4489">
                  <c:v>-28.1262665</c:v>
                </c:pt>
                <c:pt idx="4490">
                  <c:v>-28.208200000000001</c:v>
                </c:pt>
                <c:pt idx="4491">
                  <c:v>-27.985332499999998</c:v>
                </c:pt>
                <c:pt idx="4492">
                  <c:v>-27.608276400000001</c:v>
                </c:pt>
                <c:pt idx="4493">
                  <c:v>-27.202781699999999</c:v>
                </c:pt>
                <c:pt idx="4494">
                  <c:v>-26.838327400000001</c:v>
                </c:pt>
                <c:pt idx="4495">
                  <c:v>-26.413765000000001</c:v>
                </c:pt>
                <c:pt idx="4496">
                  <c:v>-25.88306</c:v>
                </c:pt>
                <c:pt idx="4497">
                  <c:v>-25.550758399999999</c:v>
                </c:pt>
                <c:pt idx="4498">
                  <c:v>-25.021562599999999</c:v>
                </c:pt>
                <c:pt idx="4499">
                  <c:v>-24.263999999999999</c:v>
                </c:pt>
                <c:pt idx="4500">
                  <c:v>-23.704904599999999</c:v>
                </c:pt>
                <c:pt idx="4501">
                  <c:v>-23.168254900000001</c:v>
                </c:pt>
                <c:pt idx="4502">
                  <c:v>-22.506588000000001</c:v>
                </c:pt>
                <c:pt idx="4503">
                  <c:v>-22.1774883</c:v>
                </c:pt>
                <c:pt idx="4504">
                  <c:v>-21.958791699999999</c:v>
                </c:pt>
                <c:pt idx="4505">
                  <c:v>-21.3432827</c:v>
                </c:pt>
                <c:pt idx="4506">
                  <c:v>-20.783308000000002</c:v>
                </c:pt>
                <c:pt idx="4507">
                  <c:v>-20.313234300000001</c:v>
                </c:pt>
                <c:pt idx="4508">
                  <c:v>-19.962722800000002</c:v>
                </c:pt>
                <c:pt idx="4509">
                  <c:v>-19.746263500000001</c:v>
                </c:pt>
                <c:pt idx="4510">
                  <c:v>-19.2109928</c:v>
                </c:pt>
                <c:pt idx="4511">
                  <c:v>-18.7804012</c:v>
                </c:pt>
                <c:pt idx="4512">
                  <c:v>-18.398240999999999</c:v>
                </c:pt>
                <c:pt idx="4513">
                  <c:v>-17.843723300000001</c:v>
                </c:pt>
                <c:pt idx="4514">
                  <c:v>-17.436145799999998</c:v>
                </c:pt>
                <c:pt idx="4515">
                  <c:v>-17.051168400000002</c:v>
                </c:pt>
                <c:pt idx="4516">
                  <c:v>-16.549389999999999</c:v>
                </c:pt>
                <c:pt idx="4517">
                  <c:v>-16.324695599999998</c:v>
                </c:pt>
                <c:pt idx="4518">
                  <c:v>-15.980138800000001</c:v>
                </c:pt>
                <c:pt idx="4519">
                  <c:v>-15.7233448</c:v>
                </c:pt>
                <c:pt idx="4520">
                  <c:v>-15.5126448</c:v>
                </c:pt>
                <c:pt idx="4521">
                  <c:v>-15.0722942</c:v>
                </c:pt>
                <c:pt idx="4522">
                  <c:v>-14.889026599999999</c:v>
                </c:pt>
                <c:pt idx="4523">
                  <c:v>-14.586255100000001</c:v>
                </c:pt>
                <c:pt idx="4524">
                  <c:v>-14.297046699999999</c:v>
                </c:pt>
                <c:pt idx="4525">
                  <c:v>-14.1492</c:v>
                </c:pt>
                <c:pt idx="4526">
                  <c:v>-13.8826675</c:v>
                </c:pt>
                <c:pt idx="4527">
                  <c:v>-13.625937499999999</c:v>
                </c:pt>
                <c:pt idx="4528">
                  <c:v>-13.3746519</c:v>
                </c:pt>
                <c:pt idx="4529">
                  <c:v>-13.1964931</c:v>
                </c:pt>
                <c:pt idx="4530">
                  <c:v>-12.9787006</c:v>
                </c:pt>
                <c:pt idx="4531">
                  <c:v>-12.614536299999999</c:v>
                </c:pt>
                <c:pt idx="4532">
                  <c:v>-12.439316699999999</c:v>
                </c:pt>
                <c:pt idx="4533">
                  <c:v>-12.22641</c:v>
                </c:pt>
                <c:pt idx="4534">
                  <c:v>-11.933056799999999</c:v>
                </c:pt>
                <c:pt idx="4535">
                  <c:v>-11.8645248</c:v>
                </c:pt>
                <c:pt idx="4536">
                  <c:v>-11.717639</c:v>
                </c:pt>
                <c:pt idx="4537">
                  <c:v>-11.539056799999999</c:v>
                </c:pt>
                <c:pt idx="4538">
                  <c:v>-11.2173157</c:v>
                </c:pt>
                <c:pt idx="4539">
                  <c:v>-10.8794994</c:v>
                </c:pt>
                <c:pt idx="4540">
                  <c:v>-10.995523499999999</c:v>
                </c:pt>
                <c:pt idx="4541">
                  <c:v>-10.95528</c:v>
                </c:pt>
                <c:pt idx="4542">
                  <c:v>-10.647642100000001</c:v>
                </c:pt>
                <c:pt idx="4543">
                  <c:v>-10.530656799999999</c:v>
                </c:pt>
                <c:pt idx="4544">
                  <c:v>-10.512064000000001</c:v>
                </c:pt>
                <c:pt idx="4545">
                  <c:v>-10.349779099999999</c:v>
                </c:pt>
                <c:pt idx="4546">
                  <c:v>-10.2050734</c:v>
                </c:pt>
                <c:pt idx="4547">
                  <c:v>-10.326993</c:v>
                </c:pt>
                <c:pt idx="4548">
                  <c:v>-10.3958683</c:v>
                </c:pt>
                <c:pt idx="4549">
                  <c:v>-10.180023200000001</c:v>
                </c:pt>
                <c:pt idx="4550">
                  <c:v>-10.0132227</c:v>
                </c:pt>
                <c:pt idx="4551">
                  <c:v>-9.9297269999999997</c:v>
                </c:pt>
                <c:pt idx="4552">
                  <c:v>-9.8222480000000001</c:v>
                </c:pt>
                <c:pt idx="4553">
                  <c:v>-9.7008500000000009</c:v>
                </c:pt>
                <c:pt idx="4554">
                  <c:v>-9.6721249999999994</c:v>
                </c:pt>
                <c:pt idx="4555">
                  <c:v>-9.3361929999999997</c:v>
                </c:pt>
                <c:pt idx="4556">
                  <c:v>-9.1727760000000007</c:v>
                </c:pt>
                <c:pt idx="4557">
                  <c:v>-9.0824979999999993</c:v>
                </c:pt>
                <c:pt idx="4558">
                  <c:v>-8.9735150000000008</c:v>
                </c:pt>
                <c:pt idx="4559">
                  <c:v>-8.9153749999999992</c:v>
                </c:pt>
                <c:pt idx="4560">
                  <c:v>-8.6909890000000001</c:v>
                </c:pt>
                <c:pt idx="4561">
                  <c:v>-8.3686659999999993</c:v>
                </c:pt>
                <c:pt idx="4562">
                  <c:v>-7.94339</c:v>
                </c:pt>
                <c:pt idx="4563">
                  <c:v>-7.9070130000000001</c:v>
                </c:pt>
                <c:pt idx="4564">
                  <c:v>-7.8727879999999999</c:v>
                </c:pt>
                <c:pt idx="4565">
                  <c:v>-7.5810529999999998</c:v>
                </c:pt>
                <c:pt idx="4566">
                  <c:v>-7.217428</c:v>
                </c:pt>
                <c:pt idx="4567">
                  <c:v>-7.2111929999999997</c:v>
                </c:pt>
                <c:pt idx="4568">
                  <c:v>-7.3951250000000002</c:v>
                </c:pt>
                <c:pt idx="4569">
                  <c:v>-7.3646880000000001</c:v>
                </c:pt>
                <c:pt idx="4570">
                  <c:v>-7.3291719999999998</c:v>
                </c:pt>
                <c:pt idx="4571">
                  <c:v>-7.4137979999999999</c:v>
                </c:pt>
                <c:pt idx="4572">
                  <c:v>-7.4998209999999998</c:v>
                </c:pt>
                <c:pt idx="4573">
                  <c:v>-7.5965490000000004</c:v>
                </c:pt>
                <c:pt idx="4574">
                  <c:v>-7.7726009999999999</c:v>
                </c:pt>
                <c:pt idx="4575">
                  <c:v>-8.0011259999999993</c:v>
                </c:pt>
                <c:pt idx="4576">
                  <c:v>-8.1323679999999996</c:v>
                </c:pt>
                <c:pt idx="4577">
                  <c:v>-8.2208020000000008</c:v>
                </c:pt>
                <c:pt idx="4578">
                  <c:v>-8.4539869999999997</c:v>
                </c:pt>
                <c:pt idx="4579">
                  <c:v>-8.4783799999999996</c:v>
                </c:pt>
                <c:pt idx="4580">
                  <c:v>-8.5953630000000008</c:v>
                </c:pt>
                <c:pt idx="4581">
                  <c:v>-8.6845590000000001</c:v>
                </c:pt>
                <c:pt idx="4582">
                  <c:v>-8.7626950000000008</c:v>
                </c:pt>
                <c:pt idx="4583">
                  <c:v>-8.894539</c:v>
                </c:pt>
                <c:pt idx="4584">
                  <c:v>-8.9233609999999999</c:v>
                </c:pt>
                <c:pt idx="4585">
                  <c:v>-9.095205</c:v>
                </c:pt>
                <c:pt idx="4586">
                  <c:v>-9.1372949999999999</c:v>
                </c:pt>
                <c:pt idx="4587">
                  <c:v>-8.9740420000000007</c:v>
                </c:pt>
                <c:pt idx="4588">
                  <c:v>-8.8917029999999997</c:v>
                </c:pt>
                <c:pt idx="4589">
                  <c:v>-9.109394</c:v>
                </c:pt>
                <c:pt idx="4590">
                  <c:v>-9.2864570000000004</c:v>
                </c:pt>
                <c:pt idx="4591">
                  <c:v>-9.182601</c:v>
                </c:pt>
                <c:pt idx="4592">
                  <c:v>-9.1962430000000008</c:v>
                </c:pt>
                <c:pt idx="4593">
                  <c:v>-9.2624340000000007</c:v>
                </c:pt>
                <c:pt idx="4594">
                  <c:v>-9.1566510000000001</c:v>
                </c:pt>
                <c:pt idx="4595">
                  <c:v>-9.2884879999999992</c:v>
                </c:pt>
                <c:pt idx="4596">
                  <c:v>-9.4748640000000002</c:v>
                </c:pt>
                <c:pt idx="4597">
                  <c:v>-9.5663560000000007</c:v>
                </c:pt>
                <c:pt idx="4598">
                  <c:v>-9.6768750000000008</c:v>
                </c:pt>
                <c:pt idx="4599">
                  <c:v>-9.7323470000000007</c:v>
                </c:pt>
                <c:pt idx="4600">
                  <c:v>-9.6204900000000002</c:v>
                </c:pt>
                <c:pt idx="4601">
                  <c:v>-9.6168449999999996</c:v>
                </c:pt>
                <c:pt idx="4602">
                  <c:v>-9.7224850000000007</c:v>
                </c:pt>
                <c:pt idx="4603">
                  <c:v>-9.6179869999999994</c:v>
                </c:pt>
                <c:pt idx="4604">
                  <c:v>-9.5308670000000006</c:v>
                </c:pt>
                <c:pt idx="4605">
                  <c:v>-9.6468550000000004</c:v>
                </c:pt>
                <c:pt idx="4606">
                  <c:v>-9.6665390000000002</c:v>
                </c:pt>
                <c:pt idx="4607">
                  <c:v>-9.4369980000000009</c:v>
                </c:pt>
                <c:pt idx="4608">
                  <c:v>-9.4703769999999992</c:v>
                </c:pt>
                <c:pt idx="4609">
                  <c:v>-9.4998419999999992</c:v>
                </c:pt>
                <c:pt idx="4610">
                  <c:v>-9.3465620000000005</c:v>
                </c:pt>
                <c:pt idx="4611">
                  <c:v>-9.4173980000000004</c:v>
                </c:pt>
                <c:pt idx="4612">
                  <c:v>-9.4002110000000005</c:v>
                </c:pt>
                <c:pt idx="4613">
                  <c:v>-9.5458079999999992</c:v>
                </c:pt>
                <c:pt idx="4614">
                  <c:v>-9.6409540000000007</c:v>
                </c:pt>
                <c:pt idx="4615">
                  <c:v>-9.9285610000000002</c:v>
                </c:pt>
                <c:pt idx="4616">
                  <c:v>-10.116043100000001</c:v>
                </c:pt>
                <c:pt idx="4617">
                  <c:v>-9.7286479999999997</c:v>
                </c:pt>
                <c:pt idx="4618">
                  <c:v>-9.7662940000000003</c:v>
                </c:pt>
                <c:pt idx="4619">
                  <c:v>-9.6700079999999993</c:v>
                </c:pt>
                <c:pt idx="4620">
                  <c:v>-9.4358400000000007</c:v>
                </c:pt>
                <c:pt idx="4621">
                  <c:v>-9.3133590000000002</c:v>
                </c:pt>
                <c:pt idx="4622">
                  <c:v>-9.1758450000000007</c:v>
                </c:pt>
                <c:pt idx="4623">
                  <c:v>-9.2951510000000006</c:v>
                </c:pt>
                <c:pt idx="4624">
                  <c:v>-9.0799810000000001</c:v>
                </c:pt>
                <c:pt idx="4625">
                  <c:v>-8.4860810000000004</c:v>
                </c:pt>
                <c:pt idx="4626">
                  <c:v>-8.1381929999999993</c:v>
                </c:pt>
                <c:pt idx="4627">
                  <c:v>-7.8968600000000002</c:v>
                </c:pt>
                <c:pt idx="4628">
                  <c:v>-7.7761230000000001</c:v>
                </c:pt>
                <c:pt idx="4629">
                  <c:v>-7.5160960000000001</c:v>
                </c:pt>
                <c:pt idx="4630">
                  <c:v>-7.1183569999999996</c:v>
                </c:pt>
                <c:pt idx="4631">
                  <c:v>-6.7694049999999999</c:v>
                </c:pt>
                <c:pt idx="4632">
                  <c:v>-6.3029400000000004</c:v>
                </c:pt>
                <c:pt idx="4633">
                  <c:v>-6.238569</c:v>
                </c:pt>
                <c:pt idx="4634">
                  <c:v>-6.3972540000000002</c:v>
                </c:pt>
                <c:pt idx="4635">
                  <c:v>-6.2224139999999997</c:v>
                </c:pt>
                <c:pt idx="4636">
                  <c:v>-6.2219759999999997</c:v>
                </c:pt>
                <c:pt idx="4637">
                  <c:v>-6.3847110000000002</c:v>
                </c:pt>
                <c:pt idx="4638">
                  <c:v>-6.1106259999999999</c:v>
                </c:pt>
                <c:pt idx="4639">
                  <c:v>-5.9460499999999996</c:v>
                </c:pt>
                <c:pt idx="4640">
                  <c:v>-5.8254950000000001</c:v>
                </c:pt>
                <c:pt idx="4641">
                  <c:v>-5.5972720000000002</c:v>
                </c:pt>
                <c:pt idx="4642">
                  <c:v>-5.6479609999999996</c:v>
                </c:pt>
                <c:pt idx="4643">
                  <c:v>-5.8506229999999997</c:v>
                </c:pt>
                <c:pt idx="4644">
                  <c:v>-5.8791190000000002</c:v>
                </c:pt>
                <c:pt idx="4645">
                  <c:v>-5.6254010000000001</c:v>
                </c:pt>
                <c:pt idx="4646">
                  <c:v>-5.4157479999999998</c:v>
                </c:pt>
                <c:pt idx="4647">
                  <c:v>-5.2163449999999996</c:v>
                </c:pt>
                <c:pt idx="4648">
                  <c:v>-5.1512869999999999</c:v>
                </c:pt>
                <c:pt idx="4649">
                  <c:v>-5.0867889999999996</c:v>
                </c:pt>
                <c:pt idx="4650">
                  <c:v>-4.8929020000000003</c:v>
                </c:pt>
                <c:pt idx="4651">
                  <c:v>-4.7611670000000004</c:v>
                </c:pt>
                <c:pt idx="4652">
                  <c:v>-4.3864830000000001</c:v>
                </c:pt>
                <c:pt idx="4653">
                  <c:v>-4.1464660000000002</c:v>
                </c:pt>
                <c:pt idx="4654">
                  <c:v>-4.1661039999999998</c:v>
                </c:pt>
                <c:pt idx="4655">
                  <c:v>-4.0625869999999997</c:v>
                </c:pt>
                <c:pt idx="4656">
                  <c:v>-4.036111</c:v>
                </c:pt>
                <c:pt idx="4657">
                  <c:v>-3.919295</c:v>
                </c:pt>
                <c:pt idx="4658">
                  <c:v>-3.8267410000000002</c:v>
                </c:pt>
                <c:pt idx="4659">
                  <c:v>-3.7442570000000002</c:v>
                </c:pt>
                <c:pt idx="4660">
                  <c:v>-3.1946699999999999</c:v>
                </c:pt>
                <c:pt idx="4661">
                  <c:v>-2.9928539999999999</c:v>
                </c:pt>
                <c:pt idx="4662">
                  <c:v>-3.0902240000000001</c:v>
                </c:pt>
                <c:pt idx="4663">
                  <c:v>-3.0268670000000002</c:v>
                </c:pt>
                <c:pt idx="4664">
                  <c:v>-2.8165279999999999</c:v>
                </c:pt>
                <c:pt idx="4665">
                  <c:v>-2.394288</c:v>
                </c:pt>
                <c:pt idx="4666">
                  <c:v>-2.5217830000000001</c:v>
                </c:pt>
                <c:pt idx="4667">
                  <c:v>-2.4662269999999999</c:v>
                </c:pt>
                <c:pt idx="4668">
                  <c:v>-2.0627680000000002</c:v>
                </c:pt>
                <c:pt idx="4669">
                  <c:v>-1.9326810000000001</c:v>
                </c:pt>
                <c:pt idx="4670">
                  <c:v>-1.534769</c:v>
                </c:pt>
                <c:pt idx="4671">
                  <c:v>-1.192547</c:v>
                </c:pt>
                <c:pt idx="4672">
                  <c:v>-1.0664979999999999</c:v>
                </c:pt>
                <c:pt idx="4673">
                  <c:v>-0.99197800000000003</c:v>
                </c:pt>
                <c:pt idx="4674">
                  <c:v>-0.68016299999999996</c:v>
                </c:pt>
                <c:pt idx="4675">
                  <c:v>-0.380853</c:v>
                </c:pt>
                <c:pt idx="4676">
                  <c:v>-0.27767799999999998</c:v>
                </c:pt>
                <c:pt idx="4677">
                  <c:v>-8.2284999999999997E-2</c:v>
                </c:pt>
                <c:pt idx="4678">
                  <c:v>-0.17958199999999999</c:v>
                </c:pt>
                <c:pt idx="4679">
                  <c:v>-0.103544</c:v>
                </c:pt>
                <c:pt idx="4680">
                  <c:v>-0.15606300000000001</c:v>
                </c:pt>
                <c:pt idx="4681">
                  <c:v>-0.27840399999999998</c:v>
                </c:pt>
                <c:pt idx="4682">
                  <c:v>-0.187967</c:v>
                </c:pt>
                <c:pt idx="4683">
                  <c:v>-0.32346000000000003</c:v>
                </c:pt>
                <c:pt idx="4684">
                  <c:v>-0.17829900000000001</c:v>
                </c:pt>
                <c:pt idx="4685">
                  <c:v>0.112925</c:v>
                </c:pt>
                <c:pt idx="4686">
                  <c:v>-4.4706000000000003E-2</c:v>
                </c:pt>
                <c:pt idx="4687">
                  <c:v>-0.44333899999999998</c:v>
                </c:pt>
                <c:pt idx="4688">
                  <c:v>-0.930836</c:v>
                </c:pt>
                <c:pt idx="4689">
                  <c:v>-0.74553599999999998</c:v>
                </c:pt>
                <c:pt idx="4690">
                  <c:v>-0.34529700000000002</c:v>
                </c:pt>
                <c:pt idx="4691">
                  <c:v>-0.26649200000000001</c:v>
                </c:pt>
                <c:pt idx="4692">
                  <c:v>-0.14594799999999999</c:v>
                </c:pt>
                <c:pt idx="4693">
                  <c:v>-0.13025</c:v>
                </c:pt>
                <c:pt idx="4694">
                  <c:v>0.10040499999999999</c:v>
                </c:pt>
                <c:pt idx="4695">
                  <c:v>0.11111699999999999</c:v>
                </c:pt>
                <c:pt idx="4696">
                  <c:v>0.14767</c:v>
                </c:pt>
                <c:pt idx="4697">
                  <c:v>0.59707299999999996</c:v>
                </c:pt>
                <c:pt idx="4698">
                  <c:v>0.60173900000000002</c:v>
                </c:pt>
                <c:pt idx="4699">
                  <c:v>0.38102599999999998</c:v>
                </c:pt>
                <c:pt idx="4700">
                  <c:v>0.49252699999999999</c:v>
                </c:pt>
                <c:pt idx="4701">
                  <c:v>0.63953599999999999</c:v>
                </c:pt>
                <c:pt idx="4702">
                  <c:v>0.88022100000000003</c:v>
                </c:pt>
                <c:pt idx="4703">
                  <c:v>1.110716</c:v>
                </c:pt>
                <c:pt idx="4704">
                  <c:v>1.2117309999999999</c:v>
                </c:pt>
                <c:pt idx="4705">
                  <c:v>1.1766220000000001</c:v>
                </c:pt>
                <c:pt idx="4706">
                  <c:v>1.540627</c:v>
                </c:pt>
                <c:pt idx="4707">
                  <c:v>1.844346</c:v>
                </c:pt>
                <c:pt idx="4708">
                  <c:v>1.59538</c:v>
                </c:pt>
                <c:pt idx="4709">
                  <c:v>1.714715</c:v>
                </c:pt>
                <c:pt idx="4710">
                  <c:v>1.8113060000000001</c:v>
                </c:pt>
                <c:pt idx="4711">
                  <c:v>1.834832</c:v>
                </c:pt>
                <c:pt idx="4712">
                  <c:v>2.0148920000000001</c:v>
                </c:pt>
                <c:pt idx="4713">
                  <c:v>1.806827</c:v>
                </c:pt>
                <c:pt idx="4714">
                  <c:v>1.5190140000000001</c:v>
                </c:pt>
                <c:pt idx="4715">
                  <c:v>1.503045</c:v>
                </c:pt>
                <c:pt idx="4716">
                  <c:v>1.6236619999999999</c:v>
                </c:pt>
                <c:pt idx="4717">
                  <c:v>1.551186</c:v>
                </c:pt>
                <c:pt idx="4718">
                  <c:v>1.243333</c:v>
                </c:pt>
                <c:pt idx="4719">
                  <c:v>1.2022470000000001</c:v>
                </c:pt>
                <c:pt idx="4720">
                  <c:v>1.4296880000000001</c:v>
                </c:pt>
                <c:pt idx="4721">
                  <c:v>1.202113</c:v>
                </c:pt>
                <c:pt idx="4722">
                  <c:v>0.94086800000000004</c:v>
                </c:pt>
                <c:pt idx="4723">
                  <c:v>1.0469120000000001</c:v>
                </c:pt>
                <c:pt idx="4724">
                  <c:v>0.94602799999999998</c:v>
                </c:pt>
                <c:pt idx="4725">
                  <c:v>0.53525299999999998</c:v>
                </c:pt>
                <c:pt idx="4726">
                  <c:v>0.62508900000000001</c:v>
                </c:pt>
                <c:pt idx="4727">
                  <c:v>0.83673699999999995</c:v>
                </c:pt>
                <c:pt idx="4728">
                  <c:v>0.46148299999999998</c:v>
                </c:pt>
                <c:pt idx="4729">
                  <c:v>0.44534200000000002</c:v>
                </c:pt>
                <c:pt idx="4730">
                  <c:v>0.54045699999999997</c:v>
                </c:pt>
                <c:pt idx="4731">
                  <c:v>0.302537</c:v>
                </c:pt>
                <c:pt idx="4732">
                  <c:v>0.35888700000000001</c:v>
                </c:pt>
                <c:pt idx="4733">
                  <c:v>0.56891499999999995</c:v>
                </c:pt>
                <c:pt idx="4734">
                  <c:v>0.40326099999999998</c:v>
                </c:pt>
                <c:pt idx="4735">
                  <c:v>0.10713300000000001</c:v>
                </c:pt>
                <c:pt idx="4736">
                  <c:v>0.20017799999999999</c:v>
                </c:pt>
                <c:pt idx="4737">
                  <c:v>0.15740999999999999</c:v>
                </c:pt>
                <c:pt idx="4738">
                  <c:v>5.5065000000000003E-2</c:v>
                </c:pt>
                <c:pt idx="4739">
                  <c:v>0.25215900000000002</c:v>
                </c:pt>
                <c:pt idx="4740">
                  <c:v>-5.9678000000000002E-2</c:v>
                </c:pt>
                <c:pt idx="4741">
                  <c:v>-0.37165199999999998</c:v>
                </c:pt>
                <c:pt idx="4742">
                  <c:v>-0.16552500000000001</c:v>
                </c:pt>
                <c:pt idx="4743">
                  <c:v>-0.15109</c:v>
                </c:pt>
                <c:pt idx="4744">
                  <c:v>-0.63199300000000003</c:v>
                </c:pt>
                <c:pt idx="4745">
                  <c:v>-0.507633</c:v>
                </c:pt>
                <c:pt idx="4746">
                  <c:v>-0.27757999999999999</c:v>
                </c:pt>
                <c:pt idx="4747">
                  <c:v>-0.502224</c:v>
                </c:pt>
                <c:pt idx="4748">
                  <c:v>-0.63669500000000001</c:v>
                </c:pt>
                <c:pt idx="4749">
                  <c:v>-0.592638</c:v>
                </c:pt>
                <c:pt idx="4750">
                  <c:v>-0.52347299999999997</c:v>
                </c:pt>
                <c:pt idx="4751">
                  <c:v>-0.69952099999999995</c:v>
                </c:pt>
                <c:pt idx="4752">
                  <c:v>-0.67136099999999999</c:v>
                </c:pt>
                <c:pt idx="4753">
                  <c:v>-0.87724800000000003</c:v>
                </c:pt>
                <c:pt idx="4754">
                  <c:v>-1.2072620000000001</c:v>
                </c:pt>
                <c:pt idx="4755">
                  <c:v>-1.147913</c:v>
                </c:pt>
                <c:pt idx="4756">
                  <c:v>-1.2207669999999999</c:v>
                </c:pt>
                <c:pt idx="4757">
                  <c:v>-1.4907330000000001</c:v>
                </c:pt>
                <c:pt idx="4758">
                  <c:v>-1.603372</c:v>
                </c:pt>
                <c:pt idx="4759">
                  <c:v>-1.637651</c:v>
                </c:pt>
                <c:pt idx="4760">
                  <c:v>-1.693535</c:v>
                </c:pt>
                <c:pt idx="4761">
                  <c:v>-1.6884509999999999</c:v>
                </c:pt>
                <c:pt idx="4762">
                  <c:v>-1.714332</c:v>
                </c:pt>
                <c:pt idx="4763">
                  <c:v>-2.159376</c:v>
                </c:pt>
                <c:pt idx="4764">
                  <c:v>-2.431149</c:v>
                </c:pt>
                <c:pt idx="4765">
                  <c:v>-2.2940939999999999</c:v>
                </c:pt>
                <c:pt idx="4766">
                  <c:v>-2.2660819999999999</c:v>
                </c:pt>
                <c:pt idx="4767">
                  <c:v>-2.2139700000000002</c:v>
                </c:pt>
                <c:pt idx="4768">
                  <c:v>-2.1405379999999998</c:v>
                </c:pt>
                <c:pt idx="4769">
                  <c:v>-2.0459489999999998</c:v>
                </c:pt>
                <c:pt idx="4770">
                  <c:v>-2.1367319999999999</c:v>
                </c:pt>
                <c:pt idx="4771">
                  <c:v>-2.1874069999999999</c:v>
                </c:pt>
                <c:pt idx="4772">
                  <c:v>-2.0890960000000001</c:v>
                </c:pt>
                <c:pt idx="4773">
                  <c:v>-2.0398369999999999</c:v>
                </c:pt>
                <c:pt idx="4774">
                  <c:v>-1.7401599999999999</c:v>
                </c:pt>
                <c:pt idx="4775">
                  <c:v>-1.6353580000000001</c:v>
                </c:pt>
                <c:pt idx="4776">
                  <c:v>-1.6873990000000001</c:v>
                </c:pt>
                <c:pt idx="4777">
                  <c:v>-1.6962489999999999</c:v>
                </c:pt>
                <c:pt idx="4778">
                  <c:v>-1.9574929999999999</c:v>
                </c:pt>
                <c:pt idx="4779">
                  <c:v>-2.0953360000000001</c:v>
                </c:pt>
                <c:pt idx="4780">
                  <c:v>-2.3201529999999999</c:v>
                </c:pt>
                <c:pt idx="4781">
                  <c:v>-2.597378</c:v>
                </c:pt>
                <c:pt idx="4782">
                  <c:v>-2.6481859999999999</c:v>
                </c:pt>
                <c:pt idx="4783">
                  <c:v>-2.6470030000000002</c:v>
                </c:pt>
                <c:pt idx="4784">
                  <c:v>-3.0893730000000001</c:v>
                </c:pt>
                <c:pt idx="4785">
                  <c:v>-3.4335680000000002</c:v>
                </c:pt>
                <c:pt idx="4786">
                  <c:v>-3.549499</c:v>
                </c:pt>
                <c:pt idx="4787">
                  <c:v>-3.6735120000000001</c:v>
                </c:pt>
                <c:pt idx="4788">
                  <c:v>-3.7356750000000001</c:v>
                </c:pt>
                <c:pt idx="4789">
                  <c:v>-4.1620359999999996</c:v>
                </c:pt>
                <c:pt idx="4790">
                  <c:v>-4.3838730000000004</c:v>
                </c:pt>
                <c:pt idx="4791">
                  <c:v>-4.304792</c:v>
                </c:pt>
                <c:pt idx="4792">
                  <c:v>-4.2561960000000001</c:v>
                </c:pt>
                <c:pt idx="4793">
                  <c:v>-4.2748520000000001</c:v>
                </c:pt>
                <c:pt idx="4794">
                  <c:v>-4.2519770000000001</c:v>
                </c:pt>
                <c:pt idx="4795">
                  <c:v>-4.2004650000000003</c:v>
                </c:pt>
                <c:pt idx="4796">
                  <c:v>-4.3291449999999996</c:v>
                </c:pt>
                <c:pt idx="4797">
                  <c:v>-4.2120369999999996</c:v>
                </c:pt>
                <c:pt idx="4798">
                  <c:v>-4.1005469999999997</c:v>
                </c:pt>
                <c:pt idx="4799">
                  <c:v>-4.1784489999999996</c:v>
                </c:pt>
                <c:pt idx="4800">
                  <c:v>-4.1576399999999998</c:v>
                </c:pt>
                <c:pt idx="4801">
                  <c:v>-4.286988</c:v>
                </c:pt>
                <c:pt idx="4802">
                  <c:v>-4.5008850000000002</c:v>
                </c:pt>
                <c:pt idx="4803">
                  <c:v>-4.4985799999999996</c:v>
                </c:pt>
                <c:pt idx="4804">
                  <c:v>-4.5225020000000002</c:v>
                </c:pt>
                <c:pt idx="4805">
                  <c:v>-4.8249219999999999</c:v>
                </c:pt>
                <c:pt idx="4806">
                  <c:v>-5.015161</c:v>
                </c:pt>
                <c:pt idx="4807">
                  <c:v>-4.8855149999999998</c:v>
                </c:pt>
                <c:pt idx="4808">
                  <c:v>-4.7830950000000003</c:v>
                </c:pt>
                <c:pt idx="4809">
                  <c:v>-4.7451020000000002</c:v>
                </c:pt>
                <c:pt idx="4810">
                  <c:v>-4.737012</c:v>
                </c:pt>
                <c:pt idx="4811">
                  <c:v>-4.8748529999999999</c:v>
                </c:pt>
                <c:pt idx="4812">
                  <c:v>-4.8924010000000004</c:v>
                </c:pt>
                <c:pt idx="4813">
                  <c:v>-4.8491330000000001</c:v>
                </c:pt>
                <c:pt idx="4814">
                  <c:v>-4.8368419999999999</c:v>
                </c:pt>
                <c:pt idx="4815">
                  <c:v>-4.7694570000000001</c:v>
                </c:pt>
                <c:pt idx="4816">
                  <c:v>-5.0781780000000003</c:v>
                </c:pt>
                <c:pt idx="4817">
                  <c:v>-5.1842610000000002</c:v>
                </c:pt>
                <c:pt idx="4818">
                  <c:v>-4.7263669999999998</c:v>
                </c:pt>
                <c:pt idx="4819">
                  <c:v>-4.4863770000000001</c:v>
                </c:pt>
                <c:pt idx="4820">
                  <c:v>-4.6103769999999997</c:v>
                </c:pt>
                <c:pt idx="4821">
                  <c:v>-4.9302000000000001</c:v>
                </c:pt>
                <c:pt idx="4822">
                  <c:v>-4.9682870000000001</c:v>
                </c:pt>
                <c:pt idx="4823">
                  <c:v>-4.6648199999999997</c:v>
                </c:pt>
                <c:pt idx="4824">
                  <c:v>-4.5044729999999999</c:v>
                </c:pt>
                <c:pt idx="4825">
                  <c:v>-4.675001</c:v>
                </c:pt>
                <c:pt idx="4826">
                  <c:v>-5.0966820000000004</c:v>
                </c:pt>
                <c:pt idx="4827">
                  <c:v>-4.995088</c:v>
                </c:pt>
                <c:pt idx="4828">
                  <c:v>-5.0365209999999996</c:v>
                </c:pt>
                <c:pt idx="4829">
                  <c:v>-5.3400350000000003</c:v>
                </c:pt>
                <c:pt idx="4830">
                  <c:v>-5.2610029999999997</c:v>
                </c:pt>
                <c:pt idx="4831">
                  <c:v>-5.1090660000000003</c:v>
                </c:pt>
                <c:pt idx="4832">
                  <c:v>-4.9757759999999998</c:v>
                </c:pt>
                <c:pt idx="4833">
                  <c:v>-4.9724190000000004</c:v>
                </c:pt>
                <c:pt idx="4834">
                  <c:v>-4.7645819999999999</c:v>
                </c:pt>
                <c:pt idx="4835">
                  <c:v>-4.5766090000000004</c:v>
                </c:pt>
                <c:pt idx="4836">
                  <c:v>-4.5218160000000003</c:v>
                </c:pt>
                <c:pt idx="4837">
                  <c:v>-4.6043779999999996</c:v>
                </c:pt>
                <c:pt idx="4838">
                  <c:v>-4.4252630000000002</c:v>
                </c:pt>
                <c:pt idx="4839">
                  <c:v>-3.9743080000000002</c:v>
                </c:pt>
                <c:pt idx="4840">
                  <c:v>-3.9673660000000002</c:v>
                </c:pt>
                <c:pt idx="4841">
                  <c:v>-4.0533010000000003</c:v>
                </c:pt>
                <c:pt idx="4842">
                  <c:v>-4.1382580000000004</c:v>
                </c:pt>
                <c:pt idx="4843">
                  <c:v>-4.2993990000000002</c:v>
                </c:pt>
                <c:pt idx="4844">
                  <c:v>-4.3814739999999999</c:v>
                </c:pt>
                <c:pt idx="4845">
                  <c:v>-4.4290029999999998</c:v>
                </c:pt>
                <c:pt idx="4846">
                  <c:v>-4.1226459999999996</c:v>
                </c:pt>
                <c:pt idx="4847">
                  <c:v>-4.0255390000000002</c:v>
                </c:pt>
                <c:pt idx="4848">
                  <c:v>-4.2940469999999999</c:v>
                </c:pt>
                <c:pt idx="4849">
                  <c:v>-4.2972029999999997</c:v>
                </c:pt>
                <c:pt idx="4850">
                  <c:v>-4.0326969999999998</c:v>
                </c:pt>
                <c:pt idx="4851">
                  <c:v>-4.090433</c:v>
                </c:pt>
                <c:pt idx="4852">
                  <c:v>-3.9705530000000002</c:v>
                </c:pt>
                <c:pt idx="4853">
                  <c:v>-3.696313</c:v>
                </c:pt>
                <c:pt idx="4854">
                  <c:v>-3.7952620000000001</c:v>
                </c:pt>
                <c:pt idx="4855">
                  <c:v>-3.689527</c:v>
                </c:pt>
                <c:pt idx="4856">
                  <c:v>-3.4791210000000001</c:v>
                </c:pt>
                <c:pt idx="4857">
                  <c:v>-3.33968</c:v>
                </c:pt>
                <c:pt idx="4858">
                  <c:v>-3.2319969999999998</c:v>
                </c:pt>
                <c:pt idx="4859">
                  <c:v>-3.2078820000000001</c:v>
                </c:pt>
                <c:pt idx="4860">
                  <c:v>-3.0944690000000001</c:v>
                </c:pt>
                <c:pt idx="4861">
                  <c:v>-2.664221</c:v>
                </c:pt>
                <c:pt idx="4862">
                  <c:v>-2.3911220000000002</c:v>
                </c:pt>
                <c:pt idx="4863">
                  <c:v>-2.5235500000000002</c:v>
                </c:pt>
                <c:pt idx="4864">
                  <c:v>-2.4065979999999998</c:v>
                </c:pt>
                <c:pt idx="4865">
                  <c:v>-2.442901</c:v>
                </c:pt>
                <c:pt idx="4866">
                  <c:v>-2.2868780000000002</c:v>
                </c:pt>
                <c:pt idx="4867">
                  <c:v>-2.040902</c:v>
                </c:pt>
                <c:pt idx="4868">
                  <c:v>-2.2043659999999998</c:v>
                </c:pt>
                <c:pt idx="4869">
                  <c:v>-2.191735</c:v>
                </c:pt>
                <c:pt idx="4870">
                  <c:v>-1.9585699999999999</c:v>
                </c:pt>
                <c:pt idx="4871">
                  <c:v>-2.013137</c:v>
                </c:pt>
                <c:pt idx="4872">
                  <c:v>-2.079132</c:v>
                </c:pt>
                <c:pt idx="4873">
                  <c:v>-1.897254</c:v>
                </c:pt>
                <c:pt idx="4874">
                  <c:v>-1.77915</c:v>
                </c:pt>
                <c:pt idx="4875">
                  <c:v>-1.623929</c:v>
                </c:pt>
                <c:pt idx="4876">
                  <c:v>-1.6460859999999999</c:v>
                </c:pt>
                <c:pt idx="4877">
                  <c:v>-1.697519</c:v>
                </c:pt>
                <c:pt idx="4878">
                  <c:v>-1.2966439999999999</c:v>
                </c:pt>
                <c:pt idx="4879">
                  <c:v>-1.1924760000000001</c:v>
                </c:pt>
                <c:pt idx="4880">
                  <c:v>-1.5666929999999999</c:v>
                </c:pt>
                <c:pt idx="4881">
                  <c:v>-1.4070860000000001</c:v>
                </c:pt>
                <c:pt idx="4882">
                  <c:v>-1.04043</c:v>
                </c:pt>
                <c:pt idx="4883">
                  <c:v>-1.0191600000000001</c:v>
                </c:pt>
                <c:pt idx="4884">
                  <c:v>-1.310964</c:v>
                </c:pt>
                <c:pt idx="4885">
                  <c:v>-1.380709</c:v>
                </c:pt>
                <c:pt idx="4886">
                  <c:v>-1.1457379999999999</c:v>
                </c:pt>
                <c:pt idx="4887">
                  <c:v>-1.2837810000000001</c:v>
                </c:pt>
                <c:pt idx="4888">
                  <c:v>-1.480974</c:v>
                </c:pt>
                <c:pt idx="4889">
                  <c:v>-1.5938749999999999</c:v>
                </c:pt>
                <c:pt idx="4890">
                  <c:v>-1.4614860000000001</c:v>
                </c:pt>
                <c:pt idx="4891">
                  <c:v>-1.3361670000000001</c:v>
                </c:pt>
                <c:pt idx="4892">
                  <c:v>-1.6035820000000001</c:v>
                </c:pt>
                <c:pt idx="4893">
                  <c:v>-1.6159559999999999</c:v>
                </c:pt>
                <c:pt idx="4894">
                  <c:v>-1.432231</c:v>
                </c:pt>
                <c:pt idx="4895">
                  <c:v>-1.200861</c:v>
                </c:pt>
                <c:pt idx="4896">
                  <c:v>-1.269166</c:v>
                </c:pt>
                <c:pt idx="4897">
                  <c:v>-1.219792</c:v>
                </c:pt>
                <c:pt idx="4898">
                  <c:v>-0.77665899999999999</c:v>
                </c:pt>
                <c:pt idx="4899">
                  <c:v>-0.78343200000000002</c:v>
                </c:pt>
                <c:pt idx="4900">
                  <c:v>-0.88305400000000001</c:v>
                </c:pt>
                <c:pt idx="4901">
                  <c:v>-0.70961200000000002</c:v>
                </c:pt>
                <c:pt idx="4902">
                  <c:v>-0.660667</c:v>
                </c:pt>
                <c:pt idx="4903">
                  <c:v>-0.60702800000000001</c:v>
                </c:pt>
                <c:pt idx="4904">
                  <c:v>-0.69034799999999996</c:v>
                </c:pt>
                <c:pt idx="4905">
                  <c:v>-0.71415899999999999</c:v>
                </c:pt>
                <c:pt idx="4906">
                  <c:v>-0.64973199999999998</c:v>
                </c:pt>
                <c:pt idx="4907">
                  <c:v>-0.874865</c:v>
                </c:pt>
                <c:pt idx="4908">
                  <c:v>-0.99191200000000002</c:v>
                </c:pt>
                <c:pt idx="4909">
                  <c:v>-0.99770700000000001</c:v>
                </c:pt>
                <c:pt idx="4910">
                  <c:v>-0.94289999999999996</c:v>
                </c:pt>
                <c:pt idx="4911">
                  <c:v>-0.78531899999999999</c:v>
                </c:pt>
                <c:pt idx="4912">
                  <c:v>-1.038503</c:v>
                </c:pt>
                <c:pt idx="4913">
                  <c:v>-1.309396</c:v>
                </c:pt>
                <c:pt idx="4914">
                  <c:v>-1.2050689999999999</c:v>
                </c:pt>
                <c:pt idx="4915">
                  <c:v>-1.306249</c:v>
                </c:pt>
                <c:pt idx="4916">
                  <c:v>-1.4429259999999999</c:v>
                </c:pt>
                <c:pt idx="4917">
                  <c:v>-1.198707</c:v>
                </c:pt>
                <c:pt idx="4918">
                  <c:v>-0.80871899999999997</c:v>
                </c:pt>
                <c:pt idx="4919">
                  <c:v>-0.79045799999999999</c:v>
                </c:pt>
                <c:pt idx="4920">
                  <c:v>-1.026014</c:v>
                </c:pt>
                <c:pt idx="4921">
                  <c:v>-1.2783450000000001</c:v>
                </c:pt>
                <c:pt idx="4922">
                  <c:v>-1.2845470000000001</c:v>
                </c:pt>
                <c:pt idx="4923">
                  <c:v>-1.033085</c:v>
                </c:pt>
                <c:pt idx="4924">
                  <c:v>-1.308581</c:v>
                </c:pt>
                <c:pt idx="4925">
                  <c:v>-1.5923659999999999</c:v>
                </c:pt>
                <c:pt idx="4926">
                  <c:v>-1.566562</c:v>
                </c:pt>
                <c:pt idx="4927">
                  <c:v>-1.5094559999999999</c:v>
                </c:pt>
                <c:pt idx="4928">
                  <c:v>-1.9066540000000001</c:v>
                </c:pt>
                <c:pt idx="4929">
                  <c:v>-2.2092969999999998</c:v>
                </c:pt>
                <c:pt idx="4930">
                  <c:v>-1.8783190000000001</c:v>
                </c:pt>
                <c:pt idx="4931">
                  <c:v>-1.870255</c:v>
                </c:pt>
                <c:pt idx="4932">
                  <c:v>-2.0152450000000002</c:v>
                </c:pt>
                <c:pt idx="4933">
                  <c:v>-2.0435120000000002</c:v>
                </c:pt>
                <c:pt idx="4934">
                  <c:v>-1.873786</c:v>
                </c:pt>
                <c:pt idx="4935">
                  <c:v>-1.658363</c:v>
                </c:pt>
                <c:pt idx="4936">
                  <c:v>-1.8764860000000001</c:v>
                </c:pt>
                <c:pt idx="4937">
                  <c:v>-2.0556930000000002</c:v>
                </c:pt>
                <c:pt idx="4938">
                  <c:v>-1.961346</c:v>
                </c:pt>
                <c:pt idx="4939">
                  <c:v>-1.9214</c:v>
                </c:pt>
                <c:pt idx="4940">
                  <c:v>-1.972124</c:v>
                </c:pt>
                <c:pt idx="4941">
                  <c:v>-2.070659</c:v>
                </c:pt>
                <c:pt idx="4942">
                  <c:v>-2.2002969999999999</c:v>
                </c:pt>
                <c:pt idx="4943">
                  <c:v>-2.3521899999999998</c:v>
                </c:pt>
                <c:pt idx="4944">
                  <c:v>-2.3192810000000001</c:v>
                </c:pt>
                <c:pt idx="4945">
                  <c:v>-2.3920569999999999</c:v>
                </c:pt>
                <c:pt idx="4946">
                  <c:v>-2.583348</c:v>
                </c:pt>
                <c:pt idx="4947">
                  <c:v>-2.6431580000000001</c:v>
                </c:pt>
                <c:pt idx="4948">
                  <c:v>-3.1800609999999998</c:v>
                </c:pt>
                <c:pt idx="4949">
                  <c:v>-3.0989710000000001</c:v>
                </c:pt>
                <c:pt idx="4950">
                  <c:v>-2.910717</c:v>
                </c:pt>
                <c:pt idx="4951">
                  <c:v>-3.1033119999999998</c:v>
                </c:pt>
                <c:pt idx="4952">
                  <c:v>-3.0324819999999999</c:v>
                </c:pt>
                <c:pt idx="4953">
                  <c:v>-3.1515710000000001</c:v>
                </c:pt>
                <c:pt idx="4954">
                  <c:v>-3.0330789999999999</c:v>
                </c:pt>
                <c:pt idx="4955">
                  <c:v>-3.191449</c:v>
                </c:pt>
                <c:pt idx="4956">
                  <c:v>-3.492378</c:v>
                </c:pt>
                <c:pt idx="4957">
                  <c:v>-3.1395879999999998</c:v>
                </c:pt>
                <c:pt idx="4958">
                  <c:v>-2.9735130000000001</c:v>
                </c:pt>
                <c:pt idx="4959">
                  <c:v>-3.217746</c:v>
                </c:pt>
                <c:pt idx="4960">
                  <c:v>-3.2162579999999998</c:v>
                </c:pt>
                <c:pt idx="4961">
                  <c:v>-3.2941959999999999</c:v>
                </c:pt>
                <c:pt idx="4962">
                  <c:v>-3.5498759999999998</c:v>
                </c:pt>
                <c:pt idx="4963">
                  <c:v>-3.7759809999999998</c:v>
                </c:pt>
                <c:pt idx="4964">
                  <c:v>-3.7269420000000002</c:v>
                </c:pt>
                <c:pt idx="4965">
                  <c:v>-3.8033809999999999</c:v>
                </c:pt>
                <c:pt idx="4966">
                  <c:v>-3.8685209999999999</c:v>
                </c:pt>
                <c:pt idx="4967">
                  <c:v>-3.7973469999999998</c:v>
                </c:pt>
                <c:pt idx="4968">
                  <c:v>-3.846409</c:v>
                </c:pt>
                <c:pt idx="4969">
                  <c:v>-3.8219530000000002</c:v>
                </c:pt>
                <c:pt idx="4970">
                  <c:v>-4.0953670000000004</c:v>
                </c:pt>
                <c:pt idx="4971">
                  <c:v>-4.1922290000000002</c:v>
                </c:pt>
                <c:pt idx="4972">
                  <c:v>-3.8688530000000001</c:v>
                </c:pt>
                <c:pt idx="4973">
                  <c:v>-4.0505709999999997</c:v>
                </c:pt>
                <c:pt idx="4974">
                  <c:v>-4.0837320000000004</c:v>
                </c:pt>
                <c:pt idx="4975">
                  <c:v>-3.9167459999999998</c:v>
                </c:pt>
                <c:pt idx="4976">
                  <c:v>-4.0340030000000002</c:v>
                </c:pt>
                <c:pt idx="4977">
                  <c:v>-3.965884</c:v>
                </c:pt>
                <c:pt idx="4978">
                  <c:v>-4.2073790000000004</c:v>
                </c:pt>
                <c:pt idx="4979">
                  <c:v>-4.3444779999999996</c:v>
                </c:pt>
                <c:pt idx="4980">
                  <c:v>-4.1717610000000001</c:v>
                </c:pt>
                <c:pt idx="4981">
                  <c:v>-4.2297390000000004</c:v>
                </c:pt>
                <c:pt idx="4982">
                  <c:v>-4.2013619999999996</c:v>
                </c:pt>
                <c:pt idx="4983">
                  <c:v>-4.1280359999999998</c:v>
                </c:pt>
                <c:pt idx="4984">
                  <c:v>-4.2273719999999999</c:v>
                </c:pt>
                <c:pt idx="4985">
                  <c:v>-4.2163040000000001</c:v>
                </c:pt>
                <c:pt idx="4986">
                  <c:v>-4.2184790000000003</c:v>
                </c:pt>
                <c:pt idx="4987">
                  <c:v>-4.1550370000000001</c:v>
                </c:pt>
                <c:pt idx="4988">
                  <c:v>-4.1935209999999996</c:v>
                </c:pt>
                <c:pt idx="4989">
                  <c:v>-4.3486690000000001</c:v>
                </c:pt>
                <c:pt idx="4990">
                  <c:v>-4.0334219999999998</c:v>
                </c:pt>
                <c:pt idx="4991">
                  <c:v>-4.003101</c:v>
                </c:pt>
                <c:pt idx="4992">
                  <c:v>-4.2435580000000002</c:v>
                </c:pt>
                <c:pt idx="4993">
                  <c:v>-4.1018600000000003</c:v>
                </c:pt>
                <c:pt idx="4994">
                  <c:v>-4.0976039999999996</c:v>
                </c:pt>
                <c:pt idx="4995">
                  <c:v>-4.1584459999999996</c:v>
                </c:pt>
                <c:pt idx="4996">
                  <c:v>-4.1250910000000003</c:v>
                </c:pt>
                <c:pt idx="4997">
                  <c:v>-4.3120120000000002</c:v>
                </c:pt>
                <c:pt idx="4998">
                  <c:v>-4.3502299999999998</c:v>
                </c:pt>
                <c:pt idx="4999">
                  <c:v>-4.2504119999999999</c:v>
                </c:pt>
                <c:pt idx="5000">
                  <c:v>-4.1360400000000004</c:v>
                </c:pt>
                <c:pt idx="5001">
                  <c:v>-4.0072960000000002</c:v>
                </c:pt>
                <c:pt idx="5002">
                  <c:v>-3.9965139999999999</c:v>
                </c:pt>
                <c:pt idx="5003">
                  <c:v>-4.0476400000000003</c:v>
                </c:pt>
                <c:pt idx="5004">
                  <c:v>-3.794632</c:v>
                </c:pt>
                <c:pt idx="5005">
                  <c:v>-3.71712</c:v>
                </c:pt>
                <c:pt idx="5006">
                  <c:v>-3.7171479999999999</c:v>
                </c:pt>
                <c:pt idx="5007">
                  <c:v>-3.77007</c:v>
                </c:pt>
                <c:pt idx="5008">
                  <c:v>-3.7805010000000001</c:v>
                </c:pt>
                <c:pt idx="5009">
                  <c:v>-3.7828029999999999</c:v>
                </c:pt>
                <c:pt idx="5010">
                  <c:v>-3.6368800000000001</c:v>
                </c:pt>
                <c:pt idx="5011">
                  <c:v>-3.4184350000000001</c:v>
                </c:pt>
                <c:pt idx="5012">
                  <c:v>-3.8203490000000002</c:v>
                </c:pt>
                <c:pt idx="5013">
                  <c:v>-3.6864690000000002</c:v>
                </c:pt>
                <c:pt idx="5014">
                  <c:v>-3.2807059999999999</c:v>
                </c:pt>
                <c:pt idx="5015">
                  <c:v>-3.246524</c:v>
                </c:pt>
                <c:pt idx="5016">
                  <c:v>-3.3349150000000001</c:v>
                </c:pt>
                <c:pt idx="5017">
                  <c:v>-3.429449</c:v>
                </c:pt>
                <c:pt idx="5018">
                  <c:v>-3.4024869999999998</c:v>
                </c:pt>
                <c:pt idx="5019">
                  <c:v>-3.3831190000000002</c:v>
                </c:pt>
                <c:pt idx="5020">
                  <c:v>-3.502202</c:v>
                </c:pt>
                <c:pt idx="5021">
                  <c:v>-3.4966599999999999</c:v>
                </c:pt>
                <c:pt idx="5022">
                  <c:v>-3.2939229999999999</c:v>
                </c:pt>
                <c:pt idx="5023">
                  <c:v>-3.2483420000000001</c:v>
                </c:pt>
                <c:pt idx="5024">
                  <c:v>-3.2779940000000001</c:v>
                </c:pt>
                <c:pt idx="5025">
                  <c:v>-3.2166090000000001</c:v>
                </c:pt>
                <c:pt idx="5026">
                  <c:v>-3.106077</c:v>
                </c:pt>
                <c:pt idx="5027">
                  <c:v>-3.033868</c:v>
                </c:pt>
                <c:pt idx="5028">
                  <c:v>-2.9772289999999999</c:v>
                </c:pt>
                <c:pt idx="5029">
                  <c:v>-2.9296720000000001</c:v>
                </c:pt>
                <c:pt idx="5030">
                  <c:v>-2.9536229999999999</c:v>
                </c:pt>
                <c:pt idx="5031">
                  <c:v>-3.0199980000000002</c:v>
                </c:pt>
                <c:pt idx="5032">
                  <c:v>-2.910256</c:v>
                </c:pt>
                <c:pt idx="5033">
                  <c:v>-2.913043</c:v>
                </c:pt>
                <c:pt idx="5034">
                  <c:v>-2.9010090000000002</c:v>
                </c:pt>
                <c:pt idx="5035">
                  <c:v>-2.7529499999999998</c:v>
                </c:pt>
                <c:pt idx="5036">
                  <c:v>-2.9314019999999998</c:v>
                </c:pt>
                <c:pt idx="5037">
                  <c:v>-2.8815339999999998</c:v>
                </c:pt>
                <c:pt idx="5038">
                  <c:v>-2.8553030000000001</c:v>
                </c:pt>
                <c:pt idx="5039">
                  <c:v>-3.0377160000000001</c:v>
                </c:pt>
                <c:pt idx="5040">
                  <c:v>-2.86659</c:v>
                </c:pt>
                <c:pt idx="5041">
                  <c:v>-2.9825330000000001</c:v>
                </c:pt>
                <c:pt idx="5042">
                  <c:v>-2.9719030000000002</c:v>
                </c:pt>
                <c:pt idx="5043">
                  <c:v>-2.7706729999999999</c:v>
                </c:pt>
                <c:pt idx="5044">
                  <c:v>-2.7217410000000002</c:v>
                </c:pt>
                <c:pt idx="5045">
                  <c:v>-2.617121</c:v>
                </c:pt>
                <c:pt idx="5046">
                  <c:v>-2.407257</c:v>
                </c:pt>
                <c:pt idx="5047">
                  <c:v>-2.205587</c:v>
                </c:pt>
                <c:pt idx="5048">
                  <c:v>-2.1975440000000002</c:v>
                </c:pt>
                <c:pt idx="5049">
                  <c:v>-2.1608019999999999</c:v>
                </c:pt>
                <c:pt idx="5050">
                  <c:v>-2.4528289999999999</c:v>
                </c:pt>
                <c:pt idx="5051">
                  <c:v>-2.2535729999999998</c:v>
                </c:pt>
                <c:pt idx="5052">
                  <c:v>-1.8725590000000001</c:v>
                </c:pt>
                <c:pt idx="5053">
                  <c:v>-1.976394</c:v>
                </c:pt>
                <c:pt idx="5054">
                  <c:v>-2.1384639999999999</c:v>
                </c:pt>
                <c:pt idx="5055">
                  <c:v>-2.141324</c:v>
                </c:pt>
                <c:pt idx="5056">
                  <c:v>-2.2069489999999998</c:v>
                </c:pt>
                <c:pt idx="5057">
                  <c:v>-2.3044880000000001</c:v>
                </c:pt>
                <c:pt idx="5058">
                  <c:v>-2.1585489999999998</c:v>
                </c:pt>
                <c:pt idx="5059">
                  <c:v>-2.1483310000000002</c:v>
                </c:pt>
                <c:pt idx="5060">
                  <c:v>-2.1370800000000001</c:v>
                </c:pt>
                <c:pt idx="5061">
                  <c:v>-2.0588890000000002</c:v>
                </c:pt>
                <c:pt idx="5062">
                  <c:v>-2.009503</c:v>
                </c:pt>
                <c:pt idx="5063">
                  <c:v>-1.9044749999999999</c:v>
                </c:pt>
                <c:pt idx="5064">
                  <c:v>-1.766686</c:v>
                </c:pt>
                <c:pt idx="5065">
                  <c:v>-1.8771850000000001</c:v>
                </c:pt>
                <c:pt idx="5066">
                  <c:v>-1.7137659999999999</c:v>
                </c:pt>
                <c:pt idx="5067">
                  <c:v>-1.3423579999999999</c:v>
                </c:pt>
                <c:pt idx="5068">
                  <c:v>-1.4494769999999999</c:v>
                </c:pt>
                <c:pt idx="5069">
                  <c:v>-1.8122450000000001</c:v>
                </c:pt>
                <c:pt idx="5070">
                  <c:v>-1.9966170000000001</c:v>
                </c:pt>
                <c:pt idx="5071">
                  <c:v>-1.972119</c:v>
                </c:pt>
                <c:pt idx="5072">
                  <c:v>-1.8359909999999999</c:v>
                </c:pt>
                <c:pt idx="5073">
                  <c:v>-2.109632</c:v>
                </c:pt>
                <c:pt idx="5074">
                  <c:v>-2.1245959999999999</c:v>
                </c:pt>
                <c:pt idx="5075">
                  <c:v>-1.679621</c:v>
                </c:pt>
                <c:pt idx="5076">
                  <c:v>-1.775733</c:v>
                </c:pt>
                <c:pt idx="5077">
                  <c:v>-2.0844670000000001</c:v>
                </c:pt>
                <c:pt idx="5078">
                  <c:v>-2.1859690000000001</c:v>
                </c:pt>
                <c:pt idx="5079">
                  <c:v>-1.9183079999999999</c:v>
                </c:pt>
                <c:pt idx="5080">
                  <c:v>-1.8509850000000001</c:v>
                </c:pt>
                <c:pt idx="5081">
                  <c:v>-2.1460539999999999</c:v>
                </c:pt>
                <c:pt idx="5082">
                  <c:v>-1.8311379999999999</c:v>
                </c:pt>
                <c:pt idx="5083">
                  <c:v>-1.7366109999999999</c:v>
                </c:pt>
                <c:pt idx="5084">
                  <c:v>-2.0057520000000002</c:v>
                </c:pt>
                <c:pt idx="5085">
                  <c:v>-1.6052139999999999</c:v>
                </c:pt>
                <c:pt idx="5086">
                  <c:v>-1.31484</c:v>
                </c:pt>
                <c:pt idx="5087">
                  <c:v>-1.601418</c:v>
                </c:pt>
                <c:pt idx="5088">
                  <c:v>-1.456261</c:v>
                </c:pt>
                <c:pt idx="5089">
                  <c:v>-1.1646650000000001</c:v>
                </c:pt>
                <c:pt idx="5090">
                  <c:v>-1.2479119999999999</c:v>
                </c:pt>
                <c:pt idx="5091">
                  <c:v>-1.469339</c:v>
                </c:pt>
                <c:pt idx="5092">
                  <c:v>-1.5733900000000001</c:v>
                </c:pt>
                <c:pt idx="5093">
                  <c:v>-1.6339760000000001</c:v>
                </c:pt>
                <c:pt idx="5094">
                  <c:v>-1.737932</c:v>
                </c:pt>
                <c:pt idx="5095">
                  <c:v>-1.534554</c:v>
                </c:pt>
                <c:pt idx="5096">
                  <c:v>-1.83873</c:v>
                </c:pt>
                <c:pt idx="5097">
                  <c:v>-2.0731820000000001</c:v>
                </c:pt>
                <c:pt idx="5098">
                  <c:v>-1.956653</c:v>
                </c:pt>
                <c:pt idx="5099">
                  <c:v>-1.983061</c:v>
                </c:pt>
                <c:pt idx="5100">
                  <c:v>-1.876986</c:v>
                </c:pt>
                <c:pt idx="5101">
                  <c:v>-1.8294079999999999</c:v>
                </c:pt>
                <c:pt idx="5102">
                  <c:v>-1.7364470000000001</c:v>
                </c:pt>
                <c:pt idx="5103">
                  <c:v>-1.820444</c:v>
                </c:pt>
                <c:pt idx="5104">
                  <c:v>-1.859453</c:v>
                </c:pt>
                <c:pt idx="5105">
                  <c:v>-1.7490669999999999</c:v>
                </c:pt>
                <c:pt idx="5106">
                  <c:v>-1.617993</c:v>
                </c:pt>
                <c:pt idx="5107">
                  <c:v>-1.6079110000000001</c:v>
                </c:pt>
                <c:pt idx="5108">
                  <c:v>-1.654657</c:v>
                </c:pt>
                <c:pt idx="5109">
                  <c:v>-1.673492</c:v>
                </c:pt>
                <c:pt idx="5110">
                  <c:v>-1.8807100000000001</c:v>
                </c:pt>
                <c:pt idx="5111">
                  <c:v>-2.0649259999999998</c:v>
                </c:pt>
                <c:pt idx="5112">
                  <c:v>-2.044006</c:v>
                </c:pt>
                <c:pt idx="5113">
                  <c:v>-1.8491329999999999</c:v>
                </c:pt>
                <c:pt idx="5114">
                  <c:v>-1.750589</c:v>
                </c:pt>
                <c:pt idx="5115">
                  <c:v>-1.8288850000000001</c:v>
                </c:pt>
                <c:pt idx="5116">
                  <c:v>-2.001566</c:v>
                </c:pt>
                <c:pt idx="5117">
                  <c:v>-2.1002100000000001</c:v>
                </c:pt>
                <c:pt idx="5118">
                  <c:v>-2.0987900000000002</c:v>
                </c:pt>
                <c:pt idx="5119">
                  <c:v>-2.0444650000000002</c:v>
                </c:pt>
                <c:pt idx="5120">
                  <c:v>-2.023952</c:v>
                </c:pt>
                <c:pt idx="5121">
                  <c:v>-2.0172590000000001</c:v>
                </c:pt>
                <c:pt idx="5122">
                  <c:v>-2.0161220000000002</c:v>
                </c:pt>
                <c:pt idx="5123">
                  <c:v>-2.0171220000000001</c:v>
                </c:pt>
                <c:pt idx="5124">
                  <c:v>-2.2914949999999998</c:v>
                </c:pt>
                <c:pt idx="5125">
                  <c:v>-1.902112</c:v>
                </c:pt>
                <c:pt idx="5126">
                  <c:v>-1.4322859999999999</c:v>
                </c:pt>
                <c:pt idx="5127">
                  <c:v>-1.757922</c:v>
                </c:pt>
                <c:pt idx="5128">
                  <c:v>-1.975703</c:v>
                </c:pt>
                <c:pt idx="5129">
                  <c:v>-1.9553370000000001</c:v>
                </c:pt>
                <c:pt idx="5130">
                  <c:v>-1.814602</c:v>
                </c:pt>
                <c:pt idx="5131">
                  <c:v>-1.9410559999999999</c:v>
                </c:pt>
                <c:pt idx="5132">
                  <c:v>-2.0052349999999999</c:v>
                </c:pt>
                <c:pt idx="5133">
                  <c:v>-2.1155819999999999</c:v>
                </c:pt>
                <c:pt idx="5134">
                  <c:v>-2.3183370000000001</c:v>
                </c:pt>
                <c:pt idx="5135">
                  <c:v>-2.3803619999999999</c:v>
                </c:pt>
                <c:pt idx="5136">
                  <c:v>-2.505217</c:v>
                </c:pt>
                <c:pt idx="5137">
                  <c:v>-2.4620129999999998</c:v>
                </c:pt>
                <c:pt idx="5138">
                  <c:v>-2.3268800000000001</c:v>
                </c:pt>
                <c:pt idx="5139">
                  <c:v>-2.6064880000000001</c:v>
                </c:pt>
                <c:pt idx="5140">
                  <c:v>-2.5641440000000002</c:v>
                </c:pt>
                <c:pt idx="5141">
                  <c:v>-2.294851</c:v>
                </c:pt>
                <c:pt idx="5142">
                  <c:v>-2.286797</c:v>
                </c:pt>
                <c:pt idx="5143">
                  <c:v>-2.4147050000000001</c:v>
                </c:pt>
                <c:pt idx="5144">
                  <c:v>-2.1395849999999998</c:v>
                </c:pt>
                <c:pt idx="5145">
                  <c:v>-2.0604399999999998</c:v>
                </c:pt>
                <c:pt idx="5146">
                  <c:v>-2.4016829999999998</c:v>
                </c:pt>
                <c:pt idx="5147">
                  <c:v>-2.5176470000000002</c:v>
                </c:pt>
                <c:pt idx="5148">
                  <c:v>-2.5905040000000001</c:v>
                </c:pt>
                <c:pt idx="5149">
                  <c:v>-2.3762099999999999</c:v>
                </c:pt>
                <c:pt idx="5150">
                  <c:v>-2.4052549999999999</c:v>
                </c:pt>
                <c:pt idx="5151">
                  <c:v>-2.5549249999999999</c:v>
                </c:pt>
                <c:pt idx="5152">
                  <c:v>-2.5067849999999998</c:v>
                </c:pt>
                <c:pt idx="5153">
                  <c:v>-2.6262400000000001</c:v>
                </c:pt>
                <c:pt idx="5154">
                  <c:v>-2.9022250000000001</c:v>
                </c:pt>
                <c:pt idx="5155">
                  <c:v>-3.0047100000000002</c:v>
                </c:pt>
                <c:pt idx="5156">
                  <c:v>-2.8864190000000001</c:v>
                </c:pt>
                <c:pt idx="5157">
                  <c:v>-2.9152529999999999</c:v>
                </c:pt>
                <c:pt idx="5158">
                  <c:v>-2.8756789999999999</c:v>
                </c:pt>
                <c:pt idx="5159">
                  <c:v>-2.7330930000000002</c:v>
                </c:pt>
                <c:pt idx="5160">
                  <c:v>-2.7936909999999999</c:v>
                </c:pt>
                <c:pt idx="5161">
                  <c:v>-2.7581739999999999</c:v>
                </c:pt>
                <c:pt idx="5162">
                  <c:v>-2.8086190000000002</c:v>
                </c:pt>
                <c:pt idx="5163">
                  <c:v>-2.9718059999999999</c:v>
                </c:pt>
                <c:pt idx="5164">
                  <c:v>-2.9323199999999998</c:v>
                </c:pt>
                <c:pt idx="5165">
                  <c:v>-2.991657</c:v>
                </c:pt>
                <c:pt idx="5166">
                  <c:v>-2.9626860000000002</c:v>
                </c:pt>
                <c:pt idx="5167">
                  <c:v>-2.8225570000000002</c:v>
                </c:pt>
                <c:pt idx="5168">
                  <c:v>-2.677845</c:v>
                </c:pt>
                <c:pt idx="5169">
                  <c:v>-2.6610390000000002</c:v>
                </c:pt>
                <c:pt idx="5170">
                  <c:v>-3.0449730000000002</c:v>
                </c:pt>
                <c:pt idx="5171">
                  <c:v>-3.0497420000000002</c:v>
                </c:pt>
                <c:pt idx="5172">
                  <c:v>-2.9357060000000001</c:v>
                </c:pt>
                <c:pt idx="5173">
                  <c:v>-3.0846</c:v>
                </c:pt>
                <c:pt idx="5174">
                  <c:v>-3.0372240000000001</c:v>
                </c:pt>
                <c:pt idx="5175">
                  <c:v>-3.0914269999999999</c:v>
                </c:pt>
                <c:pt idx="5176">
                  <c:v>-3.1948720000000002</c:v>
                </c:pt>
                <c:pt idx="5177">
                  <c:v>-3.1284510000000001</c:v>
                </c:pt>
                <c:pt idx="5178">
                  <c:v>-3.2397930000000001</c:v>
                </c:pt>
                <c:pt idx="5179">
                  <c:v>-3.2408079999999999</c:v>
                </c:pt>
                <c:pt idx="5180">
                  <c:v>-3.1879200000000001</c:v>
                </c:pt>
                <c:pt idx="5181">
                  <c:v>-3.1656650000000002</c:v>
                </c:pt>
                <c:pt idx="5182">
                  <c:v>-3.3636300000000001</c:v>
                </c:pt>
                <c:pt idx="5183">
                  <c:v>-3.271712</c:v>
                </c:pt>
                <c:pt idx="5184">
                  <c:v>-2.898746</c:v>
                </c:pt>
                <c:pt idx="5185">
                  <c:v>-3.0958899999999998</c:v>
                </c:pt>
                <c:pt idx="5186">
                  <c:v>-3.0523950000000002</c:v>
                </c:pt>
                <c:pt idx="5187">
                  <c:v>-2.8245369999999999</c:v>
                </c:pt>
                <c:pt idx="5188">
                  <c:v>-2.8914219999999999</c:v>
                </c:pt>
                <c:pt idx="5189">
                  <c:v>-2.9796870000000002</c:v>
                </c:pt>
                <c:pt idx="5190">
                  <c:v>-2.8844430000000001</c:v>
                </c:pt>
                <c:pt idx="5191">
                  <c:v>-2.8969960000000001</c:v>
                </c:pt>
                <c:pt idx="5192">
                  <c:v>-2.9622670000000002</c:v>
                </c:pt>
                <c:pt idx="5193">
                  <c:v>-2.72363</c:v>
                </c:pt>
                <c:pt idx="5194">
                  <c:v>-2.7238150000000001</c:v>
                </c:pt>
                <c:pt idx="5195">
                  <c:v>-2.7739609999999999</c:v>
                </c:pt>
                <c:pt idx="5196">
                  <c:v>-2.8617270000000001</c:v>
                </c:pt>
                <c:pt idx="5197">
                  <c:v>-3.0391970000000001</c:v>
                </c:pt>
                <c:pt idx="5198">
                  <c:v>-2.8711069999999999</c:v>
                </c:pt>
                <c:pt idx="5199">
                  <c:v>-2.5827740000000001</c:v>
                </c:pt>
                <c:pt idx="5200">
                  <c:v>-2.6204719999999999</c:v>
                </c:pt>
                <c:pt idx="5201">
                  <c:v>-2.8927200000000002</c:v>
                </c:pt>
                <c:pt idx="5202">
                  <c:v>-2.8326389999999999</c:v>
                </c:pt>
                <c:pt idx="5203">
                  <c:v>-2.6709580000000002</c:v>
                </c:pt>
                <c:pt idx="5204">
                  <c:v>-2.7149359999999998</c:v>
                </c:pt>
                <c:pt idx="5205">
                  <c:v>-2.594541</c:v>
                </c:pt>
                <c:pt idx="5206">
                  <c:v>-2.3870879999999999</c:v>
                </c:pt>
                <c:pt idx="5207">
                  <c:v>-2.3239939999999999</c:v>
                </c:pt>
                <c:pt idx="5208">
                  <c:v>-2.4706329999999999</c:v>
                </c:pt>
                <c:pt idx="5209">
                  <c:v>-2.5317780000000001</c:v>
                </c:pt>
                <c:pt idx="5210">
                  <c:v>-2.4937149999999999</c:v>
                </c:pt>
                <c:pt idx="5211">
                  <c:v>-2.53599</c:v>
                </c:pt>
                <c:pt idx="5212">
                  <c:v>-2.7614770000000002</c:v>
                </c:pt>
                <c:pt idx="5213">
                  <c:v>-2.7512349999999999</c:v>
                </c:pt>
                <c:pt idx="5214">
                  <c:v>-2.5591560000000002</c:v>
                </c:pt>
                <c:pt idx="5215">
                  <c:v>-2.7285659999999998</c:v>
                </c:pt>
                <c:pt idx="5216">
                  <c:v>-2.6852170000000002</c:v>
                </c:pt>
                <c:pt idx="5217">
                  <c:v>-2.6018699999999999</c:v>
                </c:pt>
                <c:pt idx="5218">
                  <c:v>-2.623494</c:v>
                </c:pt>
                <c:pt idx="5219">
                  <c:v>-2.6341320000000001</c:v>
                </c:pt>
                <c:pt idx="5220">
                  <c:v>-2.570522</c:v>
                </c:pt>
                <c:pt idx="5221">
                  <c:v>-2.4673379999999998</c:v>
                </c:pt>
                <c:pt idx="5222">
                  <c:v>-2.5393880000000002</c:v>
                </c:pt>
                <c:pt idx="5223">
                  <c:v>-2.5024299999999999</c:v>
                </c:pt>
                <c:pt idx="5224">
                  <c:v>-2.4114429999999998</c:v>
                </c:pt>
                <c:pt idx="5225">
                  <c:v>-2.3533149999999998</c:v>
                </c:pt>
                <c:pt idx="5226">
                  <c:v>-2.379254</c:v>
                </c:pt>
                <c:pt idx="5227">
                  <c:v>-2.3132160000000002</c:v>
                </c:pt>
                <c:pt idx="5228">
                  <c:v>-2.133899</c:v>
                </c:pt>
                <c:pt idx="5229">
                  <c:v>-2.019638</c:v>
                </c:pt>
                <c:pt idx="5230">
                  <c:v>-2.1398790000000001</c:v>
                </c:pt>
                <c:pt idx="5231">
                  <c:v>-2.1835819999999999</c:v>
                </c:pt>
                <c:pt idx="5232">
                  <c:v>-2.0653139999999999</c:v>
                </c:pt>
                <c:pt idx="5233">
                  <c:v>-2.0579489999999998</c:v>
                </c:pt>
                <c:pt idx="5234">
                  <c:v>-1.838106</c:v>
                </c:pt>
                <c:pt idx="5235">
                  <c:v>-1.839197</c:v>
                </c:pt>
                <c:pt idx="5236">
                  <c:v>-1.9511449999999999</c:v>
                </c:pt>
                <c:pt idx="5237">
                  <c:v>-1.795544</c:v>
                </c:pt>
                <c:pt idx="5238">
                  <c:v>-1.9041220000000001</c:v>
                </c:pt>
                <c:pt idx="5239">
                  <c:v>-1.9481850000000001</c:v>
                </c:pt>
                <c:pt idx="5240">
                  <c:v>-1.766834</c:v>
                </c:pt>
                <c:pt idx="5241">
                  <c:v>-1.7277469999999999</c:v>
                </c:pt>
                <c:pt idx="5242">
                  <c:v>-1.624215</c:v>
                </c:pt>
                <c:pt idx="5243">
                  <c:v>-1.8251900000000001</c:v>
                </c:pt>
                <c:pt idx="5244">
                  <c:v>-1.8521650000000001</c:v>
                </c:pt>
                <c:pt idx="5245">
                  <c:v>-1.5308660000000001</c:v>
                </c:pt>
                <c:pt idx="5246">
                  <c:v>-1.4136200000000001</c:v>
                </c:pt>
                <c:pt idx="5247">
                  <c:v>-1.59914</c:v>
                </c:pt>
                <c:pt idx="5248">
                  <c:v>-1.6799569999999999</c:v>
                </c:pt>
                <c:pt idx="5249">
                  <c:v>-1.518462</c:v>
                </c:pt>
                <c:pt idx="5250">
                  <c:v>-1.4238459999999999</c:v>
                </c:pt>
                <c:pt idx="5251">
                  <c:v>-1.2912220000000001</c:v>
                </c:pt>
                <c:pt idx="5252">
                  <c:v>-1.4046369999999999</c:v>
                </c:pt>
                <c:pt idx="5253">
                  <c:v>-1.7202630000000001</c:v>
                </c:pt>
                <c:pt idx="5254">
                  <c:v>-1.6198399999999999</c:v>
                </c:pt>
                <c:pt idx="5255">
                  <c:v>-1.4418869999999999</c:v>
                </c:pt>
                <c:pt idx="5256">
                  <c:v>-1.4764170000000001</c:v>
                </c:pt>
                <c:pt idx="5257">
                  <c:v>-1.5567439999999999</c:v>
                </c:pt>
                <c:pt idx="5258">
                  <c:v>-1.6647650000000001</c:v>
                </c:pt>
                <c:pt idx="5259">
                  <c:v>-1.5243739999999999</c:v>
                </c:pt>
                <c:pt idx="5260">
                  <c:v>-1.5886439999999999</c:v>
                </c:pt>
                <c:pt idx="5261">
                  <c:v>-1.8920349999999999</c:v>
                </c:pt>
                <c:pt idx="5262">
                  <c:v>-1.7958160000000001</c:v>
                </c:pt>
                <c:pt idx="5263">
                  <c:v>-1.7633810000000001</c:v>
                </c:pt>
                <c:pt idx="5264">
                  <c:v>-2.023692</c:v>
                </c:pt>
                <c:pt idx="5265">
                  <c:v>-2.043085</c:v>
                </c:pt>
                <c:pt idx="5266">
                  <c:v>-1.8718699999999999</c:v>
                </c:pt>
                <c:pt idx="5267">
                  <c:v>-1.7231129999999999</c:v>
                </c:pt>
                <c:pt idx="5268">
                  <c:v>-1.8448549999999999</c:v>
                </c:pt>
                <c:pt idx="5269">
                  <c:v>-1.9738929999999999</c:v>
                </c:pt>
                <c:pt idx="5270">
                  <c:v>-1.8474379999999999</c:v>
                </c:pt>
                <c:pt idx="5271">
                  <c:v>-1.580273</c:v>
                </c:pt>
                <c:pt idx="5272">
                  <c:v>-1.3591679999999999</c:v>
                </c:pt>
                <c:pt idx="5273">
                  <c:v>-1.4182079999999999</c:v>
                </c:pt>
                <c:pt idx="5274">
                  <c:v>-1.695824</c:v>
                </c:pt>
                <c:pt idx="5275">
                  <c:v>-1.97235</c:v>
                </c:pt>
                <c:pt idx="5276">
                  <c:v>-1.998078</c:v>
                </c:pt>
                <c:pt idx="5277">
                  <c:v>-1.8291230000000001</c:v>
                </c:pt>
                <c:pt idx="5278">
                  <c:v>-1.817275</c:v>
                </c:pt>
                <c:pt idx="5279">
                  <c:v>-1.811458</c:v>
                </c:pt>
                <c:pt idx="5280">
                  <c:v>-1.8791580000000001</c:v>
                </c:pt>
                <c:pt idx="5281">
                  <c:v>-1.984461</c:v>
                </c:pt>
                <c:pt idx="5282">
                  <c:v>-2.0513710000000001</c:v>
                </c:pt>
                <c:pt idx="5283">
                  <c:v>-2.2347060000000001</c:v>
                </c:pt>
                <c:pt idx="5284">
                  <c:v>-2.4207010000000002</c:v>
                </c:pt>
                <c:pt idx="5285">
                  <c:v>-2.411781</c:v>
                </c:pt>
                <c:pt idx="5286">
                  <c:v>-2.3690669999999998</c:v>
                </c:pt>
                <c:pt idx="5287">
                  <c:v>-2.3645930000000002</c:v>
                </c:pt>
                <c:pt idx="5288">
                  <c:v>-2.3101400000000001</c:v>
                </c:pt>
                <c:pt idx="5289">
                  <c:v>-2.357424</c:v>
                </c:pt>
                <c:pt idx="5290">
                  <c:v>-2.322168</c:v>
                </c:pt>
                <c:pt idx="5291">
                  <c:v>-2.310028</c:v>
                </c:pt>
                <c:pt idx="5292">
                  <c:v>-1.96506</c:v>
                </c:pt>
                <c:pt idx="5293">
                  <c:v>-2.045715</c:v>
                </c:pt>
                <c:pt idx="5294">
                  <c:v>-2.4051079999999998</c:v>
                </c:pt>
                <c:pt idx="5295">
                  <c:v>-2.401284</c:v>
                </c:pt>
                <c:pt idx="5296">
                  <c:v>-2.6156380000000001</c:v>
                </c:pt>
                <c:pt idx="5297">
                  <c:v>-2.408334</c:v>
                </c:pt>
                <c:pt idx="5298">
                  <c:v>-2.3154129999999999</c:v>
                </c:pt>
                <c:pt idx="5299">
                  <c:v>-2.4658289999999998</c:v>
                </c:pt>
                <c:pt idx="5300">
                  <c:v>-2.3483299999999998</c:v>
                </c:pt>
                <c:pt idx="5301">
                  <c:v>-2.5607280000000001</c:v>
                </c:pt>
                <c:pt idx="5302">
                  <c:v>-2.5423689999999999</c:v>
                </c:pt>
                <c:pt idx="5303">
                  <c:v>-2.548832</c:v>
                </c:pt>
                <c:pt idx="5304">
                  <c:v>-2.692507</c:v>
                </c:pt>
                <c:pt idx="5305">
                  <c:v>-2.649546</c:v>
                </c:pt>
                <c:pt idx="5306">
                  <c:v>-2.7059549999999999</c:v>
                </c:pt>
                <c:pt idx="5307">
                  <c:v>-2.6801840000000001</c:v>
                </c:pt>
                <c:pt idx="5308">
                  <c:v>-2.6078619999999999</c:v>
                </c:pt>
                <c:pt idx="5309">
                  <c:v>-2.5057450000000001</c:v>
                </c:pt>
                <c:pt idx="5310">
                  <c:v>-2.3115700000000001</c:v>
                </c:pt>
                <c:pt idx="5311">
                  <c:v>-2.3320259999999999</c:v>
                </c:pt>
                <c:pt idx="5312">
                  <c:v>-2.3241459999999998</c:v>
                </c:pt>
                <c:pt idx="5313">
                  <c:v>-2.2429100000000002</c:v>
                </c:pt>
                <c:pt idx="5314">
                  <c:v>-2.3200289999999999</c:v>
                </c:pt>
                <c:pt idx="5315">
                  <c:v>-2.2160929999999999</c:v>
                </c:pt>
                <c:pt idx="5316">
                  <c:v>-2.287757</c:v>
                </c:pt>
                <c:pt idx="5317">
                  <c:v>-2.3157909999999999</c:v>
                </c:pt>
                <c:pt idx="5318">
                  <c:v>-2.5346860000000002</c:v>
                </c:pt>
                <c:pt idx="5319">
                  <c:v>-2.3136320000000001</c:v>
                </c:pt>
                <c:pt idx="5320">
                  <c:v>-2.2073670000000001</c:v>
                </c:pt>
                <c:pt idx="5321">
                  <c:v>-2.6783999999999999</c:v>
                </c:pt>
                <c:pt idx="5322">
                  <c:v>-2.8746740000000002</c:v>
                </c:pt>
                <c:pt idx="5323">
                  <c:v>-3.0759099999999999</c:v>
                </c:pt>
                <c:pt idx="5324">
                  <c:v>-2.9494829999999999</c:v>
                </c:pt>
                <c:pt idx="5325">
                  <c:v>-2.9830160000000001</c:v>
                </c:pt>
                <c:pt idx="5326">
                  <c:v>-3.087996</c:v>
                </c:pt>
                <c:pt idx="5327">
                  <c:v>-2.9651770000000002</c:v>
                </c:pt>
                <c:pt idx="5328">
                  <c:v>-2.9157459999999999</c:v>
                </c:pt>
                <c:pt idx="5329">
                  <c:v>-3.0330439999999999</c:v>
                </c:pt>
                <c:pt idx="5330">
                  <c:v>-2.9673180000000001</c:v>
                </c:pt>
                <c:pt idx="5331">
                  <c:v>-2.943654</c:v>
                </c:pt>
                <c:pt idx="5332">
                  <c:v>-3.0677919999999999</c:v>
                </c:pt>
                <c:pt idx="5333">
                  <c:v>-2.9389419999999999</c:v>
                </c:pt>
                <c:pt idx="5334">
                  <c:v>-2.6706159999999999</c:v>
                </c:pt>
                <c:pt idx="5335">
                  <c:v>-2.7898740000000002</c:v>
                </c:pt>
                <c:pt idx="5336">
                  <c:v>-2.9733209999999999</c:v>
                </c:pt>
                <c:pt idx="5337">
                  <c:v>-2.940223</c:v>
                </c:pt>
                <c:pt idx="5338">
                  <c:v>-3.1307580000000002</c:v>
                </c:pt>
                <c:pt idx="5339">
                  <c:v>-3.106957</c:v>
                </c:pt>
                <c:pt idx="5340">
                  <c:v>-3.2466300000000001</c:v>
                </c:pt>
                <c:pt idx="5341">
                  <c:v>-3.4015409999999999</c:v>
                </c:pt>
                <c:pt idx="5342">
                  <c:v>-3.3747940000000001</c:v>
                </c:pt>
                <c:pt idx="5343">
                  <c:v>-3.3809339999999999</c:v>
                </c:pt>
                <c:pt idx="5344">
                  <c:v>-3.1985579999999998</c:v>
                </c:pt>
                <c:pt idx="5345">
                  <c:v>-3.380773</c:v>
                </c:pt>
                <c:pt idx="5346">
                  <c:v>-3.4135659999999999</c:v>
                </c:pt>
                <c:pt idx="5347">
                  <c:v>-3.1079530000000002</c:v>
                </c:pt>
                <c:pt idx="5348">
                  <c:v>-3.2146810000000001</c:v>
                </c:pt>
                <c:pt idx="5349">
                  <c:v>-3.2638690000000001</c:v>
                </c:pt>
                <c:pt idx="5350">
                  <c:v>-3.3616980000000001</c:v>
                </c:pt>
                <c:pt idx="5351">
                  <c:v>-3.2807940000000002</c:v>
                </c:pt>
                <c:pt idx="5352">
                  <c:v>-3.0425249999999999</c:v>
                </c:pt>
                <c:pt idx="5353">
                  <c:v>-2.7677309999999999</c:v>
                </c:pt>
                <c:pt idx="5354">
                  <c:v>-2.599742</c:v>
                </c:pt>
                <c:pt idx="5355">
                  <c:v>-2.9481120000000001</c:v>
                </c:pt>
                <c:pt idx="5356">
                  <c:v>-3.1831659999999999</c:v>
                </c:pt>
                <c:pt idx="5357">
                  <c:v>-3.179144</c:v>
                </c:pt>
                <c:pt idx="5358">
                  <c:v>-3.1208779999999998</c:v>
                </c:pt>
                <c:pt idx="5359">
                  <c:v>-3.232491</c:v>
                </c:pt>
                <c:pt idx="5360">
                  <c:v>-3.1624910000000002</c:v>
                </c:pt>
                <c:pt idx="5361">
                  <c:v>-2.9307439999999998</c:v>
                </c:pt>
                <c:pt idx="5362">
                  <c:v>-3.2769439999999999</c:v>
                </c:pt>
                <c:pt idx="5363">
                  <c:v>-3.4603280000000001</c:v>
                </c:pt>
                <c:pt idx="5364">
                  <c:v>-3.3790300000000002</c:v>
                </c:pt>
                <c:pt idx="5365">
                  <c:v>-3.5555910000000002</c:v>
                </c:pt>
                <c:pt idx="5366">
                  <c:v>-3.533255</c:v>
                </c:pt>
                <c:pt idx="5367">
                  <c:v>-3.2019319999999998</c:v>
                </c:pt>
                <c:pt idx="5368">
                  <c:v>-3.1648040000000002</c:v>
                </c:pt>
                <c:pt idx="5369">
                  <c:v>-3.3354560000000002</c:v>
                </c:pt>
                <c:pt idx="5370">
                  <c:v>-3.494888</c:v>
                </c:pt>
                <c:pt idx="5371">
                  <c:v>-3.4517869999999999</c:v>
                </c:pt>
                <c:pt idx="5372">
                  <c:v>-3.1031629999999999</c:v>
                </c:pt>
                <c:pt idx="5373">
                  <c:v>-2.9779559999999998</c:v>
                </c:pt>
                <c:pt idx="5374">
                  <c:v>-3.0258639999999999</c:v>
                </c:pt>
                <c:pt idx="5375">
                  <c:v>-3.237263</c:v>
                </c:pt>
                <c:pt idx="5376">
                  <c:v>-3.1403249999999998</c:v>
                </c:pt>
                <c:pt idx="5377">
                  <c:v>-2.8188849999999999</c:v>
                </c:pt>
                <c:pt idx="5378">
                  <c:v>-3.174404</c:v>
                </c:pt>
                <c:pt idx="5379">
                  <c:v>-3.5556040000000002</c:v>
                </c:pt>
                <c:pt idx="5380">
                  <c:v>-3.2376209999999999</c:v>
                </c:pt>
                <c:pt idx="5381">
                  <c:v>-2.8799950000000001</c:v>
                </c:pt>
                <c:pt idx="5382">
                  <c:v>-3.2200120000000001</c:v>
                </c:pt>
                <c:pt idx="5383">
                  <c:v>-3.5943100000000001</c:v>
                </c:pt>
                <c:pt idx="5384">
                  <c:v>-3.6138180000000002</c:v>
                </c:pt>
                <c:pt idx="5385">
                  <c:v>-3.4469210000000001</c:v>
                </c:pt>
                <c:pt idx="5386">
                  <c:v>-3.1723599999999998</c:v>
                </c:pt>
                <c:pt idx="5387">
                  <c:v>-3.0211459999999999</c:v>
                </c:pt>
                <c:pt idx="5388">
                  <c:v>-2.9241480000000002</c:v>
                </c:pt>
                <c:pt idx="5389">
                  <c:v>-3.0541390000000002</c:v>
                </c:pt>
                <c:pt idx="5390">
                  <c:v>-2.9029639999999999</c:v>
                </c:pt>
                <c:pt idx="5391">
                  <c:v>-2.8120180000000001</c:v>
                </c:pt>
                <c:pt idx="5392">
                  <c:v>-2.808081</c:v>
                </c:pt>
                <c:pt idx="5393">
                  <c:v>-2.7911079999999999</c:v>
                </c:pt>
                <c:pt idx="5394">
                  <c:v>-2.7635429999999999</c:v>
                </c:pt>
                <c:pt idx="5395">
                  <c:v>-2.8065120000000001</c:v>
                </c:pt>
                <c:pt idx="5396">
                  <c:v>-2.9518589999999998</c:v>
                </c:pt>
                <c:pt idx="5397">
                  <c:v>-2.8952520000000002</c:v>
                </c:pt>
                <c:pt idx="5398">
                  <c:v>-2.7292670000000001</c:v>
                </c:pt>
                <c:pt idx="5399">
                  <c:v>-2.5673409999999999</c:v>
                </c:pt>
                <c:pt idx="5400">
                  <c:v>-2.9387729999999999</c:v>
                </c:pt>
                <c:pt idx="5401">
                  <c:v>-3.0623049999999998</c:v>
                </c:pt>
                <c:pt idx="5402">
                  <c:v>-2.8741859999999999</c:v>
                </c:pt>
                <c:pt idx="5403">
                  <c:v>-2.9146999999999998</c:v>
                </c:pt>
                <c:pt idx="5404">
                  <c:v>-2.8696830000000002</c:v>
                </c:pt>
                <c:pt idx="5405">
                  <c:v>-2.642404</c:v>
                </c:pt>
                <c:pt idx="5406">
                  <c:v>-2.7165119999999998</c:v>
                </c:pt>
                <c:pt idx="5407">
                  <c:v>-2.6722130000000002</c:v>
                </c:pt>
                <c:pt idx="5408">
                  <c:v>-2.4399039999999999</c:v>
                </c:pt>
                <c:pt idx="5409">
                  <c:v>-2.8402660000000002</c:v>
                </c:pt>
                <c:pt idx="5410">
                  <c:v>-3.0460020000000001</c:v>
                </c:pt>
                <c:pt idx="5411">
                  <c:v>-2.9723290000000002</c:v>
                </c:pt>
                <c:pt idx="5412">
                  <c:v>-2.8110539999999999</c:v>
                </c:pt>
                <c:pt idx="5413">
                  <c:v>-2.5956730000000001</c:v>
                </c:pt>
                <c:pt idx="5414">
                  <c:v>-2.4683109999999999</c:v>
                </c:pt>
                <c:pt idx="5415">
                  <c:v>-2.654569</c:v>
                </c:pt>
                <c:pt idx="5416">
                  <c:v>-2.737641</c:v>
                </c:pt>
                <c:pt idx="5417">
                  <c:v>-2.6501980000000001</c:v>
                </c:pt>
                <c:pt idx="5418">
                  <c:v>-2.73482</c:v>
                </c:pt>
                <c:pt idx="5419">
                  <c:v>-2.9859330000000002</c:v>
                </c:pt>
                <c:pt idx="5420">
                  <c:v>-3.1970909999999999</c:v>
                </c:pt>
                <c:pt idx="5421">
                  <c:v>-2.726099</c:v>
                </c:pt>
                <c:pt idx="5422">
                  <c:v>-2.5535749999999999</c:v>
                </c:pt>
                <c:pt idx="5423">
                  <c:v>-2.9184950000000001</c:v>
                </c:pt>
                <c:pt idx="5424">
                  <c:v>-2.9068290000000001</c:v>
                </c:pt>
                <c:pt idx="5425">
                  <c:v>-2.639948</c:v>
                </c:pt>
                <c:pt idx="5426">
                  <c:v>-2.7652589999999999</c:v>
                </c:pt>
                <c:pt idx="5427">
                  <c:v>-2.8911630000000001</c:v>
                </c:pt>
                <c:pt idx="5428">
                  <c:v>-2.76058</c:v>
                </c:pt>
                <c:pt idx="5429">
                  <c:v>-2.4876390000000002</c:v>
                </c:pt>
                <c:pt idx="5430">
                  <c:v>-2.3299970000000001</c:v>
                </c:pt>
                <c:pt idx="5431">
                  <c:v>-2.4901949999999999</c:v>
                </c:pt>
                <c:pt idx="5432">
                  <c:v>-2.624994</c:v>
                </c:pt>
                <c:pt idx="5433">
                  <c:v>-2.5564909999999998</c:v>
                </c:pt>
                <c:pt idx="5434">
                  <c:v>-2.5190320000000002</c:v>
                </c:pt>
                <c:pt idx="5435">
                  <c:v>-2.5600179999999999</c:v>
                </c:pt>
                <c:pt idx="5436">
                  <c:v>-2.510834</c:v>
                </c:pt>
                <c:pt idx="5437">
                  <c:v>-2.6851050000000001</c:v>
                </c:pt>
                <c:pt idx="5438">
                  <c:v>-2.8468040000000001</c:v>
                </c:pt>
                <c:pt idx="5439">
                  <c:v>-2.7444329999999999</c:v>
                </c:pt>
                <c:pt idx="5440">
                  <c:v>-2.7700939999999998</c:v>
                </c:pt>
                <c:pt idx="5441">
                  <c:v>-2.7894429999999999</c:v>
                </c:pt>
                <c:pt idx="5442">
                  <c:v>-2.7405750000000002</c:v>
                </c:pt>
                <c:pt idx="5443">
                  <c:v>-2.717937</c:v>
                </c:pt>
                <c:pt idx="5444">
                  <c:v>-2.7077300000000002</c:v>
                </c:pt>
                <c:pt idx="5445">
                  <c:v>-2.7012360000000002</c:v>
                </c:pt>
                <c:pt idx="5446">
                  <c:v>-2.7660070000000001</c:v>
                </c:pt>
                <c:pt idx="5447">
                  <c:v>-2.732796</c:v>
                </c:pt>
                <c:pt idx="5448">
                  <c:v>-2.7876539999999999</c:v>
                </c:pt>
                <c:pt idx="5449">
                  <c:v>-2.8166790000000002</c:v>
                </c:pt>
                <c:pt idx="5450">
                  <c:v>-2.8406159999999998</c:v>
                </c:pt>
                <c:pt idx="5451">
                  <c:v>-2.9924140000000001</c:v>
                </c:pt>
                <c:pt idx="5452">
                  <c:v>-2.7462390000000001</c:v>
                </c:pt>
                <c:pt idx="5453">
                  <c:v>-2.6885859999999999</c:v>
                </c:pt>
                <c:pt idx="5454">
                  <c:v>-3.0566970000000002</c:v>
                </c:pt>
                <c:pt idx="5455">
                  <c:v>-3.055939</c:v>
                </c:pt>
                <c:pt idx="5456">
                  <c:v>-2.872401</c:v>
                </c:pt>
                <c:pt idx="5457">
                  <c:v>-2.846787</c:v>
                </c:pt>
                <c:pt idx="5458">
                  <c:v>-2.6960739999999999</c:v>
                </c:pt>
                <c:pt idx="5459">
                  <c:v>-2.6080239999999999</c:v>
                </c:pt>
                <c:pt idx="5460">
                  <c:v>-2.6136979999999999</c:v>
                </c:pt>
                <c:pt idx="5461">
                  <c:v>-2.6028500000000001</c:v>
                </c:pt>
                <c:pt idx="5462">
                  <c:v>-2.5175399999999999</c:v>
                </c:pt>
                <c:pt idx="5463">
                  <c:v>-2.5279509999999998</c:v>
                </c:pt>
                <c:pt idx="5464">
                  <c:v>-2.5877319999999999</c:v>
                </c:pt>
                <c:pt idx="5465">
                  <c:v>-2.7498390000000001</c:v>
                </c:pt>
                <c:pt idx="5466">
                  <c:v>-2.8370259999999998</c:v>
                </c:pt>
                <c:pt idx="5467">
                  <c:v>-2.6240950000000001</c:v>
                </c:pt>
                <c:pt idx="5468">
                  <c:v>-2.5811769999999998</c:v>
                </c:pt>
                <c:pt idx="5469">
                  <c:v>-2.686588</c:v>
                </c:pt>
                <c:pt idx="5470">
                  <c:v>-2.8092899999999998</c:v>
                </c:pt>
                <c:pt idx="5471">
                  <c:v>-2.81264</c:v>
                </c:pt>
                <c:pt idx="5472">
                  <c:v>-2.6887240000000001</c:v>
                </c:pt>
                <c:pt idx="5473">
                  <c:v>-2.6926350000000001</c:v>
                </c:pt>
                <c:pt idx="5474">
                  <c:v>-2.6921379999999999</c:v>
                </c:pt>
                <c:pt idx="5475">
                  <c:v>-2.55504</c:v>
                </c:pt>
                <c:pt idx="5476">
                  <c:v>-2.4756819999999999</c:v>
                </c:pt>
                <c:pt idx="5477">
                  <c:v>-2.4196900000000001</c:v>
                </c:pt>
                <c:pt idx="5478">
                  <c:v>-2.44394</c:v>
                </c:pt>
                <c:pt idx="5479">
                  <c:v>-2.5792259999999998</c:v>
                </c:pt>
                <c:pt idx="5480">
                  <c:v>-2.4436019999999998</c:v>
                </c:pt>
                <c:pt idx="5481">
                  <c:v>-2.368859</c:v>
                </c:pt>
                <c:pt idx="5482">
                  <c:v>-2.4519869999999999</c:v>
                </c:pt>
                <c:pt idx="5483">
                  <c:v>-2.5581779999999998</c:v>
                </c:pt>
                <c:pt idx="5484">
                  <c:v>-2.5462120000000001</c:v>
                </c:pt>
                <c:pt idx="5485">
                  <c:v>-2.47742</c:v>
                </c:pt>
                <c:pt idx="5486">
                  <c:v>-2.642846</c:v>
                </c:pt>
                <c:pt idx="5487">
                  <c:v>-2.666801</c:v>
                </c:pt>
                <c:pt idx="5488">
                  <c:v>-2.690496</c:v>
                </c:pt>
                <c:pt idx="5489">
                  <c:v>-2.846886</c:v>
                </c:pt>
                <c:pt idx="5490">
                  <c:v>-2.8767879999999999</c:v>
                </c:pt>
                <c:pt idx="5491">
                  <c:v>-2.7744770000000001</c:v>
                </c:pt>
                <c:pt idx="5492">
                  <c:v>-2.7308089999999998</c:v>
                </c:pt>
                <c:pt idx="5493">
                  <c:v>-2.7781799999999999</c:v>
                </c:pt>
                <c:pt idx="5494">
                  <c:v>-2.8069519999999999</c:v>
                </c:pt>
                <c:pt idx="5495">
                  <c:v>-2.759477</c:v>
                </c:pt>
                <c:pt idx="5496">
                  <c:v>-2.737943</c:v>
                </c:pt>
                <c:pt idx="5497">
                  <c:v>-2.6576110000000002</c:v>
                </c:pt>
                <c:pt idx="5498">
                  <c:v>-2.5442480000000001</c:v>
                </c:pt>
                <c:pt idx="5499">
                  <c:v>-2.540807</c:v>
                </c:pt>
                <c:pt idx="5500">
                  <c:v>-2.5274869999999998</c:v>
                </c:pt>
                <c:pt idx="5501">
                  <c:v>-2.5105439999999999</c:v>
                </c:pt>
                <c:pt idx="5502">
                  <c:v>-2.4925579999999998</c:v>
                </c:pt>
                <c:pt idx="5503">
                  <c:v>-2.4745629999999998</c:v>
                </c:pt>
                <c:pt idx="5504">
                  <c:v>-2.388808</c:v>
                </c:pt>
                <c:pt idx="5505">
                  <c:v>-2.265101</c:v>
                </c:pt>
                <c:pt idx="5506">
                  <c:v>-2.3873679999999999</c:v>
                </c:pt>
                <c:pt idx="5507">
                  <c:v>-2.6435770000000001</c:v>
                </c:pt>
                <c:pt idx="5508">
                  <c:v>-2.649591</c:v>
                </c:pt>
                <c:pt idx="5509">
                  <c:v>-2.6662089999999998</c:v>
                </c:pt>
                <c:pt idx="5510">
                  <c:v>-2.8199909999999999</c:v>
                </c:pt>
                <c:pt idx="5511">
                  <c:v>-2.8491270000000002</c:v>
                </c:pt>
                <c:pt idx="5512">
                  <c:v>-2.7467899999999998</c:v>
                </c:pt>
                <c:pt idx="5513">
                  <c:v>-2.63523</c:v>
                </c:pt>
                <c:pt idx="5514">
                  <c:v>-2.7126250000000001</c:v>
                </c:pt>
                <c:pt idx="5515">
                  <c:v>-3.0256769999999999</c:v>
                </c:pt>
                <c:pt idx="5516">
                  <c:v>-3.1392139999999999</c:v>
                </c:pt>
                <c:pt idx="5517">
                  <c:v>-2.6153400000000002</c:v>
                </c:pt>
                <c:pt idx="5518">
                  <c:v>-2.4786000000000001</c:v>
                </c:pt>
                <c:pt idx="5519">
                  <c:v>-2.7207759999999999</c:v>
                </c:pt>
                <c:pt idx="5520">
                  <c:v>-2.5031270000000001</c:v>
                </c:pt>
                <c:pt idx="5521">
                  <c:v>-2.3790969999999998</c:v>
                </c:pt>
                <c:pt idx="5522">
                  <c:v>-2.9057529999999998</c:v>
                </c:pt>
                <c:pt idx="5523">
                  <c:v>-3.185327</c:v>
                </c:pt>
                <c:pt idx="5524">
                  <c:v>-2.8931450000000001</c:v>
                </c:pt>
                <c:pt idx="5525">
                  <c:v>-2.7562310000000001</c:v>
                </c:pt>
                <c:pt idx="5526">
                  <c:v>-2.684304</c:v>
                </c:pt>
                <c:pt idx="5527">
                  <c:v>-2.844417</c:v>
                </c:pt>
                <c:pt idx="5528">
                  <c:v>-3.1320800000000002</c:v>
                </c:pt>
                <c:pt idx="5529">
                  <c:v>-3.029979</c:v>
                </c:pt>
                <c:pt idx="5530">
                  <c:v>-2.859559</c:v>
                </c:pt>
                <c:pt idx="5531">
                  <c:v>-2.974923</c:v>
                </c:pt>
                <c:pt idx="5532">
                  <c:v>-2.9705650000000001</c:v>
                </c:pt>
                <c:pt idx="5533">
                  <c:v>-3.0434999999999999</c:v>
                </c:pt>
                <c:pt idx="5534">
                  <c:v>-3.0192220000000001</c:v>
                </c:pt>
                <c:pt idx="5535">
                  <c:v>-2.9482810000000002</c:v>
                </c:pt>
                <c:pt idx="5536">
                  <c:v>-3.1142470000000002</c:v>
                </c:pt>
                <c:pt idx="5537">
                  <c:v>-2.8005300000000002</c:v>
                </c:pt>
                <c:pt idx="5538">
                  <c:v>-2.634388</c:v>
                </c:pt>
                <c:pt idx="5539">
                  <c:v>-2.65842</c:v>
                </c:pt>
                <c:pt idx="5540">
                  <c:v>-2.3834200000000001</c:v>
                </c:pt>
                <c:pt idx="5541">
                  <c:v>-2.3470719999999998</c:v>
                </c:pt>
                <c:pt idx="5542">
                  <c:v>-2.3643830000000001</c:v>
                </c:pt>
                <c:pt idx="5543">
                  <c:v>-2.4867490000000001</c:v>
                </c:pt>
                <c:pt idx="5544">
                  <c:v>-2.468067</c:v>
                </c:pt>
                <c:pt idx="5545">
                  <c:v>-2.4532639999999999</c:v>
                </c:pt>
                <c:pt idx="5546">
                  <c:v>-2.502615</c:v>
                </c:pt>
                <c:pt idx="5547">
                  <c:v>-2.4588489999999998</c:v>
                </c:pt>
                <c:pt idx="5548">
                  <c:v>-2.7706010000000001</c:v>
                </c:pt>
                <c:pt idx="5549">
                  <c:v>-3.079853</c:v>
                </c:pt>
                <c:pt idx="5550">
                  <c:v>-3.0022129999999998</c:v>
                </c:pt>
                <c:pt idx="5551">
                  <c:v>-2.9234659999999999</c:v>
                </c:pt>
                <c:pt idx="5552">
                  <c:v>-3.033185</c:v>
                </c:pt>
                <c:pt idx="5553">
                  <c:v>-2.9034080000000002</c:v>
                </c:pt>
                <c:pt idx="5554">
                  <c:v>-2.778737</c:v>
                </c:pt>
                <c:pt idx="5555">
                  <c:v>-2.846117</c:v>
                </c:pt>
                <c:pt idx="5556">
                  <c:v>-2.812783</c:v>
                </c:pt>
                <c:pt idx="5557">
                  <c:v>-2.9316599999999999</c:v>
                </c:pt>
                <c:pt idx="5558">
                  <c:v>-2.792027</c:v>
                </c:pt>
                <c:pt idx="5559">
                  <c:v>-2.4501010000000001</c:v>
                </c:pt>
                <c:pt idx="5560">
                  <c:v>-2.6565789999999998</c:v>
                </c:pt>
                <c:pt idx="5561">
                  <c:v>-2.9528319999999999</c:v>
                </c:pt>
                <c:pt idx="5562">
                  <c:v>-2.913726</c:v>
                </c:pt>
                <c:pt idx="5563">
                  <c:v>-2.8379789999999998</c:v>
                </c:pt>
                <c:pt idx="5564">
                  <c:v>-2.801666</c:v>
                </c:pt>
                <c:pt idx="5565">
                  <c:v>-2.919689</c:v>
                </c:pt>
                <c:pt idx="5566">
                  <c:v>-3.12087</c:v>
                </c:pt>
                <c:pt idx="5567">
                  <c:v>-2.971838</c:v>
                </c:pt>
                <c:pt idx="5568">
                  <c:v>-3.0425</c:v>
                </c:pt>
                <c:pt idx="5569">
                  <c:v>-3.152342</c:v>
                </c:pt>
                <c:pt idx="5570">
                  <c:v>-3.0228950000000001</c:v>
                </c:pt>
                <c:pt idx="5571">
                  <c:v>-3.0291039999999998</c:v>
                </c:pt>
                <c:pt idx="5572">
                  <c:v>-3.1036320000000002</c:v>
                </c:pt>
                <c:pt idx="5573">
                  <c:v>-3.1484559999999999</c:v>
                </c:pt>
                <c:pt idx="5574">
                  <c:v>-2.9774210000000001</c:v>
                </c:pt>
                <c:pt idx="5575">
                  <c:v>-2.7522760000000002</c:v>
                </c:pt>
                <c:pt idx="5576">
                  <c:v>-2.7546650000000001</c:v>
                </c:pt>
                <c:pt idx="5577">
                  <c:v>-2.8054060000000001</c:v>
                </c:pt>
                <c:pt idx="5578">
                  <c:v>-2.753841</c:v>
                </c:pt>
                <c:pt idx="5579">
                  <c:v>-2.8528380000000002</c:v>
                </c:pt>
                <c:pt idx="5580">
                  <c:v>-2.5582929999999999</c:v>
                </c:pt>
                <c:pt idx="5581">
                  <c:v>-2.2565740000000001</c:v>
                </c:pt>
                <c:pt idx="5582">
                  <c:v>-2.5363090000000001</c:v>
                </c:pt>
                <c:pt idx="5583">
                  <c:v>-2.5256699999999999</c:v>
                </c:pt>
                <c:pt idx="5584">
                  <c:v>-2.4448629999999998</c:v>
                </c:pt>
                <c:pt idx="5585">
                  <c:v>-2.5918060000000001</c:v>
                </c:pt>
                <c:pt idx="5586">
                  <c:v>-2.732955</c:v>
                </c:pt>
                <c:pt idx="5587">
                  <c:v>-2.7451189999999999</c:v>
                </c:pt>
                <c:pt idx="5588">
                  <c:v>-2.5577990000000002</c:v>
                </c:pt>
                <c:pt idx="5589">
                  <c:v>-2.6625380000000001</c:v>
                </c:pt>
                <c:pt idx="5590">
                  <c:v>-2.8503409999999998</c:v>
                </c:pt>
                <c:pt idx="5591">
                  <c:v>-2.894129</c:v>
                </c:pt>
                <c:pt idx="5592">
                  <c:v>-2.7954629999999998</c:v>
                </c:pt>
                <c:pt idx="5593">
                  <c:v>-2.6860560000000002</c:v>
                </c:pt>
                <c:pt idx="5594">
                  <c:v>-2.8301889999999998</c:v>
                </c:pt>
                <c:pt idx="5595">
                  <c:v>-2.8410660000000001</c:v>
                </c:pt>
                <c:pt idx="5596">
                  <c:v>-2.7871350000000001</c:v>
                </c:pt>
                <c:pt idx="5597">
                  <c:v>-2.7609110000000001</c:v>
                </c:pt>
                <c:pt idx="5598">
                  <c:v>-2.543307</c:v>
                </c:pt>
                <c:pt idx="5599">
                  <c:v>-2.418714</c:v>
                </c:pt>
                <c:pt idx="5600">
                  <c:v>-2.2629570000000001</c:v>
                </c:pt>
                <c:pt idx="5601">
                  <c:v>-2.2247439999999998</c:v>
                </c:pt>
                <c:pt idx="5602">
                  <c:v>-2.5835849999999998</c:v>
                </c:pt>
                <c:pt idx="5603">
                  <c:v>-2.6304799999999999</c:v>
                </c:pt>
                <c:pt idx="5604">
                  <c:v>-2.6654</c:v>
                </c:pt>
                <c:pt idx="5605">
                  <c:v>-2.7569720000000002</c:v>
                </c:pt>
                <c:pt idx="5606">
                  <c:v>-2.887759</c:v>
                </c:pt>
                <c:pt idx="5607">
                  <c:v>-2.971454</c:v>
                </c:pt>
                <c:pt idx="5608">
                  <c:v>-2.7676310000000002</c:v>
                </c:pt>
                <c:pt idx="5609">
                  <c:v>-2.94163</c:v>
                </c:pt>
                <c:pt idx="5610">
                  <c:v>-3.1774879999999999</c:v>
                </c:pt>
                <c:pt idx="5611">
                  <c:v>-3.1234510000000002</c:v>
                </c:pt>
                <c:pt idx="5612">
                  <c:v>-2.9134150000000001</c:v>
                </c:pt>
                <c:pt idx="5613">
                  <c:v>-2.8784519999999998</c:v>
                </c:pt>
                <c:pt idx="5614">
                  <c:v>-2.8558819999999998</c:v>
                </c:pt>
                <c:pt idx="5615">
                  <c:v>-2.8431980000000001</c:v>
                </c:pt>
                <c:pt idx="5616">
                  <c:v>-2.966688</c:v>
                </c:pt>
                <c:pt idx="5617">
                  <c:v>-2.7628970000000002</c:v>
                </c:pt>
                <c:pt idx="5618">
                  <c:v>-2.3802599999999998</c:v>
                </c:pt>
                <c:pt idx="5619">
                  <c:v>-2.4244080000000001</c:v>
                </c:pt>
                <c:pt idx="5620">
                  <c:v>-2.4151980000000002</c:v>
                </c:pt>
                <c:pt idx="5621">
                  <c:v>-2.528667</c:v>
                </c:pt>
                <c:pt idx="5622">
                  <c:v>-2.2979440000000002</c:v>
                </c:pt>
                <c:pt idx="5623">
                  <c:v>-2.166652</c:v>
                </c:pt>
                <c:pt idx="5624">
                  <c:v>-2.470812</c:v>
                </c:pt>
                <c:pt idx="5625">
                  <c:v>-2.6943450000000002</c:v>
                </c:pt>
                <c:pt idx="5626">
                  <c:v>-2.8861530000000002</c:v>
                </c:pt>
                <c:pt idx="5627">
                  <c:v>-2.673603</c:v>
                </c:pt>
                <c:pt idx="5628">
                  <c:v>-2.6417820000000001</c:v>
                </c:pt>
                <c:pt idx="5629">
                  <c:v>-2.9000509999999999</c:v>
                </c:pt>
                <c:pt idx="5630">
                  <c:v>-2.843944</c:v>
                </c:pt>
                <c:pt idx="5631">
                  <c:v>-2.629467</c:v>
                </c:pt>
                <c:pt idx="5632">
                  <c:v>-2.445532</c:v>
                </c:pt>
                <c:pt idx="5633">
                  <c:v>-2.4739610000000001</c:v>
                </c:pt>
                <c:pt idx="5634">
                  <c:v>-2.4699939999999998</c:v>
                </c:pt>
                <c:pt idx="5635">
                  <c:v>-2.1212209999999998</c:v>
                </c:pt>
                <c:pt idx="5636">
                  <c:v>-2.455775</c:v>
                </c:pt>
                <c:pt idx="5637">
                  <c:v>-2.7507540000000001</c:v>
                </c:pt>
                <c:pt idx="5638">
                  <c:v>-2.5821480000000001</c:v>
                </c:pt>
                <c:pt idx="5639">
                  <c:v>-2.5015100000000001</c:v>
                </c:pt>
                <c:pt idx="5640">
                  <c:v>-2.457719</c:v>
                </c:pt>
                <c:pt idx="5641">
                  <c:v>-2.2932610000000002</c:v>
                </c:pt>
                <c:pt idx="5642">
                  <c:v>-2.2631260000000002</c:v>
                </c:pt>
                <c:pt idx="5643">
                  <c:v>-2.297161</c:v>
                </c:pt>
                <c:pt idx="5644">
                  <c:v>-2.1688049999999999</c:v>
                </c:pt>
                <c:pt idx="5645">
                  <c:v>-2.1543700000000001</c:v>
                </c:pt>
                <c:pt idx="5646">
                  <c:v>-2.5393569999999999</c:v>
                </c:pt>
                <c:pt idx="5647">
                  <c:v>-2.6082740000000002</c:v>
                </c:pt>
                <c:pt idx="5648">
                  <c:v>-2.462942</c:v>
                </c:pt>
                <c:pt idx="5649">
                  <c:v>-2.5272579999999998</c:v>
                </c:pt>
                <c:pt idx="5650">
                  <c:v>-2.6371069999999999</c:v>
                </c:pt>
                <c:pt idx="5651">
                  <c:v>-2.6361599999999998</c:v>
                </c:pt>
                <c:pt idx="5652">
                  <c:v>-2.3780260000000002</c:v>
                </c:pt>
                <c:pt idx="5653">
                  <c:v>-2.3747090000000002</c:v>
                </c:pt>
                <c:pt idx="5654">
                  <c:v>-2.3624779999999999</c:v>
                </c:pt>
                <c:pt idx="5655">
                  <c:v>-2.349885</c:v>
                </c:pt>
                <c:pt idx="5656">
                  <c:v>-2.1981440000000001</c:v>
                </c:pt>
                <c:pt idx="5657">
                  <c:v>-2.2441599999999999</c:v>
                </c:pt>
                <c:pt idx="5658">
                  <c:v>-2.2515179999999999</c:v>
                </c:pt>
                <c:pt idx="5659">
                  <c:v>-2.2520799999999999</c:v>
                </c:pt>
                <c:pt idx="5660">
                  <c:v>-2.2410549999999998</c:v>
                </c:pt>
                <c:pt idx="5661">
                  <c:v>-1.9617800000000001</c:v>
                </c:pt>
                <c:pt idx="5662">
                  <c:v>-2.066789</c:v>
                </c:pt>
                <c:pt idx="5663">
                  <c:v>-2.1044230000000002</c:v>
                </c:pt>
                <c:pt idx="5664">
                  <c:v>-1.8445830000000001</c:v>
                </c:pt>
                <c:pt idx="5665">
                  <c:v>-2.030967</c:v>
                </c:pt>
                <c:pt idx="5666">
                  <c:v>-2.3161230000000002</c:v>
                </c:pt>
                <c:pt idx="5667">
                  <c:v>-2.27407</c:v>
                </c:pt>
                <c:pt idx="5668">
                  <c:v>-2.262346</c:v>
                </c:pt>
                <c:pt idx="5669">
                  <c:v>-2.196164</c:v>
                </c:pt>
                <c:pt idx="5670">
                  <c:v>-2.1634790000000002</c:v>
                </c:pt>
                <c:pt idx="5671">
                  <c:v>-2.1448</c:v>
                </c:pt>
                <c:pt idx="5672">
                  <c:v>-2.1320440000000001</c:v>
                </c:pt>
                <c:pt idx="5673">
                  <c:v>-2.1900249999999999</c:v>
                </c:pt>
                <c:pt idx="5674">
                  <c:v>-2.2876889999999999</c:v>
                </c:pt>
                <c:pt idx="5675">
                  <c:v>-2.2768959999999998</c:v>
                </c:pt>
                <c:pt idx="5676">
                  <c:v>-2.3464450000000001</c:v>
                </c:pt>
                <c:pt idx="5677">
                  <c:v>-2.4577619999999998</c:v>
                </c:pt>
                <c:pt idx="5678">
                  <c:v>-2.3944350000000001</c:v>
                </c:pt>
                <c:pt idx="5679">
                  <c:v>-2.3719030000000001</c:v>
                </c:pt>
                <c:pt idx="5680">
                  <c:v>-2.2964229999999999</c:v>
                </c:pt>
                <c:pt idx="5681">
                  <c:v>-2.1219000000000001</c:v>
                </c:pt>
                <c:pt idx="5682">
                  <c:v>-2.2239019999999998</c:v>
                </c:pt>
                <c:pt idx="5683">
                  <c:v>-2.4042849999999998</c:v>
                </c:pt>
                <c:pt idx="5684">
                  <c:v>-2.3011300000000001</c:v>
                </c:pt>
                <c:pt idx="5685">
                  <c:v>-2.1152340000000001</c:v>
                </c:pt>
                <c:pt idx="5686">
                  <c:v>-2.2126100000000002</c:v>
                </c:pt>
                <c:pt idx="5687">
                  <c:v>-2.3229980000000001</c:v>
                </c:pt>
                <c:pt idx="5688">
                  <c:v>-2.18065</c:v>
                </c:pt>
                <c:pt idx="5689">
                  <c:v>-2.2399200000000001</c:v>
                </c:pt>
                <c:pt idx="5690">
                  <c:v>-2.197978</c:v>
                </c:pt>
                <c:pt idx="5691">
                  <c:v>-2.0399349999999998</c:v>
                </c:pt>
                <c:pt idx="5692">
                  <c:v>-2.0801370000000001</c:v>
                </c:pt>
                <c:pt idx="5693">
                  <c:v>-2.158963</c:v>
                </c:pt>
                <c:pt idx="5694">
                  <c:v>-2.2642229999999999</c:v>
                </c:pt>
                <c:pt idx="5695">
                  <c:v>-2.391912</c:v>
                </c:pt>
                <c:pt idx="5696">
                  <c:v>-2.333942</c:v>
                </c:pt>
                <c:pt idx="5697">
                  <c:v>-2.2470330000000001</c:v>
                </c:pt>
                <c:pt idx="5698">
                  <c:v>-2.3376610000000002</c:v>
                </c:pt>
                <c:pt idx="5699">
                  <c:v>-2.3893239999999998</c:v>
                </c:pt>
                <c:pt idx="5700">
                  <c:v>-2.356039</c:v>
                </c:pt>
                <c:pt idx="5701">
                  <c:v>-2.276678</c:v>
                </c:pt>
                <c:pt idx="5702">
                  <c:v>-2.3708130000000001</c:v>
                </c:pt>
                <c:pt idx="5703">
                  <c:v>-2.3532069999999998</c:v>
                </c:pt>
                <c:pt idx="5704">
                  <c:v>-2.213279</c:v>
                </c:pt>
                <c:pt idx="5705">
                  <c:v>-2.202013</c:v>
                </c:pt>
                <c:pt idx="5706">
                  <c:v>-2.3247710000000001</c:v>
                </c:pt>
                <c:pt idx="5707">
                  <c:v>-2.455743</c:v>
                </c:pt>
                <c:pt idx="5708">
                  <c:v>-2.3301210000000001</c:v>
                </c:pt>
                <c:pt idx="5709">
                  <c:v>-2.541992</c:v>
                </c:pt>
                <c:pt idx="5710">
                  <c:v>-2.7958129999999999</c:v>
                </c:pt>
                <c:pt idx="5711">
                  <c:v>-2.686121</c:v>
                </c:pt>
                <c:pt idx="5712">
                  <c:v>-2.7172879999999999</c:v>
                </c:pt>
                <c:pt idx="5713">
                  <c:v>-2.8167080000000002</c:v>
                </c:pt>
                <c:pt idx="5714">
                  <c:v>-2.8190580000000001</c:v>
                </c:pt>
                <c:pt idx="5715">
                  <c:v>-2.8378730000000001</c:v>
                </c:pt>
                <c:pt idx="5716">
                  <c:v>-2.9294739999999999</c:v>
                </c:pt>
                <c:pt idx="5717">
                  <c:v>-2.7896879999999999</c:v>
                </c:pt>
                <c:pt idx="5718">
                  <c:v>-2.9311180000000001</c:v>
                </c:pt>
                <c:pt idx="5719">
                  <c:v>-3.0793680000000001</c:v>
                </c:pt>
                <c:pt idx="5720">
                  <c:v>-2.9078529999999998</c:v>
                </c:pt>
                <c:pt idx="5721">
                  <c:v>-2.894657</c:v>
                </c:pt>
                <c:pt idx="5722">
                  <c:v>-2.9592510000000001</c:v>
                </c:pt>
                <c:pt idx="5723">
                  <c:v>-2.9299759999999999</c:v>
                </c:pt>
                <c:pt idx="5724">
                  <c:v>-2.8525529999999999</c:v>
                </c:pt>
                <c:pt idx="5725">
                  <c:v>-2.810066</c:v>
                </c:pt>
                <c:pt idx="5726">
                  <c:v>-2.7158220000000002</c:v>
                </c:pt>
                <c:pt idx="5727">
                  <c:v>-2.7932670000000002</c:v>
                </c:pt>
                <c:pt idx="5728">
                  <c:v>-2.6905890000000001</c:v>
                </c:pt>
                <c:pt idx="5729">
                  <c:v>-2.5638019999999999</c:v>
                </c:pt>
                <c:pt idx="5730">
                  <c:v>-2.6842199999999998</c:v>
                </c:pt>
                <c:pt idx="5731">
                  <c:v>-2.6027719999999999</c:v>
                </c:pt>
                <c:pt idx="5732">
                  <c:v>-2.6896089999999999</c:v>
                </c:pt>
                <c:pt idx="5733">
                  <c:v>-2.9325869999999998</c:v>
                </c:pt>
                <c:pt idx="5734">
                  <c:v>-3.0041950000000002</c:v>
                </c:pt>
                <c:pt idx="5735">
                  <c:v>-2.9233159999999998</c:v>
                </c:pt>
                <c:pt idx="5736">
                  <c:v>-2.8940130000000002</c:v>
                </c:pt>
                <c:pt idx="5737">
                  <c:v>-3.019323</c:v>
                </c:pt>
                <c:pt idx="5738">
                  <c:v>-3.0276589999999999</c:v>
                </c:pt>
                <c:pt idx="5739">
                  <c:v>-2.9081320000000002</c:v>
                </c:pt>
                <c:pt idx="5740">
                  <c:v>-2.917602</c:v>
                </c:pt>
                <c:pt idx="5741">
                  <c:v>-3.0578970000000001</c:v>
                </c:pt>
                <c:pt idx="5742">
                  <c:v>-3.0714239999999999</c:v>
                </c:pt>
                <c:pt idx="5743">
                  <c:v>-2.8167490000000002</c:v>
                </c:pt>
                <c:pt idx="5744">
                  <c:v>-2.6806070000000002</c:v>
                </c:pt>
                <c:pt idx="5745">
                  <c:v>-2.5904720000000001</c:v>
                </c:pt>
                <c:pt idx="5746">
                  <c:v>-2.4570560000000001</c:v>
                </c:pt>
                <c:pt idx="5747">
                  <c:v>-2.4966940000000002</c:v>
                </c:pt>
                <c:pt idx="5748">
                  <c:v>-2.496893</c:v>
                </c:pt>
                <c:pt idx="5749">
                  <c:v>-2.4814189999999998</c:v>
                </c:pt>
                <c:pt idx="5750">
                  <c:v>-2.8008999999999999</c:v>
                </c:pt>
                <c:pt idx="5751">
                  <c:v>-2.970294</c:v>
                </c:pt>
                <c:pt idx="5752">
                  <c:v>-2.878841</c:v>
                </c:pt>
                <c:pt idx="5753">
                  <c:v>-2.7075770000000001</c:v>
                </c:pt>
                <c:pt idx="5754">
                  <c:v>-2.8263509999999998</c:v>
                </c:pt>
                <c:pt idx="5755">
                  <c:v>-3.0908380000000002</c:v>
                </c:pt>
                <c:pt idx="5756">
                  <c:v>-2.8428909999999998</c:v>
                </c:pt>
                <c:pt idx="5757">
                  <c:v>-2.9265270000000001</c:v>
                </c:pt>
                <c:pt idx="5758">
                  <c:v>-3.1761810000000001</c:v>
                </c:pt>
                <c:pt idx="5759">
                  <c:v>-3.0552280000000001</c:v>
                </c:pt>
                <c:pt idx="5760">
                  <c:v>-3.0755819999999998</c:v>
                </c:pt>
                <c:pt idx="5761">
                  <c:v>-3.0254439999999998</c:v>
                </c:pt>
                <c:pt idx="5762">
                  <c:v>-2.8717280000000001</c:v>
                </c:pt>
                <c:pt idx="5763">
                  <c:v>-2.9212449999999999</c:v>
                </c:pt>
                <c:pt idx="5764">
                  <c:v>-2.7386240000000002</c:v>
                </c:pt>
                <c:pt idx="5765">
                  <c:v>-2.701654</c:v>
                </c:pt>
                <c:pt idx="5766">
                  <c:v>-2.6639759999999999</c:v>
                </c:pt>
                <c:pt idx="5767">
                  <c:v>-2.5646640000000001</c:v>
                </c:pt>
                <c:pt idx="5768">
                  <c:v>-2.6288179999999999</c:v>
                </c:pt>
                <c:pt idx="5769">
                  <c:v>-2.514278</c:v>
                </c:pt>
                <c:pt idx="5770">
                  <c:v>-2.3720659999999998</c:v>
                </c:pt>
                <c:pt idx="5771">
                  <c:v>-2.4122309999999998</c:v>
                </c:pt>
                <c:pt idx="5772">
                  <c:v>-2.4818470000000001</c:v>
                </c:pt>
                <c:pt idx="5773">
                  <c:v>-2.3729909999999999</c:v>
                </c:pt>
                <c:pt idx="5774">
                  <c:v>-2.6453549999999999</c:v>
                </c:pt>
                <c:pt idx="5775">
                  <c:v>-2.717498</c:v>
                </c:pt>
                <c:pt idx="5776">
                  <c:v>-2.4995910000000001</c:v>
                </c:pt>
                <c:pt idx="5777">
                  <c:v>-2.858905</c:v>
                </c:pt>
                <c:pt idx="5778">
                  <c:v>-2.9894630000000002</c:v>
                </c:pt>
                <c:pt idx="5779">
                  <c:v>-2.746149</c:v>
                </c:pt>
                <c:pt idx="5780">
                  <c:v>-2.8327640000000001</c:v>
                </c:pt>
                <c:pt idx="5781">
                  <c:v>-2.8149329999999999</c:v>
                </c:pt>
                <c:pt idx="5782">
                  <c:v>-2.5428929999999998</c:v>
                </c:pt>
                <c:pt idx="5783">
                  <c:v>-2.5272389999999998</c:v>
                </c:pt>
                <c:pt idx="5784">
                  <c:v>-2.6399590000000002</c:v>
                </c:pt>
                <c:pt idx="5785">
                  <c:v>-2.6937120000000001</c:v>
                </c:pt>
                <c:pt idx="5786">
                  <c:v>-2.5864210000000001</c:v>
                </c:pt>
                <c:pt idx="5787">
                  <c:v>-2.4597500000000001</c:v>
                </c:pt>
                <c:pt idx="5788">
                  <c:v>-2.3124129999999998</c:v>
                </c:pt>
                <c:pt idx="5789">
                  <c:v>-2.6940900000000001</c:v>
                </c:pt>
                <c:pt idx="5790">
                  <c:v>-3.0926279999999999</c:v>
                </c:pt>
                <c:pt idx="5791">
                  <c:v>-2.859064</c:v>
                </c:pt>
                <c:pt idx="5792">
                  <c:v>-2.8250000000000002</c:v>
                </c:pt>
                <c:pt idx="5793">
                  <c:v>-2.8144529999999999</c:v>
                </c:pt>
                <c:pt idx="5794">
                  <c:v>-2.6801249999999999</c:v>
                </c:pt>
                <c:pt idx="5795">
                  <c:v>-2.7434349999999998</c:v>
                </c:pt>
                <c:pt idx="5796">
                  <c:v>-2.9780479999999998</c:v>
                </c:pt>
                <c:pt idx="5797">
                  <c:v>-3.1127359999999999</c:v>
                </c:pt>
                <c:pt idx="5798">
                  <c:v>-3.1378119999999998</c:v>
                </c:pt>
                <c:pt idx="5799">
                  <c:v>-3.17239</c:v>
                </c:pt>
                <c:pt idx="5800">
                  <c:v>-3.141785</c:v>
                </c:pt>
                <c:pt idx="5801">
                  <c:v>-3.209317</c:v>
                </c:pt>
                <c:pt idx="5802">
                  <c:v>-3.3258649999999998</c:v>
                </c:pt>
                <c:pt idx="5803">
                  <c:v>-2.9298489999999999</c:v>
                </c:pt>
                <c:pt idx="5804">
                  <c:v>-2.587653</c:v>
                </c:pt>
                <c:pt idx="5805">
                  <c:v>-2.512829</c:v>
                </c:pt>
                <c:pt idx="5806">
                  <c:v>-2.441757</c:v>
                </c:pt>
                <c:pt idx="5807">
                  <c:v>-2.5072969999999999</c:v>
                </c:pt>
                <c:pt idx="5808">
                  <c:v>-2.5182959999999999</c:v>
                </c:pt>
                <c:pt idx="5809">
                  <c:v>-2.5073650000000001</c:v>
                </c:pt>
                <c:pt idx="5810">
                  <c:v>-2.4198189999999999</c:v>
                </c:pt>
                <c:pt idx="5811">
                  <c:v>-2.4953479999999999</c:v>
                </c:pt>
                <c:pt idx="5812">
                  <c:v>-2.7266599999999999</c:v>
                </c:pt>
                <c:pt idx="5813">
                  <c:v>-2.717076</c:v>
                </c:pt>
                <c:pt idx="5814">
                  <c:v>-2.5858599999999998</c:v>
                </c:pt>
                <c:pt idx="5815">
                  <c:v>-2.7893690000000002</c:v>
                </c:pt>
                <c:pt idx="5816">
                  <c:v>-2.8324099999999999</c:v>
                </c:pt>
                <c:pt idx="5817">
                  <c:v>-2.803461</c:v>
                </c:pt>
                <c:pt idx="5818">
                  <c:v>-3.067005</c:v>
                </c:pt>
                <c:pt idx="5819">
                  <c:v>-3.0895869999999999</c:v>
                </c:pt>
                <c:pt idx="5820">
                  <c:v>-2.85345</c:v>
                </c:pt>
                <c:pt idx="5821">
                  <c:v>-2.805828</c:v>
                </c:pt>
                <c:pt idx="5822">
                  <c:v>-2.9807299999999999</c:v>
                </c:pt>
                <c:pt idx="5823">
                  <c:v>-2.8744800000000001</c:v>
                </c:pt>
                <c:pt idx="5824">
                  <c:v>-2.824398</c:v>
                </c:pt>
                <c:pt idx="5825">
                  <c:v>-2.7252960000000002</c:v>
                </c:pt>
                <c:pt idx="5826">
                  <c:v>-2.6004589999999999</c:v>
                </c:pt>
                <c:pt idx="5827">
                  <c:v>-2.722127</c:v>
                </c:pt>
                <c:pt idx="5828">
                  <c:v>-2.7779379999999998</c:v>
                </c:pt>
                <c:pt idx="5829">
                  <c:v>-2.6699229999999998</c:v>
                </c:pt>
                <c:pt idx="5830">
                  <c:v>-2.6096180000000002</c:v>
                </c:pt>
                <c:pt idx="5831">
                  <c:v>-2.8394379999999999</c:v>
                </c:pt>
                <c:pt idx="5832">
                  <c:v>-2.8252269999999999</c:v>
                </c:pt>
                <c:pt idx="5833">
                  <c:v>-2.4867249999999999</c:v>
                </c:pt>
                <c:pt idx="5834">
                  <c:v>-2.6379429999999999</c:v>
                </c:pt>
                <c:pt idx="5835">
                  <c:v>-2.9076270000000002</c:v>
                </c:pt>
                <c:pt idx="5836">
                  <c:v>-2.8569279999999999</c:v>
                </c:pt>
                <c:pt idx="5837">
                  <c:v>-2.9092030000000002</c:v>
                </c:pt>
                <c:pt idx="5838">
                  <c:v>-3.0823710000000002</c:v>
                </c:pt>
                <c:pt idx="5839">
                  <c:v>-2.8498839999999999</c:v>
                </c:pt>
                <c:pt idx="5840">
                  <c:v>-2.5343</c:v>
                </c:pt>
                <c:pt idx="5841">
                  <c:v>-2.7587570000000001</c:v>
                </c:pt>
                <c:pt idx="5842">
                  <c:v>-2.6617280000000001</c:v>
                </c:pt>
                <c:pt idx="5843">
                  <c:v>-2.677171</c:v>
                </c:pt>
                <c:pt idx="5844">
                  <c:v>-2.673028</c:v>
                </c:pt>
                <c:pt idx="5845">
                  <c:v>-2.5351560000000002</c:v>
                </c:pt>
                <c:pt idx="5846">
                  <c:v>-2.7881930000000001</c:v>
                </c:pt>
                <c:pt idx="5847">
                  <c:v>-2.7859850000000002</c:v>
                </c:pt>
                <c:pt idx="5848">
                  <c:v>-2.7244480000000002</c:v>
                </c:pt>
                <c:pt idx="5849">
                  <c:v>-2.6929810000000001</c:v>
                </c:pt>
                <c:pt idx="5850">
                  <c:v>-2.7438400000000001</c:v>
                </c:pt>
                <c:pt idx="5851">
                  <c:v>-2.8377849999999998</c:v>
                </c:pt>
                <c:pt idx="5852">
                  <c:v>-2.9625919999999999</c:v>
                </c:pt>
                <c:pt idx="5853">
                  <c:v>-2.8356119999999998</c:v>
                </c:pt>
                <c:pt idx="5854">
                  <c:v>-2.7117200000000001</c:v>
                </c:pt>
                <c:pt idx="5855">
                  <c:v>-2.7079610000000001</c:v>
                </c:pt>
                <c:pt idx="5856">
                  <c:v>-2.7709670000000002</c:v>
                </c:pt>
                <c:pt idx="5857">
                  <c:v>-2.9358140000000001</c:v>
                </c:pt>
                <c:pt idx="5858">
                  <c:v>-3.0328490000000001</c:v>
                </c:pt>
                <c:pt idx="5859">
                  <c:v>-3.0295230000000002</c:v>
                </c:pt>
                <c:pt idx="5860">
                  <c:v>-2.7036449999999999</c:v>
                </c:pt>
                <c:pt idx="5861">
                  <c:v>-2.6648710000000002</c:v>
                </c:pt>
                <c:pt idx="5862">
                  <c:v>-2.7643140000000002</c:v>
                </c:pt>
                <c:pt idx="5863">
                  <c:v>-2.880131</c:v>
                </c:pt>
                <c:pt idx="5864">
                  <c:v>-2.9416500000000001</c:v>
                </c:pt>
                <c:pt idx="5865">
                  <c:v>-2.7800509999999998</c:v>
                </c:pt>
                <c:pt idx="5866">
                  <c:v>-2.4901059999999999</c:v>
                </c:pt>
                <c:pt idx="5867">
                  <c:v>-2.7304089999999999</c:v>
                </c:pt>
                <c:pt idx="5868">
                  <c:v>-2.9087900000000002</c:v>
                </c:pt>
                <c:pt idx="5869">
                  <c:v>-3.0164049999999998</c:v>
                </c:pt>
                <c:pt idx="5870">
                  <c:v>-2.945255</c:v>
                </c:pt>
                <c:pt idx="5871">
                  <c:v>-2.654096</c:v>
                </c:pt>
                <c:pt idx="5872">
                  <c:v>-3.0335429999999999</c:v>
                </c:pt>
                <c:pt idx="5873">
                  <c:v>-3.1020300000000001</c:v>
                </c:pt>
                <c:pt idx="5874">
                  <c:v>-2.8176670000000001</c:v>
                </c:pt>
                <c:pt idx="5875">
                  <c:v>-2.7377410000000002</c:v>
                </c:pt>
                <c:pt idx="5876">
                  <c:v>-2.752586</c:v>
                </c:pt>
                <c:pt idx="5877">
                  <c:v>-3.0252289999999999</c:v>
                </c:pt>
                <c:pt idx="5878">
                  <c:v>-3.3082370000000001</c:v>
                </c:pt>
                <c:pt idx="5879">
                  <c:v>-2.9404309999999998</c:v>
                </c:pt>
                <c:pt idx="5880">
                  <c:v>-2.8274560000000002</c:v>
                </c:pt>
                <c:pt idx="5881">
                  <c:v>-3.096848</c:v>
                </c:pt>
                <c:pt idx="5882">
                  <c:v>-3.0405570000000002</c:v>
                </c:pt>
                <c:pt idx="5883">
                  <c:v>-2.815588</c:v>
                </c:pt>
                <c:pt idx="5884">
                  <c:v>-2.6914009999999999</c:v>
                </c:pt>
                <c:pt idx="5885">
                  <c:v>-2.6088040000000001</c:v>
                </c:pt>
                <c:pt idx="5886">
                  <c:v>-2.7506900000000001</c:v>
                </c:pt>
                <c:pt idx="5887">
                  <c:v>-3.0161009999999999</c:v>
                </c:pt>
                <c:pt idx="5888">
                  <c:v>-2.8921540000000001</c:v>
                </c:pt>
                <c:pt idx="5889">
                  <c:v>-2.6991019999999999</c:v>
                </c:pt>
                <c:pt idx="5890">
                  <c:v>-2.793526</c:v>
                </c:pt>
                <c:pt idx="5891">
                  <c:v>-3.0405739999999999</c:v>
                </c:pt>
                <c:pt idx="5892">
                  <c:v>-3.1118139999999999</c:v>
                </c:pt>
                <c:pt idx="5893">
                  <c:v>-3.099923</c:v>
                </c:pt>
                <c:pt idx="5894">
                  <c:v>-3.1756280000000001</c:v>
                </c:pt>
                <c:pt idx="5895">
                  <c:v>-3.094398</c:v>
                </c:pt>
                <c:pt idx="5896">
                  <c:v>-2.8585150000000001</c:v>
                </c:pt>
                <c:pt idx="5897">
                  <c:v>-2.7292489999999998</c:v>
                </c:pt>
                <c:pt idx="5898">
                  <c:v>-2.7803390000000001</c:v>
                </c:pt>
                <c:pt idx="5899">
                  <c:v>-2.793164</c:v>
                </c:pt>
                <c:pt idx="5900">
                  <c:v>-2.996451</c:v>
                </c:pt>
                <c:pt idx="5901">
                  <c:v>-3.3082729999999998</c:v>
                </c:pt>
                <c:pt idx="5902">
                  <c:v>-3.1555179999999998</c:v>
                </c:pt>
                <c:pt idx="5903">
                  <c:v>-2.9595799999999999</c:v>
                </c:pt>
                <c:pt idx="5904">
                  <c:v>-3.060041</c:v>
                </c:pt>
                <c:pt idx="5905">
                  <c:v>-3.1135329999999999</c:v>
                </c:pt>
                <c:pt idx="5906">
                  <c:v>-3.0804230000000001</c:v>
                </c:pt>
                <c:pt idx="5907">
                  <c:v>-3.0673750000000002</c:v>
                </c:pt>
                <c:pt idx="5908">
                  <c:v>-3.0626549999999999</c:v>
                </c:pt>
                <c:pt idx="5909">
                  <c:v>-2.9932379999999998</c:v>
                </c:pt>
                <c:pt idx="5910">
                  <c:v>-3.023088</c:v>
                </c:pt>
                <c:pt idx="5911">
                  <c:v>-3.1032999999999999</c:v>
                </c:pt>
                <c:pt idx="5912">
                  <c:v>-3.0131480000000002</c:v>
                </c:pt>
                <c:pt idx="5913">
                  <c:v>-2.9662440000000001</c:v>
                </c:pt>
                <c:pt idx="5914">
                  <c:v>-2.9362270000000001</c:v>
                </c:pt>
                <c:pt idx="5915">
                  <c:v>-3.0514700000000001</c:v>
                </c:pt>
                <c:pt idx="5916">
                  <c:v>-2.9737079999999998</c:v>
                </c:pt>
                <c:pt idx="5917">
                  <c:v>-2.935765</c:v>
                </c:pt>
                <c:pt idx="5918">
                  <c:v>-2.9072460000000002</c:v>
                </c:pt>
                <c:pt idx="5919">
                  <c:v>-2.7542080000000002</c:v>
                </c:pt>
                <c:pt idx="5920">
                  <c:v>-2.930904</c:v>
                </c:pt>
                <c:pt idx="5921">
                  <c:v>-2.8820790000000001</c:v>
                </c:pt>
                <c:pt idx="5922">
                  <c:v>-2.9246629999999998</c:v>
                </c:pt>
                <c:pt idx="5923">
                  <c:v>-3.0112260000000002</c:v>
                </c:pt>
                <c:pt idx="5924">
                  <c:v>-2.8594900000000001</c:v>
                </c:pt>
                <c:pt idx="5925">
                  <c:v>-2.7776320000000001</c:v>
                </c:pt>
                <c:pt idx="5926">
                  <c:v>-2.657362</c:v>
                </c:pt>
                <c:pt idx="5927">
                  <c:v>-2.7161499999999998</c:v>
                </c:pt>
                <c:pt idx="5928">
                  <c:v>-2.8011810000000001</c:v>
                </c:pt>
                <c:pt idx="5929">
                  <c:v>-2.7757360000000002</c:v>
                </c:pt>
                <c:pt idx="5930">
                  <c:v>-2.6228530000000001</c:v>
                </c:pt>
                <c:pt idx="5931">
                  <c:v>-2.6028340000000001</c:v>
                </c:pt>
                <c:pt idx="5932">
                  <c:v>-2.8492220000000001</c:v>
                </c:pt>
                <c:pt idx="5933">
                  <c:v>-2.8446859999999998</c:v>
                </c:pt>
                <c:pt idx="5934">
                  <c:v>-2.714423</c:v>
                </c:pt>
                <c:pt idx="5935">
                  <c:v>-2.849078</c:v>
                </c:pt>
                <c:pt idx="5936">
                  <c:v>-2.7159680000000002</c:v>
                </c:pt>
                <c:pt idx="5937">
                  <c:v>-2.649359</c:v>
                </c:pt>
                <c:pt idx="5938">
                  <c:v>-2.8064420000000001</c:v>
                </c:pt>
                <c:pt idx="5939">
                  <c:v>-2.6876479999999998</c:v>
                </c:pt>
                <c:pt idx="5940">
                  <c:v>-2.6911399999999999</c:v>
                </c:pt>
                <c:pt idx="5941">
                  <c:v>-2.8243510000000001</c:v>
                </c:pt>
                <c:pt idx="5942">
                  <c:v>-3.169807</c:v>
                </c:pt>
                <c:pt idx="5943">
                  <c:v>-3.372363</c:v>
                </c:pt>
                <c:pt idx="5944">
                  <c:v>-3.1768719999999999</c:v>
                </c:pt>
                <c:pt idx="5945">
                  <c:v>-3.1671969999999998</c:v>
                </c:pt>
                <c:pt idx="5946">
                  <c:v>-3.1054089999999999</c:v>
                </c:pt>
                <c:pt idx="5947">
                  <c:v>-3.0839400000000001</c:v>
                </c:pt>
                <c:pt idx="5948">
                  <c:v>-3.1413329999999999</c:v>
                </c:pt>
                <c:pt idx="5949">
                  <c:v>-3.1113330000000001</c:v>
                </c:pt>
                <c:pt idx="5950">
                  <c:v>-3.1662319999999999</c:v>
                </c:pt>
                <c:pt idx="5951">
                  <c:v>-3.1332610000000001</c:v>
                </c:pt>
                <c:pt idx="5952">
                  <c:v>-2.9153560000000001</c:v>
                </c:pt>
                <c:pt idx="5953">
                  <c:v>-2.7945540000000002</c:v>
                </c:pt>
                <c:pt idx="5954">
                  <c:v>-2.642706</c:v>
                </c:pt>
                <c:pt idx="5955">
                  <c:v>-2.5417019999999999</c:v>
                </c:pt>
                <c:pt idx="5956">
                  <c:v>-2.5937950000000001</c:v>
                </c:pt>
                <c:pt idx="5957">
                  <c:v>-2.7374749999999999</c:v>
                </c:pt>
                <c:pt idx="5958">
                  <c:v>-2.869116</c:v>
                </c:pt>
                <c:pt idx="5959">
                  <c:v>-2.8072620000000001</c:v>
                </c:pt>
                <c:pt idx="5960">
                  <c:v>-2.7757990000000001</c:v>
                </c:pt>
                <c:pt idx="5961">
                  <c:v>-2.758629</c:v>
                </c:pt>
                <c:pt idx="5962">
                  <c:v>-2.609756</c:v>
                </c:pt>
                <c:pt idx="5963">
                  <c:v>-2.6601119999999998</c:v>
                </c:pt>
                <c:pt idx="5964">
                  <c:v>-2.878285</c:v>
                </c:pt>
                <c:pt idx="5965">
                  <c:v>-3.0680909999999999</c:v>
                </c:pt>
                <c:pt idx="5966">
                  <c:v>-3.115866</c:v>
                </c:pt>
                <c:pt idx="5967">
                  <c:v>-3.097397</c:v>
                </c:pt>
                <c:pt idx="5968">
                  <c:v>-2.8296359999999998</c:v>
                </c:pt>
                <c:pt idx="5969">
                  <c:v>-2.7622330000000002</c:v>
                </c:pt>
                <c:pt idx="5970">
                  <c:v>-2.9151790000000002</c:v>
                </c:pt>
                <c:pt idx="5971">
                  <c:v>-2.725813</c:v>
                </c:pt>
                <c:pt idx="5972">
                  <c:v>-2.7543760000000002</c:v>
                </c:pt>
                <c:pt idx="5973">
                  <c:v>-2.7601119999999999</c:v>
                </c:pt>
                <c:pt idx="5974">
                  <c:v>-2.6899500000000001</c:v>
                </c:pt>
                <c:pt idx="5975">
                  <c:v>-2.6449410000000002</c:v>
                </c:pt>
                <c:pt idx="5976">
                  <c:v>-2.951813</c:v>
                </c:pt>
                <c:pt idx="5977">
                  <c:v>-2.9111379999999998</c:v>
                </c:pt>
                <c:pt idx="5978">
                  <c:v>-2.90598</c:v>
                </c:pt>
                <c:pt idx="5979">
                  <c:v>-2.7669899999999998</c:v>
                </c:pt>
                <c:pt idx="5980">
                  <c:v>-2.7682639999999998</c:v>
                </c:pt>
                <c:pt idx="5981">
                  <c:v>-3.0962719999999999</c:v>
                </c:pt>
                <c:pt idx="5982">
                  <c:v>-2.9460600000000001</c:v>
                </c:pt>
                <c:pt idx="5983">
                  <c:v>-3.0806269999999998</c:v>
                </c:pt>
                <c:pt idx="5984">
                  <c:v>-3.3657759999999999</c:v>
                </c:pt>
                <c:pt idx="5985">
                  <c:v>-3.26892</c:v>
                </c:pt>
                <c:pt idx="5986">
                  <c:v>-3.1763319999999999</c:v>
                </c:pt>
                <c:pt idx="5987">
                  <c:v>-3.203624</c:v>
                </c:pt>
                <c:pt idx="5988">
                  <c:v>-2.9560580000000001</c:v>
                </c:pt>
                <c:pt idx="5989">
                  <c:v>-3.0939109999999999</c:v>
                </c:pt>
                <c:pt idx="5990">
                  <c:v>-3.0234459999999999</c:v>
                </c:pt>
                <c:pt idx="5991">
                  <c:v>-2.784996</c:v>
                </c:pt>
                <c:pt idx="5992">
                  <c:v>-2.7769089999999998</c:v>
                </c:pt>
                <c:pt idx="5993">
                  <c:v>-2.5517569999999998</c:v>
                </c:pt>
                <c:pt idx="5994">
                  <c:v>-2.5444770000000001</c:v>
                </c:pt>
                <c:pt idx="5995">
                  <c:v>-2.5804369999999999</c:v>
                </c:pt>
                <c:pt idx="5996">
                  <c:v>-2.5820150000000002</c:v>
                </c:pt>
                <c:pt idx="5997">
                  <c:v>-2.6351110000000002</c:v>
                </c:pt>
                <c:pt idx="5998">
                  <c:v>-2.4507319999999999</c:v>
                </c:pt>
                <c:pt idx="5999">
                  <c:v>-2.476556</c:v>
                </c:pt>
                <c:pt idx="6000">
                  <c:v>-2.5402770000000001</c:v>
                </c:pt>
                <c:pt idx="6001">
                  <c:v>-2.568257</c:v>
                </c:pt>
                <c:pt idx="6002">
                  <c:v>-2.7814160000000001</c:v>
                </c:pt>
                <c:pt idx="6003">
                  <c:v>-2.8339300000000001</c:v>
                </c:pt>
                <c:pt idx="6004">
                  <c:v>-2.876423</c:v>
                </c:pt>
                <c:pt idx="6005">
                  <c:v>-2.8442530000000001</c:v>
                </c:pt>
                <c:pt idx="6006">
                  <c:v>-2.9078970000000002</c:v>
                </c:pt>
                <c:pt idx="6007">
                  <c:v>-2.8818679999999999</c:v>
                </c:pt>
                <c:pt idx="6008">
                  <c:v>-2.539517</c:v>
                </c:pt>
                <c:pt idx="6009">
                  <c:v>-2.6219649999999999</c:v>
                </c:pt>
                <c:pt idx="6010">
                  <c:v>-2.785663</c:v>
                </c:pt>
                <c:pt idx="6011">
                  <c:v>-2.7385079999999999</c:v>
                </c:pt>
                <c:pt idx="6012">
                  <c:v>-2.5781649999999998</c:v>
                </c:pt>
                <c:pt idx="6013">
                  <c:v>-2.4883459999999999</c:v>
                </c:pt>
                <c:pt idx="6014">
                  <c:v>-2.628765</c:v>
                </c:pt>
                <c:pt idx="6015">
                  <c:v>-2.628212</c:v>
                </c:pt>
                <c:pt idx="6016">
                  <c:v>-2.6948840000000001</c:v>
                </c:pt>
                <c:pt idx="6017">
                  <c:v>-2.5255869999999998</c:v>
                </c:pt>
                <c:pt idx="6018">
                  <c:v>-2.2984779999999998</c:v>
                </c:pt>
                <c:pt idx="6019">
                  <c:v>-2.4974799999999999</c:v>
                </c:pt>
                <c:pt idx="6020">
                  <c:v>-2.5898810000000001</c:v>
                </c:pt>
                <c:pt idx="6021">
                  <c:v>-2.367944</c:v>
                </c:pt>
                <c:pt idx="6022">
                  <c:v>-2.720993</c:v>
                </c:pt>
                <c:pt idx="6023">
                  <c:v>-2.8371740000000001</c:v>
                </c:pt>
                <c:pt idx="6024">
                  <c:v>-2.5157539999999998</c:v>
                </c:pt>
                <c:pt idx="6025">
                  <c:v>-2.5485440000000001</c:v>
                </c:pt>
                <c:pt idx="6026">
                  <c:v>-2.6299790000000001</c:v>
                </c:pt>
                <c:pt idx="6027">
                  <c:v>-2.604015</c:v>
                </c:pt>
                <c:pt idx="6028">
                  <c:v>-2.5258409999999998</c:v>
                </c:pt>
                <c:pt idx="6029">
                  <c:v>-2.6157780000000002</c:v>
                </c:pt>
                <c:pt idx="6030">
                  <c:v>-2.5948889999999998</c:v>
                </c:pt>
                <c:pt idx="6031">
                  <c:v>-2.5855269999999999</c:v>
                </c:pt>
                <c:pt idx="6032">
                  <c:v>-2.5112999999999999</c:v>
                </c:pt>
                <c:pt idx="6033">
                  <c:v>-2.3332890000000002</c:v>
                </c:pt>
                <c:pt idx="6034">
                  <c:v>-2.0892140000000001</c:v>
                </c:pt>
                <c:pt idx="6035">
                  <c:v>-1.9348970000000001</c:v>
                </c:pt>
                <c:pt idx="6036">
                  <c:v>-2.0214379999999998</c:v>
                </c:pt>
                <c:pt idx="6037">
                  <c:v>-2.3118120000000002</c:v>
                </c:pt>
                <c:pt idx="6038">
                  <c:v>-2.1845400000000001</c:v>
                </c:pt>
                <c:pt idx="6039">
                  <c:v>-2.050929</c:v>
                </c:pt>
                <c:pt idx="6040">
                  <c:v>-2.2353890000000001</c:v>
                </c:pt>
                <c:pt idx="6041">
                  <c:v>-2.330111</c:v>
                </c:pt>
                <c:pt idx="6042">
                  <c:v>-2.5883579999999999</c:v>
                </c:pt>
                <c:pt idx="6043">
                  <c:v>-2.4702769999999998</c:v>
                </c:pt>
                <c:pt idx="6044">
                  <c:v>-2.4272900000000002</c:v>
                </c:pt>
                <c:pt idx="6045">
                  <c:v>-2.7485650000000001</c:v>
                </c:pt>
                <c:pt idx="6046">
                  <c:v>-2.6659799999999998</c:v>
                </c:pt>
                <c:pt idx="6047">
                  <c:v>-2.4407679999999998</c:v>
                </c:pt>
                <c:pt idx="6048">
                  <c:v>-2.459991</c:v>
                </c:pt>
                <c:pt idx="6049">
                  <c:v>-2.4670920000000001</c:v>
                </c:pt>
                <c:pt idx="6050">
                  <c:v>-2.538783</c:v>
                </c:pt>
                <c:pt idx="6051">
                  <c:v>-2.3733140000000001</c:v>
                </c:pt>
                <c:pt idx="6052">
                  <c:v>-2.422094</c:v>
                </c:pt>
                <c:pt idx="6053">
                  <c:v>-2.6417250000000001</c:v>
                </c:pt>
                <c:pt idx="6054">
                  <c:v>-2.291757</c:v>
                </c:pt>
                <c:pt idx="6055">
                  <c:v>-2.1718139999999999</c:v>
                </c:pt>
                <c:pt idx="6056">
                  <c:v>-2.3592390000000001</c:v>
                </c:pt>
                <c:pt idx="6057">
                  <c:v>-2.449697</c:v>
                </c:pt>
                <c:pt idx="6058">
                  <c:v>-2.5675599999999998</c:v>
                </c:pt>
                <c:pt idx="6059">
                  <c:v>-2.5019969999999998</c:v>
                </c:pt>
                <c:pt idx="6060">
                  <c:v>-2.3404090000000002</c:v>
                </c:pt>
                <c:pt idx="6061">
                  <c:v>-2.6592639999999999</c:v>
                </c:pt>
                <c:pt idx="6062">
                  <c:v>-2.8321770000000002</c:v>
                </c:pt>
                <c:pt idx="6063">
                  <c:v>-2.7457530000000001</c:v>
                </c:pt>
                <c:pt idx="6064">
                  <c:v>-2.7162850000000001</c:v>
                </c:pt>
                <c:pt idx="6065">
                  <c:v>-2.4404119999999998</c:v>
                </c:pt>
                <c:pt idx="6066">
                  <c:v>-2.3588529999999999</c:v>
                </c:pt>
                <c:pt idx="6067">
                  <c:v>-2.43472</c:v>
                </c:pt>
                <c:pt idx="6068">
                  <c:v>-2.5336470000000002</c:v>
                </c:pt>
                <c:pt idx="6069">
                  <c:v>-2.582754</c:v>
                </c:pt>
                <c:pt idx="6070">
                  <c:v>-2.3411339999999998</c:v>
                </c:pt>
                <c:pt idx="6071">
                  <c:v>-2.2072289999999999</c:v>
                </c:pt>
                <c:pt idx="6072">
                  <c:v>-2.3890020000000001</c:v>
                </c:pt>
                <c:pt idx="6073">
                  <c:v>-2.3380030000000001</c:v>
                </c:pt>
                <c:pt idx="6074">
                  <c:v>-2.3088220000000002</c:v>
                </c:pt>
                <c:pt idx="6075">
                  <c:v>-2.2830819999999998</c:v>
                </c:pt>
                <c:pt idx="6076">
                  <c:v>-2.333304</c:v>
                </c:pt>
                <c:pt idx="6077">
                  <c:v>-2.4196240000000002</c:v>
                </c:pt>
                <c:pt idx="6078">
                  <c:v>-2.4022350000000001</c:v>
                </c:pt>
                <c:pt idx="6079">
                  <c:v>-2.6658689999999998</c:v>
                </c:pt>
                <c:pt idx="6080">
                  <c:v>-2.4779680000000002</c:v>
                </c:pt>
                <c:pt idx="6081">
                  <c:v>-2.1875990000000001</c:v>
                </c:pt>
                <c:pt idx="6082">
                  <c:v>-2.2925740000000001</c:v>
                </c:pt>
                <c:pt idx="6083">
                  <c:v>-2.4042219999999999</c:v>
                </c:pt>
                <c:pt idx="6084">
                  <c:v>-2.4621520000000001</c:v>
                </c:pt>
                <c:pt idx="6085">
                  <c:v>-2.6336149999999998</c:v>
                </c:pt>
                <c:pt idx="6086">
                  <c:v>-2.531326</c:v>
                </c:pt>
                <c:pt idx="6087">
                  <c:v>-2.6272380000000002</c:v>
                </c:pt>
                <c:pt idx="6088">
                  <c:v>-2.818336</c:v>
                </c:pt>
                <c:pt idx="6089">
                  <c:v>-2.397408</c:v>
                </c:pt>
                <c:pt idx="6090">
                  <c:v>-2.3813249999999999</c:v>
                </c:pt>
                <c:pt idx="6091">
                  <c:v>-2.561232</c:v>
                </c:pt>
                <c:pt idx="6092">
                  <c:v>-2.5900080000000001</c:v>
                </c:pt>
                <c:pt idx="6093">
                  <c:v>-2.6087050000000001</c:v>
                </c:pt>
                <c:pt idx="6094">
                  <c:v>-2.353199</c:v>
                </c:pt>
                <c:pt idx="6095">
                  <c:v>-2.4167990000000001</c:v>
                </c:pt>
                <c:pt idx="6096">
                  <c:v>-2.641877</c:v>
                </c:pt>
                <c:pt idx="6097">
                  <c:v>-2.6313939999999998</c:v>
                </c:pt>
                <c:pt idx="6098">
                  <c:v>-2.3621509999999999</c:v>
                </c:pt>
                <c:pt idx="6099">
                  <c:v>-2.4895719999999999</c:v>
                </c:pt>
                <c:pt idx="6100">
                  <c:v>-2.7497220000000002</c:v>
                </c:pt>
                <c:pt idx="6101">
                  <c:v>-2.6301290000000002</c:v>
                </c:pt>
                <c:pt idx="6102">
                  <c:v>-2.6437140000000001</c:v>
                </c:pt>
                <c:pt idx="6103">
                  <c:v>-2.7243940000000002</c:v>
                </c:pt>
                <c:pt idx="6104">
                  <c:v>-2.7746749999999998</c:v>
                </c:pt>
                <c:pt idx="6105">
                  <c:v>-2.7449620000000001</c:v>
                </c:pt>
                <c:pt idx="6106">
                  <c:v>-2.6696399999999998</c:v>
                </c:pt>
                <c:pt idx="6107">
                  <c:v>-2.5649310000000001</c:v>
                </c:pt>
                <c:pt idx="6108">
                  <c:v>-2.5046889999999999</c:v>
                </c:pt>
                <c:pt idx="6109">
                  <c:v>-2.4635449999999999</c:v>
                </c:pt>
                <c:pt idx="6110">
                  <c:v>-2.3628010000000002</c:v>
                </c:pt>
                <c:pt idx="6111">
                  <c:v>-2.4321969999999999</c:v>
                </c:pt>
                <c:pt idx="6112">
                  <c:v>-2.6603249999999998</c:v>
                </c:pt>
                <c:pt idx="6113">
                  <c:v>-2.5124689999999998</c:v>
                </c:pt>
                <c:pt idx="6114">
                  <c:v>-2.3028279999999999</c:v>
                </c:pt>
                <c:pt idx="6115">
                  <c:v>-2.1779660000000001</c:v>
                </c:pt>
                <c:pt idx="6116">
                  <c:v>-2.1608520000000002</c:v>
                </c:pt>
                <c:pt idx="6117">
                  <c:v>-2.1970420000000002</c:v>
                </c:pt>
                <c:pt idx="6118">
                  <c:v>-2.4072779999999998</c:v>
                </c:pt>
                <c:pt idx="6119">
                  <c:v>-2.4451689999999999</c:v>
                </c:pt>
                <c:pt idx="6120">
                  <c:v>-2.4078900000000001</c:v>
                </c:pt>
                <c:pt idx="6121">
                  <c:v>-2.5241989999999999</c:v>
                </c:pt>
                <c:pt idx="6122">
                  <c:v>-2.459517</c:v>
                </c:pt>
                <c:pt idx="6123">
                  <c:v>-2.4302199999999998</c:v>
                </c:pt>
                <c:pt idx="6124">
                  <c:v>-2.4852650000000001</c:v>
                </c:pt>
                <c:pt idx="6125">
                  <c:v>-2.5158909999999999</c:v>
                </c:pt>
                <c:pt idx="6126">
                  <c:v>-2.6071360000000001</c:v>
                </c:pt>
                <c:pt idx="6127">
                  <c:v>-2.7303600000000001</c:v>
                </c:pt>
                <c:pt idx="6128">
                  <c:v>-2.6081189999999999</c:v>
                </c:pt>
                <c:pt idx="6129">
                  <c:v>-2.5536180000000002</c:v>
                </c:pt>
                <c:pt idx="6130">
                  <c:v>-2.6621839999999999</c:v>
                </c:pt>
                <c:pt idx="6131">
                  <c:v>-2.656018</c:v>
                </c:pt>
                <c:pt idx="6132">
                  <c:v>-2.592794</c:v>
                </c:pt>
                <c:pt idx="6133">
                  <c:v>-2.6287310000000002</c:v>
                </c:pt>
                <c:pt idx="6134">
                  <c:v>-2.6495609999999998</c:v>
                </c:pt>
                <c:pt idx="6135">
                  <c:v>-2.5957119999999998</c:v>
                </c:pt>
                <c:pt idx="6136">
                  <c:v>-2.5004110000000002</c:v>
                </c:pt>
                <c:pt idx="6137">
                  <c:v>-2.5808650000000002</c:v>
                </c:pt>
                <c:pt idx="6138">
                  <c:v>-2.6190229999999999</c:v>
                </c:pt>
                <c:pt idx="6139">
                  <c:v>-2.5060500000000001</c:v>
                </c:pt>
                <c:pt idx="6140">
                  <c:v>-2.5111509999999999</c:v>
                </c:pt>
                <c:pt idx="6141">
                  <c:v>-2.576092</c:v>
                </c:pt>
                <c:pt idx="6142">
                  <c:v>-2.6095980000000001</c:v>
                </c:pt>
                <c:pt idx="6143">
                  <c:v>-2.493468</c:v>
                </c:pt>
                <c:pt idx="6144">
                  <c:v>-2.4990169999999998</c:v>
                </c:pt>
                <c:pt idx="6145">
                  <c:v>-2.5628860000000002</c:v>
                </c:pt>
                <c:pt idx="6146">
                  <c:v>-2.3931969999999998</c:v>
                </c:pt>
                <c:pt idx="6147">
                  <c:v>-2.3652839999999999</c:v>
                </c:pt>
                <c:pt idx="6148">
                  <c:v>-2.4059439999999999</c:v>
                </c:pt>
                <c:pt idx="6149">
                  <c:v>-2.352519</c:v>
                </c:pt>
                <c:pt idx="6150">
                  <c:v>-2.4529200000000002</c:v>
                </c:pt>
                <c:pt idx="6151">
                  <c:v>-2.5699540000000001</c:v>
                </c:pt>
                <c:pt idx="6152">
                  <c:v>-2.5022669999999998</c:v>
                </c:pt>
                <c:pt idx="6153">
                  <c:v>-2.403346</c:v>
                </c:pt>
                <c:pt idx="6154">
                  <c:v>-2.1435040000000001</c:v>
                </c:pt>
                <c:pt idx="6155">
                  <c:v>-2.1957149999999999</c:v>
                </c:pt>
                <c:pt idx="6156">
                  <c:v>-2.269075</c:v>
                </c:pt>
                <c:pt idx="6157">
                  <c:v>-2.166417</c:v>
                </c:pt>
                <c:pt idx="6158">
                  <c:v>-2.3035730000000001</c:v>
                </c:pt>
                <c:pt idx="6159">
                  <c:v>-2.3036140000000001</c:v>
                </c:pt>
                <c:pt idx="6160">
                  <c:v>-2.2360509999999998</c:v>
                </c:pt>
                <c:pt idx="6161">
                  <c:v>-2.2649859999999999</c:v>
                </c:pt>
                <c:pt idx="6162">
                  <c:v>-2.2764069999999998</c:v>
                </c:pt>
                <c:pt idx="6163">
                  <c:v>-2.2138420000000001</c:v>
                </c:pt>
                <c:pt idx="6164">
                  <c:v>-2.1087889999999998</c:v>
                </c:pt>
                <c:pt idx="6165">
                  <c:v>-2.248901</c:v>
                </c:pt>
                <c:pt idx="6166">
                  <c:v>-2.588876</c:v>
                </c:pt>
                <c:pt idx="6167">
                  <c:v>-2.5810230000000001</c:v>
                </c:pt>
                <c:pt idx="6168">
                  <c:v>-2.532241</c:v>
                </c:pt>
                <c:pt idx="6169">
                  <c:v>-2.6553390000000001</c:v>
                </c:pt>
                <c:pt idx="6170">
                  <c:v>-2.600142</c:v>
                </c:pt>
                <c:pt idx="6171">
                  <c:v>-2.517436</c:v>
                </c:pt>
                <c:pt idx="6172">
                  <c:v>-2.6142460000000001</c:v>
                </c:pt>
                <c:pt idx="6173">
                  <c:v>-2.671306</c:v>
                </c:pt>
                <c:pt idx="6174">
                  <c:v>-2.7808139999999999</c:v>
                </c:pt>
                <c:pt idx="6175">
                  <c:v>-2.715624</c:v>
                </c:pt>
                <c:pt idx="6176">
                  <c:v>-2.4912329999999998</c:v>
                </c:pt>
                <c:pt idx="6177">
                  <c:v>-2.5047160000000002</c:v>
                </c:pt>
                <c:pt idx="6178">
                  <c:v>-2.5715659999999998</c:v>
                </c:pt>
                <c:pt idx="6179">
                  <c:v>-2.5363009999999999</c:v>
                </c:pt>
                <c:pt idx="6180">
                  <c:v>-2.3118989999999999</c:v>
                </c:pt>
                <c:pt idx="6181">
                  <c:v>-2.3178709999999998</c:v>
                </c:pt>
                <c:pt idx="6182">
                  <c:v>-2.3020659999999999</c:v>
                </c:pt>
                <c:pt idx="6183">
                  <c:v>-2.2838310000000002</c:v>
                </c:pt>
                <c:pt idx="6184">
                  <c:v>-2.2591489999999999</c:v>
                </c:pt>
                <c:pt idx="6185">
                  <c:v>-2.2383289999999998</c:v>
                </c:pt>
                <c:pt idx="6186">
                  <c:v>-2.4126989999999999</c:v>
                </c:pt>
                <c:pt idx="6187">
                  <c:v>-2.3664450000000001</c:v>
                </c:pt>
                <c:pt idx="6188">
                  <c:v>-2.2057419999999999</c:v>
                </c:pt>
                <c:pt idx="6189">
                  <c:v>-2.1118610000000002</c:v>
                </c:pt>
                <c:pt idx="6190">
                  <c:v>-2.4539759999999999</c:v>
                </c:pt>
                <c:pt idx="6191">
                  <c:v>-2.9043239999999999</c:v>
                </c:pt>
                <c:pt idx="6192">
                  <c:v>-2.6963680000000001</c:v>
                </c:pt>
                <c:pt idx="6193">
                  <c:v>-2.4113020000000001</c:v>
                </c:pt>
                <c:pt idx="6194">
                  <c:v>-2.5241760000000002</c:v>
                </c:pt>
                <c:pt idx="6195">
                  <c:v>-2.6464439999999998</c:v>
                </c:pt>
                <c:pt idx="6196">
                  <c:v>-2.5106220000000001</c:v>
                </c:pt>
                <c:pt idx="6197">
                  <c:v>-2.3718810000000001</c:v>
                </c:pt>
                <c:pt idx="6198">
                  <c:v>-2.353424</c:v>
                </c:pt>
                <c:pt idx="6199">
                  <c:v>-2.1257830000000002</c:v>
                </c:pt>
                <c:pt idx="6200">
                  <c:v>-2.1880639999999998</c:v>
                </c:pt>
                <c:pt idx="6201">
                  <c:v>-2.331359</c:v>
                </c:pt>
                <c:pt idx="6202">
                  <c:v>-2.1867549999999998</c:v>
                </c:pt>
                <c:pt idx="6203">
                  <c:v>-2.4345850000000002</c:v>
                </c:pt>
                <c:pt idx="6204">
                  <c:v>-2.3509869999999999</c:v>
                </c:pt>
                <c:pt idx="6205">
                  <c:v>-2.3089400000000002</c:v>
                </c:pt>
                <c:pt idx="6206">
                  <c:v>-2.3394300000000001</c:v>
                </c:pt>
                <c:pt idx="6207">
                  <c:v>-2.353256</c:v>
                </c:pt>
                <c:pt idx="6208">
                  <c:v>-2.689279</c:v>
                </c:pt>
                <c:pt idx="6209">
                  <c:v>-2.6060020000000002</c:v>
                </c:pt>
                <c:pt idx="6210">
                  <c:v>-2.4309599999999998</c:v>
                </c:pt>
                <c:pt idx="6211">
                  <c:v>-2.5359769999999999</c:v>
                </c:pt>
                <c:pt idx="6212">
                  <c:v>-2.4462280000000001</c:v>
                </c:pt>
                <c:pt idx="6213">
                  <c:v>-2.4621279999999999</c:v>
                </c:pt>
                <c:pt idx="6214">
                  <c:v>-2.5234709999999998</c:v>
                </c:pt>
                <c:pt idx="6215">
                  <c:v>-2.2805900000000001</c:v>
                </c:pt>
                <c:pt idx="6216">
                  <c:v>-2.065706</c:v>
                </c:pt>
                <c:pt idx="6217">
                  <c:v>-2.1944669999999999</c:v>
                </c:pt>
                <c:pt idx="6218">
                  <c:v>-2.3600629999999998</c:v>
                </c:pt>
                <c:pt idx="6219">
                  <c:v>-1.8902570000000001</c:v>
                </c:pt>
                <c:pt idx="6220">
                  <c:v>-1.88456</c:v>
                </c:pt>
                <c:pt idx="6221">
                  <c:v>-2.1075119999999998</c:v>
                </c:pt>
                <c:pt idx="6222">
                  <c:v>-1.6597379999999999</c:v>
                </c:pt>
                <c:pt idx="6223">
                  <c:v>-1.5251920000000001</c:v>
                </c:pt>
                <c:pt idx="6224">
                  <c:v>-1.740807</c:v>
                </c:pt>
                <c:pt idx="6225">
                  <c:v>-1.6850849999999999</c:v>
                </c:pt>
                <c:pt idx="6226">
                  <c:v>-1.7559370000000001</c:v>
                </c:pt>
                <c:pt idx="6227">
                  <c:v>-1.7647250000000001</c:v>
                </c:pt>
                <c:pt idx="6228">
                  <c:v>-1.6140220000000001</c:v>
                </c:pt>
                <c:pt idx="6229">
                  <c:v>-1.574837</c:v>
                </c:pt>
                <c:pt idx="6230">
                  <c:v>-1.8653960000000001</c:v>
                </c:pt>
                <c:pt idx="6231">
                  <c:v>-2.0018340000000001</c:v>
                </c:pt>
                <c:pt idx="6232">
                  <c:v>-1.87395</c:v>
                </c:pt>
                <c:pt idx="6233">
                  <c:v>-1.7312780000000001</c:v>
                </c:pt>
                <c:pt idx="6234">
                  <c:v>-1.674037</c:v>
                </c:pt>
                <c:pt idx="6235">
                  <c:v>-1.874592</c:v>
                </c:pt>
                <c:pt idx="6236">
                  <c:v>-1.7494890000000001</c:v>
                </c:pt>
                <c:pt idx="6237">
                  <c:v>-1.4545809999999999</c:v>
                </c:pt>
                <c:pt idx="6238">
                  <c:v>-1.3922829999999999</c:v>
                </c:pt>
                <c:pt idx="6239">
                  <c:v>-1.4458219999999999</c:v>
                </c:pt>
                <c:pt idx="6240">
                  <c:v>-1.432652</c:v>
                </c:pt>
                <c:pt idx="6241">
                  <c:v>-1.2527900000000001</c:v>
                </c:pt>
                <c:pt idx="6242">
                  <c:v>-0.85831800000000003</c:v>
                </c:pt>
                <c:pt idx="6243">
                  <c:v>-0.90369699999999997</c:v>
                </c:pt>
                <c:pt idx="6244">
                  <c:v>-0.83824100000000001</c:v>
                </c:pt>
                <c:pt idx="6245">
                  <c:v>-0.66344499999999995</c:v>
                </c:pt>
                <c:pt idx="6246">
                  <c:v>-0.62451199999999996</c:v>
                </c:pt>
                <c:pt idx="6247">
                  <c:v>-0.66647800000000001</c:v>
                </c:pt>
                <c:pt idx="6248">
                  <c:v>-0.61752499999999999</c:v>
                </c:pt>
                <c:pt idx="6249">
                  <c:v>-0.46537000000000001</c:v>
                </c:pt>
                <c:pt idx="6250">
                  <c:v>-0.39085700000000001</c:v>
                </c:pt>
                <c:pt idx="6251">
                  <c:v>-0.45949400000000001</c:v>
                </c:pt>
                <c:pt idx="6252">
                  <c:v>-0.40322999999999998</c:v>
                </c:pt>
                <c:pt idx="6253">
                  <c:v>-0.157864</c:v>
                </c:pt>
                <c:pt idx="6254">
                  <c:v>-0.13880100000000001</c:v>
                </c:pt>
                <c:pt idx="6255">
                  <c:v>3.0689999999999999E-2</c:v>
                </c:pt>
                <c:pt idx="6256">
                  <c:v>7.6151999999999997E-2</c:v>
                </c:pt>
                <c:pt idx="6257">
                  <c:v>0.26272200000000001</c:v>
                </c:pt>
                <c:pt idx="6258">
                  <c:v>0.71450899999999995</c:v>
                </c:pt>
                <c:pt idx="6259">
                  <c:v>0.61964200000000003</c:v>
                </c:pt>
                <c:pt idx="6260">
                  <c:v>0.57361700000000004</c:v>
                </c:pt>
                <c:pt idx="6261">
                  <c:v>1.14242</c:v>
                </c:pt>
                <c:pt idx="6262">
                  <c:v>1.373273</c:v>
                </c:pt>
                <c:pt idx="6263">
                  <c:v>1.2407170000000001</c:v>
                </c:pt>
                <c:pt idx="6264">
                  <c:v>1.1680269999999999</c:v>
                </c:pt>
                <c:pt idx="6265">
                  <c:v>1.38296</c:v>
                </c:pt>
                <c:pt idx="6266">
                  <c:v>1.7348129999999999</c:v>
                </c:pt>
                <c:pt idx="6267">
                  <c:v>1.740359</c:v>
                </c:pt>
                <c:pt idx="6268">
                  <c:v>1.8300110000000001</c:v>
                </c:pt>
                <c:pt idx="6269">
                  <c:v>2.0219200000000002</c:v>
                </c:pt>
                <c:pt idx="6270">
                  <c:v>2.3382369999999999</c:v>
                </c:pt>
                <c:pt idx="6271">
                  <c:v>2.5221719999999999</c:v>
                </c:pt>
                <c:pt idx="6272">
                  <c:v>2.7126679999999999</c:v>
                </c:pt>
                <c:pt idx="6273">
                  <c:v>2.9689610000000002</c:v>
                </c:pt>
                <c:pt idx="6274">
                  <c:v>3.2699340000000001</c:v>
                </c:pt>
                <c:pt idx="6275">
                  <c:v>3.8319549999999998</c:v>
                </c:pt>
                <c:pt idx="6276">
                  <c:v>4.2754690000000002</c:v>
                </c:pt>
                <c:pt idx="6277">
                  <c:v>4.5350529999999996</c:v>
                </c:pt>
                <c:pt idx="6278">
                  <c:v>5.0356740000000002</c:v>
                </c:pt>
                <c:pt idx="6279">
                  <c:v>5.1210040000000001</c:v>
                </c:pt>
                <c:pt idx="6280">
                  <c:v>5.2594979999999998</c:v>
                </c:pt>
                <c:pt idx="6281">
                  <c:v>5.875057</c:v>
                </c:pt>
                <c:pt idx="6282">
                  <c:v>6.250184</c:v>
                </c:pt>
                <c:pt idx="6283">
                  <c:v>6.5579929999999997</c:v>
                </c:pt>
                <c:pt idx="6284">
                  <c:v>6.7592629999999998</c:v>
                </c:pt>
                <c:pt idx="6285">
                  <c:v>7.2368069999999998</c:v>
                </c:pt>
                <c:pt idx="6286">
                  <c:v>7.9272130000000001</c:v>
                </c:pt>
                <c:pt idx="6287">
                  <c:v>7.7995520000000003</c:v>
                </c:pt>
                <c:pt idx="6288">
                  <c:v>7.6368140000000002</c:v>
                </c:pt>
                <c:pt idx="6289">
                  <c:v>8.0205140000000004</c:v>
                </c:pt>
                <c:pt idx="6290">
                  <c:v>8.1675419999999992</c:v>
                </c:pt>
                <c:pt idx="6291">
                  <c:v>8.3838620000000006</c:v>
                </c:pt>
                <c:pt idx="6292">
                  <c:v>8.9009129999999992</c:v>
                </c:pt>
                <c:pt idx="6293">
                  <c:v>9.2494859999999992</c:v>
                </c:pt>
                <c:pt idx="6294">
                  <c:v>9.316649</c:v>
                </c:pt>
                <c:pt idx="6295">
                  <c:v>9.4281299999999995</c:v>
                </c:pt>
                <c:pt idx="6296">
                  <c:v>9.8210160000000002</c:v>
                </c:pt>
                <c:pt idx="6297">
                  <c:v>10.1607161</c:v>
                </c:pt>
                <c:pt idx="6298">
                  <c:v>10.1540689</c:v>
                </c:pt>
                <c:pt idx="6299">
                  <c:v>10.489714599999999</c:v>
                </c:pt>
                <c:pt idx="6300">
                  <c:v>10.9289579</c:v>
                </c:pt>
                <c:pt idx="6301">
                  <c:v>11.0322666</c:v>
                </c:pt>
                <c:pt idx="6302">
                  <c:v>11.4275074</c:v>
                </c:pt>
                <c:pt idx="6303">
                  <c:v>11.90761</c:v>
                </c:pt>
                <c:pt idx="6304">
                  <c:v>12.108345</c:v>
                </c:pt>
                <c:pt idx="6305">
                  <c:v>12.227952999999999</c:v>
                </c:pt>
                <c:pt idx="6306">
                  <c:v>12.521845799999999</c:v>
                </c:pt>
                <c:pt idx="6307">
                  <c:v>12.956664999999999</c:v>
                </c:pt>
                <c:pt idx="6308">
                  <c:v>13.4736452</c:v>
                </c:pt>
                <c:pt idx="6309">
                  <c:v>13.705115299999999</c:v>
                </c:pt>
                <c:pt idx="6310">
                  <c:v>13.925062199999999</c:v>
                </c:pt>
                <c:pt idx="6311">
                  <c:v>14.328035399999999</c:v>
                </c:pt>
                <c:pt idx="6312">
                  <c:v>14.5606756</c:v>
                </c:pt>
                <c:pt idx="6313">
                  <c:v>14.835979500000001</c:v>
                </c:pt>
                <c:pt idx="6314">
                  <c:v>15.267416000000001</c:v>
                </c:pt>
                <c:pt idx="6315">
                  <c:v>15.35783</c:v>
                </c:pt>
                <c:pt idx="6316">
                  <c:v>15.564311</c:v>
                </c:pt>
                <c:pt idx="6317">
                  <c:v>15.738213500000001</c:v>
                </c:pt>
                <c:pt idx="6318">
                  <c:v>16.042539999999999</c:v>
                </c:pt>
                <c:pt idx="6319">
                  <c:v>16.327251400000002</c:v>
                </c:pt>
                <c:pt idx="6320">
                  <c:v>16.3474827</c:v>
                </c:pt>
                <c:pt idx="6321">
                  <c:v>16.407484100000001</c:v>
                </c:pt>
                <c:pt idx="6322">
                  <c:v>16.339317300000001</c:v>
                </c:pt>
                <c:pt idx="6323">
                  <c:v>16.116330000000001</c:v>
                </c:pt>
                <c:pt idx="6324">
                  <c:v>16.350145300000001</c:v>
                </c:pt>
                <c:pt idx="6325">
                  <c:v>16.737213100000002</c:v>
                </c:pt>
                <c:pt idx="6326">
                  <c:v>16.624113099999999</c:v>
                </c:pt>
                <c:pt idx="6327">
                  <c:v>16.784246400000001</c:v>
                </c:pt>
                <c:pt idx="6328">
                  <c:v>17.150535600000001</c:v>
                </c:pt>
                <c:pt idx="6329">
                  <c:v>17.1586113</c:v>
                </c:pt>
                <c:pt idx="6330">
                  <c:v>17.0889168</c:v>
                </c:pt>
                <c:pt idx="6331">
                  <c:v>17.179433800000002</c:v>
                </c:pt>
                <c:pt idx="6332">
                  <c:v>17.4280987</c:v>
                </c:pt>
                <c:pt idx="6333">
                  <c:v>17.5541439</c:v>
                </c:pt>
                <c:pt idx="6334">
                  <c:v>17.563484200000001</c:v>
                </c:pt>
                <c:pt idx="6335">
                  <c:v>17.632560000000002</c:v>
                </c:pt>
                <c:pt idx="6336">
                  <c:v>18.014720000000001</c:v>
                </c:pt>
                <c:pt idx="6337">
                  <c:v>18.354801200000001</c:v>
                </c:pt>
                <c:pt idx="6338">
                  <c:v>18.661586799999998</c:v>
                </c:pt>
                <c:pt idx="6339">
                  <c:v>18.967960000000001</c:v>
                </c:pt>
                <c:pt idx="6340">
                  <c:v>18.887851699999999</c:v>
                </c:pt>
                <c:pt idx="6341">
                  <c:v>19.2040367</c:v>
                </c:pt>
                <c:pt idx="6342">
                  <c:v>19.51961</c:v>
                </c:pt>
                <c:pt idx="6343">
                  <c:v>19.508497200000001</c:v>
                </c:pt>
                <c:pt idx="6344">
                  <c:v>19.451881400000001</c:v>
                </c:pt>
                <c:pt idx="6345">
                  <c:v>19.352241500000002</c:v>
                </c:pt>
                <c:pt idx="6346">
                  <c:v>19.161020000000001</c:v>
                </c:pt>
                <c:pt idx="6347">
                  <c:v>19.137676200000001</c:v>
                </c:pt>
                <c:pt idx="6348">
                  <c:v>19.1940651</c:v>
                </c:pt>
                <c:pt idx="6349">
                  <c:v>19.229736299999999</c:v>
                </c:pt>
                <c:pt idx="6350">
                  <c:v>18.839845700000001</c:v>
                </c:pt>
                <c:pt idx="6351">
                  <c:v>18.838672599999999</c:v>
                </c:pt>
                <c:pt idx="6352">
                  <c:v>18.665138200000001</c:v>
                </c:pt>
                <c:pt idx="6353">
                  <c:v>18.082858999999999</c:v>
                </c:pt>
                <c:pt idx="6354">
                  <c:v>17.863967899999999</c:v>
                </c:pt>
                <c:pt idx="6355">
                  <c:v>17.589235299999999</c:v>
                </c:pt>
                <c:pt idx="6356">
                  <c:v>17.556297300000001</c:v>
                </c:pt>
                <c:pt idx="6357">
                  <c:v>17.449733699999999</c:v>
                </c:pt>
                <c:pt idx="6358">
                  <c:v>17.390417100000001</c:v>
                </c:pt>
                <c:pt idx="6359">
                  <c:v>17.354023000000002</c:v>
                </c:pt>
                <c:pt idx="6360">
                  <c:v>17.278549999999999</c:v>
                </c:pt>
                <c:pt idx="6361">
                  <c:v>17.3869629</c:v>
                </c:pt>
                <c:pt idx="6362">
                  <c:v>17.224876399999999</c:v>
                </c:pt>
                <c:pt idx="6363">
                  <c:v>17.432418800000001</c:v>
                </c:pt>
                <c:pt idx="6364">
                  <c:v>17.558507899999999</c:v>
                </c:pt>
                <c:pt idx="6365">
                  <c:v>17.334491700000001</c:v>
                </c:pt>
                <c:pt idx="6366">
                  <c:v>17.526658999999999</c:v>
                </c:pt>
                <c:pt idx="6367">
                  <c:v>17.809307100000002</c:v>
                </c:pt>
                <c:pt idx="6368">
                  <c:v>17.81737</c:v>
                </c:pt>
                <c:pt idx="6369">
                  <c:v>17.896529999999998</c:v>
                </c:pt>
                <c:pt idx="6370">
                  <c:v>17.874179999999999</c:v>
                </c:pt>
                <c:pt idx="6371">
                  <c:v>17.7055416</c:v>
                </c:pt>
                <c:pt idx="6372">
                  <c:v>17.651155500000002</c:v>
                </c:pt>
                <c:pt idx="6373">
                  <c:v>17.726306900000001</c:v>
                </c:pt>
                <c:pt idx="6374">
                  <c:v>17.802366299999999</c:v>
                </c:pt>
                <c:pt idx="6375">
                  <c:v>17.546859999999999</c:v>
                </c:pt>
                <c:pt idx="6376">
                  <c:v>17.383068099999999</c:v>
                </c:pt>
                <c:pt idx="6377">
                  <c:v>17.2480011</c:v>
                </c:pt>
                <c:pt idx="6378">
                  <c:v>17.0966339</c:v>
                </c:pt>
                <c:pt idx="6379">
                  <c:v>17.223201799999998</c:v>
                </c:pt>
                <c:pt idx="6380">
                  <c:v>17.235060000000001</c:v>
                </c:pt>
                <c:pt idx="6381">
                  <c:v>16.855217</c:v>
                </c:pt>
                <c:pt idx="6382">
                  <c:v>16.671894099999999</c:v>
                </c:pt>
                <c:pt idx="6383">
                  <c:v>16.569330000000001</c:v>
                </c:pt>
                <c:pt idx="6384">
                  <c:v>16.453704800000001</c:v>
                </c:pt>
                <c:pt idx="6385">
                  <c:v>16.320919</c:v>
                </c:pt>
                <c:pt idx="6386">
                  <c:v>15.9499779</c:v>
                </c:pt>
                <c:pt idx="6387">
                  <c:v>15.6626759</c:v>
                </c:pt>
                <c:pt idx="6388">
                  <c:v>15.690154100000001</c:v>
                </c:pt>
                <c:pt idx="6389">
                  <c:v>15.19492</c:v>
                </c:pt>
                <c:pt idx="6390">
                  <c:v>14.643446000000001</c:v>
                </c:pt>
                <c:pt idx="6391">
                  <c:v>14.7017136</c:v>
                </c:pt>
                <c:pt idx="6392">
                  <c:v>14.553724300000001</c:v>
                </c:pt>
                <c:pt idx="6393">
                  <c:v>14.30829</c:v>
                </c:pt>
                <c:pt idx="6394">
                  <c:v>14.1274014</c:v>
                </c:pt>
                <c:pt idx="6395">
                  <c:v>13.8557653</c:v>
                </c:pt>
                <c:pt idx="6396">
                  <c:v>13.6809444</c:v>
                </c:pt>
                <c:pt idx="6397">
                  <c:v>13.8276539</c:v>
                </c:pt>
                <c:pt idx="6398">
                  <c:v>13.8228893</c:v>
                </c:pt>
                <c:pt idx="6399">
                  <c:v>13.828042999999999</c:v>
                </c:pt>
                <c:pt idx="6400">
                  <c:v>13.633735700000001</c:v>
                </c:pt>
                <c:pt idx="6401">
                  <c:v>13.6196775</c:v>
                </c:pt>
                <c:pt idx="6402">
                  <c:v>13.725693700000001</c:v>
                </c:pt>
                <c:pt idx="6403">
                  <c:v>13.597621</c:v>
                </c:pt>
                <c:pt idx="6404">
                  <c:v>13.4788809</c:v>
                </c:pt>
                <c:pt idx="6405">
                  <c:v>13.2982531</c:v>
                </c:pt>
                <c:pt idx="6406">
                  <c:v>13.1457052</c:v>
                </c:pt>
                <c:pt idx="6407">
                  <c:v>13.1442032</c:v>
                </c:pt>
                <c:pt idx="6408">
                  <c:v>13.153841</c:v>
                </c:pt>
                <c:pt idx="6409">
                  <c:v>13.1146975</c:v>
                </c:pt>
                <c:pt idx="6410">
                  <c:v>12.954966499999999</c:v>
                </c:pt>
                <c:pt idx="6411">
                  <c:v>12.8180847</c:v>
                </c:pt>
                <c:pt idx="6412">
                  <c:v>12.820615800000001</c:v>
                </c:pt>
                <c:pt idx="6413">
                  <c:v>12.8380051</c:v>
                </c:pt>
                <c:pt idx="6414">
                  <c:v>12.93736</c:v>
                </c:pt>
                <c:pt idx="6415">
                  <c:v>12.9542131</c:v>
                </c:pt>
                <c:pt idx="6416">
                  <c:v>12.9351082</c:v>
                </c:pt>
                <c:pt idx="6417">
                  <c:v>12.9656734</c:v>
                </c:pt>
                <c:pt idx="6418">
                  <c:v>12.9706993</c:v>
                </c:pt>
                <c:pt idx="6419">
                  <c:v>12.958304399999999</c:v>
                </c:pt>
                <c:pt idx="6420">
                  <c:v>13.21167</c:v>
                </c:pt>
                <c:pt idx="6421">
                  <c:v>13.4062824</c:v>
                </c:pt>
                <c:pt idx="6422">
                  <c:v>13.3848848</c:v>
                </c:pt>
                <c:pt idx="6423">
                  <c:v>13.518993399999999</c:v>
                </c:pt>
                <c:pt idx="6424">
                  <c:v>13.5275249</c:v>
                </c:pt>
                <c:pt idx="6425">
                  <c:v>13.5433111</c:v>
                </c:pt>
                <c:pt idx="6426">
                  <c:v>13.5718956</c:v>
                </c:pt>
                <c:pt idx="6427">
                  <c:v>13.6037731</c:v>
                </c:pt>
                <c:pt idx="6428">
                  <c:v>13.835365299999999</c:v>
                </c:pt>
                <c:pt idx="6429">
                  <c:v>13.769448300000001</c:v>
                </c:pt>
                <c:pt idx="6430">
                  <c:v>13.617530800000001</c:v>
                </c:pt>
                <c:pt idx="6431">
                  <c:v>13.466533699999999</c:v>
                </c:pt>
                <c:pt idx="6432">
                  <c:v>13.37829</c:v>
                </c:pt>
                <c:pt idx="6433">
                  <c:v>13.4461651</c:v>
                </c:pt>
                <c:pt idx="6434">
                  <c:v>13.5585518</c:v>
                </c:pt>
                <c:pt idx="6435">
                  <c:v>13.482366600000001</c:v>
                </c:pt>
                <c:pt idx="6436">
                  <c:v>13.2426672</c:v>
                </c:pt>
                <c:pt idx="6437">
                  <c:v>13.1720095</c:v>
                </c:pt>
                <c:pt idx="6438">
                  <c:v>13.1842766</c:v>
                </c:pt>
                <c:pt idx="6439">
                  <c:v>13.035276400000001</c:v>
                </c:pt>
                <c:pt idx="6440">
                  <c:v>12.9396133</c:v>
                </c:pt>
                <c:pt idx="6441">
                  <c:v>12.859394099999999</c:v>
                </c:pt>
                <c:pt idx="6442">
                  <c:v>12.8763285</c:v>
                </c:pt>
                <c:pt idx="6443">
                  <c:v>13.071696299999999</c:v>
                </c:pt>
                <c:pt idx="6444">
                  <c:v>12.9668884</c:v>
                </c:pt>
                <c:pt idx="6445">
                  <c:v>12.913614300000001</c:v>
                </c:pt>
                <c:pt idx="6446">
                  <c:v>13.152224500000001</c:v>
                </c:pt>
                <c:pt idx="6447">
                  <c:v>13.352275799999999</c:v>
                </c:pt>
                <c:pt idx="6448">
                  <c:v>13.4805508</c:v>
                </c:pt>
                <c:pt idx="6449">
                  <c:v>13.576072699999999</c:v>
                </c:pt>
                <c:pt idx="6450">
                  <c:v>13.609056499999999</c:v>
                </c:pt>
                <c:pt idx="6451">
                  <c:v>13.8716431</c:v>
                </c:pt>
                <c:pt idx="6452">
                  <c:v>13.9795532</c:v>
                </c:pt>
                <c:pt idx="6453">
                  <c:v>14.159890000000001</c:v>
                </c:pt>
                <c:pt idx="6454">
                  <c:v>14.226092299999999</c:v>
                </c:pt>
                <c:pt idx="6455">
                  <c:v>14.387496000000001</c:v>
                </c:pt>
                <c:pt idx="6456">
                  <c:v>14.646143</c:v>
                </c:pt>
                <c:pt idx="6457">
                  <c:v>14.569304499999999</c:v>
                </c:pt>
                <c:pt idx="6458">
                  <c:v>14.714103700000001</c:v>
                </c:pt>
                <c:pt idx="6459">
                  <c:v>14.9701223</c:v>
                </c:pt>
                <c:pt idx="6460">
                  <c:v>15.013287500000001</c:v>
                </c:pt>
                <c:pt idx="6461">
                  <c:v>14.8791885</c:v>
                </c:pt>
                <c:pt idx="6462">
                  <c:v>14.904916800000001</c:v>
                </c:pt>
                <c:pt idx="6463">
                  <c:v>14.8677692</c:v>
                </c:pt>
                <c:pt idx="6464">
                  <c:v>14.793520900000001</c:v>
                </c:pt>
                <c:pt idx="6465">
                  <c:v>14.756554599999999</c:v>
                </c:pt>
                <c:pt idx="6466">
                  <c:v>14.6776743</c:v>
                </c:pt>
                <c:pt idx="6467">
                  <c:v>14.560745199999999</c:v>
                </c:pt>
                <c:pt idx="6468">
                  <c:v>14.552433000000001</c:v>
                </c:pt>
                <c:pt idx="6469">
                  <c:v>14.5261192</c:v>
                </c:pt>
                <c:pt idx="6470">
                  <c:v>14.286208200000001</c:v>
                </c:pt>
                <c:pt idx="6471">
                  <c:v>13.9203472</c:v>
                </c:pt>
                <c:pt idx="6472">
                  <c:v>13.881885499999999</c:v>
                </c:pt>
                <c:pt idx="6473">
                  <c:v>13.796438200000001</c:v>
                </c:pt>
                <c:pt idx="6474">
                  <c:v>13.4435368</c:v>
                </c:pt>
                <c:pt idx="6475">
                  <c:v>13.2617846</c:v>
                </c:pt>
                <c:pt idx="6476">
                  <c:v>13.022652600000001</c:v>
                </c:pt>
                <c:pt idx="6477">
                  <c:v>12.749445</c:v>
                </c:pt>
                <c:pt idx="6478">
                  <c:v>12.584777799999999</c:v>
                </c:pt>
                <c:pt idx="6479">
                  <c:v>12.4062643</c:v>
                </c:pt>
                <c:pt idx="6480">
                  <c:v>12.360578500000001</c:v>
                </c:pt>
                <c:pt idx="6481">
                  <c:v>12.1790237</c:v>
                </c:pt>
                <c:pt idx="6482">
                  <c:v>11.8952045</c:v>
                </c:pt>
                <c:pt idx="6483">
                  <c:v>11.732065199999999</c:v>
                </c:pt>
                <c:pt idx="6484">
                  <c:v>11.493288</c:v>
                </c:pt>
                <c:pt idx="6485">
                  <c:v>11.278862999999999</c:v>
                </c:pt>
                <c:pt idx="6486">
                  <c:v>11.2792625</c:v>
                </c:pt>
                <c:pt idx="6487">
                  <c:v>11.260024100000001</c:v>
                </c:pt>
                <c:pt idx="6488">
                  <c:v>11.039289500000001</c:v>
                </c:pt>
                <c:pt idx="6489">
                  <c:v>10.9149618</c:v>
                </c:pt>
                <c:pt idx="6490">
                  <c:v>10.861179399999999</c:v>
                </c:pt>
                <c:pt idx="6491">
                  <c:v>10.561384199999999</c:v>
                </c:pt>
                <c:pt idx="6492">
                  <c:v>10.1248512</c:v>
                </c:pt>
                <c:pt idx="6493">
                  <c:v>10.077207599999999</c:v>
                </c:pt>
                <c:pt idx="6494">
                  <c:v>10.0900965</c:v>
                </c:pt>
                <c:pt idx="6495">
                  <c:v>10.0206356</c:v>
                </c:pt>
                <c:pt idx="6496">
                  <c:v>9.8369890000000009</c:v>
                </c:pt>
                <c:pt idx="6497">
                  <c:v>9.7388110000000001</c:v>
                </c:pt>
                <c:pt idx="6498">
                  <c:v>9.5535890000000006</c:v>
                </c:pt>
                <c:pt idx="6499">
                  <c:v>9.2554440000000007</c:v>
                </c:pt>
                <c:pt idx="6500">
                  <c:v>9.0098160000000007</c:v>
                </c:pt>
                <c:pt idx="6501">
                  <c:v>8.7945019999999996</c:v>
                </c:pt>
                <c:pt idx="6502">
                  <c:v>8.6485900000000004</c:v>
                </c:pt>
                <c:pt idx="6503">
                  <c:v>8.5499550000000006</c:v>
                </c:pt>
                <c:pt idx="6504">
                  <c:v>8.401707</c:v>
                </c:pt>
                <c:pt idx="6505">
                  <c:v>7.8939009999999996</c:v>
                </c:pt>
                <c:pt idx="6506">
                  <c:v>7.6872910000000001</c:v>
                </c:pt>
                <c:pt idx="6507">
                  <c:v>7.608123</c:v>
                </c:pt>
                <c:pt idx="6508">
                  <c:v>7.2639089999999999</c:v>
                </c:pt>
                <c:pt idx="6509">
                  <c:v>6.9803009999999999</c:v>
                </c:pt>
                <c:pt idx="6510">
                  <c:v>6.9236110000000002</c:v>
                </c:pt>
                <c:pt idx="6511">
                  <c:v>6.8553420000000003</c:v>
                </c:pt>
                <c:pt idx="6512">
                  <c:v>6.378018</c:v>
                </c:pt>
                <c:pt idx="6513">
                  <c:v>5.9531850000000004</c:v>
                </c:pt>
                <c:pt idx="6514">
                  <c:v>5.8802009999999996</c:v>
                </c:pt>
                <c:pt idx="6515">
                  <c:v>5.6519589999999997</c:v>
                </c:pt>
                <c:pt idx="6516">
                  <c:v>5.2090529999999999</c:v>
                </c:pt>
                <c:pt idx="6517">
                  <c:v>4.9169590000000003</c:v>
                </c:pt>
                <c:pt idx="6518">
                  <c:v>4.5526790000000004</c:v>
                </c:pt>
                <c:pt idx="6519">
                  <c:v>4.2231050000000003</c:v>
                </c:pt>
                <c:pt idx="6520">
                  <c:v>4.1729029999999998</c:v>
                </c:pt>
                <c:pt idx="6521">
                  <c:v>3.9408460000000001</c:v>
                </c:pt>
                <c:pt idx="6522">
                  <c:v>3.5532629999999998</c:v>
                </c:pt>
                <c:pt idx="6523">
                  <c:v>3.4177420000000001</c:v>
                </c:pt>
                <c:pt idx="6524">
                  <c:v>3.2734640000000002</c:v>
                </c:pt>
                <c:pt idx="6525">
                  <c:v>3.0723319999999998</c:v>
                </c:pt>
                <c:pt idx="6526">
                  <c:v>2.8353299999999999</c:v>
                </c:pt>
                <c:pt idx="6527">
                  <c:v>2.5861939999999999</c:v>
                </c:pt>
                <c:pt idx="6528">
                  <c:v>2.3891529999999999</c:v>
                </c:pt>
                <c:pt idx="6529">
                  <c:v>2.2266240000000002</c:v>
                </c:pt>
                <c:pt idx="6530">
                  <c:v>2.2139859999999998</c:v>
                </c:pt>
                <c:pt idx="6531">
                  <c:v>1.9482409999999999</c:v>
                </c:pt>
                <c:pt idx="6532">
                  <c:v>1.6204970000000001</c:v>
                </c:pt>
                <c:pt idx="6533">
                  <c:v>1.450626</c:v>
                </c:pt>
                <c:pt idx="6534">
                  <c:v>1.2259359999999999</c:v>
                </c:pt>
                <c:pt idx="6535">
                  <c:v>1.181068</c:v>
                </c:pt>
                <c:pt idx="6536">
                  <c:v>1.024772</c:v>
                </c:pt>
                <c:pt idx="6537">
                  <c:v>0.89435900000000002</c:v>
                </c:pt>
                <c:pt idx="6538">
                  <c:v>0.90826799999999996</c:v>
                </c:pt>
                <c:pt idx="6539">
                  <c:v>0.52940500000000001</c:v>
                </c:pt>
                <c:pt idx="6540">
                  <c:v>0.27967399999999998</c:v>
                </c:pt>
                <c:pt idx="6541">
                  <c:v>0.28595100000000001</c:v>
                </c:pt>
                <c:pt idx="6542">
                  <c:v>9.4350000000000003E-2</c:v>
                </c:pt>
                <c:pt idx="6543">
                  <c:v>-0.12803700000000001</c:v>
                </c:pt>
                <c:pt idx="6544">
                  <c:v>-0.16859499999999999</c:v>
                </c:pt>
                <c:pt idx="6545">
                  <c:v>-0.31562400000000002</c:v>
                </c:pt>
                <c:pt idx="6546">
                  <c:v>-0.716476</c:v>
                </c:pt>
                <c:pt idx="6547">
                  <c:v>-0.922153</c:v>
                </c:pt>
                <c:pt idx="6548">
                  <c:v>-1.1089070000000001</c:v>
                </c:pt>
                <c:pt idx="6549">
                  <c:v>-1.20679</c:v>
                </c:pt>
                <c:pt idx="6550">
                  <c:v>-1.056216</c:v>
                </c:pt>
                <c:pt idx="6551">
                  <c:v>-1.30281</c:v>
                </c:pt>
                <c:pt idx="6552">
                  <c:v>-1.684564</c:v>
                </c:pt>
                <c:pt idx="6553">
                  <c:v>-1.8853690000000001</c:v>
                </c:pt>
                <c:pt idx="6554">
                  <c:v>-2.2743319999999998</c:v>
                </c:pt>
                <c:pt idx="6555">
                  <c:v>-2.7683450000000001</c:v>
                </c:pt>
                <c:pt idx="6556">
                  <c:v>-3.1337619999999999</c:v>
                </c:pt>
                <c:pt idx="6557">
                  <c:v>-3.3721830000000002</c:v>
                </c:pt>
                <c:pt idx="6558">
                  <c:v>-3.7516639999999999</c:v>
                </c:pt>
                <c:pt idx="6559">
                  <c:v>-4.2725020000000002</c:v>
                </c:pt>
                <c:pt idx="6560">
                  <c:v>-4.7483680000000001</c:v>
                </c:pt>
                <c:pt idx="6561">
                  <c:v>-5.0719640000000004</c:v>
                </c:pt>
                <c:pt idx="6562">
                  <c:v>-5.3890289999999998</c:v>
                </c:pt>
                <c:pt idx="6563">
                  <c:v>-5.7623059999999997</c:v>
                </c:pt>
                <c:pt idx="6564">
                  <c:v>-6.0319799999999999</c:v>
                </c:pt>
                <c:pt idx="6565">
                  <c:v>-6.1025150000000004</c:v>
                </c:pt>
                <c:pt idx="6566">
                  <c:v>-5.9870760000000001</c:v>
                </c:pt>
                <c:pt idx="6567">
                  <c:v>-6.019971</c:v>
                </c:pt>
                <c:pt idx="6568">
                  <c:v>-5.833202</c:v>
                </c:pt>
                <c:pt idx="6569">
                  <c:v>-5.58657</c:v>
                </c:pt>
                <c:pt idx="6570">
                  <c:v>-5.5481220000000002</c:v>
                </c:pt>
                <c:pt idx="6571">
                  <c:v>-5.4751849999999997</c:v>
                </c:pt>
                <c:pt idx="6572">
                  <c:v>-5.5842450000000001</c:v>
                </c:pt>
                <c:pt idx="6573">
                  <c:v>-5.6520000000000001</c:v>
                </c:pt>
                <c:pt idx="6574">
                  <c:v>-5.5709010000000001</c:v>
                </c:pt>
                <c:pt idx="6575">
                  <c:v>-5.6800790000000001</c:v>
                </c:pt>
                <c:pt idx="6576">
                  <c:v>-5.7512270000000001</c:v>
                </c:pt>
                <c:pt idx="6577">
                  <c:v>-5.7440410000000002</c:v>
                </c:pt>
                <c:pt idx="6578">
                  <c:v>-5.6889690000000002</c:v>
                </c:pt>
                <c:pt idx="6579">
                  <c:v>-5.6773769999999999</c:v>
                </c:pt>
                <c:pt idx="6580">
                  <c:v>-5.8178429999999999</c:v>
                </c:pt>
                <c:pt idx="6581">
                  <c:v>-5.8408749999999996</c:v>
                </c:pt>
                <c:pt idx="6582">
                  <c:v>-5.8749929999999999</c:v>
                </c:pt>
                <c:pt idx="6583">
                  <c:v>-5.7729559999999998</c:v>
                </c:pt>
                <c:pt idx="6584">
                  <c:v>-5.7367920000000003</c:v>
                </c:pt>
                <c:pt idx="6585">
                  <c:v>-5.8591319999999998</c:v>
                </c:pt>
                <c:pt idx="6586">
                  <c:v>-6.0778160000000003</c:v>
                </c:pt>
                <c:pt idx="6587">
                  <c:v>-6.0076809999999998</c:v>
                </c:pt>
                <c:pt idx="6588">
                  <c:v>-6.0044180000000003</c:v>
                </c:pt>
                <c:pt idx="6589">
                  <c:v>-6.150544</c:v>
                </c:pt>
                <c:pt idx="6590">
                  <c:v>-5.9818049999999996</c:v>
                </c:pt>
                <c:pt idx="6591">
                  <c:v>-5.9770250000000003</c:v>
                </c:pt>
                <c:pt idx="6592">
                  <c:v>-5.982647</c:v>
                </c:pt>
                <c:pt idx="6593">
                  <c:v>-5.7888700000000002</c:v>
                </c:pt>
                <c:pt idx="6594">
                  <c:v>-5.6883439999999998</c:v>
                </c:pt>
                <c:pt idx="6595">
                  <c:v>-5.8999990000000002</c:v>
                </c:pt>
                <c:pt idx="6596">
                  <c:v>-5.9429369999999997</c:v>
                </c:pt>
                <c:pt idx="6597">
                  <c:v>-5.9124109999999996</c:v>
                </c:pt>
                <c:pt idx="6598">
                  <c:v>-5.9718960000000001</c:v>
                </c:pt>
                <c:pt idx="6599">
                  <c:v>-5.8780460000000003</c:v>
                </c:pt>
                <c:pt idx="6600">
                  <c:v>-5.7676049999999996</c:v>
                </c:pt>
                <c:pt idx="6601">
                  <c:v>-5.7773599999999998</c:v>
                </c:pt>
                <c:pt idx="6602">
                  <c:v>-5.7102130000000004</c:v>
                </c:pt>
                <c:pt idx="6603">
                  <c:v>-5.6054789999999999</c:v>
                </c:pt>
                <c:pt idx="6604">
                  <c:v>-5.6094099999999996</c:v>
                </c:pt>
                <c:pt idx="6605">
                  <c:v>-5.6734369999999998</c:v>
                </c:pt>
                <c:pt idx="6606">
                  <c:v>-5.56602</c:v>
                </c:pt>
                <c:pt idx="6607">
                  <c:v>-5.3021310000000001</c:v>
                </c:pt>
                <c:pt idx="6608">
                  <c:v>-5.2825069999999998</c:v>
                </c:pt>
                <c:pt idx="6609">
                  <c:v>-5.1098420000000004</c:v>
                </c:pt>
                <c:pt idx="6610">
                  <c:v>-4.7922029999999998</c:v>
                </c:pt>
                <c:pt idx="6611">
                  <c:v>-4.5134879999999997</c:v>
                </c:pt>
                <c:pt idx="6612">
                  <c:v>-4.3167499999999999</c:v>
                </c:pt>
                <c:pt idx="6613">
                  <c:v>-4.4290799999999999</c:v>
                </c:pt>
                <c:pt idx="6614">
                  <c:v>-4.4421949999999999</c:v>
                </c:pt>
                <c:pt idx="6615">
                  <c:v>-4.1448739999999997</c:v>
                </c:pt>
                <c:pt idx="6616">
                  <c:v>-3.9516849999999999</c:v>
                </c:pt>
                <c:pt idx="6617">
                  <c:v>-3.9375559999999998</c:v>
                </c:pt>
                <c:pt idx="6618">
                  <c:v>-3.8189570000000002</c:v>
                </c:pt>
                <c:pt idx="6619">
                  <c:v>-3.718499</c:v>
                </c:pt>
                <c:pt idx="6620">
                  <c:v>-3.6943489999999999</c:v>
                </c:pt>
                <c:pt idx="6621">
                  <c:v>-3.6479330000000001</c:v>
                </c:pt>
                <c:pt idx="6622">
                  <c:v>-3.5248270000000002</c:v>
                </c:pt>
                <c:pt idx="6623">
                  <c:v>-3.4309319999999999</c:v>
                </c:pt>
                <c:pt idx="6624">
                  <c:v>-3.3481969999999999</c:v>
                </c:pt>
                <c:pt idx="6625">
                  <c:v>-3.2750339999999998</c:v>
                </c:pt>
                <c:pt idx="6626">
                  <c:v>-3.2740119999999999</c:v>
                </c:pt>
                <c:pt idx="6627">
                  <c:v>-3.109782</c:v>
                </c:pt>
                <c:pt idx="6628">
                  <c:v>-2.859048</c:v>
                </c:pt>
                <c:pt idx="6629">
                  <c:v>-2.8948740000000002</c:v>
                </c:pt>
                <c:pt idx="6630">
                  <c:v>-2.943724</c:v>
                </c:pt>
                <c:pt idx="6631">
                  <c:v>-2.741168</c:v>
                </c:pt>
                <c:pt idx="6632">
                  <c:v>-2.6070669999999998</c:v>
                </c:pt>
                <c:pt idx="6633">
                  <c:v>-2.638992</c:v>
                </c:pt>
                <c:pt idx="6634">
                  <c:v>-2.6261779999999999</c:v>
                </c:pt>
                <c:pt idx="6635">
                  <c:v>-2.321631</c:v>
                </c:pt>
                <c:pt idx="6636">
                  <c:v>-2.1311390000000001</c:v>
                </c:pt>
                <c:pt idx="6637">
                  <c:v>-2.1200369999999999</c:v>
                </c:pt>
                <c:pt idx="6638">
                  <c:v>-2.00685</c:v>
                </c:pt>
                <c:pt idx="6639">
                  <c:v>-1.978402</c:v>
                </c:pt>
                <c:pt idx="6640">
                  <c:v>-1.9276310000000001</c:v>
                </c:pt>
                <c:pt idx="6641">
                  <c:v>-1.8026120000000001</c:v>
                </c:pt>
                <c:pt idx="6642">
                  <c:v>-1.565688</c:v>
                </c:pt>
                <c:pt idx="6643">
                  <c:v>-1.5410539999999999</c:v>
                </c:pt>
                <c:pt idx="6644">
                  <c:v>-1.4821899999999999</c:v>
                </c:pt>
                <c:pt idx="6645">
                  <c:v>-1.214566</c:v>
                </c:pt>
                <c:pt idx="6646">
                  <c:v>-1.09677</c:v>
                </c:pt>
                <c:pt idx="6647">
                  <c:v>-0.91789600000000005</c:v>
                </c:pt>
                <c:pt idx="6648">
                  <c:v>-0.77483400000000002</c:v>
                </c:pt>
                <c:pt idx="6649">
                  <c:v>-0.78442100000000003</c:v>
                </c:pt>
                <c:pt idx="6650">
                  <c:v>-0.53591699999999998</c:v>
                </c:pt>
                <c:pt idx="6651">
                  <c:v>-0.29304000000000002</c:v>
                </c:pt>
                <c:pt idx="6652">
                  <c:v>-0.30996400000000002</c:v>
                </c:pt>
                <c:pt idx="6653">
                  <c:v>-0.19907</c:v>
                </c:pt>
                <c:pt idx="6654">
                  <c:v>-0.16503499999999999</c:v>
                </c:pt>
                <c:pt idx="6655">
                  <c:v>-0.17152600000000001</c:v>
                </c:pt>
                <c:pt idx="6656">
                  <c:v>6.5249000000000001E-2</c:v>
                </c:pt>
                <c:pt idx="6657">
                  <c:v>0.36607699999999999</c:v>
                </c:pt>
                <c:pt idx="6658">
                  <c:v>0.50987400000000005</c:v>
                </c:pt>
                <c:pt idx="6659">
                  <c:v>0.43742500000000001</c:v>
                </c:pt>
                <c:pt idx="6660">
                  <c:v>0.44810299999999997</c:v>
                </c:pt>
                <c:pt idx="6661">
                  <c:v>0.486516</c:v>
                </c:pt>
                <c:pt idx="6662">
                  <c:v>0.61105600000000004</c:v>
                </c:pt>
                <c:pt idx="6663">
                  <c:v>0.705426</c:v>
                </c:pt>
                <c:pt idx="6664">
                  <c:v>0.51804099999999997</c:v>
                </c:pt>
                <c:pt idx="6665">
                  <c:v>0.51022100000000004</c:v>
                </c:pt>
                <c:pt idx="6666">
                  <c:v>0.51522400000000002</c:v>
                </c:pt>
                <c:pt idx="6667">
                  <c:v>0.60108399999999995</c:v>
                </c:pt>
                <c:pt idx="6668">
                  <c:v>0.79408599999999996</c:v>
                </c:pt>
                <c:pt idx="6669">
                  <c:v>0.71390600000000004</c:v>
                </c:pt>
                <c:pt idx="6670">
                  <c:v>0.76362099999999999</c:v>
                </c:pt>
                <c:pt idx="6671">
                  <c:v>0.73289800000000005</c:v>
                </c:pt>
                <c:pt idx="6672">
                  <c:v>0.52899799999999997</c:v>
                </c:pt>
                <c:pt idx="6673">
                  <c:v>0.48863299999999998</c:v>
                </c:pt>
                <c:pt idx="6674">
                  <c:v>0.53051999999999999</c:v>
                </c:pt>
                <c:pt idx="6675">
                  <c:v>0.61753499999999995</c:v>
                </c:pt>
                <c:pt idx="6676">
                  <c:v>0.66755100000000001</c:v>
                </c:pt>
                <c:pt idx="6677">
                  <c:v>0.70236299999999996</c:v>
                </c:pt>
                <c:pt idx="6678">
                  <c:v>0.52305100000000004</c:v>
                </c:pt>
                <c:pt idx="6679">
                  <c:v>0.43281700000000001</c:v>
                </c:pt>
                <c:pt idx="6680">
                  <c:v>0.64902099999999996</c:v>
                </c:pt>
                <c:pt idx="6681">
                  <c:v>0.62683900000000004</c:v>
                </c:pt>
                <c:pt idx="6682">
                  <c:v>0.48832100000000001</c:v>
                </c:pt>
                <c:pt idx="6683">
                  <c:v>0.41146199999999999</c:v>
                </c:pt>
                <c:pt idx="6684">
                  <c:v>0.43360399999999999</c:v>
                </c:pt>
                <c:pt idx="6685">
                  <c:v>0.29699999999999999</c:v>
                </c:pt>
                <c:pt idx="6686">
                  <c:v>0.28903800000000002</c:v>
                </c:pt>
                <c:pt idx="6687">
                  <c:v>0.333868</c:v>
                </c:pt>
                <c:pt idx="6688">
                  <c:v>0.21862999999999999</c:v>
                </c:pt>
                <c:pt idx="6689">
                  <c:v>-6.3894000000000006E-2</c:v>
                </c:pt>
                <c:pt idx="6690">
                  <c:v>-9.2175999999999994E-2</c:v>
                </c:pt>
                <c:pt idx="6691">
                  <c:v>0.13104199999999999</c:v>
                </c:pt>
                <c:pt idx="6692">
                  <c:v>3.6039000000000002E-2</c:v>
                </c:pt>
                <c:pt idx="6693">
                  <c:v>4.7053999999999999E-2</c:v>
                </c:pt>
                <c:pt idx="6694">
                  <c:v>-2.5541000000000001E-2</c:v>
                </c:pt>
                <c:pt idx="6695">
                  <c:v>-0.139294</c:v>
                </c:pt>
                <c:pt idx="6696">
                  <c:v>-0.14662</c:v>
                </c:pt>
                <c:pt idx="6697">
                  <c:v>-0.30344500000000002</c:v>
                </c:pt>
                <c:pt idx="6698">
                  <c:v>-0.40293400000000001</c:v>
                </c:pt>
                <c:pt idx="6699">
                  <c:v>-0.413798</c:v>
                </c:pt>
                <c:pt idx="6700">
                  <c:v>-0.43970599999999999</c:v>
                </c:pt>
                <c:pt idx="6701">
                  <c:v>-0.40451199999999998</c:v>
                </c:pt>
                <c:pt idx="6702">
                  <c:v>-0.39926800000000001</c:v>
                </c:pt>
                <c:pt idx="6703">
                  <c:v>-0.40589900000000001</c:v>
                </c:pt>
                <c:pt idx="6704">
                  <c:v>-0.41694399999999998</c:v>
                </c:pt>
                <c:pt idx="6705">
                  <c:v>-0.429338</c:v>
                </c:pt>
                <c:pt idx="6706">
                  <c:v>-0.37251800000000002</c:v>
                </c:pt>
                <c:pt idx="6707">
                  <c:v>-0.41512900000000003</c:v>
                </c:pt>
                <c:pt idx="6708">
                  <c:v>-0.43668499999999999</c:v>
                </c:pt>
                <c:pt idx="6709">
                  <c:v>-0.45509699999999997</c:v>
                </c:pt>
                <c:pt idx="6710">
                  <c:v>-0.46582600000000002</c:v>
                </c:pt>
                <c:pt idx="6711">
                  <c:v>-0.40967500000000001</c:v>
                </c:pt>
                <c:pt idx="6712">
                  <c:v>-0.51732699999999998</c:v>
                </c:pt>
                <c:pt idx="6713">
                  <c:v>-0.50811899999999999</c:v>
                </c:pt>
                <c:pt idx="6714">
                  <c:v>-0.51199700000000004</c:v>
                </c:pt>
                <c:pt idx="6715">
                  <c:v>-0.65363099999999996</c:v>
                </c:pt>
                <c:pt idx="6716">
                  <c:v>-0.80890700000000004</c:v>
                </c:pt>
                <c:pt idx="6717">
                  <c:v>-0.84025300000000003</c:v>
                </c:pt>
                <c:pt idx="6718">
                  <c:v>-0.81179100000000004</c:v>
                </c:pt>
                <c:pt idx="6719">
                  <c:v>-0.81086100000000005</c:v>
                </c:pt>
                <c:pt idx="6720">
                  <c:v>-0.82384299999999999</c:v>
                </c:pt>
                <c:pt idx="6721">
                  <c:v>-0.90844199999999997</c:v>
                </c:pt>
                <c:pt idx="6722">
                  <c:v>-1.0353559999999999</c:v>
                </c:pt>
                <c:pt idx="6723">
                  <c:v>-1.0504579999999999</c:v>
                </c:pt>
                <c:pt idx="6724">
                  <c:v>-1.0803119999999999</c:v>
                </c:pt>
                <c:pt idx="6725">
                  <c:v>-1.1095790000000001</c:v>
                </c:pt>
                <c:pt idx="6726">
                  <c:v>-1.2132419999999999</c:v>
                </c:pt>
                <c:pt idx="6727">
                  <c:v>-1.281873</c:v>
                </c:pt>
                <c:pt idx="6728">
                  <c:v>-1.1360479999999999</c:v>
                </c:pt>
                <c:pt idx="6729">
                  <c:v>-1.1384399999999999</c:v>
                </c:pt>
                <c:pt idx="6730">
                  <c:v>-1.351218</c:v>
                </c:pt>
                <c:pt idx="6731">
                  <c:v>-1.40703</c:v>
                </c:pt>
                <c:pt idx="6732">
                  <c:v>-1.531067</c:v>
                </c:pt>
                <c:pt idx="6733">
                  <c:v>-1.406382</c:v>
                </c:pt>
                <c:pt idx="6734">
                  <c:v>-1.297825</c:v>
                </c:pt>
                <c:pt idx="6735">
                  <c:v>-1.442186</c:v>
                </c:pt>
                <c:pt idx="6736">
                  <c:v>-1.3934200000000001</c:v>
                </c:pt>
                <c:pt idx="6737">
                  <c:v>-1.511989</c:v>
                </c:pt>
                <c:pt idx="6738">
                  <c:v>-1.653799</c:v>
                </c:pt>
                <c:pt idx="6739">
                  <c:v>-1.678982</c:v>
                </c:pt>
                <c:pt idx="6740">
                  <c:v>-1.6446959999999999</c:v>
                </c:pt>
                <c:pt idx="6741">
                  <c:v>-1.572063</c:v>
                </c:pt>
                <c:pt idx="6742">
                  <c:v>-1.750505</c:v>
                </c:pt>
                <c:pt idx="6743">
                  <c:v>-1.7831669999999999</c:v>
                </c:pt>
                <c:pt idx="6744">
                  <c:v>-1.687041</c:v>
                </c:pt>
                <c:pt idx="6745">
                  <c:v>-1.7098059999999999</c:v>
                </c:pt>
                <c:pt idx="6746">
                  <c:v>-1.7318439999999999</c:v>
                </c:pt>
                <c:pt idx="6747">
                  <c:v>-1.816767</c:v>
                </c:pt>
                <c:pt idx="6748">
                  <c:v>-1.8050630000000001</c:v>
                </c:pt>
                <c:pt idx="6749">
                  <c:v>-1.8090489999999999</c:v>
                </c:pt>
                <c:pt idx="6750">
                  <c:v>-1.750124</c:v>
                </c:pt>
                <c:pt idx="6751">
                  <c:v>-1.862897</c:v>
                </c:pt>
                <c:pt idx="6752">
                  <c:v>-1.856341</c:v>
                </c:pt>
                <c:pt idx="6753">
                  <c:v>-1.5215019999999999</c:v>
                </c:pt>
                <c:pt idx="6754">
                  <c:v>-1.5426679999999999</c:v>
                </c:pt>
                <c:pt idx="6755">
                  <c:v>-1.740445</c:v>
                </c:pt>
                <c:pt idx="6756">
                  <c:v>-1.7076769999999999</c:v>
                </c:pt>
                <c:pt idx="6757">
                  <c:v>-1.6249610000000001</c:v>
                </c:pt>
                <c:pt idx="6758">
                  <c:v>-1.5086869999999999</c:v>
                </c:pt>
                <c:pt idx="6759">
                  <c:v>-1.5076430000000001</c:v>
                </c:pt>
                <c:pt idx="6760">
                  <c:v>-1.3544369999999999</c:v>
                </c:pt>
                <c:pt idx="6761">
                  <c:v>-1.40178</c:v>
                </c:pt>
                <c:pt idx="6762">
                  <c:v>-1.541668</c:v>
                </c:pt>
                <c:pt idx="6763">
                  <c:v>-1.481222</c:v>
                </c:pt>
                <c:pt idx="6764">
                  <c:v>-1.513204</c:v>
                </c:pt>
                <c:pt idx="6765">
                  <c:v>-1.2534099999999999</c:v>
                </c:pt>
                <c:pt idx="6766">
                  <c:v>-1.2452909999999999</c:v>
                </c:pt>
                <c:pt idx="6767">
                  <c:v>-1.2155560000000001</c:v>
                </c:pt>
                <c:pt idx="6768">
                  <c:v>-1.0539270000000001</c:v>
                </c:pt>
                <c:pt idx="6769">
                  <c:v>-1.011118</c:v>
                </c:pt>
                <c:pt idx="6770">
                  <c:v>-0.96870500000000004</c:v>
                </c:pt>
                <c:pt idx="6771">
                  <c:v>-1.1293660000000001</c:v>
                </c:pt>
                <c:pt idx="6772">
                  <c:v>-1.134069</c:v>
                </c:pt>
                <c:pt idx="6773">
                  <c:v>-0.92814700000000006</c:v>
                </c:pt>
                <c:pt idx="6774">
                  <c:v>-0.87607000000000002</c:v>
                </c:pt>
                <c:pt idx="6775">
                  <c:v>-0.82676099999999997</c:v>
                </c:pt>
                <c:pt idx="6776">
                  <c:v>-0.78539700000000001</c:v>
                </c:pt>
                <c:pt idx="6777">
                  <c:v>-0.81141600000000003</c:v>
                </c:pt>
                <c:pt idx="6778">
                  <c:v>-0.67421500000000001</c:v>
                </c:pt>
                <c:pt idx="6779">
                  <c:v>-0.58515499999999998</c:v>
                </c:pt>
                <c:pt idx="6780">
                  <c:v>-0.375471</c:v>
                </c:pt>
                <c:pt idx="6781">
                  <c:v>-0.30758000000000002</c:v>
                </c:pt>
                <c:pt idx="6782">
                  <c:v>-0.37057099999999998</c:v>
                </c:pt>
                <c:pt idx="6783">
                  <c:v>-0.38257200000000002</c:v>
                </c:pt>
                <c:pt idx="6784">
                  <c:v>-0.29856300000000002</c:v>
                </c:pt>
                <c:pt idx="6785">
                  <c:v>-0.24039199999999999</c:v>
                </c:pt>
                <c:pt idx="6786">
                  <c:v>-0.392646</c:v>
                </c:pt>
                <c:pt idx="6787">
                  <c:v>-0.256166</c:v>
                </c:pt>
                <c:pt idx="6788">
                  <c:v>-3.8646E-2</c:v>
                </c:pt>
                <c:pt idx="6789">
                  <c:v>-3.635E-2</c:v>
                </c:pt>
                <c:pt idx="6790">
                  <c:v>-0.14783299999999999</c:v>
                </c:pt>
                <c:pt idx="6791">
                  <c:v>-5.2970999999999997E-2</c:v>
                </c:pt>
                <c:pt idx="6792">
                  <c:v>7.5448000000000001E-2</c:v>
                </c:pt>
                <c:pt idx="6793">
                  <c:v>0.23627000000000001</c:v>
                </c:pt>
                <c:pt idx="6794">
                  <c:v>0.27505600000000002</c:v>
                </c:pt>
                <c:pt idx="6795">
                  <c:v>0.26091399999999998</c:v>
                </c:pt>
                <c:pt idx="6796">
                  <c:v>0.340582</c:v>
                </c:pt>
                <c:pt idx="6797">
                  <c:v>0.26985300000000001</c:v>
                </c:pt>
                <c:pt idx="6798">
                  <c:v>0.179204</c:v>
                </c:pt>
                <c:pt idx="6799">
                  <c:v>0.27820800000000001</c:v>
                </c:pt>
                <c:pt idx="6800">
                  <c:v>0.47340100000000002</c:v>
                </c:pt>
                <c:pt idx="6801">
                  <c:v>0.390685</c:v>
                </c:pt>
                <c:pt idx="6802">
                  <c:v>0.22778000000000001</c:v>
                </c:pt>
                <c:pt idx="6803">
                  <c:v>0.352159</c:v>
                </c:pt>
                <c:pt idx="6804">
                  <c:v>0.488066</c:v>
                </c:pt>
                <c:pt idx="6805">
                  <c:v>0.50887199999999999</c:v>
                </c:pt>
                <c:pt idx="6806">
                  <c:v>0.53453600000000001</c:v>
                </c:pt>
                <c:pt idx="6807">
                  <c:v>0.42630400000000002</c:v>
                </c:pt>
                <c:pt idx="6808">
                  <c:v>0.65505800000000003</c:v>
                </c:pt>
                <c:pt idx="6809">
                  <c:v>0.71473500000000001</c:v>
                </c:pt>
                <c:pt idx="6810">
                  <c:v>0.56958900000000001</c:v>
                </c:pt>
                <c:pt idx="6811">
                  <c:v>0.84526199999999996</c:v>
                </c:pt>
                <c:pt idx="6812">
                  <c:v>0.93940800000000002</c:v>
                </c:pt>
                <c:pt idx="6813">
                  <c:v>0.95288799999999996</c:v>
                </c:pt>
                <c:pt idx="6814">
                  <c:v>1.120906</c:v>
                </c:pt>
                <c:pt idx="6815">
                  <c:v>1.309326</c:v>
                </c:pt>
                <c:pt idx="6816">
                  <c:v>1.3764369999999999</c:v>
                </c:pt>
                <c:pt idx="6817">
                  <c:v>1.523285</c:v>
                </c:pt>
                <c:pt idx="6818">
                  <c:v>1.7755019999999999</c:v>
                </c:pt>
                <c:pt idx="6819">
                  <c:v>1.683241</c:v>
                </c:pt>
                <c:pt idx="6820">
                  <c:v>1.680069</c:v>
                </c:pt>
                <c:pt idx="6821">
                  <c:v>2.0509309999999998</c:v>
                </c:pt>
                <c:pt idx="6822">
                  <c:v>2.1505519999999998</c:v>
                </c:pt>
                <c:pt idx="6823">
                  <c:v>1.913338</c:v>
                </c:pt>
                <c:pt idx="6824">
                  <c:v>1.8885890000000001</c:v>
                </c:pt>
                <c:pt idx="6825">
                  <c:v>2.0288200000000001</c:v>
                </c:pt>
                <c:pt idx="6826">
                  <c:v>1.986456</c:v>
                </c:pt>
                <c:pt idx="6827">
                  <c:v>2.05558</c:v>
                </c:pt>
                <c:pt idx="6828">
                  <c:v>1.967217</c:v>
                </c:pt>
                <c:pt idx="6829">
                  <c:v>1.871513</c:v>
                </c:pt>
                <c:pt idx="6830">
                  <c:v>2.0255200000000002</c:v>
                </c:pt>
                <c:pt idx="6831">
                  <c:v>2.0488930000000001</c:v>
                </c:pt>
                <c:pt idx="6832">
                  <c:v>2.1434169999999999</c:v>
                </c:pt>
                <c:pt idx="6833">
                  <c:v>2.1390020000000001</c:v>
                </c:pt>
                <c:pt idx="6834">
                  <c:v>2.155554</c:v>
                </c:pt>
                <c:pt idx="6835">
                  <c:v>2.3135669999999999</c:v>
                </c:pt>
                <c:pt idx="6836">
                  <c:v>2.3485429999999998</c:v>
                </c:pt>
                <c:pt idx="6837">
                  <c:v>2.2524989999999998</c:v>
                </c:pt>
                <c:pt idx="6838">
                  <c:v>2.2867190000000002</c:v>
                </c:pt>
                <c:pt idx="6839">
                  <c:v>2.3132419999999998</c:v>
                </c:pt>
                <c:pt idx="6840">
                  <c:v>2.2734000000000001</c:v>
                </c:pt>
                <c:pt idx="6841">
                  <c:v>2.328754</c:v>
                </c:pt>
                <c:pt idx="6842">
                  <c:v>2.4371529999999999</c:v>
                </c:pt>
                <c:pt idx="6843">
                  <c:v>2.3697879999999998</c:v>
                </c:pt>
                <c:pt idx="6844">
                  <c:v>2.2121460000000002</c:v>
                </c:pt>
                <c:pt idx="6845">
                  <c:v>2.3350170000000001</c:v>
                </c:pt>
                <c:pt idx="6846">
                  <c:v>2.4006769999999999</c:v>
                </c:pt>
                <c:pt idx="6847">
                  <c:v>2.2407219999999999</c:v>
                </c:pt>
                <c:pt idx="6848">
                  <c:v>2.29765</c:v>
                </c:pt>
                <c:pt idx="6849">
                  <c:v>2.324176</c:v>
                </c:pt>
                <c:pt idx="6850">
                  <c:v>2.2781440000000002</c:v>
                </c:pt>
                <c:pt idx="6851">
                  <c:v>2.25264</c:v>
                </c:pt>
                <c:pt idx="6852">
                  <c:v>2.3116629999999998</c:v>
                </c:pt>
                <c:pt idx="6853">
                  <c:v>2.4104860000000001</c:v>
                </c:pt>
                <c:pt idx="6854">
                  <c:v>2.4065129999999999</c:v>
                </c:pt>
                <c:pt idx="6855">
                  <c:v>2.3437399999999999</c:v>
                </c:pt>
                <c:pt idx="6856">
                  <c:v>2.3190909999999998</c:v>
                </c:pt>
                <c:pt idx="6857">
                  <c:v>2.4435069999999999</c:v>
                </c:pt>
                <c:pt idx="6858">
                  <c:v>2.4485109999999999</c:v>
                </c:pt>
                <c:pt idx="6859">
                  <c:v>2.3244470000000002</c:v>
                </c:pt>
                <c:pt idx="6860">
                  <c:v>2.1932529999999999</c:v>
                </c:pt>
                <c:pt idx="6861">
                  <c:v>2.3935529999999998</c:v>
                </c:pt>
                <c:pt idx="6862">
                  <c:v>2.2876439999999998</c:v>
                </c:pt>
                <c:pt idx="6863">
                  <c:v>1.9669730000000001</c:v>
                </c:pt>
                <c:pt idx="6864">
                  <c:v>2.120698</c:v>
                </c:pt>
                <c:pt idx="6865">
                  <c:v>2.2554989999999999</c:v>
                </c:pt>
                <c:pt idx="6866">
                  <c:v>2.1909239999999999</c:v>
                </c:pt>
                <c:pt idx="6867">
                  <c:v>1.8818680000000001</c:v>
                </c:pt>
                <c:pt idx="6868">
                  <c:v>1.706126</c:v>
                </c:pt>
                <c:pt idx="6869">
                  <c:v>1.7867679999999999</c:v>
                </c:pt>
                <c:pt idx="6870">
                  <c:v>1.737716</c:v>
                </c:pt>
                <c:pt idx="6871">
                  <c:v>1.6949939999999999</c:v>
                </c:pt>
                <c:pt idx="6872">
                  <c:v>1.7917050000000001</c:v>
                </c:pt>
                <c:pt idx="6873">
                  <c:v>1.831847</c:v>
                </c:pt>
                <c:pt idx="6874">
                  <c:v>1.713214</c:v>
                </c:pt>
                <c:pt idx="6875">
                  <c:v>1.7138519999999999</c:v>
                </c:pt>
                <c:pt idx="6876">
                  <c:v>1.7720290000000001</c:v>
                </c:pt>
                <c:pt idx="6877">
                  <c:v>1.8707260000000001</c:v>
                </c:pt>
                <c:pt idx="6878">
                  <c:v>1.7855460000000001</c:v>
                </c:pt>
                <c:pt idx="6879">
                  <c:v>1.7484200000000001</c:v>
                </c:pt>
                <c:pt idx="6880">
                  <c:v>1.6504760000000001</c:v>
                </c:pt>
                <c:pt idx="6881">
                  <c:v>1.668401</c:v>
                </c:pt>
                <c:pt idx="6882">
                  <c:v>1.86897</c:v>
                </c:pt>
                <c:pt idx="6883">
                  <c:v>1.639405</c:v>
                </c:pt>
                <c:pt idx="6884">
                  <c:v>1.4487589999999999</c:v>
                </c:pt>
                <c:pt idx="6885">
                  <c:v>1.3980330000000001</c:v>
                </c:pt>
                <c:pt idx="6886">
                  <c:v>1.281304</c:v>
                </c:pt>
                <c:pt idx="6887">
                  <c:v>1.1975659999999999</c:v>
                </c:pt>
                <c:pt idx="6888">
                  <c:v>1.2645690000000001</c:v>
                </c:pt>
                <c:pt idx="6889">
                  <c:v>1.2799370000000001</c:v>
                </c:pt>
                <c:pt idx="6890">
                  <c:v>1.1388100000000001</c:v>
                </c:pt>
                <c:pt idx="6891">
                  <c:v>1.1181209999999999</c:v>
                </c:pt>
                <c:pt idx="6892">
                  <c:v>1.1556679999999999</c:v>
                </c:pt>
                <c:pt idx="6893">
                  <c:v>0.95696300000000001</c:v>
                </c:pt>
                <c:pt idx="6894">
                  <c:v>0.90474900000000003</c:v>
                </c:pt>
                <c:pt idx="6895">
                  <c:v>1.0574600000000001</c:v>
                </c:pt>
                <c:pt idx="6896">
                  <c:v>0.98880000000000001</c:v>
                </c:pt>
                <c:pt idx="6897">
                  <c:v>0.80809299999999995</c:v>
                </c:pt>
                <c:pt idx="6898">
                  <c:v>0.76335500000000001</c:v>
                </c:pt>
                <c:pt idx="6899">
                  <c:v>0.71707600000000005</c:v>
                </c:pt>
                <c:pt idx="6900">
                  <c:v>0.60474099999999997</c:v>
                </c:pt>
                <c:pt idx="6901">
                  <c:v>0.66075499999999998</c:v>
                </c:pt>
                <c:pt idx="6902">
                  <c:v>0.66926099999999999</c:v>
                </c:pt>
                <c:pt idx="6903">
                  <c:v>0.66444499999999995</c:v>
                </c:pt>
                <c:pt idx="6904">
                  <c:v>0.78709799999999996</c:v>
                </c:pt>
                <c:pt idx="6905">
                  <c:v>0.57317200000000001</c:v>
                </c:pt>
                <c:pt idx="6906">
                  <c:v>0.31761899999999998</c:v>
                </c:pt>
                <c:pt idx="6907">
                  <c:v>0.36033100000000001</c:v>
                </c:pt>
                <c:pt idx="6908">
                  <c:v>0.42605700000000002</c:v>
                </c:pt>
                <c:pt idx="6909">
                  <c:v>0.30703200000000003</c:v>
                </c:pt>
                <c:pt idx="6910">
                  <c:v>0.16075800000000001</c:v>
                </c:pt>
                <c:pt idx="6911">
                  <c:v>0.265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673-4B69-A1EF-99441A5374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771492975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C$2</c15:sqref>
                        </c15:formulaRef>
                      </c:ext>
                    </c:extLst>
                    <c:strCache>
                      <c:ptCount val="1"/>
                      <c:pt idx="0">
                        <c:v>Torque Predicted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>
                      <c:ext uri="{02D57815-91ED-43cb-92C2-25804820EDAC}">
                        <c15:formulaRef>
                          <c15:sqref>Data!$C$3:$C$6914</c15:sqref>
                        </c15:formulaRef>
                      </c:ext>
                    </c:extLst>
                    <c:numCache>
                      <c:formatCode>General</c:formatCode>
                      <c:ptCount val="6912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-7.4714000000000003E-2</c:v>
                      </c:pt>
                      <c:pt idx="232">
                        <c:v>-7.4714000000000003E-2</c:v>
                      </c:pt>
                      <c:pt idx="233">
                        <c:v>-7.4714000000000003E-2</c:v>
                      </c:pt>
                      <c:pt idx="234">
                        <c:v>-7.4714000000000003E-2</c:v>
                      </c:pt>
                      <c:pt idx="235">
                        <c:v>-7.4714000000000003E-2</c:v>
                      </c:pt>
                      <c:pt idx="236">
                        <c:v>-7.4714000000000003E-2</c:v>
                      </c:pt>
                      <c:pt idx="237">
                        <c:v>-0.267515</c:v>
                      </c:pt>
                      <c:pt idx="238">
                        <c:v>-0.267515</c:v>
                      </c:pt>
                      <c:pt idx="239">
                        <c:v>-0.267515</c:v>
                      </c:pt>
                      <c:pt idx="240">
                        <c:v>-0.267515</c:v>
                      </c:pt>
                      <c:pt idx="241">
                        <c:v>-0.267515</c:v>
                      </c:pt>
                      <c:pt idx="242">
                        <c:v>-0.267515</c:v>
                      </c:pt>
                      <c:pt idx="243">
                        <c:v>-0.59949200000000002</c:v>
                      </c:pt>
                      <c:pt idx="244">
                        <c:v>-0.59949200000000002</c:v>
                      </c:pt>
                      <c:pt idx="245">
                        <c:v>-0.59949200000000002</c:v>
                      </c:pt>
                      <c:pt idx="246">
                        <c:v>-0.59949200000000002</c:v>
                      </c:pt>
                      <c:pt idx="247">
                        <c:v>-0.59949200000000002</c:v>
                      </c:pt>
                      <c:pt idx="248">
                        <c:v>-0.87341050000000009</c:v>
                      </c:pt>
                      <c:pt idx="249">
                        <c:v>-1.147329</c:v>
                      </c:pt>
                      <c:pt idx="250">
                        <c:v>-1.147329</c:v>
                      </c:pt>
                      <c:pt idx="251">
                        <c:v>-1.147329</c:v>
                      </c:pt>
                      <c:pt idx="252">
                        <c:v>-1.147329</c:v>
                      </c:pt>
                      <c:pt idx="253">
                        <c:v>-1.147329</c:v>
                      </c:pt>
                      <c:pt idx="254">
                        <c:v>-1.906512</c:v>
                      </c:pt>
                      <c:pt idx="255">
                        <c:v>-1.906512</c:v>
                      </c:pt>
                      <c:pt idx="256">
                        <c:v>-1.906512</c:v>
                      </c:pt>
                      <c:pt idx="257">
                        <c:v>-1.906512</c:v>
                      </c:pt>
                      <c:pt idx="258">
                        <c:v>-1.906512</c:v>
                      </c:pt>
                      <c:pt idx="259">
                        <c:v>-1.906512</c:v>
                      </c:pt>
                      <c:pt idx="260">
                        <c:v>-2.962459</c:v>
                      </c:pt>
                      <c:pt idx="261">
                        <c:v>-2.962459</c:v>
                      </c:pt>
                      <c:pt idx="262">
                        <c:v>-2.962459</c:v>
                      </c:pt>
                      <c:pt idx="263">
                        <c:v>-2.962459</c:v>
                      </c:pt>
                      <c:pt idx="264">
                        <c:v>-2.962459</c:v>
                      </c:pt>
                      <c:pt idx="265">
                        <c:v>-2.962459</c:v>
                      </c:pt>
                      <c:pt idx="266">
                        <c:v>-4.2368949999999996</c:v>
                      </c:pt>
                      <c:pt idx="267">
                        <c:v>-4.2368949999999996</c:v>
                      </c:pt>
                      <c:pt idx="268">
                        <c:v>-4.2368949999999996</c:v>
                      </c:pt>
                      <c:pt idx="269">
                        <c:v>-4.2368949999999996</c:v>
                      </c:pt>
                      <c:pt idx="270">
                        <c:v>-4.2368949999999996</c:v>
                      </c:pt>
                      <c:pt idx="271">
                        <c:v>-4.2368949999999996</c:v>
                      </c:pt>
                      <c:pt idx="272">
                        <c:v>-5.7663950000000002</c:v>
                      </c:pt>
                      <c:pt idx="273">
                        <c:v>-5.7663950000000002</c:v>
                      </c:pt>
                      <c:pt idx="274">
                        <c:v>-5.7663950000000002</c:v>
                      </c:pt>
                      <c:pt idx="275">
                        <c:v>-5.7663950000000002</c:v>
                      </c:pt>
                      <c:pt idx="276">
                        <c:v>-5.7663950000000002</c:v>
                      </c:pt>
                      <c:pt idx="277">
                        <c:v>-6.6663025000000005</c:v>
                      </c:pt>
                      <c:pt idx="278">
                        <c:v>-7.5662099999999999</c:v>
                      </c:pt>
                      <c:pt idx="279">
                        <c:v>-7.5662099999999999</c:v>
                      </c:pt>
                      <c:pt idx="280">
                        <c:v>-7.5662099999999999</c:v>
                      </c:pt>
                      <c:pt idx="281">
                        <c:v>-7.5662099999999999</c:v>
                      </c:pt>
                      <c:pt idx="282">
                        <c:v>-7.5662099999999999</c:v>
                      </c:pt>
                      <c:pt idx="283">
                        <c:v>-9.5333810000000003</c:v>
                      </c:pt>
                      <c:pt idx="284">
                        <c:v>-9.5333810000000003</c:v>
                      </c:pt>
                      <c:pt idx="285">
                        <c:v>-9.5333810000000003</c:v>
                      </c:pt>
                      <c:pt idx="286">
                        <c:v>-9.5333810000000003</c:v>
                      </c:pt>
                      <c:pt idx="287">
                        <c:v>-9.5333810000000003</c:v>
                      </c:pt>
                      <c:pt idx="288">
                        <c:v>-9.5333810000000003</c:v>
                      </c:pt>
                      <c:pt idx="289">
                        <c:v>-11.694032699999999</c:v>
                      </c:pt>
                      <c:pt idx="290">
                        <c:v>-11.694032699999999</c:v>
                      </c:pt>
                      <c:pt idx="291">
                        <c:v>-11.694032699999999</c:v>
                      </c:pt>
                      <c:pt idx="292">
                        <c:v>-11.694032699999999</c:v>
                      </c:pt>
                      <c:pt idx="293">
                        <c:v>-11.694032699999999</c:v>
                      </c:pt>
                      <c:pt idx="294">
                        <c:v>-11.694032699999999</c:v>
                      </c:pt>
                      <c:pt idx="295">
                        <c:v>-13.9447689</c:v>
                      </c:pt>
                      <c:pt idx="296">
                        <c:v>-13.9447689</c:v>
                      </c:pt>
                      <c:pt idx="297">
                        <c:v>-13.9447689</c:v>
                      </c:pt>
                      <c:pt idx="298">
                        <c:v>-13.9447689</c:v>
                      </c:pt>
                      <c:pt idx="299">
                        <c:v>-13.9447689</c:v>
                      </c:pt>
                      <c:pt idx="300">
                        <c:v>-15.087219449999999</c:v>
                      </c:pt>
                      <c:pt idx="301">
                        <c:v>-16.229669999999999</c:v>
                      </c:pt>
                      <c:pt idx="302">
                        <c:v>-16.229669999999999</c:v>
                      </c:pt>
                      <c:pt idx="303">
                        <c:v>-16.229669999999999</c:v>
                      </c:pt>
                      <c:pt idx="304">
                        <c:v>-16.229669999999999</c:v>
                      </c:pt>
                      <c:pt idx="305">
                        <c:v>-16.229669999999999</c:v>
                      </c:pt>
                      <c:pt idx="306">
                        <c:v>-17.32066</c:v>
                      </c:pt>
                      <c:pt idx="307">
                        <c:v>-18.411650000000002</c:v>
                      </c:pt>
                      <c:pt idx="308">
                        <c:v>-18.411650000000002</c:v>
                      </c:pt>
                      <c:pt idx="309">
                        <c:v>-18.411650000000002</c:v>
                      </c:pt>
                      <c:pt idx="310">
                        <c:v>-18.411650000000002</c:v>
                      </c:pt>
                      <c:pt idx="311">
                        <c:v>-18.411650000000002</c:v>
                      </c:pt>
                      <c:pt idx="312">
                        <c:v>-20.4055672</c:v>
                      </c:pt>
                      <c:pt idx="313">
                        <c:v>-20.4055672</c:v>
                      </c:pt>
                      <c:pt idx="314">
                        <c:v>-20.4055672</c:v>
                      </c:pt>
                      <c:pt idx="315">
                        <c:v>-20.4055672</c:v>
                      </c:pt>
                      <c:pt idx="316">
                        <c:v>-20.4055672</c:v>
                      </c:pt>
                      <c:pt idx="317">
                        <c:v>-20.4055672</c:v>
                      </c:pt>
                      <c:pt idx="318">
                        <c:v>-22.055053699999998</c:v>
                      </c:pt>
                      <c:pt idx="319">
                        <c:v>-22.055053699999998</c:v>
                      </c:pt>
                      <c:pt idx="320">
                        <c:v>-22.055053699999998</c:v>
                      </c:pt>
                      <c:pt idx="321">
                        <c:v>-22.055053699999998</c:v>
                      </c:pt>
                      <c:pt idx="322">
                        <c:v>-22.055053699999998</c:v>
                      </c:pt>
                      <c:pt idx="323">
                        <c:v>-22.055053699999998</c:v>
                      </c:pt>
                      <c:pt idx="324">
                        <c:v>-23.382726699999999</c:v>
                      </c:pt>
                      <c:pt idx="325">
                        <c:v>-23.382726699999999</c:v>
                      </c:pt>
                      <c:pt idx="326">
                        <c:v>-23.382726699999999</c:v>
                      </c:pt>
                      <c:pt idx="327">
                        <c:v>-23.382726699999999</c:v>
                      </c:pt>
                      <c:pt idx="328">
                        <c:v>-23.382726699999999</c:v>
                      </c:pt>
                      <c:pt idx="329">
                        <c:v>-23.846142799999999</c:v>
                      </c:pt>
                      <c:pt idx="330">
                        <c:v>-24.309558899999999</c:v>
                      </c:pt>
                      <c:pt idx="331">
                        <c:v>-24.309558899999999</c:v>
                      </c:pt>
                      <c:pt idx="332">
                        <c:v>-24.309558899999999</c:v>
                      </c:pt>
                      <c:pt idx="333">
                        <c:v>-24.309558899999999</c:v>
                      </c:pt>
                      <c:pt idx="334">
                        <c:v>-24.309558899999999</c:v>
                      </c:pt>
                      <c:pt idx="335">
                        <c:v>-24.914888399999999</c:v>
                      </c:pt>
                      <c:pt idx="336">
                        <c:v>-24.914888399999999</c:v>
                      </c:pt>
                      <c:pt idx="337">
                        <c:v>-24.914888399999999</c:v>
                      </c:pt>
                      <c:pt idx="338">
                        <c:v>-24.914888399999999</c:v>
                      </c:pt>
                      <c:pt idx="339">
                        <c:v>-24.914888399999999</c:v>
                      </c:pt>
                      <c:pt idx="340">
                        <c:v>-24.914888399999999</c:v>
                      </c:pt>
                      <c:pt idx="341">
                        <c:v>-25.0817242</c:v>
                      </c:pt>
                      <c:pt idx="342">
                        <c:v>-25.0817242</c:v>
                      </c:pt>
                      <c:pt idx="343">
                        <c:v>-25.0817242</c:v>
                      </c:pt>
                      <c:pt idx="344">
                        <c:v>-25.0817242</c:v>
                      </c:pt>
                      <c:pt idx="345">
                        <c:v>-25.0817242</c:v>
                      </c:pt>
                      <c:pt idx="346">
                        <c:v>-25.0817242</c:v>
                      </c:pt>
                      <c:pt idx="347">
                        <c:v>-24.749683399999999</c:v>
                      </c:pt>
                      <c:pt idx="348">
                        <c:v>-24.749683399999999</c:v>
                      </c:pt>
                      <c:pt idx="349">
                        <c:v>-24.749683399999999</c:v>
                      </c:pt>
                      <c:pt idx="350">
                        <c:v>-24.749683399999999</c:v>
                      </c:pt>
                      <c:pt idx="351">
                        <c:v>-24.749683399999999</c:v>
                      </c:pt>
                      <c:pt idx="352">
                        <c:v>-24.749683399999999</c:v>
                      </c:pt>
                      <c:pt idx="353">
                        <c:v>-24.071561800000001</c:v>
                      </c:pt>
                      <c:pt idx="354">
                        <c:v>-24.071561800000001</c:v>
                      </c:pt>
                      <c:pt idx="355">
                        <c:v>-24.071561800000001</c:v>
                      </c:pt>
                      <c:pt idx="356">
                        <c:v>-24.071561800000001</c:v>
                      </c:pt>
                      <c:pt idx="357">
                        <c:v>-24.071561800000001</c:v>
                      </c:pt>
                      <c:pt idx="358">
                        <c:v>-23.5310974</c:v>
                      </c:pt>
                      <c:pt idx="359">
                        <c:v>-22.990632999999999</c:v>
                      </c:pt>
                      <c:pt idx="360">
                        <c:v>-22.990632999999999</c:v>
                      </c:pt>
                      <c:pt idx="361">
                        <c:v>-22.990632999999999</c:v>
                      </c:pt>
                      <c:pt idx="362">
                        <c:v>-22.990632999999999</c:v>
                      </c:pt>
                      <c:pt idx="363">
                        <c:v>-22.990632999999999</c:v>
                      </c:pt>
                      <c:pt idx="364">
                        <c:v>-21.634422300000001</c:v>
                      </c:pt>
                      <c:pt idx="365">
                        <c:v>-21.634422300000001</c:v>
                      </c:pt>
                      <c:pt idx="366">
                        <c:v>-21.634422300000001</c:v>
                      </c:pt>
                      <c:pt idx="367">
                        <c:v>-21.634422300000001</c:v>
                      </c:pt>
                      <c:pt idx="368">
                        <c:v>-21.634422300000001</c:v>
                      </c:pt>
                      <c:pt idx="369">
                        <c:v>-21.634422300000001</c:v>
                      </c:pt>
                      <c:pt idx="370">
                        <c:v>-19.959728200000001</c:v>
                      </c:pt>
                      <c:pt idx="371">
                        <c:v>-19.959728200000001</c:v>
                      </c:pt>
                      <c:pt idx="372">
                        <c:v>-19.959728200000001</c:v>
                      </c:pt>
                      <c:pt idx="373">
                        <c:v>-19.959728200000001</c:v>
                      </c:pt>
                      <c:pt idx="374">
                        <c:v>-19.959728200000001</c:v>
                      </c:pt>
                      <c:pt idx="375">
                        <c:v>-19.959728200000001</c:v>
                      </c:pt>
                      <c:pt idx="376">
                        <c:v>-18.0875244</c:v>
                      </c:pt>
                      <c:pt idx="377">
                        <c:v>-18.0875244</c:v>
                      </c:pt>
                      <c:pt idx="378">
                        <c:v>-18.0875244</c:v>
                      </c:pt>
                      <c:pt idx="379">
                        <c:v>-18.0875244</c:v>
                      </c:pt>
                      <c:pt idx="380">
                        <c:v>-18.0875244</c:v>
                      </c:pt>
                      <c:pt idx="381">
                        <c:v>-17.102397199999999</c:v>
                      </c:pt>
                      <c:pt idx="382">
                        <c:v>-16.117270000000001</c:v>
                      </c:pt>
                      <c:pt idx="383">
                        <c:v>-16.117270000000001</c:v>
                      </c:pt>
                      <c:pt idx="384">
                        <c:v>-16.117270000000001</c:v>
                      </c:pt>
                      <c:pt idx="385">
                        <c:v>-16.117270000000001</c:v>
                      </c:pt>
                      <c:pt idx="386">
                        <c:v>-16.117270000000001</c:v>
                      </c:pt>
                      <c:pt idx="387">
                        <c:v>-15.164710750000001</c:v>
                      </c:pt>
                      <c:pt idx="388">
                        <c:v>-14.212151499999999</c:v>
                      </c:pt>
                      <c:pt idx="389">
                        <c:v>-14.212151499999999</c:v>
                      </c:pt>
                      <c:pt idx="390">
                        <c:v>-14.212151499999999</c:v>
                      </c:pt>
                      <c:pt idx="391">
                        <c:v>-14.212151499999999</c:v>
                      </c:pt>
                      <c:pt idx="392">
                        <c:v>-14.212151499999999</c:v>
                      </c:pt>
                      <c:pt idx="393">
                        <c:v>-12.3218575</c:v>
                      </c:pt>
                      <c:pt idx="394">
                        <c:v>-12.3218575</c:v>
                      </c:pt>
                      <c:pt idx="395">
                        <c:v>-12.3218575</c:v>
                      </c:pt>
                      <c:pt idx="396">
                        <c:v>-12.3218575</c:v>
                      </c:pt>
                      <c:pt idx="397">
                        <c:v>-12.3218575</c:v>
                      </c:pt>
                      <c:pt idx="398">
                        <c:v>-12.3218575</c:v>
                      </c:pt>
                      <c:pt idx="399">
                        <c:v>-10.446932800000001</c:v>
                      </c:pt>
                      <c:pt idx="400">
                        <c:v>-10.446932800000001</c:v>
                      </c:pt>
                      <c:pt idx="401">
                        <c:v>-10.446932800000001</c:v>
                      </c:pt>
                      <c:pt idx="402">
                        <c:v>-10.446932800000001</c:v>
                      </c:pt>
                      <c:pt idx="403">
                        <c:v>-10.446932800000001</c:v>
                      </c:pt>
                      <c:pt idx="404">
                        <c:v>-10.446932800000001</c:v>
                      </c:pt>
                      <c:pt idx="405">
                        <c:v>-8.5780049999999992</c:v>
                      </c:pt>
                      <c:pt idx="406">
                        <c:v>-8.5780049999999992</c:v>
                      </c:pt>
                      <c:pt idx="407">
                        <c:v>-8.5780049999999992</c:v>
                      </c:pt>
                      <c:pt idx="408">
                        <c:v>-8.5780049999999992</c:v>
                      </c:pt>
                      <c:pt idx="409">
                        <c:v>-8.5780049999999992</c:v>
                      </c:pt>
                      <c:pt idx="410">
                        <c:v>-7.7271304999999995</c:v>
                      </c:pt>
                      <c:pt idx="411">
                        <c:v>-6.8762559999999997</c:v>
                      </c:pt>
                      <c:pt idx="412">
                        <c:v>-6.8762559999999997</c:v>
                      </c:pt>
                      <c:pt idx="413">
                        <c:v>-6.8762559999999997</c:v>
                      </c:pt>
                      <c:pt idx="414">
                        <c:v>-6.8762559999999997</c:v>
                      </c:pt>
                      <c:pt idx="415">
                        <c:v>-6.8762559999999997</c:v>
                      </c:pt>
                      <c:pt idx="416">
                        <c:v>-6.1444144999999999</c:v>
                      </c:pt>
                      <c:pt idx="417">
                        <c:v>-5.4125730000000001</c:v>
                      </c:pt>
                      <c:pt idx="418">
                        <c:v>-5.4125730000000001</c:v>
                      </c:pt>
                      <c:pt idx="419">
                        <c:v>-5.4125730000000001</c:v>
                      </c:pt>
                      <c:pt idx="420">
                        <c:v>-5.4125730000000001</c:v>
                      </c:pt>
                      <c:pt idx="421">
                        <c:v>-5.4125730000000001</c:v>
                      </c:pt>
                      <c:pt idx="422">
                        <c:v>-4.1199459999999997</c:v>
                      </c:pt>
                      <c:pt idx="423">
                        <c:v>-4.1199459999999997</c:v>
                      </c:pt>
                      <c:pt idx="424">
                        <c:v>-4.1199459999999997</c:v>
                      </c:pt>
                      <c:pt idx="425">
                        <c:v>-4.1199459999999997</c:v>
                      </c:pt>
                      <c:pt idx="426">
                        <c:v>-4.1199459999999997</c:v>
                      </c:pt>
                      <c:pt idx="427">
                        <c:v>-4.1199459999999997</c:v>
                      </c:pt>
                      <c:pt idx="428">
                        <c:v>-3.0431110000000001</c:v>
                      </c:pt>
                      <c:pt idx="429">
                        <c:v>-3.0431110000000001</c:v>
                      </c:pt>
                      <c:pt idx="430">
                        <c:v>-3.0431110000000001</c:v>
                      </c:pt>
                      <c:pt idx="431">
                        <c:v>-3.0431110000000001</c:v>
                      </c:pt>
                      <c:pt idx="432">
                        <c:v>-3.0431110000000001</c:v>
                      </c:pt>
                      <c:pt idx="433">
                        <c:v>-3.0431110000000001</c:v>
                      </c:pt>
                      <c:pt idx="434">
                        <c:v>-2.1456789999999999</c:v>
                      </c:pt>
                      <c:pt idx="435">
                        <c:v>-2.1456789999999999</c:v>
                      </c:pt>
                      <c:pt idx="436">
                        <c:v>-2.1456789999999999</c:v>
                      </c:pt>
                      <c:pt idx="437">
                        <c:v>-2.1456789999999999</c:v>
                      </c:pt>
                      <c:pt idx="438">
                        <c:v>-2.1456789999999999</c:v>
                      </c:pt>
                      <c:pt idx="439">
                        <c:v>-1.8040430000000001</c:v>
                      </c:pt>
                      <c:pt idx="440">
                        <c:v>-1.462407</c:v>
                      </c:pt>
                      <c:pt idx="441">
                        <c:v>-1.462407</c:v>
                      </c:pt>
                      <c:pt idx="442">
                        <c:v>-1.462407</c:v>
                      </c:pt>
                      <c:pt idx="443">
                        <c:v>-1.462407</c:v>
                      </c:pt>
                      <c:pt idx="444">
                        <c:v>-1.462407</c:v>
                      </c:pt>
                      <c:pt idx="445">
                        <c:v>-0.95764199999999999</c:v>
                      </c:pt>
                      <c:pt idx="446">
                        <c:v>-0.95764199999999999</c:v>
                      </c:pt>
                      <c:pt idx="447">
                        <c:v>-0.95764199999999999</c:v>
                      </c:pt>
                      <c:pt idx="448">
                        <c:v>-0.95764199999999999</c:v>
                      </c:pt>
                      <c:pt idx="449">
                        <c:v>-0.95764199999999999</c:v>
                      </c:pt>
                      <c:pt idx="450">
                        <c:v>-0.95764199999999999</c:v>
                      </c:pt>
                      <c:pt idx="451">
                        <c:v>-0.60339600000000004</c:v>
                      </c:pt>
                      <c:pt idx="452">
                        <c:v>-0.60339600000000004</c:v>
                      </c:pt>
                      <c:pt idx="453">
                        <c:v>-0.60339600000000004</c:v>
                      </c:pt>
                      <c:pt idx="454">
                        <c:v>-0.60339600000000004</c:v>
                      </c:pt>
                      <c:pt idx="455">
                        <c:v>-0.60339600000000004</c:v>
                      </c:pt>
                      <c:pt idx="456">
                        <c:v>-0.60339600000000004</c:v>
                      </c:pt>
                      <c:pt idx="457">
                        <c:v>-0.30922500000000003</c:v>
                      </c:pt>
                      <c:pt idx="458">
                        <c:v>-0.30922500000000003</c:v>
                      </c:pt>
                      <c:pt idx="459">
                        <c:v>-0.30922500000000003</c:v>
                      </c:pt>
                      <c:pt idx="460">
                        <c:v>-0.30922500000000003</c:v>
                      </c:pt>
                      <c:pt idx="461">
                        <c:v>-0.30922500000000003</c:v>
                      </c:pt>
                      <c:pt idx="462">
                        <c:v>-0.30922500000000003</c:v>
                      </c:pt>
                      <c:pt idx="463">
                        <c:v>-0.113539</c:v>
                      </c:pt>
                      <c:pt idx="464">
                        <c:v>-0.113539</c:v>
                      </c:pt>
                      <c:pt idx="465">
                        <c:v>-0.113539</c:v>
                      </c:pt>
                      <c:pt idx="466">
                        <c:v>-0.113539</c:v>
                      </c:pt>
                      <c:pt idx="467">
                        <c:v>-0.113539</c:v>
                      </c:pt>
                      <c:pt idx="468">
                        <c:v>-5.9025500000000002E-2</c:v>
                      </c:pt>
                      <c:pt idx="469">
                        <c:v>-4.5120000000000004E-3</c:v>
                      </c:pt>
                      <c:pt idx="470">
                        <c:v>-4.5120000000000004E-3</c:v>
                      </c:pt>
                      <c:pt idx="471">
                        <c:v>-4.5120000000000004E-3</c:v>
                      </c:pt>
                      <c:pt idx="472">
                        <c:v>-4.5120000000000004E-3</c:v>
                      </c:pt>
                      <c:pt idx="473">
                        <c:v>-4.5120000000000004E-3</c:v>
                      </c:pt>
                      <c:pt idx="474">
                        <c:v>5.4289999999999998E-3</c:v>
                      </c:pt>
                      <c:pt idx="475">
                        <c:v>5.4289999999999998E-3</c:v>
                      </c:pt>
                      <c:pt idx="476">
                        <c:v>5.4289999999999998E-3</c:v>
                      </c:pt>
                      <c:pt idx="477">
                        <c:v>5.4289999999999998E-3</c:v>
                      </c:pt>
                      <c:pt idx="478">
                        <c:v>5.4289999999999998E-3</c:v>
                      </c:pt>
                      <c:pt idx="479">
                        <c:v>5.4289999999999998E-3</c:v>
                      </c:pt>
                      <c:pt idx="480">
                        <c:v>8.6300000000000005E-4</c:v>
                      </c:pt>
                      <c:pt idx="481">
                        <c:v>8.6300000000000005E-4</c:v>
                      </c:pt>
                      <c:pt idx="482">
                        <c:v>8.6300000000000005E-4</c:v>
                      </c:pt>
                      <c:pt idx="483">
                        <c:v>8.6300000000000005E-4</c:v>
                      </c:pt>
                      <c:pt idx="484">
                        <c:v>8.6300000000000005E-4</c:v>
                      </c:pt>
                      <c:pt idx="485">
                        <c:v>8.6300000000000005E-4</c:v>
                      </c:pt>
                      <c:pt idx="486">
                        <c:v>5.0390000000000001E-3</c:v>
                      </c:pt>
                      <c:pt idx="487">
                        <c:v>5.0390000000000001E-3</c:v>
                      </c:pt>
                      <c:pt idx="488">
                        <c:v>5.0390000000000001E-3</c:v>
                      </c:pt>
                      <c:pt idx="489">
                        <c:v>5.0390000000000001E-3</c:v>
                      </c:pt>
                      <c:pt idx="490">
                        <c:v>5.0390000000000001E-3</c:v>
                      </c:pt>
                      <c:pt idx="491">
                        <c:v>3.0709999999999999E-3</c:v>
                      </c:pt>
                      <c:pt idx="492">
                        <c:v>1.103E-3</c:v>
                      </c:pt>
                      <c:pt idx="493">
                        <c:v>1.103E-3</c:v>
                      </c:pt>
                      <c:pt idx="494">
                        <c:v>1.103E-3</c:v>
                      </c:pt>
                      <c:pt idx="495">
                        <c:v>1.103E-3</c:v>
                      </c:pt>
                      <c:pt idx="496">
                        <c:v>1.103E-3</c:v>
                      </c:pt>
                      <c:pt idx="497">
                        <c:v>2.7409999999999999E-3</c:v>
                      </c:pt>
                      <c:pt idx="498">
                        <c:v>4.3790000000000001E-3</c:v>
                      </c:pt>
                      <c:pt idx="499">
                        <c:v>4.3790000000000001E-3</c:v>
                      </c:pt>
                      <c:pt idx="500">
                        <c:v>4.3790000000000001E-3</c:v>
                      </c:pt>
                      <c:pt idx="501">
                        <c:v>4.3790000000000001E-3</c:v>
                      </c:pt>
                      <c:pt idx="502">
                        <c:v>4.3790000000000001E-3</c:v>
                      </c:pt>
                      <c:pt idx="503">
                        <c:v>1.2019999999999999E-3</c:v>
                      </c:pt>
                      <c:pt idx="504">
                        <c:v>1.2019999999999999E-3</c:v>
                      </c:pt>
                      <c:pt idx="505">
                        <c:v>1.2019999999999999E-3</c:v>
                      </c:pt>
                      <c:pt idx="506">
                        <c:v>1.2019999999999999E-3</c:v>
                      </c:pt>
                      <c:pt idx="507">
                        <c:v>1.2019999999999999E-3</c:v>
                      </c:pt>
                      <c:pt idx="508">
                        <c:v>1.2019999999999999E-3</c:v>
                      </c:pt>
                      <c:pt idx="509">
                        <c:v>4.2069999999999998E-3</c:v>
                      </c:pt>
                      <c:pt idx="510">
                        <c:v>4.2069999999999998E-3</c:v>
                      </c:pt>
                      <c:pt idx="511">
                        <c:v>4.2069999999999998E-3</c:v>
                      </c:pt>
                      <c:pt idx="512">
                        <c:v>4.2069999999999998E-3</c:v>
                      </c:pt>
                      <c:pt idx="513">
                        <c:v>4.2069999999999998E-3</c:v>
                      </c:pt>
                      <c:pt idx="514">
                        <c:v>4.2069999999999998E-3</c:v>
                      </c:pt>
                      <c:pt idx="515">
                        <c:v>1.6280000000000001E-3</c:v>
                      </c:pt>
                      <c:pt idx="516">
                        <c:v>1.6280000000000001E-3</c:v>
                      </c:pt>
                      <c:pt idx="517">
                        <c:v>1.6280000000000001E-3</c:v>
                      </c:pt>
                      <c:pt idx="518">
                        <c:v>1.6280000000000001E-3</c:v>
                      </c:pt>
                      <c:pt idx="519">
                        <c:v>1.6280000000000001E-3</c:v>
                      </c:pt>
                      <c:pt idx="520">
                        <c:v>2.5085000000000003E-3</c:v>
                      </c:pt>
                      <c:pt idx="521">
                        <c:v>3.3890000000000001E-3</c:v>
                      </c:pt>
                      <c:pt idx="522">
                        <c:v>3.3890000000000001E-3</c:v>
                      </c:pt>
                      <c:pt idx="523">
                        <c:v>3.3890000000000001E-3</c:v>
                      </c:pt>
                      <c:pt idx="524">
                        <c:v>3.3890000000000001E-3</c:v>
                      </c:pt>
                      <c:pt idx="525">
                        <c:v>3.3890000000000001E-3</c:v>
                      </c:pt>
                      <c:pt idx="526">
                        <c:v>2.2300000000000002E-3</c:v>
                      </c:pt>
                      <c:pt idx="527">
                        <c:v>2.2300000000000002E-3</c:v>
                      </c:pt>
                      <c:pt idx="528">
                        <c:v>2.2300000000000002E-3</c:v>
                      </c:pt>
                      <c:pt idx="529">
                        <c:v>2.2300000000000002E-3</c:v>
                      </c:pt>
                      <c:pt idx="530">
                        <c:v>2.2300000000000002E-3</c:v>
                      </c:pt>
                      <c:pt idx="531">
                        <c:v>2.2300000000000002E-3</c:v>
                      </c:pt>
                      <c:pt idx="532">
                        <c:v>3.1640000000000001E-3</c:v>
                      </c:pt>
                      <c:pt idx="533">
                        <c:v>3.1640000000000001E-3</c:v>
                      </c:pt>
                      <c:pt idx="534">
                        <c:v>3.1640000000000001E-3</c:v>
                      </c:pt>
                      <c:pt idx="535">
                        <c:v>3.1640000000000001E-3</c:v>
                      </c:pt>
                      <c:pt idx="536">
                        <c:v>3.1640000000000001E-3</c:v>
                      </c:pt>
                      <c:pt idx="537">
                        <c:v>3.1640000000000001E-3</c:v>
                      </c:pt>
                      <c:pt idx="538">
                        <c:v>2.702E-3</c:v>
                      </c:pt>
                      <c:pt idx="539">
                        <c:v>2.702E-3</c:v>
                      </c:pt>
                      <c:pt idx="540">
                        <c:v>2.702E-3</c:v>
                      </c:pt>
                      <c:pt idx="541">
                        <c:v>2.702E-3</c:v>
                      </c:pt>
                      <c:pt idx="542">
                        <c:v>2.702E-3</c:v>
                      </c:pt>
                      <c:pt idx="543">
                        <c:v>2.702E-3</c:v>
                      </c:pt>
                      <c:pt idx="544">
                        <c:v>2.6779999999999998E-3</c:v>
                      </c:pt>
                      <c:pt idx="545">
                        <c:v>2.6779999999999998E-3</c:v>
                      </c:pt>
                      <c:pt idx="546">
                        <c:v>2.6779999999999998E-3</c:v>
                      </c:pt>
                      <c:pt idx="547">
                        <c:v>2.6779999999999998E-3</c:v>
                      </c:pt>
                      <c:pt idx="548">
                        <c:v>2.6779999999999998E-3</c:v>
                      </c:pt>
                      <c:pt idx="549">
                        <c:v>2.666E-3</c:v>
                      </c:pt>
                      <c:pt idx="550">
                        <c:v>2.6540000000000001E-3</c:v>
                      </c:pt>
                      <c:pt idx="551">
                        <c:v>2.6540000000000001E-3</c:v>
                      </c:pt>
                      <c:pt idx="552">
                        <c:v>2.6540000000000001E-3</c:v>
                      </c:pt>
                      <c:pt idx="553">
                        <c:v>2.6540000000000001E-3</c:v>
                      </c:pt>
                      <c:pt idx="554">
                        <c:v>2.6540000000000001E-3</c:v>
                      </c:pt>
                      <c:pt idx="555">
                        <c:v>2.63E-3</c:v>
                      </c:pt>
                      <c:pt idx="556">
                        <c:v>2.63E-3</c:v>
                      </c:pt>
                      <c:pt idx="557">
                        <c:v>2.63E-3</c:v>
                      </c:pt>
                      <c:pt idx="558">
                        <c:v>2.63E-3</c:v>
                      </c:pt>
                      <c:pt idx="559">
                        <c:v>2.63E-3</c:v>
                      </c:pt>
                      <c:pt idx="560">
                        <c:v>2.63E-3</c:v>
                      </c:pt>
                      <c:pt idx="561">
                        <c:v>2.6059999999999998E-3</c:v>
                      </c:pt>
                      <c:pt idx="562">
                        <c:v>2.6059999999999998E-3</c:v>
                      </c:pt>
                      <c:pt idx="563">
                        <c:v>2.6059999999999998E-3</c:v>
                      </c:pt>
                      <c:pt idx="564">
                        <c:v>2.6059999999999998E-3</c:v>
                      </c:pt>
                      <c:pt idx="565">
                        <c:v>2.6059999999999998E-3</c:v>
                      </c:pt>
                      <c:pt idx="566">
                        <c:v>2.6059999999999998E-3</c:v>
                      </c:pt>
                      <c:pt idx="567">
                        <c:v>2.5820000000000001E-3</c:v>
                      </c:pt>
                      <c:pt idx="568">
                        <c:v>2.5820000000000001E-3</c:v>
                      </c:pt>
                      <c:pt idx="569">
                        <c:v>2.5820000000000001E-3</c:v>
                      </c:pt>
                      <c:pt idx="570">
                        <c:v>2.5820000000000001E-3</c:v>
                      </c:pt>
                      <c:pt idx="571">
                        <c:v>2.5820000000000001E-3</c:v>
                      </c:pt>
                      <c:pt idx="572">
                        <c:v>2.5700000000000002E-3</c:v>
                      </c:pt>
                      <c:pt idx="573">
                        <c:v>2.5579999999999999E-3</c:v>
                      </c:pt>
                      <c:pt idx="574">
                        <c:v>2.5579999999999999E-3</c:v>
                      </c:pt>
                      <c:pt idx="575">
                        <c:v>2.5579999999999999E-3</c:v>
                      </c:pt>
                      <c:pt idx="576">
                        <c:v>2.5579999999999999E-3</c:v>
                      </c:pt>
                      <c:pt idx="577">
                        <c:v>2.5579999999999999E-3</c:v>
                      </c:pt>
                      <c:pt idx="578">
                        <c:v>2.5459999999999997E-3</c:v>
                      </c:pt>
                      <c:pt idx="579">
                        <c:v>2.5339999999999998E-3</c:v>
                      </c:pt>
                      <c:pt idx="580">
                        <c:v>2.5339999999999998E-3</c:v>
                      </c:pt>
                      <c:pt idx="581">
                        <c:v>2.5339999999999998E-3</c:v>
                      </c:pt>
                      <c:pt idx="582">
                        <c:v>2.5339999999999998E-3</c:v>
                      </c:pt>
                      <c:pt idx="583">
                        <c:v>2.5339999999999998E-3</c:v>
                      </c:pt>
                      <c:pt idx="584">
                        <c:v>2.5100000000000001E-3</c:v>
                      </c:pt>
                      <c:pt idx="585">
                        <c:v>2.5100000000000001E-3</c:v>
                      </c:pt>
                      <c:pt idx="586">
                        <c:v>2.5100000000000001E-3</c:v>
                      </c:pt>
                      <c:pt idx="587">
                        <c:v>2.5100000000000001E-3</c:v>
                      </c:pt>
                      <c:pt idx="588">
                        <c:v>2.5100000000000001E-3</c:v>
                      </c:pt>
                      <c:pt idx="589">
                        <c:v>2.5100000000000001E-3</c:v>
                      </c:pt>
                      <c:pt idx="590">
                        <c:v>2.4859999999999999E-3</c:v>
                      </c:pt>
                      <c:pt idx="591">
                        <c:v>2.4859999999999999E-3</c:v>
                      </c:pt>
                      <c:pt idx="592">
                        <c:v>2.4859999999999999E-3</c:v>
                      </c:pt>
                      <c:pt idx="593">
                        <c:v>2.4859999999999999E-3</c:v>
                      </c:pt>
                      <c:pt idx="594">
                        <c:v>2.4859999999999999E-3</c:v>
                      </c:pt>
                      <c:pt idx="595">
                        <c:v>2.4859999999999999E-3</c:v>
                      </c:pt>
                      <c:pt idx="596">
                        <c:v>2.4629999999999999E-3</c:v>
                      </c:pt>
                      <c:pt idx="597">
                        <c:v>2.4629999999999999E-3</c:v>
                      </c:pt>
                      <c:pt idx="598">
                        <c:v>2.4629999999999999E-3</c:v>
                      </c:pt>
                      <c:pt idx="599">
                        <c:v>2.4629999999999999E-3</c:v>
                      </c:pt>
                      <c:pt idx="600">
                        <c:v>2.4629999999999999E-3</c:v>
                      </c:pt>
                      <c:pt idx="601">
                        <c:v>2.4510000000000001E-3</c:v>
                      </c:pt>
                      <c:pt idx="602">
                        <c:v>2.4390000000000002E-3</c:v>
                      </c:pt>
                      <c:pt idx="603">
                        <c:v>2.4390000000000002E-3</c:v>
                      </c:pt>
                      <c:pt idx="604">
                        <c:v>2.4390000000000002E-3</c:v>
                      </c:pt>
                      <c:pt idx="605">
                        <c:v>2.4390000000000002E-3</c:v>
                      </c:pt>
                      <c:pt idx="606">
                        <c:v>2.4390000000000002E-3</c:v>
                      </c:pt>
                      <c:pt idx="607">
                        <c:v>2.4270000000000003E-3</c:v>
                      </c:pt>
                      <c:pt idx="608">
                        <c:v>2.415E-3</c:v>
                      </c:pt>
                      <c:pt idx="609">
                        <c:v>2.415E-3</c:v>
                      </c:pt>
                      <c:pt idx="610">
                        <c:v>2.415E-3</c:v>
                      </c:pt>
                      <c:pt idx="611">
                        <c:v>2.415E-3</c:v>
                      </c:pt>
                      <c:pt idx="612">
                        <c:v>2.415E-3</c:v>
                      </c:pt>
                      <c:pt idx="613">
                        <c:v>2.3909999999999999E-3</c:v>
                      </c:pt>
                      <c:pt idx="614">
                        <c:v>2.3909999999999999E-3</c:v>
                      </c:pt>
                      <c:pt idx="615">
                        <c:v>2.3909999999999999E-3</c:v>
                      </c:pt>
                      <c:pt idx="616">
                        <c:v>2.3909999999999999E-3</c:v>
                      </c:pt>
                      <c:pt idx="617">
                        <c:v>2.3909999999999999E-3</c:v>
                      </c:pt>
                      <c:pt idx="618">
                        <c:v>2.3909999999999999E-3</c:v>
                      </c:pt>
                      <c:pt idx="619">
                        <c:v>2.3670000000000002E-3</c:v>
                      </c:pt>
                      <c:pt idx="620">
                        <c:v>2.3670000000000002E-3</c:v>
                      </c:pt>
                      <c:pt idx="621">
                        <c:v>2.3670000000000002E-3</c:v>
                      </c:pt>
                      <c:pt idx="622">
                        <c:v>2.3670000000000002E-3</c:v>
                      </c:pt>
                      <c:pt idx="623">
                        <c:v>2.3670000000000002E-3</c:v>
                      </c:pt>
                      <c:pt idx="624">
                        <c:v>2.3670000000000002E-3</c:v>
                      </c:pt>
                      <c:pt idx="625">
                        <c:v>2.343E-3</c:v>
                      </c:pt>
                      <c:pt idx="626">
                        <c:v>2.343E-3</c:v>
                      </c:pt>
                      <c:pt idx="627">
                        <c:v>2.343E-3</c:v>
                      </c:pt>
                      <c:pt idx="628">
                        <c:v>2.343E-3</c:v>
                      </c:pt>
                      <c:pt idx="629">
                        <c:v>2.343E-3</c:v>
                      </c:pt>
                      <c:pt idx="630">
                        <c:v>2.3309999999999997E-3</c:v>
                      </c:pt>
                      <c:pt idx="631">
                        <c:v>2.3189999999999999E-3</c:v>
                      </c:pt>
                      <c:pt idx="632">
                        <c:v>2.3189999999999999E-3</c:v>
                      </c:pt>
                      <c:pt idx="633">
                        <c:v>2.3189999999999999E-3</c:v>
                      </c:pt>
                      <c:pt idx="634">
                        <c:v>2.3189999999999999E-3</c:v>
                      </c:pt>
                      <c:pt idx="635">
                        <c:v>2.3189999999999999E-3</c:v>
                      </c:pt>
                      <c:pt idx="636">
                        <c:v>2.2950000000000002E-3</c:v>
                      </c:pt>
                      <c:pt idx="637">
                        <c:v>2.2950000000000002E-3</c:v>
                      </c:pt>
                      <c:pt idx="638">
                        <c:v>2.2950000000000002E-3</c:v>
                      </c:pt>
                      <c:pt idx="639">
                        <c:v>2.2950000000000002E-3</c:v>
                      </c:pt>
                      <c:pt idx="640">
                        <c:v>2.2950000000000002E-3</c:v>
                      </c:pt>
                      <c:pt idx="641">
                        <c:v>2.2950000000000002E-3</c:v>
                      </c:pt>
                      <c:pt idx="642">
                        <c:v>2.271E-3</c:v>
                      </c:pt>
                      <c:pt idx="643">
                        <c:v>2.271E-3</c:v>
                      </c:pt>
                      <c:pt idx="644">
                        <c:v>2.271E-3</c:v>
                      </c:pt>
                      <c:pt idx="645">
                        <c:v>2.271E-3</c:v>
                      </c:pt>
                      <c:pt idx="646">
                        <c:v>2.271E-3</c:v>
                      </c:pt>
                      <c:pt idx="647">
                        <c:v>2.271E-3</c:v>
                      </c:pt>
                      <c:pt idx="648">
                        <c:v>2.248E-3</c:v>
                      </c:pt>
                      <c:pt idx="649">
                        <c:v>2.248E-3</c:v>
                      </c:pt>
                      <c:pt idx="650">
                        <c:v>2.248E-3</c:v>
                      </c:pt>
                      <c:pt idx="651">
                        <c:v>2.248E-3</c:v>
                      </c:pt>
                      <c:pt idx="652">
                        <c:v>2.248E-3</c:v>
                      </c:pt>
                      <c:pt idx="653">
                        <c:v>2.248E-3</c:v>
                      </c:pt>
                      <c:pt idx="654">
                        <c:v>2.2239999999999998E-3</c:v>
                      </c:pt>
                      <c:pt idx="655">
                        <c:v>2.2239999999999998E-3</c:v>
                      </c:pt>
                      <c:pt idx="656">
                        <c:v>2.2239999999999998E-3</c:v>
                      </c:pt>
                      <c:pt idx="657">
                        <c:v>2.2239999999999998E-3</c:v>
                      </c:pt>
                      <c:pt idx="658">
                        <c:v>2.2239999999999998E-3</c:v>
                      </c:pt>
                      <c:pt idx="659">
                        <c:v>2.212E-3</c:v>
                      </c:pt>
                      <c:pt idx="660">
                        <c:v>2.2000000000000001E-3</c:v>
                      </c:pt>
                      <c:pt idx="661">
                        <c:v>2.2000000000000001E-3</c:v>
                      </c:pt>
                      <c:pt idx="662">
                        <c:v>2.2000000000000001E-3</c:v>
                      </c:pt>
                      <c:pt idx="663">
                        <c:v>2.2000000000000001E-3</c:v>
                      </c:pt>
                      <c:pt idx="664">
                        <c:v>2.2000000000000001E-3</c:v>
                      </c:pt>
                      <c:pt idx="665">
                        <c:v>2.176E-3</c:v>
                      </c:pt>
                      <c:pt idx="666">
                        <c:v>2.176E-3</c:v>
                      </c:pt>
                      <c:pt idx="667">
                        <c:v>2.176E-3</c:v>
                      </c:pt>
                      <c:pt idx="668">
                        <c:v>2.176E-3</c:v>
                      </c:pt>
                      <c:pt idx="669">
                        <c:v>2.176E-3</c:v>
                      </c:pt>
                      <c:pt idx="670">
                        <c:v>2.176E-3</c:v>
                      </c:pt>
                      <c:pt idx="671">
                        <c:v>2.1519999999999998E-3</c:v>
                      </c:pt>
                      <c:pt idx="672">
                        <c:v>2.1519999999999998E-3</c:v>
                      </c:pt>
                      <c:pt idx="673">
                        <c:v>2.1519999999999998E-3</c:v>
                      </c:pt>
                      <c:pt idx="674">
                        <c:v>2.1519999999999998E-3</c:v>
                      </c:pt>
                      <c:pt idx="675">
                        <c:v>2.1519999999999998E-3</c:v>
                      </c:pt>
                      <c:pt idx="676">
                        <c:v>2.1519999999999998E-3</c:v>
                      </c:pt>
                      <c:pt idx="677">
                        <c:v>2.1280000000000001E-3</c:v>
                      </c:pt>
                      <c:pt idx="678">
                        <c:v>2.1280000000000001E-3</c:v>
                      </c:pt>
                      <c:pt idx="679">
                        <c:v>2.1280000000000001E-3</c:v>
                      </c:pt>
                      <c:pt idx="680">
                        <c:v>2.1280000000000001E-3</c:v>
                      </c:pt>
                      <c:pt idx="681">
                        <c:v>2.1280000000000001E-3</c:v>
                      </c:pt>
                      <c:pt idx="682">
                        <c:v>2.1159999999999998E-3</c:v>
                      </c:pt>
                      <c:pt idx="683">
                        <c:v>2.104E-3</c:v>
                      </c:pt>
                      <c:pt idx="684">
                        <c:v>2.104E-3</c:v>
                      </c:pt>
                      <c:pt idx="685">
                        <c:v>2.104E-3</c:v>
                      </c:pt>
                      <c:pt idx="686">
                        <c:v>2.104E-3</c:v>
                      </c:pt>
                      <c:pt idx="687">
                        <c:v>2.104E-3</c:v>
                      </c:pt>
                      <c:pt idx="688">
                        <c:v>2.0920000000000001E-3</c:v>
                      </c:pt>
                      <c:pt idx="689">
                        <c:v>2.0799999999999998E-3</c:v>
                      </c:pt>
                      <c:pt idx="690">
                        <c:v>2.0799999999999998E-3</c:v>
                      </c:pt>
                      <c:pt idx="691">
                        <c:v>2.0799999999999998E-3</c:v>
                      </c:pt>
                      <c:pt idx="692">
                        <c:v>2.0799999999999998E-3</c:v>
                      </c:pt>
                      <c:pt idx="693">
                        <c:v>2.0799999999999998E-3</c:v>
                      </c:pt>
                      <c:pt idx="694">
                        <c:v>2.0560000000000001E-3</c:v>
                      </c:pt>
                      <c:pt idx="695">
                        <c:v>2.0560000000000001E-3</c:v>
                      </c:pt>
                      <c:pt idx="696">
                        <c:v>2.0560000000000001E-3</c:v>
                      </c:pt>
                      <c:pt idx="697">
                        <c:v>2.0560000000000001E-3</c:v>
                      </c:pt>
                      <c:pt idx="698">
                        <c:v>2.0560000000000001E-3</c:v>
                      </c:pt>
                      <c:pt idx="699">
                        <c:v>2.0560000000000001E-3</c:v>
                      </c:pt>
                      <c:pt idx="700">
                        <c:v>2.0330000000000001E-3</c:v>
                      </c:pt>
                      <c:pt idx="701">
                        <c:v>2.0330000000000001E-3</c:v>
                      </c:pt>
                      <c:pt idx="702">
                        <c:v>2.0330000000000001E-3</c:v>
                      </c:pt>
                      <c:pt idx="703">
                        <c:v>2.0330000000000001E-3</c:v>
                      </c:pt>
                      <c:pt idx="704">
                        <c:v>2.0330000000000001E-3</c:v>
                      </c:pt>
                      <c:pt idx="705">
                        <c:v>2.0330000000000001E-3</c:v>
                      </c:pt>
                      <c:pt idx="706">
                        <c:v>2.0089999999999999E-3</c:v>
                      </c:pt>
                      <c:pt idx="707">
                        <c:v>2.0089999999999999E-3</c:v>
                      </c:pt>
                      <c:pt idx="708">
                        <c:v>2.0089999999999999E-3</c:v>
                      </c:pt>
                      <c:pt idx="709">
                        <c:v>2.0089999999999999E-3</c:v>
                      </c:pt>
                      <c:pt idx="710">
                        <c:v>2.0089999999999999E-3</c:v>
                      </c:pt>
                      <c:pt idx="711">
                        <c:v>1.9969999999999996E-3</c:v>
                      </c:pt>
                      <c:pt idx="712">
                        <c:v>1.9849999999999998E-3</c:v>
                      </c:pt>
                      <c:pt idx="713">
                        <c:v>1.9849999999999998E-3</c:v>
                      </c:pt>
                      <c:pt idx="714">
                        <c:v>1.9849999999999998E-3</c:v>
                      </c:pt>
                      <c:pt idx="715">
                        <c:v>1.9849999999999998E-3</c:v>
                      </c:pt>
                      <c:pt idx="716">
                        <c:v>1.9849999999999998E-3</c:v>
                      </c:pt>
                      <c:pt idx="717">
                        <c:v>1.9610000000000001E-3</c:v>
                      </c:pt>
                      <c:pt idx="718">
                        <c:v>1.9610000000000001E-3</c:v>
                      </c:pt>
                      <c:pt idx="719">
                        <c:v>1.9610000000000001E-3</c:v>
                      </c:pt>
                      <c:pt idx="720">
                        <c:v>1.9610000000000001E-3</c:v>
                      </c:pt>
                      <c:pt idx="721">
                        <c:v>1.9610000000000001E-3</c:v>
                      </c:pt>
                      <c:pt idx="722">
                        <c:v>1.9610000000000001E-3</c:v>
                      </c:pt>
                      <c:pt idx="723">
                        <c:v>1.9369999999999999E-3</c:v>
                      </c:pt>
                      <c:pt idx="724">
                        <c:v>1.9369999999999999E-3</c:v>
                      </c:pt>
                      <c:pt idx="725">
                        <c:v>1.9369999999999999E-3</c:v>
                      </c:pt>
                      <c:pt idx="726">
                        <c:v>1.9369999999999999E-3</c:v>
                      </c:pt>
                      <c:pt idx="727">
                        <c:v>1.9369999999999999E-3</c:v>
                      </c:pt>
                      <c:pt idx="728">
                        <c:v>1.9369999999999999E-3</c:v>
                      </c:pt>
                      <c:pt idx="729">
                        <c:v>1.913E-3</c:v>
                      </c:pt>
                      <c:pt idx="730">
                        <c:v>1.913E-3</c:v>
                      </c:pt>
                      <c:pt idx="731">
                        <c:v>1.913E-3</c:v>
                      </c:pt>
                      <c:pt idx="732">
                        <c:v>1.913E-3</c:v>
                      </c:pt>
                      <c:pt idx="733">
                        <c:v>1.913E-3</c:v>
                      </c:pt>
                      <c:pt idx="734">
                        <c:v>1.913E-3</c:v>
                      </c:pt>
                      <c:pt idx="735">
                        <c:v>1.8890000000000001E-3</c:v>
                      </c:pt>
                      <c:pt idx="736">
                        <c:v>1.8890000000000001E-3</c:v>
                      </c:pt>
                      <c:pt idx="737">
                        <c:v>1.8890000000000001E-3</c:v>
                      </c:pt>
                      <c:pt idx="738">
                        <c:v>1.8890000000000001E-3</c:v>
                      </c:pt>
                      <c:pt idx="739">
                        <c:v>1.8890000000000001E-3</c:v>
                      </c:pt>
                      <c:pt idx="740">
                        <c:v>1.877E-3</c:v>
                      </c:pt>
                      <c:pt idx="741">
                        <c:v>1.8649999999999999E-3</c:v>
                      </c:pt>
                      <c:pt idx="742">
                        <c:v>1.8649999999999999E-3</c:v>
                      </c:pt>
                      <c:pt idx="743">
                        <c:v>1.8649999999999999E-3</c:v>
                      </c:pt>
                      <c:pt idx="744">
                        <c:v>1.8649999999999999E-3</c:v>
                      </c:pt>
                      <c:pt idx="745">
                        <c:v>1.8649999999999999E-3</c:v>
                      </c:pt>
                      <c:pt idx="746">
                        <c:v>1.8420000000000001E-3</c:v>
                      </c:pt>
                      <c:pt idx="747">
                        <c:v>1.8420000000000001E-3</c:v>
                      </c:pt>
                      <c:pt idx="748">
                        <c:v>1.8420000000000001E-3</c:v>
                      </c:pt>
                      <c:pt idx="749">
                        <c:v>1.8420000000000001E-3</c:v>
                      </c:pt>
                      <c:pt idx="750">
                        <c:v>1.8420000000000001E-3</c:v>
                      </c:pt>
                      <c:pt idx="751">
                        <c:v>1.8420000000000001E-3</c:v>
                      </c:pt>
                      <c:pt idx="752">
                        <c:v>1.818E-3</c:v>
                      </c:pt>
                      <c:pt idx="753">
                        <c:v>1.818E-3</c:v>
                      </c:pt>
                      <c:pt idx="754">
                        <c:v>1.818E-3</c:v>
                      </c:pt>
                      <c:pt idx="755">
                        <c:v>1.818E-3</c:v>
                      </c:pt>
                      <c:pt idx="756">
                        <c:v>1.818E-3</c:v>
                      </c:pt>
                      <c:pt idx="757">
                        <c:v>1.818E-3</c:v>
                      </c:pt>
                      <c:pt idx="758">
                        <c:v>1.794E-3</c:v>
                      </c:pt>
                      <c:pt idx="759">
                        <c:v>1.794E-3</c:v>
                      </c:pt>
                      <c:pt idx="760">
                        <c:v>1.794E-3</c:v>
                      </c:pt>
                      <c:pt idx="761">
                        <c:v>1.794E-3</c:v>
                      </c:pt>
                      <c:pt idx="762">
                        <c:v>1.794E-3</c:v>
                      </c:pt>
                      <c:pt idx="763">
                        <c:v>1.7820000000000002E-3</c:v>
                      </c:pt>
                      <c:pt idx="764">
                        <c:v>1.7700000000000001E-3</c:v>
                      </c:pt>
                      <c:pt idx="765">
                        <c:v>1.7700000000000001E-3</c:v>
                      </c:pt>
                      <c:pt idx="766">
                        <c:v>1.7700000000000001E-3</c:v>
                      </c:pt>
                      <c:pt idx="767">
                        <c:v>1.7700000000000001E-3</c:v>
                      </c:pt>
                      <c:pt idx="768">
                        <c:v>1.7700000000000001E-3</c:v>
                      </c:pt>
                      <c:pt idx="769">
                        <c:v>1.758E-3</c:v>
                      </c:pt>
                      <c:pt idx="770">
                        <c:v>1.7459999999999999E-3</c:v>
                      </c:pt>
                      <c:pt idx="771">
                        <c:v>1.7459999999999999E-3</c:v>
                      </c:pt>
                      <c:pt idx="772">
                        <c:v>1.7459999999999999E-3</c:v>
                      </c:pt>
                      <c:pt idx="773">
                        <c:v>1.7459999999999999E-3</c:v>
                      </c:pt>
                      <c:pt idx="774">
                        <c:v>1.7459999999999999E-3</c:v>
                      </c:pt>
                      <c:pt idx="775">
                        <c:v>1.722E-3</c:v>
                      </c:pt>
                      <c:pt idx="776">
                        <c:v>1.722E-3</c:v>
                      </c:pt>
                      <c:pt idx="777">
                        <c:v>1.722E-3</c:v>
                      </c:pt>
                      <c:pt idx="778">
                        <c:v>1.722E-3</c:v>
                      </c:pt>
                      <c:pt idx="779">
                        <c:v>1.722E-3</c:v>
                      </c:pt>
                      <c:pt idx="780">
                        <c:v>1.722E-3</c:v>
                      </c:pt>
                      <c:pt idx="781">
                        <c:v>1.6980000000000001E-3</c:v>
                      </c:pt>
                      <c:pt idx="782">
                        <c:v>1.6980000000000001E-3</c:v>
                      </c:pt>
                      <c:pt idx="783">
                        <c:v>1.6980000000000001E-3</c:v>
                      </c:pt>
                      <c:pt idx="784">
                        <c:v>1.6980000000000001E-3</c:v>
                      </c:pt>
                      <c:pt idx="785">
                        <c:v>1.6980000000000001E-3</c:v>
                      </c:pt>
                      <c:pt idx="786">
                        <c:v>1.6980000000000001E-3</c:v>
                      </c:pt>
                      <c:pt idx="787">
                        <c:v>1.6750000000000001E-3</c:v>
                      </c:pt>
                      <c:pt idx="788">
                        <c:v>1.6750000000000001E-3</c:v>
                      </c:pt>
                      <c:pt idx="789">
                        <c:v>1.6750000000000001E-3</c:v>
                      </c:pt>
                      <c:pt idx="790">
                        <c:v>1.6750000000000001E-3</c:v>
                      </c:pt>
                      <c:pt idx="791">
                        <c:v>1.6750000000000001E-3</c:v>
                      </c:pt>
                      <c:pt idx="792">
                        <c:v>1.663E-3</c:v>
                      </c:pt>
                      <c:pt idx="793">
                        <c:v>1.6509999999999999E-3</c:v>
                      </c:pt>
                      <c:pt idx="794">
                        <c:v>1.6509999999999999E-3</c:v>
                      </c:pt>
                      <c:pt idx="795">
                        <c:v>1.6509999999999999E-3</c:v>
                      </c:pt>
                      <c:pt idx="796">
                        <c:v>1.6509999999999999E-3</c:v>
                      </c:pt>
                      <c:pt idx="797">
                        <c:v>1.6509999999999999E-3</c:v>
                      </c:pt>
                      <c:pt idx="798">
                        <c:v>1.6389999999999998E-3</c:v>
                      </c:pt>
                      <c:pt idx="799">
                        <c:v>1.627E-3</c:v>
                      </c:pt>
                      <c:pt idx="800">
                        <c:v>1.627E-3</c:v>
                      </c:pt>
                      <c:pt idx="801">
                        <c:v>1.627E-3</c:v>
                      </c:pt>
                      <c:pt idx="802">
                        <c:v>1.627E-3</c:v>
                      </c:pt>
                      <c:pt idx="803">
                        <c:v>1.627E-3</c:v>
                      </c:pt>
                      <c:pt idx="804">
                        <c:v>1.603E-3</c:v>
                      </c:pt>
                      <c:pt idx="805">
                        <c:v>1.603E-3</c:v>
                      </c:pt>
                      <c:pt idx="806">
                        <c:v>1.603E-3</c:v>
                      </c:pt>
                      <c:pt idx="807">
                        <c:v>1.603E-3</c:v>
                      </c:pt>
                      <c:pt idx="808">
                        <c:v>1.603E-3</c:v>
                      </c:pt>
                      <c:pt idx="809">
                        <c:v>1.603E-3</c:v>
                      </c:pt>
                      <c:pt idx="810">
                        <c:v>1.5790000000000001E-3</c:v>
                      </c:pt>
                      <c:pt idx="811">
                        <c:v>1.5790000000000001E-3</c:v>
                      </c:pt>
                      <c:pt idx="812">
                        <c:v>1.5790000000000001E-3</c:v>
                      </c:pt>
                      <c:pt idx="813">
                        <c:v>1.5790000000000001E-3</c:v>
                      </c:pt>
                      <c:pt idx="814">
                        <c:v>1.5790000000000001E-3</c:v>
                      </c:pt>
                      <c:pt idx="815">
                        <c:v>1.5790000000000001E-3</c:v>
                      </c:pt>
                      <c:pt idx="816">
                        <c:v>1.555E-3</c:v>
                      </c:pt>
                      <c:pt idx="817">
                        <c:v>1.555E-3</c:v>
                      </c:pt>
                      <c:pt idx="818">
                        <c:v>1.555E-3</c:v>
                      </c:pt>
                      <c:pt idx="819">
                        <c:v>1.555E-3</c:v>
                      </c:pt>
                      <c:pt idx="820">
                        <c:v>1.555E-3</c:v>
                      </c:pt>
                      <c:pt idx="821">
                        <c:v>1.5430000000000001E-3</c:v>
                      </c:pt>
                      <c:pt idx="822">
                        <c:v>1.531E-3</c:v>
                      </c:pt>
                      <c:pt idx="823">
                        <c:v>1.531E-3</c:v>
                      </c:pt>
                      <c:pt idx="824">
                        <c:v>1.531E-3</c:v>
                      </c:pt>
                      <c:pt idx="825">
                        <c:v>1.531E-3</c:v>
                      </c:pt>
                      <c:pt idx="826">
                        <c:v>1.531E-3</c:v>
                      </c:pt>
                      <c:pt idx="827">
                        <c:v>1.5070000000000001E-3</c:v>
                      </c:pt>
                      <c:pt idx="828">
                        <c:v>1.5070000000000001E-3</c:v>
                      </c:pt>
                      <c:pt idx="829">
                        <c:v>1.5070000000000001E-3</c:v>
                      </c:pt>
                      <c:pt idx="830">
                        <c:v>1.5070000000000001E-3</c:v>
                      </c:pt>
                      <c:pt idx="831">
                        <c:v>1.5070000000000001E-3</c:v>
                      </c:pt>
                      <c:pt idx="832">
                        <c:v>1.5070000000000001E-3</c:v>
                      </c:pt>
                      <c:pt idx="833">
                        <c:v>1.4840000000000001E-3</c:v>
                      </c:pt>
                      <c:pt idx="834">
                        <c:v>1.4840000000000001E-3</c:v>
                      </c:pt>
                      <c:pt idx="835">
                        <c:v>1.4840000000000001E-3</c:v>
                      </c:pt>
                      <c:pt idx="836">
                        <c:v>1.4840000000000001E-3</c:v>
                      </c:pt>
                      <c:pt idx="837">
                        <c:v>1.4840000000000001E-3</c:v>
                      </c:pt>
                      <c:pt idx="838">
                        <c:v>1.4840000000000001E-3</c:v>
                      </c:pt>
                      <c:pt idx="839">
                        <c:v>1.4599999999999999E-3</c:v>
                      </c:pt>
                      <c:pt idx="840">
                        <c:v>1.4599999999999999E-3</c:v>
                      </c:pt>
                      <c:pt idx="841">
                        <c:v>1.4599999999999999E-3</c:v>
                      </c:pt>
                      <c:pt idx="842">
                        <c:v>1.4599999999999999E-3</c:v>
                      </c:pt>
                      <c:pt idx="843">
                        <c:v>1.4599999999999999E-3</c:v>
                      </c:pt>
                      <c:pt idx="844">
                        <c:v>1.4599999999999999E-3</c:v>
                      </c:pt>
                      <c:pt idx="845">
                        <c:v>1.436E-3</c:v>
                      </c:pt>
                      <c:pt idx="846">
                        <c:v>1.436E-3</c:v>
                      </c:pt>
                      <c:pt idx="847">
                        <c:v>1.436E-3</c:v>
                      </c:pt>
                      <c:pt idx="848">
                        <c:v>1.436E-3</c:v>
                      </c:pt>
                      <c:pt idx="849">
                        <c:v>1.436E-3</c:v>
                      </c:pt>
                      <c:pt idx="850">
                        <c:v>1.4239999999999999E-3</c:v>
                      </c:pt>
                      <c:pt idx="851">
                        <c:v>1.4120000000000001E-3</c:v>
                      </c:pt>
                      <c:pt idx="852">
                        <c:v>1.4120000000000001E-3</c:v>
                      </c:pt>
                      <c:pt idx="853">
                        <c:v>1.4120000000000001E-3</c:v>
                      </c:pt>
                      <c:pt idx="854">
                        <c:v>1.4120000000000001E-3</c:v>
                      </c:pt>
                      <c:pt idx="855">
                        <c:v>1.4120000000000001E-3</c:v>
                      </c:pt>
                      <c:pt idx="856">
                        <c:v>1.3879999999999999E-3</c:v>
                      </c:pt>
                      <c:pt idx="857">
                        <c:v>1.3879999999999999E-3</c:v>
                      </c:pt>
                      <c:pt idx="858">
                        <c:v>1.3879999999999999E-3</c:v>
                      </c:pt>
                      <c:pt idx="859">
                        <c:v>1.3879999999999999E-3</c:v>
                      </c:pt>
                      <c:pt idx="860">
                        <c:v>1.3879999999999999E-3</c:v>
                      </c:pt>
                      <c:pt idx="861">
                        <c:v>1.3879999999999999E-3</c:v>
                      </c:pt>
                      <c:pt idx="862">
                        <c:v>1.364E-3</c:v>
                      </c:pt>
                      <c:pt idx="863">
                        <c:v>1.364E-3</c:v>
                      </c:pt>
                      <c:pt idx="864">
                        <c:v>1.364E-3</c:v>
                      </c:pt>
                      <c:pt idx="865">
                        <c:v>1.364E-3</c:v>
                      </c:pt>
                      <c:pt idx="866">
                        <c:v>1.364E-3</c:v>
                      </c:pt>
                      <c:pt idx="867">
                        <c:v>1.364E-3</c:v>
                      </c:pt>
                      <c:pt idx="868">
                        <c:v>1.341E-3</c:v>
                      </c:pt>
                      <c:pt idx="869">
                        <c:v>1.341E-3</c:v>
                      </c:pt>
                      <c:pt idx="870">
                        <c:v>1.341E-3</c:v>
                      </c:pt>
                      <c:pt idx="871">
                        <c:v>1.341E-3</c:v>
                      </c:pt>
                      <c:pt idx="872">
                        <c:v>1.341E-3</c:v>
                      </c:pt>
                      <c:pt idx="873">
                        <c:v>1.3289999999999999E-3</c:v>
                      </c:pt>
                      <c:pt idx="874">
                        <c:v>1.317E-3</c:v>
                      </c:pt>
                      <c:pt idx="875">
                        <c:v>1.317E-3</c:v>
                      </c:pt>
                      <c:pt idx="876">
                        <c:v>1.317E-3</c:v>
                      </c:pt>
                      <c:pt idx="877">
                        <c:v>1.317E-3</c:v>
                      </c:pt>
                      <c:pt idx="878">
                        <c:v>1.317E-3</c:v>
                      </c:pt>
                      <c:pt idx="879">
                        <c:v>1.3050000000000002E-3</c:v>
                      </c:pt>
                      <c:pt idx="880">
                        <c:v>1.2930000000000001E-3</c:v>
                      </c:pt>
                      <c:pt idx="881">
                        <c:v>1.2930000000000001E-3</c:v>
                      </c:pt>
                      <c:pt idx="882">
                        <c:v>1.2930000000000001E-3</c:v>
                      </c:pt>
                      <c:pt idx="883">
                        <c:v>1.2930000000000001E-3</c:v>
                      </c:pt>
                      <c:pt idx="884">
                        <c:v>1.2930000000000001E-3</c:v>
                      </c:pt>
                      <c:pt idx="885">
                        <c:v>1.2689999999999999E-3</c:v>
                      </c:pt>
                      <c:pt idx="886">
                        <c:v>1.2689999999999999E-3</c:v>
                      </c:pt>
                      <c:pt idx="887">
                        <c:v>1.2689999999999999E-3</c:v>
                      </c:pt>
                      <c:pt idx="888">
                        <c:v>1.2689999999999999E-3</c:v>
                      </c:pt>
                      <c:pt idx="889">
                        <c:v>1.2689999999999999E-3</c:v>
                      </c:pt>
                      <c:pt idx="890">
                        <c:v>1.2689999999999999E-3</c:v>
                      </c:pt>
                      <c:pt idx="891">
                        <c:v>1.245E-3</c:v>
                      </c:pt>
                      <c:pt idx="892">
                        <c:v>1.245E-3</c:v>
                      </c:pt>
                      <c:pt idx="893">
                        <c:v>1.245E-3</c:v>
                      </c:pt>
                      <c:pt idx="894">
                        <c:v>1.245E-3</c:v>
                      </c:pt>
                      <c:pt idx="895">
                        <c:v>1.245E-3</c:v>
                      </c:pt>
                      <c:pt idx="896">
                        <c:v>1.245E-3</c:v>
                      </c:pt>
                      <c:pt idx="897">
                        <c:v>1.2210000000000001E-3</c:v>
                      </c:pt>
                      <c:pt idx="898">
                        <c:v>1.2210000000000001E-3</c:v>
                      </c:pt>
                      <c:pt idx="899">
                        <c:v>1.2210000000000001E-3</c:v>
                      </c:pt>
                      <c:pt idx="900">
                        <c:v>1.2210000000000001E-3</c:v>
                      </c:pt>
                      <c:pt idx="901">
                        <c:v>1.2210000000000001E-3</c:v>
                      </c:pt>
                      <c:pt idx="902">
                        <c:v>1.209E-3</c:v>
                      </c:pt>
                      <c:pt idx="903">
                        <c:v>1.1969999999999999E-3</c:v>
                      </c:pt>
                      <c:pt idx="904">
                        <c:v>1.1969999999999999E-3</c:v>
                      </c:pt>
                      <c:pt idx="905">
                        <c:v>1.1969999999999999E-3</c:v>
                      </c:pt>
                      <c:pt idx="906">
                        <c:v>1.1969999999999999E-3</c:v>
                      </c:pt>
                      <c:pt idx="907">
                        <c:v>1.1969999999999999E-3</c:v>
                      </c:pt>
                      <c:pt idx="908">
                        <c:v>1.1739999999999999E-3</c:v>
                      </c:pt>
                      <c:pt idx="909">
                        <c:v>1.1739999999999999E-3</c:v>
                      </c:pt>
                      <c:pt idx="910">
                        <c:v>1.1739999999999999E-3</c:v>
                      </c:pt>
                      <c:pt idx="911">
                        <c:v>1.1739999999999999E-3</c:v>
                      </c:pt>
                      <c:pt idx="912">
                        <c:v>1.1739999999999999E-3</c:v>
                      </c:pt>
                      <c:pt idx="913">
                        <c:v>1.1739999999999999E-3</c:v>
                      </c:pt>
                      <c:pt idx="914">
                        <c:v>1.15E-3</c:v>
                      </c:pt>
                      <c:pt idx="915">
                        <c:v>1.15E-3</c:v>
                      </c:pt>
                      <c:pt idx="916">
                        <c:v>1.15E-3</c:v>
                      </c:pt>
                      <c:pt idx="917">
                        <c:v>1.15E-3</c:v>
                      </c:pt>
                      <c:pt idx="918">
                        <c:v>1.15E-3</c:v>
                      </c:pt>
                      <c:pt idx="919">
                        <c:v>1.15E-3</c:v>
                      </c:pt>
                      <c:pt idx="920">
                        <c:v>1.126E-3</c:v>
                      </c:pt>
                      <c:pt idx="921">
                        <c:v>1.126E-3</c:v>
                      </c:pt>
                      <c:pt idx="922">
                        <c:v>1.126E-3</c:v>
                      </c:pt>
                      <c:pt idx="923">
                        <c:v>1.126E-3</c:v>
                      </c:pt>
                      <c:pt idx="924">
                        <c:v>1.126E-3</c:v>
                      </c:pt>
                      <c:pt idx="925">
                        <c:v>1.126E-3</c:v>
                      </c:pt>
                      <c:pt idx="926">
                        <c:v>1.1019999999999999E-3</c:v>
                      </c:pt>
                      <c:pt idx="927">
                        <c:v>1.1019999999999999E-3</c:v>
                      </c:pt>
                      <c:pt idx="928">
                        <c:v>1.1019999999999999E-3</c:v>
                      </c:pt>
                      <c:pt idx="929">
                        <c:v>1.1019999999999999E-3</c:v>
                      </c:pt>
                      <c:pt idx="930">
                        <c:v>1.1019999999999999E-3</c:v>
                      </c:pt>
                      <c:pt idx="931">
                        <c:v>1.0899999999999998E-3</c:v>
                      </c:pt>
                      <c:pt idx="932">
                        <c:v>1.078E-3</c:v>
                      </c:pt>
                      <c:pt idx="933">
                        <c:v>1.078E-3</c:v>
                      </c:pt>
                      <c:pt idx="934">
                        <c:v>1.078E-3</c:v>
                      </c:pt>
                      <c:pt idx="935">
                        <c:v>1.078E-3</c:v>
                      </c:pt>
                      <c:pt idx="936">
                        <c:v>1.078E-3</c:v>
                      </c:pt>
                      <c:pt idx="937">
                        <c:v>1.054E-3</c:v>
                      </c:pt>
                      <c:pt idx="938">
                        <c:v>1.054E-3</c:v>
                      </c:pt>
                      <c:pt idx="939">
                        <c:v>1.054E-3</c:v>
                      </c:pt>
                      <c:pt idx="940">
                        <c:v>1.054E-3</c:v>
                      </c:pt>
                      <c:pt idx="941">
                        <c:v>1.054E-3</c:v>
                      </c:pt>
                      <c:pt idx="942">
                        <c:v>1.054E-3</c:v>
                      </c:pt>
                      <c:pt idx="943">
                        <c:v>1.0300000000000001E-3</c:v>
                      </c:pt>
                      <c:pt idx="944">
                        <c:v>1.0300000000000001E-3</c:v>
                      </c:pt>
                      <c:pt idx="945">
                        <c:v>1.0300000000000001E-3</c:v>
                      </c:pt>
                      <c:pt idx="946">
                        <c:v>1.0300000000000001E-3</c:v>
                      </c:pt>
                      <c:pt idx="947">
                        <c:v>1.0300000000000001E-3</c:v>
                      </c:pt>
                      <c:pt idx="948">
                        <c:v>1.0300000000000001E-3</c:v>
                      </c:pt>
                      <c:pt idx="949">
                        <c:v>1.0070000000000001E-3</c:v>
                      </c:pt>
                      <c:pt idx="950">
                        <c:v>1.0070000000000001E-3</c:v>
                      </c:pt>
                      <c:pt idx="951">
                        <c:v>1.0070000000000001E-3</c:v>
                      </c:pt>
                      <c:pt idx="952">
                        <c:v>1.0070000000000001E-3</c:v>
                      </c:pt>
                      <c:pt idx="953">
                        <c:v>1.0070000000000001E-3</c:v>
                      </c:pt>
                      <c:pt idx="954">
                        <c:v>9.9500000000000001E-4</c:v>
                      </c:pt>
                      <c:pt idx="955">
                        <c:v>9.8299999999999993E-4</c:v>
                      </c:pt>
                      <c:pt idx="956">
                        <c:v>9.8299999999999993E-4</c:v>
                      </c:pt>
                      <c:pt idx="957">
                        <c:v>9.8299999999999993E-4</c:v>
                      </c:pt>
                      <c:pt idx="958">
                        <c:v>9.8299999999999993E-4</c:v>
                      </c:pt>
                      <c:pt idx="959">
                        <c:v>9.8299999999999993E-4</c:v>
                      </c:pt>
                      <c:pt idx="960">
                        <c:v>9.7099999999999997E-4</c:v>
                      </c:pt>
                      <c:pt idx="961">
                        <c:v>9.59E-4</c:v>
                      </c:pt>
                      <c:pt idx="962">
                        <c:v>9.59E-4</c:v>
                      </c:pt>
                      <c:pt idx="963">
                        <c:v>9.59E-4</c:v>
                      </c:pt>
                      <c:pt idx="964">
                        <c:v>9.59E-4</c:v>
                      </c:pt>
                      <c:pt idx="965">
                        <c:v>9.59E-4</c:v>
                      </c:pt>
                      <c:pt idx="966">
                        <c:v>9.3499999999999996E-4</c:v>
                      </c:pt>
                      <c:pt idx="967">
                        <c:v>9.3499999999999996E-4</c:v>
                      </c:pt>
                      <c:pt idx="968">
                        <c:v>9.3499999999999996E-4</c:v>
                      </c:pt>
                      <c:pt idx="969">
                        <c:v>9.3499999999999996E-4</c:v>
                      </c:pt>
                      <c:pt idx="970">
                        <c:v>9.3499999999999996E-4</c:v>
                      </c:pt>
                      <c:pt idx="971">
                        <c:v>9.3499999999999996E-4</c:v>
                      </c:pt>
                      <c:pt idx="972">
                        <c:v>9.1100000000000003E-4</c:v>
                      </c:pt>
                      <c:pt idx="973">
                        <c:v>9.1100000000000003E-4</c:v>
                      </c:pt>
                      <c:pt idx="974">
                        <c:v>9.1100000000000003E-4</c:v>
                      </c:pt>
                      <c:pt idx="975">
                        <c:v>9.1100000000000003E-4</c:v>
                      </c:pt>
                      <c:pt idx="976">
                        <c:v>9.1100000000000003E-4</c:v>
                      </c:pt>
                      <c:pt idx="977">
                        <c:v>9.1100000000000003E-4</c:v>
                      </c:pt>
                      <c:pt idx="978">
                        <c:v>8.8699999999999998E-4</c:v>
                      </c:pt>
                      <c:pt idx="979">
                        <c:v>8.8699999999999998E-4</c:v>
                      </c:pt>
                      <c:pt idx="980">
                        <c:v>8.8699999999999998E-4</c:v>
                      </c:pt>
                      <c:pt idx="981">
                        <c:v>8.8699999999999998E-4</c:v>
                      </c:pt>
                      <c:pt idx="982">
                        <c:v>8.8699999999999998E-4</c:v>
                      </c:pt>
                      <c:pt idx="983">
                        <c:v>8.7549999999999998E-4</c:v>
                      </c:pt>
                      <c:pt idx="984">
                        <c:v>8.6399999999999997E-4</c:v>
                      </c:pt>
                      <c:pt idx="985">
                        <c:v>8.6399999999999997E-4</c:v>
                      </c:pt>
                      <c:pt idx="986">
                        <c:v>8.6399999999999997E-4</c:v>
                      </c:pt>
                      <c:pt idx="987">
                        <c:v>8.6399999999999997E-4</c:v>
                      </c:pt>
                      <c:pt idx="988">
                        <c:v>8.6399999999999997E-4</c:v>
                      </c:pt>
                      <c:pt idx="989">
                        <c:v>8.52E-4</c:v>
                      </c:pt>
                      <c:pt idx="990">
                        <c:v>8.4000000000000003E-4</c:v>
                      </c:pt>
                      <c:pt idx="991">
                        <c:v>8.4000000000000003E-4</c:v>
                      </c:pt>
                      <c:pt idx="992">
                        <c:v>8.4000000000000003E-4</c:v>
                      </c:pt>
                      <c:pt idx="993">
                        <c:v>8.4000000000000003E-4</c:v>
                      </c:pt>
                      <c:pt idx="994">
                        <c:v>8.4000000000000003E-4</c:v>
                      </c:pt>
                      <c:pt idx="995">
                        <c:v>8.1599999999999999E-4</c:v>
                      </c:pt>
                      <c:pt idx="996">
                        <c:v>8.1599999999999999E-4</c:v>
                      </c:pt>
                      <c:pt idx="997">
                        <c:v>8.1599999999999999E-4</c:v>
                      </c:pt>
                      <c:pt idx="998">
                        <c:v>8.1599999999999999E-4</c:v>
                      </c:pt>
                      <c:pt idx="999">
                        <c:v>8.1599999999999999E-4</c:v>
                      </c:pt>
                      <c:pt idx="1000">
                        <c:v>8.1599999999999999E-4</c:v>
                      </c:pt>
                      <c:pt idx="1001">
                        <c:v>7.9199999999999995E-4</c:v>
                      </c:pt>
                      <c:pt idx="1002">
                        <c:v>7.9199999999999995E-4</c:v>
                      </c:pt>
                      <c:pt idx="1003">
                        <c:v>7.9199999999999995E-4</c:v>
                      </c:pt>
                      <c:pt idx="1004">
                        <c:v>7.9199999999999995E-4</c:v>
                      </c:pt>
                      <c:pt idx="1005">
                        <c:v>7.9199999999999995E-4</c:v>
                      </c:pt>
                      <c:pt idx="1006">
                        <c:v>7.9199999999999995E-4</c:v>
                      </c:pt>
                      <c:pt idx="1007">
                        <c:v>7.6800000000000002E-4</c:v>
                      </c:pt>
                      <c:pt idx="1008">
                        <c:v>7.6800000000000002E-4</c:v>
                      </c:pt>
                      <c:pt idx="1009">
                        <c:v>7.6800000000000002E-4</c:v>
                      </c:pt>
                      <c:pt idx="1010">
                        <c:v>7.6800000000000002E-4</c:v>
                      </c:pt>
                      <c:pt idx="1011">
                        <c:v>7.6800000000000002E-4</c:v>
                      </c:pt>
                      <c:pt idx="1012">
                        <c:v>7.5599999999999994E-4</c:v>
                      </c:pt>
                      <c:pt idx="1013">
                        <c:v>7.4399999999999998E-4</c:v>
                      </c:pt>
                      <c:pt idx="1014">
                        <c:v>7.4399999999999998E-4</c:v>
                      </c:pt>
                      <c:pt idx="1015">
                        <c:v>7.4399999999999998E-4</c:v>
                      </c:pt>
                      <c:pt idx="1016">
                        <c:v>7.4399999999999998E-4</c:v>
                      </c:pt>
                      <c:pt idx="1017">
                        <c:v>7.4399999999999998E-4</c:v>
                      </c:pt>
                      <c:pt idx="1018">
                        <c:v>7.2099999999999996E-4</c:v>
                      </c:pt>
                      <c:pt idx="1019">
                        <c:v>7.2099999999999996E-4</c:v>
                      </c:pt>
                      <c:pt idx="1020">
                        <c:v>7.2099999999999996E-4</c:v>
                      </c:pt>
                      <c:pt idx="1021">
                        <c:v>7.2099999999999996E-4</c:v>
                      </c:pt>
                      <c:pt idx="1022">
                        <c:v>7.2099999999999996E-4</c:v>
                      </c:pt>
                      <c:pt idx="1023">
                        <c:v>7.2099999999999996E-4</c:v>
                      </c:pt>
                      <c:pt idx="1024">
                        <c:v>6.9700000000000003E-4</c:v>
                      </c:pt>
                      <c:pt idx="1025">
                        <c:v>6.9700000000000003E-4</c:v>
                      </c:pt>
                      <c:pt idx="1026">
                        <c:v>6.9700000000000003E-4</c:v>
                      </c:pt>
                      <c:pt idx="1027">
                        <c:v>6.9700000000000003E-4</c:v>
                      </c:pt>
                      <c:pt idx="1028">
                        <c:v>6.9700000000000003E-4</c:v>
                      </c:pt>
                      <c:pt idx="1029">
                        <c:v>6.9700000000000003E-4</c:v>
                      </c:pt>
                      <c:pt idx="1030">
                        <c:v>6.7299999999999999E-4</c:v>
                      </c:pt>
                      <c:pt idx="1031">
                        <c:v>6.7299999999999999E-4</c:v>
                      </c:pt>
                      <c:pt idx="1032">
                        <c:v>6.7299999999999999E-4</c:v>
                      </c:pt>
                      <c:pt idx="1033">
                        <c:v>6.7299999999999999E-4</c:v>
                      </c:pt>
                      <c:pt idx="1034">
                        <c:v>6.7299999999999999E-4</c:v>
                      </c:pt>
                      <c:pt idx="1035">
                        <c:v>6.7299999999999999E-4</c:v>
                      </c:pt>
                      <c:pt idx="1036">
                        <c:v>6.4899999999999995E-4</c:v>
                      </c:pt>
                      <c:pt idx="1037">
                        <c:v>6.4899999999999995E-4</c:v>
                      </c:pt>
                      <c:pt idx="1038">
                        <c:v>6.4899999999999995E-4</c:v>
                      </c:pt>
                      <c:pt idx="1039">
                        <c:v>6.4899999999999995E-4</c:v>
                      </c:pt>
                      <c:pt idx="1040">
                        <c:v>6.4899999999999995E-4</c:v>
                      </c:pt>
                      <c:pt idx="1041">
                        <c:v>6.3699999999999998E-4</c:v>
                      </c:pt>
                      <c:pt idx="1042">
                        <c:v>6.2500000000000001E-4</c:v>
                      </c:pt>
                      <c:pt idx="1043">
                        <c:v>6.2500000000000001E-4</c:v>
                      </c:pt>
                      <c:pt idx="1044">
                        <c:v>6.2500000000000001E-4</c:v>
                      </c:pt>
                      <c:pt idx="1045">
                        <c:v>6.2500000000000001E-4</c:v>
                      </c:pt>
                      <c:pt idx="1046">
                        <c:v>6.2500000000000001E-4</c:v>
                      </c:pt>
                      <c:pt idx="1047">
                        <c:v>6.0099999999999997E-4</c:v>
                      </c:pt>
                      <c:pt idx="1048">
                        <c:v>6.0099999999999997E-4</c:v>
                      </c:pt>
                      <c:pt idx="1049">
                        <c:v>6.0099999999999997E-4</c:v>
                      </c:pt>
                      <c:pt idx="1050">
                        <c:v>6.0099999999999997E-4</c:v>
                      </c:pt>
                      <c:pt idx="1051">
                        <c:v>6.0099999999999997E-4</c:v>
                      </c:pt>
                      <c:pt idx="1052">
                        <c:v>6.0099999999999997E-4</c:v>
                      </c:pt>
                      <c:pt idx="1053">
                        <c:v>5.7799999999999995E-4</c:v>
                      </c:pt>
                      <c:pt idx="1054">
                        <c:v>5.7799999999999995E-4</c:v>
                      </c:pt>
                      <c:pt idx="1055">
                        <c:v>5.7799999999999995E-4</c:v>
                      </c:pt>
                      <c:pt idx="1056">
                        <c:v>5.7799999999999995E-4</c:v>
                      </c:pt>
                      <c:pt idx="1057">
                        <c:v>5.7799999999999995E-4</c:v>
                      </c:pt>
                      <c:pt idx="1058">
                        <c:v>5.7799999999999995E-4</c:v>
                      </c:pt>
                      <c:pt idx="1059">
                        <c:v>5.5400000000000002E-4</c:v>
                      </c:pt>
                      <c:pt idx="1060">
                        <c:v>5.5400000000000002E-4</c:v>
                      </c:pt>
                      <c:pt idx="1061">
                        <c:v>5.5400000000000002E-4</c:v>
                      </c:pt>
                      <c:pt idx="1062">
                        <c:v>5.5400000000000002E-4</c:v>
                      </c:pt>
                      <c:pt idx="1063">
                        <c:v>5.5400000000000002E-4</c:v>
                      </c:pt>
                      <c:pt idx="1064">
                        <c:v>5.4199999999999995E-4</c:v>
                      </c:pt>
                      <c:pt idx="1065">
                        <c:v>5.2999999999999998E-4</c:v>
                      </c:pt>
                      <c:pt idx="1066">
                        <c:v>5.2999999999999998E-4</c:v>
                      </c:pt>
                      <c:pt idx="1067">
                        <c:v>5.2999999999999998E-4</c:v>
                      </c:pt>
                      <c:pt idx="1068">
                        <c:v>5.2999999999999998E-4</c:v>
                      </c:pt>
                      <c:pt idx="1069">
                        <c:v>5.2999999999999998E-4</c:v>
                      </c:pt>
                      <c:pt idx="1070">
                        <c:v>5.1800000000000001E-4</c:v>
                      </c:pt>
                      <c:pt idx="1071">
                        <c:v>5.0600000000000005E-4</c:v>
                      </c:pt>
                      <c:pt idx="1072">
                        <c:v>5.0600000000000005E-4</c:v>
                      </c:pt>
                      <c:pt idx="1073">
                        <c:v>5.0600000000000005E-4</c:v>
                      </c:pt>
                      <c:pt idx="1074">
                        <c:v>5.0600000000000005E-4</c:v>
                      </c:pt>
                      <c:pt idx="1075">
                        <c:v>5.0600000000000005E-4</c:v>
                      </c:pt>
                      <c:pt idx="1076">
                        <c:v>4.8200000000000001E-4</c:v>
                      </c:pt>
                      <c:pt idx="1077">
                        <c:v>4.8200000000000001E-4</c:v>
                      </c:pt>
                      <c:pt idx="1078">
                        <c:v>4.8200000000000001E-4</c:v>
                      </c:pt>
                      <c:pt idx="1079">
                        <c:v>4.8200000000000001E-4</c:v>
                      </c:pt>
                      <c:pt idx="1080">
                        <c:v>4.8200000000000001E-4</c:v>
                      </c:pt>
                      <c:pt idx="1081">
                        <c:v>4.8200000000000001E-4</c:v>
                      </c:pt>
                      <c:pt idx="1082">
                        <c:v>4.5800000000000002E-4</c:v>
                      </c:pt>
                      <c:pt idx="1083">
                        <c:v>4.5800000000000002E-4</c:v>
                      </c:pt>
                      <c:pt idx="1084">
                        <c:v>4.5800000000000002E-4</c:v>
                      </c:pt>
                      <c:pt idx="1085">
                        <c:v>4.5800000000000002E-4</c:v>
                      </c:pt>
                      <c:pt idx="1086">
                        <c:v>4.5800000000000002E-4</c:v>
                      </c:pt>
                      <c:pt idx="1087">
                        <c:v>4.5800000000000002E-4</c:v>
                      </c:pt>
                      <c:pt idx="1088">
                        <c:v>4.35E-4</c:v>
                      </c:pt>
                      <c:pt idx="1089">
                        <c:v>4.35E-4</c:v>
                      </c:pt>
                      <c:pt idx="1090">
                        <c:v>4.35E-4</c:v>
                      </c:pt>
                      <c:pt idx="1091">
                        <c:v>4.35E-4</c:v>
                      </c:pt>
                      <c:pt idx="1092">
                        <c:v>4.35E-4</c:v>
                      </c:pt>
                      <c:pt idx="1093">
                        <c:v>4.2299999999999998E-4</c:v>
                      </c:pt>
                      <c:pt idx="1094">
                        <c:v>4.1100000000000002E-4</c:v>
                      </c:pt>
                      <c:pt idx="1095">
                        <c:v>4.1100000000000002E-4</c:v>
                      </c:pt>
                      <c:pt idx="1096">
                        <c:v>4.1100000000000002E-4</c:v>
                      </c:pt>
                      <c:pt idx="1097">
                        <c:v>4.1100000000000002E-4</c:v>
                      </c:pt>
                      <c:pt idx="1098">
                        <c:v>4.1100000000000002E-4</c:v>
                      </c:pt>
                      <c:pt idx="1099">
                        <c:v>3.8699999999999997E-4</c:v>
                      </c:pt>
                      <c:pt idx="1100">
                        <c:v>3.8699999999999997E-4</c:v>
                      </c:pt>
                      <c:pt idx="1101">
                        <c:v>3.8699999999999997E-4</c:v>
                      </c:pt>
                      <c:pt idx="1102">
                        <c:v>3.8699999999999997E-4</c:v>
                      </c:pt>
                      <c:pt idx="1103">
                        <c:v>3.8699999999999997E-4</c:v>
                      </c:pt>
                      <c:pt idx="1104">
                        <c:v>3.8699999999999997E-4</c:v>
                      </c:pt>
                      <c:pt idx="1105">
                        <c:v>3.6299999999999999E-4</c:v>
                      </c:pt>
                      <c:pt idx="1106">
                        <c:v>3.6299999999999999E-4</c:v>
                      </c:pt>
                      <c:pt idx="1107">
                        <c:v>3.6299999999999999E-4</c:v>
                      </c:pt>
                      <c:pt idx="1108">
                        <c:v>3.6299999999999999E-4</c:v>
                      </c:pt>
                      <c:pt idx="1109">
                        <c:v>3.6299999999999999E-4</c:v>
                      </c:pt>
                      <c:pt idx="1110">
                        <c:v>3.6299999999999999E-4</c:v>
                      </c:pt>
                      <c:pt idx="1111">
                        <c:v>3.39E-4</c:v>
                      </c:pt>
                      <c:pt idx="1112">
                        <c:v>3.39E-4</c:v>
                      </c:pt>
                      <c:pt idx="1113">
                        <c:v>3.39E-4</c:v>
                      </c:pt>
                      <c:pt idx="1114">
                        <c:v>3.39E-4</c:v>
                      </c:pt>
                      <c:pt idx="1115">
                        <c:v>3.39E-4</c:v>
                      </c:pt>
                      <c:pt idx="1116">
                        <c:v>3.39E-4</c:v>
                      </c:pt>
                      <c:pt idx="1117">
                        <c:v>3.1500000000000001E-4</c:v>
                      </c:pt>
                      <c:pt idx="1118">
                        <c:v>3.1500000000000001E-4</c:v>
                      </c:pt>
                      <c:pt idx="1119">
                        <c:v>3.1500000000000001E-4</c:v>
                      </c:pt>
                      <c:pt idx="1120">
                        <c:v>3.1500000000000001E-4</c:v>
                      </c:pt>
                      <c:pt idx="1121">
                        <c:v>3.1500000000000001E-4</c:v>
                      </c:pt>
                      <c:pt idx="1122">
                        <c:v>3.035E-4</c:v>
                      </c:pt>
                      <c:pt idx="1123">
                        <c:v>2.92E-4</c:v>
                      </c:pt>
                      <c:pt idx="1124">
                        <c:v>2.92E-4</c:v>
                      </c:pt>
                      <c:pt idx="1125">
                        <c:v>2.92E-4</c:v>
                      </c:pt>
                      <c:pt idx="1126">
                        <c:v>2.92E-4</c:v>
                      </c:pt>
                      <c:pt idx="1127">
                        <c:v>2.92E-4</c:v>
                      </c:pt>
                      <c:pt idx="1128">
                        <c:v>2.6800000000000001E-4</c:v>
                      </c:pt>
                      <c:pt idx="1129">
                        <c:v>2.6800000000000001E-4</c:v>
                      </c:pt>
                      <c:pt idx="1130">
                        <c:v>2.6800000000000001E-4</c:v>
                      </c:pt>
                      <c:pt idx="1131">
                        <c:v>2.6800000000000001E-4</c:v>
                      </c:pt>
                      <c:pt idx="1132">
                        <c:v>2.6800000000000001E-4</c:v>
                      </c:pt>
                      <c:pt idx="1133">
                        <c:v>2.6800000000000001E-4</c:v>
                      </c:pt>
                      <c:pt idx="1134">
                        <c:v>2.4399999999999999E-4</c:v>
                      </c:pt>
                      <c:pt idx="1135">
                        <c:v>2.4399999999999999E-4</c:v>
                      </c:pt>
                      <c:pt idx="1136">
                        <c:v>2.4399999999999999E-4</c:v>
                      </c:pt>
                      <c:pt idx="1137">
                        <c:v>2.4399999999999999E-4</c:v>
                      </c:pt>
                      <c:pt idx="1138">
                        <c:v>2.4399999999999999E-4</c:v>
                      </c:pt>
                      <c:pt idx="1139">
                        <c:v>2.4399999999999999E-4</c:v>
                      </c:pt>
                      <c:pt idx="1140">
                        <c:v>2.2000000000000001E-4</c:v>
                      </c:pt>
                      <c:pt idx="1141">
                        <c:v>2.2000000000000001E-4</c:v>
                      </c:pt>
                      <c:pt idx="1142">
                        <c:v>2.2000000000000001E-4</c:v>
                      </c:pt>
                      <c:pt idx="1143">
                        <c:v>2.2000000000000001E-4</c:v>
                      </c:pt>
                      <c:pt idx="1144">
                        <c:v>2.2000000000000001E-4</c:v>
                      </c:pt>
                      <c:pt idx="1145">
                        <c:v>2.0800000000000001E-4</c:v>
                      </c:pt>
                      <c:pt idx="1146">
                        <c:v>1.9599999999999999E-4</c:v>
                      </c:pt>
                      <c:pt idx="1147">
                        <c:v>1.9599999999999999E-4</c:v>
                      </c:pt>
                      <c:pt idx="1148">
                        <c:v>1.9599999999999999E-4</c:v>
                      </c:pt>
                      <c:pt idx="1149">
                        <c:v>1.9599999999999999E-4</c:v>
                      </c:pt>
                      <c:pt idx="1150">
                        <c:v>1.9599999999999999E-4</c:v>
                      </c:pt>
                      <c:pt idx="1151">
                        <c:v>1.84E-4</c:v>
                      </c:pt>
                      <c:pt idx="1152">
                        <c:v>1.7200000000000001E-4</c:v>
                      </c:pt>
                      <c:pt idx="1153">
                        <c:v>1.7200000000000001E-4</c:v>
                      </c:pt>
                      <c:pt idx="1154">
                        <c:v>1.7200000000000001E-4</c:v>
                      </c:pt>
                      <c:pt idx="1155">
                        <c:v>1.7200000000000001E-4</c:v>
                      </c:pt>
                      <c:pt idx="1156">
                        <c:v>1.7200000000000001E-4</c:v>
                      </c:pt>
                      <c:pt idx="1157">
                        <c:v>1.4899999999999999E-4</c:v>
                      </c:pt>
                      <c:pt idx="1158">
                        <c:v>1.4899999999999999E-4</c:v>
                      </c:pt>
                      <c:pt idx="1159">
                        <c:v>1.4899999999999999E-4</c:v>
                      </c:pt>
                      <c:pt idx="1160">
                        <c:v>1.4899999999999999E-4</c:v>
                      </c:pt>
                      <c:pt idx="1161">
                        <c:v>1.4899999999999999E-4</c:v>
                      </c:pt>
                      <c:pt idx="1162">
                        <c:v>1.4899999999999999E-4</c:v>
                      </c:pt>
                      <c:pt idx="1163">
                        <c:v>1.25E-4</c:v>
                      </c:pt>
                      <c:pt idx="1164">
                        <c:v>1.25E-4</c:v>
                      </c:pt>
                      <c:pt idx="1165">
                        <c:v>1.25E-4</c:v>
                      </c:pt>
                      <c:pt idx="1166">
                        <c:v>1.25E-4</c:v>
                      </c:pt>
                      <c:pt idx="1167">
                        <c:v>1.25E-4</c:v>
                      </c:pt>
                      <c:pt idx="1168">
                        <c:v>1.25E-4</c:v>
                      </c:pt>
                      <c:pt idx="1169">
                        <c:v>1.01E-4</c:v>
                      </c:pt>
                      <c:pt idx="1170">
                        <c:v>1.01E-4</c:v>
                      </c:pt>
                      <c:pt idx="1171">
                        <c:v>1.01E-4</c:v>
                      </c:pt>
                      <c:pt idx="1172">
                        <c:v>1.01E-4</c:v>
                      </c:pt>
                      <c:pt idx="1173">
                        <c:v>1.01E-4</c:v>
                      </c:pt>
                      <c:pt idx="1174">
                        <c:v>8.8999999999999995E-5</c:v>
                      </c:pt>
                      <c:pt idx="1175">
                        <c:v>7.7000000000000001E-5</c:v>
                      </c:pt>
                      <c:pt idx="1176">
                        <c:v>7.7000000000000001E-5</c:v>
                      </c:pt>
                      <c:pt idx="1177">
                        <c:v>7.7000000000000001E-5</c:v>
                      </c:pt>
                      <c:pt idx="1178">
                        <c:v>7.7000000000000001E-5</c:v>
                      </c:pt>
                      <c:pt idx="1179">
                        <c:v>7.7000000000000001E-5</c:v>
                      </c:pt>
                      <c:pt idx="1180">
                        <c:v>6.5000000000000008E-5</c:v>
                      </c:pt>
                      <c:pt idx="1181">
                        <c:v>5.3000000000000001E-5</c:v>
                      </c:pt>
                      <c:pt idx="1182">
                        <c:v>5.3000000000000001E-5</c:v>
                      </c:pt>
                      <c:pt idx="1183">
                        <c:v>5.3000000000000001E-5</c:v>
                      </c:pt>
                      <c:pt idx="1184">
                        <c:v>5.3000000000000001E-5</c:v>
                      </c:pt>
                      <c:pt idx="1185">
                        <c:v>5.3000000000000001E-5</c:v>
                      </c:pt>
                      <c:pt idx="1186">
                        <c:v>2.9E-5</c:v>
                      </c:pt>
                      <c:pt idx="1187">
                        <c:v>2.9E-5</c:v>
                      </c:pt>
                      <c:pt idx="1188">
                        <c:v>2.9E-5</c:v>
                      </c:pt>
                      <c:pt idx="1189">
                        <c:v>2.9E-5</c:v>
                      </c:pt>
                      <c:pt idx="1190">
                        <c:v>2.9E-5</c:v>
                      </c:pt>
                      <c:pt idx="1191">
                        <c:v>2.9E-5</c:v>
                      </c:pt>
                      <c:pt idx="1192">
                        <c:v>6.0000000000000002E-6</c:v>
                      </c:pt>
                      <c:pt idx="1193">
                        <c:v>6.0000000000000002E-6</c:v>
                      </c:pt>
                      <c:pt idx="1194">
                        <c:v>6.0000000000000002E-6</c:v>
                      </c:pt>
                      <c:pt idx="1195">
                        <c:v>6.0000000000000002E-6</c:v>
                      </c:pt>
                      <c:pt idx="1196">
                        <c:v>6.0000000000000002E-6</c:v>
                      </c:pt>
                      <c:pt idx="1197">
                        <c:v>6.0000000000000002E-6</c:v>
                      </c:pt>
                      <c:pt idx="1198">
                        <c:v>-1.8E-5</c:v>
                      </c:pt>
                      <c:pt idx="1199">
                        <c:v>-1.8E-5</c:v>
                      </c:pt>
                      <c:pt idx="1200">
                        <c:v>-1.8E-5</c:v>
                      </c:pt>
                      <c:pt idx="1201">
                        <c:v>-1.8E-5</c:v>
                      </c:pt>
                      <c:pt idx="1202">
                        <c:v>-1.8E-5</c:v>
                      </c:pt>
                      <c:pt idx="1203">
                        <c:v>-2.9999999999999997E-5</c:v>
                      </c:pt>
                      <c:pt idx="1204">
                        <c:v>-4.1999999999999998E-5</c:v>
                      </c:pt>
                      <c:pt idx="1205">
                        <c:v>-4.1999999999999998E-5</c:v>
                      </c:pt>
                      <c:pt idx="1206">
                        <c:v>-4.1999999999999998E-5</c:v>
                      </c:pt>
                      <c:pt idx="1207">
                        <c:v>-4.1999999999999998E-5</c:v>
                      </c:pt>
                      <c:pt idx="1208">
                        <c:v>-4.1999999999999998E-5</c:v>
                      </c:pt>
                      <c:pt idx="1209">
                        <c:v>-6.6000000000000005E-5</c:v>
                      </c:pt>
                      <c:pt idx="1210">
                        <c:v>-6.6000000000000005E-5</c:v>
                      </c:pt>
                      <c:pt idx="1211">
                        <c:v>-6.6000000000000005E-5</c:v>
                      </c:pt>
                      <c:pt idx="1212">
                        <c:v>-6.6000000000000005E-5</c:v>
                      </c:pt>
                      <c:pt idx="1213">
                        <c:v>-6.6000000000000005E-5</c:v>
                      </c:pt>
                      <c:pt idx="1214">
                        <c:v>-6.6000000000000005E-5</c:v>
                      </c:pt>
                      <c:pt idx="1215">
                        <c:v>-9.0000000000000006E-5</c:v>
                      </c:pt>
                      <c:pt idx="1216">
                        <c:v>-9.0000000000000006E-5</c:v>
                      </c:pt>
                      <c:pt idx="1217">
                        <c:v>-9.0000000000000006E-5</c:v>
                      </c:pt>
                      <c:pt idx="1218">
                        <c:v>-9.0000000000000006E-5</c:v>
                      </c:pt>
                      <c:pt idx="1219">
                        <c:v>-9.0000000000000006E-5</c:v>
                      </c:pt>
                      <c:pt idx="1220">
                        <c:v>-9.0000000000000006E-5</c:v>
                      </c:pt>
                      <c:pt idx="1221">
                        <c:v>-1.1400000000000001E-4</c:v>
                      </c:pt>
                      <c:pt idx="1222">
                        <c:v>-1.1400000000000001E-4</c:v>
                      </c:pt>
                      <c:pt idx="1223">
                        <c:v>-1.1400000000000001E-4</c:v>
                      </c:pt>
                      <c:pt idx="1224">
                        <c:v>-1.1400000000000001E-4</c:v>
                      </c:pt>
                      <c:pt idx="1225">
                        <c:v>-1.1400000000000001E-4</c:v>
                      </c:pt>
                      <c:pt idx="1226">
                        <c:v>-1.1400000000000001E-4</c:v>
                      </c:pt>
                      <c:pt idx="1227">
                        <c:v>-1.37E-4</c:v>
                      </c:pt>
                      <c:pt idx="1228">
                        <c:v>-1.37E-4</c:v>
                      </c:pt>
                      <c:pt idx="1229">
                        <c:v>-1.37E-4</c:v>
                      </c:pt>
                      <c:pt idx="1230">
                        <c:v>-1.37E-4</c:v>
                      </c:pt>
                      <c:pt idx="1231">
                        <c:v>-1.37E-4</c:v>
                      </c:pt>
                      <c:pt idx="1232">
                        <c:v>-1.4899999999999999E-4</c:v>
                      </c:pt>
                      <c:pt idx="1233">
                        <c:v>-1.6100000000000001E-4</c:v>
                      </c:pt>
                      <c:pt idx="1234">
                        <c:v>-1.6100000000000001E-4</c:v>
                      </c:pt>
                      <c:pt idx="1235">
                        <c:v>-1.6100000000000001E-4</c:v>
                      </c:pt>
                      <c:pt idx="1236">
                        <c:v>-1.6100000000000001E-4</c:v>
                      </c:pt>
                      <c:pt idx="1237">
                        <c:v>-1.6100000000000001E-4</c:v>
                      </c:pt>
                      <c:pt idx="1238">
                        <c:v>-1.85E-4</c:v>
                      </c:pt>
                      <c:pt idx="1239">
                        <c:v>-1.85E-4</c:v>
                      </c:pt>
                      <c:pt idx="1240">
                        <c:v>-1.85E-4</c:v>
                      </c:pt>
                      <c:pt idx="1241">
                        <c:v>-1.85E-4</c:v>
                      </c:pt>
                      <c:pt idx="1242">
                        <c:v>-1.85E-4</c:v>
                      </c:pt>
                      <c:pt idx="1243">
                        <c:v>-1.85E-4</c:v>
                      </c:pt>
                      <c:pt idx="1244">
                        <c:v>-2.0900000000000001E-4</c:v>
                      </c:pt>
                      <c:pt idx="1245">
                        <c:v>-2.0900000000000001E-4</c:v>
                      </c:pt>
                      <c:pt idx="1246">
                        <c:v>-2.0900000000000001E-4</c:v>
                      </c:pt>
                      <c:pt idx="1247">
                        <c:v>-2.0900000000000001E-4</c:v>
                      </c:pt>
                      <c:pt idx="1248">
                        <c:v>-2.0900000000000001E-4</c:v>
                      </c:pt>
                      <c:pt idx="1249">
                        <c:v>-2.0900000000000001E-4</c:v>
                      </c:pt>
                      <c:pt idx="1250">
                        <c:v>-2.33E-4</c:v>
                      </c:pt>
                      <c:pt idx="1251">
                        <c:v>-2.33E-4</c:v>
                      </c:pt>
                      <c:pt idx="1252">
                        <c:v>-2.33E-4</c:v>
                      </c:pt>
                      <c:pt idx="1253">
                        <c:v>-2.33E-4</c:v>
                      </c:pt>
                      <c:pt idx="1254">
                        <c:v>-2.33E-4</c:v>
                      </c:pt>
                      <c:pt idx="1255">
                        <c:v>-2.4499999999999999E-4</c:v>
                      </c:pt>
                      <c:pt idx="1256">
                        <c:v>-2.5700000000000001E-4</c:v>
                      </c:pt>
                      <c:pt idx="1257">
                        <c:v>-2.5700000000000001E-4</c:v>
                      </c:pt>
                      <c:pt idx="1258">
                        <c:v>-2.5700000000000001E-4</c:v>
                      </c:pt>
                      <c:pt idx="1259">
                        <c:v>-2.5700000000000001E-4</c:v>
                      </c:pt>
                      <c:pt idx="1260">
                        <c:v>-2.5700000000000001E-4</c:v>
                      </c:pt>
                      <c:pt idx="1261">
                        <c:v>-2.6849999999999997E-4</c:v>
                      </c:pt>
                      <c:pt idx="1262">
                        <c:v>-2.7999999999999998E-4</c:v>
                      </c:pt>
                      <c:pt idx="1263">
                        <c:v>-2.7999999999999998E-4</c:v>
                      </c:pt>
                      <c:pt idx="1264">
                        <c:v>-2.7999999999999998E-4</c:v>
                      </c:pt>
                      <c:pt idx="1265">
                        <c:v>-2.7999999999999998E-4</c:v>
                      </c:pt>
                      <c:pt idx="1266">
                        <c:v>-2.7999999999999998E-4</c:v>
                      </c:pt>
                      <c:pt idx="1267">
                        <c:v>-3.0400000000000002E-4</c:v>
                      </c:pt>
                      <c:pt idx="1268">
                        <c:v>-3.0400000000000002E-4</c:v>
                      </c:pt>
                      <c:pt idx="1269">
                        <c:v>-3.0400000000000002E-4</c:v>
                      </c:pt>
                      <c:pt idx="1270">
                        <c:v>-3.0400000000000002E-4</c:v>
                      </c:pt>
                      <c:pt idx="1271">
                        <c:v>-3.0400000000000002E-4</c:v>
                      </c:pt>
                      <c:pt idx="1272">
                        <c:v>-3.0400000000000002E-4</c:v>
                      </c:pt>
                      <c:pt idx="1273">
                        <c:v>-3.28E-4</c:v>
                      </c:pt>
                      <c:pt idx="1274">
                        <c:v>-3.28E-4</c:v>
                      </c:pt>
                      <c:pt idx="1275">
                        <c:v>-3.28E-4</c:v>
                      </c:pt>
                      <c:pt idx="1276">
                        <c:v>-3.28E-4</c:v>
                      </c:pt>
                      <c:pt idx="1277">
                        <c:v>-3.28E-4</c:v>
                      </c:pt>
                      <c:pt idx="1278">
                        <c:v>-3.28E-4</c:v>
                      </c:pt>
                      <c:pt idx="1279">
                        <c:v>-3.5199999999999999E-4</c:v>
                      </c:pt>
                      <c:pt idx="1280">
                        <c:v>-3.5199999999999999E-4</c:v>
                      </c:pt>
                      <c:pt idx="1281">
                        <c:v>-3.5199999999999999E-4</c:v>
                      </c:pt>
                      <c:pt idx="1282">
                        <c:v>-3.5199999999999999E-4</c:v>
                      </c:pt>
                      <c:pt idx="1283">
                        <c:v>-3.5199999999999999E-4</c:v>
                      </c:pt>
                      <c:pt idx="1284">
                        <c:v>-3.6399999999999996E-4</c:v>
                      </c:pt>
                      <c:pt idx="1285">
                        <c:v>-3.7599999999999998E-4</c:v>
                      </c:pt>
                      <c:pt idx="1286">
                        <c:v>-3.7599999999999998E-4</c:v>
                      </c:pt>
                      <c:pt idx="1287">
                        <c:v>-3.7599999999999998E-4</c:v>
                      </c:pt>
                      <c:pt idx="1288">
                        <c:v>-3.7599999999999998E-4</c:v>
                      </c:pt>
                      <c:pt idx="1289">
                        <c:v>-3.7599999999999998E-4</c:v>
                      </c:pt>
                      <c:pt idx="1290">
                        <c:v>-4.0000000000000002E-4</c:v>
                      </c:pt>
                      <c:pt idx="1291">
                        <c:v>-4.0000000000000002E-4</c:v>
                      </c:pt>
                      <c:pt idx="1292">
                        <c:v>-4.0000000000000002E-4</c:v>
                      </c:pt>
                      <c:pt idx="1293">
                        <c:v>-4.0000000000000002E-4</c:v>
                      </c:pt>
                      <c:pt idx="1294">
                        <c:v>-4.0000000000000002E-4</c:v>
                      </c:pt>
                      <c:pt idx="1295">
                        <c:v>-4.0000000000000002E-4</c:v>
                      </c:pt>
                      <c:pt idx="1296">
                        <c:v>-4.2299999999999998E-4</c:v>
                      </c:pt>
                      <c:pt idx="1297">
                        <c:v>-4.2299999999999998E-4</c:v>
                      </c:pt>
                      <c:pt idx="1298">
                        <c:v>-4.2299999999999998E-4</c:v>
                      </c:pt>
                      <c:pt idx="1299">
                        <c:v>-4.2299999999999998E-4</c:v>
                      </c:pt>
                      <c:pt idx="1300">
                        <c:v>-4.2299999999999998E-4</c:v>
                      </c:pt>
                      <c:pt idx="1301">
                        <c:v>-4.2299999999999998E-4</c:v>
                      </c:pt>
                      <c:pt idx="1302">
                        <c:v>-4.4700000000000002E-4</c:v>
                      </c:pt>
                      <c:pt idx="1303">
                        <c:v>-4.4700000000000002E-4</c:v>
                      </c:pt>
                      <c:pt idx="1304">
                        <c:v>-4.4700000000000002E-4</c:v>
                      </c:pt>
                      <c:pt idx="1305">
                        <c:v>-4.4700000000000002E-4</c:v>
                      </c:pt>
                      <c:pt idx="1306">
                        <c:v>-4.4700000000000002E-4</c:v>
                      </c:pt>
                      <c:pt idx="1307">
                        <c:v>-4.4700000000000002E-4</c:v>
                      </c:pt>
                      <c:pt idx="1308">
                        <c:v>-4.7100000000000001E-4</c:v>
                      </c:pt>
                      <c:pt idx="1309">
                        <c:v>-4.7100000000000001E-4</c:v>
                      </c:pt>
                      <c:pt idx="1310">
                        <c:v>-4.7100000000000001E-4</c:v>
                      </c:pt>
                      <c:pt idx="1311">
                        <c:v>-4.7100000000000001E-4</c:v>
                      </c:pt>
                      <c:pt idx="1312">
                        <c:v>-4.7100000000000001E-4</c:v>
                      </c:pt>
                      <c:pt idx="1313">
                        <c:v>-4.8300000000000003E-4</c:v>
                      </c:pt>
                      <c:pt idx="1314">
                        <c:v>-4.95E-4</c:v>
                      </c:pt>
                      <c:pt idx="1315">
                        <c:v>-4.95E-4</c:v>
                      </c:pt>
                      <c:pt idx="1316">
                        <c:v>-4.95E-4</c:v>
                      </c:pt>
                      <c:pt idx="1317">
                        <c:v>-4.95E-4</c:v>
                      </c:pt>
                      <c:pt idx="1318">
                        <c:v>-4.95E-4</c:v>
                      </c:pt>
                      <c:pt idx="1319">
                        <c:v>-5.1900000000000004E-4</c:v>
                      </c:pt>
                      <c:pt idx="1320">
                        <c:v>-5.1900000000000004E-4</c:v>
                      </c:pt>
                      <c:pt idx="1321">
                        <c:v>-5.1900000000000004E-4</c:v>
                      </c:pt>
                      <c:pt idx="1322">
                        <c:v>-5.1900000000000004E-4</c:v>
                      </c:pt>
                      <c:pt idx="1323">
                        <c:v>-5.1900000000000004E-4</c:v>
                      </c:pt>
                      <c:pt idx="1324">
                        <c:v>-5.1900000000000004E-4</c:v>
                      </c:pt>
                      <c:pt idx="1325">
                        <c:v>-5.4299999999999997E-4</c:v>
                      </c:pt>
                      <c:pt idx="1326">
                        <c:v>-5.4299999999999997E-4</c:v>
                      </c:pt>
                      <c:pt idx="1327">
                        <c:v>-5.4299999999999997E-4</c:v>
                      </c:pt>
                      <c:pt idx="1328">
                        <c:v>-5.4299999999999997E-4</c:v>
                      </c:pt>
                      <c:pt idx="1329">
                        <c:v>-5.4299999999999997E-4</c:v>
                      </c:pt>
                      <c:pt idx="1330">
                        <c:v>-5.4299999999999997E-4</c:v>
                      </c:pt>
                      <c:pt idx="1331">
                        <c:v>-5.6599999999999999E-4</c:v>
                      </c:pt>
                      <c:pt idx="1332">
                        <c:v>-5.6599999999999999E-4</c:v>
                      </c:pt>
                      <c:pt idx="1333">
                        <c:v>-5.6599999999999999E-4</c:v>
                      </c:pt>
                      <c:pt idx="1334">
                        <c:v>-5.6599999999999999E-4</c:v>
                      </c:pt>
                      <c:pt idx="1335">
                        <c:v>-5.6599999999999999E-4</c:v>
                      </c:pt>
                      <c:pt idx="1336">
                        <c:v>-5.7799999999999995E-4</c:v>
                      </c:pt>
                      <c:pt idx="1337">
                        <c:v>-5.9000000000000003E-4</c:v>
                      </c:pt>
                      <c:pt idx="1338">
                        <c:v>-5.9000000000000003E-4</c:v>
                      </c:pt>
                      <c:pt idx="1339">
                        <c:v>-5.9000000000000003E-4</c:v>
                      </c:pt>
                      <c:pt idx="1340">
                        <c:v>-5.9000000000000003E-4</c:v>
                      </c:pt>
                      <c:pt idx="1341">
                        <c:v>-5.9000000000000003E-4</c:v>
                      </c:pt>
                      <c:pt idx="1342">
                        <c:v>-6.02E-4</c:v>
                      </c:pt>
                      <c:pt idx="1343">
                        <c:v>-6.1399999999999996E-4</c:v>
                      </c:pt>
                      <c:pt idx="1344">
                        <c:v>-6.1399999999999996E-4</c:v>
                      </c:pt>
                      <c:pt idx="1345">
                        <c:v>-6.1399999999999996E-4</c:v>
                      </c:pt>
                      <c:pt idx="1346">
                        <c:v>-6.1399999999999996E-4</c:v>
                      </c:pt>
                      <c:pt idx="1347">
                        <c:v>-6.1399999999999996E-4</c:v>
                      </c:pt>
                      <c:pt idx="1348">
                        <c:v>-6.38E-4</c:v>
                      </c:pt>
                      <c:pt idx="1349">
                        <c:v>-6.38E-4</c:v>
                      </c:pt>
                      <c:pt idx="1350">
                        <c:v>-6.38E-4</c:v>
                      </c:pt>
                      <c:pt idx="1351">
                        <c:v>-6.38E-4</c:v>
                      </c:pt>
                      <c:pt idx="1352">
                        <c:v>-6.38E-4</c:v>
                      </c:pt>
                      <c:pt idx="1353">
                        <c:v>-6.38E-4</c:v>
                      </c:pt>
                      <c:pt idx="1354">
                        <c:v>-6.6200000000000005E-4</c:v>
                      </c:pt>
                      <c:pt idx="1355">
                        <c:v>-6.6200000000000005E-4</c:v>
                      </c:pt>
                      <c:pt idx="1356">
                        <c:v>-6.6200000000000005E-4</c:v>
                      </c:pt>
                      <c:pt idx="1357">
                        <c:v>-6.6200000000000005E-4</c:v>
                      </c:pt>
                      <c:pt idx="1358">
                        <c:v>-6.6200000000000005E-4</c:v>
                      </c:pt>
                      <c:pt idx="1359">
                        <c:v>-6.6200000000000005E-4</c:v>
                      </c:pt>
                      <c:pt idx="1360">
                        <c:v>-6.8599999999999998E-4</c:v>
                      </c:pt>
                      <c:pt idx="1361">
                        <c:v>-6.8599999999999998E-4</c:v>
                      </c:pt>
                      <c:pt idx="1362">
                        <c:v>-6.8599999999999998E-4</c:v>
                      </c:pt>
                      <c:pt idx="1363">
                        <c:v>-6.8599999999999998E-4</c:v>
                      </c:pt>
                      <c:pt idx="1364">
                        <c:v>-6.8599999999999998E-4</c:v>
                      </c:pt>
                      <c:pt idx="1365">
                        <c:v>-6.9749999999999999E-4</c:v>
                      </c:pt>
                      <c:pt idx="1366">
                        <c:v>-7.0899999999999999E-4</c:v>
                      </c:pt>
                      <c:pt idx="1367">
                        <c:v>-7.0899999999999999E-4</c:v>
                      </c:pt>
                      <c:pt idx="1368">
                        <c:v>-7.0899999999999999E-4</c:v>
                      </c:pt>
                      <c:pt idx="1369">
                        <c:v>-7.0899999999999999E-4</c:v>
                      </c:pt>
                      <c:pt idx="1370">
                        <c:v>-7.0899999999999999E-4</c:v>
                      </c:pt>
                      <c:pt idx="1371">
                        <c:v>-7.2100000000000007E-4</c:v>
                      </c:pt>
                      <c:pt idx="1372">
                        <c:v>-7.3300000000000004E-4</c:v>
                      </c:pt>
                      <c:pt idx="1373">
                        <c:v>-7.3300000000000004E-4</c:v>
                      </c:pt>
                      <c:pt idx="1374">
                        <c:v>-7.3300000000000004E-4</c:v>
                      </c:pt>
                      <c:pt idx="1375">
                        <c:v>-7.3300000000000004E-4</c:v>
                      </c:pt>
                      <c:pt idx="1376">
                        <c:v>-7.3300000000000004E-4</c:v>
                      </c:pt>
                      <c:pt idx="1377">
                        <c:v>-7.5699999999999997E-4</c:v>
                      </c:pt>
                      <c:pt idx="1378">
                        <c:v>-7.5699999999999997E-4</c:v>
                      </c:pt>
                      <c:pt idx="1379">
                        <c:v>-7.5699999999999997E-4</c:v>
                      </c:pt>
                      <c:pt idx="1380">
                        <c:v>-7.5699999999999997E-4</c:v>
                      </c:pt>
                      <c:pt idx="1381">
                        <c:v>-7.5699999999999997E-4</c:v>
                      </c:pt>
                      <c:pt idx="1382">
                        <c:v>-7.5699999999999997E-4</c:v>
                      </c:pt>
                      <c:pt idx="1383">
                        <c:v>-7.8100000000000001E-4</c:v>
                      </c:pt>
                      <c:pt idx="1384">
                        <c:v>-7.8100000000000001E-4</c:v>
                      </c:pt>
                      <c:pt idx="1385">
                        <c:v>-7.8100000000000001E-4</c:v>
                      </c:pt>
                      <c:pt idx="1386">
                        <c:v>-7.8100000000000001E-4</c:v>
                      </c:pt>
                      <c:pt idx="1387">
                        <c:v>-7.8100000000000001E-4</c:v>
                      </c:pt>
                      <c:pt idx="1388">
                        <c:v>-7.8100000000000001E-4</c:v>
                      </c:pt>
                      <c:pt idx="1389">
                        <c:v>-8.0500000000000005E-4</c:v>
                      </c:pt>
                      <c:pt idx="1390">
                        <c:v>-8.0500000000000005E-4</c:v>
                      </c:pt>
                      <c:pt idx="1391">
                        <c:v>-8.0500000000000005E-4</c:v>
                      </c:pt>
                      <c:pt idx="1392">
                        <c:v>-8.0500000000000005E-4</c:v>
                      </c:pt>
                      <c:pt idx="1393">
                        <c:v>-8.0500000000000005E-4</c:v>
                      </c:pt>
                      <c:pt idx="1394">
                        <c:v>-8.1700000000000002E-4</c:v>
                      </c:pt>
                      <c:pt idx="1395">
                        <c:v>-8.2899999999999998E-4</c:v>
                      </c:pt>
                      <c:pt idx="1396">
                        <c:v>-8.2899999999999998E-4</c:v>
                      </c:pt>
                      <c:pt idx="1397">
                        <c:v>-8.2899999999999998E-4</c:v>
                      </c:pt>
                      <c:pt idx="1398">
                        <c:v>-8.2899999999999998E-4</c:v>
                      </c:pt>
                      <c:pt idx="1399">
                        <c:v>-8.2899999999999998E-4</c:v>
                      </c:pt>
                      <c:pt idx="1400">
                        <c:v>-8.5300000000000003E-4</c:v>
                      </c:pt>
                      <c:pt idx="1401">
                        <c:v>-8.5300000000000003E-4</c:v>
                      </c:pt>
                      <c:pt idx="1402">
                        <c:v>-8.5300000000000003E-4</c:v>
                      </c:pt>
                      <c:pt idx="1403">
                        <c:v>-8.5300000000000003E-4</c:v>
                      </c:pt>
                      <c:pt idx="1404">
                        <c:v>-8.5300000000000003E-4</c:v>
                      </c:pt>
                      <c:pt idx="1405">
                        <c:v>-8.5300000000000003E-4</c:v>
                      </c:pt>
                      <c:pt idx="1406">
                        <c:v>-8.7600000000000004E-4</c:v>
                      </c:pt>
                      <c:pt idx="1407">
                        <c:v>-8.7600000000000004E-4</c:v>
                      </c:pt>
                      <c:pt idx="1408">
                        <c:v>-8.7600000000000004E-4</c:v>
                      </c:pt>
                      <c:pt idx="1409">
                        <c:v>-8.7600000000000004E-4</c:v>
                      </c:pt>
                      <c:pt idx="1410">
                        <c:v>-8.7600000000000004E-4</c:v>
                      </c:pt>
                      <c:pt idx="1411">
                        <c:v>-8.7600000000000004E-4</c:v>
                      </c:pt>
                      <c:pt idx="1412">
                        <c:v>-8.9999999999999998E-4</c:v>
                      </c:pt>
                      <c:pt idx="1413">
                        <c:v>-8.9999999999999998E-4</c:v>
                      </c:pt>
                      <c:pt idx="1414">
                        <c:v>-8.9999999999999998E-4</c:v>
                      </c:pt>
                      <c:pt idx="1415">
                        <c:v>-8.9999999999999998E-4</c:v>
                      </c:pt>
                      <c:pt idx="1416">
                        <c:v>-8.9999999999999998E-4</c:v>
                      </c:pt>
                      <c:pt idx="1417">
                        <c:v>-8.9999999999999998E-4</c:v>
                      </c:pt>
                      <c:pt idx="1418">
                        <c:v>-9.2400000000000002E-4</c:v>
                      </c:pt>
                      <c:pt idx="1419">
                        <c:v>-9.2400000000000002E-4</c:v>
                      </c:pt>
                      <c:pt idx="1420">
                        <c:v>-9.2400000000000002E-4</c:v>
                      </c:pt>
                      <c:pt idx="1421">
                        <c:v>-9.2400000000000002E-4</c:v>
                      </c:pt>
                      <c:pt idx="1422">
                        <c:v>-9.2400000000000002E-4</c:v>
                      </c:pt>
                      <c:pt idx="1423">
                        <c:v>-9.3599999999999998E-4</c:v>
                      </c:pt>
                      <c:pt idx="1424">
                        <c:v>-9.4799999999999995E-4</c:v>
                      </c:pt>
                      <c:pt idx="1425">
                        <c:v>-9.4799999999999995E-4</c:v>
                      </c:pt>
                      <c:pt idx="1426">
                        <c:v>-9.4799999999999995E-4</c:v>
                      </c:pt>
                      <c:pt idx="1427">
                        <c:v>-9.4799999999999995E-4</c:v>
                      </c:pt>
                      <c:pt idx="1428">
                        <c:v>-9.4799999999999995E-4</c:v>
                      </c:pt>
                      <c:pt idx="1429">
                        <c:v>-9.7199999999999999E-4</c:v>
                      </c:pt>
                      <c:pt idx="1430">
                        <c:v>-9.7199999999999999E-4</c:v>
                      </c:pt>
                      <c:pt idx="1431">
                        <c:v>-9.7199999999999999E-4</c:v>
                      </c:pt>
                      <c:pt idx="1432">
                        <c:v>-9.7199999999999999E-4</c:v>
                      </c:pt>
                      <c:pt idx="1433">
                        <c:v>-9.7199999999999999E-4</c:v>
                      </c:pt>
                      <c:pt idx="1434">
                        <c:v>-9.7199999999999999E-4</c:v>
                      </c:pt>
                      <c:pt idx="1435">
                        <c:v>-9.9599999999999992E-4</c:v>
                      </c:pt>
                      <c:pt idx="1436">
                        <c:v>-9.9599999999999992E-4</c:v>
                      </c:pt>
                      <c:pt idx="1437">
                        <c:v>-9.9599999999999992E-4</c:v>
                      </c:pt>
                      <c:pt idx="1438">
                        <c:v>-9.9599999999999992E-4</c:v>
                      </c:pt>
                      <c:pt idx="1439">
                        <c:v>-9.9599999999999992E-4</c:v>
                      </c:pt>
                      <c:pt idx="1440">
                        <c:v>-9.9599999999999992E-4</c:v>
                      </c:pt>
                      <c:pt idx="1441">
                        <c:v>-1.0189999999999999E-3</c:v>
                      </c:pt>
                      <c:pt idx="1442">
                        <c:v>-1.0189999999999999E-3</c:v>
                      </c:pt>
                      <c:pt idx="1443">
                        <c:v>-1.0189999999999999E-3</c:v>
                      </c:pt>
                      <c:pt idx="1444">
                        <c:v>-1.0189999999999999E-3</c:v>
                      </c:pt>
                      <c:pt idx="1445">
                        <c:v>-1.0189999999999999E-3</c:v>
                      </c:pt>
                      <c:pt idx="1446">
                        <c:v>-1.031E-3</c:v>
                      </c:pt>
                      <c:pt idx="1447">
                        <c:v>-1.0430000000000001E-3</c:v>
                      </c:pt>
                      <c:pt idx="1448">
                        <c:v>-1.0430000000000001E-3</c:v>
                      </c:pt>
                      <c:pt idx="1449">
                        <c:v>-1.0430000000000001E-3</c:v>
                      </c:pt>
                      <c:pt idx="1450">
                        <c:v>-1.0430000000000001E-3</c:v>
                      </c:pt>
                      <c:pt idx="1451">
                        <c:v>-1.0430000000000001E-3</c:v>
                      </c:pt>
                      <c:pt idx="1452">
                        <c:v>-1.0549999999999999E-3</c:v>
                      </c:pt>
                      <c:pt idx="1453">
                        <c:v>-1.067E-3</c:v>
                      </c:pt>
                      <c:pt idx="1454">
                        <c:v>-1.067E-3</c:v>
                      </c:pt>
                      <c:pt idx="1455">
                        <c:v>-1.067E-3</c:v>
                      </c:pt>
                      <c:pt idx="1456">
                        <c:v>-1.067E-3</c:v>
                      </c:pt>
                      <c:pt idx="1457">
                        <c:v>-1.067E-3</c:v>
                      </c:pt>
                      <c:pt idx="1458">
                        <c:v>-1.091E-3</c:v>
                      </c:pt>
                      <c:pt idx="1459">
                        <c:v>-1.091E-3</c:v>
                      </c:pt>
                      <c:pt idx="1460">
                        <c:v>-1.091E-3</c:v>
                      </c:pt>
                      <c:pt idx="1461">
                        <c:v>-1.091E-3</c:v>
                      </c:pt>
                      <c:pt idx="1462">
                        <c:v>-1.091E-3</c:v>
                      </c:pt>
                      <c:pt idx="1463">
                        <c:v>-1.091E-3</c:v>
                      </c:pt>
                      <c:pt idx="1464">
                        <c:v>-1.1150000000000001E-3</c:v>
                      </c:pt>
                      <c:pt idx="1465">
                        <c:v>-1.1150000000000001E-3</c:v>
                      </c:pt>
                      <c:pt idx="1466">
                        <c:v>-1.1150000000000001E-3</c:v>
                      </c:pt>
                      <c:pt idx="1467">
                        <c:v>-1.1150000000000001E-3</c:v>
                      </c:pt>
                      <c:pt idx="1468">
                        <c:v>-1.1150000000000001E-3</c:v>
                      </c:pt>
                      <c:pt idx="1469">
                        <c:v>-1.1150000000000001E-3</c:v>
                      </c:pt>
                      <c:pt idx="1470">
                        <c:v>-1.139E-3</c:v>
                      </c:pt>
                      <c:pt idx="1471">
                        <c:v>-1.139E-3</c:v>
                      </c:pt>
                      <c:pt idx="1472">
                        <c:v>-1.139E-3</c:v>
                      </c:pt>
                      <c:pt idx="1473">
                        <c:v>-1.139E-3</c:v>
                      </c:pt>
                      <c:pt idx="1474">
                        <c:v>-1.139E-3</c:v>
                      </c:pt>
                      <c:pt idx="1475">
                        <c:v>-1.1505E-3</c:v>
                      </c:pt>
                      <c:pt idx="1476">
                        <c:v>-1.1620000000000001E-3</c:v>
                      </c:pt>
                      <c:pt idx="1477">
                        <c:v>-1.1620000000000001E-3</c:v>
                      </c:pt>
                      <c:pt idx="1478">
                        <c:v>-1.1620000000000001E-3</c:v>
                      </c:pt>
                      <c:pt idx="1479">
                        <c:v>-1.1620000000000001E-3</c:v>
                      </c:pt>
                      <c:pt idx="1480">
                        <c:v>-1.1620000000000001E-3</c:v>
                      </c:pt>
                      <c:pt idx="1481">
                        <c:v>-1.186E-3</c:v>
                      </c:pt>
                      <c:pt idx="1482">
                        <c:v>-1.186E-3</c:v>
                      </c:pt>
                      <c:pt idx="1483">
                        <c:v>-1.186E-3</c:v>
                      </c:pt>
                      <c:pt idx="1484">
                        <c:v>-1.186E-3</c:v>
                      </c:pt>
                      <c:pt idx="1485">
                        <c:v>-1.186E-3</c:v>
                      </c:pt>
                      <c:pt idx="1486">
                        <c:v>-1.186E-3</c:v>
                      </c:pt>
                      <c:pt idx="1487">
                        <c:v>-1.2099999999999999E-3</c:v>
                      </c:pt>
                      <c:pt idx="1488">
                        <c:v>-1.2099999999999999E-3</c:v>
                      </c:pt>
                      <c:pt idx="1489">
                        <c:v>-1.2099999999999999E-3</c:v>
                      </c:pt>
                      <c:pt idx="1490">
                        <c:v>-1.2099999999999999E-3</c:v>
                      </c:pt>
                      <c:pt idx="1491">
                        <c:v>-1.2099999999999999E-3</c:v>
                      </c:pt>
                      <c:pt idx="1492">
                        <c:v>-1.2099999999999999E-3</c:v>
                      </c:pt>
                      <c:pt idx="1493">
                        <c:v>-1.2340000000000001E-3</c:v>
                      </c:pt>
                      <c:pt idx="1494">
                        <c:v>-1.2340000000000001E-3</c:v>
                      </c:pt>
                      <c:pt idx="1495">
                        <c:v>-1.2340000000000001E-3</c:v>
                      </c:pt>
                      <c:pt idx="1496">
                        <c:v>-1.2340000000000001E-3</c:v>
                      </c:pt>
                      <c:pt idx="1497">
                        <c:v>-1.2340000000000001E-3</c:v>
                      </c:pt>
                      <c:pt idx="1498">
                        <c:v>-1.2340000000000001E-3</c:v>
                      </c:pt>
                      <c:pt idx="1499">
                        <c:v>-1.258E-3</c:v>
                      </c:pt>
                      <c:pt idx="1500">
                        <c:v>-1.258E-3</c:v>
                      </c:pt>
                      <c:pt idx="1501">
                        <c:v>-1.258E-3</c:v>
                      </c:pt>
                      <c:pt idx="1502">
                        <c:v>-1.258E-3</c:v>
                      </c:pt>
                      <c:pt idx="1503">
                        <c:v>-1.258E-3</c:v>
                      </c:pt>
                      <c:pt idx="1504">
                        <c:v>-1.2699999999999999E-3</c:v>
                      </c:pt>
                      <c:pt idx="1505">
                        <c:v>-1.2819999999999999E-3</c:v>
                      </c:pt>
                      <c:pt idx="1506">
                        <c:v>-1.2819999999999999E-3</c:v>
                      </c:pt>
                      <c:pt idx="1507">
                        <c:v>-1.2819999999999999E-3</c:v>
                      </c:pt>
                      <c:pt idx="1508">
                        <c:v>-1.2819999999999999E-3</c:v>
                      </c:pt>
                      <c:pt idx="1509">
                        <c:v>-1.2819999999999999E-3</c:v>
                      </c:pt>
                      <c:pt idx="1510">
                        <c:v>-1.3060000000000001E-3</c:v>
                      </c:pt>
                      <c:pt idx="1511">
                        <c:v>-1.3060000000000001E-3</c:v>
                      </c:pt>
                      <c:pt idx="1512">
                        <c:v>-1.3060000000000001E-3</c:v>
                      </c:pt>
                      <c:pt idx="1513">
                        <c:v>-1.3060000000000001E-3</c:v>
                      </c:pt>
                      <c:pt idx="1514">
                        <c:v>-1.3060000000000001E-3</c:v>
                      </c:pt>
                      <c:pt idx="1515">
                        <c:v>-1.3060000000000001E-3</c:v>
                      </c:pt>
                      <c:pt idx="1516">
                        <c:v>-1.3290000000000001E-3</c:v>
                      </c:pt>
                      <c:pt idx="1517">
                        <c:v>-1.3290000000000001E-3</c:v>
                      </c:pt>
                      <c:pt idx="1518">
                        <c:v>-1.3290000000000001E-3</c:v>
                      </c:pt>
                      <c:pt idx="1519">
                        <c:v>-1.3290000000000001E-3</c:v>
                      </c:pt>
                      <c:pt idx="1520">
                        <c:v>-1.3290000000000001E-3</c:v>
                      </c:pt>
                      <c:pt idx="1521">
                        <c:v>-1.3290000000000001E-3</c:v>
                      </c:pt>
                      <c:pt idx="1522">
                        <c:v>-1.353E-3</c:v>
                      </c:pt>
                      <c:pt idx="1523">
                        <c:v>-1.353E-3</c:v>
                      </c:pt>
                      <c:pt idx="1524">
                        <c:v>-1.353E-3</c:v>
                      </c:pt>
                      <c:pt idx="1525">
                        <c:v>-1.353E-3</c:v>
                      </c:pt>
                      <c:pt idx="1526">
                        <c:v>-1.353E-3</c:v>
                      </c:pt>
                      <c:pt idx="1527">
                        <c:v>-1.3649999999999999E-3</c:v>
                      </c:pt>
                      <c:pt idx="1528">
                        <c:v>-1.377E-3</c:v>
                      </c:pt>
                      <c:pt idx="1529">
                        <c:v>-1.377E-3</c:v>
                      </c:pt>
                      <c:pt idx="1530">
                        <c:v>-1.377E-3</c:v>
                      </c:pt>
                      <c:pt idx="1531">
                        <c:v>-1.377E-3</c:v>
                      </c:pt>
                      <c:pt idx="1532">
                        <c:v>-1.377E-3</c:v>
                      </c:pt>
                      <c:pt idx="1533">
                        <c:v>-1.389E-3</c:v>
                      </c:pt>
                      <c:pt idx="1534">
                        <c:v>-1.4009999999999999E-3</c:v>
                      </c:pt>
                      <c:pt idx="1535">
                        <c:v>-1.4009999999999999E-3</c:v>
                      </c:pt>
                      <c:pt idx="1536">
                        <c:v>-1.4009999999999999E-3</c:v>
                      </c:pt>
                      <c:pt idx="1537">
                        <c:v>-1.4009999999999999E-3</c:v>
                      </c:pt>
                      <c:pt idx="1538">
                        <c:v>-1.4009999999999999E-3</c:v>
                      </c:pt>
                      <c:pt idx="1539">
                        <c:v>-1.4250000000000001E-3</c:v>
                      </c:pt>
                      <c:pt idx="1540">
                        <c:v>-1.4250000000000001E-3</c:v>
                      </c:pt>
                      <c:pt idx="1541">
                        <c:v>-1.4250000000000001E-3</c:v>
                      </c:pt>
                      <c:pt idx="1542">
                        <c:v>-1.4250000000000001E-3</c:v>
                      </c:pt>
                      <c:pt idx="1543">
                        <c:v>-1.4250000000000001E-3</c:v>
                      </c:pt>
                      <c:pt idx="1544">
                        <c:v>-1.4250000000000001E-3</c:v>
                      </c:pt>
                      <c:pt idx="1545">
                        <c:v>-1.449E-3</c:v>
                      </c:pt>
                      <c:pt idx="1546">
                        <c:v>-1.449E-3</c:v>
                      </c:pt>
                      <c:pt idx="1547">
                        <c:v>-1.449E-3</c:v>
                      </c:pt>
                      <c:pt idx="1548">
                        <c:v>-1.449E-3</c:v>
                      </c:pt>
                      <c:pt idx="1549">
                        <c:v>-1.449E-3</c:v>
                      </c:pt>
                      <c:pt idx="1550">
                        <c:v>-1.449E-3</c:v>
                      </c:pt>
                      <c:pt idx="1551">
                        <c:v>-1.474E-3</c:v>
                      </c:pt>
                      <c:pt idx="1552">
                        <c:v>-1.474E-3</c:v>
                      </c:pt>
                      <c:pt idx="1553">
                        <c:v>-1.474E-3</c:v>
                      </c:pt>
                      <c:pt idx="1554">
                        <c:v>-1.474E-3</c:v>
                      </c:pt>
                      <c:pt idx="1555">
                        <c:v>-1.474E-3</c:v>
                      </c:pt>
                      <c:pt idx="1556">
                        <c:v>-1.4865E-3</c:v>
                      </c:pt>
                      <c:pt idx="1557">
                        <c:v>-1.4989999999999999E-3</c:v>
                      </c:pt>
                      <c:pt idx="1558">
                        <c:v>-1.4989999999999999E-3</c:v>
                      </c:pt>
                      <c:pt idx="1559">
                        <c:v>-1.4989999999999999E-3</c:v>
                      </c:pt>
                      <c:pt idx="1560">
                        <c:v>-1.4989999999999999E-3</c:v>
                      </c:pt>
                      <c:pt idx="1561">
                        <c:v>-1.4989999999999999E-3</c:v>
                      </c:pt>
                      <c:pt idx="1562">
                        <c:v>-1.5119999999999999E-3</c:v>
                      </c:pt>
                      <c:pt idx="1563">
                        <c:v>-1.5250000000000001E-3</c:v>
                      </c:pt>
                      <c:pt idx="1564">
                        <c:v>-1.5250000000000001E-3</c:v>
                      </c:pt>
                      <c:pt idx="1565">
                        <c:v>-1.5250000000000001E-3</c:v>
                      </c:pt>
                      <c:pt idx="1566">
                        <c:v>-1.5250000000000001E-3</c:v>
                      </c:pt>
                      <c:pt idx="1567">
                        <c:v>-1.5250000000000001E-3</c:v>
                      </c:pt>
                      <c:pt idx="1568">
                        <c:v>-1.5499999999999999E-3</c:v>
                      </c:pt>
                      <c:pt idx="1569">
                        <c:v>-1.5499999999999999E-3</c:v>
                      </c:pt>
                      <c:pt idx="1570">
                        <c:v>-1.5499999999999999E-3</c:v>
                      </c:pt>
                      <c:pt idx="1571">
                        <c:v>-1.5499999999999999E-3</c:v>
                      </c:pt>
                      <c:pt idx="1572">
                        <c:v>-1.5499999999999999E-3</c:v>
                      </c:pt>
                      <c:pt idx="1573">
                        <c:v>-1.5499999999999999E-3</c:v>
                      </c:pt>
                      <c:pt idx="1574">
                        <c:v>2.3499999999999999E-4</c:v>
                      </c:pt>
                      <c:pt idx="1575">
                        <c:v>2.3499999999999999E-4</c:v>
                      </c:pt>
                      <c:pt idx="1576">
                        <c:v>2.3499999999999999E-4</c:v>
                      </c:pt>
                      <c:pt idx="1577">
                        <c:v>2.3499999999999999E-4</c:v>
                      </c:pt>
                      <c:pt idx="1578">
                        <c:v>2.3499999999999999E-4</c:v>
                      </c:pt>
                      <c:pt idx="1579">
                        <c:v>2.3499999999999999E-4</c:v>
                      </c:pt>
                      <c:pt idx="1580">
                        <c:v>1.6997999999999999E-2</c:v>
                      </c:pt>
                      <c:pt idx="1581">
                        <c:v>1.6997999999999999E-2</c:v>
                      </c:pt>
                      <c:pt idx="1582">
                        <c:v>1.6997999999999999E-2</c:v>
                      </c:pt>
                      <c:pt idx="1583">
                        <c:v>1.6997999999999999E-2</c:v>
                      </c:pt>
                      <c:pt idx="1584">
                        <c:v>1.6997999999999999E-2</c:v>
                      </c:pt>
                      <c:pt idx="1585">
                        <c:v>3.1460000000000002E-2</c:v>
                      </c:pt>
                      <c:pt idx="1586">
                        <c:v>4.5921999999999998E-2</c:v>
                      </c:pt>
                      <c:pt idx="1587">
                        <c:v>4.5921999999999998E-2</c:v>
                      </c:pt>
                      <c:pt idx="1588">
                        <c:v>4.5921999999999998E-2</c:v>
                      </c:pt>
                      <c:pt idx="1589">
                        <c:v>4.5921999999999998E-2</c:v>
                      </c:pt>
                      <c:pt idx="1590">
                        <c:v>4.5921999999999998E-2</c:v>
                      </c:pt>
                      <c:pt idx="1591">
                        <c:v>8.7922E-2</c:v>
                      </c:pt>
                      <c:pt idx="1592">
                        <c:v>8.7922E-2</c:v>
                      </c:pt>
                      <c:pt idx="1593">
                        <c:v>8.7922E-2</c:v>
                      </c:pt>
                      <c:pt idx="1594">
                        <c:v>8.7922E-2</c:v>
                      </c:pt>
                      <c:pt idx="1595">
                        <c:v>8.7922E-2</c:v>
                      </c:pt>
                      <c:pt idx="1596">
                        <c:v>8.7922E-2</c:v>
                      </c:pt>
                      <c:pt idx="1597">
                        <c:v>0.139961</c:v>
                      </c:pt>
                      <c:pt idx="1598">
                        <c:v>0.139961</c:v>
                      </c:pt>
                      <c:pt idx="1599">
                        <c:v>0.139961</c:v>
                      </c:pt>
                      <c:pt idx="1600">
                        <c:v>0.139961</c:v>
                      </c:pt>
                      <c:pt idx="1601">
                        <c:v>0.139961</c:v>
                      </c:pt>
                      <c:pt idx="1602">
                        <c:v>0.139961</c:v>
                      </c:pt>
                      <c:pt idx="1603">
                        <c:v>0.21127899999999999</c:v>
                      </c:pt>
                      <c:pt idx="1604">
                        <c:v>0.21127899999999999</c:v>
                      </c:pt>
                      <c:pt idx="1605">
                        <c:v>0.21127899999999999</c:v>
                      </c:pt>
                      <c:pt idx="1606">
                        <c:v>0.21127899999999999</c:v>
                      </c:pt>
                      <c:pt idx="1607">
                        <c:v>0.21127899999999999</c:v>
                      </c:pt>
                      <c:pt idx="1608">
                        <c:v>0.21127899999999999</c:v>
                      </c:pt>
                      <c:pt idx="1609">
                        <c:v>0.30689100000000002</c:v>
                      </c:pt>
                      <c:pt idx="1610">
                        <c:v>0.30689100000000002</c:v>
                      </c:pt>
                      <c:pt idx="1611">
                        <c:v>0.30689100000000002</c:v>
                      </c:pt>
                      <c:pt idx="1612">
                        <c:v>0.30689100000000002</c:v>
                      </c:pt>
                      <c:pt idx="1613">
                        <c:v>0.30689100000000002</c:v>
                      </c:pt>
                      <c:pt idx="1614">
                        <c:v>0.35865049999999998</c:v>
                      </c:pt>
                      <c:pt idx="1615">
                        <c:v>0.41041</c:v>
                      </c:pt>
                      <c:pt idx="1616">
                        <c:v>0.41041</c:v>
                      </c:pt>
                      <c:pt idx="1617">
                        <c:v>0.41041</c:v>
                      </c:pt>
                      <c:pt idx="1618">
                        <c:v>0.41041</c:v>
                      </c:pt>
                      <c:pt idx="1619">
                        <c:v>0.41041</c:v>
                      </c:pt>
                      <c:pt idx="1620">
                        <c:v>0.67408599999999996</c:v>
                      </c:pt>
                      <c:pt idx="1621">
                        <c:v>0.67408599999999996</c:v>
                      </c:pt>
                      <c:pt idx="1622">
                        <c:v>0.67408599999999996</c:v>
                      </c:pt>
                      <c:pt idx="1623">
                        <c:v>0.67408599999999996</c:v>
                      </c:pt>
                      <c:pt idx="1624">
                        <c:v>0.67408599999999996</c:v>
                      </c:pt>
                      <c:pt idx="1625">
                        <c:v>0.67408599999999996</c:v>
                      </c:pt>
                      <c:pt idx="1626">
                        <c:v>1.200661</c:v>
                      </c:pt>
                      <c:pt idx="1627">
                        <c:v>1.200661</c:v>
                      </c:pt>
                      <c:pt idx="1628">
                        <c:v>1.200661</c:v>
                      </c:pt>
                      <c:pt idx="1629">
                        <c:v>1.200661</c:v>
                      </c:pt>
                      <c:pt idx="1630">
                        <c:v>1.200661</c:v>
                      </c:pt>
                      <c:pt idx="1631">
                        <c:v>1.200661</c:v>
                      </c:pt>
                      <c:pt idx="1632">
                        <c:v>1.953579</c:v>
                      </c:pt>
                      <c:pt idx="1633">
                        <c:v>1.953579</c:v>
                      </c:pt>
                      <c:pt idx="1634">
                        <c:v>1.953579</c:v>
                      </c:pt>
                      <c:pt idx="1635">
                        <c:v>1.953579</c:v>
                      </c:pt>
                      <c:pt idx="1636">
                        <c:v>1.953579</c:v>
                      </c:pt>
                      <c:pt idx="1637">
                        <c:v>2.4286604999999999</c:v>
                      </c:pt>
                      <c:pt idx="1638">
                        <c:v>2.9037419999999998</c:v>
                      </c:pt>
                      <c:pt idx="1639">
                        <c:v>2.9037419999999998</c:v>
                      </c:pt>
                      <c:pt idx="1640">
                        <c:v>2.9037419999999998</c:v>
                      </c:pt>
                      <c:pt idx="1641">
                        <c:v>2.9037419999999998</c:v>
                      </c:pt>
                      <c:pt idx="1642">
                        <c:v>2.9037419999999998</c:v>
                      </c:pt>
                      <c:pt idx="1643">
                        <c:v>3.4950535</c:v>
                      </c:pt>
                      <c:pt idx="1644">
                        <c:v>4.0863649999999998</c:v>
                      </c:pt>
                      <c:pt idx="1645">
                        <c:v>4.0863649999999998</c:v>
                      </c:pt>
                      <c:pt idx="1646">
                        <c:v>4.0863649999999998</c:v>
                      </c:pt>
                      <c:pt idx="1647">
                        <c:v>4.0863649999999998</c:v>
                      </c:pt>
                      <c:pt idx="1648">
                        <c:v>4.0863649999999998</c:v>
                      </c:pt>
                      <c:pt idx="1649">
                        <c:v>5.6636949999999997</c:v>
                      </c:pt>
                      <c:pt idx="1650">
                        <c:v>5.6636949999999997</c:v>
                      </c:pt>
                      <c:pt idx="1651">
                        <c:v>5.6636949999999997</c:v>
                      </c:pt>
                      <c:pt idx="1652">
                        <c:v>5.6636949999999997</c:v>
                      </c:pt>
                      <c:pt idx="1653">
                        <c:v>5.6636949999999997</c:v>
                      </c:pt>
                      <c:pt idx="1654">
                        <c:v>5.6636949999999997</c:v>
                      </c:pt>
                      <c:pt idx="1655">
                        <c:v>7.5079789999999997</c:v>
                      </c:pt>
                      <c:pt idx="1656">
                        <c:v>7.5079789999999997</c:v>
                      </c:pt>
                      <c:pt idx="1657">
                        <c:v>7.5079789999999997</c:v>
                      </c:pt>
                      <c:pt idx="1658">
                        <c:v>7.5079789999999997</c:v>
                      </c:pt>
                      <c:pt idx="1659">
                        <c:v>7.5079789999999997</c:v>
                      </c:pt>
                      <c:pt idx="1660">
                        <c:v>7.5079789999999997</c:v>
                      </c:pt>
                      <c:pt idx="1661">
                        <c:v>9.4977940000000007</c:v>
                      </c:pt>
                      <c:pt idx="1662">
                        <c:v>9.4977940000000007</c:v>
                      </c:pt>
                      <c:pt idx="1663">
                        <c:v>9.4977940000000007</c:v>
                      </c:pt>
                      <c:pt idx="1664">
                        <c:v>9.4977940000000007</c:v>
                      </c:pt>
                      <c:pt idx="1665">
                        <c:v>9.4977940000000007</c:v>
                      </c:pt>
                      <c:pt idx="1666">
                        <c:v>10.592980300000001</c:v>
                      </c:pt>
                      <c:pt idx="1667">
                        <c:v>11.688166600000001</c:v>
                      </c:pt>
                      <c:pt idx="1668">
                        <c:v>11.688166600000001</c:v>
                      </c:pt>
                      <c:pt idx="1669">
                        <c:v>11.688166600000001</c:v>
                      </c:pt>
                      <c:pt idx="1670">
                        <c:v>11.688166600000001</c:v>
                      </c:pt>
                      <c:pt idx="1671">
                        <c:v>11.688166600000001</c:v>
                      </c:pt>
                      <c:pt idx="1672">
                        <c:v>14.0782223</c:v>
                      </c:pt>
                      <c:pt idx="1673">
                        <c:v>14.0782223</c:v>
                      </c:pt>
                      <c:pt idx="1674">
                        <c:v>14.0782223</c:v>
                      </c:pt>
                      <c:pt idx="1675">
                        <c:v>14.0782223</c:v>
                      </c:pt>
                      <c:pt idx="1676">
                        <c:v>14.0782223</c:v>
                      </c:pt>
                      <c:pt idx="1677">
                        <c:v>14.0782223</c:v>
                      </c:pt>
                      <c:pt idx="1678">
                        <c:v>16.6288242</c:v>
                      </c:pt>
                      <c:pt idx="1679">
                        <c:v>16.6288242</c:v>
                      </c:pt>
                      <c:pt idx="1680">
                        <c:v>16.6288242</c:v>
                      </c:pt>
                      <c:pt idx="1681">
                        <c:v>16.6288242</c:v>
                      </c:pt>
                      <c:pt idx="1682">
                        <c:v>16.6288242</c:v>
                      </c:pt>
                      <c:pt idx="1683">
                        <c:v>16.6288242</c:v>
                      </c:pt>
                      <c:pt idx="1684">
                        <c:v>19.175636300000001</c:v>
                      </c:pt>
                      <c:pt idx="1685">
                        <c:v>19.175636300000001</c:v>
                      </c:pt>
                      <c:pt idx="1686">
                        <c:v>19.175636300000001</c:v>
                      </c:pt>
                      <c:pt idx="1687">
                        <c:v>19.175636300000001</c:v>
                      </c:pt>
                      <c:pt idx="1688">
                        <c:v>19.175636300000001</c:v>
                      </c:pt>
                      <c:pt idx="1689">
                        <c:v>19.175636300000001</c:v>
                      </c:pt>
                      <c:pt idx="1690">
                        <c:v>21.553085299999999</c:v>
                      </c:pt>
                      <c:pt idx="1691">
                        <c:v>21.553085299999999</c:v>
                      </c:pt>
                      <c:pt idx="1692">
                        <c:v>21.553085299999999</c:v>
                      </c:pt>
                      <c:pt idx="1693">
                        <c:v>21.553085299999999</c:v>
                      </c:pt>
                      <c:pt idx="1694">
                        <c:v>21.553085299999999</c:v>
                      </c:pt>
                      <c:pt idx="1695">
                        <c:v>22.609999649999999</c:v>
                      </c:pt>
                      <c:pt idx="1696">
                        <c:v>23.666913999999998</c:v>
                      </c:pt>
                      <c:pt idx="1697">
                        <c:v>23.666913999999998</c:v>
                      </c:pt>
                      <c:pt idx="1698">
                        <c:v>23.666913999999998</c:v>
                      </c:pt>
                      <c:pt idx="1699">
                        <c:v>23.666913999999998</c:v>
                      </c:pt>
                      <c:pt idx="1700">
                        <c:v>23.666913999999998</c:v>
                      </c:pt>
                      <c:pt idx="1701">
                        <c:v>25.494623199999999</c:v>
                      </c:pt>
                      <c:pt idx="1702">
                        <c:v>25.494623199999999</c:v>
                      </c:pt>
                      <c:pt idx="1703">
                        <c:v>25.494623199999999</c:v>
                      </c:pt>
                      <c:pt idx="1704">
                        <c:v>25.494623199999999</c:v>
                      </c:pt>
                      <c:pt idx="1705">
                        <c:v>25.494623199999999</c:v>
                      </c:pt>
                      <c:pt idx="1706">
                        <c:v>25.494623199999999</c:v>
                      </c:pt>
                      <c:pt idx="1707">
                        <c:v>27.117435499999999</c:v>
                      </c:pt>
                      <c:pt idx="1708">
                        <c:v>27.117435499999999</c:v>
                      </c:pt>
                      <c:pt idx="1709">
                        <c:v>27.117435499999999</c:v>
                      </c:pt>
                      <c:pt idx="1710">
                        <c:v>27.117435499999999</c:v>
                      </c:pt>
                      <c:pt idx="1711">
                        <c:v>27.117435499999999</c:v>
                      </c:pt>
                      <c:pt idx="1712">
                        <c:v>27.117435499999999</c:v>
                      </c:pt>
                      <c:pt idx="1713">
                        <c:v>28.473109999999998</c:v>
                      </c:pt>
                      <c:pt idx="1714">
                        <c:v>28.473109999999998</c:v>
                      </c:pt>
                      <c:pt idx="1715">
                        <c:v>28.473109999999998</c:v>
                      </c:pt>
                      <c:pt idx="1716">
                        <c:v>28.473109999999998</c:v>
                      </c:pt>
                      <c:pt idx="1717">
                        <c:v>28.473109999999998</c:v>
                      </c:pt>
                      <c:pt idx="1718">
                        <c:v>28.942855000000002</c:v>
                      </c:pt>
                      <c:pt idx="1719">
                        <c:v>29.412600000000001</c:v>
                      </c:pt>
                      <c:pt idx="1720">
                        <c:v>29.412600000000001</c:v>
                      </c:pt>
                      <c:pt idx="1721">
                        <c:v>29.412600000000001</c:v>
                      </c:pt>
                      <c:pt idx="1722">
                        <c:v>29.412600000000001</c:v>
                      </c:pt>
                      <c:pt idx="1723">
                        <c:v>29.412600000000001</c:v>
                      </c:pt>
                      <c:pt idx="1724">
                        <c:v>29.715602150000002</c:v>
                      </c:pt>
                      <c:pt idx="1725">
                        <c:v>30.0186043</c:v>
                      </c:pt>
                      <c:pt idx="1726">
                        <c:v>30.0186043</c:v>
                      </c:pt>
                      <c:pt idx="1727">
                        <c:v>30.0186043</c:v>
                      </c:pt>
                      <c:pt idx="1728">
                        <c:v>30.0186043</c:v>
                      </c:pt>
                      <c:pt idx="1729">
                        <c:v>30.0186043</c:v>
                      </c:pt>
                      <c:pt idx="1730">
                        <c:v>30.4132137</c:v>
                      </c:pt>
                      <c:pt idx="1731">
                        <c:v>30.4132137</c:v>
                      </c:pt>
                      <c:pt idx="1732">
                        <c:v>30.4132137</c:v>
                      </c:pt>
                      <c:pt idx="1733">
                        <c:v>30.4132137</c:v>
                      </c:pt>
                      <c:pt idx="1734">
                        <c:v>30.4132137</c:v>
                      </c:pt>
                      <c:pt idx="1735">
                        <c:v>30.4132137</c:v>
                      </c:pt>
                      <c:pt idx="1736">
                        <c:v>30.619167300000001</c:v>
                      </c:pt>
                      <c:pt idx="1737">
                        <c:v>30.619167300000001</c:v>
                      </c:pt>
                      <c:pt idx="1738">
                        <c:v>30.619167300000001</c:v>
                      </c:pt>
                      <c:pt idx="1739">
                        <c:v>30.619167300000001</c:v>
                      </c:pt>
                      <c:pt idx="1740">
                        <c:v>30.619167300000001</c:v>
                      </c:pt>
                      <c:pt idx="1741">
                        <c:v>30.619167300000001</c:v>
                      </c:pt>
                      <c:pt idx="1742">
                        <c:v>30.562225300000001</c:v>
                      </c:pt>
                      <c:pt idx="1743">
                        <c:v>30.562225300000001</c:v>
                      </c:pt>
                      <c:pt idx="1744">
                        <c:v>30.562225300000001</c:v>
                      </c:pt>
                      <c:pt idx="1745">
                        <c:v>30.562225300000001</c:v>
                      </c:pt>
                      <c:pt idx="1746">
                        <c:v>30.562225300000001</c:v>
                      </c:pt>
                      <c:pt idx="1747">
                        <c:v>30.437577650000001</c:v>
                      </c:pt>
                      <c:pt idx="1748">
                        <c:v>30.312930000000001</c:v>
                      </c:pt>
                      <c:pt idx="1749">
                        <c:v>30.312930000000001</c:v>
                      </c:pt>
                      <c:pt idx="1750">
                        <c:v>30.312930000000001</c:v>
                      </c:pt>
                      <c:pt idx="1751">
                        <c:v>30.312930000000001</c:v>
                      </c:pt>
                      <c:pt idx="1752">
                        <c:v>30.312930000000001</c:v>
                      </c:pt>
                      <c:pt idx="1753">
                        <c:v>30.16483255</c:v>
                      </c:pt>
                      <c:pt idx="1754">
                        <c:v>30.016735099999998</c:v>
                      </c:pt>
                      <c:pt idx="1755">
                        <c:v>30.016735099999998</c:v>
                      </c:pt>
                      <c:pt idx="1756">
                        <c:v>30.016735099999998</c:v>
                      </c:pt>
                      <c:pt idx="1757">
                        <c:v>30.016735099999998</c:v>
                      </c:pt>
                      <c:pt idx="1758">
                        <c:v>30.016735099999998</c:v>
                      </c:pt>
                      <c:pt idx="1759">
                        <c:v>29.7440739</c:v>
                      </c:pt>
                      <c:pt idx="1760">
                        <c:v>29.7440739</c:v>
                      </c:pt>
                      <c:pt idx="1761">
                        <c:v>29.7440739</c:v>
                      </c:pt>
                      <c:pt idx="1762">
                        <c:v>29.7440739</c:v>
                      </c:pt>
                      <c:pt idx="1763">
                        <c:v>29.7440739</c:v>
                      </c:pt>
                      <c:pt idx="1764">
                        <c:v>29.7440739</c:v>
                      </c:pt>
                      <c:pt idx="1765">
                        <c:v>29.479928999999998</c:v>
                      </c:pt>
                      <c:pt idx="1766">
                        <c:v>29.479928999999998</c:v>
                      </c:pt>
                      <c:pt idx="1767">
                        <c:v>29.479928999999998</c:v>
                      </c:pt>
                      <c:pt idx="1768">
                        <c:v>29.479928999999998</c:v>
                      </c:pt>
                      <c:pt idx="1769">
                        <c:v>29.479928999999998</c:v>
                      </c:pt>
                      <c:pt idx="1770">
                        <c:v>29.479928999999998</c:v>
                      </c:pt>
                      <c:pt idx="1771">
                        <c:v>29.265139999999999</c:v>
                      </c:pt>
                      <c:pt idx="1772">
                        <c:v>29.265139999999999</c:v>
                      </c:pt>
                      <c:pt idx="1773">
                        <c:v>29.265139999999999</c:v>
                      </c:pt>
                      <c:pt idx="1774">
                        <c:v>29.265139999999999</c:v>
                      </c:pt>
                      <c:pt idx="1775">
                        <c:v>29.265139999999999</c:v>
                      </c:pt>
                      <c:pt idx="1776">
                        <c:v>29.164516200000001</c:v>
                      </c:pt>
                      <c:pt idx="1777">
                        <c:v>29.0638924</c:v>
                      </c:pt>
                      <c:pt idx="1778">
                        <c:v>29.0638924</c:v>
                      </c:pt>
                      <c:pt idx="1779">
                        <c:v>29.0638924</c:v>
                      </c:pt>
                      <c:pt idx="1780">
                        <c:v>29.0638924</c:v>
                      </c:pt>
                      <c:pt idx="1781">
                        <c:v>29.0638924</c:v>
                      </c:pt>
                      <c:pt idx="1782">
                        <c:v>28.8673687</c:v>
                      </c:pt>
                      <c:pt idx="1783">
                        <c:v>28.8673687</c:v>
                      </c:pt>
                      <c:pt idx="1784">
                        <c:v>28.8673687</c:v>
                      </c:pt>
                      <c:pt idx="1785">
                        <c:v>28.8673687</c:v>
                      </c:pt>
                      <c:pt idx="1786">
                        <c:v>28.8673687</c:v>
                      </c:pt>
                      <c:pt idx="1787">
                        <c:v>28.8673687</c:v>
                      </c:pt>
                      <c:pt idx="1788">
                        <c:v>28.4884624</c:v>
                      </c:pt>
                      <c:pt idx="1789">
                        <c:v>28.4884624</c:v>
                      </c:pt>
                      <c:pt idx="1790">
                        <c:v>28.4884624</c:v>
                      </c:pt>
                      <c:pt idx="1791">
                        <c:v>28.4884624</c:v>
                      </c:pt>
                      <c:pt idx="1792">
                        <c:v>28.4884624</c:v>
                      </c:pt>
                      <c:pt idx="1793">
                        <c:v>28.4884624</c:v>
                      </c:pt>
                      <c:pt idx="1794">
                        <c:v>27.9938316</c:v>
                      </c:pt>
                      <c:pt idx="1795">
                        <c:v>27.9938316</c:v>
                      </c:pt>
                      <c:pt idx="1796">
                        <c:v>27.9938316</c:v>
                      </c:pt>
                      <c:pt idx="1797">
                        <c:v>27.9938316</c:v>
                      </c:pt>
                      <c:pt idx="1798">
                        <c:v>27.9938316</c:v>
                      </c:pt>
                      <c:pt idx="1799">
                        <c:v>27.9938316</c:v>
                      </c:pt>
                      <c:pt idx="1800">
                        <c:v>27.3811359</c:v>
                      </c:pt>
                      <c:pt idx="1801">
                        <c:v>27.3811359</c:v>
                      </c:pt>
                      <c:pt idx="1802">
                        <c:v>27.3811359</c:v>
                      </c:pt>
                      <c:pt idx="1803">
                        <c:v>27.3811359</c:v>
                      </c:pt>
                      <c:pt idx="1804">
                        <c:v>27.3811359</c:v>
                      </c:pt>
                      <c:pt idx="1805">
                        <c:v>26.99477005</c:v>
                      </c:pt>
                      <c:pt idx="1806">
                        <c:v>26.608404199999999</c:v>
                      </c:pt>
                      <c:pt idx="1807">
                        <c:v>26.608404199999999</c:v>
                      </c:pt>
                      <c:pt idx="1808">
                        <c:v>26.608404199999999</c:v>
                      </c:pt>
                      <c:pt idx="1809">
                        <c:v>26.608404199999999</c:v>
                      </c:pt>
                      <c:pt idx="1810">
                        <c:v>26.608404199999999</c:v>
                      </c:pt>
                      <c:pt idx="1811">
                        <c:v>25.6310425</c:v>
                      </c:pt>
                      <c:pt idx="1812">
                        <c:v>25.6310425</c:v>
                      </c:pt>
                      <c:pt idx="1813">
                        <c:v>25.6310425</c:v>
                      </c:pt>
                      <c:pt idx="1814">
                        <c:v>25.6310425</c:v>
                      </c:pt>
                      <c:pt idx="1815">
                        <c:v>25.6310425</c:v>
                      </c:pt>
                      <c:pt idx="1816">
                        <c:v>25.6310425</c:v>
                      </c:pt>
                      <c:pt idx="1817">
                        <c:v>24.332097999999998</c:v>
                      </c:pt>
                      <c:pt idx="1818">
                        <c:v>24.332097999999998</c:v>
                      </c:pt>
                      <c:pt idx="1819">
                        <c:v>24.332097999999998</c:v>
                      </c:pt>
                      <c:pt idx="1820">
                        <c:v>24.332097999999998</c:v>
                      </c:pt>
                      <c:pt idx="1821">
                        <c:v>24.332097999999998</c:v>
                      </c:pt>
                      <c:pt idx="1822">
                        <c:v>24.332097999999998</c:v>
                      </c:pt>
                      <c:pt idx="1823">
                        <c:v>22.961870000000001</c:v>
                      </c:pt>
                      <c:pt idx="1824">
                        <c:v>22.961870000000001</c:v>
                      </c:pt>
                      <c:pt idx="1825">
                        <c:v>22.961870000000001</c:v>
                      </c:pt>
                      <c:pt idx="1826">
                        <c:v>22.961870000000001</c:v>
                      </c:pt>
                      <c:pt idx="1827">
                        <c:v>22.961870000000001</c:v>
                      </c:pt>
                      <c:pt idx="1828">
                        <c:v>22.174114150000001</c:v>
                      </c:pt>
                      <c:pt idx="1829">
                        <c:v>21.386358300000001</c:v>
                      </c:pt>
                      <c:pt idx="1830">
                        <c:v>21.386358300000001</c:v>
                      </c:pt>
                      <c:pt idx="1831">
                        <c:v>21.386358300000001</c:v>
                      </c:pt>
                      <c:pt idx="1832">
                        <c:v>21.386358300000001</c:v>
                      </c:pt>
                      <c:pt idx="1833">
                        <c:v>21.386358300000001</c:v>
                      </c:pt>
                      <c:pt idx="1834">
                        <c:v>20.503918650000003</c:v>
                      </c:pt>
                      <c:pt idx="1835">
                        <c:v>19.621479000000001</c:v>
                      </c:pt>
                      <c:pt idx="1836">
                        <c:v>19.621479000000001</c:v>
                      </c:pt>
                      <c:pt idx="1837">
                        <c:v>19.621479000000001</c:v>
                      </c:pt>
                      <c:pt idx="1838">
                        <c:v>19.621479000000001</c:v>
                      </c:pt>
                      <c:pt idx="1839">
                        <c:v>19.621479000000001</c:v>
                      </c:pt>
                      <c:pt idx="1840">
                        <c:v>17.631027199999998</c:v>
                      </c:pt>
                      <c:pt idx="1841">
                        <c:v>17.631027199999998</c:v>
                      </c:pt>
                      <c:pt idx="1842">
                        <c:v>17.631027199999998</c:v>
                      </c:pt>
                      <c:pt idx="1843">
                        <c:v>17.631027199999998</c:v>
                      </c:pt>
                      <c:pt idx="1844">
                        <c:v>17.631027199999998</c:v>
                      </c:pt>
                      <c:pt idx="1845">
                        <c:v>17.631027199999998</c:v>
                      </c:pt>
                      <c:pt idx="1846">
                        <c:v>15.535084700000001</c:v>
                      </c:pt>
                      <c:pt idx="1847">
                        <c:v>15.535084700000001</c:v>
                      </c:pt>
                      <c:pt idx="1848">
                        <c:v>15.535084700000001</c:v>
                      </c:pt>
                      <c:pt idx="1849">
                        <c:v>15.535084700000001</c:v>
                      </c:pt>
                      <c:pt idx="1850">
                        <c:v>15.535084700000001</c:v>
                      </c:pt>
                      <c:pt idx="1851">
                        <c:v>15.535084700000001</c:v>
                      </c:pt>
                      <c:pt idx="1852">
                        <c:v>13.448816300000001</c:v>
                      </c:pt>
                      <c:pt idx="1853">
                        <c:v>13.448816300000001</c:v>
                      </c:pt>
                      <c:pt idx="1854">
                        <c:v>13.448816300000001</c:v>
                      </c:pt>
                      <c:pt idx="1855">
                        <c:v>13.448816300000001</c:v>
                      </c:pt>
                      <c:pt idx="1856">
                        <c:v>13.448816300000001</c:v>
                      </c:pt>
                      <c:pt idx="1857">
                        <c:v>12.4649391</c:v>
                      </c:pt>
                      <c:pt idx="1858">
                        <c:v>11.4810619</c:v>
                      </c:pt>
                      <c:pt idx="1859">
                        <c:v>11.4810619</c:v>
                      </c:pt>
                      <c:pt idx="1860">
                        <c:v>11.4810619</c:v>
                      </c:pt>
                      <c:pt idx="1861">
                        <c:v>11.4810619</c:v>
                      </c:pt>
                      <c:pt idx="1862">
                        <c:v>11.4810619</c:v>
                      </c:pt>
                      <c:pt idx="1863">
                        <c:v>9.6329499999999992</c:v>
                      </c:pt>
                      <c:pt idx="1864">
                        <c:v>9.6329499999999992</c:v>
                      </c:pt>
                      <c:pt idx="1865">
                        <c:v>9.6329499999999992</c:v>
                      </c:pt>
                      <c:pt idx="1866">
                        <c:v>9.6329499999999992</c:v>
                      </c:pt>
                      <c:pt idx="1867">
                        <c:v>9.6329499999999992</c:v>
                      </c:pt>
                      <c:pt idx="1868">
                        <c:v>9.6329499999999992</c:v>
                      </c:pt>
                      <c:pt idx="1869">
                        <c:v>7.9273740000000004</c:v>
                      </c:pt>
                      <c:pt idx="1870">
                        <c:v>7.9273740000000004</c:v>
                      </c:pt>
                      <c:pt idx="1871">
                        <c:v>7.9273740000000004</c:v>
                      </c:pt>
                      <c:pt idx="1872">
                        <c:v>7.9273740000000004</c:v>
                      </c:pt>
                      <c:pt idx="1873">
                        <c:v>7.9273740000000004</c:v>
                      </c:pt>
                      <c:pt idx="1874">
                        <c:v>7.9273740000000004</c:v>
                      </c:pt>
                      <c:pt idx="1875">
                        <c:v>6.3284820000000002</c:v>
                      </c:pt>
                      <c:pt idx="1876">
                        <c:v>6.3284820000000002</c:v>
                      </c:pt>
                      <c:pt idx="1877">
                        <c:v>6.3284820000000002</c:v>
                      </c:pt>
                      <c:pt idx="1878">
                        <c:v>6.3284820000000002</c:v>
                      </c:pt>
                      <c:pt idx="1879">
                        <c:v>6.3284820000000002</c:v>
                      </c:pt>
                      <c:pt idx="1880">
                        <c:v>6.3284820000000002</c:v>
                      </c:pt>
                      <c:pt idx="1881">
                        <c:v>4.9421460000000002</c:v>
                      </c:pt>
                      <c:pt idx="1882">
                        <c:v>4.9421460000000002</c:v>
                      </c:pt>
                      <c:pt idx="1883">
                        <c:v>4.9421460000000002</c:v>
                      </c:pt>
                      <c:pt idx="1884">
                        <c:v>4.9421460000000002</c:v>
                      </c:pt>
                      <c:pt idx="1885">
                        <c:v>4.9421460000000002</c:v>
                      </c:pt>
                      <c:pt idx="1886">
                        <c:v>4.3966349999999998</c:v>
                      </c:pt>
                      <c:pt idx="1887">
                        <c:v>3.851124</c:v>
                      </c:pt>
                      <c:pt idx="1888">
                        <c:v>3.851124</c:v>
                      </c:pt>
                      <c:pt idx="1889">
                        <c:v>3.851124</c:v>
                      </c:pt>
                      <c:pt idx="1890">
                        <c:v>3.851124</c:v>
                      </c:pt>
                      <c:pt idx="1891">
                        <c:v>3.851124</c:v>
                      </c:pt>
                      <c:pt idx="1892">
                        <c:v>2.8640750000000001</c:v>
                      </c:pt>
                      <c:pt idx="1893">
                        <c:v>2.8640750000000001</c:v>
                      </c:pt>
                      <c:pt idx="1894">
                        <c:v>2.8640750000000001</c:v>
                      </c:pt>
                      <c:pt idx="1895">
                        <c:v>2.8640750000000001</c:v>
                      </c:pt>
                      <c:pt idx="1896">
                        <c:v>2.8640750000000001</c:v>
                      </c:pt>
                      <c:pt idx="1897">
                        <c:v>2.8640750000000001</c:v>
                      </c:pt>
                      <c:pt idx="1898">
                        <c:v>2.074014</c:v>
                      </c:pt>
                      <c:pt idx="1899">
                        <c:v>2.074014</c:v>
                      </c:pt>
                      <c:pt idx="1900">
                        <c:v>2.074014</c:v>
                      </c:pt>
                      <c:pt idx="1901">
                        <c:v>2.074014</c:v>
                      </c:pt>
                      <c:pt idx="1902">
                        <c:v>2.074014</c:v>
                      </c:pt>
                      <c:pt idx="1903">
                        <c:v>2.074014</c:v>
                      </c:pt>
                      <c:pt idx="1904">
                        <c:v>1.4602649999999999</c:v>
                      </c:pt>
                      <c:pt idx="1905">
                        <c:v>1.4602649999999999</c:v>
                      </c:pt>
                      <c:pt idx="1906">
                        <c:v>1.4602649999999999</c:v>
                      </c:pt>
                      <c:pt idx="1907">
                        <c:v>1.4602649999999999</c:v>
                      </c:pt>
                      <c:pt idx="1908">
                        <c:v>1.4602649999999999</c:v>
                      </c:pt>
                      <c:pt idx="1909">
                        <c:v>1.2736044999999998</c:v>
                      </c:pt>
                      <c:pt idx="1910">
                        <c:v>1.0869439999999999</c:v>
                      </c:pt>
                      <c:pt idx="1911">
                        <c:v>1.0869439999999999</c:v>
                      </c:pt>
                      <c:pt idx="1912">
                        <c:v>1.0869439999999999</c:v>
                      </c:pt>
                      <c:pt idx="1913">
                        <c:v>1.0869439999999999</c:v>
                      </c:pt>
                      <c:pt idx="1914">
                        <c:v>1.0869439999999999</c:v>
                      </c:pt>
                      <c:pt idx="1915">
                        <c:v>0.94830499999999995</c:v>
                      </c:pt>
                      <c:pt idx="1916">
                        <c:v>0.809666</c:v>
                      </c:pt>
                      <c:pt idx="1917">
                        <c:v>0.809666</c:v>
                      </c:pt>
                      <c:pt idx="1918">
                        <c:v>0.809666</c:v>
                      </c:pt>
                      <c:pt idx="1919">
                        <c:v>0.809666</c:v>
                      </c:pt>
                      <c:pt idx="1920">
                        <c:v>0.809666</c:v>
                      </c:pt>
                      <c:pt idx="1921">
                        <c:v>0.55367</c:v>
                      </c:pt>
                      <c:pt idx="1922">
                        <c:v>0.55367</c:v>
                      </c:pt>
                      <c:pt idx="1923">
                        <c:v>0.55367</c:v>
                      </c:pt>
                      <c:pt idx="1924">
                        <c:v>0.55367</c:v>
                      </c:pt>
                      <c:pt idx="1925">
                        <c:v>0.55367</c:v>
                      </c:pt>
                      <c:pt idx="1926">
                        <c:v>0.55367</c:v>
                      </c:pt>
                      <c:pt idx="1927">
                        <c:v>0.365672</c:v>
                      </c:pt>
                      <c:pt idx="1928">
                        <c:v>0.365672</c:v>
                      </c:pt>
                      <c:pt idx="1929">
                        <c:v>0.365672</c:v>
                      </c:pt>
                      <c:pt idx="1930">
                        <c:v>0.365672</c:v>
                      </c:pt>
                      <c:pt idx="1931">
                        <c:v>0.365672</c:v>
                      </c:pt>
                      <c:pt idx="1932">
                        <c:v>0.365672</c:v>
                      </c:pt>
                      <c:pt idx="1933">
                        <c:v>0.230321</c:v>
                      </c:pt>
                      <c:pt idx="1934">
                        <c:v>0.230321</c:v>
                      </c:pt>
                      <c:pt idx="1935">
                        <c:v>0.230321</c:v>
                      </c:pt>
                      <c:pt idx="1936">
                        <c:v>0.230321</c:v>
                      </c:pt>
                      <c:pt idx="1937">
                        <c:v>0.230321</c:v>
                      </c:pt>
                      <c:pt idx="1938">
                        <c:v>0.1759705</c:v>
                      </c:pt>
                      <c:pt idx="1939">
                        <c:v>0.12162000000000001</c:v>
                      </c:pt>
                      <c:pt idx="1940">
                        <c:v>0.12162000000000001</c:v>
                      </c:pt>
                      <c:pt idx="1941">
                        <c:v>0.12162000000000001</c:v>
                      </c:pt>
                      <c:pt idx="1942">
                        <c:v>0.12162000000000001</c:v>
                      </c:pt>
                      <c:pt idx="1943">
                        <c:v>0.12162000000000001</c:v>
                      </c:pt>
                      <c:pt idx="1944">
                        <c:v>8.3681500000000006E-2</c:v>
                      </c:pt>
                      <c:pt idx="1945">
                        <c:v>4.5742999999999999E-2</c:v>
                      </c:pt>
                      <c:pt idx="1946">
                        <c:v>4.5742999999999999E-2</c:v>
                      </c:pt>
                      <c:pt idx="1947">
                        <c:v>4.5742999999999999E-2</c:v>
                      </c:pt>
                      <c:pt idx="1948">
                        <c:v>4.5742999999999999E-2</c:v>
                      </c:pt>
                      <c:pt idx="1949">
                        <c:v>4.5742999999999999E-2</c:v>
                      </c:pt>
                      <c:pt idx="1950">
                        <c:v>4.8960000000000002E-3</c:v>
                      </c:pt>
                      <c:pt idx="1951">
                        <c:v>4.8960000000000002E-3</c:v>
                      </c:pt>
                      <c:pt idx="1952">
                        <c:v>4.8960000000000002E-3</c:v>
                      </c:pt>
                      <c:pt idx="1953">
                        <c:v>4.8960000000000002E-3</c:v>
                      </c:pt>
                      <c:pt idx="1954">
                        <c:v>4.8960000000000002E-3</c:v>
                      </c:pt>
                      <c:pt idx="1955">
                        <c:v>4.8960000000000002E-3</c:v>
                      </c:pt>
                      <c:pt idx="1956">
                        <c:v>-1.9220000000000001E-3</c:v>
                      </c:pt>
                      <c:pt idx="1957">
                        <c:v>-1.9220000000000001E-3</c:v>
                      </c:pt>
                      <c:pt idx="1958">
                        <c:v>-1.9220000000000001E-3</c:v>
                      </c:pt>
                      <c:pt idx="1959">
                        <c:v>-1.9220000000000001E-3</c:v>
                      </c:pt>
                      <c:pt idx="1960">
                        <c:v>-1.9220000000000001E-3</c:v>
                      </c:pt>
                      <c:pt idx="1961">
                        <c:v>-1.9220000000000001E-3</c:v>
                      </c:pt>
                      <c:pt idx="1962">
                        <c:v>1.536E-3</c:v>
                      </c:pt>
                      <c:pt idx="1963">
                        <c:v>1.536E-3</c:v>
                      </c:pt>
                      <c:pt idx="1964">
                        <c:v>1.536E-3</c:v>
                      </c:pt>
                      <c:pt idx="1965">
                        <c:v>1.536E-3</c:v>
                      </c:pt>
                      <c:pt idx="1966">
                        <c:v>1.536E-3</c:v>
                      </c:pt>
                      <c:pt idx="1967">
                        <c:v>-1.1499999999999998E-4</c:v>
                      </c:pt>
                      <c:pt idx="1968">
                        <c:v>-1.766E-3</c:v>
                      </c:pt>
                      <c:pt idx="1969">
                        <c:v>-1.766E-3</c:v>
                      </c:pt>
                      <c:pt idx="1970">
                        <c:v>-1.766E-3</c:v>
                      </c:pt>
                      <c:pt idx="1971">
                        <c:v>-1.766E-3</c:v>
                      </c:pt>
                      <c:pt idx="1972">
                        <c:v>-1.766E-3</c:v>
                      </c:pt>
                      <c:pt idx="1973">
                        <c:v>1.407E-3</c:v>
                      </c:pt>
                      <c:pt idx="1974">
                        <c:v>1.407E-3</c:v>
                      </c:pt>
                      <c:pt idx="1975">
                        <c:v>1.407E-3</c:v>
                      </c:pt>
                      <c:pt idx="1976">
                        <c:v>1.407E-3</c:v>
                      </c:pt>
                      <c:pt idx="1977">
                        <c:v>1.407E-3</c:v>
                      </c:pt>
                      <c:pt idx="1978">
                        <c:v>1.407E-3</c:v>
                      </c:pt>
                      <c:pt idx="1979">
                        <c:v>-1.2669999999999999E-3</c:v>
                      </c:pt>
                      <c:pt idx="1980">
                        <c:v>-1.2669999999999999E-3</c:v>
                      </c:pt>
                      <c:pt idx="1981">
                        <c:v>-1.2669999999999999E-3</c:v>
                      </c:pt>
                      <c:pt idx="1982">
                        <c:v>-1.2669999999999999E-3</c:v>
                      </c:pt>
                      <c:pt idx="1983">
                        <c:v>-1.2669999999999999E-3</c:v>
                      </c:pt>
                      <c:pt idx="1984">
                        <c:v>-1.2669999999999999E-3</c:v>
                      </c:pt>
                      <c:pt idx="1985">
                        <c:v>6.0300000000000002E-4</c:v>
                      </c:pt>
                      <c:pt idx="1986">
                        <c:v>6.0300000000000002E-4</c:v>
                      </c:pt>
                      <c:pt idx="1987">
                        <c:v>6.0300000000000002E-4</c:v>
                      </c:pt>
                      <c:pt idx="1988">
                        <c:v>6.0300000000000002E-4</c:v>
                      </c:pt>
                      <c:pt idx="1989">
                        <c:v>6.0300000000000002E-4</c:v>
                      </c:pt>
                      <c:pt idx="1990">
                        <c:v>6.0300000000000002E-4</c:v>
                      </c:pt>
                      <c:pt idx="1991">
                        <c:v>-5.8600000000000004E-4</c:v>
                      </c:pt>
                      <c:pt idx="1992">
                        <c:v>-5.8600000000000004E-4</c:v>
                      </c:pt>
                      <c:pt idx="1993">
                        <c:v>-5.8600000000000004E-4</c:v>
                      </c:pt>
                      <c:pt idx="1994">
                        <c:v>-5.8600000000000004E-4</c:v>
                      </c:pt>
                      <c:pt idx="1995">
                        <c:v>-5.8600000000000004E-4</c:v>
                      </c:pt>
                      <c:pt idx="1996">
                        <c:v>-8.4000000000000009E-5</c:v>
                      </c:pt>
                      <c:pt idx="1997">
                        <c:v>4.1800000000000002E-4</c:v>
                      </c:pt>
                      <c:pt idx="1998">
                        <c:v>4.1800000000000002E-4</c:v>
                      </c:pt>
                      <c:pt idx="1999">
                        <c:v>4.1800000000000002E-4</c:v>
                      </c:pt>
                      <c:pt idx="2000">
                        <c:v>4.1800000000000002E-4</c:v>
                      </c:pt>
                      <c:pt idx="2001">
                        <c:v>4.1800000000000002E-4</c:v>
                      </c:pt>
                      <c:pt idx="2002">
                        <c:v>-4.0000000000000003E-5</c:v>
                      </c:pt>
                      <c:pt idx="2003">
                        <c:v>-4.0000000000000003E-5</c:v>
                      </c:pt>
                      <c:pt idx="2004">
                        <c:v>-4.0000000000000003E-5</c:v>
                      </c:pt>
                      <c:pt idx="2005">
                        <c:v>-4.0000000000000003E-5</c:v>
                      </c:pt>
                      <c:pt idx="2006">
                        <c:v>-4.0000000000000003E-5</c:v>
                      </c:pt>
                      <c:pt idx="2007">
                        <c:v>-4.0000000000000003E-5</c:v>
                      </c:pt>
                      <c:pt idx="2008">
                        <c:v>-3.8999999999999999E-5</c:v>
                      </c:pt>
                      <c:pt idx="2009">
                        <c:v>-3.8999999999999999E-5</c:v>
                      </c:pt>
                      <c:pt idx="2010">
                        <c:v>-3.8999999999999999E-5</c:v>
                      </c:pt>
                      <c:pt idx="2011">
                        <c:v>-3.8999999999999999E-5</c:v>
                      </c:pt>
                      <c:pt idx="2012">
                        <c:v>-3.8999999999999999E-5</c:v>
                      </c:pt>
                      <c:pt idx="2013">
                        <c:v>-3.8999999999999999E-5</c:v>
                      </c:pt>
                      <c:pt idx="2014">
                        <c:v>-3.8000000000000002E-5</c:v>
                      </c:pt>
                      <c:pt idx="2015">
                        <c:v>-3.8000000000000002E-5</c:v>
                      </c:pt>
                      <c:pt idx="2016">
                        <c:v>-3.8000000000000002E-5</c:v>
                      </c:pt>
                      <c:pt idx="2017">
                        <c:v>-3.8000000000000002E-5</c:v>
                      </c:pt>
                      <c:pt idx="2018">
                        <c:v>-3.8000000000000002E-5</c:v>
                      </c:pt>
                      <c:pt idx="2019">
                        <c:v>-3.7500000000000003E-5</c:v>
                      </c:pt>
                      <c:pt idx="2020">
                        <c:v>-3.6999999999999998E-5</c:v>
                      </c:pt>
                      <c:pt idx="2021">
                        <c:v>-3.6999999999999998E-5</c:v>
                      </c:pt>
                      <c:pt idx="2022">
                        <c:v>-3.6999999999999998E-5</c:v>
                      </c:pt>
                      <c:pt idx="2023">
                        <c:v>-3.6999999999999998E-5</c:v>
                      </c:pt>
                      <c:pt idx="2024">
                        <c:v>-3.6999999999999998E-5</c:v>
                      </c:pt>
                      <c:pt idx="2025">
                        <c:v>-3.65E-5</c:v>
                      </c:pt>
                      <c:pt idx="2026">
                        <c:v>-3.6000000000000001E-5</c:v>
                      </c:pt>
                      <c:pt idx="2027">
                        <c:v>-3.6000000000000001E-5</c:v>
                      </c:pt>
                      <c:pt idx="2028">
                        <c:v>-3.6000000000000001E-5</c:v>
                      </c:pt>
                      <c:pt idx="2029">
                        <c:v>-3.6000000000000001E-5</c:v>
                      </c:pt>
                      <c:pt idx="2030">
                        <c:v>-3.6000000000000001E-5</c:v>
                      </c:pt>
                      <c:pt idx="2031">
                        <c:v>-3.4999999999999997E-5</c:v>
                      </c:pt>
                      <c:pt idx="2032">
                        <c:v>-3.4999999999999997E-5</c:v>
                      </c:pt>
                      <c:pt idx="2033">
                        <c:v>-3.4999999999999997E-5</c:v>
                      </c:pt>
                      <c:pt idx="2034">
                        <c:v>-3.4999999999999997E-5</c:v>
                      </c:pt>
                      <c:pt idx="2035">
                        <c:v>-3.4999999999999997E-5</c:v>
                      </c:pt>
                      <c:pt idx="2036">
                        <c:v>-3.4999999999999997E-5</c:v>
                      </c:pt>
                      <c:pt idx="2037">
                        <c:v>-3.4999999999999997E-5</c:v>
                      </c:pt>
                      <c:pt idx="2038">
                        <c:v>-3.4999999999999997E-5</c:v>
                      </c:pt>
                      <c:pt idx="2039">
                        <c:v>-3.4999999999999997E-5</c:v>
                      </c:pt>
                      <c:pt idx="2040">
                        <c:v>-3.4999999999999997E-5</c:v>
                      </c:pt>
                      <c:pt idx="2041">
                        <c:v>-3.4999999999999997E-5</c:v>
                      </c:pt>
                      <c:pt idx="2042">
                        <c:v>-3.4999999999999997E-5</c:v>
                      </c:pt>
                      <c:pt idx="2043">
                        <c:v>-3.4E-5</c:v>
                      </c:pt>
                      <c:pt idx="2044">
                        <c:v>-3.4E-5</c:v>
                      </c:pt>
                      <c:pt idx="2045">
                        <c:v>-3.4E-5</c:v>
                      </c:pt>
                      <c:pt idx="2046">
                        <c:v>-3.4E-5</c:v>
                      </c:pt>
                      <c:pt idx="2047">
                        <c:v>-3.4E-5</c:v>
                      </c:pt>
                      <c:pt idx="2048">
                        <c:v>-3.3500000000000001E-5</c:v>
                      </c:pt>
                      <c:pt idx="2049">
                        <c:v>-3.3000000000000003E-5</c:v>
                      </c:pt>
                      <c:pt idx="2050">
                        <c:v>-3.3000000000000003E-5</c:v>
                      </c:pt>
                      <c:pt idx="2051">
                        <c:v>-3.3000000000000003E-5</c:v>
                      </c:pt>
                      <c:pt idx="2052">
                        <c:v>-3.3000000000000003E-5</c:v>
                      </c:pt>
                      <c:pt idx="2053">
                        <c:v>-3.3000000000000003E-5</c:v>
                      </c:pt>
                      <c:pt idx="2054">
                        <c:v>-3.1999999999999999E-5</c:v>
                      </c:pt>
                      <c:pt idx="2055">
                        <c:v>-3.1999999999999999E-5</c:v>
                      </c:pt>
                      <c:pt idx="2056">
                        <c:v>-3.1999999999999999E-5</c:v>
                      </c:pt>
                      <c:pt idx="2057">
                        <c:v>-3.1999999999999999E-5</c:v>
                      </c:pt>
                      <c:pt idx="2058">
                        <c:v>-3.1999999999999999E-5</c:v>
                      </c:pt>
                      <c:pt idx="2059">
                        <c:v>-3.1999999999999999E-5</c:v>
                      </c:pt>
                      <c:pt idx="2060">
                        <c:v>-3.1000000000000001E-5</c:v>
                      </c:pt>
                      <c:pt idx="2061">
                        <c:v>-3.1000000000000001E-5</c:v>
                      </c:pt>
                      <c:pt idx="2062">
                        <c:v>-3.1000000000000001E-5</c:v>
                      </c:pt>
                      <c:pt idx="2063">
                        <c:v>-3.1000000000000001E-5</c:v>
                      </c:pt>
                      <c:pt idx="2064">
                        <c:v>-3.1000000000000001E-5</c:v>
                      </c:pt>
                      <c:pt idx="2065">
                        <c:v>-3.1000000000000001E-5</c:v>
                      </c:pt>
                      <c:pt idx="2066">
                        <c:v>-3.0000000000000001E-5</c:v>
                      </c:pt>
                      <c:pt idx="2067">
                        <c:v>-3.0000000000000001E-5</c:v>
                      </c:pt>
                      <c:pt idx="2068">
                        <c:v>-3.0000000000000001E-5</c:v>
                      </c:pt>
                      <c:pt idx="2069">
                        <c:v>-3.0000000000000001E-5</c:v>
                      </c:pt>
                      <c:pt idx="2070">
                        <c:v>-3.0000000000000001E-5</c:v>
                      </c:pt>
                      <c:pt idx="2071">
                        <c:v>-3.0000000000000001E-5</c:v>
                      </c:pt>
                      <c:pt idx="2072">
                        <c:v>-3.0000000000000001E-5</c:v>
                      </c:pt>
                      <c:pt idx="2073">
                        <c:v>-3.0000000000000001E-5</c:v>
                      </c:pt>
                      <c:pt idx="2074">
                        <c:v>-3.0000000000000001E-5</c:v>
                      </c:pt>
                      <c:pt idx="2075">
                        <c:v>-3.0000000000000001E-5</c:v>
                      </c:pt>
                      <c:pt idx="2076">
                        <c:v>-3.0000000000000001E-5</c:v>
                      </c:pt>
                      <c:pt idx="2077">
                        <c:v>-2.9499999999999999E-5</c:v>
                      </c:pt>
                      <c:pt idx="2078">
                        <c:v>-2.9E-5</c:v>
                      </c:pt>
                      <c:pt idx="2079">
                        <c:v>-2.9E-5</c:v>
                      </c:pt>
                      <c:pt idx="2080">
                        <c:v>-2.9E-5</c:v>
                      </c:pt>
                      <c:pt idx="2081">
                        <c:v>-2.9E-5</c:v>
                      </c:pt>
                      <c:pt idx="2082">
                        <c:v>-2.9E-5</c:v>
                      </c:pt>
                      <c:pt idx="2083">
                        <c:v>-2.8E-5</c:v>
                      </c:pt>
                      <c:pt idx="2084">
                        <c:v>-2.8E-5</c:v>
                      </c:pt>
                      <c:pt idx="2085">
                        <c:v>-2.8E-5</c:v>
                      </c:pt>
                      <c:pt idx="2086">
                        <c:v>-2.8E-5</c:v>
                      </c:pt>
                      <c:pt idx="2087">
                        <c:v>-2.8E-5</c:v>
                      </c:pt>
                      <c:pt idx="2088">
                        <c:v>-2.8E-5</c:v>
                      </c:pt>
                      <c:pt idx="2089">
                        <c:v>-2.6999999999999999E-5</c:v>
                      </c:pt>
                      <c:pt idx="2090">
                        <c:v>-2.6999999999999999E-5</c:v>
                      </c:pt>
                      <c:pt idx="2091">
                        <c:v>-2.6999999999999999E-5</c:v>
                      </c:pt>
                      <c:pt idx="2092">
                        <c:v>-2.6999999999999999E-5</c:v>
                      </c:pt>
                      <c:pt idx="2093">
                        <c:v>-2.6999999999999999E-5</c:v>
                      </c:pt>
                      <c:pt idx="2094">
                        <c:v>-2.6999999999999999E-5</c:v>
                      </c:pt>
                      <c:pt idx="2095">
                        <c:v>-2.5999999999999998E-5</c:v>
                      </c:pt>
                      <c:pt idx="2096">
                        <c:v>-2.5999999999999998E-5</c:v>
                      </c:pt>
                      <c:pt idx="2097">
                        <c:v>-2.5999999999999998E-5</c:v>
                      </c:pt>
                      <c:pt idx="2098">
                        <c:v>-2.5999999999999998E-5</c:v>
                      </c:pt>
                      <c:pt idx="2099">
                        <c:v>-2.5999999999999998E-5</c:v>
                      </c:pt>
                      <c:pt idx="2100">
                        <c:v>-2.55E-5</c:v>
                      </c:pt>
                      <c:pt idx="2101">
                        <c:v>-2.5000000000000001E-5</c:v>
                      </c:pt>
                      <c:pt idx="2102">
                        <c:v>-2.5000000000000001E-5</c:v>
                      </c:pt>
                      <c:pt idx="2103">
                        <c:v>-2.5000000000000001E-5</c:v>
                      </c:pt>
                      <c:pt idx="2104">
                        <c:v>-2.5000000000000001E-5</c:v>
                      </c:pt>
                      <c:pt idx="2105">
                        <c:v>-2.5000000000000001E-5</c:v>
                      </c:pt>
                      <c:pt idx="2106">
                        <c:v>-2.4499999999999999E-5</c:v>
                      </c:pt>
                      <c:pt idx="2107">
                        <c:v>-2.4000000000000001E-5</c:v>
                      </c:pt>
                      <c:pt idx="2108">
                        <c:v>-2.4000000000000001E-5</c:v>
                      </c:pt>
                      <c:pt idx="2109">
                        <c:v>-2.4000000000000001E-5</c:v>
                      </c:pt>
                      <c:pt idx="2110">
                        <c:v>-2.4000000000000001E-5</c:v>
                      </c:pt>
                      <c:pt idx="2111">
                        <c:v>-2.4000000000000001E-5</c:v>
                      </c:pt>
                      <c:pt idx="2112">
                        <c:v>-2.4000000000000001E-5</c:v>
                      </c:pt>
                      <c:pt idx="2113">
                        <c:v>-2.4000000000000001E-5</c:v>
                      </c:pt>
                      <c:pt idx="2114">
                        <c:v>-2.4000000000000001E-5</c:v>
                      </c:pt>
                      <c:pt idx="2115">
                        <c:v>-2.4000000000000001E-5</c:v>
                      </c:pt>
                      <c:pt idx="2116">
                        <c:v>-2.4000000000000001E-5</c:v>
                      </c:pt>
                      <c:pt idx="2117">
                        <c:v>-2.4000000000000001E-5</c:v>
                      </c:pt>
                      <c:pt idx="2118">
                        <c:v>-2.3E-5</c:v>
                      </c:pt>
                      <c:pt idx="2119">
                        <c:v>-2.3E-5</c:v>
                      </c:pt>
                      <c:pt idx="2120">
                        <c:v>-2.3E-5</c:v>
                      </c:pt>
                      <c:pt idx="2121">
                        <c:v>-2.3E-5</c:v>
                      </c:pt>
                      <c:pt idx="2122">
                        <c:v>-2.3E-5</c:v>
                      </c:pt>
                      <c:pt idx="2123">
                        <c:v>-2.3E-5</c:v>
                      </c:pt>
                      <c:pt idx="2124">
                        <c:v>-2.1999999999999999E-5</c:v>
                      </c:pt>
                      <c:pt idx="2125">
                        <c:v>-2.1999999999999999E-5</c:v>
                      </c:pt>
                      <c:pt idx="2126">
                        <c:v>-2.1999999999999999E-5</c:v>
                      </c:pt>
                      <c:pt idx="2127">
                        <c:v>-2.1999999999999999E-5</c:v>
                      </c:pt>
                      <c:pt idx="2128">
                        <c:v>-2.1999999999999999E-5</c:v>
                      </c:pt>
                      <c:pt idx="2129">
                        <c:v>-2.1500000000000001E-5</c:v>
                      </c:pt>
                      <c:pt idx="2130">
                        <c:v>-2.0999999999999999E-5</c:v>
                      </c:pt>
                      <c:pt idx="2131">
                        <c:v>-2.0999999999999999E-5</c:v>
                      </c:pt>
                      <c:pt idx="2132">
                        <c:v>-2.0999999999999999E-5</c:v>
                      </c:pt>
                      <c:pt idx="2133">
                        <c:v>-2.0999999999999999E-5</c:v>
                      </c:pt>
                      <c:pt idx="2134">
                        <c:v>-2.0999999999999999E-5</c:v>
                      </c:pt>
                      <c:pt idx="2135">
                        <c:v>-2.05E-5</c:v>
                      </c:pt>
                      <c:pt idx="2136">
                        <c:v>-2.0000000000000002E-5</c:v>
                      </c:pt>
                      <c:pt idx="2137">
                        <c:v>-2.0000000000000002E-5</c:v>
                      </c:pt>
                      <c:pt idx="2138">
                        <c:v>-2.0000000000000002E-5</c:v>
                      </c:pt>
                      <c:pt idx="2139">
                        <c:v>-2.0000000000000002E-5</c:v>
                      </c:pt>
                      <c:pt idx="2140">
                        <c:v>-2.0000000000000002E-5</c:v>
                      </c:pt>
                      <c:pt idx="2141">
                        <c:v>-1.9000000000000001E-5</c:v>
                      </c:pt>
                      <c:pt idx="2142">
                        <c:v>-1.9000000000000001E-5</c:v>
                      </c:pt>
                      <c:pt idx="2143">
                        <c:v>-1.9000000000000001E-5</c:v>
                      </c:pt>
                      <c:pt idx="2144">
                        <c:v>-1.9000000000000001E-5</c:v>
                      </c:pt>
                      <c:pt idx="2145">
                        <c:v>-1.9000000000000001E-5</c:v>
                      </c:pt>
                      <c:pt idx="2146">
                        <c:v>-1.9000000000000001E-5</c:v>
                      </c:pt>
                      <c:pt idx="2147">
                        <c:v>-1.8E-5</c:v>
                      </c:pt>
                      <c:pt idx="2148">
                        <c:v>-1.8E-5</c:v>
                      </c:pt>
                      <c:pt idx="2149">
                        <c:v>-1.8E-5</c:v>
                      </c:pt>
                      <c:pt idx="2150">
                        <c:v>-1.8E-5</c:v>
                      </c:pt>
                      <c:pt idx="2151">
                        <c:v>-1.8E-5</c:v>
                      </c:pt>
                      <c:pt idx="2152">
                        <c:v>-1.8E-5</c:v>
                      </c:pt>
                      <c:pt idx="2153">
                        <c:v>-1.8E-5</c:v>
                      </c:pt>
                      <c:pt idx="2154">
                        <c:v>-1.8E-5</c:v>
                      </c:pt>
                      <c:pt idx="2155">
                        <c:v>-1.8E-5</c:v>
                      </c:pt>
                      <c:pt idx="2156">
                        <c:v>-1.8E-5</c:v>
                      </c:pt>
                      <c:pt idx="2157">
                        <c:v>-1.8E-5</c:v>
                      </c:pt>
                      <c:pt idx="2158">
                        <c:v>-1.7499999999999998E-5</c:v>
                      </c:pt>
                      <c:pt idx="2159">
                        <c:v>-1.7E-5</c:v>
                      </c:pt>
                      <c:pt idx="2160">
                        <c:v>-1.7E-5</c:v>
                      </c:pt>
                      <c:pt idx="2161">
                        <c:v>-1.7E-5</c:v>
                      </c:pt>
                      <c:pt idx="2162">
                        <c:v>-1.7E-5</c:v>
                      </c:pt>
                      <c:pt idx="2163">
                        <c:v>-1.7E-5</c:v>
                      </c:pt>
                      <c:pt idx="2164">
                        <c:v>-1.5999999999999999E-5</c:v>
                      </c:pt>
                      <c:pt idx="2165">
                        <c:v>-1.5999999999999999E-5</c:v>
                      </c:pt>
                      <c:pt idx="2166">
                        <c:v>-1.5999999999999999E-5</c:v>
                      </c:pt>
                      <c:pt idx="2167">
                        <c:v>-1.5999999999999999E-5</c:v>
                      </c:pt>
                      <c:pt idx="2168">
                        <c:v>-1.5999999999999999E-5</c:v>
                      </c:pt>
                      <c:pt idx="2169">
                        <c:v>-1.5999999999999999E-5</c:v>
                      </c:pt>
                      <c:pt idx="2170">
                        <c:v>-1.5E-5</c:v>
                      </c:pt>
                      <c:pt idx="2171">
                        <c:v>-1.5E-5</c:v>
                      </c:pt>
                      <c:pt idx="2172">
                        <c:v>-1.5E-5</c:v>
                      </c:pt>
                      <c:pt idx="2173">
                        <c:v>-1.5E-5</c:v>
                      </c:pt>
                      <c:pt idx="2174">
                        <c:v>-1.5E-5</c:v>
                      </c:pt>
                      <c:pt idx="2175">
                        <c:v>-1.5E-5</c:v>
                      </c:pt>
                      <c:pt idx="2176">
                        <c:v>-1.4E-5</c:v>
                      </c:pt>
                      <c:pt idx="2177">
                        <c:v>-1.4E-5</c:v>
                      </c:pt>
                      <c:pt idx="2178">
                        <c:v>-1.4E-5</c:v>
                      </c:pt>
                      <c:pt idx="2179">
                        <c:v>-1.4E-5</c:v>
                      </c:pt>
                      <c:pt idx="2180">
                        <c:v>-1.4E-5</c:v>
                      </c:pt>
                      <c:pt idx="2181">
                        <c:v>-1.4E-5</c:v>
                      </c:pt>
                      <c:pt idx="2182">
                        <c:v>-1.2999999999999999E-5</c:v>
                      </c:pt>
                      <c:pt idx="2183">
                        <c:v>-1.2999999999999999E-5</c:v>
                      </c:pt>
                      <c:pt idx="2184">
                        <c:v>-1.2999999999999999E-5</c:v>
                      </c:pt>
                      <c:pt idx="2185">
                        <c:v>-1.2999999999999999E-5</c:v>
                      </c:pt>
                      <c:pt idx="2186">
                        <c:v>-1.2999999999999999E-5</c:v>
                      </c:pt>
                      <c:pt idx="2187">
                        <c:v>-1.2499999999999999E-5</c:v>
                      </c:pt>
                      <c:pt idx="2188">
                        <c:v>-1.2E-5</c:v>
                      </c:pt>
                      <c:pt idx="2189">
                        <c:v>-1.2E-5</c:v>
                      </c:pt>
                      <c:pt idx="2190">
                        <c:v>-1.2E-5</c:v>
                      </c:pt>
                      <c:pt idx="2191">
                        <c:v>-1.2E-5</c:v>
                      </c:pt>
                      <c:pt idx="2192">
                        <c:v>-1.2E-5</c:v>
                      </c:pt>
                      <c:pt idx="2193">
                        <c:v>-1.2E-5</c:v>
                      </c:pt>
                      <c:pt idx="2194">
                        <c:v>-1.2E-5</c:v>
                      </c:pt>
                      <c:pt idx="2195">
                        <c:v>-1.2E-5</c:v>
                      </c:pt>
                      <c:pt idx="2196">
                        <c:v>-1.2E-5</c:v>
                      </c:pt>
                      <c:pt idx="2197">
                        <c:v>-1.2E-5</c:v>
                      </c:pt>
                      <c:pt idx="2198">
                        <c:v>-1.2E-5</c:v>
                      </c:pt>
                      <c:pt idx="2199">
                        <c:v>-1.1E-5</c:v>
                      </c:pt>
                      <c:pt idx="2200">
                        <c:v>-1.1E-5</c:v>
                      </c:pt>
                      <c:pt idx="2201">
                        <c:v>-1.1E-5</c:v>
                      </c:pt>
                      <c:pt idx="2202">
                        <c:v>-1.1E-5</c:v>
                      </c:pt>
                      <c:pt idx="2203">
                        <c:v>-1.1E-5</c:v>
                      </c:pt>
                      <c:pt idx="2204">
                        <c:v>-1.1E-5</c:v>
                      </c:pt>
                      <c:pt idx="2205">
                        <c:v>-1.0000000000000001E-5</c:v>
                      </c:pt>
                      <c:pt idx="2206">
                        <c:v>-1.0000000000000001E-5</c:v>
                      </c:pt>
                      <c:pt idx="2207">
                        <c:v>-1.0000000000000001E-5</c:v>
                      </c:pt>
                      <c:pt idx="2208">
                        <c:v>-1.0000000000000001E-5</c:v>
                      </c:pt>
                      <c:pt idx="2209">
                        <c:v>-1.0000000000000001E-5</c:v>
                      </c:pt>
                      <c:pt idx="2210">
                        <c:v>-9.5000000000000005E-6</c:v>
                      </c:pt>
                      <c:pt idx="2211">
                        <c:v>-9.0000000000000002E-6</c:v>
                      </c:pt>
                      <c:pt idx="2212">
                        <c:v>-9.0000000000000002E-6</c:v>
                      </c:pt>
                      <c:pt idx="2213">
                        <c:v>-9.0000000000000002E-6</c:v>
                      </c:pt>
                      <c:pt idx="2214">
                        <c:v>-9.0000000000000002E-6</c:v>
                      </c:pt>
                      <c:pt idx="2215">
                        <c:v>-9.0000000000000002E-6</c:v>
                      </c:pt>
                      <c:pt idx="2216">
                        <c:v>-8.4999999999999999E-6</c:v>
                      </c:pt>
                      <c:pt idx="2217">
                        <c:v>-7.9999999999999996E-6</c:v>
                      </c:pt>
                      <c:pt idx="2218">
                        <c:v>-7.9999999999999996E-6</c:v>
                      </c:pt>
                      <c:pt idx="2219">
                        <c:v>-7.9999999999999996E-6</c:v>
                      </c:pt>
                      <c:pt idx="2220">
                        <c:v>-7.9999999999999996E-6</c:v>
                      </c:pt>
                      <c:pt idx="2221">
                        <c:v>-7.9999999999999996E-6</c:v>
                      </c:pt>
                      <c:pt idx="2222">
                        <c:v>-6.9999999999999999E-6</c:v>
                      </c:pt>
                      <c:pt idx="2223">
                        <c:v>-6.9999999999999999E-6</c:v>
                      </c:pt>
                      <c:pt idx="2224">
                        <c:v>-6.9999999999999999E-6</c:v>
                      </c:pt>
                      <c:pt idx="2225">
                        <c:v>-6.9999999999999999E-6</c:v>
                      </c:pt>
                      <c:pt idx="2226">
                        <c:v>-6.9999999999999999E-6</c:v>
                      </c:pt>
                      <c:pt idx="2227">
                        <c:v>-6.9999999999999999E-6</c:v>
                      </c:pt>
                      <c:pt idx="2228">
                        <c:v>-6.0000000000000002E-6</c:v>
                      </c:pt>
                      <c:pt idx="2229">
                        <c:v>-6.0000000000000002E-6</c:v>
                      </c:pt>
                      <c:pt idx="2230">
                        <c:v>-6.0000000000000002E-6</c:v>
                      </c:pt>
                      <c:pt idx="2231">
                        <c:v>-6.0000000000000002E-6</c:v>
                      </c:pt>
                      <c:pt idx="2232">
                        <c:v>-6.0000000000000002E-6</c:v>
                      </c:pt>
                      <c:pt idx="2233">
                        <c:v>-6.0000000000000002E-6</c:v>
                      </c:pt>
                      <c:pt idx="2234">
                        <c:v>-6.0000000000000002E-6</c:v>
                      </c:pt>
                      <c:pt idx="2235">
                        <c:v>-6.0000000000000002E-6</c:v>
                      </c:pt>
                      <c:pt idx="2236">
                        <c:v>-6.0000000000000002E-6</c:v>
                      </c:pt>
                      <c:pt idx="2237">
                        <c:v>-6.0000000000000002E-6</c:v>
                      </c:pt>
                      <c:pt idx="2238">
                        <c:v>-6.0000000000000002E-6</c:v>
                      </c:pt>
                      <c:pt idx="2239">
                        <c:v>-5.4999999999999999E-6</c:v>
                      </c:pt>
                      <c:pt idx="2240">
                        <c:v>-5.0000000000000004E-6</c:v>
                      </c:pt>
                      <c:pt idx="2241">
                        <c:v>-5.0000000000000004E-6</c:v>
                      </c:pt>
                      <c:pt idx="2242">
                        <c:v>-5.0000000000000004E-6</c:v>
                      </c:pt>
                      <c:pt idx="2243">
                        <c:v>-5.0000000000000004E-6</c:v>
                      </c:pt>
                      <c:pt idx="2244">
                        <c:v>-5.0000000000000004E-6</c:v>
                      </c:pt>
                      <c:pt idx="2245">
                        <c:v>-3.9999999999999998E-6</c:v>
                      </c:pt>
                      <c:pt idx="2246">
                        <c:v>-3.9999999999999998E-6</c:v>
                      </c:pt>
                      <c:pt idx="2247">
                        <c:v>-3.9999999999999998E-6</c:v>
                      </c:pt>
                      <c:pt idx="2248">
                        <c:v>-3.9999999999999998E-6</c:v>
                      </c:pt>
                      <c:pt idx="2249">
                        <c:v>-3.9999999999999998E-6</c:v>
                      </c:pt>
                      <c:pt idx="2250">
                        <c:v>-3.9999999999999998E-6</c:v>
                      </c:pt>
                      <c:pt idx="2251">
                        <c:v>-3.0000000000000001E-6</c:v>
                      </c:pt>
                      <c:pt idx="2252">
                        <c:v>-3.0000000000000001E-6</c:v>
                      </c:pt>
                      <c:pt idx="2253">
                        <c:v>-3.0000000000000001E-6</c:v>
                      </c:pt>
                      <c:pt idx="2254">
                        <c:v>-3.0000000000000001E-6</c:v>
                      </c:pt>
                      <c:pt idx="2255">
                        <c:v>-3.0000000000000001E-6</c:v>
                      </c:pt>
                      <c:pt idx="2256">
                        <c:v>-3.0000000000000001E-6</c:v>
                      </c:pt>
                      <c:pt idx="2257">
                        <c:v>-1.9999999999999999E-6</c:v>
                      </c:pt>
                      <c:pt idx="2258">
                        <c:v>-1.9999999999999999E-6</c:v>
                      </c:pt>
                      <c:pt idx="2259">
                        <c:v>-1.9999999999999999E-6</c:v>
                      </c:pt>
                      <c:pt idx="2260">
                        <c:v>-1.9999999999999999E-6</c:v>
                      </c:pt>
                      <c:pt idx="2261">
                        <c:v>-1.9999999999999999E-6</c:v>
                      </c:pt>
                      <c:pt idx="2262">
                        <c:v>-1.9999999999999999E-6</c:v>
                      </c:pt>
                      <c:pt idx="2263">
                        <c:v>-9.9999999999999995E-7</c:v>
                      </c:pt>
                      <c:pt idx="2264">
                        <c:v>-9.9999999999999995E-7</c:v>
                      </c:pt>
                      <c:pt idx="2265">
                        <c:v>-9.9999999999999995E-7</c:v>
                      </c:pt>
                      <c:pt idx="2266">
                        <c:v>-9.9999999999999995E-7</c:v>
                      </c:pt>
                      <c:pt idx="2267">
                        <c:v>-9.9999999999999995E-7</c:v>
                      </c:pt>
                      <c:pt idx="2268">
                        <c:v>-4.9999999999999998E-7</c:v>
                      </c:pt>
                      <c:pt idx="2269">
                        <c:v>0</c:v>
                      </c:pt>
                      <c:pt idx="2270">
                        <c:v>0</c:v>
                      </c:pt>
                      <c:pt idx="2271">
                        <c:v>0</c:v>
                      </c:pt>
                      <c:pt idx="2272">
                        <c:v>0</c:v>
                      </c:pt>
                      <c:pt idx="2273">
                        <c:v>0</c:v>
                      </c:pt>
                      <c:pt idx="2274">
                        <c:v>0</c:v>
                      </c:pt>
                      <c:pt idx="2275">
                        <c:v>0</c:v>
                      </c:pt>
                      <c:pt idx="2276">
                        <c:v>0</c:v>
                      </c:pt>
                      <c:pt idx="2277">
                        <c:v>0</c:v>
                      </c:pt>
                      <c:pt idx="2278">
                        <c:v>0</c:v>
                      </c:pt>
                      <c:pt idx="2279">
                        <c:v>0</c:v>
                      </c:pt>
                      <c:pt idx="2280">
                        <c:v>9.9999999999999995E-7</c:v>
                      </c:pt>
                      <c:pt idx="2281">
                        <c:v>9.9999999999999995E-7</c:v>
                      </c:pt>
                      <c:pt idx="2282">
                        <c:v>9.9999999999999995E-7</c:v>
                      </c:pt>
                      <c:pt idx="2283">
                        <c:v>9.9999999999999995E-7</c:v>
                      </c:pt>
                      <c:pt idx="2284">
                        <c:v>9.9999999999999995E-7</c:v>
                      </c:pt>
                      <c:pt idx="2285">
                        <c:v>9.9999999999999995E-7</c:v>
                      </c:pt>
                      <c:pt idx="2286">
                        <c:v>1.9999999999999999E-6</c:v>
                      </c:pt>
                      <c:pt idx="2287">
                        <c:v>1.9999999999999999E-6</c:v>
                      </c:pt>
                      <c:pt idx="2288">
                        <c:v>1.9999999999999999E-6</c:v>
                      </c:pt>
                      <c:pt idx="2289">
                        <c:v>1.9999999999999999E-6</c:v>
                      </c:pt>
                      <c:pt idx="2290">
                        <c:v>1.9999999999999999E-6</c:v>
                      </c:pt>
                      <c:pt idx="2291">
                        <c:v>2.4999999999999998E-6</c:v>
                      </c:pt>
                      <c:pt idx="2292">
                        <c:v>3.0000000000000001E-6</c:v>
                      </c:pt>
                      <c:pt idx="2293">
                        <c:v>3.0000000000000001E-6</c:v>
                      </c:pt>
                      <c:pt idx="2294">
                        <c:v>3.0000000000000001E-6</c:v>
                      </c:pt>
                      <c:pt idx="2295">
                        <c:v>3.0000000000000001E-6</c:v>
                      </c:pt>
                      <c:pt idx="2296">
                        <c:v>3.0000000000000001E-6</c:v>
                      </c:pt>
                      <c:pt idx="2297">
                        <c:v>3.4999999999999999E-6</c:v>
                      </c:pt>
                      <c:pt idx="2298">
                        <c:v>3.9999999999999998E-6</c:v>
                      </c:pt>
                      <c:pt idx="2299">
                        <c:v>3.9999999999999998E-6</c:v>
                      </c:pt>
                      <c:pt idx="2300">
                        <c:v>3.9999999999999998E-6</c:v>
                      </c:pt>
                      <c:pt idx="2301">
                        <c:v>3.9999999999999998E-6</c:v>
                      </c:pt>
                      <c:pt idx="2302">
                        <c:v>3.9999999999999998E-6</c:v>
                      </c:pt>
                      <c:pt idx="2303">
                        <c:v>5.0000000000000004E-6</c:v>
                      </c:pt>
                      <c:pt idx="2304">
                        <c:v>5.0000000000000004E-6</c:v>
                      </c:pt>
                      <c:pt idx="2305">
                        <c:v>5.0000000000000004E-6</c:v>
                      </c:pt>
                      <c:pt idx="2306">
                        <c:v>5.0000000000000004E-6</c:v>
                      </c:pt>
                      <c:pt idx="2307">
                        <c:v>5.0000000000000004E-6</c:v>
                      </c:pt>
                      <c:pt idx="2308">
                        <c:v>5.0000000000000004E-6</c:v>
                      </c:pt>
                      <c:pt idx="2309">
                        <c:v>6.0000000000000002E-6</c:v>
                      </c:pt>
                      <c:pt idx="2310">
                        <c:v>6.0000000000000002E-6</c:v>
                      </c:pt>
                      <c:pt idx="2311">
                        <c:v>6.0000000000000002E-6</c:v>
                      </c:pt>
                      <c:pt idx="2312">
                        <c:v>6.0000000000000002E-6</c:v>
                      </c:pt>
                      <c:pt idx="2313">
                        <c:v>6.0000000000000002E-6</c:v>
                      </c:pt>
                      <c:pt idx="2314">
                        <c:v>6.0000000000000002E-6</c:v>
                      </c:pt>
                      <c:pt idx="2315">
                        <c:v>6.0000000000000002E-6</c:v>
                      </c:pt>
                      <c:pt idx="2316">
                        <c:v>6.0000000000000002E-6</c:v>
                      </c:pt>
                      <c:pt idx="2317">
                        <c:v>6.0000000000000002E-6</c:v>
                      </c:pt>
                      <c:pt idx="2318">
                        <c:v>6.0000000000000002E-6</c:v>
                      </c:pt>
                      <c:pt idx="2319">
                        <c:v>6.0000000000000002E-6</c:v>
                      </c:pt>
                      <c:pt idx="2320">
                        <c:v>6.5000000000000004E-6</c:v>
                      </c:pt>
                      <c:pt idx="2321">
                        <c:v>6.9999999999999999E-6</c:v>
                      </c:pt>
                      <c:pt idx="2322">
                        <c:v>6.9999999999999999E-6</c:v>
                      </c:pt>
                      <c:pt idx="2323">
                        <c:v>6.9999999999999999E-6</c:v>
                      </c:pt>
                      <c:pt idx="2324">
                        <c:v>6.9999999999999999E-6</c:v>
                      </c:pt>
                      <c:pt idx="2325">
                        <c:v>6.9999999999999999E-6</c:v>
                      </c:pt>
                      <c:pt idx="2326">
                        <c:v>7.4999999999999993E-6</c:v>
                      </c:pt>
                      <c:pt idx="2327">
                        <c:v>7.9999999999999996E-6</c:v>
                      </c:pt>
                      <c:pt idx="2328">
                        <c:v>7.9999999999999996E-6</c:v>
                      </c:pt>
                      <c:pt idx="2329">
                        <c:v>7.9999999999999996E-6</c:v>
                      </c:pt>
                      <c:pt idx="2330">
                        <c:v>7.9999999999999996E-6</c:v>
                      </c:pt>
                      <c:pt idx="2331">
                        <c:v>7.9999999999999996E-6</c:v>
                      </c:pt>
                      <c:pt idx="2332">
                        <c:v>9.0000000000000002E-6</c:v>
                      </c:pt>
                      <c:pt idx="2333">
                        <c:v>9.0000000000000002E-6</c:v>
                      </c:pt>
                      <c:pt idx="2334">
                        <c:v>9.0000000000000002E-6</c:v>
                      </c:pt>
                      <c:pt idx="2335">
                        <c:v>9.0000000000000002E-6</c:v>
                      </c:pt>
                      <c:pt idx="2336">
                        <c:v>9.0000000000000002E-6</c:v>
                      </c:pt>
                      <c:pt idx="2337">
                        <c:v>9.0000000000000002E-6</c:v>
                      </c:pt>
                      <c:pt idx="2338">
                        <c:v>1.0000000000000001E-5</c:v>
                      </c:pt>
                      <c:pt idx="2339">
                        <c:v>1.0000000000000001E-5</c:v>
                      </c:pt>
                      <c:pt idx="2340">
                        <c:v>1.0000000000000001E-5</c:v>
                      </c:pt>
                      <c:pt idx="2341">
                        <c:v>1.0000000000000001E-5</c:v>
                      </c:pt>
                      <c:pt idx="2342">
                        <c:v>1.0000000000000001E-5</c:v>
                      </c:pt>
                      <c:pt idx="2343">
                        <c:v>1.0000000000000001E-5</c:v>
                      </c:pt>
                      <c:pt idx="2344">
                        <c:v>1.1E-5</c:v>
                      </c:pt>
                      <c:pt idx="2345">
                        <c:v>1.1E-5</c:v>
                      </c:pt>
                      <c:pt idx="2346">
                        <c:v>1.1E-5</c:v>
                      </c:pt>
                      <c:pt idx="2347">
                        <c:v>1.1E-5</c:v>
                      </c:pt>
                      <c:pt idx="2348">
                        <c:v>1.1E-5</c:v>
                      </c:pt>
                      <c:pt idx="2349">
                        <c:v>1.15E-5</c:v>
                      </c:pt>
                      <c:pt idx="2350">
                        <c:v>1.2E-5</c:v>
                      </c:pt>
                      <c:pt idx="2351">
                        <c:v>1.2E-5</c:v>
                      </c:pt>
                      <c:pt idx="2352">
                        <c:v>1.2E-5</c:v>
                      </c:pt>
                      <c:pt idx="2353">
                        <c:v>1.2E-5</c:v>
                      </c:pt>
                      <c:pt idx="2354">
                        <c:v>1.2E-5</c:v>
                      </c:pt>
                      <c:pt idx="2355">
                        <c:v>1.2E-5</c:v>
                      </c:pt>
                      <c:pt idx="2356">
                        <c:v>1.2E-5</c:v>
                      </c:pt>
                      <c:pt idx="2357">
                        <c:v>1.2E-5</c:v>
                      </c:pt>
                      <c:pt idx="2358">
                        <c:v>1.2E-5</c:v>
                      </c:pt>
                      <c:pt idx="2359">
                        <c:v>1.2E-5</c:v>
                      </c:pt>
                      <c:pt idx="2360">
                        <c:v>1.2E-5</c:v>
                      </c:pt>
                      <c:pt idx="2361">
                        <c:v>1.2999999999999999E-5</c:v>
                      </c:pt>
                      <c:pt idx="2362">
                        <c:v>1.2999999999999999E-5</c:v>
                      </c:pt>
                      <c:pt idx="2363">
                        <c:v>1.2999999999999999E-5</c:v>
                      </c:pt>
                      <c:pt idx="2364">
                        <c:v>1.2999999999999999E-5</c:v>
                      </c:pt>
                      <c:pt idx="2365">
                        <c:v>1.2999999999999999E-5</c:v>
                      </c:pt>
                      <c:pt idx="2366">
                        <c:v>1.2999999999999999E-5</c:v>
                      </c:pt>
                      <c:pt idx="2367">
                        <c:v>1.4E-5</c:v>
                      </c:pt>
                      <c:pt idx="2368">
                        <c:v>1.4E-5</c:v>
                      </c:pt>
                      <c:pt idx="2369">
                        <c:v>1.4E-5</c:v>
                      </c:pt>
                      <c:pt idx="2370">
                        <c:v>1.4E-5</c:v>
                      </c:pt>
                      <c:pt idx="2371">
                        <c:v>1.4E-5</c:v>
                      </c:pt>
                      <c:pt idx="2372">
                        <c:v>1.4E-5</c:v>
                      </c:pt>
                      <c:pt idx="2373">
                        <c:v>1.5E-5</c:v>
                      </c:pt>
                      <c:pt idx="2374">
                        <c:v>1.5E-5</c:v>
                      </c:pt>
                      <c:pt idx="2375">
                        <c:v>1.5E-5</c:v>
                      </c:pt>
                      <c:pt idx="2376">
                        <c:v>1.5E-5</c:v>
                      </c:pt>
                      <c:pt idx="2377">
                        <c:v>1.5E-5</c:v>
                      </c:pt>
                      <c:pt idx="2378">
                        <c:v>1.5500000000000001E-5</c:v>
                      </c:pt>
                      <c:pt idx="2379">
                        <c:v>1.5999999999999999E-5</c:v>
                      </c:pt>
                      <c:pt idx="2380">
                        <c:v>1.5999999999999999E-5</c:v>
                      </c:pt>
                      <c:pt idx="2381">
                        <c:v>1.5999999999999999E-5</c:v>
                      </c:pt>
                      <c:pt idx="2382">
                        <c:v>1.5999999999999999E-5</c:v>
                      </c:pt>
                      <c:pt idx="2383">
                        <c:v>1.5999999999999999E-5</c:v>
                      </c:pt>
                      <c:pt idx="2384">
                        <c:v>1.7E-5</c:v>
                      </c:pt>
                      <c:pt idx="2385">
                        <c:v>1.7E-5</c:v>
                      </c:pt>
                      <c:pt idx="2386">
                        <c:v>1.7E-5</c:v>
                      </c:pt>
                      <c:pt idx="2387">
                        <c:v>1.7E-5</c:v>
                      </c:pt>
                      <c:pt idx="2388">
                        <c:v>1.7E-5</c:v>
                      </c:pt>
                      <c:pt idx="2389">
                        <c:v>1.7E-5</c:v>
                      </c:pt>
                      <c:pt idx="2390">
                        <c:v>1.8E-5</c:v>
                      </c:pt>
                      <c:pt idx="2391">
                        <c:v>1.8E-5</c:v>
                      </c:pt>
                      <c:pt idx="2392">
                        <c:v>1.8E-5</c:v>
                      </c:pt>
                      <c:pt idx="2393">
                        <c:v>1.8E-5</c:v>
                      </c:pt>
                      <c:pt idx="2394">
                        <c:v>1.8E-5</c:v>
                      </c:pt>
                      <c:pt idx="2395">
                        <c:v>1.8E-5</c:v>
                      </c:pt>
                      <c:pt idx="2396">
                        <c:v>1.8E-5</c:v>
                      </c:pt>
                      <c:pt idx="2397">
                        <c:v>1.8E-5</c:v>
                      </c:pt>
                      <c:pt idx="2398">
                        <c:v>1.8E-5</c:v>
                      </c:pt>
                      <c:pt idx="2399">
                        <c:v>1.8E-5</c:v>
                      </c:pt>
                      <c:pt idx="2400">
                        <c:v>1.8E-5</c:v>
                      </c:pt>
                      <c:pt idx="2401">
                        <c:v>1.8500000000000002E-5</c:v>
                      </c:pt>
                      <c:pt idx="2402">
                        <c:v>1.9000000000000001E-5</c:v>
                      </c:pt>
                      <c:pt idx="2403">
                        <c:v>1.9000000000000001E-5</c:v>
                      </c:pt>
                      <c:pt idx="2404">
                        <c:v>1.9000000000000001E-5</c:v>
                      </c:pt>
                      <c:pt idx="2405">
                        <c:v>1.9000000000000001E-5</c:v>
                      </c:pt>
                      <c:pt idx="2406">
                        <c:v>1.9000000000000001E-5</c:v>
                      </c:pt>
                      <c:pt idx="2407">
                        <c:v>1.95E-5</c:v>
                      </c:pt>
                      <c:pt idx="2408">
                        <c:v>2.0000000000000002E-5</c:v>
                      </c:pt>
                      <c:pt idx="2409">
                        <c:v>2.0000000000000002E-5</c:v>
                      </c:pt>
                      <c:pt idx="2410">
                        <c:v>2.0000000000000002E-5</c:v>
                      </c:pt>
                      <c:pt idx="2411">
                        <c:v>2.0000000000000002E-5</c:v>
                      </c:pt>
                      <c:pt idx="2412">
                        <c:v>2.0000000000000002E-5</c:v>
                      </c:pt>
                      <c:pt idx="2413">
                        <c:v>2.0999999999999999E-5</c:v>
                      </c:pt>
                      <c:pt idx="2414">
                        <c:v>2.0999999999999999E-5</c:v>
                      </c:pt>
                      <c:pt idx="2415">
                        <c:v>2.0999999999999999E-5</c:v>
                      </c:pt>
                      <c:pt idx="2416">
                        <c:v>2.0999999999999999E-5</c:v>
                      </c:pt>
                      <c:pt idx="2417">
                        <c:v>2.0999999999999999E-5</c:v>
                      </c:pt>
                      <c:pt idx="2418">
                        <c:v>2.0999999999999999E-5</c:v>
                      </c:pt>
                      <c:pt idx="2419">
                        <c:v>2.1999999999999999E-5</c:v>
                      </c:pt>
                      <c:pt idx="2420">
                        <c:v>2.1999999999999999E-5</c:v>
                      </c:pt>
                      <c:pt idx="2421">
                        <c:v>2.1999999999999999E-5</c:v>
                      </c:pt>
                      <c:pt idx="2422">
                        <c:v>2.1999999999999999E-5</c:v>
                      </c:pt>
                      <c:pt idx="2423">
                        <c:v>2.1999999999999999E-5</c:v>
                      </c:pt>
                      <c:pt idx="2424">
                        <c:v>2.1999999999999999E-5</c:v>
                      </c:pt>
                      <c:pt idx="2425">
                        <c:v>2.3E-5</c:v>
                      </c:pt>
                      <c:pt idx="2426">
                        <c:v>2.3E-5</c:v>
                      </c:pt>
                      <c:pt idx="2427">
                        <c:v>2.3E-5</c:v>
                      </c:pt>
                      <c:pt idx="2428">
                        <c:v>2.3E-5</c:v>
                      </c:pt>
                      <c:pt idx="2429">
                        <c:v>2.3E-5</c:v>
                      </c:pt>
                      <c:pt idx="2430">
                        <c:v>2.3500000000000002E-5</c:v>
                      </c:pt>
                      <c:pt idx="2431">
                        <c:v>2.4000000000000001E-5</c:v>
                      </c:pt>
                      <c:pt idx="2432">
                        <c:v>2.4000000000000001E-5</c:v>
                      </c:pt>
                      <c:pt idx="2433">
                        <c:v>2.4000000000000001E-5</c:v>
                      </c:pt>
                      <c:pt idx="2434">
                        <c:v>2.4000000000000001E-5</c:v>
                      </c:pt>
                      <c:pt idx="2435">
                        <c:v>2.4000000000000001E-5</c:v>
                      </c:pt>
                      <c:pt idx="2436">
                        <c:v>2.4000000000000001E-5</c:v>
                      </c:pt>
                      <c:pt idx="2437">
                        <c:v>2.4000000000000001E-5</c:v>
                      </c:pt>
                      <c:pt idx="2438">
                        <c:v>2.4000000000000001E-5</c:v>
                      </c:pt>
                      <c:pt idx="2439">
                        <c:v>2.4000000000000001E-5</c:v>
                      </c:pt>
                      <c:pt idx="2440">
                        <c:v>2.4000000000000001E-5</c:v>
                      </c:pt>
                      <c:pt idx="2441">
                        <c:v>2.4000000000000001E-5</c:v>
                      </c:pt>
                      <c:pt idx="2442">
                        <c:v>2.5000000000000001E-5</c:v>
                      </c:pt>
                      <c:pt idx="2443">
                        <c:v>2.5000000000000001E-5</c:v>
                      </c:pt>
                      <c:pt idx="2444">
                        <c:v>2.5000000000000001E-5</c:v>
                      </c:pt>
                      <c:pt idx="2445">
                        <c:v>2.5000000000000001E-5</c:v>
                      </c:pt>
                      <c:pt idx="2446">
                        <c:v>2.5000000000000001E-5</c:v>
                      </c:pt>
                      <c:pt idx="2447">
                        <c:v>2.5000000000000001E-5</c:v>
                      </c:pt>
                      <c:pt idx="2448">
                        <c:v>2.5999999999999998E-5</c:v>
                      </c:pt>
                      <c:pt idx="2449">
                        <c:v>2.5999999999999998E-5</c:v>
                      </c:pt>
                      <c:pt idx="2450">
                        <c:v>2.5999999999999998E-5</c:v>
                      </c:pt>
                      <c:pt idx="2451">
                        <c:v>2.5999999999999998E-5</c:v>
                      </c:pt>
                      <c:pt idx="2452">
                        <c:v>2.5999999999999998E-5</c:v>
                      </c:pt>
                      <c:pt idx="2453">
                        <c:v>2.5999999999999998E-5</c:v>
                      </c:pt>
                      <c:pt idx="2454">
                        <c:v>2.6999999999999999E-5</c:v>
                      </c:pt>
                      <c:pt idx="2455">
                        <c:v>2.6999999999999999E-5</c:v>
                      </c:pt>
                      <c:pt idx="2456">
                        <c:v>2.6999999999999999E-5</c:v>
                      </c:pt>
                      <c:pt idx="2457">
                        <c:v>2.6999999999999999E-5</c:v>
                      </c:pt>
                      <c:pt idx="2458">
                        <c:v>2.6999999999999999E-5</c:v>
                      </c:pt>
                      <c:pt idx="2459">
                        <c:v>2.7499999999999998E-5</c:v>
                      </c:pt>
                      <c:pt idx="2460">
                        <c:v>2.8E-5</c:v>
                      </c:pt>
                      <c:pt idx="2461">
                        <c:v>2.8E-5</c:v>
                      </c:pt>
                      <c:pt idx="2462">
                        <c:v>2.8E-5</c:v>
                      </c:pt>
                      <c:pt idx="2463">
                        <c:v>2.8E-5</c:v>
                      </c:pt>
                      <c:pt idx="2464">
                        <c:v>2.8E-5</c:v>
                      </c:pt>
                      <c:pt idx="2465">
                        <c:v>2.9E-5</c:v>
                      </c:pt>
                      <c:pt idx="2466">
                        <c:v>2.9E-5</c:v>
                      </c:pt>
                      <c:pt idx="2467">
                        <c:v>2.9E-5</c:v>
                      </c:pt>
                      <c:pt idx="2468">
                        <c:v>2.9E-5</c:v>
                      </c:pt>
                      <c:pt idx="2469">
                        <c:v>2.9E-5</c:v>
                      </c:pt>
                      <c:pt idx="2470">
                        <c:v>2.9E-5</c:v>
                      </c:pt>
                      <c:pt idx="2471">
                        <c:v>3.0000000000000001E-5</c:v>
                      </c:pt>
                      <c:pt idx="2472">
                        <c:v>3.0000000000000001E-5</c:v>
                      </c:pt>
                      <c:pt idx="2473">
                        <c:v>3.0000000000000001E-5</c:v>
                      </c:pt>
                      <c:pt idx="2474">
                        <c:v>3.0000000000000001E-5</c:v>
                      </c:pt>
                      <c:pt idx="2475">
                        <c:v>3.0000000000000001E-5</c:v>
                      </c:pt>
                      <c:pt idx="2476">
                        <c:v>3.0000000000000001E-5</c:v>
                      </c:pt>
                      <c:pt idx="2477">
                        <c:v>3.0000000000000001E-5</c:v>
                      </c:pt>
                      <c:pt idx="2478">
                        <c:v>3.0000000000000001E-5</c:v>
                      </c:pt>
                      <c:pt idx="2479">
                        <c:v>3.0000000000000001E-5</c:v>
                      </c:pt>
                      <c:pt idx="2480">
                        <c:v>3.0000000000000001E-5</c:v>
                      </c:pt>
                      <c:pt idx="2481">
                        <c:v>3.0000000000000001E-5</c:v>
                      </c:pt>
                      <c:pt idx="2482">
                        <c:v>3.0500000000000003E-5</c:v>
                      </c:pt>
                      <c:pt idx="2483">
                        <c:v>3.1000000000000001E-5</c:v>
                      </c:pt>
                      <c:pt idx="2484">
                        <c:v>3.1000000000000001E-5</c:v>
                      </c:pt>
                      <c:pt idx="2485">
                        <c:v>3.1000000000000001E-5</c:v>
                      </c:pt>
                      <c:pt idx="2486">
                        <c:v>3.1000000000000001E-5</c:v>
                      </c:pt>
                      <c:pt idx="2487">
                        <c:v>3.1000000000000001E-5</c:v>
                      </c:pt>
                      <c:pt idx="2488">
                        <c:v>3.15E-5</c:v>
                      </c:pt>
                      <c:pt idx="2489">
                        <c:v>3.1999999999999999E-5</c:v>
                      </c:pt>
                      <c:pt idx="2490">
                        <c:v>3.1999999999999999E-5</c:v>
                      </c:pt>
                      <c:pt idx="2491">
                        <c:v>3.1999999999999999E-5</c:v>
                      </c:pt>
                      <c:pt idx="2492">
                        <c:v>3.1999999999999999E-5</c:v>
                      </c:pt>
                      <c:pt idx="2493">
                        <c:v>3.1999999999999999E-5</c:v>
                      </c:pt>
                      <c:pt idx="2494">
                        <c:v>3.3000000000000003E-5</c:v>
                      </c:pt>
                      <c:pt idx="2495">
                        <c:v>3.3000000000000003E-5</c:v>
                      </c:pt>
                      <c:pt idx="2496">
                        <c:v>3.3000000000000003E-5</c:v>
                      </c:pt>
                      <c:pt idx="2497">
                        <c:v>3.3000000000000003E-5</c:v>
                      </c:pt>
                      <c:pt idx="2498">
                        <c:v>3.3000000000000003E-5</c:v>
                      </c:pt>
                      <c:pt idx="2499">
                        <c:v>3.3000000000000003E-5</c:v>
                      </c:pt>
                      <c:pt idx="2500">
                        <c:v>3.4E-5</c:v>
                      </c:pt>
                      <c:pt idx="2501">
                        <c:v>3.4E-5</c:v>
                      </c:pt>
                      <c:pt idx="2502">
                        <c:v>3.4E-5</c:v>
                      </c:pt>
                      <c:pt idx="2503">
                        <c:v>3.4E-5</c:v>
                      </c:pt>
                      <c:pt idx="2504">
                        <c:v>3.4E-5</c:v>
                      </c:pt>
                      <c:pt idx="2505">
                        <c:v>3.4E-5</c:v>
                      </c:pt>
                      <c:pt idx="2506">
                        <c:v>3.4999999999999997E-5</c:v>
                      </c:pt>
                      <c:pt idx="2507">
                        <c:v>3.4999999999999997E-5</c:v>
                      </c:pt>
                      <c:pt idx="2508">
                        <c:v>3.4999999999999997E-5</c:v>
                      </c:pt>
                      <c:pt idx="2509">
                        <c:v>3.4999999999999997E-5</c:v>
                      </c:pt>
                      <c:pt idx="2510">
                        <c:v>3.4999999999999997E-5</c:v>
                      </c:pt>
                      <c:pt idx="2511">
                        <c:v>3.5499999999999996E-5</c:v>
                      </c:pt>
                      <c:pt idx="2512">
                        <c:v>3.6000000000000001E-5</c:v>
                      </c:pt>
                      <c:pt idx="2513">
                        <c:v>3.6000000000000001E-5</c:v>
                      </c:pt>
                      <c:pt idx="2514">
                        <c:v>3.6000000000000001E-5</c:v>
                      </c:pt>
                      <c:pt idx="2515">
                        <c:v>3.6000000000000001E-5</c:v>
                      </c:pt>
                      <c:pt idx="2516">
                        <c:v>3.6000000000000001E-5</c:v>
                      </c:pt>
                      <c:pt idx="2517">
                        <c:v>3.6000000000000001E-5</c:v>
                      </c:pt>
                      <c:pt idx="2518">
                        <c:v>3.6000000000000001E-5</c:v>
                      </c:pt>
                      <c:pt idx="2519">
                        <c:v>3.6000000000000001E-5</c:v>
                      </c:pt>
                      <c:pt idx="2520">
                        <c:v>3.6000000000000001E-5</c:v>
                      </c:pt>
                      <c:pt idx="2521">
                        <c:v>3.6000000000000001E-5</c:v>
                      </c:pt>
                      <c:pt idx="2522">
                        <c:v>3.6000000000000001E-5</c:v>
                      </c:pt>
                      <c:pt idx="2523">
                        <c:v>3.6999999999999998E-5</c:v>
                      </c:pt>
                      <c:pt idx="2524">
                        <c:v>3.6999999999999998E-5</c:v>
                      </c:pt>
                      <c:pt idx="2525">
                        <c:v>3.6999999999999998E-5</c:v>
                      </c:pt>
                      <c:pt idx="2526">
                        <c:v>3.6999999999999998E-5</c:v>
                      </c:pt>
                      <c:pt idx="2527">
                        <c:v>3.6999999999999998E-5</c:v>
                      </c:pt>
                      <c:pt idx="2528">
                        <c:v>3.6999999999999998E-5</c:v>
                      </c:pt>
                      <c:pt idx="2529">
                        <c:v>3.8000000000000002E-5</c:v>
                      </c:pt>
                      <c:pt idx="2530">
                        <c:v>3.8000000000000002E-5</c:v>
                      </c:pt>
                      <c:pt idx="2531">
                        <c:v>3.8000000000000002E-5</c:v>
                      </c:pt>
                      <c:pt idx="2532">
                        <c:v>3.8000000000000002E-5</c:v>
                      </c:pt>
                      <c:pt idx="2533">
                        <c:v>3.8000000000000002E-5</c:v>
                      </c:pt>
                      <c:pt idx="2534">
                        <c:v>3.8000000000000002E-5</c:v>
                      </c:pt>
                      <c:pt idx="2535">
                        <c:v>3.8999999999999999E-5</c:v>
                      </c:pt>
                      <c:pt idx="2536">
                        <c:v>3.8999999999999999E-5</c:v>
                      </c:pt>
                      <c:pt idx="2537">
                        <c:v>3.8999999999999999E-5</c:v>
                      </c:pt>
                      <c:pt idx="2538">
                        <c:v>3.8999999999999999E-5</c:v>
                      </c:pt>
                      <c:pt idx="2539">
                        <c:v>3.8999999999999999E-5</c:v>
                      </c:pt>
                      <c:pt idx="2540">
                        <c:v>3.9499999999999998E-5</c:v>
                      </c:pt>
                      <c:pt idx="2541">
                        <c:v>4.0000000000000003E-5</c:v>
                      </c:pt>
                      <c:pt idx="2542">
                        <c:v>4.0000000000000003E-5</c:v>
                      </c:pt>
                      <c:pt idx="2543">
                        <c:v>4.0000000000000003E-5</c:v>
                      </c:pt>
                      <c:pt idx="2544">
                        <c:v>4.0000000000000003E-5</c:v>
                      </c:pt>
                      <c:pt idx="2545">
                        <c:v>4.0000000000000003E-5</c:v>
                      </c:pt>
                      <c:pt idx="2546">
                        <c:v>4.1E-5</c:v>
                      </c:pt>
                      <c:pt idx="2547">
                        <c:v>4.1E-5</c:v>
                      </c:pt>
                      <c:pt idx="2548">
                        <c:v>4.1E-5</c:v>
                      </c:pt>
                      <c:pt idx="2549">
                        <c:v>4.1E-5</c:v>
                      </c:pt>
                      <c:pt idx="2550">
                        <c:v>4.1E-5</c:v>
                      </c:pt>
                      <c:pt idx="2551">
                        <c:v>4.1E-5</c:v>
                      </c:pt>
                      <c:pt idx="2552">
                        <c:v>4.1999999999999998E-5</c:v>
                      </c:pt>
                      <c:pt idx="2553">
                        <c:v>4.1999999999999998E-5</c:v>
                      </c:pt>
                      <c:pt idx="2554">
                        <c:v>4.1999999999999998E-5</c:v>
                      </c:pt>
                      <c:pt idx="2555">
                        <c:v>4.1999999999999998E-5</c:v>
                      </c:pt>
                      <c:pt idx="2556">
                        <c:v>4.1999999999999998E-5</c:v>
                      </c:pt>
                      <c:pt idx="2557">
                        <c:v>4.1999999999999998E-5</c:v>
                      </c:pt>
                      <c:pt idx="2558">
                        <c:v>4.1999999999999998E-5</c:v>
                      </c:pt>
                      <c:pt idx="2559">
                        <c:v>4.1999999999999998E-5</c:v>
                      </c:pt>
                      <c:pt idx="2560">
                        <c:v>4.1999999999999998E-5</c:v>
                      </c:pt>
                      <c:pt idx="2561">
                        <c:v>4.1999999999999998E-5</c:v>
                      </c:pt>
                      <c:pt idx="2562">
                        <c:v>4.1999999999999998E-5</c:v>
                      </c:pt>
                      <c:pt idx="2563">
                        <c:v>4.1999999999999998E-5</c:v>
                      </c:pt>
                      <c:pt idx="2564">
                        <c:v>4.3000000000000002E-5</c:v>
                      </c:pt>
                      <c:pt idx="2565">
                        <c:v>4.3000000000000002E-5</c:v>
                      </c:pt>
                      <c:pt idx="2566">
                        <c:v>4.3000000000000002E-5</c:v>
                      </c:pt>
                      <c:pt idx="2567">
                        <c:v>4.3000000000000002E-5</c:v>
                      </c:pt>
                      <c:pt idx="2568">
                        <c:v>4.3000000000000002E-5</c:v>
                      </c:pt>
                      <c:pt idx="2569">
                        <c:v>4.35E-5</c:v>
                      </c:pt>
                      <c:pt idx="2570">
                        <c:v>4.3999999999999999E-5</c:v>
                      </c:pt>
                      <c:pt idx="2571">
                        <c:v>4.3999999999999999E-5</c:v>
                      </c:pt>
                      <c:pt idx="2572">
                        <c:v>4.3999999999999999E-5</c:v>
                      </c:pt>
                      <c:pt idx="2573">
                        <c:v>4.3999999999999999E-5</c:v>
                      </c:pt>
                      <c:pt idx="2574">
                        <c:v>4.3999999999999999E-5</c:v>
                      </c:pt>
                      <c:pt idx="2575">
                        <c:v>4.5000000000000003E-5</c:v>
                      </c:pt>
                      <c:pt idx="2576">
                        <c:v>4.5000000000000003E-5</c:v>
                      </c:pt>
                      <c:pt idx="2577">
                        <c:v>4.5000000000000003E-5</c:v>
                      </c:pt>
                      <c:pt idx="2578">
                        <c:v>4.5000000000000003E-5</c:v>
                      </c:pt>
                      <c:pt idx="2579">
                        <c:v>4.5000000000000003E-5</c:v>
                      </c:pt>
                      <c:pt idx="2580">
                        <c:v>4.5000000000000003E-5</c:v>
                      </c:pt>
                      <c:pt idx="2581">
                        <c:v>4.6E-5</c:v>
                      </c:pt>
                      <c:pt idx="2582">
                        <c:v>4.6E-5</c:v>
                      </c:pt>
                      <c:pt idx="2583">
                        <c:v>4.6E-5</c:v>
                      </c:pt>
                      <c:pt idx="2584">
                        <c:v>4.6E-5</c:v>
                      </c:pt>
                      <c:pt idx="2585">
                        <c:v>4.6E-5</c:v>
                      </c:pt>
                      <c:pt idx="2586">
                        <c:v>4.6E-5</c:v>
                      </c:pt>
                      <c:pt idx="2587">
                        <c:v>4.6999999999999997E-5</c:v>
                      </c:pt>
                      <c:pt idx="2588">
                        <c:v>4.6999999999999997E-5</c:v>
                      </c:pt>
                      <c:pt idx="2589">
                        <c:v>4.6999999999999997E-5</c:v>
                      </c:pt>
                      <c:pt idx="2590">
                        <c:v>4.6999999999999997E-5</c:v>
                      </c:pt>
                      <c:pt idx="2591">
                        <c:v>4.6999999999999997E-5</c:v>
                      </c:pt>
                      <c:pt idx="2592">
                        <c:v>4.7500000000000003E-5</c:v>
                      </c:pt>
                      <c:pt idx="2593">
                        <c:v>4.8000000000000001E-5</c:v>
                      </c:pt>
                      <c:pt idx="2594">
                        <c:v>4.8000000000000001E-5</c:v>
                      </c:pt>
                      <c:pt idx="2595">
                        <c:v>4.8000000000000001E-5</c:v>
                      </c:pt>
                      <c:pt idx="2596">
                        <c:v>4.8000000000000001E-5</c:v>
                      </c:pt>
                      <c:pt idx="2597">
                        <c:v>4.8000000000000001E-5</c:v>
                      </c:pt>
                      <c:pt idx="2598">
                        <c:v>4.8000000000000001E-5</c:v>
                      </c:pt>
                      <c:pt idx="2599">
                        <c:v>4.8000000000000001E-5</c:v>
                      </c:pt>
                      <c:pt idx="2600">
                        <c:v>4.8000000000000001E-5</c:v>
                      </c:pt>
                      <c:pt idx="2601">
                        <c:v>4.8000000000000001E-5</c:v>
                      </c:pt>
                      <c:pt idx="2602">
                        <c:v>4.8000000000000001E-5</c:v>
                      </c:pt>
                      <c:pt idx="2603">
                        <c:v>4.8000000000000001E-5</c:v>
                      </c:pt>
                      <c:pt idx="2604">
                        <c:v>4.8999999999999998E-5</c:v>
                      </c:pt>
                      <c:pt idx="2605">
                        <c:v>4.8999999999999998E-5</c:v>
                      </c:pt>
                      <c:pt idx="2606">
                        <c:v>4.8999999999999998E-5</c:v>
                      </c:pt>
                      <c:pt idx="2607">
                        <c:v>4.8999999999999998E-5</c:v>
                      </c:pt>
                      <c:pt idx="2608">
                        <c:v>4.8999999999999998E-5</c:v>
                      </c:pt>
                      <c:pt idx="2609">
                        <c:v>4.8999999999999998E-5</c:v>
                      </c:pt>
                      <c:pt idx="2610">
                        <c:v>5.0000000000000002E-5</c:v>
                      </c:pt>
                      <c:pt idx="2611">
                        <c:v>5.0000000000000002E-5</c:v>
                      </c:pt>
                      <c:pt idx="2612">
                        <c:v>5.0000000000000002E-5</c:v>
                      </c:pt>
                      <c:pt idx="2613">
                        <c:v>5.0000000000000002E-5</c:v>
                      </c:pt>
                      <c:pt idx="2614">
                        <c:v>5.0000000000000002E-5</c:v>
                      </c:pt>
                      <c:pt idx="2615">
                        <c:v>5.0000000000000002E-5</c:v>
                      </c:pt>
                      <c:pt idx="2616">
                        <c:v>5.1E-5</c:v>
                      </c:pt>
                      <c:pt idx="2617">
                        <c:v>5.1E-5</c:v>
                      </c:pt>
                      <c:pt idx="2618">
                        <c:v>5.1E-5</c:v>
                      </c:pt>
                      <c:pt idx="2619">
                        <c:v>5.1E-5</c:v>
                      </c:pt>
                      <c:pt idx="2620">
                        <c:v>5.1E-5</c:v>
                      </c:pt>
                      <c:pt idx="2621">
                        <c:v>5.1499999999999998E-5</c:v>
                      </c:pt>
                      <c:pt idx="2622">
                        <c:v>5.1999999999999997E-5</c:v>
                      </c:pt>
                      <c:pt idx="2623">
                        <c:v>5.1999999999999997E-5</c:v>
                      </c:pt>
                      <c:pt idx="2624">
                        <c:v>5.1999999999999997E-5</c:v>
                      </c:pt>
                      <c:pt idx="2625">
                        <c:v>5.1999999999999997E-5</c:v>
                      </c:pt>
                      <c:pt idx="2626">
                        <c:v>5.1999999999999997E-5</c:v>
                      </c:pt>
                      <c:pt idx="2627">
                        <c:v>5.3000000000000001E-5</c:v>
                      </c:pt>
                      <c:pt idx="2628">
                        <c:v>5.3000000000000001E-5</c:v>
                      </c:pt>
                      <c:pt idx="2629">
                        <c:v>5.3000000000000001E-5</c:v>
                      </c:pt>
                      <c:pt idx="2630">
                        <c:v>5.3000000000000001E-5</c:v>
                      </c:pt>
                      <c:pt idx="2631">
                        <c:v>5.3000000000000001E-5</c:v>
                      </c:pt>
                      <c:pt idx="2632">
                        <c:v>5.3000000000000001E-5</c:v>
                      </c:pt>
                      <c:pt idx="2633">
                        <c:v>5.3999999999999998E-5</c:v>
                      </c:pt>
                      <c:pt idx="2634">
                        <c:v>5.3999999999999998E-5</c:v>
                      </c:pt>
                      <c:pt idx="2635">
                        <c:v>5.3999999999999998E-5</c:v>
                      </c:pt>
                      <c:pt idx="2636">
                        <c:v>5.3999999999999998E-5</c:v>
                      </c:pt>
                      <c:pt idx="2637">
                        <c:v>5.3999999999999998E-5</c:v>
                      </c:pt>
                      <c:pt idx="2638">
                        <c:v>5.3999999999999998E-5</c:v>
                      </c:pt>
                      <c:pt idx="2639">
                        <c:v>5.3999999999999998E-5</c:v>
                      </c:pt>
                      <c:pt idx="2640">
                        <c:v>5.3999999999999998E-5</c:v>
                      </c:pt>
                      <c:pt idx="2641">
                        <c:v>5.3999999999999998E-5</c:v>
                      </c:pt>
                      <c:pt idx="2642">
                        <c:v>5.3999999999999998E-5</c:v>
                      </c:pt>
                      <c:pt idx="2643">
                        <c:v>5.3999999999999998E-5</c:v>
                      </c:pt>
                      <c:pt idx="2644">
                        <c:v>5.3999999999999998E-5</c:v>
                      </c:pt>
                      <c:pt idx="2645">
                        <c:v>5.5000000000000002E-5</c:v>
                      </c:pt>
                      <c:pt idx="2646">
                        <c:v>5.5000000000000002E-5</c:v>
                      </c:pt>
                      <c:pt idx="2647">
                        <c:v>5.5000000000000002E-5</c:v>
                      </c:pt>
                      <c:pt idx="2648">
                        <c:v>5.5000000000000002E-5</c:v>
                      </c:pt>
                      <c:pt idx="2649">
                        <c:v>5.5000000000000002E-5</c:v>
                      </c:pt>
                      <c:pt idx="2650">
                        <c:v>5.5500000000000001E-5</c:v>
                      </c:pt>
                      <c:pt idx="2651">
                        <c:v>5.5999999999999999E-5</c:v>
                      </c:pt>
                      <c:pt idx="2652">
                        <c:v>5.5999999999999999E-5</c:v>
                      </c:pt>
                      <c:pt idx="2653">
                        <c:v>5.5999999999999999E-5</c:v>
                      </c:pt>
                      <c:pt idx="2654">
                        <c:v>5.5999999999999999E-5</c:v>
                      </c:pt>
                      <c:pt idx="2655">
                        <c:v>5.5999999999999999E-5</c:v>
                      </c:pt>
                      <c:pt idx="2656">
                        <c:v>5.7000000000000003E-5</c:v>
                      </c:pt>
                      <c:pt idx="2657">
                        <c:v>5.7000000000000003E-5</c:v>
                      </c:pt>
                      <c:pt idx="2658">
                        <c:v>5.7000000000000003E-5</c:v>
                      </c:pt>
                      <c:pt idx="2659">
                        <c:v>5.7000000000000003E-5</c:v>
                      </c:pt>
                      <c:pt idx="2660">
                        <c:v>5.7000000000000003E-5</c:v>
                      </c:pt>
                      <c:pt idx="2661">
                        <c:v>5.7000000000000003E-5</c:v>
                      </c:pt>
                      <c:pt idx="2662">
                        <c:v>5.8E-5</c:v>
                      </c:pt>
                      <c:pt idx="2663">
                        <c:v>5.8E-5</c:v>
                      </c:pt>
                      <c:pt idx="2664">
                        <c:v>5.8E-5</c:v>
                      </c:pt>
                      <c:pt idx="2665">
                        <c:v>5.8E-5</c:v>
                      </c:pt>
                      <c:pt idx="2666">
                        <c:v>5.8E-5</c:v>
                      </c:pt>
                      <c:pt idx="2667">
                        <c:v>5.8E-5</c:v>
                      </c:pt>
                      <c:pt idx="2668">
                        <c:v>5.8999999999999998E-5</c:v>
                      </c:pt>
                      <c:pt idx="2669">
                        <c:v>5.8999999999999998E-5</c:v>
                      </c:pt>
                      <c:pt idx="2670">
                        <c:v>5.8999999999999998E-5</c:v>
                      </c:pt>
                      <c:pt idx="2671">
                        <c:v>5.8999999999999998E-5</c:v>
                      </c:pt>
                      <c:pt idx="2672">
                        <c:v>5.8999999999999998E-5</c:v>
                      </c:pt>
                      <c:pt idx="2673">
                        <c:v>5.9499999999999996E-5</c:v>
                      </c:pt>
                      <c:pt idx="2674">
                        <c:v>6.0000000000000002E-5</c:v>
                      </c:pt>
                      <c:pt idx="2675">
                        <c:v>6.0000000000000002E-5</c:v>
                      </c:pt>
                      <c:pt idx="2676">
                        <c:v>6.0000000000000002E-5</c:v>
                      </c:pt>
                      <c:pt idx="2677">
                        <c:v>6.0000000000000002E-5</c:v>
                      </c:pt>
                      <c:pt idx="2678">
                        <c:v>6.0000000000000002E-5</c:v>
                      </c:pt>
                      <c:pt idx="2679">
                        <c:v>6.0000000000000002E-5</c:v>
                      </c:pt>
                      <c:pt idx="2680">
                        <c:v>6.0000000000000002E-5</c:v>
                      </c:pt>
                      <c:pt idx="2681">
                        <c:v>6.0000000000000002E-5</c:v>
                      </c:pt>
                      <c:pt idx="2682">
                        <c:v>6.0000000000000002E-5</c:v>
                      </c:pt>
                      <c:pt idx="2683">
                        <c:v>6.0000000000000002E-5</c:v>
                      </c:pt>
                      <c:pt idx="2684">
                        <c:v>6.0000000000000002E-5</c:v>
                      </c:pt>
                      <c:pt idx="2685">
                        <c:v>6.0999999999999999E-5</c:v>
                      </c:pt>
                      <c:pt idx="2686">
                        <c:v>6.0999999999999999E-5</c:v>
                      </c:pt>
                      <c:pt idx="2687">
                        <c:v>6.0999999999999999E-5</c:v>
                      </c:pt>
                      <c:pt idx="2688">
                        <c:v>6.0999999999999999E-5</c:v>
                      </c:pt>
                      <c:pt idx="2689">
                        <c:v>6.0999999999999999E-5</c:v>
                      </c:pt>
                      <c:pt idx="2690">
                        <c:v>6.0999999999999999E-5</c:v>
                      </c:pt>
                      <c:pt idx="2691">
                        <c:v>6.2000000000000003E-5</c:v>
                      </c:pt>
                      <c:pt idx="2692">
                        <c:v>6.2000000000000003E-5</c:v>
                      </c:pt>
                      <c:pt idx="2693">
                        <c:v>6.2000000000000003E-5</c:v>
                      </c:pt>
                      <c:pt idx="2694">
                        <c:v>6.2000000000000003E-5</c:v>
                      </c:pt>
                      <c:pt idx="2695">
                        <c:v>6.2000000000000003E-5</c:v>
                      </c:pt>
                      <c:pt idx="2696">
                        <c:v>6.2000000000000003E-5</c:v>
                      </c:pt>
                      <c:pt idx="2697">
                        <c:v>6.3E-5</c:v>
                      </c:pt>
                      <c:pt idx="2698">
                        <c:v>6.3E-5</c:v>
                      </c:pt>
                      <c:pt idx="2699">
                        <c:v>6.3E-5</c:v>
                      </c:pt>
                      <c:pt idx="2700">
                        <c:v>6.3E-5</c:v>
                      </c:pt>
                      <c:pt idx="2701">
                        <c:v>6.3E-5</c:v>
                      </c:pt>
                      <c:pt idx="2702">
                        <c:v>6.3499999999999999E-5</c:v>
                      </c:pt>
                      <c:pt idx="2703">
                        <c:v>6.3999999999999997E-5</c:v>
                      </c:pt>
                      <c:pt idx="2704">
                        <c:v>6.3999999999999997E-5</c:v>
                      </c:pt>
                      <c:pt idx="2705">
                        <c:v>6.3999999999999997E-5</c:v>
                      </c:pt>
                      <c:pt idx="2706">
                        <c:v>6.3999999999999997E-5</c:v>
                      </c:pt>
                      <c:pt idx="2707">
                        <c:v>6.3999999999999997E-5</c:v>
                      </c:pt>
                      <c:pt idx="2708">
                        <c:v>6.4499999999999996E-5</c:v>
                      </c:pt>
                      <c:pt idx="2709">
                        <c:v>6.4999999999999994E-5</c:v>
                      </c:pt>
                      <c:pt idx="2710">
                        <c:v>6.4999999999999994E-5</c:v>
                      </c:pt>
                      <c:pt idx="2711">
                        <c:v>6.4999999999999994E-5</c:v>
                      </c:pt>
                      <c:pt idx="2712">
                        <c:v>6.4999999999999994E-5</c:v>
                      </c:pt>
                      <c:pt idx="2713">
                        <c:v>6.4999999999999994E-5</c:v>
                      </c:pt>
                      <c:pt idx="2714">
                        <c:v>6.6000000000000005E-5</c:v>
                      </c:pt>
                      <c:pt idx="2715">
                        <c:v>6.6000000000000005E-5</c:v>
                      </c:pt>
                      <c:pt idx="2716">
                        <c:v>6.6000000000000005E-5</c:v>
                      </c:pt>
                      <c:pt idx="2717">
                        <c:v>6.6000000000000005E-5</c:v>
                      </c:pt>
                      <c:pt idx="2718">
                        <c:v>6.6000000000000005E-5</c:v>
                      </c:pt>
                      <c:pt idx="2719">
                        <c:v>6.6000000000000005E-5</c:v>
                      </c:pt>
                      <c:pt idx="2720">
                        <c:v>6.6000000000000005E-5</c:v>
                      </c:pt>
                      <c:pt idx="2721">
                        <c:v>6.6000000000000005E-5</c:v>
                      </c:pt>
                      <c:pt idx="2722">
                        <c:v>6.6000000000000005E-5</c:v>
                      </c:pt>
                      <c:pt idx="2723">
                        <c:v>6.6000000000000005E-5</c:v>
                      </c:pt>
                      <c:pt idx="2724">
                        <c:v>6.6000000000000005E-5</c:v>
                      </c:pt>
                      <c:pt idx="2725">
                        <c:v>6.6000000000000005E-5</c:v>
                      </c:pt>
                      <c:pt idx="2726">
                        <c:v>6.7000000000000002E-5</c:v>
                      </c:pt>
                      <c:pt idx="2727">
                        <c:v>6.7000000000000002E-5</c:v>
                      </c:pt>
                      <c:pt idx="2728">
                        <c:v>6.7000000000000002E-5</c:v>
                      </c:pt>
                      <c:pt idx="2729">
                        <c:v>6.7000000000000002E-5</c:v>
                      </c:pt>
                      <c:pt idx="2730">
                        <c:v>6.7000000000000002E-5</c:v>
                      </c:pt>
                      <c:pt idx="2731">
                        <c:v>6.7500000000000001E-5</c:v>
                      </c:pt>
                      <c:pt idx="2732">
                        <c:v>6.7999999999999999E-5</c:v>
                      </c:pt>
                      <c:pt idx="2733">
                        <c:v>6.7999999999999999E-5</c:v>
                      </c:pt>
                      <c:pt idx="2734">
                        <c:v>6.7999999999999999E-5</c:v>
                      </c:pt>
                      <c:pt idx="2735">
                        <c:v>6.7999999999999999E-5</c:v>
                      </c:pt>
                      <c:pt idx="2736">
                        <c:v>6.7999999999999999E-5</c:v>
                      </c:pt>
                      <c:pt idx="2737">
                        <c:v>6.8999999999999997E-5</c:v>
                      </c:pt>
                      <c:pt idx="2738">
                        <c:v>6.8999999999999997E-5</c:v>
                      </c:pt>
                      <c:pt idx="2739">
                        <c:v>6.8999999999999997E-5</c:v>
                      </c:pt>
                      <c:pt idx="2740">
                        <c:v>6.8999999999999997E-5</c:v>
                      </c:pt>
                      <c:pt idx="2741">
                        <c:v>6.8999999999999997E-5</c:v>
                      </c:pt>
                      <c:pt idx="2742">
                        <c:v>6.8999999999999997E-5</c:v>
                      </c:pt>
                      <c:pt idx="2743">
                        <c:v>6.9999999999999994E-5</c:v>
                      </c:pt>
                      <c:pt idx="2744">
                        <c:v>6.9999999999999994E-5</c:v>
                      </c:pt>
                      <c:pt idx="2745">
                        <c:v>6.9999999999999994E-5</c:v>
                      </c:pt>
                      <c:pt idx="2746">
                        <c:v>6.9999999999999994E-5</c:v>
                      </c:pt>
                      <c:pt idx="2747">
                        <c:v>6.9999999999999994E-5</c:v>
                      </c:pt>
                      <c:pt idx="2748">
                        <c:v>6.9999999999999994E-5</c:v>
                      </c:pt>
                      <c:pt idx="2749">
                        <c:v>7.1000000000000005E-5</c:v>
                      </c:pt>
                      <c:pt idx="2750">
                        <c:v>7.1000000000000005E-5</c:v>
                      </c:pt>
                      <c:pt idx="2751">
                        <c:v>7.1000000000000005E-5</c:v>
                      </c:pt>
                      <c:pt idx="2752">
                        <c:v>7.1000000000000005E-5</c:v>
                      </c:pt>
                      <c:pt idx="2753">
                        <c:v>7.1000000000000005E-5</c:v>
                      </c:pt>
                      <c:pt idx="2754">
                        <c:v>7.1000000000000005E-5</c:v>
                      </c:pt>
                      <c:pt idx="2755">
                        <c:v>7.2000000000000002E-5</c:v>
                      </c:pt>
                      <c:pt idx="2756">
                        <c:v>7.2000000000000002E-5</c:v>
                      </c:pt>
                      <c:pt idx="2757">
                        <c:v>7.2000000000000002E-5</c:v>
                      </c:pt>
                      <c:pt idx="2758">
                        <c:v>7.2000000000000002E-5</c:v>
                      </c:pt>
                      <c:pt idx="2759">
                        <c:v>7.2000000000000002E-5</c:v>
                      </c:pt>
                      <c:pt idx="2760">
                        <c:v>7.2000000000000002E-5</c:v>
                      </c:pt>
                      <c:pt idx="2761">
                        <c:v>7.2000000000000002E-5</c:v>
                      </c:pt>
                      <c:pt idx="2762">
                        <c:v>7.2000000000000002E-5</c:v>
                      </c:pt>
                      <c:pt idx="2763">
                        <c:v>7.2000000000000002E-5</c:v>
                      </c:pt>
                      <c:pt idx="2764">
                        <c:v>7.2000000000000002E-5</c:v>
                      </c:pt>
                      <c:pt idx="2765">
                        <c:v>7.2000000000000002E-5</c:v>
                      </c:pt>
                      <c:pt idx="2766">
                        <c:v>7.2999999999999999E-5</c:v>
                      </c:pt>
                      <c:pt idx="2767">
                        <c:v>7.2999999999999999E-5</c:v>
                      </c:pt>
                      <c:pt idx="2768">
                        <c:v>7.2999999999999999E-5</c:v>
                      </c:pt>
                      <c:pt idx="2769">
                        <c:v>7.2999999999999999E-5</c:v>
                      </c:pt>
                      <c:pt idx="2770">
                        <c:v>7.2999999999999999E-5</c:v>
                      </c:pt>
                      <c:pt idx="2771">
                        <c:v>7.2999999999999999E-5</c:v>
                      </c:pt>
                      <c:pt idx="2772">
                        <c:v>7.3999999999999996E-5</c:v>
                      </c:pt>
                      <c:pt idx="2773">
                        <c:v>7.3999999999999996E-5</c:v>
                      </c:pt>
                      <c:pt idx="2774">
                        <c:v>7.3999999999999996E-5</c:v>
                      </c:pt>
                      <c:pt idx="2775">
                        <c:v>7.3999999999999996E-5</c:v>
                      </c:pt>
                      <c:pt idx="2776">
                        <c:v>7.3999999999999996E-5</c:v>
                      </c:pt>
                      <c:pt idx="2777">
                        <c:v>7.3999999999999996E-5</c:v>
                      </c:pt>
                      <c:pt idx="2778">
                        <c:v>7.4999999999999993E-5</c:v>
                      </c:pt>
                      <c:pt idx="2779">
                        <c:v>7.4999999999999993E-5</c:v>
                      </c:pt>
                      <c:pt idx="2780">
                        <c:v>7.4999999999999993E-5</c:v>
                      </c:pt>
                      <c:pt idx="2781">
                        <c:v>7.4999999999999993E-5</c:v>
                      </c:pt>
                      <c:pt idx="2782">
                        <c:v>7.4999999999999993E-5</c:v>
                      </c:pt>
                      <c:pt idx="2783">
                        <c:v>7.5499999999999992E-5</c:v>
                      </c:pt>
                      <c:pt idx="2784">
                        <c:v>7.6000000000000004E-5</c:v>
                      </c:pt>
                      <c:pt idx="2785">
                        <c:v>7.6000000000000004E-5</c:v>
                      </c:pt>
                      <c:pt idx="2786">
                        <c:v>7.6000000000000004E-5</c:v>
                      </c:pt>
                      <c:pt idx="2787">
                        <c:v>7.6000000000000004E-5</c:v>
                      </c:pt>
                      <c:pt idx="2788">
                        <c:v>7.6000000000000004E-5</c:v>
                      </c:pt>
                      <c:pt idx="2789">
                        <c:v>7.6500000000000003E-5</c:v>
                      </c:pt>
                      <c:pt idx="2790">
                        <c:v>7.7000000000000001E-5</c:v>
                      </c:pt>
                      <c:pt idx="2791">
                        <c:v>7.7000000000000001E-5</c:v>
                      </c:pt>
                      <c:pt idx="2792">
                        <c:v>7.7000000000000001E-5</c:v>
                      </c:pt>
                      <c:pt idx="2793">
                        <c:v>7.7000000000000001E-5</c:v>
                      </c:pt>
                      <c:pt idx="2794">
                        <c:v>7.7000000000000001E-5</c:v>
                      </c:pt>
                      <c:pt idx="2795">
                        <c:v>7.7999999999999999E-5</c:v>
                      </c:pt>
                      <c:pt idx="2796">
                        <c:v>7.7999999999999999E-5</c:v>
                      </c:pt>
                      <c:pt idx="2797">
                        <c:v>7.7999999999999999E-5</c:v>
                      </c:pt>
                      <c:pt idx="2798">
                        <c:v>7.7999999999999999E-5</c:v>
                      </c:pt>
                      <c:pt idx="2799">
                        <c:v>7.7999999999999999E-5</c:v>
                      </c:pt>
                      <c:pt idx="2800">
                        <c:v>7.7999999999999999E-5</c:v>
                      </c:pt>
                      <c:pt idx="2801">
                        <c:v>7.7999999999999999E-5</c:v>
                      </c:pt>
                      <c:pt idx="2802">
                        <c:v>7.7999999999999999E-5</c:v>
                      </c:pt>
                      <c:pt idx="2803">
                        <c:v>7.7999999999999999E-5</c:v>
                      </c:pt>
                      <c:pt idx="2804">
                        <c:v>7.7999999999999999E-5</c:v>
                      </c:pt>
                      <c:pt idx="2805">
                        <c:v>7.7999999999999999E-5</c:v>
                      </c:pt>
                      <c:pt idx="2806">
                        <c:v>7.7999999999999999E-5</c:v>
                      </c:pt>
                      <c:pt idx="2807">
                        <c:v>7.8999999999999996E-5</c:v>
                      </c:pt>
                      <c:pt idx="2808">
                        <c:v>7.8999999999999996E-5</c:v>
                      </c:pt>
                      <c:pt idx="2809">
                        <c:v>7.8999999999999996E-5</c:v>
                      </c:pt>
                      <c:pt idx="2810">
                        <c:v>7.8999999999999996E-5</c:v>
                      </c:pt>
                      <c:pt idx="2811">
                        <c:v>7.8999999999999996E-5</c:v>
                      </c:pt>
                      <c:pt idx="2812">
                        <c:v>7.9500000000000008E-5</c:v>
                      </c:pt>
                      <c:pt idx="2813">
                        <c:v>8.0000000000000007E-5</c:v>
                      </c:pt>
                      <c:pt idx="2814">
                        <c:v>8.0000000000000007E-5</c:v>
                      </c:pt>
                      <c:pt idx="2815">
                        <c:v>8.0000000000000007E-5</c:v>
                      </c:pt>
                      <c:pt idx="2816">
                        <c:v>8.0000000000000007E-5</c:v>
                      </c:pt>
                      <c:pt idx="2817">
                        <c:v>8.0000000000000007E-5</c:v>
                      </c:pt>
                      <c:pt idx="2818">
                        <c:v>8.1000000000000004E-5</c:v>
                      </c:pt>
                      <c:pt idx="2819">
                        <c:v>8.1000000000000004E-5</c:v>
                      </c:pt>
                      <c:pt idx="2820">
                        <c:v>8.1000000000000004E-5</c:v>
                      </c:pt>
                      <c:pt idx="2821">
                        <c:v>8.1000000000000004E-5</c:v>
                      </c:pt>
                      <c:pt idx="2822">
                        <c:v>8.1000000000000004E-5</c:v>
                      </c:pt>
                      <c:pt idx="2823">
                        <c:v>8.1000000000000004E-5</c:v>
                      </c:pt>
                      <c:pt idx="2824">
                        <c:v>8.2000000000000001E-5</c:v>
                      </c:pt>
                      <c:pt idx="2825">
                        <c:v>8.2000000000000001E-5</c:v>
                      </c:pt>
                      <c:pt idx="2826">
                        <c:v>8.2000000000000001E-5</c:v>
                      </c:pt>
                      <c:pt idx="2827">
                        <c:v>8.2000000000000001E-5</c:v>
                      </c:pt>
                      <c:pt idx="2828">
                        <c:v>8.2000000000000001E-5</c:v>
                      </c:pt>
                      <c:pt idx="2829">
                        <c:v>8.2000000000000001E-5</c:v>
                      </c:pt>
                      <c:pt idx="2830">
                        <c:v>8.2999999999999998E-5</c:v>
                      </c:pt>
                      <c:pt idx="2831">
                        <c:v>8.2999999999999998E-5</c:v>
                      </c:pt>
                      <c:pt idx="2832">
                        <c:v>8.2999999999999998E-5</c:v>
                      </c:pt>
                      <c:pt idx="2833">
                        <c:v>8.2999999999999998E-5</c:v>
                      </c:pt>
                      <c:pt idx="2834">
                        <c:v>8.2999999999999998E-5</c:v>
                      </c:pt>
                      <c:pt idx="2835">
                        <c:v>8.2999999999999998E-5</c:v>
                      </c:pt>
                      <c:pt idx="2836">
                        <c:v>8.3999999999999995E-5</c:v>
                      </c:pt>
                      <c:pt idx="2837">
                        <c:v>8.3999999999999995E-5</c:v>
                      </c:pt>
                      <c:pt idx="2838">
                        <c:v>8.3999999999999995E-5</c:v>
                      </c:pt>
                      <c:pt idx="2839">
                        <c:v>8.3999999999999995E-5</c:v>
                      </c:pt>
                      <c:pt idx="2840">
                        <c:v>8.3999999999999995E-5</c:v>
                      </c:pt>
                      <c:pt idx="2841">
                        <c:v>8.3999999999999995E-5</c:v>
                      </c:pt>
                      <c:pt idx="2842">
                        <c:v>8.3999999999999995E-5</c:v>
                      </c:pt>
                      <c:pt idx="2843">
                        <c:v>8.3999999999999995E-5</c:v>
                      </c:pt>
                      <c:pt idx="2844">
                        <c:v>8.3999999999999995E-5</c:v>
                      </c:pt>
                      <c:pt idx="2845">
                        <c:v>8.3999999999999995E-5</c:v>
                      </c:pt>
                      <c:pt idx="2846">
                        <c:v>8.3999999999999995E-5</c:v>
                      </c:pt>
                      <c:pt idx="2847">
                        <c:v>8.5000000000000006E-5</c:v>
                      </c:pt>
                      <c:pt idx="2848">
                        <c:v>8.5000000000000006E-5</c:v>
                      </c:pt>
                      <c:pt idx="2849">
                        <c:v>8.5000000000000006E-5</c:v>
                      </c:pt>
                      <c:pt idx="2850">
                        <c:v>8.5000000000000006E-5</c:v>
                      </c:pt>
                      <c:pt idx="2851">
                        <c:v>8.5000000000000006E-5</c:v>
                      </c:pt>
                      <c:pt idx="2852">
                        <c:v>8.5000000000000006E-5</c:v>
                      </c:pt>
                      <c:pt idx="2853">
                        <c:v>8.6000000000000003E-5</c:v>
                      </c:pt>
                      <c:pt idx="2854">
                        <c:v>8.6000000000000003E-5</c:v>
                      </c:pt>
                      <c:pt idx="2855">
                        <c:v>8.6000000000000003E-5</c:v>
                      </c:pt>
                      <c:pt idx="2856">
                        <c:v>8.6000000000000003E-5</c:v>
                      </c:pt>
                      <c:pt idx="2857">
                        <c:v>8.6000000000000003E-5</c:v>
                      </c:pt>
                      <c:pt idx="2858">
                        <c:v>8.6000000000000003E-5</c:v>
                      </c:pt>
                      <c:pt idx="2859">
                        <c:v>8.7000000000000001E-5</c:v>
                      </c:pt>
                      <c:pt idx="2860">
                        <c:v>8.7000000000000001E-5</c:v>
                      </c:pt>
                      <c:pt idx="2861">
                        <c:v>8.7000000000000001E-5</c:v>
                      </c:pt>
                      <c:pt idx="2862">
                        <c:v>8.7000000000000001E-5</c:v>
                      </c:pt>
                      <c:pt idx="2863">
                        <c:v>8.7000000000000001E-5</c:v>
                      </c:pt>
                      <c:pt idx="2864">
                        <c:v>8.7499999999999999E-5</c:v>
                      </c:pt>
                      <c:pt idx="2865">
                        <c:v>8.7999999999999998E-5</c:v>
                      </c:pt>
                      <c:pt idx="2866">
                        <c:v>8.7999999999999998E-5</c:v>
                      </c:pt>
                      <c:pt idx="2867">
                        <c:v>8.7999999999999998E-5</c:v>
                      </c:pt>
                      <c:pt idx="2868">
                        <c:v>8.7999999999999998E-5</c:v>
                      </c:pt>
                      <c:pt idx="2869">
                        <c:v>8.7999999999999998E-5</c:v>
                      </c:pt>
                      <c:pt idx="2870">
                        <c:v>8.8499999999999996E-5</c:v>
                      </c:pt>
                      <c:pt idx="2871">
                        <c:v>8.8999999999999995E-5</c:v>
                      </c:pt>
                      <c:pt idx="2872">
                        <c:v>8.8999999999999995E-5</c:v>
                      </c:pt>
                      <c:pt idx="2873">
                        <c:v>8.8999999999999995E-5</c:v>
                      </c:pt>
                      <c:pt idx="2874">
                        <c:v>8.8999999999999995E-5</c:v>
                      </c:pt>
                      <c:pt idx="2875">
                        <c:v>8.8999999999999995E-5</c:v>
                      </c:pt>
                      <c:pt idx="2876">
                        <c:v>9.0000000000000006E-5</c:v>
                      </c:pt>
                      <c:pt idx="2877">
                        <c:v>9.0000000000000006E-5</c:v>
                      </c:pt>
                      <c:pt idx="2878">
                        <c:v>9.0000000000000006E-5</c:v>
                      </c:pt>
                      <c:pt idx="2879">
                        <c:v>9.0000000000000006E-5</c:v>
                      </c:pt>
                      <c:pt idx="2880">
                        <c:v>9.0000000000000006E-5</c:v>
                      </c:pt>
                      <c:pt idx="2881">
                        <c:v>9.0000000000000006E-5</c:v>
                      </c:pt>
                      <c:pt idx="2882">
                        <c:v>9.0000000000000006E-5</c:v>
                      </c:pt>
                      <c:pt idx="2883">
                        <c:v>9.0000000000000006E-5</c:v>
                      </c:pt>
                      <c:pt idx="2884">
                        <c:v>9.0000000000000006E-5</c:v>
                      </c:pt>
                      <c:pt idx="2885">
                        <c:v>9.0000000000000006E-5</c:v>
                      </c:pt>
                      <c:pt idx="2886">
                        <c:v>9.0000000000000006E-5</c:v>
                      </c:pt>
                      <c:pt idx="2887">
                        <c:v>9.0000000000000006E-5</c:v>
                      </c:pt>
                      <c:pt idx="2888">
                        <c:v>9.1000000000000003E-5</c:v>
                      </c:pt>
                      <c:pt idx="2889">
                        <c:v>9.1000000000000003E-5</c:v>
                      </c:pt>
                      <c:pt idx="2890">
                        <c:v>9.1000000000000003E-5</c:v>
                      </c:pt>
                      <c:pt idx="2891">
                        <c:v>9.1000000000000003E-5</c:v>
                      </c:pt>
                      <c:pt idx="2892">
                        <c:v>9.1000000000000003E-5</c:v>
                      </c:pt>
                      <c:pt idx="2893">
                        <c:v>9.1500000000000001E-5</c:v>
                      </c:pt>
                      <c:pt idx="2894">
                        <c:v>9.2E-5</c:v>
                      </c:pt>
                      <c:pt idx="2895">
                        <c:v>9.2E-5</c:v>
                      </c:pt>
                      <c:pt idx="2896">
                        <c:v>9.2E-5</c:v>
                      </c:pt>
                      <c:pt idx="2897">
                        <c:v>9.2E-5</c:v>
                      </c:pt>
                      <c:pt idx="2898">
                        <c:v>9.2E-5</c:v>
                      </c:pt>
                      <c:pt idx="2899">
                        <c:v>9.2499999999999999E-5</c:v>
                      </c:pt>
                      <c:pt idx="2900">
                        <c:v>9.2999999999999997E-5</c:v>
                      </c:pt>
                      <c:pt idx="2901">
                        <c:v>9.2999999999999997E-5</c:v>
                      </c:pt>
                      <c:pt idx="2902">
                        <c:v>9.2999999999999997E-5</c:v>
                      </c:pt>
                      <c:pt idx="2903">
                        <c:v>9.2999999999999997E-5</c:v>
                      </c:pt>
                      <c:pt idx="2904">
                        <c:v>9.2999999999999997E-5</c:v>
                      </c:pt>
                      <c:pt idx="2905">
                        <c:v>9.3999999999999994E-5</c:v>
                      </c:pt>
                      <c:pt idx="2906">
                        <c:v>9.3999999999999994E-5</c:v>
                      </c:pt>
                      <c:pt idx="2907">
                        <c:v>9.3999999999999994E-5</c:v>
                      </c:pt>
                      <c:pt idx="2908">
                        <c:v>9.3999999999999994E-5</c:v>
                      </c:pt>
                      <c:pt idx="2909">
                        <c:v>9.3999999999999994E-5</c:v>
                      </c:pt>
                      <c:pt idx="2910">
                        <c:v>9.3999999999999994E-5</c:v>
                      </c:pt>
                      <c:pt idx="2911">
                        <c:v>9.5000000000000005E-5</c:v>
                      </c:pt>
                      <c:pt idx="2912">
                        <c:v>9.5000000000000005E-5</c:v>
                      </c:pt>
                      <c:pt idx="2913">
                        <c:v>9.5000000000000005E-5</c:v>
                      </c:pt>
                      <c:pt idx="2914">
                        <c:v>9.5000000000000005E-5</c:v>
                      </c:pt>
                      <c:pt idx="2915">
                        <c:v>9.5000000000000005E-5</c:v>
                      </c:pt>
                      <c:pt idx="2916">
                        <c:v>9.5000000000000005E-5</c:v>
                      </c:pt>
                      <c:pt idx="2917">
                        <c:v>9.6000000000000002E-5</c:v>
                      </c:pt>
                      <c:pt idx="2918">
                        <c:v>9.6000000000000002E-5</c:v>
                      </c:pt>
                      <c:pt idx="2919">
                        <c:v>9.6000000000000002E-5</c:v>
                      </c:pt>
                      <c:pt idx="2920">
                        <c:v>9.6000000000000002E-5</c:v>
                      </c:pt>
                      <c:pt idx="2921">
                        <c:v>9.6000000000000002E-5</c:v>
                      </c:pt>
                      <c:pt idx="2922">
                        <c:v>9.6000000000000002E-5</c:v>
                      </c:pt>
                      <c:pt idx="2923">
                        <c:v>9.6000000000000002E-5</c:v>
                      </c:pt>
                      <c:pt idx="2924">
                        <c:v>9.6000000000000002E-5</c:v>
                      </c:pt>
                      <c:pt idx="2925">
                        <c:v>9.6000000000000002E-5</c:v>
                      </c:pt>
                      <c:pt idx="2926">
                        <c:v>9.6000000000000002E-5</c:v>
                      </c:pt>
                      <c:pt idx="2927">
                        <c:v>9.6000000000000002E-5</c:v>
                      </c:pt>
                      <c:pt idx="2928">
                        <c:v>9.7E-5</c:v>
                      </c:pt>
                      <c:pt idx="2929">
                        <c:v>9.7E-5</c:v>
                      </c:pt>
                      <c:pt idx="2930">
                        <c:v>9.7E-5</c:v>
                      </c:pt>
                      <c:pt idx="2931">
                        <c:v>9.7E-5</c:v>
                      </c:pt>
                      <c:pt idx="2932">
                        <c:v>9.7E-5</c:v>
                      </c:pt>
                      <c:pt idx="2933">
                        <c:v>9.7E-5</c:v>
                      </c:pt>
                      <c:pt idx="2934">
                        <c:v>9.7999999999999997E-5</c:v>
                      </c:pt>
                      <c:pt idx="2935">
                        <c:v>9.7999999999999997E-5</c:v>
                      </c:pt>
                      <c:pt idx="2936">
                        <c:v>9.7999999999999997E-5</c:v>
                      </c:pt>
                      <c:pt idx="2937">
                        <c:v>9.7999999999999997E-5</c:v>
                      </c:pt>
                      <c:pt idx="2938">
                        <c:v>9.7999999999999997E-5</c:v>
                      </c:pt>
                      <c:pt idx="2939">
                        <c:v>9.7999999999999997E-5</c:v>
                      </c:pt>
                      <c:pt idx="2940">
                        <c:v>9.8999999999999994E-5</c:v>
                      </c:pt>
                      <c:pt idx="2941">
                        <c:v>9.8999999999999994E-5</c:v>
                      </c:pt>
                      <c:pt idx="2942">
                        <c:v>9.8999999999999994E-5</c:v>
                      </c:pt>
                      <c:pt idx="2943">
                        <c:v>9.8999999999999994E-5</c:v>
                      </c:pt>
                      <c:pt idx="2944">
                        <c:v>9.8999999999999994E-5</c:v>
                      </c:pt>
                      <c:pt idx="2945">
                        <c:v>9.8999999999999994E-5</c:v>
                      </c:pt>
                      <c:pt idx="2946">
                        <c:v>1E-4</c:v>
                      </c:pt>
                      <c:pt idx="2947">
                        <c:v>1E-4</c:v>
                      </c:pt>
                      <c:pt idx="2948">
                        <c:v>1E-4</c:v>
                      </c:pt>
                      <c:pt idx="2949">
                        <c:v>1E-4</c:v>
                      </c:pt>
                      <c:pt idx="2950">
                        <c:v>1E-4</c:v>
                      </c:pt>
                      <c:pt idx="2951">
                        <c:v>1.005E-4</c:v>
                      </c:pt>
                      <c:pt idx="2952">
                        <c:v>1.01E-4</c:v>
                      </c:pt>
                      <c:pt idx="2953">
                        <c:v>1.01E-4</c:v>
                      </c:pt>
                      <c:pt idx="2954">
                        <c:v>1.01E-4</c:v>
                      </c:pt>
                      <c:pt idx="2955">
                        <c:v>1.01E-4</c:v>
                      </c:pt>
                      <c:pt idx="2956">
                        <c:v>1.01E-4</c:v>
                      </c:pt>
                      <c:pt idx="2957">
                        <c:v>1.02E-4</c:v>
                      </c:pt>
                      <c:pt idx="2958">
                        <c:v>1.02E-4</c:v>
                      </c:pt>
                      <c:pt idx="2959">
                        <c:v>1.02E-4</c:v>
                      </c:pt>
                      <c:pt idx="2960">
                        <c:v>1.02E-4</c:v>
                      </c:pt>
                      <c:pt idx="2961">
                        <c:v>1.02E-4</c:v>
                      </c:pt>
                      <c:pt idx="2962">
                        <c:v>1.02E-4</c:v>
                      </c:pt>
                      <c:pt idx="2963">
                        <c:v>1.02E-4</c:v>
                      </c:pt>
                      <c:pt idx="2964">
                        <c:v>1.02E-4</c:v>
                      </c:pt>
                      <c:pt idx="2965">
                        <c:v>1.02E-4</c:v>
                      </c:pt>
                      <c:pt idx="2966">
                        <c:v>1.02E-4</c:v>
                      </c:pt>
                      <c:pt idx="2967">
                        <c:v>1.02E-4</c:v>
                      </c:pt>
                      <c:pt idx="2968">
                        <c:v>1.02E-4</c:v>
                      </c:pt>
                      <c:pt idx="2969">
                        <c:v>1.03E-4</c:v>
                      </c:pt>
                      <c:pt idx="2970">
                        <c:v>1.03E-4</c:v>
                      </c:pt>
                      <c:pt idx="2971">
                        <c:v>1.03E-4</c:v>
                      </c:pt>
                      <c:pt idx="2972">
                        <c:v>1.03E-4</c:v>
                      </c:pt>
                      <c:pt idx="2973">
                        <c:v>1.03E-4</c:v>
                      </c:pt>
                      <c:pt idx="2974">
                        <c:v>-2.5549999999999998E-4</c:v>
                      </c:pt>
                      <c:pt idx="2975">
                        <c:v>-6.1399999999999996E-4</c:v>
                      </c:pt>
                      <c:pt idx="2976">
                        <c:v>-6.1399999999999996E-4</c:v>
                      </c:pt>
                      <c:pt idx="2977">
                        <c:v>-6.1399999999999996E-4</c:v>
                      </c:pt>
                      <c:pt idx="2978">
                        <c:v>-6.1399999999999996E-4</c:v>
                      </c:pt>
                      <c:pt idx="2979">
                        <c:v>-6.1399999999999996E-4</c:v>
                      </c:pt>
                      <c:pt idx="2980">
                        <c:v>-7.5940000000000001E-3</c:v>
                      </c:pt>
                      <c:pt idx="2981">
                        <c:v>-1.4574E-2</c:v>
                      </c:pt>
                      <c:pt idx="2982">
                        <c:v>-1.4574E-2</c:v>
                      </c:pt>
                      <c:pt idx="2983">
                        <c:v>-1.4574E-2</c:v>
                      </c:pt>
                      <c:pt idx="2984">
                        <c:v>-1.4574E-2</c:v>
                      </c:pt>
                      <c:pt idx="2985">
                        <c:v>-1.4574E-2</c:v>
                      </c:pt>
                      <c:pt idx="2986">
                        <c:v>-4.1269E-2</c:v>
                      </c:pt>
                      <c:pt idx="2987">
                        <c:v>-4.1269E-2</c:v>
                      </c:pt>
                      <c:pt idx="2988">
                        <c:v>-4.1269E-2</c:v>
                      </c:pt>
                      <c:pt idx="2989">
                        <c:v>-4.1269E-2</c:v>
                      </c:pt>
                      <c:pt idx="2990">
                        <c:v>-4.1269E-2</c:v>
                      </c:pt>
                      <c:pt idx="2991">
                        <c:v>-4.1269E-2</c:v>
                      </c:pt>
                      <c:pt idx="2992">
                        <c:v>-8.0925999999999998E-2</c:v>
                      </c:pt>
                      <c:pt idx="2993">
                        <c:v>-8.0925999999999998E-2</c:v>
                      </c:pt>
                      <c:pt idx="2994">
                        <c:v>-8.0925999999999998E-2</c:v>
                      </c:pt>
                      <c:pt idx="2995">
                        <c:v>-8.0925999999999998E-2</c:v>
                      </c:pt>
                      <c:pt idx="2996">
                        <c:v>-8.0925999999999998E-2</c:v>
                      </c:pt>
                      <c:pt idx="2997">
                        <c:v>-8.0925999999999998E-2</c:v>
                      </c:pt>
                      <c:pt idx="2998">
                        <c:v>-0.13057299999999999</c:v>
                      </c:pt>
                      <c:pt idx="2999">
                        <c:v>-0.13057299999999999</c:v>
                      </c:pt>
                      <c:pt idx="3000">
                        <c:v>-0.13057299999999999</c:v>
                      </c:pt>
                      <c:pt idx="3001">
                        <c:v>-0.13057299999999999</c:v>
                      </c:pt>
                      <c:pt idx="3002">
                        <c:v>-0.13057299999999999</c:v>
                      </c:pt>
                      <c:pt idx="3003">
                        <c:v>-0.1640945</c:v>
                      </c:pt>
                      <c:pt idx="3004">
                        <c:v>-0.19761600000000001</c:v>
                      </c:pt>
                      <c:pt idx="3005">
                        <c:v>-0.19761600000000001</c:v>
                      </c:pt>
                      <c:pt idx="3006">
                        <c:v>-0.19761600000000001</c:v>
                      </c:pt>
                      <c:pt idx="3007">
                        <c:v>-0.19761600000000001</c:v>
                      </c:pt>
                      <c:pt idx="3008">
                        <c:v>-0.19761600000000001</c:v>
                      </c:pt>
                      <c:pt idx="3009">
                        <c:v>-0.28952699999999998</c:v>
                      </c:pt>
                      <c:pt idx="3010">
                        <c:v>-0.28952699999999998</c:v>
                      </c:pt>
                      <c:pt idx="3011">
                        <c:v>-0.28952699999999998</c:v>
                      </c:pt>
                      <c:pt idx="3012">
                        <c:v>-0.28952699999999998</c:v>
                      </c:pt>
                      <c:pt idx="3013">
                        <c:v>-0.28952699999999998</c:v>
                      </c:pt>
                      <c:pt idx="3014">
                        <c:v>-0.28952699999999998</c:v>
                      </c:pt>
                      <c:pt idx="3015">
                        <c:v>-0.39147199999999999</c:v>
                      </c:pt>
                      <c:pt idx="3016">
                        <c:v>-0.39147199999999999</c:v>
                      </c:pt>
                      <c:pt idx="3017">
                        <c:v>-0.39147199999999999</c:v>
                      </c:pt>
                      <c:pt idx="3018">
                        <c:v>-0.39147199999999999</c:v>
                      </c:pt>
                      <c:pt idx="3019">
                        <c:v>-0.39147199999999999</c:v>
                      </c:pt>
                      <c:pt idx="3020">
                        <c:v>-0.39147199999999999</c:v>
                      </c:pt>
                      <c:pt idx="3021">
                        <c:v>-0.60192999999999997</c:v>
                      </c:pt>
                      <c:pt idx="3022">
                        <c:v>-0.60192999999999997</c:v>
                      </c:pt>
                      <c:pt idx="3023">
                        <c:v>-0.60192999999999997</c:v>
                      </c:pt>
                      <c:pt idx="3024">
                        <c:v>-0.60192999999999997</c:v>
                      </c:pt>
                      <c:pt idx="3025">
                        <c:v>-0.60192999999999997</c:v>
                      </c:pt>
                      <c:pt idx="3026">
                        <c:v>-0.60192999999999997</c:v>
                      </c:pt>
                      <c:pt idx="3027">
                        <c:v>-1.089475</c:v>
                      </c:pt>
                      <c:pt idx="3028">
                        <c:v>-1.089475</c:v>
                      </c:pt>
                      <c:pt idx="3029">
                        <c:v>-1.089475</c:v>
                      </c:pt>
                      <c:pt idx="3030">
                        <c:v>-1.089475</c:v>
                      </c:pt>
                      <c:pt idx="3031">
                        <c:v>-1.089475</c:v>
                      </c:pt>
                      <c:pt idx="3032">
                        <c:v>-1.4430320000000001</c:v>
                      </c:pt>
                      <c:pt idx="3033">
                        <c:v>-1.796589</c:v>
                      </c:pt>
                      <c:pt idx="3034">
                        <c:v>-1.796589</c:v>
                      </c:pt>
                      <c:pt idx="3035">
                        <c:v>-1.796589</c:v>
                      </c:pt>
                      <c:pt idx="3036">
                        <c:v>-1.796589</c:v>
                      </c:pt>
                      <c:pt idx="3037">
                        <c:v>-1.796589</c:v>
                      </c:pt>
                      <c:pt idx="3038">
                        <c:v>-2.718804</c:v>
                      </c:pt>
                      <c:pt idx="3039">
                        <c:v>-2.718804</c:v>
                      </c:pt>
                      <c:pt idx="3040">
                        <c:v>-2.718804</c:v>
                      </c:pt>
                      <c:pt idx="3041">
                        <c:v>-2.718804</c:v>
                      </c:pt>
                      <c:pt idx="3042">
                        <c:v>-2.718804</c:v>
                      </c:pt>
                      <c:pt idx="3043">
                        <c:v>-2.718804</c:v>
                      </c:pt>
                      <c:pt idx="3044">
                        <c:v>-3.8432740000000001</c:v>
                      </c:pt>
                      <c:pt idx="3045">
                        <c:v>-3.8432740000000001</c:v>
                      </c:pt>
                      <c:pt idx="3046">
                        <c:v>-3.8432740000000001</c:v>
                      </c:pt>
                      <c:pt idx="3047">
                        <c:v>-3.8432740000000001</c:v>
                      </c:pt>
                      <c:pt idx="3048">
                        <c:v>-3.8432740000000001</c:v>
                      </c:pt>
                      <c:pt idx="3049">
                        <c:v>-3.8432740000000001</c:v>
                      </c:pt>
                      <c:pt idx="3050">
                        <c:v>-5.338006</c:v>
                      </c:pt>
                      <c:pt idx="3051">
                        <c:v>-5.338006</c:v>
                      </c:pt>
                      <c:pt idx="3052">
                        <c:v>-5.338006</c:v>
                      </c:pt>
                      <c:pt idx="3053">
                        <c:v>-5.338006</c:v>
                      </c:pt>
                      <c:pt idx="3054">
                        <c:v>-5.338006</c:v>
                      </c:pt>
                      <c:pt idx="3055">
                        <c:v>-6.2512875000000001</c:v>
                      </c:pt>
                      <c:pt idx="3056">
                        <c:v>-7.1645690000000002</c:v>
                      </c:pt>
                      <c:pt idx="3057">
                        <c:v>-7.1645690000000002</c:v>
                      </c:pt>
                      <c:pt idx="3058">
                        <c:v>-7.1645690000000002</c:v>
                      </c:pt>
                      <c:pt idx="3059">
                        <c:v>-7.1645690000000002</c:v>
                      </c:pt>
                      <c:pt idx="3060">
                        <c:v>-7.1645690000000002</c:v>
                      </c:pt>
                      <c:pt idx="3061">
                        <c:v>-8.1376455000000014</c:v>
                      </c:pt>
                      <c:pt idx="3062">
                        <c:v>-9.1107220000000009</c:v>
                      </c:pt>
                      <c:pt idx="3063">
                        <c:v>-9.1107220000000009</c:v>
                      </c:pt>
                      <c:pt idx="3064">
                        <c:v>-9.1107220000000009</c:v>
                      </c:pt>
                      <c:pt idx="3065">
                        <c:v>-9.1107220000000009</c:v>
                      </c:pt>
                      <c:pt idx="3066">
                        <c:v>-9.1107220000000009</c:v>
                      </c:pt>
                      <c:pt idx="3067">
                        <c:v>-11.2745943</c:v>
                      </c:pt>
                      <c:pt idx="3068">
                        <c:v>-11.2745943</c:v>
                      </c:pt>
                      <c:pt idx="3069">
                        <c:v>-11.2745943</c:v>
                      </c:pt>
                      <c:pt idx="3070">
                        <c:v>-11.2745943</c:v>
                      </c:pt>
                      <c:pt idx="3071">
                        <c:v>-11.2745943</c:v>
                      </c:pt>
                      <c:pt idx="3072">
                        <c:v>-11.2745943</c:v>
                      </c:pt>
                      <c:pt idx="3073">
                        <c:v>-13.6155987</c:v>
                      </c:pt>
                      <c:pt idx="3074">
                        <c:v>-13.6155987</c:v>
                      </c:pt>
                      <c:pt idx="3075">
                        <c:v>-13.6155987</c:v>
                      </c:pt>
                      <c:pt idx="3076">
                        <c:v>-13.6155987</c:v>
                      </c:pt>
                      <c:pt idx="3077">
                        <c:v>-13.6155987</c:v>
                      </c:pt>
                      <c:pt idx="3078">
                        <c:v>-13.6155987</c:v>
                      </c:pt>
                      <c:pt idx="3079">
                        <c:v>-16.155431700000001</c:v>
                      </c:pt>
                      <c:pt idx="3080">
                        <c:v>-16.155431700000001</c:v>
                      </c:pt>
                      <c:pt idx="3081">
                        <c:v>-16.155431700000001</c:v>
                      </c:pt>
                      <c:pt idx="3082">
                        <c:v>-16.155431700000001</c:v>
                      </c:pt>
                      <c:pt idx="3083">
                        <c:v>-16.155431700000001</c:v>
                      </c:pt>
                      <c:pt idx="3084">
                        <c:v>-17.432366350000002</c:v>
                      </c:pt>
                      <c:pt idx="3085">
                        <c:v>-18.709301</c:v>
                      </c:pt>
                      <c:pt idx="3086">
                        <c:v>-18.709301</c:v>
                      </c:pt>
                      <c:pt idx="3087">
                        <c:v>-18.709301</c:v>
                      </c:pt>
                      <c:pt idx="3088">
                        <c:v>-18.709301</c:v>
                      </c:pt>
                      <c:pt idx="3089">
                        <c:v>-18.709301</c:v>
                      </c:pt>
                      <c:pt idx="3090">
                        <c:v>-19.922822</c:v>
                      </c:pt>
                      <c:pt idx="3091">
                        <c:v>-21.136343</c:v>
                      </c:pt>
                      <c:pt idx="3092">
                        <c:v>-21.136343</c:v>
                      </c:pt>
                      <c:pt idx="3093">
                        <c:v>-21.136343</c:v>
                      </c:pt>
                      <c:pt idx="3094">
                        <c:v>-21.136343</c:v>
                      </c:pt>
                      <c:pt idx="3095">
                        <c:v>-21.136343</c:v>
                      </c:pt>
                      <c:pt idx="3096">
                        <c:v>-23.2957535</c:v>
                      </c:pt>
                      <c:pt idx="3097">
                        <c:v>-23.2957535</c:v>
                      </c:pt>
                      <c:pt idx="3098">
                        <c:v>-23.2957535</c:v>
                      </c:pt>
                      <c:pt idx="3099">
                        <c:v>-23.2957535</c:v>
                      </c:pt>
                      <c:pt idx="3100">
                        <c:v>-23.2957535</c:v>
                      </c:pt>
                      <c:pt idx="3101">
                        <c:v>-23.2957535</c:v>
                      </c:pt>
                      <c:pt idx="3102">
                        <c:v>-25.077220000000001</c:v>
                      </c:pt>
                      <c:pt idx="3103">
                        <c:v>-25.077220000000001</c:v>
                      </c:pt>
                      <c:pt idx="3104">
                        <c:v>-25.077220000000001</c:v>
                      </c:pt>
                      <c:pt idx="3105">
                        <c:v>-25.077220000000001</c:v>
                      </c:pt>
                      <c:pt idx="3106">
                        <c:v>-25.077220000000001</c:v>
                      </c:pt>
                      <c:pt idx="3107">
                        <c:v>-25.077220000000001</c:v>
                      </c:pt>
                      <c:pt idx="3108">
                        <c:v>-26.531606700000001</c:v>
                      </c:pt>
                      <c:pt idx="3109">
                        <c:v>-26.531606700000001</c:v>
                      </c:pt>
                      <c:pt idx="3110">
                        <c:v>-26.531606700000001</c:v>
                      </c:pt>
                      <c:pt idx="3111">
                        <c:v>-26.531606700000001</c:v>
                      </c:pt>
                      <c:pt idx="3112">
                        <c:v>-26.531606700000001</c:v>
                      </c:pt>
                      <c:pt idx="3113">
                        <c:v>-27.16046905</c:v>
                      </c:pt>
                      <c:pt idx="3114">
                        <c:v>-27.789331399999998</c:v>
                      </c:pt>
                      <c:pt idx="3115">
                        <c:v>-27.789331399999998</c:v>
                      </c:pt>
                      <c:pt idx="3116">
                        <c:v>-27.789331399999998</c:v>
                      </c:pt>
                      <c:pt idx="3117">
                        <c:v>-27.789331399999998</c:v>
                      </c:pt>
                      <c:pt idx="3118">
                        <c:v>-27.789331399999998</c:v>
                      </c:pt>
                      <c:pt idx="3119">
                        <c:v>-28.6651363</c:v>
                      </c:pt>
                      <c:pt idx="3120">
                        <c:v>-28.6651363</c:v>
                      </c:pt>
                      <c:pt idx="3121">
                        <c:v>-28.6651363</c:v>
                      </c:pt>
                      <c:pt idx="3122">
                        <c:v>-28.6651363</c:v>
                      </c:pt>
                      <c:pt idx="3123">
                        <c:v>-28.6651363</c:v>
                      </c:pt>
                      <c:pt idx="3124">
                        <c:v>-28.6651363</c:v>
                      </c:pt>
                      <c:pt idx="3125">
                        <c:v>-29.128032699999999</c:v>
                      </c:pt>
                      <c:pt idx="3126">
                        <c:v>-29.128032699999999</c:v>
                      </c:pt>
                      <c:pt idx="3127">
                        <c:v>-29.128032699999999</c:v>
                      </c:pt>
                      <c:pt idx="3128">
                        <c:v>-29.128032699999999</c:v>
                      </c:pt>
                      <c:pt idx="3129">
                        <c:v>-29.128032699999999</c:v>
                      </c:pt>
                      <c:pt idx="3130">
                        <c:v>-29.128032699999999</c:v>
                      </c:pt>
                      <c:pt idx="3131">
                        <c:v>-29.267057399999999</c:v>
                      </c:pt>
                      <c:pt idx="3132">
                        <c:v>-29.267057399999999</c:v>
                      </c:pt>
                      <c:pt idx="3133">
                        <c:v>-29.267057399999999</c:v>
                      </c:pt>
                      <c:pt idx="3134">
                        <c:v>-29.267057399999999</c:v>
                      </c:pt>
                      <c:pt idx="3135">
                        <c:v>-29.267057399999999</c:v>
                      </c:pt>
                      <c:pt idx="3136">
                        <c:v>-29.267057399999999</c:v>
                      </c:pt>
                      <c:pt idx="3137">
                        <c:v>-29.262001000000001</c:v>
                      </c:pt>
                      <c:pt idx="3138">
                        <c:v>-29.262001000000001</c:v>
                      </c:pt>
                      <c:pt idx="3139">
                        <c:v>-29.262001000000001</c:v>
                      </c:pt>
                      <c:pt idx="3140">
                        <c:v>-29.262001000000001</c:v>
                      </c:pt>
                      <c:pt idx="3141">
                        <c:v>-29.262001000000001</c:v>
                      </c:pt>
                      <c:pt idx="3142">
                        <c:v>-29.208609549999998</c:v>
                      </c:pt>
                      <c:pt idx="3143">
                        <c:v>-29.155218099999999</c:v>
                      </c:pt>
                      <c:pt idx="3144">
                        <c:v>-29.155218099999999</c:v>
                      </c:pt>
                      <c:pt idx="3145">
                        <c:v>-29.155218099999999</c:v>
                      </c:pt>
                      <c:pt idx="3146">
                        <c:v>-29.155218099999999</c:v>
                      </c:pt>
                      <c:pt idx="3147">
                        <c:v>-29.155218099999999</c:v>
                      </c:pt>
                      <c:pt idx="3148">
                        <c:v>-28.751290000000001</c:v>
                      </c:pt>
                      <c:pt idx="3149">
                        <c:v>-28.751290000000001</c:v>
                      </c:pt>
                      <c:pt idx="3150">
                        <c:v>-28.751290000000001</c:v>
                      </c:pt>
                      <c:pt idx="3151">
                        <c:v>-28.751290000000001</c:v>
                      </c:pt>
                      <c:pt idx="3152">
                        <c:v>-28.751290000000001</c:v>
                      </c:pt>
                      <c:pt idx="3153">
                        <c:v>-28.751290000000001</c:v>
                      </c:pt>
                      <c:pt idx="3154">
                        <c:v>-28.294593800000001</c:v>
                      </c:pt>
                      <c:pt idx="3155">
                        <c:v>-28.294593800000001</c:v>
                      </c:pt>
                      <c:pt idx="3156">
                        <c:v>-28.294593800000001</c:v>
                      </c:pt>
                      <c:pt idx="3157">
                        <c:v>-28.294593800000001</c:v>
                      </c:pt>
                      <c:pt idx="3158">
                        <c:v>-28.294593800000001</c:v>
                      </c:pt>
                      <c:pt idx="3159">
                        <c:v>-28.294593800000001</c:v>
                      </c:pt>
                      <c:pt idx="3160">
                        <c:v>-27.8653336</c:v>
                      </c:pt>
                      <c:pt idx="3161">
                        <c:v>-27.8653336</c:v>
                      </c:pt>
                      <c:pt idx="3162">
                        <c:v>-27.8653336</c:v>
                      </c:pt>
                      <c:pt idx="3163">
                        <c:v>-27.8653336</c:v>
                      </c:pt>
                      <c:pt idx="3164">
                        <c:v>-27.8653336</c:v>
                      </c:pt>
                      <c:pt idx="3165">
                        <c:v>-27.72629835</c:v>
                      </c:pt>
                      <c:pt idx="3166">
                        <c:v>-27.587263100000001</c:v>
                      </c:pt>
                      <c:pt idx="3167">
                        <c:v>-27.587263100000001</c:v>
                      </c:pt>
                      <c:pt idx="3168">
                        <c:v>-27.587263100000001</c:v>
                      </c:pt>
                      <c:pt idx="3169">
                        <c:v>-27.587263100000001</c:v>
                      </c:pt>
                      <c:pt idx="3170">
                        <c:v>-27.587263100000001</c:v>
                      </c:pt>
                      <c:pt idx="3171">
                        <c:v>-27.530890450000001</c:v>
                      </c:pt>
                      <c:pt idx="3172">
                        <c:v>-27.474517800000001</c:v>
                      </c:pt>
                      <c:pt idx="3173">
                        <c:v>-27.474517800000001</c:v>
                      </c:pt>
                      <c:pt idx="3174">
                        <c:v>-27.474517800000001</c:v>
                      </c:pt>
                      <c:pt idx="3175">
                        <c:v>-27.474517800000001</c:v>
                      </c:pt>
                      <c:pt idx="3176">
                        <c:v>-27.474517800000001</c:v>
                      </c:pt>
                      <c:pt idx="3177">
                        <c:v>-27.46406</c:v>
                      </c:pt>
                      <c:pt idx="3178">
                        <c:v>-27.46406</c:v>
                      </c:pt>
                      <c:pt idx="3179">
                        <c:v>-27.46406</c:v>
                      </c:pt>
                      <c:pt idx="3180">
                        <c:v>-27.46406</c:v>
                      </c:pt>
                      <c:pt idx="3181">
                        <c:v>-27.46406</c:v>
                      </c:pt>
                      <c:pt idx="3182">
                        <c:v>-27.46406</c:v>
                      </c:pt>
                      <c:pt idx="3183">
                        <c:v>-27.4523659</c:v>
                      </c:pt>
                      <c:pt idx="3184">
                        <c:v>-27.4523659</c:v>
                      </c:pt>
                      <c:pt idx="3185">
                        <c:v>-27.4523659</c:v>
                      </c:pt>
                      <c:pt idx="3186">
                        <c:v>-27.4523659</c:v>
                      </c:pt>
                      <c:pt idx="3187">
                        <c:v>-27.4523659</c:v>
                      </c:pt>
                      <c:pt idx="3188">
                        <c:v>-27.4523659</c:v>
                      </c:pt>
                      <c:pt idx="3189">
                        <c:v>-27.411804199999999</c:v>
                      </c:pt>
                      <c:pt idx="3190">
                        <c:v>-27.411804199999999</c:v>
                      </c:pt>
                      <c:pt idx="3191">
                        <c:v>-27.411804199999999</c:v>
                      </c:pt>
                      <c:pt idx="3192">
                        <c:v>-27.411804199999999</c:v>
                      </c:pt>
                      <c:pt idx="3193">
                        <c:v>-27.411804199999999</c:v>
                      </c:pt>
                      <c:pt idx="3194">
                        <c:v>-27.330859199999999</c:v>
                      </c:pt>
                      <c:pt idx="3195">
                        <c:v>-27.249914199999999</c:v>
                      </c:pt>
                      <c:pt idx="3196">
                        <c:v>-27.249914199999999</c:v>
                      </c:pt>
                      <c:pt idx="3197">
                        <c:v>-27.249914199999999</c:v>
                      </c:pt>
                      <c:pt idx="3198">
                        <c:v>-27.249914199999999</c:v>
                      </c:pt>
                      <c:pt idx="3199">
                        <c:v>-27.249914199999999</c:v>
                      </c:pt>
                      <c:pt idx="3200">
                        <c:v>-27.1096249</c:v>
                      </c:pt>
                      <c:pt idx="3201">
                        <c:v>-27.1096249</c:v>
                      </c:pt>
                      <c:pt idx="3202">
                        <c:v>-27.1096249</c:v>
                      </c:pt>
                      <c:pt idx="3203">
                        <c:v>-27.1096249</c:v>
                      </c:pt>
                      <c:pt idx="3204">
                        <c:v>-27.1096249</c:v>
                      </c:pt>
                      <c:pt idx="3205">
                        <c:v>-27.1096249</c:v>
                      </c:pt>
                      <c:pt idx="3206">
                        <c:v>-26.71424</c:v>
                      </c:pt>
                      <c:pt idx="3207">
                        <c:v>-26.71424</c:v>
                      </c:pt>
                      <c:pt idx="3208">
                        <c:v>-26.71424</c:v>
                      </c:pt>
                      <c:pt idx="3209">
                        <c:v>-26.71424</c:v>
                      </c:pt>
                      <c:pt idx="3210">
                        <c:v>-26.71424</c:v>
                      </c:pt>
                      <c:pt idx="3211">
                        <c:v>-26.71424</c:v>
                      </c:pt>
                      <c:pt idx="3212">
                        <c:v>-26.088357899999998</c:v>
                      </c:pt>
                      <c:pt idx="3213">
                        <c:v>-26.088357899999998</c:v>
                      </c:pt>
                      <c:pt idx="3214">
                        <c:v>-26.088357899999998</c:v>
                      </c:pt>
                      <c:pt idx="3215">
                        <c:v>-26.088357899999998</c:v>
                      </c:pt>
                      <c:pt idx="3216">
                        <c:v>-26.088357899999998</c:v>
                      </c:pt>
                      <c:pt idx="3217">
                        <c:v>-26.088357899999998</c:v>
                      </c:pt>
                      <c:pt idx="3218">
                        <c:v>-25.287089999999999</c:v>
                      </c:pt>
                      <c:pt idx="3219">
                        <c:v>-25.287089999999999</c:v>
                      </c:pt>
                      <c:pt idx="3220">
                        <c:v>-25.287089999999999</c:v>
                      </c:pt>
                      <c:pt idx="3221">
                        <c:v>-25.287089999999999</c:v>
                      </c:pt>
                      <c:pt idx="3222">
                        <c:v>-25.287089999999999</c:v>
                      </c:pt>
                      <c:pt idx="3223">
                        <c:v>-24.7361811</c:v>
                      </c:pt>
                      <c:pt idx="3224">
                        <c:v>-24.1852722</c:v>
                      </c:pt>
                      <c:pt idx="3225">
                        <c:v>-24.1852722</c:v>
                      </c:pt>
                      <c:pt idx="3226">
                        <c:v>-24.1852722</c:v>
                      </c:pt>
                      <c:pt idx="3227">
                        <c:v>-24.1852722</c:v>
                      </c:pt>
                      <c:pt idx="3228">
                        <c:v>-24.1852722</c:v>
                      </c:pt>
                      <c:pt idx="3229">
                        <c:v>-22.960246999999999</c:v>
                      </c:pt>
                      <c:pt idx="3230">
                        <c:v>-22.960246999999999</c:v>
                      </c:pt>
                      <c:pt idx="3231">
                        <c:v>-22.960246999999999</c:v>
                      </c:pt>
                      <c:pt idx="3232">
                        <c:v>-22.960246999999999</c:v>
                      </c:pt>
                      <c:pt idx="3233">
                        <c:v>-22.960246999999999</c:v>
                      </c:pt>
                      <c:pt idx="3234">
                        <c:v>-22.960246999999999</c:v>
                      </c:pt>
                      <c:pt idx="3235">
                        <c:v>-21.3837528</c:v>
                      </c:pt>
                      <c:pt idx="3236">
                        <c:v>-21.3837528</c:v>
                      </c:pt>
                      <c:pt idx="3237">
                        <c:v>-21.3837528</c:v>
                      </c:pt>
                      <c:pt idx="3238">
                        <c:v>-21.3837528</c:v>
                      </c:pt>
                      <c:pt idx="3239">
                        <c:v>-21.3837528</c:v>
                      </c:pt>
                      <c:pt idx="3240">
                        <c:v>-21.3837528</c:v>
                      </c:pt>
                      <c:pt idx="3241">
                        <c:v>-19.618818300000001</c:v>
                      </c:pt>
                      <c:pt idx="3242">
                        <c:v>-19.618818300000001</c:v>
                      </c:pt>
                      <c:pt idx="3243">
                        <c:v>-19.618818300000001</c:v>
                      </c:pt>
                      <c:pt idx="3244">
                        <c:v>-19.618818300000001</c:v>
                      </c:pt>
                      <c:pt idx="3245">
                        <c:v>-19.618818300000001</c:v>
                      </c:pt>
                      <c:pt idx="3246">
                        <c:v>-18.623186099999998</c:v>
                      </c:pt>
                      <c:pt idx="3247">
                        <c:v>-17.627553899999999</c:v>
                      </c:pt>
                      <c:pt idx="3248">
                        <c:v>-17.627553899999999</c:v>
                      </c:pt>
                      <c:pt idx="3249">
                        <c:v>-17.627553899999999</c:v>
                      </c:pt>
                      <c:pt idx="3250">
                        <c:v>-17.627553899999999</c:v>
                      </c:pt>
                      <c:pt idx="3251">
                        <c:v>-17.627553899999999</c:v>
                      </c:pt>
                      <c:pt idx="3252">
                        <c:v>-16.579512600000001</c:v>
                      </c:pt>
                      <c:pt idx="3253">
                        <c:v>-15.5314713</c:v>
                      </c:pt>
                      <c:pt idx="3254">
                        <c:v>-15.5314713</c:v>
                      </c:pt>
                      <c:pt idx="3255">
                        <c:v>-15.5314713</c:v>
                      </c:pt>
                      <c:pt idx="3256">
                        <c:v>-15.5314713</c:v>
                      </c:pt>
                      <c:pt idx="3257">
                        <c:v>-15.5314713</c:v>
                      </c:pt>
                      <c:pt idx="3258">
                        <c:v>-13.4446087</c:v>
                      </c:pt>
                      <c:pt idx="3259">
                        <c:v>-13.4446087</c:v>
                      </c:pt>
                      <c:pt idx="3260">
                        <c:v>-13.4446087</c:v>
                      </c:pt>
                      <c:pt idx="3261">
                        <c:v>-13.4446087</c:v>
                      </c:pt>
                      <c:pt idx="3262">
                        <c:v>-13.4446087</c:v>
                      </c:pt>
                      <c:pt idx="3263">
                        <c:v>-13.4446087</c:v>
                      </c:pt>
                      <c:pt idx="3264">
                        <c:v>-11.476904899999999</c:v>
                      </c:pt>
                      <c:pt idx="3265">
                        <c:v>-11.476904899999999</c:v>
                      </c:pt>
                      <c:pt idx="3266">
                        <c:v>-11.476904899999999</c:v>
                      </c:pt>
                      <c:pt idx="3267">
                        <c:v>-11.476904899999999</c:v>
                      </c:pt>
                      <c:pt idx="3268">
                        <c:v>-11.476904899999999</c:v>
                      </c:pt>
                      <c:pt idx="3269">
                        <c:v>-11.476904899999999</c:v>
                      </c:pt>
                      <c:pt idx="3270">
                        <c:v>-9.6286140000000007</c:v>
                      </c:pt>
                      <c:pt idx="3271">
                        <c:v>-9.6286140000000007</c:v>
                      </c:pt>
                      <c:pt idx="3272">
                        <c:v>-9.6286140000000007</c:v>
                      </c:pt>
                      <c:pt idx="3273">
                        <c:v>-9.6286140000000007</c:v>
                      </c:pt>
                      <c:pt idx="3274">
                        <c:v>-9.6286140000000007</c:v>
                      </c:pt>
                      <c:pt idx="3275">
                        <c:v>-8.7759479999999996</c:v>
                      </c:pt>
                      <c:pt idx="3276">
                        <c:v>-7.9232820000000004</c:v>
                      </c:pt>
                      <c:pt idx="3277">
                        <c:v>-7.9232820000000004</c:v>
                      </c:pt>
                      <c:pt idx="3278">
                        <c:v>-7.9232820000000004</c:v>
                      </c:pt>
                      <c:pt idx="3279">
                        <c:v>-7.9232820000000004</c:v>
                      </c:pt>
                      <c:pt idx="3280">
                        <c:v>-7.9232820000000004</c:v>
                      </c:pt>
                      <c:pt idx="3281">
                        <c:v>-7.1238810000000008</c:v>
                      </c:pt>
                      <c:pt idx="3282">
                        <c:v>-6.3244800000000003</c:v>
                      </c:pt>
                      <c:pt idx="3283">
                        <c:v>-6.3244800000000003</c:v>
                      </c:pt>
                      <c:pt idx="3284">
                        <c:v>-6.3244800000000003</c:v>
                      </c:pt>
                      <c:pt idx="3285">
                        <c:v>-6.3244800000000003</c:v>
                      </c:pt>
                      <c:pt idx="3286">
                        <c:v>-6.3244800000000003</c:v>
                      </c:pt>
                      <c:pt idx="3287">
                        <c:v>-4.9386150000000004</c:v>
                      </c:pt>
                      <c:pt idx="3288">
                        <c:v>-4.9386150000000004</c:v>
                      </c:pt>
                      <c:pt idx="3289">
                        <c:v>-4.9386150000000004</c:v>
                      </c:pt>
                      <c:pt idx="3290">
                        <c:v>-4.9386150000000004</c:v>
                      </c:pt>
                      <c:pt idx="3291">
                        <c:v>-4.9386150000000004</c:v>
                      </c:pt>
                      <c:pt idx="3292">
                        <c:v>-4.9386150000000004</c:v>
                      </c:pt>
                      <c:pt idx="3293">
                        <c:v>-3.8480470000000002</c:v>
                      </c:pt>
                      <c:pt idx="3294">
                        <c:v>-3.8480470000000002</c:v>
                      </c:pt>
                      <c:pt idx="3295">
                        <c:v>-3.8480470000000002</c:v>
                      </c:pt>
                      <c:pt idx="3296">
                        <c:v>-3.8480470000000002</c:v>
                      </c:pt>
                      <c:pt idx="3297">
                        <c:v>-3.8480470000000002</c:v>
                      </c:pt>
                      <c:pt idx="3298">
                        <c:v>-3.8480470000000002</c:v>
                      </c:pt>
                      <c:pt idx="3299">
                        <c:v>-2.8616540000000001</c:v>
                      </c:pt>
                      <c:pt idx="3300">
                        <c:v>-2.8616540000000001</c:v>
                      </c:pt>
                      <c:pt idx="3301">
                        <c:v>-2.8616540000000001</c:v>
                      </c:pt>
                      <c:pt idx="3302">
                        <c:v>-2.8616540000000001</c:v>
                      </c:pt>
                      <c:pt idx="3303">
                        <c:v>-2.8616540000000001</c:v>
                      </c:pt>
                      <c:pt idx="3304">
                        <c:v>-2.4668900000000002</c:v>
                      </c:pt>
                      <c:pt idx="3305">
                        <c:v>-2.0721259999999999</c:v>
                      </c:pt>
                      <c:pt idx="3306">
                        <c:v>-2.0721259999999999</c:v>
                      </c:pt>
                      <c:pt idx="3307">
                        <c:v>-2.0721259999999999</c:v>
                      </c:pt>
                      <c:pt idx="3308">
                        <c:v>-2.0721259999999999</c:v>
                      </c:pt>
                      <c:pt idx="3309">
                        <c:v>-2.0721259999999999</c:v>
                      </c:pt>
                      <c:pt idx="3310">
                        <c:v>-1.45886</c:v>
                      </c:pt>
                      <c:pt idx="3311">
                        <c:v>-1.45886</c:v>
                      </c:pt>
                      <c:pt idx="3312">
                        <c:v>-1.45886</c:v>
                      </c:pt>
                      <c:pt idx="3313">
                        <c:v>-1.45886</c:v>
                      </c:pt>
                      <c:pt idx="3314">
                        <c:v>-1.45886</c:v>
                      </c:pt>
                      <c:pt idx="3315">
                        <c:v>-1.45886</c:v>
                      </c:pt>
                      <c:pt idx="3316">
                        <c:v>-1.086041</c:v>
                      </c:pt>
                      <c:pt idx="3317">
                        <c:v>-1.086041</c:v>
                      </c:pt>
                      <c:pt idx="3318">
                        <c:v>-1.086041</c:v>
                      </c:pt>
                      <c:pt idx="3319">
                        <c:v>-1.086041</c:v>
                      </c:pt>
                      <c:pt idx="3320">
                        <c:v>-1.086041</c:v>
                      </c:pt>
                      <c:pt idx="3321">
                        <c:v>-1.086041</c:v>
                      </c:pt>
                      <c:pt idx="3322">
                        <c:v>-0.80934899999999999</c:v>
                      </c:pt>
                      <c:pt idx="3323">
                        <c:v>-0.80934899999999999</c:v>
                      </c:pt>
                      <c:pt idx="3324">
                        <c:v>-0.80934899999999999</c:v>
                      </c:pt>
                      <c:pt idx="3325">
                        <c:v>-0.80934899999999999</c:v>
                      </c:pt>
                      <c:pt idx="3326">
                        <c:v>-0.80934899999999999</c:v>
                      </c:pt>
                      <c:pt idx="3327">
                        <c:v>-0.80934899999999999</c:v>
                      </c:pt>
                      <c:pt idx="3328">
                        <c:v>-0.55389200000000005</c:v>
                      </c:pt>
                      <c:pt idx="3329">
                        <c:v>-0.55389200000000005</c:v>
                      </c:pt>
                      <c:pt idx="3330">
                        <c:v>-0.55389200000000005</c:v>
                      </c:pt>
                      <c:pt idx="3331">
                        <c:v>-0.55389200000000005</c:v>
                      </c:pt>
                      <c:pt idx="3332">
                        <c:v>-0.55389200000000005</c:v>
                      </c:pt>
                      <c:pt idx="3333">
                        <c:v>-0.46008650000000006</c:v>
                      </c:pt>
                      <c:pt idx="3334">
                        <c:v>-0.36628100000000002</c:v>
                      </c:pt>
                      <c:pt idx="3335">
                        <c:v>-0.36628100000000002</c:v>
                      </c:pt>
                      <c:pt idx="3336">
                        <c:v>-0.36628100000000002</c:v>
                      </c:pt>
                      <c:pt idx="3337">
                        <c:v>-0.36628100000000002</c:v>
                      </c:pt>
                      <c:pt idx="3338">
                        <c:v>-0.36628100000000002</c:v>
                      </c:pt>
                      <c:pt idx="3339">
                        <c:v>-0.23110900000000001</c:v>
                      </c:pt>
                      <c:pt idx="3340">
                        <c:v>-0.23110900000000001</c:v>
                      </c:pt>
                      <c:pt idx="3341">
                        <c:v>-0.23110900000000001</c:v>
                      </c:pt>
                      <c:pt idx="3342">
                        <c:v>-0.23110900000000001</c:v>
                      </c:pt>
                      <c:pt idx="3343">
                        <c:v>-0.23110900000000001</c:v>
                      </c:pt>
                      <c:pt idx="3344">
                        <c:v>-0.23110900000000001</c:v>
                      </c:pt>
                      <c:pt idx="3345">
                        <c:v>-0.12277299999999999</c:v>
                      </c:pt>
                      <c:pt idx="3346">
                        <c:v>-0.12277299999999999</c:v>
                      </c:pt>
                      <c:pt idx="3347">
                        <c:v>-0.12277299999999999</c:v>
                      </c:pt>
                      <c:pt idx="3348">
                        <c:v>-0.12277299999999999</c:v>
                      </c:pt>
                      <c:pt idx="3349">
                        <c:v>-0.12277299999999999</c:v>
                      </c:pt>
                      <c:pt idx="3350">
                        <c:v>-0.12277299999999999</c:v>
                      </c:pt>
                      <c:pt idx="3351">
                        <c:v>-4.6996000000000003E-2</c:v>
                      </c:pt>
                      <c:pt idx="3352">
                        <c:v>-4.6996000000000003E-2</c:v>
                      </c:pt>
                      <c:pt idx="3353">
                        <c:v>-4.6996000000000003E-2</c:v>
                      </c:pt>
                      <c:pt idx="3354">
                        <c:v>-4.6996000000000003E-2</c:v>
                      </c:pt>
                      <c:pt idx="3355">
                        <c:v>-4.6996000000000003E-2</c:v>
                      </c:pt>
                      <c:pt idx="3356">
                        <c:v>-2.6603000000000002E-2</c:v>
                      </c:pt>
                      <c:pt idx="3357">
                        <c:v>-6.2100000000000002E-3</c:v>
                      </c:pt>
                      <c:pt idx="3358">
                        <c:v>-6.2100000000000002E-3</c:v>
                      </c:pt>
                      <c:pt idx="3359">
                        <c:v>-6.2100000000000002E-3</c:v>
                      </c:pt>
                      <c:pt idx="3360">
                        <c:v>-6.2100000000000002E-3</c:v>
                      </c:pt>
                      <c:pt idx="3361">
                        <c:v>-6.2100000000000002E-3</c:v>
                      </c:pt>
                      <c:pt idx="3362">
                        <c:v>-2.7240000000000003E-3</c:v>
                      </c:pt>
                      <c:pt idx="3363">
                        <c:v>7.6199999999999998E-4</c:v>
                      </c:pt>
                      <c:pt idx="3364">
                        <c:v>7.6199999999999998E-4</c:v>
                      </c:pt>
                      <c:pt idx="3365">
                        <c:v>7.6199999999999998E-4</c:v>
                      </c:pt>
                      <c:pt idx="3366">
                        <c:v>7.6199999999999998E-4</c:v>
                      </c:pt>
                      <c:pt idx="3367">
                        <c:v>7.6199999999999998E-4</c:v>
                      </c:pt>
                      <c:pt idx="3368">
                        <c:v>-2.6700000000000001E-3</c:v>
                      </c:pt>
                      <c:pt idx="3369">
                        <c:v>-2.6700000000000001E-3</c:v>
                      </c:pt>
                      <c:pt idx="3370">
                        <c:v>-2.6700000000000001E-3</c:v>
                      </c:pt>
                      <c:pt idx="3371">
                        <c:v>-2.6700000000000001E-3</c:v>
                      </c:pt>
                      <c:pt idx="3372">
                        <c:v>-2.6700000000000001E-3</c:v>
                      </c:pt>
                      <c:pt idx="3373">
                        <c:v>-2.6700000000000001E-3</c:v>
                      </c:pt>
                      <c:pt idx="3374">
                        <c:v>6.2699999999999995E-4</c:v>
                      </c:pt>
                      <c:pt idx="3375">
                        <c:v>6.2699999999999995E-4</c:v>
                      </c:pt>
                      <c:pt idx="3376">
                        <c:v>6.2699999999999995E-4</c:v>
                      </c:pt>
                      <c:pt idx="3377">
                        <c:v>6.2699999999999995E-4</c:v>
                      </c:pt>
                      <c:pt idx="3378">
                        <c:v>6.2699999999999995E-4</c:v>
                      </c:pt>
                      <c:pt idx="3379">
                        <c:v>6.2699999999999995E-4</c:v>
                      </c:pt>
                      <c:pt idx="3380">
                        <c:v>-2.5219999999999999E-3</c:v>
                      </c:pt>
                      <c:pt idx="3381">
                        <c:v>-2.5219999999999999E-3</c:v>
                      </c:pt>
                      <c:pt idx="3382">
                        <c:v>-2.5219999999999999E-3</c:v>
                      </c:pt>
                      <c:pt idx="3383">
                        <c:v>-2.5219999999999999E-3</c:v>
                      </c:pt>
                      <c:pt idx="3384">
                        <c:v>-2.5219999999999999E-3</c:v>
                      </c:pt>
                      <c:pt idx="3385">
                        <c:v>-1.186E-3</c:v>
                      </c:pt>
                      <c:pt idx="3386">
                        <c:v>1.4999999999999999E-4</c:v>
                      </c:pt>
                      <c:pt idx="3387">
                        <c:v>1.4999999999999999E-4</c:v>
                      </c:pt>
                      <c:pt idx="3388">
                        <c:v>1.4999999999999999E-4</c:v>
                      </c:pt>
                      <c:pt idx="3389">
                        <c:v>1.4999999999999999E-4</c:v>
                      </c:pt>
                      <c:pt idx="3390">
                        <c:v>1.4999999999999999E-4</c:v>
                      </c:pt>
                      <c:pt idx="3391">
                        <c:v>-1.702E-3</c:v>
                      </c:pt>
                      <c:pt idx="3392">
                        <c:v>-1.702E-3</c:v>
                      </c:pt>
                      <c:pt idx="3393">
                        <c:v>-1.702E-3</c:v>
                      </c:pt>
                      <c:pt idx="3394">
                        <c:v>-1.702E-3</c:v>
                      </c:pt>
                      <c:pt idx="3395">
                        <c:v>-1.702E-3</c:v>
                      </c:pt>
                      <c:pt idx="3396">
                        <c:v>-1.702E-3</c:v>
                      </c:pt>
                      <c:pt idx="3397">
                        <c:v>-5.0799999999999999E-4</c:v>
                      </c:pt>
                      <c:pt idx="3398">
                        <c:v>-5.0799999999999999E-4</c:v>
                      </c:pt>
                      <c:pt idx="3399">
                        <c:v>-5.0799999999999999E-4</c:v>
                      </c:pt>
                      <c:pt idx="3400">
                        <c:v>-5.0799999999999999E-4</c:v>
                      </c:pt>
                      <c:pt idx="3401">
                        <c:v>-5.0799999999999999E-4</c:v>
                      </c:pt>
                      <c:pt idx="3402">
                        <c:v>-5.0799999999999999E-4</c:v>
                      </c:pt>
                      <c:pt idx="3403">
                        <c:v>-1.498E-3</c:v>
                      </c:pt>
                      <c:pt idx="3404">
                        <c:v>-1.498E-3</c:v>
                      </c:pt>
                      <c:pt idx="3405">
                        <c:v>-1.498E-3</c:v>
                      </c:pt>
                      <c:pt idx="3406">
                        <c:v>-1.498E-3</c:v>
                      </c:pt>
                      <c:pt idx="3407">
                        <c:v>-1.498E-3</c:v>
                      </c:pt>
                      <c:pt idx="3408">
                        <c:v>-1.498E-3</c:v>
                      </c:pt>
                      <c:pt idx="3409">
                        <c:v>-1.0319999999999999E-3</c:v>
                      </c:pt>
                      <c:pt idx="3410">
                        <c:v>-1.0319999999999999E-3</c:v>
                      </c:pt>
                      <c:pt idx="3411">
                        <c:v>-1.0319999999999999E-3</c:v>
                      </c:pt>
                      <c:pt idx="3412">
                        <c:v>-1.0319999999999999E-3</c:v>
                      </c:pt>
                      <c:pt idx="3413">
                        <c:v>-1.0319999999999999E-3</c:v>
                      </c:pt>
                      <c:pt idx="3414">
                        <c:v>-1.0275E-3</c:v>
                      </c:pt>
                      <c:pt idx="3415">
                        <c:v>-1.023E-3</c:v>
                      </c:pt>
                      <c:pt idx="3416">
                        <c:v>-1.023E-3</c:v>
                      </c:pt>
                      <c:pt idx="3417">
                        <c:v>-1.023E-3</c:v>
                      </c:pt>
                      <c:pt idx="3418">
                        <c:v>-1.023E-3</c:v>
                      </c:pt>
                      <c:pt idx="3419">
                        <c:v>-1.023E-3</c:v>
                      </c:pt>
                      <c:pt idx="3420">
                        <c:v>-1.013E-3</c:v>
                      </c:pt>
                      <c:pt idx="3421">
                        <c:v>-1.013E-3</c:v>
                      </c:pt>
                      <c:pt idx="3422">
                        <c:v>-1.013E-3</c:v>
                      </c:pt>
                      <c:pt idx="3423">
                        <c:v>-1.013E-3</c:v>
                      </c:pt>
                      <c:pt idx="3424">
                        <c:v>-1.013E-3</c:v>
                      </c:pt>
                      <c:pt idx="3425">
                        <c:v>-1.013E-3</c:v>
                      </c:pt>
                      <c:pt idx="3426">
                        <c:v>-1.0039999999999999E-3</c:v>
                      </c:pt>
                      <c:pt idx="3427">
                        <c:v>-1.0039999999999999E-3</c:v>
                      </c:pt>
                      <c:pt idx="3428">
                        <c:v>-1.0039999999999999E-3</c:v>
                      </c:pt>
                      <c:pt idx="3429">
                        <c:v>-1.0039999999999999E-3</c:v>
                      </c:pt>
                      <c:pt idx="3430">
                        <c:v>-1.0039999999999999E-3</c:v>
                      </c:pt>
                      <c:pt idx="3431">
                        <c:v>-1.0039999999999999E-3</c:v>
                      </c:pt>
                      <c:pt idx="3432">
                        <c:v>-9.9500000000000001E-4</c:v>
                      </c:pt>
                      <c:pt idx="3433">
                        <c:v>-9.9500000000000001E-4</c:v>
                      </c:pt>
                      <c:pt idx="3434">
                        <c:v>-9.9500000000000001E-4</c:v>
                      </c:pt>
                      <c:pt idx="3435">
                        <c:v>-9.9500000000000001E-4</c:v>
                      </c:pt>
                      <c:pt idx="3436">
                        <c:v>-9.9500000000000001E-4</c:v>
                      </c:pt>
                      <c:pt idx="3437">
                        <c:v>-9.9050004999999986E-4</c:v>
                      </c:pt>
                      <c:pt idx="3438">
                        <c:v>-9.8600009999999993E-4</c:v>
                      </c:pt>
                      <c:pt idx="3439">
                        <c:v>-9.8600009999999993E-4</c:v>
                      </c:pt>
                      <c:pt idx="3440">
                        <c:v>-9.8600009999999993E-4</c:v>
                      </c:pt>
                      <c:pt idx="3441">
                        <c:v>-9.8600009999999993E-4</c:v>
                      </c:pt>
                      <c:pt idx="3442">
                        <c:v>-9.8600009999999993E-4</c:v>
                      </c:pt>
                      <c:pt idx="3443">
                        <c:v>-9.8150004999999997E-4</c:v>
                      </c:pt>
                      <c:pt idx="3444">
                        <c:v>-9.77E-4</c:v>
                      </c:pt>
                      <c:pt idx="3445">
                        <c:v>-9.77E-4</c:v>
                      </c:pt>
                      <c:pt idx="3446">
                        <c:v>-9.77E-4</c:v>
                      </c:pt>
                      <c:pt idx="3447">
                        <c:v>-9.77E-4</c:v>
                      </c:pt>
                      <c:pt idx="3448">
                        <c:v>-9.77E-4</c:v>
                      </c:pt>
                      <c:pt idx="3449">
                        <c:v>-9.68E-4</c:v>
                      </c:pt>
                      <c:pt idx="3450">
                        <c:v>-9.68E-4</c:v>
                      </c:pt>
                      <c:pt idx="3451">
                        <c:v>-9.68E-4</c:v>
                      </c:pt>
                      <c:pt idx="3452">
                        <c:v>-9.68E-4</c:v>
                      </c:pt>
                      <c:pt idx="3453">
                        <c:v>-9.68E-4</c:v>
                      </c:pt>
                      <c:pt idx="3454">
                        <c:v>-9.68E-4</c:v>
                      </c:pt>
                      <c:pt idx="3455">
                        <c:v>-9.59E-4</c:v>
                      </c:pt>
                      <c:pt idx="3456">
                        <c:v>-9.59E-4</c:v>
                      </c:pt>
                      <c:pt idx="3457">
                        <c:v>-9.59E-4</c:v>
                      </c:pt>
                      <c:pt idx="3458">
                        <c:v>-9.59E-4</c:v>
                      </c:pt>
                      <c:pt idx="3459">
                        <c:v>-9.59E-4</c:v>
                      </c:pt>
                      <c:pt idx="3460">
                        <c:v>-9.59E-4</c:v>
                      </c:pt>
                      <c:pt idx="3461">
                        <c:v>-9.4899999999999997E-4</c:v>
                      </c:pt>
                      <c:pt idx="3462">
                        <c:v>-9.4899999999999997E-4</c:v>
                      </c:pt>
                      <c:pt idx="3463">
                        <c:v>-9.4899999999999997E-4</c:v>
                      </c:pt>
                      <c:pt idx="3464">
                        <c:v>-9.4899999999999997E-4</c:v>
                      </c:pt>
                      <c:pt idx="3465">
                        <c:v>-9.4899999999999997E-4</c:v>
                      </c:pt>
                      <c:pt idx="3466">
                        <c:v>-9.4450000000000003E-4</c:v>
                      </c:pt>
                      <c:pt idx="3467">
                        <c:v>-9.3999999999999997E-4</c:v>
                      </c:pt>
                      <c:pt idx="3468">
                        <c:v>-9.3999999999999997E-4</c:v>
                      </c:pt>
                      <c:pt idx="3469">
                        <c:v>-9.3999999999999997E-4</c:v>
                      </c:pt>
                      <c:pt idx="3470">
                        <c:v>-9.3999999999999997E-4</c:v>
                      </c:pt>
                      <c:pt idx="3471">
                        <c:v>-9.3999999999999997E-4</c:v>
                      </c:pt>
                      <c:pt idx="3472">
                        <c:v>-9.3549999999999992E-4</c:v>
                      </c:pt>
                      <c:pt idx="3473">
                        <c:v>-9.3099999999999997E-4</c:v>
                      </c:pt>
                      <c:pt idx="3474">
                        <c:v>-9.3099999999999997E-4</c:v>
                      </c:pt>
                      <c:pt idx="3475">
                        <c:v>-9.3099999999999997E-4</c:v>
                      </c:pt>
                      <c:pt idx="3476">
                        <c:v>-9.3099999999999997E-4</c:v>
                      </c:pt>
                      <c:pt idx="3477">
                        <c:v>-9.3099999999999997E-4</c:v>
                      </c:pt>
                      <c:pt idx="3478">
                        <c:v>-9.2199999999999997E-4</c:v>
                      </c:pt>
                      <c:pt idx="3479">
                        <c:v>-9.2199999999999997E-4</c:v>
                      </c:pt>
                      <c:pt idx="3480">
                        <c:v>-9.2199999999999997E-4</c:v>
                      </c:pt>
                      <c:pt idx="3481">
                        <c:v>-9.2199999999999997E-4</c:v>
                      </c:pt>
                      <c:pt idx="3482">
                        <c:v>-9.2199999999999997E-4</c:v>
                      </c:pt>
                      <c:pt idx="3483">
                        <c:v>-9.2199999999999997E-4</c:v>
                      </c:pt>
                      <c:pt idx="3484">
                        <c:v>-9.1299999999999997E-4</c:v>
                      </c:pt>
                      <c:pt idx="3485">
                        <c:v>-9.1299999999999997E-4</c:v>
                      </c:pt>
                      <c:pt idx="3486">
                        <c:v>-9.1299999999999997E-4</c:v>
                      </c:pt>
                      <c:pt idx="3487">
                        <c:v>-9.1299999999999997E-4</c:v>
                      </c:pt>
                      <c:pt idx="3488">
                        <c:v>-9.1299999999999997E-4</c:v>
                      </c:pt>
                      <c:pt idx="3489">
                        <c:v>-9.1299999999999997E-4</c:v>
                      </c:pt>
                      <c:pt idx="3490">
                        <c:v>-9.0399999999999996E-4</c:v>
                      </c:pt>
                      <c:pt idx="3491">
                        <c:v>-9.0399999999999996E-4</c:v>
                      </c:pt>
                      <c:pt idx="3492">
                        <c:v>-9.0399999999999996E-4</c:v>
                      </c:pt>
                      <c:pt idx="3493">
                        <c:v>-9.0399999999999996E-4</c:v>
                      </c:pt>
                      <c:pt idx="3494">
                        <c:v>-9.0399999999999996E-4</c:v>
                      </c:pt>
                      <c:pt idx="3495">
                        <c:v>-8.9949999999999991E-4</c:v>
                      </c:pt>
                      <c:pt idx="3496">
                        <c:v>-8.9499999999999996E-4</c:v>
                      </c:pt>
                      <c:pt idx="3497">
                        <c:v>-8.9499999999999996E-4</c:v>
                      </c:pt>
                      <c:pt idx="3498">
                        <c:v>-8.9499999999999996E-4</c:v>
                      </c:pt>
                      <c:pt idx="3499">
                        <c:v>-8.9499999999999996E-4</c:v>
                      </c:pt>
                      <c:pt idx="3500">
                        <c:v>-8.9499999999999996E-4</c:v>
                      </c:pt>
                      <c:pt idx="3501">
                        <c:v>-8.8500000000000004E-4</c:v>
                      </c:pt>
                      <c:pt idx="3502">
                        <c:v>-8.8500000000000004E-4</c:v>
                      </c:pt>
                      <c:pt idx="3503">
                        <c:v>-8.8500000000000004E-4</c:v>
                      </c:pt>
                      <c:pt idx="3504">
                        <c:v>-8.8500000000000004E-4</c:v>
                      </c:pt>
                      <c:pt idx="3505">
                        <c:v>-8.8500000000000004E-4</c:v>
                      </c:pt>
                      <c:pt idx="3506">
                        <c:v>-8.8500000000000004E-4</c:v>
                      </c:pt>
                      <c:pt idx="3507">
                        <c:v>-8.7600000000000004E-4</c:v>
                      </c:pt>
                      <c:pt idx="3508">
                        <c:v>-8.7600000000000004E-4</c:v>
                      </c:pt>
                      <c:pt idx="3509">
                        <c:v>-8.7600000000000004E-4</c:v>
                      </c:pt>
                      <c:pt idx="3510">
                        <c:v>-8.7600000000000004E-4</c:v>
                      </c:pt>
                      <c:pt idx="3511">
                        <c:v>-8.7600000000000004E-4</c:v>
                      </c:pt>
                      <c:pt idx="3512">
                        <c:v>-8.7600000000000004E-4</c:v>
                      </c:pt>
                      <c:pt idx="3513">
                        <c:v>-8.6700000000000004E-4</c:v>
                      </c:pt>
                      <c:pt idx="3514">
                        <c:v>-8.6700000000000004E-4</c:v>
                      </c:pt>
                      <c:pt idx="3515">
                        <c:v>-8.6700000000000004E-4</c:v>
                      </c:pt>
                      <c:pt idx="3516">
                        <c:v>-8.6700000000000004E-4</c:v>
                      </c:pt>
                      <c:pt idx="3517">
                        <c:v>-8.6700000000000004E-4</c:v>
                      </c:pt>
                      <c:pt idx="3518">
                        <c:v>-8.6700000000000004E-4</c:v>
                      </c:pt>
                      <c:pt idx="3519">
                        <c:v>-8.5800000000000004E-4</c:v>
                      </c:pt>
                      <c:pt idx="3520">
                        <c:v>-8.5800000000000004E-4</c:v>
                      </c:pt>
                      <c:pt idx="3521">
                        <c:v>-8.5800000000000004E-4</c:v>
                      </c:pt>
                      <c:pt idx="3522">
                        <c:v>-8.5800000000000004E-4</c:v>
                      </c:pt>
                      <c:pt idx="3523">
                        <c:v>-8.5800000000000004E-4</c:v>
                      </c:pt>
                      <c:pt idx="3524">
                        <c:v>-8.5350000000000009E-4</c:v>
                      </c:pt>
                      <c:pt idx="3525">
                        <c:v>-8.4900000000000004E-4</c:v>
                      </c:pt>
                      <c:pt idx="3526">
                        <c:v>-8.4900000000000004E-4</c:v>
                      </c:pt>
                      <c:pt idx="3527">
                        <c:v>-8.4900000000000004E-4</c:v>
                      </c:pt>
                      <c:pt idx="3528">
                        <c:v>-8.4900000000000004E-4</c:v>
                      </c:pt>
                      <c:pt idx="3529">
                        <c:v>-8.4900000000000004E-4</c:v>
                      </c:pt>
                      <c:pt idx="3530">
                        <c:v>-8.4000000000000003E-4</c:v>
                      </c:pt>
                      <c:pt idx="3531">
                        <c:v>-8.4000000000000003E-4</c:v>
                      </c:pt>
                      <c:pt idx="3532">
                        <c:v>-8.4000000000000003E-4</c:v>
                      </c:pt>
                      <c:pt idx="3533">
                        <c:v>-8.4000000000000003E-4</c:v>
                      </c:pt>
                      <c:pt idx="3534">
                        <c:v>-8.4000000000000003E-4</c:v>
                      </c:pt>
                      <c:pt idx="3535">
                        <c:v>-8.4000000000000003E-4</c:v>
                      </c:pt>
                      <c:pt idx="3536">
                        <c:v>-8.3000000000000001E-4</c:v>
                      </c:pt>
                      <c:pt idx="3537">
                        <c:v>-8.3000000000000001E-4</c:v>
                      </c:pt>
                      <c:pt idx="3538">
                        <c:v>-8.3000000000000001E-4</c:v>
                      </c:pt>
                      <c:pt idx="3539">
                        <c:v>-8.3000000000000001E-4</c:v>
                      </c:pt>
                      <c:pt idx="3540">
                        <c:v>-8.3000000000000001E-4</c:v>
                      </c:pt>
                      <c:pt idx="3541">
                        <c:v>-8.3000000000000001E-4</c:v>
                      </c:pt>
                      <c:pt idx="3542">
                        <c:v>-8.2100000000000001E-4</c:v>
                      </c:pt>
                      <c:pt idx="3543">
                        <c:v>-8.2100000000000001E-4</c:v>
                      </c:pt>
                      <c:pt idx="3544">
                        <c:v>-8.2100000000000001E-4</c:v>
                      </c:pt>
                      <c:pt idx="3545">
                        <c:v>-8.2100000000000001E-4</c:v>
                      </c:pt>
                      <c:pt idx="3546">
                        <c:v>-8.2100000000000001E-4</c:v>
                      </c:pt>
                      <c:pt idx="3547">
                        <c:v>-8.1649999999999995E-4</c:v>
                      </c:pt>
                      <c:pt idx="3548">
                        <c:v>-8.12E-4</c:v>
                      </c:pt>
                      <c:pt idx="3549">
                        <c:v>-8.12E-4</c:v>
                      </c:pt>
                      <c:pt idx="3550">
                        <c:v>-8.12E-4</c:v>
                      </c:pt>
                      <c:pt idx="3551">
                        <c:v>-8.12E-4</c:v>
                      </c:pt>
                      <c:pt idx="3552">
                        <c:v>-8.12E-4</c:v>
                      </c:pt>
                      <c:pt idx="3553">
                        <c:v>-8.0750000000000006E-4</c:v>
                      </c:pt>
                      <c:pt idx="3554">
                        <c:v>-8.03E-4</c:v>
                      </c:pt>
                      <c:pt idx="3555">
                        <c:v>-8.03E-4</c:v>
                      </c:pt>
                      <c:pt idx="3556">
                        <c:v>-8.03E-4</c:v>
                      </c:pt>
                      <c:pt idx="3557">
                        <c:v>-8.03E-4</c:v>
                      </c:pt>
                      <c:pt idx="3558">
                        <c:v>-8.03E-4</c:v>
                      </c:pt>
                      <c:pt idx="3559">
                        <c:v>-7.94E-4</c:v>
                      </c:pt>
                      <c:pt idx="3560">
                        <c:v>-7.94E-4</c:v>
                      </c:pt>
                      <c:pt idx="3561">
                        <c:v>-7.94E-4</c:v>
                      </c:pt>
                      <c:pt idx="3562">
                        <c:v>-7.94E-4</c:v>
                      </c:pt>
                      <c:pt idx="3563">
                        <c:v>-7.94E-4</c:v>
                      </c:pt>
                      <c:pt idx="3564">
                        <c:v>-7.94E-4</c:v>
                      </c:pt>
                      <c:pt idx="3565">
                        <c:v>-7.85E-4</c:v>
                      </c:pt>
                      <c:pt idx="3566">
                        <c:v>-7.85E-4</c:v>
                      </c:pt>
                      <c:pt idx="3567">
                        <c:v>-7.85E-4</c:v>
                      </c:pt>
                      <c:pt idx="3568">
                        <c:v>-7.85E-4</c:v>
                      </c:pt>
                      <c:pt idx="3569">
                        <c:v>-7.85E-4</c:v>
                      </c:pt>
                      <c:pt idx="3570">
                        <c:v>-7.85E-4</c:v>
                      </c:pt>
                      <c:pt idx="3571">
                        <c:v>-7.76E-4</c:v>
                      </c:pt>
                      <c:pt idx="3572">
                        <c:v>-7.76E-4</c:v>
                      </c:pt>
                      <c:pt idx="3573">
                        <c:v>-7.76E-4</c:v>
                      </c:pt>
                      <c:pt idx="3574">
                        <c:v>-7.76E-4</c:v>
                      </c:pt>
                      <c:pt idx="3575">
                        <c:v>-7.76E-4</c:v>
                      </c:pt>
                      <c:pt idx="3576">
                        <c:v>-7.7099999999999998E-4</c:v>
                      </c:pt>
                      <c:pt idx="3577">
                        <c:v>-7.6599999999999997E-4</c:v>
                      </c:pt>
                      <c:pt idx="3578">
                        <c:v>-7.6599999999999997E-4</c:v>
                      </c:pt>
                      <c:pt idx="3579">
                        <c:v>-7.6599999999999997E-4</c:v>
                      </c:pt>
                      <c:pt idx="3580">
                        <c:v>-7.6599999999999997E-4</c:v>
                      </c:pt>
                      <c:pt idx="3581">
                        <c:v>-7.6599999999999997E-4</c:v>
                      </c:pt>
                      <c:pt idx="3582">
                        <c:v>-7.5699999999999997E-4</c:v>
                      </c:pt>
                      <c:pt idx="3583">
                        <c:v>-7.5699999999999997E-4</c:v>
                      </c:pt>
                      <c:pt idx="3584">
                        <c:v>-7.5699999999999997E-4</c:v>
                      </c:pt>
                      <c:pt idx="3585">
                        <c:v>-7.5699999999999997E-4</c:v>
                      </c:pt>
                      <c:pt idx="3586">
                        <c:v>-7.5699999999999997E-4</c:v>
                      </c:pt>
                      <c:pt idx="3587">
                        <c:v>-7.5699999999999997E-4</c:v>
                      </c:pt>
                      <c:pt idx="3588">
                        <c:v>-7.4799999999999997E-4</c:v>
                      </c:pt>
                      <c:pt idx="3589">
                        <c:v>-7.4799999999999997E-4</c:v>
                      </c:pt>
                      <c:pt idx="3590">
                        <c:v>-7.4799999999999997E-4</c:v>
                      </c:pt>
                      <c:pt idx="3591">
                        <c:v>-7.4799999999999997E-4</c:v>
                      </c:pt>
                      <c:pt idx="3592">
                        <c:v>-7.4799999999999997E-4</c:v>
                      </c:pt>
                      <c:pt idx="3593">
                        <c:v>-7.4799999999999997E-4</c:v>
                      </c:pt>
                      <c:pt idx="3594">
                        <c:v>-7.3899999999999997E-4</c:v>
                      </c:pt>
                      <c:pt idx="3595">
                        <c:v>-7.3899999999999997E-4</c:v>
                      </c:pt>
                      <c:pt idx="3596">
                        <c:v>-7.3899999999999997E-4</c:v>
                      </c:pt>
                      <c:pt idx="3597">
                        <c:v>-7.3899999999999997E-4</c:v>
                      </c:pt>
                      <c:pt idx="3598">
                        <c:v>-7.3899999999999997E-4</c:v>
                      </c:pt>
                      <c:pt idx="3599">
                        <c:v>-7.3899999999999997E-4</c:v>
                      </c:pt>
                      <c:pt idx="3600">
                        <c:v>-7.2999999999999996E-4</c:v>
                      </c:pt>
                      <c:pt idx="3601">
                        <c:v>-7.2999999999999996E-4</c:v>
                      </c:pt>
                      <c:pt idx="3602">
                        <c:v>-7.2999999999999996E-4</c:v>
                      </c:pt>
                      <c:pt idx="3603">
                        <c:v>-7.2999999999999996E-4</c:v>
                      </c:pt>
                      <c:pt idx="3604">
                        <c:v>-7.2999999999999996E-4</c:v>
                      </c:pt>
                      <c:pt idx="3605">
                        <c:v>-7.2550000000000002E-4</c:v>
                      </c:pt>
                      <c:pt idx="3606">
                        <c:v>-7.2099999999999996E-4</c:v>
                      </c:pt>
                      <c:pt idx="3607">
                        <c:v>-7.2099999999999996E-4</c:v>
                      </c:pt>
                      <c:pt idx="3608">
                        <c:v>-7.2099999999999996E-4</c:v>
                      </c:pt>
                      <c:pt idx="3609">
                        <c:v>-7.2099999999999996E-4</c:v>
                      </c:pt>
                      <c:pt idx="3610">
                        <c:v>-7.2099999999999996E-4</c:v>
                      </c:pt>
                      <c:pt idx="3611">
                        <c:v>-7.1199999999999996E-4</c:v>
                      </c:pt>
                      <c:pt idx="3612">
                        <c:v>-7.1199999999999996E-4</c:v>
                      </c:pt>
                      <c:pt idx="3613">
                        <c:v>-7.1199999999999996E-4</c:v>
                      </c:pt>
                      <c:pt idx="3614">
                        <c:v>-7.1199999999999996E-4</c:v>
                      </c:pt>
                      <c:pt idx="3615">
                        <c:v>-7.1199999999999996E-4</c:v>
                      </c:pt>
                      <c:pt idx="3616">
                        <c:v>-7.1199999999999996E-4</c:v>
                      </c:pt>
                      <c:pt idx="3617">
                        <c:v>-7.0200000000000004E-4</c:v>
                      </c:pt>
                      <c:pt idx="3618">
                        <c:v>-7.0200000000000004E-4</c:v>
                      </c:pt>
                      <c:pt idx="3619">
                        <c:v>-7.0200000000000004E-4</c:v>
                      </c:pt>
                      <c:pt idx="3620">
                        <c:v>-7.0200000000000004E-4</c:v>
                      </c:pt>
                      <c:pt idx="3621">
                        <c:v>-7.0200000000000004E-4</c:v>
                      </c:pt>
                      <c:pt idx="3622">
                        <c:v>-7.0200000000000004E-4</c:v>
                      </c:pt>
                      <c:pt idx="3623">
                        <c:v>-6.9300000000000004E-4</c:v>
                      </c:pt>
                      <c:pt idx="3624">
                        <c:v>-6.9300000000000004E-4</c:v>
                      </c:pt>
                      <c:pt idx="3625">
                        <c:v>-6.9300000000000004E-4</c:v>
                      </c:pt>
                      <c:pt idx="3626">
                        <c:v>-6.9300000000000004E-4</c:v>
                      </c:pt>
                      <c:pt idx="3627">
                        <c:v>-6.9300000000000004E-4</c:v>
                      </c:pt>
                      <c:pt idx="3628">
                        <c:v>-6.8850000000000009E-4</c:v>
                      </c:pt>
                      <c:pt idx="3629">
                        <c:v>-6.8400000000000004E-4</c:v>
                      </c:pt>
                      <c:pt idx="3630">
                        <c:v>-6.8400000000000004E-4</c:v>
                      </c:pt>
                      <c:pt idx="3631">
                        <c:v>-6.8400000000000004E-4</c:v>
                      </c:pt>
                      <c:pt idx="3632">
                        <c:v>-6.8400000000000004E-4</c:v>
                      </c:pt>
                      <c:pt idx="3633">
                        <c:v>-6.8400000000000004E-4</c:v>
                      </c:pt>
                      <c:pt idx="3634">
                        <c:v>-6.7949999999999998E-4</c:v>
                      </c:pt>
                      <c:pt idx="3635">
                        <c:v>-6.7500000000000004E-4</c:v>
                      </c:pt>
                      <c:pt idx="3636">
                        <c:v>-6.7500000000000004E-4</c:v>
                      </c:pt>
                      <c:pt idx="3637">
                        <c:v>-6.7500000000000004E-4</c:v>
                      </c:pt>
                      <c:pt idx="3638">
                        <c:v>-6.7500000000000004E-4</c:v>
                      </c:pt>
                      <c:pt idx="3639">
                        <c:v>-6.7500000000000004E-4</c:v>
                      </c:pt>
                      <c:pt idx="3640">
                        <c:v>-6.6600000000000003E-4</c:v>
                      </c:pt>
                      <c:pt idx="3641">
                        <c:v>-6.6600000000000003E-4</c:v>
                      </c:pt>
                      <c:pt idx="3642">
                        <c:v>-6.6600000000000003E-4</c:v>
                      </c:pt>
                      <c:pt idx="3643">
                        <c:v>-6.6600000000000003E-4</c:v>
                      </c:pt>
                      <c:pt idx="3644">
                        <c:v>-6.6600000000000003E-4</c:v>
                      </c:pt>
                      <c:pt idx="3645">
                        <c:v>-6.6600000000000003E-4</c:v>
                      </c:pt>
                      <c:pt idx="3646">
                        <c:v>-6.5700000000000003E-4</c:v>
                      </c:pt>
                      <c:pt idx="3647">
                        <c:v>-6.5700000000000003E-4</c:v>
                      </c:pt>
                      <c:pt idx="3648">
                        <c:v>-6.5700000000000003E-4</c:v>
                      </c:pt>
                      <c:pt idx="3649">
                        <c:v>-6.5700000000000003E-4</c:v>
                      </c:pt>
                      <c:pt idx="3650">
                        <c:v>-6.5700000000000003E-4</c:v>
                      </c:pt>
                      <c:pt idx="3651">
                        <c:v>-6.5700000000000003E-4</c:v>
                      </c:pt>
                      <c:pt idx="3652">
                        <c:v>-6.4700000000000001E-4</c:v>
                      </c:pt>
                      <c:pt idx="3653">
                        <c:v>-6.4700000000000001E-4</c:v>
                      </c:pt>
                      <c:pt idx="3654">
                        <c:v>-6.4700000000000001E-4</c:v>
                      </c:pt>
                      <c:pt idx="3655">
                        <c:v>-6.4700000000000001E-4</c:v>
                      </c:pt>
                      <c:pt idx="3656">
                        <c:v>-6.4700000000000001E-4</c:v>
                      </c:pt>
                      <c:pt idx="3657">
                        <c:v>-6.4250000000000006E-4</c:v>
                      </c:pt>
                      <c:pt idx="3658">
                        <c:v>-6.38E-4</c:v>
                      </c:pt>
                      <c:pt idx="3659">
                        <c:v>-6.38E-4</c:v>
                      </c:pt>
                      <c:pt idx="3660">
                        <c:v>-6.38E-4</c:v>
                      </c:pt>
                      <c:pt idx="3661">
                        <c:v>-6.38E-4</c:v>
                      </c:pt>
                      <c:pt idx="3662">
                        <c:v>-6.38E-4</c:v>
                      </c:pt>
                      <c:pt idx="3663">
                        <c:v>-6.3349999999999995E-4</c:v>
                      </c:pt>
                      <c:pt idx="3664">
                        <c:v>-6.29E-4</c:v>
                      </c:pt>
                      <c:pt idx="3665">
                        <c:v>-6.29E-4</c:v>
                      </c:pt>
                      <c:pt idx="3666">
                        <c:v>-6.29E-4</c:v>
                      </c:pt>
                      <c:pt idx="3667">
                        <c:v>-6.29E-4</c:v>
                      </c:pt>
                      <c:pt idx="3668">
                        <c:v>-6.29E-4</c:v>
                      </c:pt>
                      <c:pt idx="3669">
                        <c:v>-6.2E-4</c:v>
                      </c:pt>
                      <c:pt idx="3670">
                        <c:v>-6.2E-4</c:v>
                      </c:pt>
                      <c:pt idx="3671">
                        <c:v>-6.2E-4</c:v>
                      </c:pt>
                      <c:pt idx="3672">
                        <c:v>-6.2E-4</c:v>
                      </c:pt>
                      <c:pt idx="3673">
                        <c:v>-6.2E-4</c:v>
                      </c:pt>
                      <c:pt idx="3674">
                        <c:v>-6.2E-4</c:v>
                      </c:pt>
                      <c:pt idx="3675">
                        <c:v>-6.11E-4</c:v>
                      </c:pt>
                      <c:pt idx="3676">
                        <c:v>-6.11E-4</c:v>
                      </c:pt>
                      <c:pt idx="3677">
                        <c:v>-6.11E-4</c:v>
                      </c:pt>
                      <c:pt idx="3678">
                        <c:v>-6.11E-4</c:v>
                      </c:pt>
                      <c:pt idx="3679">
                        <c:v>-6.11E-4</c:v>
                      </c:pt>
                      <c:pt idx="3680">
                        <c:v>-6.11E-4</c:v>
                      </c:pt>
                      <c:pt idx="3681">
                        <c:v>-6.02E-4</c:v>
                      </c:pt>
                      <c:pt idx="3682">
                        <c:v>-6.02E-4</c:v>
                      </c:pt>
                      <c:pt idx="3683">
                        <c:v>-6.02E-4</c:v>
                      </c:pt>
                      <c:pt idx="3684">
                        <c:v>-6.02E-4</c:v>
                      </c:pt>
                      <c:pt idx="3685">
                        <c:v>-6.02E-4</c:v>
                      </c:pt>
                      <c:pt idx="3686">
                        <c:v>-5.9749999999999994E-4</c:v>
                      </c:pt>
                      <c:pt idx="3687">
                        <c:v>-5.9299999999999999E-4</c:v>
                      </c:pt>
                      <c:pt idx="3688">
                        <c:v>-5.9299999999999999E-4</c:v>
                      </c:pt>
                      <c:pt idx="3689">
                        <c:v>-5.9299999999999999E-4</c:v>
                      </c:pt>
                      <c:pt idx="3690">
                        <c:v>-5.9299999999999999E-4</c:v>
                      </c:pt>
                      <c:pt idx="3691">
                        <c:v>-5.9299999999999999E-4</c:v>
                      </c:pt>
                      <c:pt idx="3692">
                        <c:v>-5.8299999999999997E-4</c:v>
                      </c:pt>
                      <c:pt idx="3693">
                        <c:v>-5.8299999999999997E-4</c:v>
                      </c:pt>
                      <c:pt idx="3694">
                        <c:v>-5.8299999999999997E-4</c:v>
                      </c:pt>
                      <c:pt idx="3695">
                        <c:v>-5.8299999999999997E-4</c:v>
                      </c:pt>
                      <c:pt idx="3696">
                        <c:v>-5.8299999999999997E-4</c:v>
                      </c:pt>
                      <c:pt idx="3697">
                        <c:v>-5.8299999999999997E-4</c:v>
                      </c:pt>
                      <c:pt idx="3698">
                        <c:v>-5.7399999999999997E-4</c:v>
                      </c:pt>
                      <c:pt idx="3699">
                        <c:v>-5.7399999999999997E-4</c:v>
                      </c:pt>
                      <c:pt idx="3700">
                        <c:v>-5.7399999999999997E-4</c:v>
                      </c:pt>
                      <c:pt idx="3701">
                        <c:v>-5.7399999999999997E-4</c:v>
                      </c:pt>
                      <c:pt idx="3702">
                        <c:v>-5.7399999999999997E-4</c:v>
                      </c:pt>
                      <c:pt idx="3703">
                        <c:v>-5.7399999999999997E-4</c:v>
                      </c:pt>
                      <c:pt idx="3704">
                        <c:v>-5.6499999999999996E-4</c:v>
                      </c:pt>
                      <c:pt idx="3705">
                        <c:v>-5.6499999999999996E-4</c:v>
                      </c:pt>
                      <c:pt idx="3706">
                        <c:v>-5.6499999999999996E-4</c:v>
                      </c:pt>
                      <c:pt idx="3707">
                        <c:v>-5.6499999999999996E-4</c:v>
                      </c:pt>
                      <c:pt idx="3708">
                        <c:v>-5.6499999999999996E-4</c:v>
                      </c:pt>
                      <c:pt idx="3709">
                        <c:v>-5.6499999999999996E-4</c:v>
                      </c:pt>
                      <c:pt idx="3710">
                        <c:v>-5.5599999999999996E-4</c:v>
                      </c:pt>
                      <c:pt idx="3711">
                        <c:v>-5.5599999999999996E-4</c:v>
                      </c:pt>
                      <c:pt idx="3712">
                        <c:v>-5.5599999999999996E-4</c:v>
                      </c:pt>
                      <c:pt idx="3713">
                        <c:v>-5.5599999999999996E-4</c:v>
                      </c:pt>
                      <c:pt idx="3714">
                        <c:v>-5.5599999999999996E-4</c:v>
                      </c:pt>
                      <c:pt idx="3715">
                        <c:v>-5.5149999999999991E-4</c:v>
                      </c:pt>
                      <c:pt idx="3716">
                        <c:v>-5.4699999999999996E-4</c:v>
                      </c:pt>
                      <c:pt idx="3717">
                        <c:v>-5.4699999999999996E-4</c:v>
                      </c:pt>
                      <c:pt idx="3718">
                        <c:v>-5.4699999999999996E-4</c:v>
                      </c:pt>
                      <c:pt idx="3719">
                        <c:v>-5.4699999999999996E-4</c:v>
                      </c:pt>
                      <c:pt idx="3720">
                        <c:v>-5.4699999999999996E-4</c:v>
                      </c:pt>
                      <c:pt idx="3721">
                        <c:v>-5.3799999999999996E-4</c:v>
                      </c:pt>
                      <c:pt idx="3722">
                        <c:v>-5.3799999999999996E-4</c:v>
                      </c:pt>
                      <c:pt idx="3723">
                        <c:v>-5.3799999999999996E-4</c:v>
                      </c:pt>
                      <c:pt idx="3724">
                        <c:v>-5.3799999999999996E-4</c:v>
                      </c:pt>
                      <c:pt idx="3725">
                        <c:v>-5.3799999999999996E-4</c:v>
                      </c:pt>
                      <c:pt idx="3726">
                        <c:v>-5.3799999999999996E-4</c:v>
                      </c:pt>
                      <c:pt idx="3727">
                        <c:v>-5.2800000000000004E-4</c:v>
                      </c:pt>
                      <c:pt idx="3728">
                        <c:v>-5.2800000000000004E-4</c:v>
                      </c:pt>
                      <c:pt idx="3729">
                        <c:v>-5.2800000000000004E-4</c:v>
                      </c:pt>
                      <c:pt idx="3730">
                        <c:v>-5.2800000000000004E-4</c:v>
                      </c:pt>
                      <c:pt idx="3731">
                        <c:v>-5.2800000000000004E-4</c:v>
                      </c:pt>
                      <c:pt idx="3732">
                        <c:v>-5.2800000000000004E-4</c:v>
                      </c:pt>
                      <c:pt idx="3733">
                        <c:v>-5.1900000000000004E-4</c:v>
                      </c:pt>
                      <c:pt idx="3734">
                        <c:v>-5.1900000000000004E-4</c:v>
                      </c:pt>
                      <c:pt idx="3735">
                        <c:v>-5.1900000000000004E-4</c:v>
                      </c:pt>
                      <c:pt idx="3736">
                        <c:v>-5.1900000000000004E-4</c:v>
                      </c:pt>
                      <c:pt idx="3737">
                        <c:v>-5.1900000000000004E-4</c:v>
                      </c:pt>
                      <c:pt idx="3738">
                        <c:v>-5.1449999999999998E-4</c:v>
                      </c:pt>
                      <c:pt idx="3739">
                        <c:v>-5.1000000000000004E-4</c:v>
                      </c:pt>
                      <c:pt idx="3740">
                        <c:v>-5.1000000000000004E-4</c:v>
                      </c:pt>
                      <c:pt idx="3741">
                        <c:v>-5.1000000000000004E-4</c:v>
                      </c:pt>
                      <c:pt idx="3742">
                        <c:v>-5.1000000000000004E-4</c:v>
                      </c:pt>
                      <c:pt idx="3743">
                        <c:v>-5.1000000000000004E-4</c:v>
                      </c:pt>
                      <c:pt idx="3744">
                        <c:v>-5.0550000000000009E-4</c:v>
                      </c:pt>
                      <c:pt idx="3745">
                        <c:v>-5.0100000000000003E-4</c:v>
                      </c:pt>
                      <c:pt idx="3746">
                        <c:v>-5.0100000000000003E-4</c:v>
                      </c:pt>
                      <c:pt idx="3747">
                        <c:v>-5.0100000000000003E-4</c:v>
                      </c:pt>
                      <c:pt idx="3748">
                        <c:v>-5.0100000000000003E-4</c:v>
                      </c:pt>
                      <c:pt idx="3749">
                        <c:v>-5.0100000000000003E-4</c:v>
                      </c:pt>
                      <c:pt idx="3750">
                        <c:v>-4.9200000000000003E-4</c:v>
                      </c:pt>
                      <c:pt idx="3751">
                        <c:v>-4.9200000000000003E-4</c:v>
                      </c:pt>
                      <c:pt idx="3752">
                        <c:v>-4.9200000000000003E-4</c:v>
                      </c:pt>
                      <c:pt idx="3753">
                        <c:v>-4.9200000000000003E-4</c:v>
                      </c:pt>
                      <c:pt idx="3754">
                        <c:v>-4.9200000000000003E-4</c:v>
                      </c:pt>
                      <c:pt idx="3755">
                        <c:v>-4.9200000000000003E-4</c:v>
                      </c:pt>
                      <c:pt idx="3756">
                        <c:v>-4.8299999999999998E-4</c:v>
                      </c:pt>
                      <c:pt idx="3757">
                        <c:v>-4.8299999999999998E-4</c:v>
                      </c:pt>
                      <c:pt idx="3758">
                        <c:v>-4.8299999999999998E-4</c:v>
                      </c:pt>
                      <c:pt idx="3759">
                        <c:v>-4.8299999999999998E-4</c:v>
                      </c:pt>
                      <c:pt idx="3760">
                        <c:v>-4.8299999999999998E-4</c:v>
                      </c:pt>
                      <c:pt idx="3761">
                        <c:v>-4.8299999999999998E-4</c:v>
                      </c:pt>
                      <c:pt idx="3762">
                        <c:v>-4.73E-4</c:v>
                      </c:pt>
                      <c:pt idx="3763">
                        <c:v>-4.73E-4</c:v>
                      </c:pt>
                      <c:pt idx="3764">
                        <c:v>-4.73E-4</c:v>
                      </c:pt>
                      <c:pt idx="3765">
                        <c:v>-4.73E-4</c:v>
                      </c:pt>
                      <c:pt idx="3766">
                        <c:v>-4.73E-4</c:v>
                      </c:pt>
                      <c:pt idx="3767">
                        <c:v>-4.685E-4</c:v>
                      </c:pt>
                      <c:pt idx="3768">
                        <c:v>-4.64E-4</c:v>
                      </c:pt>
                      <c:pt idx="3769">
                        <c:v>-4.64E-4</c:v>
                      </c:pt>
                      <c:pt idx="3770">
                        <c:v>-4.64E-4</c:v>
                      </c:pt>
                      <c:pt idx="3771">
                        <c:v>-4.64E-4</c:v>
                      </c:pt>
                      <c:pt idx="3772">
                        <c:v>-4.64E-4</c:v>
                      </c:pt>
                      <c:pt idx="3773">
                        <c:v>-4.55E-4</c:v>
                      </c:pt>
                      <c:pt idx="3774">
                        <c:v>-4.55E-4</c:v>
                      </c:pt>
                      <c:pt idx="3775">
                        <c:v>-4.55E-4</c:v>
                      </c:pt>
                      <c:pt idx="3776">
                        <c:v>-4.55E-4</c:v>
                      </c:pt>
                      <c:pt idx="3777">
                        <c:v>-4.55E-4</c:v>
                      </c:pt>
                      <c:pt idx="3778">
                        <c:v>-4.55E-4</c:v>
                      </c:pt>
                      <c:pt idx="3779">
                        <c:v>-4.46E-4</c:v>
                      </c:pt>
                      <c:pt idx="3780">
                        <c:v>-4.46E-4</c:v>
                      </c:pt>
                      <c:pt idx="3781">
                        <c:v>-4.46E-4</c:v>
                      </c:pt>
                      <c:pt idx="3782">
                        <c:v>-4.46E-4</c:v>
                      </c:pt>
                      <c:pt idx="3783">
                        <c:v>-4.46E-4</c:v>
                      </c:pt>
                      <c:pt idx="3784">
                        <c:v>-4.46E-4</c:v>
                      </c:pt>
                      <c:pt idx="3785">
                        <c:v>-4.37E-4</c:v>
                      </c:pt>
                      <c:pt idx="3786">
                        <c:v>-4.37E-4</c:v>
                      </c:pt>
                      <c:pt idx="3787">
                        <c:v>-4.37E-4</c:v>
                      </c:pt>
                      <c:pt idx="3788">
                        <c:v>-4.37E-4</c:v>
                      </c:pt>
                      <c:pt idx="3789">
                        <c:v>-4.37E-4</c:v>
                      </c:pt>
                      <c:pt idx="3790">
                        <c:v>-4.37E-4</c:v>
                      </c:pt>
                      <c:pt idx="3791">
                        <c:v>-4.28E-4</c:v>
                      </c:pt>
                      <c:pt idx="3792">
                        <c:v>-4.28E-4</c:v>
                      </c:pt>
                      <c:pt idx="3793">
                        <c:v>-4.28E-4</c:v>
                      </c:pt>
                      <c:pt idx="3794">
                        <c:v>-4.28E-4</c:v>
                      </c:pt>
                      <c:pt idx="3795">
                        <c:v>-4.28E-4</c:v>
                      </c:pt>
                      <c:pt idx="3796">
                        <c:v>-4.2349999999999999E-4</c:v>
                      </c:pt>
                      <c:pt idx="3797">
                        <c:v>-4.1899999999999999E-4</c:v>
                      </c:pt>
                      <c:pt idx="3798">
                        <c:v>-4.1899999999999999E-4</c:v>
                      </c:pt>
                      <c:pt idx="3799">
                        <c:v>-4.1899999999999999E-4</c:v>
                      </c:pt>
                      <c:pt idx="3800">
                        <c:v>-4.1899999999999999E-4</c:v>
                      </c:pt>
                      <c:pt idx="3801">
                        <c:v>-4.1899999999999999E-4</c:v>
                      </c:pt>
                      <c:pt idx="3802">
                        <c:v>-4.0900000000000002E-4</c:v>
                      </c:pt>
                      <c:pt idx="3803">
                        <c:v>-4.0900000000000002E-4</c:v>
                      </c:pt>
                      <c:pt idx="3804">
                        <c:v>-4.0900000000000002E-4</c:v>
                      </c:pt>
                      <c:pt idx="3805">
                        <c:v>-4.0900000000000002E-4</c:v>
                      </c:pt>
                      <c:pt idx="3806">
                        <c:v>-4.0900000000000002E-4</c:v>
                      </c:pt>
                      <c:pt idx="3807">
                        <c:v>-4.0900000000000002E-4</c:v>
                      </c:pt>
                      <c:pt idx="3808">
                        <c:v>-4.0000000000000002E-4</c:v>
                      </c:pt>
                      <c:pt idx="3809">
                        <c:v>-4.0000000000000002E-4</c:v>
                      </c:pt>
                      <c:pt idx="3810">
                        <c:v>-4.0000000000000002E-4</c:v>
                      </c:pt>
                      <c:pt idx="3811">
                        <c:v>-4.0000000000000002E-4</c:v>
                      </c:pt>
                      <c:pt idx="3812">
                        <c:v>-4.0000000000000002E-4</c:v>
                      </c:pt>
                      <c:pt idx="3813">
                        <c:v>-4.0000000000000002E-4</c:v>
                      </c:pt>
                      <c:pt idx="3814">
                        <c:v>-3.9100000000000002E-4</c:v>
                      </c:pt>
                      <c:pt idx="3815">
                        <c:v>-3.9100000000000002E-4</c:v>
                      </c:pt>
                      <c:pt idx="3816">
                        <c:v>-3.9100000000000002E-4</c:v>
                      </c:pt>
                      <c:pt idx="3817">
                        <c:v>-3.9100000000000002E-4</c:v>
                      </c:pt>
                      <c:pt idx="3818">
                        <c:v>-3.9100000000000002E-4</c:v>
                      </c:pt>
                      <c:pt idx="3819">
                        <c:v>-3.8650000000000002E-4</c:v>
                      </c:pt>
                      <c:pt idx="3820">
                        <c:v>-3.8200000000000002E-4</c:v>
                      </c:pt>
                      <c:pt idx="3821">
                        <c:v>-3.8200000000000002E-4</c:v>
                      </c:pt>
                      <c:pt idx="3822">
                        <c:v>-3.8200000000000002E-4</c:v>
                      </c:pt>
                      <c:pt idx="3823">
                        <c:v>-3.8200000000000002E-4</c:v>
                      </c:pt>
                      <c:pt idx="3824">
                        <c:v>-3.8200000000000002E-4</c:v>
                      </c:pt>
                      <c:pt idx="3825">
                        <c:v>-3.7750000000000001E-4</c:v>
                      </c:pt>
                      <c:pt idx="3826">
                        <c:v>-3.7300000000000001E-4</c:v>
                      </c:pt>
                      <c:pt idx="3827">
                        <c:v>-3.7300000000000001E-4</c:v>
                      </c:pt>
                      <c:pt idx="3828">
                        <c:v>-3.7300000000000001E-4</c:v>
                      </c:pt>
                      <c:pt idx="3829">
                        <c:v>-3.7300000000000001E-4</c:v>
                      </c:pt>
                      <c:pt idx="3830">
                        <c:v>-3.7300000000000001E-4</c:v>
                      </c:pt>
                      <c:pt idx="3831">
                        <c:v>-3.6400000000000001E-4</c:v>
                      </c:pt>
                      <c:pt idx="3832">
                        <c:v>-3.6400000000000001E-4</c:v>
                      </c:pt>
                      <c:pt idx="3833">
                        <c:v>-3.6400000000000001E-4</c:v>
                      </c:pt>
                      <c:pt idx="3834">
                        <c:v>-3.6400000000000001E-4</c:v>
                      </c:pt>
                      <c:pt idx="3835">
                        <c:v>-3.6400000000000001E-4</c:v>
                      </c:pt>
                      <c:pt idx="3836">
                        <c:v>-3.6400000000000001E-4</c:v>
                      </c:pt>
                      <c:pt idx="3837">
                        <c:v>-3.5399999999999999E-4</c:v>
                      </c:pt>
                      <c:pt idx="3838">
                        <c:v>-3.5399999999999999E-4</c:v>
                      </c:pt>
                      <c:pt idx="3839">
                        <c:v>-3.5399999999999999E-4</c:v>
                      </c:pt>
                      <c:pt idx="3840">
                        <c:v>-3.5399999999999999E-4</c:v>
                      </c:pt>
                      <c:pt idx="3841">
                        <c:v>-3.5399999999999999E-4</c:v>
                      </c:pt>
                      <c:pt idx="3842">
                        <c:v>-3.5399999999999999E-4</c:v>
                      </c:pt>
                      <c:pt idx="3843">
                        <c:v>-3.4499999999999998E-4</c:v>
                      </c:pt>
                      <c:pt idx="3844">
                        <c:v>-3.4499999999999998E-4</c:v>
                      </c:pt>
                      <c:pt idx="3845">
                        <c:v>-3.4499999999999998E-4</c:v>
                      </c:pt>
                      <c:pt idx="3846">
                        <c:v>-3.4499999999999998E-4</c:v>
                      </c:pt>
                      <c:pt idx="3847">
                        <c:v>-3.4499999999999998E-4</c:v>
                      </c:pt>
                      <c:pt idx="3848">
                        <c:v>-3.4049999999999998E-4</c:v>
                      </c:pt>
                      <c:pt idx="3849">
                        <c:v>-3.3599999999999998E-4</c:v>
                      </c:pt>
                      <c:pt idx="3850">
                        <c:v>-3.3599999999999998E-4</c:v>
                      </c:pt>
                      <c:pt idx="3851">
                        <c:v>-3.3599999999999998E-4</c:v>
                      </c:pt>
                      <c:pt idx="3852">
                        <c:v>-3.3599999999999998E-4</c:v>
                      </c:pt>
                      <c:pt idx="3853">
                        <c:v>-3.3599999999999998E-4</c:v>
                      </c:pt>
                      <c:pt idx="3854">
                        <c:v>-3.3149999999999998E-4</c:v>
                      </c:pt>
                      <c:pt idx="3855">
                        <c:v>-3.2699999999999998E-4</c:v>
                      </c:pt>
                      <c:pt idx="3856">
                        <c:v>-3.2699999999999998E-4</c:v>
                      </c:pt>
                      <c:pt idx="3857">
                        <c:v>-3.2699999999999998E-4</c:v>
                      </c:pt>
                      <c:pt idx="3858">
                        <c:v>-3.2699999999999998E-4</c:v>
                      </c:pt>
                      <c:pt idx="3859">
                        <c:v>-3.2699999999999998E-4</c:v>
                      </c:pt>
                      <c:pt idx="3860">
                        <c:v>-3.1799999999999998E-4</c:v>
                      </c:pt>
                      <c:pt idx="3861">
                        <c:v>-3.1799999999999998E-4</c:v>
                      </c:pt>
                      <c:pt idx="3862">
                        <c:v>-3.1799999999999998E-4</c:v>
                      </c:pt>
                      <c:pt idx="3863">
                        <c:v>-3.1799999999999998E-4</c:v>
                      </c:pt>
                      <c:pt idx="3864">
                        <c:v>-3.1799999999999998E-4</c:v>
                      </c:pt>
                      <c:pt idx="3865">
                        <c:v>-3.1799999999999998E-4</c:v>
                      </c:pt>
                      <c:pt idx="3866">
                        <c:v>-3.0899999999999998E-4</c:v>
                      </c:pt>
                      <c:pt idx="3867">
                        <c:v>-3.0899999999999998E-4</c:v>
                      </c:pt>
                      <c:pt idx="3868">
                        <c:v>-3.0899999999999998E-4</c:v>
                      </c:pt>
                      <c:pt idx="3869">
                        <c:v>-3.0899999999999998E-4</c:v>
                      </c:pt>
                      <c:pt idx="3870">
                        <c:v>-3.0899999999999998E-4</c:v>
                      </c:pt>
                      <c:pt idx="3871">
                        <c:v>-3.0899999999999998E-4</c:v>
                      </c:pt>
                      <c:pt idx="3872">
                        <c:v>-2.9999999999999997E-4</c:v>
                      </c:pt>
                      <c:pt idx="3873">
                        <c:v>-2.9999999999999997E-4</c:v>
                      </c:pt>
                      <c:pt idx="3874">
                        <c:v>-2.9999999999999997E-4</c:v>
                      </c:pt>
                      <c:pt idx="3875">
                        <c:v>-2.9999999999999997E-4</c:v>
                      </c:pt>
                      <c:pt idx="3876">
                        <c:v>-2.9999999999999997E-4</c:v>
                      </c:pt>
                      <c:pt idx="3877">
                        <c:v>-2.9500000000000001E-4</c:v>
                      </c:pt>
                      <c:pt idx="3878">
                        <c:v>-2.9E-4</c:v>
                      </c:pt>
                      <c:pt idx="3879">
                        <c:v>-2.9E-4</c:v>
                      </c:pt>
                      <c:pt idx="3880">
                        <c:v>-2.9E-4</c:v>
                      </c:pt>
                      <c:pt idx="3881">
                        <c:v>-2.9E-4</c:v>
                      </c:pt>
                      <c:pt idx="3882">
                        <c:v>-2.9E-4</c:v>
                      </c:pt>
                      <c:pt idx="3883">
                        <c:v>-2.81E-4</c:v>
                      </c:pt>
                      <c:pt idx="3884">
                        <c:v>-2.81E-4</c:v>
                      </c:pt>
                      <c:pt idx="3885">
                        <c:v>-2.81E-4</c:v>
                      </c:pt>
                      <c:pt idx="3886">
                        <c:v>-2.81E-4</c:v>
                      </c:pt>
                      <c:pt idx="3887">
                        <c:v>-2.81E-4</c:v>
                      </c:pt>
                      <c:pt idx="3888">
                        <c:v>-2.81E-4</c:v>
                      </c:pt>
                      <c:pt idx="3889">
                        <c:v>-2.72E-4</c:v>
                      </c:pt>
                      <c:pt idx="3890">
                        <c:v>-2.72E-4</c:v>
                      </c:pt>
                      <c:pt idx="3891">
                        <c:v>-2.72E-4</c:v>
                      </c:pt>
                      <c:pt idx="3892">
                        <c:v>-2.72E-4</c:v>
                      </c:pt>
                      <c:pt idx="3893">
                        <c:v>-2.72E-4</c:v>
                      </c:pt>
                      <c:pt idx="3894">
                        <c:v>-2.72E-4</c:v>
                      </c:pt>
                      <c:pt idx="3895">
                        <c:v>-2.63E-4</c:v>
                      </c:pt>
                      <c:pt idx="3896">
                        <c:v>-2.63E-4</c:v>
                      </c:pt>
                      <c:pt idx="3897">
                        <c:v>-2.63E-4</c:v>
                      </c:pt>
                      <c:pt idx="3898">
                        <c:v>-2.63E-4</c:v>
                      </c:pt>
                      <c:pt idx="3899">
                        <c:v>-2.63E-4</c:v>
                      </c:pt>
                      <c:pt idx="3900">
                        <c:v>-2.63E-4</c:v>
                      </c:pt>
                      <c:pt idx="3901">
                        <c:v>-2.5399999999999999E-4</c:v>
                      </c:pt>
                      <c:pt idx="3902">
                        <c:v>-2.5399999999999999E-4</c:v>
                      </c:pt>
                      <c:pt idx="3903">
                        <c:v>-2.5399999999999999E-4</c:v>
                      </c:pt>
                      <c:pt idx="3904">
                        <c:v>-2.5399999999999999E-4</c:v>
                      </c:pt>
                      <c:pt idx="3905">
                        <c:v>-2.5399999999999999E-4</c:v>
                      </c:pt>
                      <c:pt idx="3906">
                        <c:v>-2.4949999999999999E-4</c:v>
                      </c:pt>
                      <c:pt idx="3907">
                        <c:v>-2.4499999999999999E-4</c:v>
                      </c:pt>
                      <c:pt idx="3908">
                        <c:v>-2.4499999999999999E-4</c:v>
                      </c:pt>
                      <c:pt idx="3909">
                        <c:v>-2.4499999999999999E-4</c:v>
                      </c:pt>
                      <c:pt idx="3910">
                        <c:v>-2.4499999999999999E-4</c:v>
                      </c:pt>
                      <c:pt idx="3911">
                        <c:v>-2.4499999999999999E-4</c:v>
                      </c:pt>
                      <c:pt idx="3912">
                        <c:v>-2.3499999999999999E-4</c:v>
                      </c:pt>
                      <c:pt idx="3913">
                        <c:v>-2.3499999999999999E-4</c:v>
                      </c:pt>
                      <c:pt idx="3914">
                        <c:v>-2.3499999999999999E-4</c:v>
                      </c:pt>
                      <c:pt idx="3915">
                        <c:v>-2.3499999999999999E-4</c:v>
                      </c:pt>
                      <c:pt idx="3916">
                        <c:v>-2.3499999999999999E-4</c:v>
                      </c:pt>
                      <c:pt idx="3917">
                        <c:v>-2.3499999999999999E-4</c:v>
                      </c:pt>
                      <c:pt idx="3918">
                        <c:v>-2.2599999999999999E-4</c:v>
                      </c:pt>
                      <c:pt idx="3919">
                        <c:v>-2.2599999999999999E-4</c:v>
                      </c:pt>
                      <c:pt idx="3920">
                        <c:v>-2.2599999999999999E-4</c:v>
                      </c:pt>
                      <c:pt idx="3921">
                        <c:v>-2.2599999999999999E-4</c:v>
                      </c:pt>
                      <c:pt idx="3922">
                        <c:v>-2.2599999999999999E-4</c:v>
                      </c:pt>
                      <c:pt idx="3923">
                        <c:v>-2.2599999999999999E-4</c:v>
                      </c:pt>
                      <c:pt idx="3924">
                        <c:v>-2.1699999999999999E-4</c:v>
                      </c:pt>
                      <c:pt idx="3925">
                        <c:v>-2.1699999999999999E-4</c:v>
                      </c:pt>
                      <c:pt idx="3926">
                        <c:v>-2.1699999999999999E-4</c:v>
                      </c:pt>
                      <c:pt idx="3927">
                        <c:v>-2.1699999999999999E-4</c:v>
                      </c:pt>
                      <c:pt idx="3928">
                        <c:v>-2.1699999999999999E-4</c:v>
                      </c:pt>
                      <c:pt idx="3929">
                        <c:v>-2.1249999999999999E-4</c:v>
                      </c:pt>
                      <c:pt idx="3930">
                        <c:v>-2.0799999999999999E-4</c:v>
                      </c:pt>
                      <c:pt idx="3931">
                        <c:v>-2.0799999999999999E-4</c:v>
                      </c:pt>
                      <c:pt idx="3932">
                        <c:v>-2.0799999999999999E-4</c:v>
                      </c:pt>
                      <c:pt idx="3933">
                        <c:v>-2.0799999999999999E-4</c:v>
                      </c:pt>
                      <c:pt idx="3934">
                        <c:v>-2.0799999999999999E-4</c:v>
                      </c:pt>
                      <c:pt idx="3935">
                        <c:v>-2.0350000000000001E-4</c:v>
                      </c:pt>
                      <c:pt idx="3936">
                        <c:v>-1.9900000000000001E-4</c:v>
                      </c:pt>
                      <c:pt idx="3937">
                        <c:v>-1.9900000000000001E-4</c:v>
                      </c:pt>
                      <c:pt idx="3938">
                        <c:v>-1.9900000000000001E-4</c:v>
                      </c:pt>
                      <c:pt idx="3939">
                        <c:v>-1.9900000000000001E-4</c:v>
                      </c:pt>
                      <c:pt idx="3940">
                        <c:v>-1.9900000000000001E-4</c:v>
                      </c:pt>
                      <c:pt idx="3941">
                        <c:v>-1.9000000000000001E-4</c:v>
                      </c:pt>
                      <c:pt idx="3942">
                        <c:v>-1.9000000000000001E-4</c:v>
                      </c:pt>
                      <c:pt idx="3943">
                        <c:v>-1.9000000000000001E-4</c:v>
                      </c:pt>
                      <c:pt idx="3944">
                        <c:v>-1.9000000000000001E-4</c:v>
                      </c:pt>
                      <c:pt idx="3945">
                        <c:v>-1.9000000000000001E-4</c:v>
                      </c:pt>
                      <c:pt idx="3946">
                        <c:v>-1.9000000000000001E-4</c:v>
                      </c:pt>
                      <c:pt idx="3947">
                        <c:v>-1.8000000000000001E-4</c:v>
                      </c:pt>
                      <c:pt idx="3948">
                        <c:v>-1.8000000000000001E-4</c:v>
                      </c:pt>
                      <c:pt idx="3949">
                        <c:v>-1.8000000000000001E-4</c:v>
                      </c:pt>
                      <c:pt idx="3950">
                        <c:v>-1.8000000000000001E-4</c:v>
                      </c:pt>
                      <c:pt idx="3951">
                        <c:v>-1.8000000000000001E-4</c:v>
                      </c:pt>
                      <c:pt idx="3952">
                        <c:v>-1.8000000000000001E-4</c:v>
                      </c:pt>
                      <c:pt idx="3953">
                        <c:v>-1.7100000000000001E-4</c:v>
                      </c:pt>
                      <c:pt idx="3954">
                        <c:v>-1.7100000000000001E-4</c:v>
                      </c:pt>
                      <c:pt idx="3955">
                        <c:v>-1.7100000000000001E-4</c:v>
                      </c:pt>
                      <c:pt idx="3956">
                        <c:v>-1.7100000000000001E-4</c:v>
                      </c:pt>
                      <c:pt idx="3957">
                        <c:v>-1.7100000000000001E-4</c:v>
                      </c:pt>
                      <c:pt idx="3958">
                        <c:v>-1.6650000000000001E-4</c:v>
                      </c:pt>
                      <c:pt idx="3959">
                        <c:v>-1.6200000000000001E-4</c:v>
                      </c:pt>
                      <c:pt idx="3960">
                        <c:v>-1.6200000000000001E-4</c:v>
                      </c:pt>
                      <c:pt idx="3961">
                        <c:v>-1.6200000000000001E-4</c:v>
                      </c:pt>
                      <c:pt idx="3962">
                        <c:v>-1.6200000000000001E-4</c:v>
                      </c:pt>
                      <c:pt idx="3963">
                        <c:v>-1.6200000000000001E-4</c:v>
                      </c:pt>
                      <c:pt idx="3964">
                        <c:v>-1.5300000000000001E-4</c:v>
                      </c:pt>
                      <c:pt idx="3965">
                        <c:v>-1.5300000000000001E-4</c:v>
                      </c:pt>
                      <c:pt idx="3966">
                        <c:v>-1.5300000000000001E-4</c:v>
                      </c:pt>
                      <c:pt idx="3967">
                        <c:v>-1.5300000000000001E-4</c:v>
                      </c:pt>
                      <c:pt idx="3968">
                        <c:v>-1.5300000000000001E-4</c:v>
                      </c:pt>
                      <c:pt idx="3969">
                        <c:v>-1.5300000000000001E-4</c:v>
                      </c:pt>
                      <c:pt idx="3970">
                        <c:v>-1.44E-4</c:v>
                      </c:pt>
                      <c:pt idx="3971">
                        <c:v>-1.44E-4</c:v>
                      </c:pt>
                      <c:pt idx="3972">
                        <c:v>-1.44E-4</c:v>
                      </c:pt>
                      <c:pt idx="3973">
                        <c:v>-1.44E-4</c:v>
                      </c:pt>
                      <c:pt idx="3974">
                        <c:v>-1.44E-4</c:v>
                      </c:pt>
                      <c:pt idx="3975">
                        <c:v>-1.44E-4</c:v>
                      </c:pt>
                      <c:pt idx="3976">
                        <c:v>-1.35E-4</c:v>
                      </c:pt>
                      <c:pt idx="3977">
                        <c:v>-1.35E-4</c:v>
                      </c:pt>
                      <c:pt idx="3978">
                        <c:v>-1.35E-4</c:v>
                      </c:pt>
                      <c:pt idx="3979">
                        <c:v>-1.35E-4</c:v>
                      </c:pt>
                      <c:pt idx="3980">
                        <c:v>-1.35E-4</c:v>
                      </c:pt>
                      <c:pt idx="3981">
                        <c:v>-1.35E-4</c:v>
                      </c:pt>
                      <c:pt idx="3982">
                        <c:v>-1.26E-4</c:v>
                      </c:pt>
                      <c:pt idx="3983">
                        <c:v>-1.26E-4</c:v>
                      </c:pt>
                      <c:pt idx="3984">
                        <c:v>-1.26E-4</c:v>
                      </c:pt>
                      <c:pt idx="3985">
                        <c:v>-1.26E-4</c:v>
                      </c:pt>
                      <c:pt idx="3986">
                        <c:v>-1.26E-4</c:v>
                      </c:pt>
                      <c:pt idx="3987">
                        <c:v>-1.21E-4</c:v>
                      </c:pt>
                      <c:pt idx="3988">
                        <c:v>-1.16E-4</c:v>
                      </c:pt>
                      <c:pt idx="3989">
                        <c:v>-1.16E-4</c:v>
                      </c:pt>
                      <c:pt idx="3990">
                        <c:v>-1.16E-4</c:v>
                      </c:pt>
                      <c:pt idx="3991">
                        <c:v>-1.16E-4</c:v>
                      </c:pt>
                      <c:pt idx="3992">
                        <c:v>-1.16E-4</c:v>
                      </c:pt>
                      <c:pt idx="3993">
                        <c:v>-1.07E-4</c:v>
                      </c:pt>
                      <c:pt idx="3994">
                        <c:v>-1.07E-4</c:v>
                      </c:pt>
                      <c:pt idx="3995">
                        <c:v>-1.07E-4</c:v>
                      </c:pt>
                      <c:pt idx="3996">
                        <c:v>-1.07E-4</c:v>
                      </c:pt>
                      <c:pt idx="3997">
                        <c:v>-1.07E-4</c:v>
                      </c:pt>
                      <c:pt idx="3998">
                        <c:v>-1.07E-4</c:v>
                      </c:pt>
                      <c:pt idx="3999">
                        <c:v>-9.7999999999999997E-5</c:v>
                      </c:pt>
                      <c:pt idx="4000">
                        <c:v>-9.7999999999999997E-5</c:v>
                      </c:pt>
                      <c:pt idx="4001">
                        <c:v>-9.7999999999999997E-5</c:v>
                      </c:pt>
                      <c:pt idx="4002">
                        <c:v>-9.7999999999999997E-5</c:v>
                      </c:pt>
                      <c:pt idx="4003">
                        <c:v>-9.7999999999999997E-5</c:v>
                      </c:pt>
                      <c:pt idx="4004">
                        <c:v>-9.7999999999999997E-5</c:v>
                      </c:pt>
                      <c:pt idx="4005">
                        <c:v>-8.8999999999999995E-5</c:v>
                      </c:pt>
                      <c:pt idx="4006">
                        <c:v>-8.8999999999999995E-5</c:v>
                      </c:pt>
                      <c:pt idx="4007">
                        <c:v>-8.8999999999999995E-5</c:v>
                      </c:pt>
                      <c:pt idx="4008">
                        <c:v>-8.8999999999999995E-5</c:v>
                      </c:pt>
                      <c:pt idx="4009">
                        <c:v>-8.8999999999999995E-5</c:v>
                      </c:pt>
                      <c:pt idx="4010">
                        <c:v>-8.4499999999999994E-5</c:v>
                      </c:pt>
                      <c:pt idx="4011">
                        <c:v>-8.0000000000000007E-5</c:v>
                      </c:pt>
                      <c:pt idx="4012">
                        <c:v>-8.0000000000000007E-5</c:v>
                      </c:pt>
                      <c:pt idx="4013">
                        <c:v>-8.0000000000000007E-5</c:v>
                      </c:pt>
                      <c:pt idx="4014">
                        <c:v>-8.0000000000000007E-5</c:v>
                      </c:pt>
                      <c:pt idx="4015">
                        <c:v>-8.0000000000000007E-5</c:v>
                      </c:pt>
                      <c:pt idx="4016">
                        <c:v>-7.5500000000000006E-5</c:v>
                      </c:pt>
                      <c:pt idx="4017">
                        <c:v>-7.1000000000000005E-5</c:v>
                      </c:pt>
                      <c:pt idx="4018">
                        <c:v>-7.1000000000000005E-5</c:v>
                      </c:pt>
                      <c:pt idx="4019">
                        <c:v>-7.1000000000000005E-5</c:v>
                      </c:pt>
                      <c:pt idx="4020">
                        <c:v>-7.1000000000000005E-5</c:v>
                      </c:pt>
                      <c:pt idx="4021">
                        <c:v>-7.1000000000000005E-5</c:v>
                      </c:pt>
                      <c:pt idx="4022">
                        <c:v>-6.0999999999999999E-5</c:v>
                      </c:pt>
                      <c:pt idx="4023">
                        <c:v>-6.0999999999999999E-5</c:v>
                      </c:pt>
                      <c:pt idx="4024">
                        <c:v>-6.0999999999999999E-5</c:v>
                      </c:pt>
                      <c:pt idx="4025">
                        <c:v>-6.0999999999999999E-5</c:v>
                      </c:pt>
                      <c:pt idx="4026">
                        <c:v>-6.0999999999999999E-5</c:v>
                      </c:pt>
                      <c:pt idx="4027">
                        <c:v>-6.0999999999999999E-5</c:v>
                      </c:pt>
                      <c:pt idx="4028">
                        <c:v>-5.1999999999999997E-5</c:v>
                      </c:pt>
                      <c:pt idx="4029">
                        <c:v>-5.1999999999999997E-5</c:v>
                      </c:pt>
                      <c:pt idx="4030">
                        <c:v>-5.1999999999999997E-5</c:v>
                      </c:pt>
                      <c:pt idx="4031">
                        <c:v>-5.1999999999999997E-5</c:v>
                      </c:pt>
                      <c:pt idx="4032">
                        <c:v>-5.1999999999999997E-5</c:v>
                      </c:pt>
                      <c:pt idx="4033">
                        <c:v>-5.1999999999999997E-5</c:v>
                      </c:pt>
                      <c:pt idx="4034">
                        <c:v>-4.3000000000000002E-5</c:v>
                      </c:pt>
                      <c:pt idx="4035">
                        <c:v>-4.3000000000000002E-5</c:v>
                      </c:pt>
                      <c:pt idx="4036">
                        <c:v>-4.3000000000000002E-5</c:v>
                      </c:pt>
                      <c:pt idx="4037">
                        <c:v>-4.3000000000000002E-5</c:v>
                      </c:pt>
                      <c:pt idx="4038">
                        <c:v>-4.3000000000000002E-5</c:v>
                      </c:pt>
                      <c:pt idx="4039">
                        <c:v>-3.8500000000000001E-5</c:v>
                      </c:pt>
                      <c:pt idx="4040">
                        <c:v>-3.4E-5</c:v>
                      </c:pt>
                      <c:pt idx="4041">
                        <c:v>-3.4E-5</c:v>
                      </c:pt>
                      <c:pt idx="4042">
                        <c:v>-3.4E-5</c:v>
                      </c:pt>
                      <c:pt idx="4043">
                        <c:v>-3.4E-5</c:v>
                      </c:pt>
                      <c:pt idx="4044">
                        <c:v>-3.4E-5</c:v>
                      </c:pt>
                      <c:pt idx="4045">
                        <c:v>-2.9499999999999999E-5</c:v>
                      </c:pt>
                      <c:pt idx="4046">
                        <c:v>-2.5000000000000001E-5</c:v>
                      </c:pt>
                      <c:pt idx="4047">
                        <c:v>-2.5000000000000001E-5</c:v>
                      </c:pt>
                      <c:pt idx="4048">
                        <c:v>-2.5000000000000001E-5</c:v>
                      </c:pt>
                      <c:pt idx="4049">
                        <c:v>-2.5000000000000001E-5</c:v>
                      </c:pt>
                      <c:pt idx="4050">
                        <c:v>-2.5000000000000001E-5</c:v>
                      </c:pt>
                      <c:pt idx="4051">
                        <c:v>-1.5999999999999999E-5</c:v>
                      </c:pt>
                      <c:pt idx="4052">
                        <c:v>-1.5999999999999999E-5</c:v>
                      </c:pt>
                      <c:pt idx="4053">
                        <c:v>-1.5999999999999999E-5</c:v>
                      </c:pt>
                      <c:pt idx="4054">
                        <c:v>-1.5999999999999999E-5</c:v>
                      </c:pt>
                      <c:pt idx="4055">
                        <c:v>-1.5999999999999999E-5</c:v>
                      </c:pt>
                      <c:pt idx="4056">
                        <c:v>-1.5999999999999999E-5</c:v>
                      </c:pt>
                      <c:pt idx="4057">
                        <c:v>-6.0000000000000002E-6</c:v>
                      </c:pt>
                      <c:pt idx="4058">
                        <c:v>-6.0000000000000002E-6</c:v>
                      </c:pt>
                      <c:pt idx="4059">
                        <c:v>-6.0000000000000002E-6</c:v>
                      </c:pt>
                      <c:pt idx="4060">
                        <c:v>-6.0000000000000002E-6</c:v>
                      </c:pt>
                      <c:pt idx="4061">
                        <c:v>-6.0000000000000002E-6</c:v>
                      </c:pt>
                      <c:pt idx="4062">
                        <c:v>-6.0000000000000002E-6</c:v>
                      </c:pt>
                      <c:pt idx="4063">
                        <c:v>3.0000000000000001E-6</c:v>
                      </c:pt>
                      <c:pt idx="4064">
                        <c:v>3.0000000000000001E-6</c:v>
                      </c:pt>
                      <c:pt idx="4065">
                        <c:v>3.0000000000000001E-6</c:v>
                      </c:pt>
                      <c:pt idx="4066">
                        <c:v>3.0000000000000001E-6</c:v>
                      </c:pt>
                      <c:pt idx="4067">
                        <c:v>3.0000000000000001E-6</c:v>
                      </c:pt>
                      <c:pt idx="4068">
                        <c:v>7.5000000000000002E-6</c:v>
                      </c:pt>
                      <c:pt idx="4069">
                        <c:v>1.2E-5</c:v>
                      </c:pt>
                      <c:pt idx="4070">
                        <c:v>1.2E-5</c:v>
                      </c:pt>
                      <c:pt idx="4071">
                        <c:v>1.2E-5</c:v>
                      </c:pt>
                      <c:pt idx="4072">
                        <c:v>1.2E-5</c:v>
                      </c:pt>
                      <c:pt idx="4073">
                        <c:v>1.2E-5</c:v>
                      </c:pt>
                      <c:pt idx="4074">
                        <c:v>2.0999999999999999E-5</c:v>
                      </c:pt>
                      <c:pt idx="4075">
                        <c:v>2.0999999999999999E-5</c:v>
                      </c:pt>
                      <c:pt idx="4076">
                        <c:v>2.0999999999999999E-5</c:v>
                      </c:pt>
                      <c:pt idx="4077">
                        <c:v>2.0999999999999999E-5</c:v>
                      </c:pt>
                      <c:pt idx="4078">
                        <c:v>2.0999999999999999E-5</c:v>
                      </c:pt>
                      <c:pt idx="4079">
                        <c:v>2.0999999999999999E-5</c:v>
                      </c:pt>
                      <c:pt idx="4080">
                        <c:v>3.0000000000000001E-5</c:v>
                      </c:pt>
                      <c:pt idx="4081">
                        <c:v>3.0000000000000001E-5</c:v>
                      </c:pt>
                      <c:pt idx="4082">
                        <c:v>3.0000000000000001E-5</c:v>
                      </c:pt>
                      <c:pt idx="4083">
                        <c:v>3.0000000000000001E-5</c:v>
                      </c:pt>
                      <c:pt idx="4084">
                        <c:v>3.0000000000000001E-5</c:v>
                      </c:pt>
                      <c:pt idx="4085">
                        <c:v>3.0000000000000001E-5</c:v>
                      </c:pt>
                      <c:pt idx="4086">
                        <c:v>3.8999999999999999E-5</c:v>
                      </c:pt>
                      <c:pt idx="4087">
                        <c:v>3.8999999999999999E-5</c:v>
                      </c:pt>
                      <c:pt idx="4088">
                        <c:v>3.8999999999999999E-5</c:v>
                      </c:pt>
                      <c:pt idx="4089">
                        <c:v>3.8999999999999999E-5</c:v>
                      </c:pt>
                      <c:pt idx="4090">
                        <c:v>3.8999999999999999E-5</c:v>
                      </c:pt>
                      <c:pt idx="4091">
                        <c:v>3.8999999999999999E-5</c:v>
                      </c:pt>
                      <c:pt idx="4092">
                        <c:v>4.8000000000000001E-5</c:v>
                      </c:pt>
                      <c:pt idx="4093">
                        <c:v>4.8000000000000001E-5</c:v>
                      </c:pt>
                      <c:pt idx="4094">
                        <c:v>4.8000000000000001E-5</c:v>
                      </c:pt>
                      <c:pt idx="4095">
                        <c:v>4.8000000000000001E-5</c:v>
                      </c:pt>
                      <c:pt idx="4096">
                        <c:v>4.8000000000000001E-5</c:v>
                      </c:pt>
                      <c:pt idx="4097">
                        <c:v>5.3000000000000001E-5</c:v>
                      </c:pt>
                      <c:pt idx="4098">
                        <c:v>5.8E-5</c:v>
                      </c:pt>
                      <c:pt idx="4099">
                        <c:v>5.8E-5</c:v>
                      </c:pt>
                      <c:pt idx="4100">
                        <c:v>5.8E-5</c:v>
                      </c:pt>
                      <c:pt idx="4101">
                        <c:v>5.8E-5</c:v>
                      </c:pt>
                      <c:pt idx="4102">
                        <c:v>5.8E-5</c:v>
                      </c:pt>
                      <c:pt idx="4103">
                        <c:v>6.7000000000000002E-5</c:v>
                      </c:pt>
                      <c:pt idx="4104">
                        <c:v>6.7000000000000002E-5</c:v>
                      </c:pt>
                      <c:pt idx="4105">
                        <c:v>6.7000000000000002E-5</c:v>
                      </c:pt>
                      <c:pt idx="4106">
                        <c:v>6.7000000000000002E-5</c:v>
                      </c:pt>
                      <c:pt idx="4107">
                        <c:v>6.7000000000000002E-5</c:v>
                      </c:pt>
                      <c:pt idx="4108">
                        <c:v>6.7000000000000002E-5</c:v>
                      </c:pt>
                      <c:pt idx="4109">
                        <c:v>7.6000000000000004E-5</c:v>
                      </c:pt>
                      <c:pt idx="4110">
                        <c:v>7.6000000000000004E-5</c:v>
                      </c:pt>
                      <c:pt idx="4111">
                        <c:v>7.6000000000000004E-5</c:v>
                      </c:pt>
                      <c:pt idx="4112">
                        <c:v>7.6000000000000004E-5</c:v>
                      </c:pt>
                      <c:pt idx="4113">
                        <c:v>7.6000000000000004E-5</c:v>
                      </c:pt>
                      <c:pt idx="4114">
                        <c:v>7.6000000000000004E-5</c:v>
                      </c:pt>
                      <c:pt idx="4115">
                        <c:v>8.5000000000000006E-5</c:v>
                      </c:pt>
                      <c:pt idx="4116">
                        <c:v>8.5000000000000006E-5</c:v>
                      </c:pt>
                      <c:pt idx="4117">
                        <c:v>8.5000000000000006E-5</c:v>
                      </c:pt>
                      <c:pt idx="4118">
                        <c:v>8.5000000000000006E-5</c:v>
                      </c:pt>
                      <c:pt idx="4119">
                        <c:v>8.5000000000000006E-5</c:v>
                      </c:pt>
                      <c:pt idx="4120">
                        <c:v>8.9500000000000007E-5</c:v>
                      </c:pt>
                      <c:pt idx="4121">
                        <c:v>9.3999999999999994E-5</c:v>
                      </c:pt>
                      <c:pt idx="4122">
                        <c:v>9.3999999999999994E-5</c:v>
                      </c:pt>
                      <c:pt idx="4123">
                        <c:v>9.3999999999999994E-5</c:v>
                      </c:pt>
                      <c:pt idx="4124">
                        <c:v>9.3999999999999994E-5</c:v>
                      </c:pt>
                      <c:pt idx="4125">
                        <c:v>9.3999999999999994E-5</c:v>
                      </c:pt>
                      <c:pt idx="4126">
                        <c:v>9.8499999999999995E-5</c:v>
                      </c:pt>
                      <c:pt idx="4127">
                        <c:v>1.03E-4</c:v>
                      </c:pt>
                      <c:pt idx="4128">
                        <c:v>1.03E-4</c:v>
                      </c:pt>
                      <c:pt idx="4129">
                        <c:v>1.03E-4</c:v>
                      </c:pt>
                      <c:pt idx="4130">
                        <c:v>1.03E-4</c:v>
                      </c:pt>
                      <c:pt idx="4131">
                        <c:v>1.03E-4</c:v>
                      </c:pt>
                      <c:pt idx="4132">
                        <c:v>1.13E-4</c:v>
                      </c:pt>
                      <c:pt idx="4133">
                        <c:v>1.13E-4</c:v>
                      </c:pt>
                      <c:pt idx="4134">
                        <c:v>1.13E-4</c:v>
                      </c:pt>
                      <c:pt idx="4135">
                        <c:v>1.13E-4</c:v>
                      </c:pt>
                      <c:pt idx="4136">
                        <c:v>1.13E-4</c:v>
                      </c:pt>
                      <c:pt idx="4137">
                        <c:v>1.13E-4</c:v>
                      </c:pt>
                      <c:pt idx="4138">
                        <c:v>1.22E-4</c:v>
                      </c:pt>
                      <c:pt idx="4139">
                        <c:v>1.22E-4</c:v>
                      </c:pt>
                      <c:pt idx="4140">
                        <c:v>1.22E-4</c:v>
                      </c:pt>
                      <c:pt idx="4141">
                        <c:v>1.22E-4</c:v>
                      </c:pt>
                      <c:pt idx="4142">
                        <c:v>1.22E-4</c:v>
                      </c:pt>
                      <c:pt idx="4143">
                        <c:v>1.22E-4</c:v>
                      </c:pt>
                      <c:pt idx="4144">
                        <c:v>1.3100000000000001E-4</c:v>
                      </c:pt>
                      <c:pt idx="4145">
                        <c:v>1.3100000000000001E-4</c:v>
                      </c:pt>
                      <c:pt idx="4146">
                        <c:v>1.3100000000000001E-4</c:v>
                      </c:pt>
                      <c:pt idx="4147">
                        <c:v>1.3100000000000001E-4</c:v>
                      </c:pt>
                      <c:pt idx="4148">
                        <c:v>1.3100000000000001E-4</c:v>
                      </c:pt>
                      <c:pt idx="4149">
                        <c:v>1.3549999999999999E-4</c:v>
                      </c:pt>
                      <c:pt idx="4150">
                        <c:v>1.3999999999999999E-4</c:v>
                      </c:pt>
                      <c:pt idx="4151">
                        <c:v>1.3999999999999999E-4</c:v>
                      </c:pt>
                      <c:pt idx="4152">
                        <c:v>1.3999999999999999E-4</c:v>
                      </c:pt>
                      <c:pt idx="4153">
                        <c:v>1.3999999999999999E-4</c:v>
                      </c:pt>
                      <c:pt idx="4154">
                        <c:v>1.3999999999999999E-4</c:v>
                      </c:pt>
                      <c:pt idx="4155">
                        <c:v>1.4899999999999999E-4</c:v>
                      </c:pt>
                      <c:pt idx="4156">
                        <c:v>1.4899999999999999E-4</c:v>
                      </c:pt>
                      <c:pt idx="4157">
                        <c:v>1.4899999999999999E-4</c:v>
                      </c:pt>
                      <c:pt idx="4158">
                        <c:v>1.4899999999999999E-4</c:v>
                      </c:pt>
                      <c:pt idx="4159">
                        <c:v>1.4899999999999999E-4</c:v>
                      </c:pt>
                      <c:pt idx="4160">
                        <c:v>1.4899999999999999E-4</c:v>
                      </c:pt>
                      <c:pt idx="4161">
                        <c:v>1.5799999999999999E-4</c:v>
                      </c:pt>
                      <c:pt idx="4162">
                        <c:v>1.5799999999999999E-4</c:v>
                      </c:pt>
                      <c:pt idx="4163">
                        <c:v>1.5799999999999999E-4</c:v>
                      </c:pt>
                      <c:pt idx="4164">
                        <c:v>1.5799999999999999E-4</c:v>
                      </c:pt>
                      <c:pt idx="4165">
                        <c:v>1.5799999999999999E-4</c:v>
                      </c:pt>
                      <c:pt idx="4166">
                        <c:v>1.5799999999999999E-4</c:v>
                      </c:pt>
                      <c:pt idx="4167">
                        <c:v>1.6799999999999999E-4</c:v>
                      </c:pt>
                      <c:pt idx="4168">
                        <c:v>1.6799999999999999E-4</c:v>
                      </c:pt>
                      <c:pt idx="4169">
                        <c:v>1.6799999999999999E-4</c:v>
                      </c:pt>
                      <c:pt idx="4170">
                        <c:v>1.6799999999999999E-4</c:v>
                      </c:pt>
                      <c:pt idx="4171">
                        <c:v>1.6799999999999999E-4</c:v>
                      </c:pt>
                      <c:pt idx="4172">
                        <c:v>1.6799999999999999E-4</c:v>
                      </c:pt>
                      <c:pt idx="4173">
                        <c:v>1.7699999999999999E-4</c:v>
                      </c:pt>
                      <c:pt idx="4174">
                        <c:v>1.7699999999999999E-4</c:v>
                      </c:pt>
                      <c:pt idx="4175">
                        <c:v>1.7699999999999999E-4</c:v>
                      </c:pt>
                      <c:pt idx="4176">
                        <c:v>1.7699999999999999E-4</c:v>
                      </c:pt>
                      <c:pt idx="4177">
                        <c:v>1.7699999999999999E-4</c:v>
                      </c:pt>
                      <c:pt idx="4178">
                        <c:v>1.8149999999999999E-4</c:v>
                      </c:pt>
                      <c:pt idx="4179">
                        <c:v>1.8599999999999999E-4</c:v>
                      </c:pt>
                      <c:pt idx="4180">
                        <c:v>1.8599999999999999E-4</c:v>
                      </c:pt>
                      <c:pt idx="4181">
                        <c:v>1.8599999999999999E-4</c:v>
                      </c:pt>
                      <c:pt idx="4182">
                        <c:v>1.8599999999999999E-4</c:v>
                      </c:pt>
                      <c:pt idx="4183">
                        <c:v>1.8599999999999999E-4</c:v>
                      </c:pt>
                      <c:pt idx="4184">
                        <c:v>1.95E-4</c:v>
                      </c:pt>
                      <c:pt idx="4185">
                        <c:v>1.95E-4</c:v>
                      </c:pt>
                      <c:pt idx="4186">
                        <c:v>1.95E-4</c:v>
                      </c:pt>
                      <c:pt idx="4187">
                        <c:v>1.95E-4</c:v>
                      </c:pt>
                      <c:pt idx="4188">
                        <c:v>1.95E-4</c:v>
                      </c:pt>
                      <c:pt idx="4189">
                        <c:v>1.95E-4</c:v>
                      </c:pt>
                      <c:pt idx="4190">
                        <c:v>2.04E-4</c:v>
                      </c:pt>
                      <c:pt idx="4191">
                        <c:v>2.04E-4</c:v>
                      </c:pt>
                      <c:pt idx="4192">
                        <c:v>2.04E-4</c:v>
                      </c:pt>
                      <c:pt idx="4193">
                        <c:v>2.04E-4</c:v>
                      </c:pt>
                      <c:pt idx="4194">
                        <c:v>2.04E-4</c:v>
                      </c:pt>
                      <c:pt idx="4195">
                        <c:v>2.04E-4</c:v>
                      </c:pt>
                      <c:pt idx="4196">
                        <c:v>2.13E-4</c:v>
                      </c:pt>
                      <c:pt idx="4197">
                        <c:v>2.13E-4</c:v>
                      </c:pt>
                      <c:pt idx="4198">
                        <c:v>2.13E-4</c:v>
                      </c:pt>
                      <c:pt idx="4199">
                        <c:v>2.13E-4</c:v>
                      </c:pt>
                      <c:pt idx="4200">
                        <c:v>2.13E-4</c:v>
                      </c:pt>
                      <c:pt idx="4201">
                        <c:v>2.175E-4</c:v>
                      </c:pt>
                      <c:pt idx="4202">
                        <c:v>2.22E-4</c:v>
                      </c:pt>
                      <c:pt idx="4203">
                        <c:v>2.22E-4</c:v>
                      </c:pt>
                      <c:pt idx="4204">
                        <c:v>2.22E-4</c:v>
                      </c:pt>
                      <c:pt idx="4205">
                        <c:v>2.22E-4</c:v>
                      </c:pt>
                      <c:pt idx="4206">
                        <c:v>2.22E-4</c:v>
                      </c:pt>
                      <c:pt idx="4207">
                        <c:v>2.2699999999999999E-4</c:v>
                      </c:pt>
                      <c:pt idx="4208">
                        <c:v>2.32E-4</c:v>
                      </c:pt>
                      <c:pt idx="4209">
                        <c:v>2.32E-4</c:v>
                      </c:pt>
                      <c:pt idx="4210">
                        <c:v>2.32E-4</c:v>
                      </c:pt>
                      <c:pt idx="4211">
                        <c:v>2.32E-4</c:v>
                      </c:pt>
                      <c:pt idx="4212">
                        <c:v>2.32E-4</c:v>
                      </c:pt>
                      <c:pt idx="4213">
                        <c:v>2.41E-4</c:v>
                      </c:pt>
                      <c:pt idx="4214">
                        <c:v>2.41E-4</c:v>
                      </c:pt>
                      <c:pt idx="4215">
                        <c:v>2.41E-4</c:v>
                      </c:pt>
                      <c:pt idx="4216">
                        <c:v>2.41E-4</c:v>
                      </c:pt>
                      <c:pt idx="4217">
                        <c:v>2.41E-4</c:v>
                      </c:pt>
                      <c:pt idx="4218">
                        <c:v>2.41E-4</c:v>
                      </c:pt>
                      <c:pt idx="4219">
                        <c:v>2.5000000000000001E-4</c:v>
                      </c:pt>
                      <c:pt idx="4220">
                        <c:v>2.5000000000000001E-4</c:v>
                      </c:pt>
                      <c:pt idx="4221">
                        <c:v>2.5000000000000001E-4</c:v>
                      </c:pt>
                      <c:pt idx="4222">
                        <c:v>2.5000000000000001E-4</c:v>
                      </c:pt>
                      <c:pt idx="4223">
                        <c:v>2.5000000000000001E-4</c:v>
                      </c:pt>
                      <c:pt idx="4224">
                        <c:v>2.5000000000000001E-4</c:v>
                      </c:pt>
                      <c:pt idx="4225">
                        <c:v>2.5900000000000001E-4</c:v>
                      </c:pt>
                      <c:pt idx="4226">
                        <c:v>2.5900000000000001E-4</c:v>
                      </c:pt>
                      <c:pt idx="4227">
                        <c:v>2.5900000000000001E-4</c:v>
                      </c:pt>
                      <c:pt idx="4228">
                        <c:v>2.5900000000000001E-4</c:v>
                      </c:pt>
                      <c:pt idx="4229">
                        <c:v>2.5900000000000001E-4</c:v>
                      </c:pt>
                      <c:pt idx="4230">
                        <c:v>2.6350000000000001E-4</c:v>
                      </c:pt>
                      <c:pt idx="4231">
                        <c:v>2.6800000000000001E-4</c:v>
                      </c:pt>
                      <c:pt idx="4232">
                        <c:v>2.6800000000000001E-4</c:v>
                      </c:pt>
                      <c:pt idx="4233">
                        <c:v>2.6800000000000001E-4</c:v>
                      </c:pt>
                      <c:pt idx="4234">
                        <c:v>2.6800000000000001E-4</c:v>
                      </c:pt>
                      <c:pt idx="4235">
                        <c:v>2.6800000000000001E-4</c:v>
                      </c:pt>
                      <c:pt idx="4236">
                        <c:v>2.7250000000000001E-4</c:v>
                      </c:pt>
                      <c:pt idx="4237">
                        <c:v>2.7700000000000001E-4</c:v>
                      </c:pt>
                      <c:pt idx="4238">
                        <c:v>2.7700000000000001E-4</c:v>
                      </c:pt>
                      <c:pt idx="4239">
                        <c:v>2.7700000000000001E-4</c:v>
                      </c:pt>
                      <c:pt idx="4240">
                        <c:v>2.7700000000000001E-4</c:v>
                      </c:pt>
                      <c:pt idx="4241">
                        <c:v>2.7700000000000001E-4</c:v>
                      </c:pt>
                      <c:pt idx="4242">
                        <c:v>2.8699999999999998E-4</c:v>
                      </c:pt>
                      <c:pt idx="4243">
                        <c:v>2.8699999999999998E-4</c:v>
                      </c:pt>
                      <c:pt idx="4244">
                        <c:v>2.8699999999999998E-4</c:v>
                      </c:pt>
                      <c:pt idx="4245">
                        <c:v>2.8699999999999998E-4</c:v>
                      </c:pt>
                      <c:pt idx="4246">
                        <c:v>2.8699999999999998E-4</c:v>
                      </c:pt>
                      <c:pt idx="4247">
                        <c:v>2.8699999999999998E-4</c:v>
                      </c:pt>
                      <c:pt idx="4248">
                        <c:v>2.9599999999999998E-4</c:v>
                      </c:pt>
                      <c:pt idx="4249">
                        <c:v>2.9599999999999998E-4</c:v>
                      </c:pt>
                      <c:pt idx="4250">
                        <c:v>2.9599999999999998E-4</c:v>
                      </c:pt>
                      <c:pt idx="4251">
                        <c:v>2.9599999999999998E-4</c:v>
                      </c:pt>
                      <c:pt idx="4252">
                        <c:v>2.9599999999999998E-4</c:v>
                      </c:pt>
                      <c:pt idx="4253">
                        <c:v>2.9599999999999998E-4</c:v>
                      </c:pt>
                      <c:pt idx="4254">
                        <c:v>3.0499999999999999E-4</c:v>
                      </c:pt>
                      <c:pt idx="4255">
                        <c:v>3.0499999999999999E-4</c:v>
                      </c:pt>
                      <c:pt idx="4256">
                        <c:v>3.0499999999999999E-4</c:v>
                      </c:pt>
                      <c:pt idx="4257">
                        <c:v>3.0499999999999999E-4</c:v>
                      </c:pt>
                      <c:pt idx="4258">
                        <c:v>3.0499999999999999E-4</c:v>
                      </c:pt>
                      <c:pt idx="4259">
                        <c:v>3.0949999999999999E-4</c:v>
                      </c:pt>
                      <c:pt idx="4260">
                        <c:v>3.1399999999999999E-4</c:v>
                      </c:pt>
                      <c:pt idx="4261">
                        <c:v>3.1399999999999999E-4</c:v>
                      </c:pt>
                      <c:pt idx="4262">
                        <c:v>3.1399999999999999E-4</c:v>
                      </c:pt>
                      <c:pt idx="4263">
                        <c:v>3.1399999999999999E-4</c:v>
                      </c:pt>
                      <c:pt idx="4264">
                        <c:v>3.1399999999999999E-4</c:v>
                      </c:pt>
                      <c:pt idx="4265">
                        <c:v>3.2299999999999999E-4</c:v>
                      </c:pt>
                      <c:pt idx="4266">
                        <c:v>3.2299999999999999E-4</c:v>
                      </c:pt>
                      <c:pt idx="4267">
                        <c:v>3.2299999999999999E-4</c:v>
                      </c:pt>
                      <c:pt idx="4268">
                        <c:v>3.2299999999999999E-4</c:v>
                      </c:pt>
                      <c:pt idx="4269">
                        <c:v>3.2299999999999999E-4</c:v>
                      </c:pt>
                      <c:pt idx="4270">
                        <c:v>3.2299999999999999E-4</c:v>
                      </c:pt>
                      <c:pt idx="4271">
                        <c:v>3.3199999999999999E-4</c:v>
                      </c:pt>
                      <c:pt idx="4272">
                        <c:v>3.3199999999999999E-4</c:v>
                      </c:pt>
                      <c:pt idx="4273">
                        <c:v>3.3199999999999999E-4</c:v>
                      </c:pt>
                      <c:pt idx="4274">
                        <c:v>3.3199999999999999E-4</c:v>
                      </c:pt>
                      <c:pt idx="4275">
                        <c:v>3.3199999999999999E-4</c:v>
                      </c:pt>
                      <c:pt idx="4276">
                        <c:v>3.3199999999999999E-4</c:v>
                      </c:pt>
                      <c:pt idx="4277">
                        <c:v>3.4200000000000002E-4</c:v>
                      </c:pt>
                      <c:pt idx="4278">
                        <c:v>3.4200000000000002E-4</c:v>
                      </c:pt>
                      <c:pt idx="4279">
                        <c:v>3.4200000000000002E-4</c:v>
                      </c:pt>
                      <c:pt idx="4280">
                        <c:v>3.4200000000000002E-4</c:v>
                      </c:pt>
                      <c:pt idx="4281">
                        <c:v>3.4200000000000002E-4</c:v>
                      </c:pt>
                      <c:pt idx="4282">
                        <c:v>3.4200000000000002E-4</c:v>
                      </c:pt>
                      <c:pt idx="4283">
                        <c:v>3.5100000000000002E-4</c:v>
                      </c:pt>
                      <c:pt idx="4284">
                        <c:v>3.5100000000000002E-4</c:v>
                      </c:pt>
                      <c:pt idx="4285">
                        <c:v>3.5100000000000002E-4</c:v>
                      </c:pt>
                      <c:pt idx="4286">
                        <c:v>3.5100000000000002E-4</c:v>
                      </c:pt>
                      <c:pt idx="4287">
                        <c:v>3.5100000000000002E-4</c:v>
                      </c:pt>
                      <c:pt idx="4288">
                        <c:v>3.5550000000000002E-4</c:v>
                      </c:pt>
                      <c:pt idx="4289">
                        <c:v>3.6000000000000002E-4</c:v>
                      </c:pt>
                      <c:pt idx="4290">
                        <c:v>3.6000000000000002E-4</c:v>
                      </c:pt>
                      <c:pt idx="4291">
                        <c:v>3.6000000000000002E-4</c:v>
                      </c:pt>
                      <c:pt idx="4292">
                        <c:v>3.6000000000000002E-4</c:v>
                      </c:pt>
                      <c:pt idx="4293">
                        <c:v>3.6000000000000002E-4</c:v>
                      </c:pt>
                      <c:pt idx="4294">
                        <c:v>3.6900000000000002E-4</c:v>
                      </c:pt>
                      <c:pt idx="4295">
                        <c:v>3.6900000000000002E-4</c:v>
                      </c:pt>
                      <c:pt idx="4296">
                        <c:v>3.6900000000000002E-4</c:v>
                      </c:pt>
                      <c:pt idx="4297">
                        <c:v>3.6900000000000002E-4</c:v>
                      </c:pt>
                      <c:pt idx="4298">
                        <c:v>3.6900000000000002E-4</c:v>
                      </c:pt>
                      <c:pt idx="4299">
                        <c:v>3.6900000000000002E-4</c:v>
                      </c:pt>
                      <c:pt idx="4300">
                        <c:v>3.7800000000000003E-4</c:v>
                      </c:pt>
                      <c:pt idx="4301">
                        <c:v>3.7800000000000003E-4</c:v>
                      </c:pt>
                      <c:pt idx="4302">
                        <c:v>3.7800000000000003E-4</c:v>
                      </c:pt>
                      <c:pt idx="4303">
                        <c:v>3.7800000000000003E-4</c:v>
                      </c:pt>
                      <c:pt idx="4304">
                        <c:v>3.7800000000000003E-4</c:v>
                      </c:pt>
                      <c:pt idx="4305">
                        <c:v>3.7800000000000003E-4</c:v>
                      </c:pt>
                      <c:pt idx="4306">
                        <c:v>3.8699999999999997E-4</c:v>
                      </c:pt>
                      <c:pt idx="4307">
                        <c:v>3.8699999999999997E-4</c:v>
                      </c:pt>
                      <c:pt idx="4308">
                        <c:v>3.8699999999999997E-4</c:v>
                      </c:pt>
                      <c:pt idx="4309">
                        <c:v>3.8699999999999997E-4</c:v>
                      </c:pt>
                      <c:pt idx="4310">
                        <c:v>3.8699999999999997E-4</c:v>
                      </c:pt>
                      <c:pt idx="4311">
                        <c:v>3.9149999999999998E-4</c:v>
                      </c:pt>
                      <c:pt idx="4312">
                        <c:v>3.9599999999999998E-4</c:v>
                      </c:pt>
                      <c:pt idx="4313">
                        <c:v>3.9599999999999998E-4</c:v>
                      </c:pt>
                      <c:pt idx="4314">
                        <c:v>3.9599999999999998E-4</c:v>
                      </c:pt>
                      <c:pt idx="4315">
                        <c:v>3.9599999999999998E-4</c:v>
                      </c:pt>
                      <c:pt idx="4316">
                        <c:v>3.9599999999999998E-4</c:v>
                      </c:pt>
                      <c:pt idx="4317">
                        <c:v>4.0099999999999999E-4</c:v>
                      </c:pt>
                      <c:pt idx="4318">
                        <c:v>4.06E-4</c:v>
                      </c:pt>
                      <c:pt idx="4319">
                        <c:v>4.06E-4</c:v>
                      </c:pt>
                      <c:pt idx="4320">
                        <c:v>4.06E-4</c:v>
                      </c:pt>
                      <c:pt idx="4321">
                        <c:v>4.06E-4</c:v>
                      </c:pt>
                      <c:pt idx="4322">
                        <c:v>4.06E-4</c:v>
                      </c:pt>
                      <c:pt idx="4323">
                        <c:v>4.15E-4</c:v>
                      </c:pt>
                      <c:pt idx="4324">
                        <c:v>4.15E-4</c:v>
                      </c:pt>
                      <c:pt idx="4325">
                        <c:v>4.15E-4</c:v>
                      </c:pt>
                      <c:pt idx="4326">
                        <c:v>4.15E-4</c:v>
                      </c:pt>
                      <c:pt idx="4327">
                        <c:v>4.15E-4</c:v>
                      </c:pt>
                      <c:pt idx="4328">
                        <c:v>4.15E-4</c:v>
                      </c:pt>
                      <c:pt idx="4329">
                        <c:v>4.2400000000000001E-4</c:v>
                      </c:pt>
                      <c:pt idx="4330">
                        <c:v>4.2400000000000001E-4</c:v>
                      </c:pt>
                      <c:pt idx="4331">
                        <c:v>4.2400000000000001E-4</c:v>
                      </c:pt>
                      <c:pt idx="4332">
                        <c:v>4.2400000000000001E-4</c:v>
                      </c:pt>
                      <c:pt idx="4333">
                        <c:v>4.2400000000000001E-4</c:v>
                      </c:pt>
                      <c:pt idx="4334">
                        <c:v>4.2400000000000001E-4</c:v>
                      </c:pt>
                      <c:pt idx="4335">
                        <c:v>4.3300000000000001E-4</c:v>
                      </c:pt>
                      <c:pt idx="4336">
                        <c:v>4.3300000000000001E-4</c:v>
                      </c:pt>
                      <c:pt idx="4337">
                        <c:v>4.3300000000000001E-4</c:v>
                      </c:pt>
                      <c:pt idx="4338">
                        <c:v>4.3300000000000001E-4</c:v>
                      </c:pt>
                      <c:pt idx="4339">
                        <c:v>4.3300000000000001E-4</c:v>
                      </c:pt>
                      <c:pt idx="4340">
                        <c:v>4.3750000000000001E-4</c:v>
                      </c:pt>
                      <c:pt idx="4341">
                        <c:v>4.4200000000000001E-4</c:v>
                      </c:pt>
                      <c:pt idx="4342">
                        <c:v>4.4200000000000001E-4</c:v>
                      </c:pt>
                      <c:pt idx="4343">
                        <c:v>4.4200000000000001E-4</c:v>
                      </c:pt>
                      <c:pt idx="4344">
                        <c:v>4.4200000000000001E-4</c:v>
                      </c:pt>
                      <c:pt idx="4345">
                        <c:v>4.4200000000000001E-4</c:v>
                      </c:pt>
                      <c:pt idx="4346">
                        <c:v>4.5100000000000001E-4</c:v>
                      </c:pt>
                      <c:pt idx="4347">
                        <c:v>4.5100000000000001E-4</c:v>
                      </c:pt>
                      <c:pt idx="4348">
                        <c:v>4.5100000000000001E-4</c:v>
                      </c:pt>
                      <c:pt idx="4349">
                        <c:v>4.5100000000000001E-4</c:v>
                      </c:pt>
                      <c:pt idx="4350">
                        <c:v>4.5100000000000001E-4</c:v>
                      </c:pt>
                      <c:pt idx="4351">
                        <c:v>4.5100000000000001E-4</c:v>
                      </c:pt>
                      <c:pt idx="4352">
                        <c:v>4.6099999999999998E-4</c:v>
                      </c:pt>
                      <c:pt idx="4353">
                        <c:v>4.6099999999999998E-4</c:v>
                      </c:pt>
                      <c:pt idx="4354">
                        <c:v>4.6099999999999998E-4</c:v>
                      </c:pt>
                      <c:pt idx="4355">
                        <c:v>4.6099999999999998E-4</c:v>
                      </c:pt>
                      <c:pt idx="4356">
                        <c:v>4.6099999999999998E-4</c:v>
                      </c:pt>
                      <c:pt idx="4357">
                        <c:v>4.6099999999999998E-4</c:v>
                      </c:pt>
                      <c:pt idx="4358">
                        <c:v>4.6999999999999999E-4</c:v>
                      </c:pt>
                      <c:pt idx="4359">
                        <c:v>4.6999999999999999E-4</c:v>
                      </c:pt>
                      <c:pt idx="4360">
                        <c:v>4.6999999999999999E-4</c:v>
                      </c:pt>
                      <c:pt idx="4361">
                        <c:v>4.6999999999999999E-4</c:v>
                      </c:pt>
                      <c:pt idx="4362">
                        <c:v>4.6999999999999999E-4</c:v>
                      </c:pt>
                      <c:pt idx="4363">
                        <c:v>4.6999999999999999E-4</c:v>
                      </c:pt>
                      <c:pt idx="4364">
                        <c:v>4.7899999999999999E-4</c:v>
                      </c:pt>
                      <c:pt idx="4365">
                        <c:v>4.7899999999999999E-4</c:v>
                      </c:pt>
                      <c:pt idx="4366">
                        <c:v>4.7899999999999999E-4</c:v>
                      </c:pt>
                      <c:pt idx="4367">
                        <c:v>4.7899999999999999E-4</c:v>
                      </c:pt>
                      <c:pt idx="4368">
                        <c:v>4.7899999999999999E-4</c:v>
                      </c:pt>
                      <c:pt idx="4369">
                        <c:v>4.8349999999999999E-4</c:v>
                      </c:pt>
                      <c:pt idx="4370">
                        <c:v>4.8799999999999999E-4</c:v>
                      </c:pt>
                      <c:pt idx="4371">
                        <c:v>4.8799999999999999E-4</c:v>
                      </c:pt>
                      <c:pt idx="4372">
                        <c:v>4.8799999999999999E-4</c:v>
                      </c:pt>
                      <c:pt idx="4373">
                        <c:v>4.8799999999999999E-4</c:v>
                      </c:pt>
                      <c:pt idx="4374">
                        <c:v>4.8799999999999999E-4</c:v>
                      </c:pt>
                      <c:pt idx="4375">
                        <c:v>4.9700000000000005E-4</c:v>
                      </c:pt>
                      <c:pt idx="4376">
                        <c:v>4.9700000000000005E-4</c:v>
                      </c:pt>
                      <c:pt idx="4377">
                        <c:v>4.9700000000000005E-4</c:v>
                      </c:pt>
                      <c:pt idx="4378">
                        <c:v>4.9700000000000005E-4</c:v>
                      </c:pt>
                      <c:pt idx="4379">
                        <c:v>4.9700000000000005E-4</c:v>
                      </c:pt>
                      <c:pt idx="4380">
                        <c:v>4.9700000000000005E-4</c:v>
                      </c:pt>
                      <c:pt idx="4381">
                        <c:v>5.0600000000000005E-4</c:v>
                      </c:pt>
                      <c:pt idx="4382">
                        <c:v>5.0600000000000005E-4</c:v>
                      </c:pt>
                      <c:pt idx="4383">
                        <c:v>5.0600000000000005E-4</c:v>
                      </c:pt>
                      <c:pt idx="4384">
                        <c:v>5.0600000000000005E-4</c:v>
                      </c:pt>
                      <c:pt idx="4385">
                        <c:v>5.0600000000000005E-4</c:v>
                      </c:pt>
                      <c:pt idx="4386">
                        <c:v>5.0600000000000005E-4</c:v>
                      </c:pt>
                      <c:pt idx="4387">
                        <c:v>5.1000000000000004E-4</c:v>
                      </c:pt>
                      <c:pt idx="4388">
                        <c:v>5.1000000000000004E-4</c:v>
                      </c:pt>
                      <c:pt idx="4389">
                        <c:v>5.1000000000000004E-4</c:v>
                      </c:pt>
                      <c:pt idx="4390">
                        <c:v>5.1000000000000004E-4</c:v>
                      </c:pt>
                      <c:pt idx="4391">
                        <c:v>5.1000000000000004E-4</c:v>
                      </c:pt>
                      <c:pt idx="4392">
                        <c:v>5.0149999999999999E-4</c:v>
                      </c:pt>
                      <c:pt idx="4393">
                        <c:v>4.9299999999999995E-4</c:v>
                      </c:pt>
                      <c:pt idx="4394">
                        <c:v>4.9299999999999995E-4</c:v>
                      </c:pt>
                      <c:pt idx="4395">
                        <c:v>4.9299999999999995E-4</c:v>
                      </c:pt>
                      <c:pt idx="4396">
                        <c:v>4.9299999999999995E-4</c:v>
                      </c:pt>
                      <c:pt idx="4397">
                        <c:v>4.9299999999999995E-4</c:v>
                      </c:pt>
                      <c:pt idx="4398">
                        <c:v>4.6299999999999998E-4</c:v>
                      </c:pt>
                      <c:pt idx="4399">
                        <c:v>4.3300000000000001E-4</c:v>
                      </c:pt>
                      <c:pt idx="4400">
                        <c:v>4.3300000000000001E-4</c:v>
                      </c:pt>
                      <c:pt idx="4401">
                        <c:v>4.3300000000000001E-4</c:v>
                      </c:pt>
                      <c:pt idx="4402">
                        <c:v>4.3300000000000001E-4</c:v>
                      </c:pt>
                      <c:pt idx="4403">
                        <c:v>4.3300000000000001E-4</c:v>
                      </c:pt>
                      <c:pt idx="4404">
                        <c:v>3.1100000000000002E-4</c:v>
                      </c:pt>
                      <c:pt idx="4405">
                        <c:v>3.1100000000000002E-4</c:v>
                      </c:pt>
                      <c:pt idx="4406">
                        <c:v>3.1100000000000002E-4</c:v>
                      </c:pt>
                      <c:pt idx="4407">
                        <c:v>3.1100000000000002E-4</c:v>
                      </c:pt>
                      <c:pt idx="4408">
                        <c:v>3.1100000000000002E-4</c:v>
                      </c:pt>
                      <c:pt idx="4409">
                        <c:v>3.1100000000000002E-4</c:v>
                      </c:pt>
                      <c:pt idx="4410">
                        <c:v>1.17E-4</c:v>
                      </c:pt>
                      <c:pt idx="4411">
                        <c:v>1.17E-4</c:v>
                      </c:pt>
                      <c:pt idx="4412">
                        <c:v>1.17E-4</c:v>
                      </c:pt>
                      <c:pt idx="4413">
                        <c:v>1.17E-4</c:v>
                      </c:pt>
                      <c:pt idx="4414">
                        <c:v>1.17E-4</c:v>
                      </c:pt>
                      <c:pt idx="4415">
                        <c:v>1.17E-4</c:v>
                      </c:pt>
                      <c:pt idx="4416">
                        <c:v>-1.4999999999999999E-4</c:v>
                      </c:pt>
                      <c:pt idx="4417">
                        <c:v>-1.4999999999999999E-4</c:v>
                      </c:pt>
                      <c:pt idx="4418">
                        <c:v>-1.4999999999999999E-4</c:v>
                      </c:pt>
                      <c:pt idx="4419">
                        <c:v>-1.4999999999999999E-4</c:v>
                      </c:pt>
                      <c:pt idx="4420">
                        <c:v>-1.4999999999999999E-4</c:v>
                      </c:pt>
                      <c:pt idx="4421">
                        <c:v>-3.145E-4</c:v>
                      </c:pt>
                      <c:pt idx="4422">
                        <c:v>-4.7899999999999999E-4</c:v>
                      </c:pt>
                      <c:pt idx="4423">
                        <c:v>-4.7899999999999999E-4</c:v>
                      </c:pt>
                      <c:pt idx="4424">
                        <c:v>-4.7899999999999999E-4</c:v>
                      </c:pt>
                      <c:pt idx="4425">
                        <c:v>-4.7899999999999999E-4</c:v>
                      </c:pt>
                      <c:pt idx="4426">
                        <c:v>-4.7899999999999999E-4</c:v>
                      </c:pt>
                      <c:pt idx="4427">
                        <c:v>-6.5899999999999997E-4</c:v>
                      </c:pt>
                      <c:pt idx="4428">
                        <c:v>-8.3900000000000001E-4</c:v>
                      </c:pt>
                      <c:pt idx="4429">
                        <c:v>-8.3900000000000001E-4</c:v>
                      </c:pt>
                      <c:pt idx="4430">
                        <c:v>-8.3900000000000001E-4</c:v>
                      </c:pt>
                      <c:pt idx="4431">
                        <c:v>-8.3900000000000001E-4</c:v>
                      </c:pt>
                      <c:pt idx="4432">
                        <c:v>-8.3900000000000001E-4</c:v>
                      </c:pt>
                      <c:pt idx="4433">
                        <c:v>-1.1869999999999999E-3</c:v>
                      </c:pt>
                      <c:pt idx="4434">
                        <c:v>-1.1869999999999999E-3</c:v>
                      </c:pt>
                      <c:pt idx="4435">
                        <c:v>-1.1869999999999999E-3</c:v>
                      </c:pt>
                      <c:pt idx="4436">
                        <c:v>-1.1869999999999999E-3</c:v>
                      </c:pt>
                      <c:pt idx="4437">
                        <c:v>-1.1869999999999999E-3</c:v>
                      </c:pt>
                      <c:pt idx="4438">
                        <c:v>-1.1869999999999999E-3</c:v>
                      </c:pt>
                      <c:pt idx="4439">
                        <c:v>-1.4840000000000001E-3</c:v>
                      </c:pt>
                      <c:pt idx="4440">
                        <c:v>-1.4840000000000001E-3</c:v>
                      </c:pt>
                      <c:pt idx="4441">
                        <c:v>-1.4840000000000001E-3</c:v>
                      </c:pt>
                      <c:pt idx="4442">
                        <c:v>-1.4840000000000001E-3</c:v>
                      </c:pt>
                      <c:pt idx="4443">
                        <c:v>-1.4840000000000001E-3</c:v>
                      </c:pt>
                      <c:pt idx="4444">
                        <c:v>-1.4840000000000001E-3</c:v>
                      </c:pt>
                      <c:pt idx="4445">
                        <c:v>-1.7110000000000001E-3</c:v>
                      </c:pt>
                      <c:pt idx="4446">
                        <c:v>-1.7110000000000001E-3</c:v>
                      </c:pt>
                      <c:pt idx="4447">
                        <c:v>-1.7110000000000001E-3</c:v>
                      </c:pt>
                      <c:pt idx="4448">
                        <c:v>-1.7110000000000001E-3</c:v>
                      </c:pt>
                      <c:pt idx="4449">
                        <c:v>-1.7110000000000001E-3</c:v>
                      </c:pt>
                      <c:pt idx="4450">
                        <c:v>-1.091E-3</c:v>
                      </c:pt>
                      <c:pt idx="4451">
                        <c:v>-4.7100000000000001E-4</c:v>
                      </c:pt>
                      <c:pt idx="4452">
                        <c:v>-4.7100000000000001E-4</c:v>
                      </c:pt>
                      <c:pt idx="4453">
                        <c:v>-4.7100000000000001E-4</c:v>
                      </c:pt>
                      <c:pt idx="4454">
                        <c:v>-4.7100000000000001E-4</c:v>
                      </c:pt>
                      <c:pt idx="4455">
                        <c:v>-4.7100000000000001E-4</c:v>
                      </c:pt>
                      <c:pt idx="4456">
                        <c:v>3.0438E-2</c:v>
                      </c:pt>
                      <c:pt idx="4457">
                        <c:v>3.0438E-2</c:v>
                      </c:pt>
                      <c:pt idx="4458">
                        <c:v>3.0438E-2</c:v>
                      </c:pt>
                      <c:pt idx="4459">
                        <c:v>3.0438E-2</c:v>
                      </c:pt>
                      <c:pt idx="4460">
                        <c:v>3.0438E-2</c:v>
                      </c:pt>
                      <c:pt idx="4461">
                        <c:v>3.0438E-2</c:v>
                      </c:pt>
                      <c:pt idx="4462">
                        <c:v>8.9777999999999997E-2</c:v>
                      </c:pt>
                      <c:pt idx="4463">
                        <c:v>8.9777999999999997E-2</c:v>
                      </c:pt>
                      <c:pt idx="4464">
                        <c:v>8.9777999999999997E-2</c:v>
                      </c:pt>
                      <c:pt idx="4465">
                        <c:v>8.9777999999999997E-2</c:v>
                      </c:pt>
                      <c:pt idx="4466">
                        <c:v>8.9777999999999997E-2</c:v>
                      </c:pt>
                      <c:pt idx="4467">
                        <c:v>8.9777999999999997E-2</c:v>
                      </c:pt>
                      <c:pt idx="4468">
                        <c:v>0.178121</c:v>
                      </c:pt>
                      <c:pt idx="4469">
                        <c:v>0.178121</c:v>
                      </c:pt>
                      <c:pt idx="4470">
                        <c:v>0.178121</c:v>
                      </c:pt>
                      <c:pt idx="4471">
                        <c:v>0.178121</c:v>
                      </c:pt>
                      <c:pt idx="4472">
                        <c:v>0.178121</c:v>
                      </c:pt>
                      <c:pt idx="4473">
                        <c:v>0.178121</c:v>
                      </c:pt>
                      <c:pt idx="4474">
                        <c:v>0.28856799999999999</c:v>
                      </c:pt>
                      <c:pt idx="4475">
                        <c:v>0.28856799999999999</c:v>
                      </c:pt>
                      <c:pt idx="4476">
                        <c:v>0.28856799999999999</c:v>
                      </c:pt>
                      <c:pt idx="4477">
                        <c:v>0.28856799999999999</c:v>
                      </c:pt>
                      <c:pt idx="4478">
                        <c:v>0.28856799999999999</c:v>
                      </c:pt>
                      <c:pt idx="4479">
                        <c:v>0.36308249999999997</c:v>
                      </c:pt>
                      <c:pt idx="4480">
                        <c:v>0.43759700000000001</c:v>
                      </c:pt>
                      <c:pt idx="4481">
                        <c:v>0.43759700000000001</c:v>
                      </c:pt>
                      <c:pt idx="4482">
                        <c:v>0.43759700000000001</c:v>
                      </c:pt>
                      <c:pt idx="4483">
                        <c:v>0.43759700000000001</c:v>
                      </c:pt>
                      <c:pt idx="4484">
                        <c:v>0.43759700000000001</c:v>
                      </c:pt>
                      <c:pt idx="4485">
                        <c:v>0.64427400000000001</c:v>
                      </c:pt>
                      <c:pt idx="4486">
                        <c:v>0.64427400000000001</c:v>
                      </c:pt>
                      <c:pt idx="4487">
                        <c:v>0.64427400000000001</c:v>
                      </c:pt>
                      <c:pt idx="4488">
                        <c:v>0.64427400000000001</c:v>
                      </c:pt>
                      <c:pt idx="4489">
                        <c:v>0.64427400000000001</c:v>
                      </c:pt>
                      <c:pt idx="4490">
                        <c:v>0.64427400000000001</c:v>
                      </c:pt>
                      <c:pt idx="4491">
                        <c:v>1.050562</c:v>
                      </c:pt>
                      <c:pt idx="4492">
                        <c:v>1.050562</c:v>
                      </c:pt>
                      <c:pt idx="4493">
                        <c:v>1.050562</c:v>
                      </c:pt>
                      <c:pt idx="4494">
                        <c:v>1.050562</c:v>
                      </c:pt>
                      <c:pt idx="4495">
                        <c:v>1.050562</c:v>
                      </c:pt>
                      <c:pt idx="4496">
                        <c:v>1.050562</c:v>
                      </c:pt>
                      <c:pt idx="4497">
                        <c:v>1.7021919999999999</c:v>
                      </c:pt>
                      <c:pt idx="4498">
                        <c:v>1.7021919999999999</c:v>
                      </c:pt>
                      <c:pt idx="4499">
                        <c:v>1.7021919999999999</c:v>
                      </c:pt>
                      <c:pt idx="4500">
                        <c:v>1.7021919999999999</c:v>
                      </c:pt>
                      <c:pt idx="4501">
                        <c:v>1.7021919999999999</c:v>
                      </c:pt>
                      <c:pt idx="4502">
                        <c:v>2.1413175</c:v>
                      </c:pt>
                      <c:pt idx="4503">
                        <c:v>2.5804429999999998</c:v>
                      </c:pt>
                      <c:pt idx="4504">
                        <c:v>2.5804429999999998</c:v>
                      </c:pt>
                      <c:pt idx="4505">
                        <c:v>2.5804429999999998</c:v>
                      </c:pt>
                      <c:pt idx="4506">
                        <c:v>2.5804429999999998</c:v>
                      </c:pt>
                      <c:pt idx="4507">
                        <c:v>2.5804429999999998</c:v>
                      </c:pt>
                      <c:pt idx="4508">
                        <c:v>3.1194259999999998</c:v>
                      </c:pt>
                      <c:pt idx="4509">
                        <c:v>3.6584089999999998</c:v>
                      </c:pt>
                      <c:pt idx="4510">
                        <c:v>3.6584089999999998</c:v>
                      </c:pt>
                      <c:pt idx="4511">
                        <c:v>3.6584089999999998</c:v>
                      </c:pt>
                      <c:pt idx="4512">
                        <c:v>3.6584089999999998</c:v>
                      </c:pt>
                      <c:pt idx="4513">
                        <c:v>3.6584089999999998</c:v>
                      </c:pt>
                      <c:pt idx="4514">
                        <c:v>4.9987719999999998</c:v>
                      </c:pt>
                      <c:pt idx="4515">
                        <c:v>4.9987719999999998</c:v>
                      </c:pt>
                      <c:pt idx="4516">
                        <c:v>4.9987719999999998</c:v>
                      </c:pt>
                      <c:pt idx="4517">
                        <c:v>4.9987719999999998</c:v>
                      </c:pt>
                      <c:pt idx="4518">
                        <c:v>4.9987719999999998</c:v>
                      </c:pt>
                      <c:pt idx="4519">
                        <c:v>4.9987719999999998</c:v>
                      </c:pt>
                      <c:pt idx="4520">
                        <c:v>6.7294489999999998</c:v>
                      </c:pt>
                      <c:pt idx="4521">
                        <c:v>6.7294489999999998</c:v>
                      </c:pt>
                      <c:pt idx="4522">
                        <c:v>6.7294489999999998</c:v>
                      </c:pt>
                      <c:pt idx="4523">
                        <c:v>6.7294489999999998</c:v>
                      </c:pt>
                      <c:pt idx="4524">
                        <c:v>6.7294489999999998</c:v>
                      </c:pt>
                      <c:pt idx="4525">
                        <c:v>6.7294489999999998</c:v>
                      </c:pt>
                      <c:pt idx="4526">
                        <c:v>8.6367550000000008</c:v>
                      </c:pt>
                      <c:pt idx="4527">
                        <c:v>8.6367550000000008</c:v>
                      </c:pt>
                      <c:pt idx="4528">
                        <c:v>8.6367550000000008</c:v>
                      </c:pt>
                      <c:pt idx="4529">
                        <c:v>8.6367550000000008</c:v>
                      </c:pt>
                      <c:pt idx="4530">
                        <c:v>8.6367550000000008</c:v>
                      </c:pt>
                      <c:pt idx="4531">
                        <c:v>9.6635866000000004</c:v>
                      </c:pt>
                      <c:pt idx="4532">
                        <c:v>10.6904182</c:v>
                      </c:pt>
                      <c:pt idx="4533">
                        <c:v>10.6904182</c:v>
                      </c:pt>
                      <c:pt idx="4534">
                        <c:v>10.6904182</c:v>
                      </c:pt>
                      <c:pt idx="4535">
                        <c:v>10.6904182</c:v>
                      </c:pt>
                      <c:pt idx="4536">
                        <c:v>10.6904182</c:v>
                      </c:pt>
                      <c:pt idx="4537">
                        <c:v>12.895792</c:v>
                      </c:pt>
                      <c:pt idx="4538">
                        <c:v>12.895792</c:v>
                      </c:pt>
                      <c:pt idx="4539">
                        <c:v>12.895792</c:v>
                      </c:pt>
                      <c:pt idx="4540">
                        <c:v>12.895792</c:v>
                      </c:pt>
                      <c:pt idx="4541">
                        <c:v>12.895792</c:v>
                      </c:pt>
                      <c:pt idx="4542">
                        <c:v>12.895792</c:v>
                      </c:pt>
                      <c:pt idx="4543">
                        <c:v>15.3013964</c:v>
                      </c:pt>
                      <c:pt idx="4544">
                        <c:v>15.3013964</c:v>
                      </c:pt>
                      <c:pt idx="4545">
                        <c:v>15.3013964</c:v>
                      </c:pt>
                      <c:pt idx="4546">
                        <c:v>15.3013964</c:v>
                      </c:pt>
                      <c:pt idx="4547">
                        <c:v>15.3013964</c:v>
                      </c:pt>
                      <c:pt idx="4548">
                        <c:v>15.3013964</c:v>
                      </c:pt>
                      <c:pt idx="4549">
                        <c:v>17.704597499999998</c:v>
                      </c:pt>
                      <c:pt idx="4550">
                        <c:v>17.704597499999998</c:v>
                      </c:pt>
                      <c:pt idx="4551">
                        <c:v>17.704597499999998</c:v>
                      </c:pt>
                      <c:pt idx="4552">
                        <c:v>17.704597499999998</c:v>
                      </c:pt>
                      <c:pt idx="4553">
                        <c:v>17.704597499999998</c:v>
                      </c:pt>
                      <c:pt idx="4554">
                        <c:v>17.704597499999998</c:v>
                      </c:pt>
                      <c:pt idx="4555">
                        <c:v>19.920164100000001</c:v>
                      </c:pt>
                      <c:pt idx="4556">
                        <c:v>19.920164100000001</c:v>
                      </c:pt>
                      <c:pt idx="4557">
                        <c:v>19.920164100000001</c:v>
                      </c:pt>
                      <c:pt idx="4558">
                        <c:v>19.920164100000001</c:v>
                      </c:pt>
                      <c:pt idx="4559">
                        <c:v>19.920164100000001</c:v>
                      </c:pt>
                      <c:pt idx="4560">
                        <c:v>20.871645900000001</c:v>
                      </c:pt>
                      <c:pt idx="4561">
                        <c:v>21.823127700000001</c:v>
                      </c:pt>
                      <c:pt idx="4562">
                        <c:v>21.823127700000001</c:v>
                      </c:pt>
                      <c:pt idx="4563">
                        <c:v>21.823127700000001</c:v>
                      </c:pt>
                      <c:pt idx="4564">
                        <c:v>21.823127700000001</c:v>
                      </c:pt>
                      <c:pt idx="4565">
                        <c:v>21.823127700000001</c:v>
                      </c:pt>
                      <c:pt idx="4566">
                        <c:v>23.380073500000002</c:v>
                      </c:pt>
                      <c:pt idx="4567">
                        <c:v>23.380073500000002</c:v>
                      </c:pt>
                      <c:pt idx="4568">
                        <c:v>23.380073500000002</c:v>
                      </c:pt>
                      <c:pt idx="4569">
                        <c:v>23.380073500000002</c:v>
                      </c:pt>
                      <c:pt idx="4570">
                        <c:v>23.380073500000002</c:v>
                      </c:pt>
                      <c:pt idx="4571">
                        <c:v>23.380073500000002</c:v>
                      </c:pt>
                      <c:pt idx="4572">
                        <c:v>24.5720043</c:v>
                      </c:pt>
                      <c:pt idx="4573">
                        <c:v>24.5720043</c:v>
                      </c:pt>
                      <c:pt idx="4574">
                        <c:v>24.5720043</c:v>
                      </c:pt>
                      <c:pt idx="4575">
                        <c:v>24.5720043</c:v>
                      </c:pt>
                      <c:pt idx="4576">
                        <c:v>24.5720043</c:v>
                      </c:pt>
                      <c:pt idx="4577">
                        <c:v>24.5720043</c:v>
                      </c:pt>
                      <c:pt idx="4578">
                        <c:v>25.337171600000001</c:v>
                      </c:pt>
                      <c:pt idx="4579">
                        <c:v>25.337171600000001</c:v>
                      </c:pt>
                      <c:pt idx="4580">
                        <c:v>25.337171600000001</c:v>
                      </c:pt>
                      <c:pt idx="4581">
                        <c:v>25.337171600000001</c:v>
                      </c:pt>
                      <c:pt idx="4582">
                        <c:v>25.337171600000001</c:v>
                      </c:pt>
                      <c:pt idx="4583">
                        <c:v>25.53003885</c:v>
                      </c:pt>
                      <c:pt idx="4584">
                        <c:v>25.722906099999999</c:v>
                      </c:pt>
                      <c:pt idx="4585">
                        <c:v>25.722906099999999</c:v>
                      </c:pt>
                      <c:pt idx="4586">
                        <c:v>25.722906099999999</c:v>
                      </c:pt>
                      <c:pt idx="4587">
                        <c:v>25.722906099999999</c:v>
                      </c:pt>
                      <c:pt idx="4588">
                        <c:v>25.722906099999999</c:v>
                      </c:pt>
                      <c:pt idx="4589">
                        <c:v>25.617008049999999</c:v>
                      </c:pt>
                      <c:pt idx="4590">
                        <c:v>25.511109999999999</c:v>
                      </c:pt>
                      <c:pt idx="4591">
                        <c:v>25.511109999999999</c:v>
                      </c:pt>
                      <c:pt idx="4592">
                        <c:v>25.511109999999999</c:v>
                      </c:pt>
                      <c:pt idx="4593">
                        <c:v>25.511109999999999</c:v>
                      </c:pt>
                      <c:pt idx="4594">
                        <c:v>25.511109999999999</c:v>
                      </c:pt>
                      <c:pt idx="4595">
                        <c:v>24.8701057</c:v>
                      </c:pt>
                      <c:pt idx="4596">
                        <c:v>24.8701057</c:v>
                      </c:pt>
                      <c:pt idx="4597">
                        <c:v>24.8701057</c:v>
                      </c:pt>
                      <c:pt idx="4598">
                        <c:v>24.8701057</c:v>
                      </c:pt>
                      <c:pt idx="4599">
                        <c:v>24.8701057</c:v>
                      </c:pt>
                      <c:pt idx="4600">
                        <c:v>24.8701057</c:v>
                      </c:pt>
                      <c:pt idx="4601">
                        <c:v>23.80996</c:v>
                      </c:pt>
                      <c:pt idx="4602">
                        <c:v>23.80996</c:v>
                      </c:pt>
                      <c:pt idx="4603">
                        <c:v>23.80996</c:v>
                      </c:pt>
                      <c:pt idx="4604">
                        <c:v>23.80996</c:v>
                      </c:pt>
                      <c:pt idx="4605">
                        <c:v>23.80996</c:v>
                      </c:pt>
                      <c:pt idx="4606">
                        <c:v>23.80996</c:v>
                      </c:pt>
                      <c:pt idx="4607">
                        <c:v>22.398859999999999</c:v>
                      </c:pt>
                      <c:pt idx="4608">
                        <c:v>22.398859999999999</c:v>
                      </c:pt>
                      <c:pt idx="4609">
                        <c:v>22.398859999999999</c:v>
                      </c:pt>
                      <c:pt idx="4610">
                        <c:v>22.398859999999999</c:v>
                      </c:pt>
                      <c:pt idx="4611">
                        <c:v>22.398859999999999</c:v>
                      </c:pt>
                      <c:pt idx="4612">
                        <c:v>21.51182</c:v>
                      </c:pt>
                      <c:pt idx="4613">
                        <c:v>20.624780000000001</c:v>
                      </c:pt>
                      <c:pt idx="4614">
                        <c:v>20.624780000000001</c:v>
                      </c:pt>
                      <c:pt idx="4615">
                        <c:v>20.624780000000001</c:v>
                      </c:pt>
                      <c:pt idx="4616">
                        <c:v>20.624780000000001</c:v>
                      </c:pt>
                      <c:pt idx="4617">
                        <c:v>20.624780000000001</c:v>
                      </c:pt>
                      <c:pt idx="4618">
                        <c:v>19.60731285</c:v>
                      </c:pt>
                      <c:pt idx="4619">
                        <c:v>18.589845700000001</c:v>
                      </c:pt>
                      <c:pt idx="4620">
                        <c:v>18.589845700000001</c:v>
                      </c:pt>
                      <c:pt idx="4621">
                        <c:v>18.589845700000001</c:v>
                      </c:pt>
                      <c:pt idx="4622">
                        <c:v>18.589845700000001</c:v>
                      </c:pt>
                      <c:pt idx="4623">
                        <c:v>18.589845700000001</c:v>
                      </c:pt>
                      <c:pt idx="4624">
                        <c:v>16.573846799999998</c:v>
                      </c:pt>
                      <c:pt idx="4625">
                        <c:v>16.573846799999998</c:v>
                      </c:pt>
                      <c:pt idx="4626">
                        <c:v>16.573846799999998</c:v>
                      </c:pt>
                      <c:pt idx="4627">
                        <c:v>16.573846799999998</c:v>
                      </c:pt>
                      <c:pt idx="4628">
                        <c:v>16.573846799999998</c:v>
                      </c:pt>
                      <c:pt idx="4629">
                        <c:v>16.573846799999998</c:v>
                      </c:pt>
                      <c:pt idx="4630">
                        <c:v>14.5681581</c:v>
                      </c:pt>
                      <c:pt idx="4631">
                        <c:v>14.5681581</c:v>
                      </c:pt>
                      <c:pt idx="4632">
                        <c:v>14.5681581</c:v>
                      </c:pt>
                      <c:pt idx="4633">
                        <c:v>14.5681581</c:v>
                      </c:pt>
                      <c:pt idx="4634">
                        <c:v>14.5681581</c:v>
                      </c:pt>
                      <c:pt idx="4635">
                        <c:v>14.5681581</c:v>
                      </c:pt>
                      <c:pt idx="4636">
                        <c:v>12.5625181</c:v>
                      </c:pt>
                      <c:pt idx="4637">
                        <c:v>12.5625181</c:v>
                      </c:pt>
                      <c:pt idx="4638">
                        <c:v>12.5625181</c:v>
                      </c:pt>
                      <c:pt idx="4639">
                        <c:v>12.5625181</c:v>
                      </c:pt>
                      <c:pt idx="4640">
                        <c:v>12.5625181</c:v>
                      </c:pt>
                      <c:pt idx="4641">
                        <c:v>11.563946250000001</c:v>
                      </c:pt>
                      <c:pt idx="4642">
                        <c:v>10.5653744</c:v>
                      </c:pt>
                      <c:pt idx="4643">
                        <c:v>10.5653744</c:v>
                      </c:pt>
                      <c:pt idx="4644">
                        <c:v>10.5653744</c:v>
                      </c:pt>
                      <c:pt idx="4645">
                        <c:v>10.5653744</c:v>
                      </c:pt>
                      <c:pt idx="4646">
                        <c:v>10.5653744</c:v>
                      </c:pt>
                      <c:pt idx="4647">
                        <c:v>8.7208249999999996</c:v>
                      </c:pt>
                      <c:pt idx="4648">
                        <c:v>8.7208249999999996</c:v>
                      </c:pt>
                      <c:pt idx="4649">
                        <c:v>8.7208249999999996</c:v>
                      </c:pt>
                      <c:pt idx="4650">
                        <c:v>8.7208249999999996</c:v>
                      </c:pt>
                      <c:pt idx="4651">
                        <c:v>8.7208249999999996</c:v>
                      </c:pt>
                      <c:pt idx="4652">
                        <c:v>8.7208249999999996</c:v>
                      </c:pt>
                      <c:pt idx="4653">
                        <c:v>6.9962470000000003</c:v>
                      </c:pt>
                      <c:pt idx="4654">
                        <c:v>6.9962470000000003</c:v>
                      </c:pt>
                      <c:pt idx="4655">
                        <c:v>6.9962470000000003</c:v>
                      </c:pt>
                      <c:pt idx="4656">
                        <c:v>6.9962470000000003</c:v>
                      </c:pt>
                      <c:pt idx="4657">
                        <c:v>6.9962470000000003</c:v>
                      </c:pt>
                      <c:pt idx="4658">
                        <c:v>6.9962470000000003</c:v>
                      </c:pt>
                      <c:pt idx="4659">
                        <c:v>5.4747729999999999</c:v>
                      </c:pt>
                      <c:pt idx="4660">
                        <c:v>5.4747729999999999</c:v>
                      </c:pt>
                      <c:pt idx="4661">
                        <c:v>5.4747729999999999</c:v>
                      </c:pt>
                      <c:pt idx="4662">
                        <c:v>5.4747729999999999</c:v>
                      </c:pt>
                      <c:pt idx="4663">
                        <c:v>5.4747729999999999</c:v>
                      </c:pt>
                      <c:pt idx="4664">
                        <c:v>5.4747729999999999</c:v>
                      </c:pt>
                      <c:pt idx="4665">
                        <c:v>4.1784800000000004</c:v>
                      </c:pt>
                      <c:pt idx="4666">
                        <c:v>4.1784800000000004</c:v>
                      </c:pt>
                      <c:pt idx="4667">
                        <c:v>4.1784800000000004</c:v>
                      </c:pt>
                      <c:pt idx="4668">
                        <c:v>4.1784800000000004</c:v>
                      </c:pt>
                      <c:pt idx="4669">
                        <c:v>4.1784800000000004</c:v>
                      </c:pt>
                      <c:pt idx="4670">
                        <c:v>3.6517020000000002</c:v>
                      </c:pt>
                      <c:pt idx="4671">
                        <c:v>3.124924</c:v>
                      </c:pt>
                      <c:pt idx="4672">
                        <c:v>3.124924</c:v>
                      </c:pt>
                      <c:pt idx="4673">
                        <c:v>3.124924</c:v>
                      </c:pt>
                      <c:pt idx="4674">
                        <c:v>3.124924</c:v>
                      </c:pt>
                      <c:pt idx="4675">
                        <c:v>3.124924</c:v>
                      </c:pt>
                      <c:pt idx="4676">
                        <c:v>2.2432669999999999</c:v>
                      </c:pt>
                      <c:pt idx="4677">
                        <c:v>2.2432669999999999</c:v>
                      </c:pt>
                      <c:pt idx="4678">
                        <c:v>2.2432669999999999</c:v>
                      </c:pt>
                      <c:pt idx="4679">
                        <c:v>2.2432669999999999</c:v>
                      </c:pt>
                      <c:pt idx="4680">
                        <c:v>2.2432669999999999</c:v>
                      </c:pt>
                      <c:pt idx="4681">
                        <c:v>2.2432669999999999</c:v>
                      </c:pt>
                      <c:pt idx="4682">
                        <c:v>1.5012859999999999</c:v>
                      </c:pt>
                      <c:pt idx="4683">
                        <c:v>1.5012859999999999</c:v>
                      </c:pt>
                      <c:pt idx="4684">
                        <c:v>1.5012859999999999</c:v>
                      </c:pt>
                      <c:pt idx="4685">
                        <c:v>1.5012859999999999</c:v>
                      </c:pt>
                      <c:pt idx="4686">
                        <c:v>1.5012859999999999</c:v>
                      </c:pt>
                      <c:pt idx="4687">
                        <c:v>1.5012859999999999</c:v>
                      </c:pt>
                      <c:pt idx="4688">
                        <c:v>0.98392299999999999</c:v>
                      </c:pt>
                      <c:pt idx="4689">
                        <c:v>0.98392299999999999</c:v>
                      </c:pt>
                      <c:pt idx="4690">
                        <c:v>0.98392299999999999</c:v>
                      </c:pt>
                      <c:pt idx="4691">
                        <c:v>0.98392299999999999</c:v>
                      </c:pt>
                      <c:pt idx="4692">
                        <c:v>0.98392299999999999</c:v>
                      </c:pt>
                      <c:pt idx="4693">
                        <c:v>0.78109450000000002</c:v>
                      </c:pt>
                      <c:pt idx="4694">
                        <c:v>0.57826599999999995</c:v>
                      </c:pt>
                      <c:pt idx="4695">
                        <c:v>0.57826599999999995</c:v>
                      </c:pt>
                      <c:pt idx="4696">
                        <c:v>0.57826599999999995</c:v>
                      </c:pt>
                      <c:pt idx="4697">
                        <c:v>0.57826599999999995</c:v>
                      </c:pt>
                      <c:pt idx="4698">
                        <c:v>0.57826599999999995</c:v>
                      </c:pt>
                      <c:pt idx="4699">
                        <c:v>0.42636499999999999</c:v>
                      </c:pt>
                      <c:pt idx="4700">
                        <c:v>0.27446399999999999</c:v>
                      </c:pt>
                      <c:pt idx="4701">
                        <c:v>0.27446399999999999</c:v>
                      </c:pt>
                      <c:pt idx="4702">
                        <c:v>0.27446399999999999</c:v>
                      </c:pt>
                      <c:pt idx="4703">
                        <c:v>0.27446399999999999</c:v>
                      </c:pt>
                      <c:pt idx="4704">
                        <c:v>0.27446399999999999</c:v>
                      </c:pt>
                      <c:pt idx="4705">
                        <c:v>7.2522000000000003E-2</c:v>
                      </c:pt>
                      <c:pt idx="4706">
                        <c:v>7.2522000000000003E-2</c:v>
                      </c:pt>
                      <c:pt idx="4707">
                        <c:v>7.2522000000000003E-2</c:v>
                      </c:pt>
                      <c:pt idx="4708">
                        <c:v>7.2522000000000003E-2</c:v>
                      </c:pt>
                      <c:pt idx="4709">
                        <c:v>7.2522000000000003E-2</c:v>
                      </c:pt>
                      <c:pt idx="4710">
                        <c:v>7.2522000000000003E-2</c:v>
                      </c:pt>
                      <c:pt idx="4711">
                        <c:v>-1.1529999999999999E-3</c:v>
                      </c:pt>
                      <c:pt idx="4712">
                        <c:v>-1.1529999999999999E-3</c:v>
                      </c:pt>
                      <c:pt idx="4713">
                        <c:v>-1.1529999999999999E-3</c:v>
                      </c:pt>
                      <c:pt idx="4714">
                        <c:v>-1.1529999999999999E-3</c:v>
                      </c:pt>
                      <c:pt idx="4715">
                        <c:v>-1.1529999999999999E-3</c:v>
                      </c:pt>
                      <c:pt idx="4716">
                        <c:v>-1.1529999999999999E-3</c:v>
                      </c:pt>
                      <c:pt idx="4717">
                        <c:v>6.0499999999999996E-4</c:v>
                      </c:pt>
                      <c:pt idx="4718">
                        <c:v>6.0499999999999996E-4</c:v>
                      </c:pt>
                      <c:pt idx="4719">
                        <c:v>6.0499999999999996E-4</c:v>
                      </c:pt>
                      <c:pt idx="4720">
                        <c:v>6.0499999999999996E-4</c:v>
                      </c:pt>
                      <c:pt idx="4721">
                        <c:v>6.0499999999999996E-4</c:v>
                      </c:pt>
                      <c:pt idx="4722">
                        <c:v>4.7499999999999962E-5</c:v>
                      </c:pt>
                      <c:pt idx="4723">
                        <c:v>-5.1000000000000004E-4</c:v>
                      </c:pt>
                      <c:pt idx="4724">
                        <c:v>-5.1000000000000004E-4</c:v>
                      </c:pt>
                      <c:pt idx="4725">
                        <c:v>-5.1000000000000004E-4</c:v>
                      </c:pt>
                      <c:pt idx="4726">
                        <c:v>-5.1000000000000004E-4</c:v>
                      </c:pt>
                      <c:pt idx="4727">
                        <c:v>-5.1000000000000004E-4</c:v>
                      </c:pt>
                      <c:pt idx="4728">
                        <c:v>4.2999999999999999E-4</c:v>
                      </c:pt>
                      <c:pt idx="4729">
                        <c:v>4.2999999999999999E-4</c:v>
                      </c:pt>
                      <c:pt idx="4730">
                        <c:v>4.2999999999999999E-4</c:v>
                      </c:pt>
                      <c:pt idx="4731">
                        <c:v>4.2999999999999999E-4</c:v>
                      </c:pt>
                      <c:pt idx="4732">
                        <c:v>4.2999999999999999E-4</c:v>
                      </c:pt>
                      <c:pt idx="4733">
                        <c:v>4.2999999999999999E-4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F673-4B69-A1EF-99441A537410}"/>
                  </c:ext>
                </c:extLst>
              </c15:ser>
            </c15:filteredLineSeries>
          </c:ext>
        </c:extLst>
      </c:lineChart>
      <c:valAx>
        <c:axId val="7714929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"/>
        <c:crosses val="autoZero"/>
        <c:crossBetween val="between"/>
      </c:valAx>
      <c:catAx>
        <c:axId val="1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771492975"/>
        <c:crosses val="autoZero"/>
        <c:auto val="1"/>
        <c:lblAlgn val="ctr"/>
        <c:lblOffset val="100"/>
        <c:tickLblSkip val="255"/>
        <c:tickMarkSkip val="1"/>
        <c:noMultiLvlLbl val="1"/>
      </c:catAx>
      <c:spPr>
        <a:solidFill>
          <a:schemeClr val="bg1"/>
        </a:soli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zero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Data!$A$1</c:f>
          <c:strCache>
            <c:ptCount val="1"/>
            <c:pt idx="0">
              <c:v>Outliers in the two directions</c:v>
            </c:pt>
          </c:strCache>
        </c:strRef>
      </c:tx>
      <c:overlay val="1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Biggest Outlier Forward</c:v>
                </c:pt>
              </c:strCache>
            </c:strRef>
          </c:tx>
          <c:spPr>
            <a:solidFill>
              <a:srgbClr val="1F77B4"/>
            </a:solidFill>
          </c:spPr>
          <c:invertIfNegative val="1"/>
          <c:cat>
            <c:strRef>
              <c:extLst>
                <c:ext xmlns:c15="http://schemas.microsoft.com/office/drawing/2012/chart" uri="{02D57815-91ED-43cb-92C2-25804820EDAC}">
                  <c15:fullRef>
                    <c15:sqref>Data!$A$3:$A$10</c15:sqref>
                  </c15:fullRef>
                </c:ext>
              </c:extLst>
              <c:f>(Data!$A$3,Data!$A$10)</c:f>
              <c:strCache>
                <c:ptCount val="2"/>
                <c:pt idx="0">
                  <c:v>02/2022</c:v>
                </c:pt>
                <c:pt idx="1">
                  <c:v>09/2022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Data!$B$3:$B$10</c15:sqref>
                  </c15:fullRef>
                </c:ext>
              </c:extLst>
              <c:f>(Data!$B$3,Data!$B$10)</c:f>
              <c:numCache>
                <c:formatCode>General</c:formatCode>
                <c:ptCount val="2"/>
                <c:pt idx="0">
                  <c:v>1.2598466194042917</c:v>
                </c:pt>
                <c:pt idx="1">
                  <c:v>0.7845478634176713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8194-4942-BB3C-BD675BB32ED7}"/>
            </c:ext>
          </c:extLst>
        </c:ser>
        <c:ser>
          <c:idx val="1"/>
          <c:order val="1"/>
          <c:tx>
            <c:strRef>
              <c:f>Data!$C$2</c:f>
              <c:strCache>
                <c:ptCount val="1"/>
                <c:pt idx="0">
                  <c:v>Biggest Outlier Backward</c:v>
                </c:pt>
              </c:strCache>
            </c:strRef>
          </c:tx>
          <c:spPr>
            <a:solidFill>
              <a:srgbClr val="AEC7E8"/>
            </a:solidFill>
          </c:spPr>
          <c:invertIfNegative val="1"/>
          <c:cat>
            <c:strRef>
              <c:extLst>
                <c:ext xmlns:c15="http://schemas.microsoft.com/office/drawing/2012/chart" uri="{02D57815-91ED-43cb-92C2-25804820EDAC}">
                  <c15:fullRef>
                    <c15:sqref>Data!$A$3:$A$10</c15:sqref>
                  </c15:fullRef>
                </c:ext>
              </c:extLst>
              <c:f>(Data!$A$3,Data!$A$10)</c:f>
              <c:strCache>
                <c:ptCount val="2"/>
                <c:pt idx="0">
                  <c:v>02/2022</c:v>
                </c:pt>
                <c:pt idx="1">
                  <c:v>09/2022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Data!$C$3:$C$10</c15:sqref>
                  </c15:fullRef>
                </c:ext>
              </c:extLst>
              <c:f>(Data!$C$3,Data!$C$10)</c:f>
              <c:numCache>
                <c:formatCode>General</c:formatCode>
                <c:ptCount val="2"/>
                <c:pt idx="0">
                  <c:v>1.2254286953838271</c:v>
                </c:pt>
                <c:pt idx="1">
                  <c:v>0.56123450001927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8194-4942-BB3C-BD675BB32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"/>
        <c:axId val="2062484847"/>
      </c:barChart>
      <c:valAx>
        <c:axId val="2062484847"/>
        <c:scaling>
          <c:orientation val="minMax"/>
        </c:scaling>
        <c:delete val="0"/>
        <c:axPos val="l"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0"/>
        <c:axPos val="b"/>
        <c:numFmt formatCode="General" sourceLinked="0"/>
        <c:majorTickMark val="cross"/>
        <c:minorTickMark val="cross"/>
        <c:tickLblPos val="nextTo"/>
        <c:crossAx val="2062484847"/>
        <c:crosses val="autoZero"/>
        <c:auto val="1"/>
        <c:lblAlgn val="ctr"/>
        <c:lblOffset val="100"/>
        <c:noMultiLvlLbl val="1"/>
      </c:catAx>
    </c:plotArea>
    <c:legend>
      <c:legendPos val="r"/>
      <c:overlay val="0"/>
    </c:legend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Before</a:t>
            </a:r>
            <a:r>
              <a:rPr lang="en-US" baseline="0" dirty="0"/>
              <a:t> Maintenance</a:t>
            </a:r>
            <a:endParaRPr lang="en-US" dirty="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Average of torqueactual</c:v>
                </c:pt>
              </c:strCache>
            </c:strRef>
          </c:tx>
          <c:spPr>
            <a:ln w="3175">
              <a:solidFill>
                <a:srgbClr val="1F77B4"/>
              </a:solidFill>
              <a:round/>
            </a:ln>
          </c:spPr>
          <c:marker>
            <c:symbol val="none"/>
          </c:marker>
          <c:cat>
            <c:numRef>
              <c:f>Data!$C$3:$C$10002</c:f>
              <c:numCache>
                <c:formatCode>General</c:formatCode>
                <c:ptCount val="100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0</c:v>
                </c:pt>
                <c:pt idx="701">
                  <c:v>0</c:v>
                </c:pt>
                <c:pt idx="702">
                  <c:v>0</c:v>
                </c:pt>
                <c:pt idx="703">
                  <c:v>0</c:v>
                </c:pt>
                <c:pt idx="704">
                  <c:v>0</c:v>
                </c:pt>
                <c:pt idx="705">
                  <c:v>0</c:v>
                </c:pt>
                <c:pt idx="706">
                  <c:v>0</c:v>
                </c:pt>
                <c:pt idx="707">
                  <c:v>0</c:v>
                </c:pt>
                <c:pt idx="708">
                  <c:v>0</c:v>
                </c:pt>
                <c:pt idx="709">
                  <c:v>0</c:v>
                </c:pt>
                <c:pt idx="710">
                  <c:v>0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  <c:pt idx="805">
                  <c:v>0</c:v>
                </c:pt>
                <c:pt idx="806">
                  <c:v>0</c:v>
                </c:pt>
                <c:pt idx="807">
                  <c:v>0</c:v>
                </c:pt>
                <c:pt idx="808">
                  <c:v>0</c:v>
                </c:pt>
                <c:pt idx="809">
                  <c:v>0</c:v>
                </c:pt>
                <c:pt idx="810">
                  <c:v>0</c:v>
                </c:pt>
                <c:pt idx="811">
                  <c:v>0</c:v>
                </c:pt>
                <c:pt idx="812">
                  <c:v>0</c:v>
                </c:pt>
                <c:pt idx="813">
                  <c:v>0</c:v>
                </c:pt>
                <c:pt idx="814">
                  <c:v>0</c:v>
                </c:pt>
                <c:pt idx="815">
                  <c:v>0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0</c:v>
                </c:pt>
                <c:pt idx="901">
                  <c:v>0</c:v>
                </c:pt>
                <c:pt idx="902">
                  <c:v>0</c:v>
                </c:pt>
                <c:pt idx="903">
                  <c:v>0</c:v>
                </c:pt>
                <c:pt idx="904">
                  <c:v>0</c:v>
                </c:pt>
                <c:pt idx="905">
                  <c:v>0</c:v>
                </c:pt>
                <c:pt idx="906">
                  <c:v>0</c:v>
                </c:pt>
                <c:pt idx="907">
                  <c:v>0</c:v>
                </c:pt>
                <c:pt idx="908">
                  <c:v>0</c:v>
                </c:pt>
                <c:pt idx="909">
                  <c:v>0</c:v>
                </c:pt>
                <c:pt idx="910">
                  <c:v>0</c:v>
                </c:pt>
                <c:pt idx="911">
                  <c:v>0</c:v>
                </c:pt>
                <c:pt idx="912">
                  <c:v>0</c:v>
                </c:pt>
                <c:pt idx="913">
                  <c:v>0</c:v>
                </c:pt>
                <c:pt idx="914">
                  <c:v>0</c:v>
                </c:pt>
                <c:pt idx="915">
                  <c:v>0</c:v>
                </c:pt>
                <c:pt idx="916">
                  <c:v>0</c:v>
                </c:pt>
                <c:pt idx="917">
                  <c:v>0</c:v>
                </c:pt>
                <c:pt idx="918">
                  <c:v>0</c:v>
                </c:pt>
                <c:pt idx="919">
                  <c:v>0</c:v>
                </c:pt>
                <c:pt idx="920">
                  <c:v>0</c:v>
                </c:pt>
                <c:pt idx="921">
                  <c:v>0</c:v>
                </c:pt>
                <c:pt idx="922">
                  <c:v>0</c:v>
                </c:pt>
                <c:pt idx="923">
                  <c:v>0</c:v>
                </c:pt>
                <c:pt idx="924">
                  <c:v>0</c:v>
                </c:pt>
                <c:pt idx="925">
                  <c:v>0</c:v>
                </c:pt>
                <c:pt idx="926">
                  <c:v>0</c:v>
                </c:pt>
                <c:pt idx="927">
                  <c:v>0</c:v>
                </c:pt>
                <c:pt idx="928">
                  <c:v>0</c:v>
                </c:pt>
                <c:pt idx="929">
                  <c:v>0</c:v>
                </c:pt>
                <c:pt idx="930">
                  <c:v>0</c:v>
                </c:pt>
                <c:pt idx="931">
                  <c:v>0</c:v>
                </c:pt>
                <c:pt idx="932">
                  <c:v>0</c:v>
                </c:pt>
                <c:pt idx="933">
                  <c:v>0</c:v>
                </c:pt>
                <c:pt idx="934">
                  <c:v>0</c:v>
                </c:pt>
                <c:pt idx="935">
                  <c:v>0</c:v>
                </c:pt>
                <c:pt idx="936">
                  <c:v>0</c:v>
                </c:pt>
                <c:pt idx="937">
                  <c:v>0</c:v>
                </c:pt>
                <c:pt idx="938">
                  <c:v>0</c:v>
                </c:pt>
                <c:pt idx="939">
                  <c:v>0</c:v>
                </c:pt>
                <c:pt idx="940">
                  <c:v>0</c:v>
                </c:pt>
                <c:pt idx="941">
                  <c:v>0</c:v>
                </c:pt>
                <c:pt idx="942">
                  <c:v>0</c:v>
                </c:pt>
                <c:pt idx="943">
                  <c:v>0</c:v>
                </c:pt>
                <c:pt idx="944">
                  <c:v>0</c:v>
                </c:pt>
                <c:pt idx="945">
                  <c:v>0</c:v>
                </c:pt>
                <c:pt idx="946">
                  <c:v>0</c:v>
                </c:pt>
                <c:pt idx="947">
                  <c:v>0</c:v>
                </c:pt>
                <c:pt idx="948">
                  <c:v>0</c:v>
                </c:pt>
                <c:pt idx="949">
                  <c:v>0</c:v>
                </c:pt>
                <c:pt idx="950">
                  <c:v>0</c:v>
                </c:pt>
                <c:pt idx="951">
                  <c:v>0</c:v>
                </c:pt>
                <c:pt idx="952">
                  <c:v>0</c:v>
                </c:pt>
                <c:pt idx="953">
                  <c:v>0</c:v>
                </c:pt>
                <c:pt idx="954">
                  <c:v>0</c:v>
                </c:pt>
                <c:pt idx="955">
                  <c:v>0</c:v>
                </c:pt>
                <c:pt idx="956">
                  <c:v>0</c:v>
                </c:pt>
                <c:pt idx="957">
                  <c:v>0</c:v>
                </c:pt>
                <c:pt idx="958">
                  <c:v>0</c:v>
                </c:pt>
                <c:pt idx="959">
                  <c:v>0</c:v>
                </c:pt>
                <c:pt idx="960">
                  <c:v>0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0</c:v>
                </c:pt>
                <c:pt idx="1001">
                  <c:v>0</c:v>
                </c:pt>
                <c:pt idx="1002">
                  <c:v>0</c:v>
                </c:pt>
                <c:pt idx="1003">
                  <c:v>0</c:v>
                </c:pt>
                <c:pt idx="1004">
                  <c:v>0</c:v>
                </c:pt>
                <c:pt idx="1005">
                  <c:v>0</c:v>
                </c:pt>
                <c:pt idx="1006">
                  <c:v>0</c:v>
                </c:pt>
                <c:pt idx="1007">
                  <c:v>0</c:v>
                </c:pt>
                <c:pt idx="1008">
                  <c:v>0</c:v>
                </c:pt>
                <c:pt idx="1009">
                  <c:v>0</c:v>
                </c:pt>
                <c:pt idx="1010">
                  <c:v>0</c:v>
                </c:pt>
                <c:pt idx="1011">
                  <c:v>0</c:v>
                </c:pt>
                <c:pt idx="1012">
                  <c:v>0</c:v>
                </c:pt>
                <c:pt idx="1013">
                  <c:v>0</c:v>
                </c:pt>
                <c:pt idx="1014">
                  <c:v>0</c:v>
                </c:pt>
                <c:pt idx="1015">
                  <c:v>0</c:v>
                </c:pt>
                <c:pt idx="1016">
                  <c:v>0</c:v>
                </c:pt>
                <c:pt idx="1017">
                  <c:v>0</c:v>
                </c:pt>
                <c:pt idx="1018">
                  <c:v>0</c:v>
                </c:pt>
                <c:pt idx="1019">
                  <c:v>0</c:v>
                </c:pt>
                <c:pt idx="1020">
                  <c:v>0</c:v>
                </c:pt>
                <c:pt idx="1021">
                  <c:v>0</c:v>
                </c:pt>
                <c:pt idx="1022">
                  <c:v>0</c:v>
                </c:pt>
                <c:pt idx="1023">
                  <c:v>0</c:v>
                </c:pt>
                <c:pt idx="1024">
                  <c:v>0</c:v>
                </c:pt>
                <c:pt idx="1025">
                  <c:v>0</c:v>
                </c:pt>
                <c:pt idx="1026">
                  <c:v>0</c:v>
                </c:pt>
                <c:pt idx="1027">
                  <c:v>0</c:v>
                </c:pt>
                <c:pt idx="1028">
                  <c:v>0</c:v>
                </c:pt>
                <c:pt idx="1029">
                  <c:v>0</c:v>
                </c:pt>
                <c:pt idx="1030">
                  <c:v>0</c:v>
                </c:pt>
                <c:pt idx="1031">
                  <c:v>0</c:v>
                </c:pt>
                <c:pt idx="1032">
                  <c:v>0</c:v>
                </c:pt>
                <c:pt idx="1033">
                  <c:v>0</c:v>
                </c:pt>
                <c:pt idx="1034">
                  <c:v>0</c:v>
                </c:pt>
                <c:pt idx="1035">
                  <c:v>0</c:v>
                </c:pt>
                <c:pt idx="1036">
                  <c:v>0</c:v>
                </c:pt>
                <c:pt idx="1037">
                  <c:v>0</c:v>
                </c:pt>
                <c:pt idx="1038">
                  <c:v>0</c:v>
                </c:pt>
                <c:pt idx="1039">
                  <c:v>0</c:v>
                </c:pt>
                <c:pt idx="1040">
                  <c:v>0</c:v>
                </c:pt>
                <c:pt idx="1041">
                  <c:v>0</c:v>
                </c:pt>
                <c:pt idx="1042">
                  <c:v>0</c:v>
                </c:pt>
                <c:pt idx="1043">
                  <c:v>0</c:v>
                </c:pt>
                <c:pt idx="1044">
                  <c:v>0</c:v>
                </c:pt>
                <c:pt idx="1045">
                  <c:v>0</c:v>
                </c:pt>
                <c:pt idx="1046">
                  <c:v>0</c:v>
                </c:pt>
                <c:pt idx="1047">
                  <c:v>0</c:v>
                </c:pt>
                <c:pt idx="1048">
                  <c:v>0</c:v>
                </c:pt>
                <c:pt idx="1049">
                  <c:v>0</c:v>
                </c:pt>
                <c:pt idx="1050">
                  <c:v>0</c:v>
                </c:pt>
                <c:pt idx="1051">
                  <c:v>0</c:v>
                </c:pt>
                <c:pt idx="1052">
                  <c:v>0</c:v>
                </c:pt>
                <c:pt idx="1053">
                  <c:v>0</c:v>
                </c:pt>
                <c:pt idx="1054">
                  <c:v>0</c:v>
                </c:pt>
                <c:pt idx="1055">
                  <c:v>0</c:v>
                </c:pt>
                <c:pt idx="1056">
                  <c:v>0</c:v>
                </c:pt>
                <c:pt idx="1057">
                  <c:v>0</c:v>
                </c:pt>
                <c:pt idx="1058">
                  <c:v>0</c:v>
                </c:pt>
                <c:pt idx="1059">
                  <c:v>0</c:v>
                </c:pt>
                <c:pt idx="1060">
                  <c:v>0</c:v>
                </c:pt>
                <c:pt idx="1061">
                  <c:v>0</c:v>
                </c:pt>
                <c:pt idx="1062">
                  <c:v>0</c:v>
                </c:pt>
                <c:pt idx="1063">
                  <c:v>0</c:v>
                </c:pt>
                <c:pt idx="1064">
                  <c:v>0</c:v>
                </c:pt>
                <c:pt idx="1065">
                  <c:v>0</c:v>
                </c:pt>
                <c:pt idx="1066">
                  <c:v>0</c:v>
                </c:pt>
                <c:pt idx="1067">
                  <c:v>0</c:v>
                </c:pt>
                <c:pt idx="1068">
                  <c:v>0</c:v>
                </c:pt>
                <c:pt idx="1069">
                  <c:v>0</c:v>
                </c:pt>
                <c:pt idx="1070">
                  <c:v>0</c:v>
                </c:pt>
                <c:pt idx="1071">
                  <c:v>0</c:v>
                </c:pt>
                <c:pt idx="1072">
                  <c:v>0</c:v>
                </c:pt>
                <c:pt idx="1073">
                  <c:v>0</c:v>
                </c:pt>
                <c:pt idx="1074">
                  <c:v>0</c:v>
                </c:pt>
                <c:pt idx="1075">
                  <c:v>0</c:v>
                </c:pt>
                <c:pt idx="1076">
                  <c:v>0</c:v>
                </c:pt>
                <c:pt idx="1077">
                  <c:v>0</c:v>
                </c:pt>
                <c:pt idx="1078">
                  <c:v>0</c:v>
                </c:pt>
                <c:pt idx="1079">
                  <c:v>0</c:v>
                </c:pt>
                <c:pt idx="1080">
                  <c:v>0</c:v>
                </c:pt>
                <c:pt idx="1081">
                  <c:v>0</c:v>
                </c:pt>
                <c:pt idx="1082">
                  <c:v>0</c:v>
                </c:pt>
                <c:pt idx="1083">
                  <c:v>0</c:v>
                </c:pt>
                <c:pt idx="1084">
                  <c:v>0</c:v>
                </c:pt>
                <c:pt idx="1085">
                  <c:v>0</c:v>
                </c:pt>
                <c:pt idx="1086">
                  <c:v>0</c:v>
                </c:pt>
                <c:pt idx="1087">
                  <c:v>0</c:v>
                </c:pt>
                <c:pt idx="1088">
                  <c:v>0</c:v>
                </c:pt>
                <c:pt idx="1089">
                  <c:v>0</c:v>
                </c:pt>
                <c:pt idx="1090">
                  <c:v>0</c:v>
                </c:pt>
                <c:pt idx="1091">
                  <c:v>0</c:v>
                </c:pt>
                <c:pt idx="1092">
                  <c:v>0</c:v>
                </c:pt>
                <c:pt idx="1093">
                  <c:v>0</c:v>
                </c:pt>
                <c:pt idx="1094">
                  <c:v>0</c:v>
                </c:pt>
                <c:pt idx="1095">
                  <c:v>0</c:v>
                </c:pt>
                <c:pt idx="1096">
                  <c:v>0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0</c:v>
                </c:pt>
                <c:pt idx="1101">
                  <c:v>0</c:v>
                </c:pt>
                <c:pt idx="1102">
                  <c:v>0</c:v>
                </c:pt>
                <c:pt idx="1103">
                  <c:v>0</c:v>
                </c:pt>
                <c:pt idx="1104">
                  <c:v>0</c:v>
                </c:pt>
                <c:pt idx="1105">
                  <c:v>0</c:v>
                </c:pt>
                <c:pt idx="1106">
                  <c:v>0</c:v>
                </c:pt>
                <c:pt idx="1107">
                  <c:v>0</c:v>
                </c:pt>
                <c:pt idx="1108">
                  <c:v>0</c:v>
                </c:pt>
                <c:pt idx="1109">
                  <c:v>0</c:v>
                </c:pt>
                <c:pt idx="1110">
                  <c:v>0</c:v>
                </c:pt>
                <c:pt idx="1111">
                  <c:v>0</c:v>
                </c:pt>
                <c:pt idx="1112">
                  <c:v>0</c:v>
                </c:pt>
                <c:pt idx="1113">
                  <c:v>0</c:v>
                </c:pt>
                <c:pt idx="1114">
                  <c:v>0</c:v>
                </c:pt>
                <c:pt idx="1115">
                  <c:v>0</c:v>
                </c:pt>
                <c:pt idx="1116">
                  <c:v>0</c:v>
                </c:pt>
                <c:pt idx="1117">
                  <c:v>0</c:v>
                </c:pt>
                <c:pt idx="1118">
                  <c:v>0</c:v>
                </c:pt>
                <c:pt idx="1119">
                  <c:v>0</c:v>
                </c:pt>
                <c:pt idx="1120">
                  <c:v>0</c:v>
                </c:pt>
                <c:pt idx="1121">
                  <c:v>0</c:v>
                </c:pt>
                <c:pt idx="1122">
                  <c:v>0</c:v>
                </c:pt>
                <c:pt idx="1123">
                  <c:v>0</c:v>
                </c:pt>
                <c:pt idx="1124">
                  <c:v>0</c:v>
                </c:pt>
                <c:pt idx="1125">
                  <c:v>0</c:v>
                </c:pt>
                <c:pt idx="1126">
                  <c:v>0</c:v>
                </c:pt>
                <c:pt idx="1127">
                  <c:v>0</c:v>
                </c:pt>
                <c:pt idx="1128">
                  <c:v>0</c:v>
                </c:pt>
                <c:pt idx="1129">
                  <c:v>0</c:v>
                </c:pt>
                <c:pt idx="1130">
                  <c:v>0</c:v>
                </c:pt>
                <c:pt idx="1131">
                  <c:v>0</c:v>
                </c:pt>
                <c:pt idx="1132">
                  <c:v>0</c:v>
                </c:pt>
                <c:pt idx="1133">
                  <c:v>0</c:v>
                </c:pt>
                <c:pt idx="1134">
                  <c:v>0</c:v>
                </c:pt>
                <c:pt idx="1135">
                  <c:v>0</c:v>
                </c:pt>
                <c:pt idx="1136">
                  <c:v>0</c:v>
                </c:pt>
                <c:pt idx="1137">
                  <c:v>0</c:v>
                </c:pt>
                <c:pt idx="1138">
                  <c:v>0</c:v>
                </c:pt>
                <c:pt idx="1139">
                  <c:v>0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0</c:v>
                </c:pt>
                <c:pt idx="5414">
                  <c:v>0</c:v>
                </c:pt>
                <c:pt idx="5415">
                  <c:v>0</c:v>
                </c:pt>
                <c:pt idx="5416">
                  <c:v>0</c:v>
                </c:pt>
                <c:pt idx="5417">
                  <c:v>0</c:v>
                </c:pt>
                <c:pt idx="5418">
                  <c:v>0</c:v>
                </c:pt>
                <c:pt idx="5419">
                  <c:v>0</c:v>
                </c:pt>
                <c:pt idx="5420">
                  <c:v>0</c:v>
                </c:pt>
                <c:pt idx="5421">
                  <c:v>0</c:v>
                </c:pt>
                <c:pt idx="5422">
                  <c:v>0</c:v>
                </c:pt>
                <c:pt idx="5423">
                  <c:v>0</c:v>
                </c:pt>
                <c:pt idx="5424">
                  <c:v>0</c:v>
                </c:pt>
                <c:pt idx="5425">
                  <c:v>0</c:v>
                </c:pt>
                <c:pt idx="5426">
                  <c:v>0</c:v>
                </c:pt>
                <c:pt idx="5427">
                  <c:v>0</c:v>
                </c:pt>
                <c:pt idx="5428">
                  <c:v>0</c:v>
                </c:pt>
                <c:pt idx="5429">
                  <c:v>0</c:v>
                </c:pt>
                <c:pt idx="5430">
                  <c:v>0</c:v>
                </c:pt>
                <c:pt idx="5431">
                  <c:v>0</c:v>
                </c:pt>
                <c:pt idx="5432">
                  <c:v>0</c:v>
                </c:pt>
                <c:pt idx="5433">
                  <c:v>0</c:v>
                </c:pt>
                <c:pt idx="5434">
                  <c:v>0</c:v>
                </c:pt>
                <c:pt idx="5435">
                  <c:v>0</c:v>
                </c:pt>
                <c:pt idx="5436">
                  <c:v>0</c:v>
                </c:pt>
                <c:pt idx="5437">
                  <c:v>0</c:v>
                </c:pt>
                <c:pt idx="5438">
                  <c:v>0</c:v>
                </c:pt>
                <c:pt idx="5439">
                  <c:v>0</c:v>
                </c:pt>
                <c:pt idx="5440">
                  <c:v>0</c:v>
                </c:pt>
                <c:pt idx="5441">
                  <c:v>0</c:v>
                </c:pt>
                <c:pt idx="5442">
                  <c:v>0</c:v>
                </c:pt>
                <c:pt idx="5443">
                  <c:v>0</c:v>
                </c:pt>
                <c:pt idx="5444">
                  <c:v>0</c:v>
                </c:pt>
                <c:pt idx="5445">
                  <c:v>0</c:v>
                </c:pt>
                <c:pt idx="5446">
                  <c:v>0</c:v>
                </c:pt>
                <c:pt idx="5447">
                  <c:v>0</c:v>
                </c:pt>
                <c:pt idx="5448">
                  <c:v>0</c:v>
                </c:pt>
                <c:pt idx="5449">
                  <c:v>0</c:v>
                </c:pt>
                <c:pt idx="5450">
                  <c:v>0</c:v>
                </c:pt>
                <c:pt idx="5451">
                  <c:v>0</c:v>
                </c:pt>
                <c:pt idx="5452">
                  <c:v>0</c:v>
                </c:pt>
                <c:pt idx="5453">
                  <c:v>0</c:v>
                </c:pt>
                <c:pt idx="5454">
                  <c:v>0</c:v>
                </c:pt>
                <c:pt idx="5455">
                  <c:v>0</c:v>
                </c:pt>
                <c:pt idx="5456">
                  <c:v>0</c:v>
                </c:pt>
                <c:pt idx="5457">
                  <c:v>0</c:v>
                </c:pt>
                <c:pt idx="5458">
                  <c:v>0</c:v>
                </c:pt>
                <c:pt idx="5459">
                  <c:v>0</c:v>
                </c:pt>
                <c:pt idx="5460">
                  <c:v>0</c:v>
                </c:pt>
                <c:pt idx="5461">
                  <c:v>0</c:v>
                </c:pt>
                <c:pt idx="5462">
                  <c:v>0</c:v>
                </c:pt>
                <c:pt idx="5463">
                  <c:v>0</c:v>
                </c:pt>
                <c:pt idx="5464">
                  <c:v>0</c:v>
                </c:pt>
                <c:pt idx="5465">
                  <c:v>0</c:v>
                </c:pt>
                <c:pt idx="5466">
                  <c:v>0</c:v>
                </c:pt>
                <c:pt idx="5467">
                  <c:v>0</c:v>
                </c:pt>
                <c:pt idx="5468">
                  <c:v>0</c:v>
                </c:pt>
                <c:pt idx="5469">
                  <c:v>0</c:v>
                </c:pt>
                <c:pt idx="5470">
                  <c:v>0</c:v>
                </c:pt>
                <c:pt idx="5471">
                  <c:v>0</c:v>
                </c:pt>
                <c:pt idx="5472">
                  <c:v>0</c:v>
                </c:pt>
                <c:pt idx="5473">
                  <c:v>0</c:v>
                </c:pt>
                <c:pt idx="5474">
                  <c:v>0</c:v>
                </c:pt>
                <c:pt idx="5475">
                  <c:v>0</c:v>
                </c:pt>
                <c:pt idx="5476">
                  <c:v>0</c:v>
                </c:pt>
                <c:pt idx="5477">
                  <c:v>0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  <c:pt idx="6013">
                  <c:v>0</c:v>
                </c:pt>
                <c:pt idx="6014">
                  <c:v>0</c:v>
                </c:pt>
                <c:pt idx="6015">
                  <c:v>0</c:v>
                </c:pt>
                <c:pt idx="6016">
                  <c:v>0</c:v>
                </c:pt>
                <c:pt idx="6017">
                  <c:v>0</c:v>
                </c:pt>
                <c:pt idx="6018">
                  <c:v>0</c:v>
                </c:pt>
                <c:pt idx="6019">
                  <c:v>0</c:v>
                </c:pt>
                <c:pt idx="6020">
                  <c:v>0</c:v>
                </c:pt>
                <c:pt idx="6021">
                  <c:v>0</c:v>
                </c:pt>
                <c:pt idx="6022">
                  <c:v>0</c:v>
                </c:pt>
                <c:pt idx="6023">
                  <c:v>0</c:v>
                </c:pt>
                <c:pt idx="6024">
                  <c:v>0</c:v>
                </c:pt>
                <c:pt idx="6025">
                  <c:v>0</c:v>
                </c:pt>
                <c:pt idx="6026">
                  <c:v>0</c:v>
                </c:pt>
                <c:pt idx="6027">
                  <c:v>0</c:v>
                </c:pt>
                <c:pt idx="6028">
                  <c:v>0</c:v>
                </c:pt>
                <c:pt idx="6029">
                  <c:v>0</c:v>
                </c:pt>
                <c:pt idx="6030">
                  <c:v>0</c:v>
                </c:pt>
                <c:pt idx="6031">
                  <c:v>0</c:v>
                </c:pt>
                <c:pt idx="6032">
                  <c:v>0</c:v>
                </c:pt>
                <c:pt idx="6033">
                  <c:v>0</c:v>
                </c:pt>
                <c:pt idx="6034">
                  <c:v>0</c:v>
                </c:pt>
                <c:pt idx="6035">
                  <c:v>0</c:v>
                </c:pt>
                <c:pt idx="6036">
                  <c:v>0</c:v>
                </c:pt>
                <c:pt idx="6037">
                  <c:v>0</c:v>
                </c:pt>
                <c:pt idx="6038">
                  <c:v>0</c:v>
                </c:pt>
                <c:pt idx="6039">
                  <c:v>0</c:v>
                </c:pt>
                <c:pt idx="6040">
                  <c:v>0</c:v>
                </c:pt>
                <c:pt idx="6041">
                  <c:v>0</c:v>
                </c:pt>
                <c:pt idx="6042">
                  <c:v>0</c:v>
                </c:pt>
                <c:pt idx="6043">
                  <c:v>0</c:v>
                </c:pt>
                <c:pt idx="6044">
                  <c:v>0</c:v>
                </c:pt>
                <c:pt idx="6045">
                  <c:v>0</c:v>
                </c:pt>
                <c:pt idx="6046">
                  <c:v>0</c:v>
                </c:pt>
                <c:pt idx="6047">
                  <c:v>0</c:v>
                </c:pt>
                <c:pt idx="6048">
                  <c:v>0</c:v>
                </c:pt>
                <c:pt idx="6049">
                  <c:v>0</c:v>
                </c:pt>
                <c:pt idx="6050">
                  <c:v>0</c:v>
                </c:pt>
                <c:pt idx="6051">
                  <c:v>0</c:v>
                </c:pt>
                <c:pt idx="6052">
                  <c:v>0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  <c:pt idx="6108">
                  <c:v>0</c:v>
                </c:pt>
                <c:pt idx="6109">
                  <c:v>0</c:v>
                </c:pt>
                <c:pt idx="6110">
                  <c:v>0</c:v>
                </c:pt>
                <c:pt idx="6111">
                  <c:v>0</c:v>
                </c:pt>
                <c:pt idx="6112">
                  <c:v>0</c:v>
                </c:pt>
                <c:pt idx="6113">
                  <c:v>0</c:v>
                </c:pt>
                <c:pt idx="6114">
                  <c:v>0</c:v>
                </c:pt>
                <c:pt idx="6115">
                  <c:v>0</c:v>
                </c:pt>
                <c:pt idx="6116">
                  <c:v>0</c:v>
                </c:pt>
                <c:pt idx="6117">
                  <c:v>0</c:v>
                </c:pt>
                <c:pt idx="6118">
                  <c:v>0</c:v>
                </c:pt>
                <c:pt idx="6119">
                  <c:v>0</c:v>
                </c:pt>
                <c:pt idx="6120">
                  <c:v>0</c:v>
                </c:pt>
                <c:pt idx="6121">
                  <c:v>0</c:v>
                </c:pt>
                <c:pt idx="6122">
                  <c:v>0</c:v>
                </c:pt>
                <c:pt idx="6123">
                  <c:v>0</c:v>
                </c:pt>
                <c:pt idx="6124">
                  <c:v>0</c:v>
                </c:pt>
                <c:pt idx="6125">
                  <c:v>0</c:v>
                </c:pt>
                <c:pt idx="6126">
                  <c:v>0</c:v>
                </c:pt>
                <c:pt idx="6127">
                  <c:v>0</c:v>
                </c:pt>
                <c:pt idx="6128">
                  <c:v>0</c:v>
                </c:pt>
                <c:pt idx="6129">
                  <c:v>0</c:v>
                </c:pt>
                <c:pt idx="6130">
                  <c:v>0</c:v>
                </c:pt>
                <c:pt idx="6131">
                  <c:v>0</c:v>
                </c:pt>
                <c:pt idx="6132">
                  <c:v>0</c:v>
                </c:pt>
                <c:pt idx="6133">
                  <c:v>0</c:v>
                </c:pt>
                <c:pt idx="6134">
                  <c:v>0</c:v>
                </c:pt>
                <c:pt idx="6135">
                  <c:v>0</c:v>
                </c:pt>
                <c:pt idx="6136">
                  <c:v>0</c:v>
                </c:pt>
                <c:pt idx="6137">
                  <c:v>0</c:v>
                </c:pt>
                <c:pt idx="6138">
                  <c:v>0</c:v>
                </c:pt>
                <c:pt idx="6139">
                  <c:v>0</c:v>
                </c:pt>
                <c:pt idx="6140">
                  <c:v>0</c:v>
                </c:pt>
                <c:pt idx="6141">
                  <c:v>0</c:v>
                </c:pt>
                <c:pt idx="6142">
                  <c:v>0</c:v>
                </c:pt>
                <c:pt idx="6143">
                  <c:v>0</c:v>
                </c:pt>
                <c:pt idx="6144">
                  <c:v>0</c:v>
                </c:pt>
                <c:pt idx="6145">
                  <c:v>0</c:v>
                </c:pt>
                <c:pt idx="6146">
                  <c:v>0</c:v>
                </c:pt>
                <c:pt idx="6147">
                  <c:v>0</c:v>
                </c:pt>
                <c:pt idx="6148">
                  <c:v>0</c:v>
                </c:pt>
                <c:pt idx="6149">
                  <c:v>0</c:v>
                </c:pt>
                <c:pt idx="6150">
                  <c:v>0</c:v>
                </c:pt>
                <c:pt idx="6151">
                  <c:v>0</c:v>
                </c:pt>
                <c:pt idx="6152">
                  <c:v>0</c:v>
                </c:pt>
                <c:pt idx="6153">
                  <c:v>0</c:v>
                </c:pt>
                <c:pt idx="6154">
                  <c:v>0</c:v>
                </c:pt>
                <c:pt idx="6155">
                  <c:v>0</c:v>
                </c:pt>
                <c:pt idx="6156">
                  <c:v>0</c:v>
                </c:pt>
                <c:pt idx="6157">
                  <c:v>0</c:v>
                </c:pt>
                <c:pt idx="6158">
                  <c:v>0</c:v>
                </c:pt>
                <c:pt idx="6159">
                  <c:v>0</c:v>
                </c:pt>
                <c:pt idx="6160">
                  <c:v>0</c:v>
                </c:pt>
                <c:pt idx="6161">
                  <c:v>0</c:v>
                </c:pt>
                <c:pt idx="6162">
                  <c:v>0</c:v>
                </c:pt>
                <c:pt idx="6163">
                  <c:v>0</c:v>
                </c:pt>
                <c:pt idx="6164">
                  <c:v>0</c:v>
                </c:pt>
                <c:pt idx="6165">
                  <c:v>0</c:v>
                </c:pt>
                <c:pt idx="6166">
                  <c:v>0</c:v>
                </c:pt>
                <c:pt idx="6167">
                  <c:v>0</c:v>
                </c:pt>
                <c:pt idx="6168">
                  <c:v>0</c:v>
                </c:pt>
                <c:pt idx="6169">
                  <c:v>0</c:v>
                </c:pt>
                <c:pt idx="6170">
                  <c:v>0</c:v>
                </c:pt>
                <c:pt idx="6171">
                  <c:v>0</c:v>
                </c:pt>
                <c:pt idx="6172">
                  <c:v>0</c:v>
                </c:pt>
                <c:pt idx="6173">
                  <c:v>0</c:v>
                </c:pt>
                <c:pt idx="6174">
                  <c:v>0</c:v>
                </c:pt>
                <c:pt idx="6175">
                  <c:v>0</c:v>
                </c:pt>
                <c:pt idx="6176">
                  <c:v>0</c:v>
                </c:pt>
                <c:pt idx="6177">
                  <c:v>0</c:v>
                </c:pt>
                <c:pt idx="6178">
                  <c:v>0</c:v>
                </c:pt>
                <c:pt idx="6179">
                  <c:v>0</c:v>
                </c:pt>
                <c:pt idx="6180">
                  <c:v>0</c:v>
                </c:pt>
                <c:pt idx="6181">
                  <c:v>0</c:v>
                </c:pt>
                <c:pt idx="6182">
                  <c:v>0</c:v>
                </c:pt>
                <c:pt idx="6183">
                  <c:v>0</c:v>
                </c:pt>
                <c:pt idx="6184">
                  <c:v>0</c:v>
                </c:pt>
                <c:pt idx="6185">
                  <c:v>0</c:v>
                </c:pt>
                <c:pt idx="6186">
                  <c:v>0</c:v>
                </c:pt>
                <c:pt idx="6187">
                  <c:v>0</c:v>
                </c:pt>
                <c:pt idx="6188">
                  <c:v>0</c:v>
                </c:pt>
                <c:pt idx="6189">
                  <c:v>0</c:v>
                </c:pt>
                <c:pt idx="6190">
                  <c:v>0</c:v>
                </c:pt>
                <c:pt idx="6191">
                  <c:v>0</c:v>
                </c:pt>
                <c:pt idx="6192">
                  <c:v>0</c:v>
                </c:pt>
                <c:pt idx="6193">
                  <c:v>0</c:v>
                </c:pt>
                <c:pt idx="6194">
                  <c:v>0</c:v>
                </c:pt>
                <c:pt idx="6195">
                  <c:v>0</c:v>
                </c:pt>
                <c:pt idx="6196">
                  <c:v>0</c:v>
                </c:pt>
                <c:pt idx="6197">
                  <c:v>0</c:v>
                </c:pt>
                <c:pt idx="6198">
                  <c:v>0</c:v>
                </c:pt>
                <c:pt idx="6199">
                  <c:v>0</c:v>
                </c:pt>
                <c:pt idx="6200">
                  <c:v>0</c:v>
                </c:pt>
                <c:pt idx="6201">
                  <c:v>0</c:v>
                </c:pt>
                <c:pt idx="6202">
                  <c:v>0</c:v>
                </c:pt>
                <c:pt idx="6203">
                  <c:v>0</c:v>
                </c:pt>
                <c:pt idx="6204">
                  <c:v>0</c:v>
                </c:pt>
                <c:pt idx="6205">
                  <c:v>0</c:v>
                </c:pt>
                <c:pt idx="6206">
                  <c:v>0</c:v>
                </c:pt>
                <c:pt idx="6207">
                  <c:v>0</c:v>
                </c:pt>
                <c:pt idx="6208">
                  <c:v>0</c:v>
                </c:pt>
                <c:pt idx="6209">
                  <c:v>0</c:v>
                </c:pt>
                <c:pt idx="6210">
                  <c:v>0</c:v>
                </c:pt>
                <c:pt idx="6211">
                  <c:v>0</c:v>
                </c:pt>
                <c:pt idx="6212">
                  <c:v>0</c:v>
                </c:pt>
                <c:pt idx="6213">
                  <c:v>0</c:v>
                </c:pt>
                <c:pt idx="6214">
                  <c:v>0</c:v>
                </c:pt>
                <c:pt idx="6215">
                  <c:v>0</c:v>
                </c:pt>
                <c:pt idx="6216">
                  <c:v>0</c:v>
                </c:pt>
                <c:pt idx="6217">
                  <c:v>0</c:v>
                </c:pt>
                <c:pt idx="6218">
                  <c:v>0</c:v>
                </c:pt>
                <c:pt idx="6219">
                  <c:v>0</c:v>
                </c:pt>
                <c:pt idx="6220">
                  <c:v>0</c:v>
                </c:pt>
                <c:pt idx="6221">
                  <c:v>0</c:v>
                </c:pt>
                <c:pt idx="6222">
                  <c:v>0</c:v>
                </c:pt>
                <c:pt idx="6223">
                  <c:v>0</c:v>
                </c:pt>
                <c:pt idx="6224">
                  <c:v>0</c:v>
                </c:pt>
                <c:pt idx="6225">
                  <c:v>0</c:v>
                </c:pt>
                <c:pt idx="6226">
                  <c:v>0</c:v>
                </c:pt>
                <c:pt idx="6227">
                  <c:v>0</c:v>
                </c:pt>
                <c:pt idx="6228">
                  <c:v>0</c:v>
                </c:pt>
                <c:pt idx="6229">
                  <c:v>0</c:v>
                </c:pt>
                <c:pt idx="6230">
                  <c:v>0</c:v>
                </c:pt>
                <c:pt idx="6231">
                  <c:v>0</c:v>
                </c:pt>
                <c:pt idx="6232">
                  <c:v>0</c:v>
                </c:pt>
                <c:pt idx="6233">
                  <c:v>0</c:v>
                </c:pt>
                <c:pt idx="6234">
                  <c:v>0</c:v>
                </c:pt>
                <c:pt idx="6235">
                  <c:v>0</c:v>
                </c:pt>
                <c:pt idx="6236">
                  <c:v>0</c:v>
                </c:pt>
                <c:pt idx="6237">
                  <c:v>0</c:v>
                </c:pt>
                <c:pt idx="6238">
                  <c:v>0</c:v>
                </c:pt>
                <c:pt idx="6239">
                  <c:v>0</c:v>
                </c:pt>
                <c:pt idx="6240">
                  <c:v>0</c:v>
                </c:pt>
                <c:pt idx="6241">
                  <c:v>0</c:v>
                </c:pt>
                <c:pt idx="6242">
                  <c:v>0</c:v>
                </c:pt>
                <c:pt idx="6243">
                  <c:v>0</c:v>
                </c:pt>
                <c:pt idx="6244">
                  <c:v>0</c:v>
                </c:pt>
                <c:pt idx="6245">
                  <c:v>0</c:v>
                </c:pt>
                <c:pt idx="6246">
                  <c:v>0</c:v>
                </c:pt>
                <c:pt idx="6247">
                  <c:v>0</c:v>
                </c:pt>
                <c:pt idx="6248">
                  <c:v>0</c:v>
                </c:pt>
                <c:pt idx="6249">
                  <c:v>0</c:v>
                </c:pt>
                <c:pt idx="6250">
                  <c:v>0</c:v>
                </c:pt>
                <c:pt idx="6251">
                  <c:v>0</c:v>
                </c:pt>
                <c:pt idx="6252">
                  <c:v>0</c:v>
                </c:pt>
                <c:pt idx="6253">
                  <c:v>0</c:v>
                </c:pt>
                <c:pt idx="6254">
                  <c:v>0</c:v>
                </c:pt>
                <c:pt idx="6255">
                  <c:v>0</c:v>
                </c:pt>
                <c:pt idx="6256">
                  <c:v>0</c:v>
                </c:pt>
                <c:pt idx="6257">
                  <c:v>0</c:v>
                </c:pt>
                <c:pt idx="6258">
                  <c:v>0</c:v>
                </c:pt>
                <c:pt idx="6259">
                  <c:v>0</c:v>
                </c:pt>
                <c:pt idx="6260">
                  <c:v>0</c:v>
                </c:pt>
                <c:pt idx="6261">
                  <c:v>0</c:v>
                </c:pt>
                <c:pt idx="6262">
                  <c:v>0</c:v>
                </c:pt>
                <c:pt idx="6263">
                  <c:v>0</c:v>
                </c:pt>
                <c:pt idx="6264">
                  <c:v>0</c:v>
                </c:pt>
                <c:pt idx="6265">
                  <c:v>0</c:v>
                </c:pt>
                <c:pt idx="6266">
                  <c:v>0</c:v>
                </c:pt>
                <c:pt idx="6267">
                  <c:v>0</c:v>
                </c:pt>
                <c:pt idx="6268">
                  <c:v>0</c:v>
                </c:pt>
                <c:pt idx="6269">
                  <c:v>0</c:v>
                </c:pt>
                <c:pt idx="6270">
                  <c:v>0</c:v>
                </c:pt>
                <c:pt idx="6271">
                  <c:v>0</c:v>
                </c:pt>
                <c:pt idx="6272">
                  <c:v>0</c:v>
                </c:pt>
                <c:pt idx="6273">
                  <c:v>0</c:v>
                </c:pt>
                <c:pt idx="6274">
                  <c:v>0</c:v>
                </c:pt>
                <c:pt idx="6275">
                  <c:v>0</c:v>
                </c:pt>
                <c:pt idx="6276">
                  <c:v>0</c:v>
                </c:pt>
                <c:pt idx="6277">
                  <c:v>0</c:v>
                </c:pt>
                <c:pt idx="6278">
                  <c:v>0</c:v>
                </c:pt>
                <c:pt idx="6279">
                  <c:v>0</c:v>
                </c:pt>
                <c:pt idx="6280">
                  <c:v>0</c:v>
                </c:pt>
                <c:pt idx="6281">
                  <c:v>0</c:v>
                </c:pt>
                <c:pt idx="6282">
                  <c:v>0</c:v>
                </c:pt>
                <c:pt idx="6283">
                  <c:v>0</c:v>
                </c:pt>
                <c:pt idx="6284">
                  <c:v>0</c:v>
                </c:pt>
                <c:pt idx="6285">
                  <c:v>0</c:v>
                </c:pt>
                <c:pt idx="6286">
                  <c:v>0</c:v>
                </c:pt>
                <c:pt idx="6287">
                  <c:v>0</c:v>
                </c:pt>
                <c:pt idx="6288">
                  <c:v>0</c:v>
                </c:pt>
                <c:pt idx="6289">
                  <c:v>0</c:v>
                </c:pt>
                <c:pt idx="6290">
                  <c:v>0</c:v>
                </c:pt>
                <c:pt idx="6291">
                  <c:v>0</c:v>
                </c:pt>
                <c:pt idx="6292">
                  <c:v>0</c:v>
                </c:pt>
                <c:pt idx="6293">
                  <c:v>0</c:v>
                </c:pt>
                <c:pt idx="6294">
                  <c:v>0</c:v>
                </c:pt>
                <c:pt idx="6295">
                  <c:v>0</c:v>
                </c:pt>
                <c:pt idx="6296">
                  <c:v>0</c:v>
                </c:pt>
                <c:pt idx="6297">
                  <c:v>0</c:v>
                </c:pt>
                <c:pt idx="6298">
                  <c:v>0</c:v>
                </c:pt>
                <c:pt idx="6299">
                  <c:v>0</c:v>
                </c:pt>
                <c:pt idx="6300">
                  <c:v>0</c:v>
                </c:pt>
                <c:pt idx="6301">
                  <c:v>0</c:v>
                </c:pt>
                <c:pt idx="6302">
                  <c:v>0</c:v>
                </c:pt>
                <c:pt idx="6303">
                  <c:v>0</c:v>
                </c:pt>
                <c:pt idx="6304">
                  <c:v>0</c:v>
                </c:pt>
                <c:pt idx="6305">
                  <c:v>0</c:v>
                </c:pt>
                <c:pt idx="6306">
                  <c:v>0</c:v>
                </c:pt>
                <c:pt idx="6307">
                  <c:v>0</c:v>
                </c:pt>
                <c:pt idx="6308">
                  <c:v>0</c:v>
                </c:pt>
                <c:pt idx="6309">
                  <c:v>0</c:v>
                </c:pt>
                <c:pt idx="6310">
                  <c:v>0</c:v>
                </c:pt>
                <c:pt idx="6311">
                  <c:v>0</c:v>
                </c:pt>
                <c:pt idx="6312">
                  <c:v>0</c:v>
                </c:pt>
                <c:pt idx="6313">
                  <c:v>0</c:v>
                </c:pt>
                <c:pt idx="6314">
                  <c:v>0</c:v>
                </c:pt>
                <c:pt idx="6315">
                  <c:v>0</c:v>
                </c:pt>
                <c:pt idx="6316">
                  <c:v>0</c:v>
                </c:pt>
                <c:pt idx="6317">
                  <c:v>0</c:v>
                </c:pt>
                <c:pt idx="6318">
                  <c:v>0</c:v>
                </c:pt>
                <c:pt idx="6319">
                  <c:v>0</c:v>
                </c:pt>
                <c:pt idx="6320">
                  <c:v>0</c:v>
                </c:pt>
                <c:pt idx="6321">
                  <c:v>0</c:v>
                </c:pt>
                <c:pt idx="6322">
                  <c:v>0</c:v>
                </c:pt>
                <c:pt idx="6323">
                  <c:v>0</c:v>
                </c:pt>
                <c:pt idx="6324">
                  <c:v>0</c:v>
                </c:pt>
                <c:pt idx="6325">
                  <c:v>0</c:v>
                </c:pt>
                <c:pt idx="6326">
                  <c:v>0</c:v>
                </c:pt>
                <c:pt idx="6327">
                  <c:v>0</c:v>
                </c:pt>
                <c:pt idx="6328">
                  <c:v>0</c:v>
                </c:pt>
                <c:pt idx="6329">
                  <c:v>0</c:v>
                </c:pt>
                <c:pt idx="6330">
                  <c:v>0</c:v>
                </c:pt>
                <c:pt idx="6331">
                  <c:v>0</c:v>
                </c:pt>
                <c:pt idx="6332">
                  <c:v>0</c:v>
                </c:pt>
                <c:pt idx="6333">
                  <c:v>0</c:v>
                </c:pt>
                <c:pt idx="6334">
                  <c:v>0</c:v>
                </c:pt>
                <c:pt idx="6335">
                  <c:v>0</c:v>
                </c:pt>
                <c:pt idx="6336">
                  <c:v>0</c:v>
                </c:pt>
                <c:pt idx="6337">
                  <c:v>0</c:v>
                </c:pt>
                <c:pt idx="6338">
                  <c:v>0</c:v>
                </c:pt>
                <c:pt idx="6339">
                  <c:v>0</c:v>
                </c:pt>
                <c:pt idx="6340">
                  <c:v>0</c:v>
                </c:pt>
                <c:pt idx="6341">
                  <c:v>0</c:v>
                </c:pt>
                <c:pt idx="6342">
                  <c:v>0</c:v>
                </c:pt>
                <c:pt idx="6343">
                  <c:v>0</c:v>
                </c:pt>
                <c:pt idx="6344">
                  <c:v>0</c:v>
                </c:pt>
                <c:pt idx="6345">
                  <c:v>0</c:v>
                </c:pt>
                <c:pt idx="6346">
                  <c:v>0</c:v>
                </c:pt>
                <c:pt idx="6347">
                  <c:v>0</c:v>
                </c:pt>
                <c:pt idx="6348">
                  <c:v>0</c:v>
                </c:pt>
                <c:pt idx="6349">
                  <c:v>0</c:v>
                </c:pt>
                <c:pt idx="6350">
                  <c:v>0</c:v>
                </c:pt>
                <c:pt idx="6351">
                  <c:v>0</c:v>
                </c:pt>
                <c:pt idx="6352">
                  <c:v>0</c:v>
                </c:pt>
                <c:pt idx="6353">
                  <c:v>0</c:v>
                </c:pt>
                <c:pt idx="6354">
                  <c:v>0</c:v>
                </c:pt>
                <c:pt idx="6355">
                  <c:v>0</c:v>
                </c:pt>
                <c:pt idx="6356">
                  <c:v>0</c:v>
                </c:pt>
                <c:pt idx="6357">
                  <c:v>0</c:v>
                </c:pt>
                <c:pt idx="6358">
                  <c:v>0</c:v>
                </c:pt>
                <c:pt idx="6359">
                  <c:v>0</c:v>
                </c:pt>
                <c:pt idx="6360">
                  <c:v>0</c:v>
                </c:pt>
                <c:pt idx="6361">
                  <c:v>0</c:v>
                </c:pt>
                <c:pt idx="6362">
                  <c:v>0</c:v>
                </c:pt>
                <c:pt idx="6363">
                  <c:v>0</c:v>
                </c:pt>
                <c:pt idx="6364">
                  <c:v>0</c:v>
                </c:pt>
                <c:pt idx="6365">
                  <c:v>0</c:v>
                </c:pt>
                <c:pt idx="6366">
                  <c:v>0</c:v>
                </c:pt>
                <c:pt idx="6367">
                  <c:v>0</c:v>
                </c:pt>
                <c:pt idx="6368">
                  <c:v>0</c:v>
                </c:pt>
                <c:pt idx="6369">
                  <c:v>0</c:v>
                </c:pt>
                <c:pt idx="6370">
                  <c:v>0</c:v>
                </c:pt>
                <c:pt idx="6371">
                  <c:v>0</c:v>
                </c:pt>
                <c:pt idx="6372">
                  <c:v>0</c:v>
                </c:pt>
                <c:pt idx="6373">
                  <c:v>0</c:v>
                </c:pt>
                <c:pt idx="6374">
                  <c:v>0</c:v>
                </c:pt>
                <c:pt idx="6375">
                  <c:v>0</c:v>
                </c:pt>
                <c:pt idx="6376">
                  <c:v>0</c:v>
                </c:pt>
                <c:pt idx="6377">
                  <c:v>0</c:v>
                </c:pt>
                <c:pt idx="6378">
                  <c:v>0</c:v>
                </c:pt>
                <c:pt idx="6379">
                  <c:v>0</c:v>
                </c:pt>
                <c:pt idx="6380">
                  <c:v>0</c:v>
                </c:pt>
                <c:pt idx="6381">
                  <c:v>0</c:v>
                </c:pt>
                <c:pt idx="6382">
                  <c:v>0</c:v>
                </c:pt>
                <c:pt idx="6383">
                  <c:v>0</c:v>
                </c:pt>
                <c:pt idx="6384">
                  <c:v>0</c:v>
                </c:pt>
                <c:pt idx="6385">
                  <c:v>0</c:v>
                </c:pt>
                <c:pt idx="6386">
                  <c:v>0</c:v>
                </c:pt>
                <c:pt idx="6387">
                  <c:v>0</c:v>
                </c:pt>
                <c:pt idx="6388">
                  <c:v>0</c:v>
                </c:pt>
                <c:pt idx="6389">
                  <c:v>0</c:v>
                </c:pt>
                <c:pt idx="6390">
                  <c:v>0</c:v>
                </c:pt>
                <c:pt idx="6391">
                  <c:v>0</c:v>
                </c:pt>
                <c:pt idx="6392">
                  <c:v>0</c:v>
                </c:pt>
                <c:pt idx="6393">
                  <c:v>0</c:v>
                </c:pt>
                <c:pt idx="6394">
                  <c:v>0</c:v>
                </c:pt>
                <c:pt idx="6395">
                  <c:v>0</c:v>
                </c:pt>
                <c:pt idx="6396">
                  <c:v>0</c:v>
                </c:pt>
                <c:pt idx="6397">
                  <c:v>0</c:v>
                </c:pt>
                <c:pt idx="6398">
                  <c:v>0</c:v>
                </c:pt>
                <c:pt idx="6399">
                  <c:v>0</c:v>
                </c:pt>
                <c:pt idx="6400">
                  <c:v>0</c:v>
                </c:pt>
                <c:pt idx="6401">
                  <c:v>0</c:v>
                </c:pt>
                <c:pt idx="6402">
                  <c:v>0</c:v>
                </c:pt>
                <c:pt idx="6403">
                  <c:v>0</c:v>
                </c:pt>
                <c:pt idx="6404">
                  <c:v>0</c:v>
                </c:pt>
                <c:pt idx="6405">
                  <c:v>0</c:v>
                </c:pt>
                <c:pt idx="6406">
                  <c:v>0</c:v>
                </c:pt>
                <c:pt idx="6407">
                  <c:v>0</c:v>
                </c:pt>
                <c:pt idx="6408">
                  <c:v>0</c:v>
                </c:pt>
                <c:pt idx="6409">
                  <c:v>0</c:v>
                </c:pt>
                <c:pt idx="6410">
                  <c:v>0</c:v>
                </c:pt>
                <c:pt idx="6411">
                  <c:v>0</c:v>
                </c:pt>
                <c:pt idx="6412">
                  <c:v>0</c:v>
                </c:pt>
                <c:pt idx="6413">
                  <c:v>0</c:v>
                </c:pt>
                <c:pt idx="6414">
                  <c:v>0</c:v>
                </c:pt>
                <c:pt idx="6415">
                  <c:v>0</c:v>
                </c:pt>
                <c:pt idx="6416">
                  <c:v>0</c:v>
                </c:pt>
                <c:pt idx="6417">
                  <c:v>0</c:v>
                </c:pt>
                <c:pt idx="6418">
                  <c:v>0</c:v>
                </c:pt>
                <c:pt idx="6419">
                  <c:v>0</c:v>
                </c:pt>
                <c:pt idx="6420">
                  <c:v>0</c:v>
                </c:pt>
                <c:pt idx="6421">
                  <c:v>0</c:v>
                </c:pt>
                <c:pt idx="6422">
                  <c:v>0</c:v>
                </c:pt>
                <c:pt idx="6423">
                  <c:v>0</c:v>
                </c:pt>
                <c:pt idx="6424">
                  <c:v>0</c:v>
                </c:pt>
                <c:pt idx="6425">
                  <c:v>0</c:v>
                </c:pt>
                <c:pt idx="6426">
                  <c:v>0</c:v>
                </c:pt>
                <c:pt idx="6427">
                  <c:v>0</c:v>
                </c:pt>
                <c:pt idx="6428">
                  <c:v>0</c:v>
                </c:pt>
                <c:pt idx="6429">
                  <c:v>0</c:v>
                </c:pt>
                <c:pt idx="6430">
                  <c:v>0</c:v>
                </c:pt>
                <c:pt idx="6431">
                  <c:v>0</c:v>
                </c:pt>
                <c:pt idx="6432">
                  <c:v>0</c:v>
                </c:pt>
                <c:pt idx="6433">
                  <c:v>0</c:v>
                </c:pt>
                <c:pt idx="6434">
                  <c:v>0</c:v>
                </c:pt>
                <c:pt idx="6435">
                  <c:v>0</c:v>
                </c:pt>
                <c:pt idx="6436">
                  <c:v>0</c:v>
                </c:pt>
                <c:pt idx="6437">
                  <c:v>0</c:v>
                </c:pt>
                <c:pt idx="6438">
                  <c:v>0</c:v>
                </c:pt>
                <c:pt idx="6439">
                  <c:v>0</c:v>
                </c:pt>
                <c:pt idx="6440">
                  <c:v>0</c:v>
                </c:pt>
                <c:pt idx="6441">
                  <c:v>0</c:v>
                </c:pt>
                <c:pt idx="6442">
                  <c:v>0</c:v>
                </c:pt>
                <c:pt idx="6443">
                  <c:v>0</c:v>
                </c:pt>
                <c:pt idx="6444">
                  <c:v>0</c:v>
                </c:pt>
                <c:pt idx="6445">
                  <c:v>0</c:v>
                </c:pt>
                <c:pt idx="6446">
                  <c:v>0</c:v>
                </c:pt>
                <c:pt idx="6447">
                  <c:v>0</c:v>
                </c:pt>
                <c:pt idx="6448">
                  <c:v>0</c:v>
                </c:pt>
                <c:pt idx="6449">
                  <c:v>0</c:v>
                </c:pt>
                <c:pt idx="6450">
                  <c:v>0</c:v>
                </c:pt>
                <c:pt idx="6451">
                  <c:v>0</c:v>
                </c:pt>
                <c:pt idx="6452">
                  <c:v>0</c:v>
                </c:pt>
                <c:pt idx="6453">
                  <c:v>0</c:v>
                </c:pt>
                <c:pt idx="6454">
                  <c:v>0</c:v>
                </c:pt>
                <c:pt idx="6455">
                  <c:v>0</c:v>
                </c:pt>
                <c:pt idx="6456">
                  <c:v>0</c:v>
                </c:pt>
                <c:pt idx="6457">
                  <c:v>0</c:v>
                </c:pt>
                <c:pt idx="6458">
                  <c:v>0</c:v>
                </c:pt>
                <c:pt idx="6459">
                  <c:v>0</c:v>
                </c:pt>
                <c:pt idx="6460">
                  <c:v>0</c:v>
                </c:pt>
                <c:pt idx="6461">
                  <c:v>0</c:v>
                </c:pt>
                <c:pt idx="6462">
                  <c:v>0</c:v>
                </c:pt>
                <c:pt idx="6463">
                  <c:v>0</c:v>
                </c:pt>
                <c:pt idx="6464">
                  <c:v>0</c:v>
                </c:pt>
                <c:pt idx="6465">
                  <c:v>0</c:v>
                </c:pt>
                <c:pt idx="6466">
                  <c:v>0</c:v>
                </c:pt>
                <c:pt idx="6467">
                  <c:v>0</c:v>
                </c:pt>
                <c:pt idx="6468">
                  <c:v>0</c:v>
                </c:pt>
                <c:pt idx="6469">
                  <c:v>0</c:v>
                </c:pt>
                <c:pt idx="6470">
                  <c:v>0</c:v>
                </c:pt>
                <c:pt idx="6471">
                  <c:v>0</c:v>
                </c:pt>
                <c:pt idx="6472">
                  <c:v>0</c:v>
                </c:pt>
                <c:pt idx="6473">
                  <c:v>0</c:v>
                </c:pt>
                <c:pt idx="6474">
                  <c:v>0</c:v>
                </c:pt>
                <c:pt idx="6475">
                  <c:v>0</c:v>
                </c:pt>
                <c:pt idx="6476">
                  <c:v>0</c:v>
                </c:pt>
                <c:pt idx="6477">
                  <c:v>0</c:v>
                </c:pt>
                <c:pt idx="6478">
                  <c:v>0</c:v>
                </c:pt>
                <c:pt idx="6479">
                  <c:v>0</c:v>
                </c:pt>
                <c:pt idx="6480">
                  <c:v>0</c:v>
                </c:pt>
                <c:pt idx="6481">
                  <c:v>0</c:v>
                </c:pt>
                <c:pt idx="6482">
                  <c:v>0</c:v>
                </c:pt>
                <c:pt idx="6483">
                  <c:v>0</c:v>
                </c:pt>
                <c:pt idx="6484">
                  <c:v>0</c:v>
                </c:pt>
                <c:pt idx="6485">
                  <c:v>0</c:v>
                </c:pt>
                <c:pt idx="6486">
                  <c:v>0</c:v>
                </c:pt>
                <c:pt idx="6487">
                  <c:v>0</c:v>
                </c:pt>
                <c:pt idx="6488">
                  <c:v>0</c:v>
                </c:pt>
                <c:pt idx="6489">
                  <c:v>0</c:v>
                </c:pt>
                <c:pt idx="6490">
                  <c:v>0</c:v>
                </c:pt>
                <c:pt idx="6491">
                  <c:v>0</c:v>
                </c:pt>
                <c:pt idx="6492">
                  <c:v>0</c:v>
                </c:pt>
                <c:pt idx="6493">
                  <c:v>0</c:v>
                </c:pt>
                <c:pt idx="6494">
                  <c:v>0</c:v>
                </c:pt>
                <c:pt idx="6495">
                  <c:v>0</c:v>
                </c:pt>
                <c:pt idx="6496">
                  <c:v>0</c:v>
                </c:pt>
                <c:pt idx="6497">
                  <c:v>0</c:v>
                </c:pt>
                <c:pt idx="6498">
                  <c:v>0</c:v>
                </c:pt>
                <c:pt idx="6499">
                  <c:v>0</c:v>
                </c:pt>
                <c:pt idx="6500">
                  <c:v>0</c:v>
                </c:pt>
                <c:pt idx="6501">
                  <c:v>0</c:v>
                </c:pt>
                <c:pt idx="6502">
                  <c:v>0</c:v>
                </c:pt>
                <c:pt idx="6503">
                  <c:v>0</c:v>
                </c:pt>
                <c:pt idx="6504">
                  <c:v>0</c:v>
                </c:pt>
                <c:pt idx="6505">
                  <c:v>0</c:v>
                </c:pt>
                <c:pt idx="6506">
                  <c:v>0</c:v>
                </c:pt>
                <c:pt idx="6507">
                  <c:v>0</c:v>
                </c:pt>
                <c:pt idx="6508">
                  <c:v>0</c:v>
                </c:pt>
                <c:pt idx="6509">
                  <c:v>0</c:v>
                </c:pt>
                <c:pt idx="6510">
                  <c:v>0</c:v>
                </c:pt>
                <c:pt idx="6511">
                  <c:v>0</c:v>
                </c:pt>
                <c:pt idx="6512">
                  <c:v>0</c:v>
                </c:pt>
                <c:pt idx="6513">
                  <c:v>0</c:v>
                </c:pt>
                <c:pt idx="6514">
                  <c:v>0</c:v>
                </c:pt>
                <c:pt idx="6515">
                  <c:v>0</c:v>
                </c:pt>
                <c:pt idx="6516">
                  <c:v>0</c:v>
                </c:pt>
                <c:pt idx="6517">
                  <c:v>0</c:v>
                </c:pt>
                <c:pt idx="6518">
                  <c:v>0</c:v>
                </c:pt>
                <c:pt idx="6519">
                  <c:v>0</c:v>
                </c:pt>
                <c:pt idx="6520">
                  <c:v>0</c:v>
                </c:pt>
                <c:pt idx="6521">
                  <c:v>0</c:v>
                </c:pt>
                <c:pt idx="6522">
                  <c:v>0</c:v>
                </c:pt>
                <c:pt idx="6523">
                  <c:v>0</c:v>
                </c:pt>
                <c:pt idx="6524">
                  <c:v>0</c:v>
                </c:pt>
                <c:pt idx="6525">
                  <c:v>0</c:v>
                </c:pt>
                <c:pt idx="6526">
                  <c:v>0</c:v>
                </c:pt>
                <c:pt idx="6527">
                  <c:v>0</c:v>
                </c:pt>
                <c:pt idx="6528">
                  <c:v>0</c:v>
                </c:pt>
                <c:pt idx="6529">
                  <c:v>0</c:v>
                </c:pt>
                <c:pt idx="6530">
                  <c:v>0</c:v>
                </c:pt>
                <c:pt idx="6531">
                  <c:v>0</c:v>
                </c:pt>
                <c:pt idx="6532">
                  <c:v>0</c:v>
                </c:pt>
                <c:pt idx="6533">
                  <c:v>0</c:v>
                </c:pt>
                <c:pt idx="6534">
                  <c:v>0</c:v>
                </c:pt>
                <c:pt idx="6535">
                  <c:v>0</c:v>
                </c:pt>
                <c:pt idx="6536">
                  <c:v>0</c:v>
                </c:pt>
                <c:pt idx="6537">
                  <c:v>0</c:v>
                </c:pt>
                <c:pt idx="6538">
                  <c:v>0</c:v>
                </c:pt>
                <c:pt idx="6539">
                  <c:v>0</c:v>
                </c:pt>
                <c:pt idx="6540">
                  <c:v>0</c:v>
                </c:pt>
                <c:pt idx="6541">
                  <c:v>0</c:v>
                </c:pt>
                <c:pt idx="6542">
                  <c:v>0</c:v>
                </c:pt>
                <c:pt idx="6543">
                  <c:v>0</c:v>
                </c:pt>
                <c:pt idx="6544">
                  <c:v>0</c:v>
                </c:pt>
                <c:pt idx="6545">
                  <c:v>0</c:v>
                </c:pt>
                <c:pt idx="6546">
                  <c:v>0</c:v>
                </c:pt>
                <c:pt idx="6547">
                  <c:v>0</c:v>
                </c:pt>
                <c:pt idx="6548">
                  <c:v>0</c:v>
                </c:pt>
                <c:pt idx="6549">
                  <c:v>0</c:v>
                </c:pt>
                <c:pt idx="6550">
                  <c:v>0</c:v>
                </c:pt>
                <c:pt idx="6551">
                  <c:v>0</c:v>
                </c:pt>
                <c:pt idx="6552">
                  <c:v>0</c:v>
                </c:pt>
                <c:pt idx="6553">
                  <c:v>0</c:v>
                </c:pt>
                <c:pt idx="6554">
                  <c:v>0</c:v>
                </c:pt>
                <c:pt idx="6555">
                  <c:v>0</c:v>
                </c:pt>
                <c:pt idx="6556">
                  <c:v>0</c:v>
                </c:pt>
                <c:pt idx="6557">
                  <c:v>0</c:v>
                </c:pt>
                <c:pt idx="6558">
                  <c:v>0</c:v>
                </c:pt>
                <c:pt idx="6559">
                  <c:v>0</c:v>
                </c:pt>
                <c:pt idx="6560">
                  <c:v>0</c:v>
                </c:pt>
                <c:pt idx="6561">
                  <c:v>0</c:v>
                </c:pt>
                <c:pt idx="6562">
                  <c:v>0</c:v>
                </c:pt>
                <c:pt idx="6563">
                  <c:v>0</c:v>
                </c:pt>
                <c:pt idx="6564">
                  <c:v>0</c:v>
                </c:pt>
                <c:pt idx="6565">
                  <c:v>0</c:v>
                </c:pt>
                <c:pt idx="6566">
                  <c:v>0</c:v>
                </c:pt>
                <c:pt idx="6567">
                  <c:v>0</c:v>
                </c:pt>
                <c:pt idx="6568">
                  <c:v>0</c:v>
                </c:pt>
                <c:pt idx="6569">
                  <c:v>0</c:v>
                </c:pt>
                <c:pt idx="6570">
                  <c:v>0</c:v>
                </c:pt>
                <c:pt idx="6571">
                  <c:v>0</c:v>
                </c:pt>
                <c:pt idx="6572">
                  <c:v>0</c:v>
                </c:pt>
                <c:pt idx="6573">
                  <c:v>0</c:v>
                </c:pt>
                <c:pt idx="6574">
                  <c:v>0</c:v>
                </c:pt>
                <c:pt idx="6575">
                  <c:v>0</c:v>
                </c:pt>
                <c:pt idx="6576">
                  <c:v>0</c:v>
                </c:pt>
                <c:pt idx="6577">
                  <c:v>0</c:v>
                </c:pt>
                <c:pt idx="6578">
                  <c:v>0</c:v>
                </c:pt>
                <c:pt idx="6579">
                  <c:v>0</c:v>
                </c:pt>
                <c:pt idx="6580">
                  <c:v>0</c:v>
                </c:pt>
                <c:pt idx="6581">
                  <c:v>0</c:v>
                </c:pt>
                <c:pt idx="6582">
                  <c:v>0</c:v>
                </c:pt>
                <c:pt idx="6583">
                  <c:v>0</c:v>
                </c:pt>
                <c:pt idx="6584">
                  <c:v>0</c:v>
                </c:pt>
                <c:pt idx="6585">
                  <c:v>0</c:v>
                </c:pt>
                <c:pt idx="6586">
                  <c:v>0</c:v>
                </c:pt>
                <c:pt idx="6587">
                  <c:v>0</c:v>
                </c:pt>
                <c:pt idx="6588">
                  <c:v>0</c:v>
                </c:pt>
                <c:pt idx="6589">
                  <c:v>0</c:v>
                </c:pt>
                <c:pt idx="6590">
                  <c:v>0</c:v>
                </c:pt>
                <c:pt idx="6591">
                  <c:v>0</c:v>
                </c:pt>
                <c:pt idx="6592">
                  <c:v>0</c:v>
                </c:pt>
                <c:pt idx="6593">
                  <c:v>0</c:v>
                </c:pt>
                <c:pt idx="6594">
                  <c:v>0</c:v>
                </c:pt>
                <c:pt idx="6595">
                  <c:v>0</c:v>
                </c:pt>
                <c:pt idx="6596">
                  <c:v>0</c:v>
                </c:pt>
                <c:pt idx="6597">
                  <c:v>0</c:v>
                </c:pt>
                <c:pt idx="6598">
                  <c:v>0</c:v>
                </c:pt>
                <c:pt idx="6599">
                  <c:v>0</c:v>
                </c:pt>
                <c:pt idx="6600">
                  <c:v>0</c:v>
                </c:pt>
                <c:pt idx="6601">
                  <c:v>0</c:v>
                </c:pt>
                <c:pt idx="6602">
                  <c:v>0</c:v>
                </c:pt>
                <c:pt idx="6603">
                  <c:v>0</c:v>
                </c:pt>
                <c:pt idx="6604">
                  <c:v>0</c:v>
                </c:pt>
                <c:pt idx="6605">
                  <c:v>0</c:v>
                </c:pt>
                <c:pt idx="6606">
                  <c:v>0</c:v>
                </c:pt>
                <c:pt idx="6607">
                  <c:v>0</c:v>
                </c:pt>
                <c:pt idx="6608">
                  <c:v>0</c:v>
                </c:pt>
                <c:pt idx="6609">
                  <c:v>0</c:v>
                </c:pt>
                <c:pt idx="6610">
                  <c:v>0</c:v>
                </c:pt>
                <c:pt idx="6611">
                  <c:v>0</c:v>
                </c:pt>
                <c:pt idx="6612">
                  <c:v>0</c:v>
                </c:pt>
                <c:pt idx="6613">
                  <c:v>0</c:v>
                </c:pt>
                <c:pt idx="6614">
                  <c:v>0</c:v>
                </c:pt>
                <c:pt idx="6615">
                  <c:v>0</c:v>
                </c:pt>
                <c:pt idx="6616">
                  <c:v>0</c:v>
                </c:pt>
                <c:pt idx="6617">
                  <c:v>0</c:v>
                </c:pt>
                <c:pt idx="6618">
                  <c:v>0</c:v>
                </c:pt>
                <c:pt idx="6619">
                  <c:v>0</c:v>
                </c:pt>
                <c:pt idx="6620">
                  <c:v>0</c:v>
                </c:pt>
                <c:pt idx="6621">
                  <c:v>0</c:v>
                </c:pt>
                <c:pt idx="6622">
                  <c:v>0</c:v>
                </c:pt>
                <c:pt idx="6623">
                  <c:v>0</c:v>
                </c:pt>
                <c:pt idx="6624">
                  <c:v>0</c:v>
                </c:pt>
                <c:pt idx="6625">
                  <c:v>0</c:v>
                </c:pt>
                <c:pt idx="6626">
                  <c:v>0</c:v>
                </c:pt>
                <c:pt idx="6627">
                  <c:v>0</c:v>
                </c:pt>
                <c:pt idx="6628">
                  <c:v>0</c:v>
                </c:pt>
                <c:pt idx="6629">
                  <c:v>0</c:v>
                </c:pt>
                <c:pt idx="6630">
                  <c:v>0</c:v>
                </c:pt>
                <c:pt idx="6631">
                  <c:v>0</c:v>
                </c:pt>
                <c:pt idx="6632">
                  <c:v>0</c:v>
                </c:pt>
                <c:pt idx="6633">
                  <c:v>0</c:v>
                </c:pt>
                <c:pt idx="6634">
                  <c:v>0</c:v>
                </c:pt>
                <c:pt idx="6635">
                  <c:v>0</c:v>
                </c:pt>
                <c:pt idx="6636">
                  <c:v>0</c:v>
                </c:pt>
                <c:pt idx="6637">
                  <c:v>0</c:v>
                </c:pt>
                <c:pt idx="6638">
                  <c:v>0</c:v>
                </c:pt>
                <c:pt idx="6639">
                  <c:v>0</c:v>
                </c:pt>
                <c:pt idx="6640">
                  <c:v>0</c:v>
                </c:pt>
                <c:pt idx="6641">
                  <c:v>0</c:v>
                </c:pt>
                <c:pt idx="6642">
                  <c:v>0</c:v>
                </c:pt>
                <c:pt idx="6643">
                  <c:v>0</c:v>
                </c:pt>
                <c:pt idx="6644">
                  <c:v>0</c:v>
                </c:pt>
                <c:pt idx="6645">
                  <c:v>0</c:v>
                </c:pt>
                <c:pt idx="6646">
                  <c:v>0</c:v>
                </c:pt>
                <c:pt idx="6647">
                  <c:v>0</c:v>
                </c:pt>
                <c:pt idx="6648">
                  <c:v>0</c:v>
                </c:pt>
                <c:pt idx="6649">
                  <c:v>0</c:v>
                </c:pt>
                <c:pt idx="6650">
                  <c:v>0</c:v>
                </c:pt>
                <c:pt idx="6651">
                  <c:v>0</c:v>
                </c:pt>
                <c:pt idx="6652">
                  <c:v>0</c:v>
                </c:pt>
                <c:pt idx="6653">
                  <c:v>0</c:v>
                </c:pt>
                <c:pt idx="6654">
                  <c:v>0</c:v>
                </c:pt>
                <c:pt idx="6655">
                  <c:v>0</c:v>
                </c:pt>
                <c:pt idx="6656">
                  <c:v>0</c:v>
                </c:pt>
                <c:pt idx="6657">
                  <c:v>0</c:v>
                </c:pt>
                <c:pt idx="6658">
                  <c:v>0</c:v>
                </c:pt>
                <c:pt idx="6659">
                  <c:v>0</c:v>
                </c:pt>
                <c:pt idx="6660">
                  <c:v>0</c:v>
                </c:pt>
                <c:pt idx="6661">
                  <c:v>0</c:v>
                </c:pt>
                <c:pt idx="6662">
                  <c:v>0</c:v>
                </c:pt>
                <c:pt idx="6663">
                  <c:v>0</c:v>
                </c:pt>
                <c:pt idx="6664">
                  <c:v>0</c:v>
                </c:pt>
                <c:pt idx="6665">
                  <c:v>0</c:v>
                </c:pt>
                <c:pt idx="6666">
                  <c:v>0</c:v>
                </c:pt>
                <c:pt idx="6667">
                  <c:v>0</c:v>
                </c:pt>
                <c:pt idx="6668">
                  <c:v>0</c:v>
                </c:pt>
                <c:pt idx="6669">
                  <c:v>0</c:v>
                </c:pt>
                <c:pt idx="6670">
                  <c:v>0</c:v>
                </c:pt>
                <c:pt idx="6671">
                  <c:v>0</c:v>
                </c:pt>
                <c:pt idx="6672">
                  <c:v>0</c:v>
                </c:pt>
                <c:pt idx="6673">
                  <c:v>0</c:v>
                </c:pt>
                <c:pt idx="6674">
                  <c:v>0</c:v>
                </c:pt>
                <c:pt idx="6675">
                  <c:v>0</c:v>
                </c:pt>
                <c:pt idx="6676">
                  <c:v>0</c:v>
                </c:pt>
                <c:pt idx="6677">
                  <c:v>0</c:v>
                </c:pt>
                <c:pt idx="6678">
                  <c:v>0</c:v>
                </c:pt>
                <c:pt idx="6679">
                  <c:v>0</c:v>
                </c:pt>
                <c:pt idx="6680">
                  <c:v>0</c:v>
                </c:pt>
                <c:pt idx="6681">
                  <c:v>0</c:v>
                </c:pt>
                <c:pt idx="6682">
                  <c:v>0</c:v>
                </c:pt>
                <c:pt idx="6683">
                  <c:v>0</c:v>
                </c:pt>
                <c:pt idx="6684">
                  <c:v>0</c:v>
                </c:pt>
                <c:pt idx="6685">
                  <c:v>0</c:v>
                </c:pt>
                <c:pt idx="6686">
                  <c:v>0</c:v>
                </c:pt>
                <c:pt idx="6687">
                  <c:v>0</c:v>
                </c:pt>
                <c:pt idx="6688">
                  <c:v>0</c:v>
                </c:pt>
                <c:pt idx="6689">
                  <c:v>0</c:v>
                </c:pt>
                <c:pt idx="6690">
                  <c:v>0</c:v>
                </c:pt>
                <c:pt idx="6691">
                  <c:v>0</c:v>
                </c:pt>
                <c:pt idx="6692">
                  <c:v>0</c:v>
                </c:pt>
                <c:pt idx="6693">
                  <c:v>0</c:v>
                </c:pt>
                <c:pt idx="6694">
                  <c:v>0</c:v>
                </c:pt>
                <c:pt idx="6695">
                  <c:v>0</c:v>
                </c:pt>
                <c:pt idx="6696">
                  <c:v>0</c:v>
                </c:pt>
                <c:pt idx="6697">
                  <c:v>0</c:v>
                </c:pt>
                <c:pt idx="6698">
                  <c:v>0</c:v>
                </c:pt>
                <c:pt idx="6699">
                  <c:v>0</c:v>
                </c:pt>
                <c:pt idx="6700">
                  <c:v>0</c:v>
                </c:pt>
                <c:pt idx="6701">
                  <c:v>0</c:v>
                </c:pt>
                <c:pt idx="6702">
                  <c:v>0</c:v>
                </c:pt>
                <c:pt idx="6703">
                  <c:v>0</c:v>
                </c:pt>
                <c:pt idx="6704">
                  <c:v>0</c:v>
                </c:pt>
                <c:pt idx="6705">
                  <c:v>0</c:v>
                </c:pt>
                <c:pt idx="6706">
                  <c:v>0</c:v>
                </c:pt>
                <c:pt idx="6707">
                  <c:v>0</c:v>
                </c:pt>
                <c:pt idx="6708">
                  <c:v>0</c:v>
                </c:pt>
                <c:pt idx="6709">
                  <c:v>0</c:v>
                </c:pt>
                <c:pt idx="6710">
                  <c:v>0</c:v>
                </c:pt>
                <c:pt idx="6711">
                  <c:v>0</c:v>
                </c:pt>
                <c:pt idx="6712">
                  <c:v>0</c:v>
                </c:pt>
                <c:pt idx="6713">
                  <c:v>0</c:v>
                </c:pt>
                <c:pt idx="6714">
                  <c:v>0</c:v>
                </c:pt>
                <c:pt idx="6715">
                  <c:v>0</c:v>
                </c:pt>
                <c:pt idx="6716">
                  <c:v>0</c:v>
                </c:pt>
                <c:pt idx="6717">
                  <c:v>0</c:v>
                </c:pt>
                <c:pt idx="6718">
                  <c:v>0</c:v>
                </c:pt>
                <c:pt idx="6719">
                  <c:v>0</c:v>
                </c:pt>
                <c:pt idx="6720">
                  <c:v>0</c:v>
                </c:pt>
                <c:pt idx="6721">
                  <c:v>0</c:v>
                </c:pt>
                <c:pt idx="6722">
                  <c:v>0</c:v>
                </c:pt>
                <c:pt idx="6723">
                  <c:v>0</c:v>
                </c:pt>
                <c:pt idx="6724">
                  <c:v>0</c:v>
                </c:pt>
                <c:pt idx="6725">
                  <c:v>0</c:v>
                </c:pt>
                <c:pt idx="6726">
                  <c:v>0</c:v>
                </c:pt>
                <c:pt idx="6727">
                  <c:v>0</c:v>
                </c:pt>
                <c:pt idx="6728">
                  <c:v>0</c:v>
                </c:pt>
                <c:pt idx="6729">
                  <c:v>0</c:v>
                </c:pt>
                <c:pt idx="6730">
                  <c:v>0</c:v>
                </c:pt>
                <c:pt idx="6731">
                  <c:v>0</c:v>
                </c:pt>
                <c:pt idx="6732">
                  <c:v>0</c:v>
                </c:pt>
                <c:pt idx="6733">
                  <c:v>0</c:v>
                </c:pt>
                <c:pt idx="6734">
                  <c:v>0</c:v>
                </c:pt>
                <c:pt idx="6735">
                  <c:v>0</c:v>
                </c:pt>
                <c:pt idx="6736">
                  <c:v>0</c:v>
                </c:pt>
                <c:pt idx="6737">
                  <c:v>0</c:v>
                </c:pt>
                <c:pt idx="6738">
                  <c:v>0</c:v>
                </c:pt>
                <c:pt idx="6739">
                  <c:v>0</c:v>
                </c:pt>
                <c:pt idx="6740">
                  <c:v>0</c:v>
                </c:pt>
                <c:pt idx="6741">
                  <c:v>0</c:v>
                </c:pt>
                <c:pt idx="6742">
                  <c:v>0</c:v>
                </c:pt>
                <c:pt idx="6743">
                  <c:v>0</c:v>
                </c:pt>
                <c:pt idx="6744">
                  <c:v>0</c:v>
                </c:pt>
                <c:pt idx="6745">
                  <c:v>0</c:v>
                </c:pt>
                <c:pt idx="6746">
                  <c:v>0</c:v>
                </c:pt>
                <c:pt idx="6747">
                  <c:v>0</c:v>
                </c:pt>
                <c:pt idx="6748">
                  <c:v>0</c:v>
                </c:pt>
                <c:pt idx="6749">
                  <c:v>0</c:v>
                </c:pt>
                <c:pt idx="6750">
                  <c:v>0</c:v>
                </c:pt>
                <c:pt idx="6751">
                  <c:v>0</c:v>
                </c:pt>
                <c:pt idx="6752">
                  <c:v>0</c:v>
                </c:pt>
                <c:pt idx="6753">
                  <c:v>0</c:v>
                </c:pt>
                <c:pt idx="6754">
                  <c:v>0</c:v>
                </c:pt>
                <c:pt idx="6755">
                  <c:v>0</c:v>
                </c:pt>
                <c:pt idx="6756">
                  <c:v>0</c:v>
                </c:pt>
                <c:pt idx="6757">
                  <c:v>0</c:v>
                </c:pt>
                <c:pt idx="6758">
                  <c:v>0</c:v>
                </c:pt>
                <c:pt idx="6759">
                  <c:v>0</c:v>
                </c:pt>
                <c:pt idx="6760">
                  <c:v>0</c:v>
                </c:pt>
                <c:pt idx="6761">
                  <c:v>0</c:v>
                </c:pt>
                <c:pt idx="6762">
                  <c:v>0</c:v>
                </c:pt>
                <c:pt idx="6763">
                  <c:v>0</c:v>
                </c:pt>
                <c:pt idx="6764">
                  <c:v>0</c:v>
                </c:pt>
                <c:pt idx="6765">
                  <c:v>0</c:v>
                </c:pt>
                <c:pt idx="6766">
                  <c:v>0</c:v>
                </c:pt>
                <c:pt idx="6767">
                  <c:v>0</c:v>
                </c:pt>
                <c:pt idx="6768">
                  <c:v>0</c:v>
                </c:pt>
                <c:pt idx="6769">
                  <c:v>0</c:v>
                </c:pt>
                <c:pt idx="6770">
                  <c:v>0</c:v>
                </c:pt>
                <c:pt idx="6771">
                  <c:v>0</c:v>
                </c:pt>
                <c:pt idx="6772">
                  <c:v>0</c:v>
                </c:pt>
                <c:pt idx="6773">
                  <c:v>0</c:v>
                </c:pt>
                <c:pt idx="6774">
                  <c:v>0</c:v>
                </c:pt>
                <c:pt idx="6775">
                  <c:v>0</c:v>
                </c:pt>
                <c:pt idx="6776">
                  <c:v>0</c:v>
                </c:pt>
                <c:pt idx="6777">
                  <c:v>0</c:v>
                </c:pt>
                <c:pt idx="6778">
                  <c:v>0</c:v>
                </c:pt>
                <c:pt idx="6779">
                  <c:v>0</c:v>
                </c:pt>
                <c:pt idx="6780">
                  <c:v>0</c:v>
                </c:pt>
                <c:pt idx="6781">
                  <c:v>0</c:v>
                </c:pt>
                <c:pt idx="6782">
                  <c:v>0</c:v>
                </c:pt>
                <c:pt idx="6783">
                  <c:v>0</c:v>
                </c:pt>
                <c:pt idx="6784">
                  <c:v>0</c:v>
                </c:pt>
                <c:pt idx="6785">
                  <c:v>0</c:v>
                </c:pt>
                <c:pt idx="6786">
                  <c:v>0</c:v>
                </c:pt>
                <c:pt idx="6787">
                  <c:v>0</c:v>
                </c:pt>
                <c:pt idx="6788">
                  <c:v>0</c:v>
                </c:pt>
                <c:pt idx="6789">
                  <c:v>0</c:v>
                </c:pt>
                <c:pt idx="6790">
                  <c:v>0</c:v>
                </c:pt>
                <c:pt idx="6791">
                  <c:v>0</c:v>
                </c:pt>
                <c:pt idx="6792">
                  <c:v>0</c:v>
                </c:pt>
                <c:pt idx="6793">
                  <c:v>0</c:v>
                </c:pt>
                <c:pt idx="6794">
                  <c:v>0</c:v>
                </c:pt>
                <c:pt idx="6795">
                  <c:v>0</c:v>
                </c:pt>
                <c:pt idx="6796">
                  <c:v>0</c:v>
                </c:pt>
                <c:pt idx="6797">
                  <c:v>0</c:v>
                </c:pt>
                <c:pt idx="6798">
                  <c:v>0</c:v>
                </c:pt>
                <c:pt idx="6799">
                  <c:v>0</c:v>
                </c:pt>
                <c:pt idx="6800">
                  <c:v>0</c:v>
                </c:pt>
                <c:pt idx="6801">
                  <c:v>0</c:v>
                </c:pt>
                <c:pt idx="6802">
                  <c:v>0</c:v>
                </c:pt>
                <c:pt idx="6803">
                  <c:v>0</c:v>
                </c:pt>
                <c:pt idx="6804">
                  <c:v>0</c:v>
                </c:pt>
                <c:pt idx="6805">
                  <c:v>0</c:v>
                </c:pt>
                <c:pt idx="6806">
                  <c:v>0</c:v>
                </c:pt>
                <c:pt idx="6807">
                  <c:v>0</c:v>
                </c:pt>
                <c:pt idx="6808">
                  <c:v>0</c:v>
                </c:pt>
                <c:pt idx="6809">
                  <c:v>0</c:v>
                </c:pt>
                <c:pt idx="6810">
                  <c:v>0</c:v>
                </c:pt>
                <c:pt idx="6811">
                  <c:v>0</c:v>
                </c:pt>
                <c:pt idx="6812">
                  <c:v>0</c:v>
                </c:pt>
                <c:pt idx="6813">
                  <c:v>0</c:v>
                </c:pt>
                <c:pt idx="6814">
                  <c:v>0</c:v>
                </c:pt>
                <c:pt idx="6815">
                  <c:v>0</c:v>
                </c:pt>
                <c:pt idx="6816">
                  <c:v>0</c:v>
                </c:pt>
                <c:pt idx="6817">
                  <c:v>0</c:v>
                </c:pt>
                <c:pt idx="6818">
                  <c:v>0</c:v>
                </c:pt>
                <c:pt idx="6819">
                  <c:v>0</c:v>
                </c:pt>
                <c:pt idx="6820">
                  <c:v>0</c:v>
                </c:pt>
                <c:pt idx="6821">
                  <c:v>0</c:v>
                </c:pt>
                <c:pt idx="6822">
                  <c:v>0</c:v>
                </c:pt>
                <c:pt idx="6823">
                  <c:v>0</c:v>
                </c:pt>
                <c:pt idx="6824">
                  <c:v>0</c:v>
                </c:pt>
                <c:pt idx="6825">
                  <c:v>0</c:v>
                </c:pt>
                <c:pt idx="6826">
                  <c:v>0</c:v>
                </c:pt>
                <c:pt idx="6827">
                  <c:v>0</c:v>
                </c:pt>
                <c:pt idx="6828">
                  <c:v>0</c:v>
                </c:pt>
                <c:pt idx="6829">
                  <c:v>0</c:v>
                </c:pt>
                <c:pt idx="6830">
                  <c:v>0</c:v>
                </c:pt>
                <c:pt idx="6831">
                  <c:v>0</c:v>
                </c:pt>
                <c:pt idx="6832">
                  <c:v>0</c:v>
                </c:pt>
                <c:pt idx="6833">
                  <c:v>0</c:v>
                </c:pt>
                <c:pt idx="6834">
                  <c:v>0</c:v>
                </c:pt>
                <c:pt idx="6835">
                  <c:v>0</c:v>
                </c:pt>
                <c:pt idx="6836">
                  <c:v>0</c:v>
                </c:pt>
                <c:pt idx="6837">
                  <c:v>0</c:v>
                </c:pt>
                <c:pt idx="6838">
                  <c:v>0</c:v>
                </c:pt>
                <c:pt idx="6839">
                  <c:v>0</c:v>
                </c:pt>
                <c:pt idx="6840">
                  <c:v>0</c:v>
                </c:pt>
                <c:pt idx="6841">
                  <c:v>0</c:v>
                </c:pt>
                <c:pt idx="6842">
                  <c:v>0</c:v>
                </c:pt>
                <c:pt idx="6843">
                  <c:v>0</c:v>
                </c:pt>
                <c:pt idx="6844">
                  <c:v>0</c:v>
                </c:pt>
                <c:pt idx="6845">
                  <c:v>0</c:v>
                </c:pt>
                <c:pt idx="6846">
                  <c:v>0</c:v>
                </c:pt>
                <c:pt idx="6847">
                  <c:v>0</c:v>
                </c:pt>
                <c:pt idx="6848">
                  <c:v>0</c:v>
                </c:pt>
                <c:pt idx="6849">
                  <c:v>0</c:v>
                </c:pt>
                <c:pt idx="6850">
                  <c:v>0</c:v>
                </c:pt>
                <c:pt idx="6851">
                  <c:v>0</c:v>
                </c:pt>
                <c:pt idx="6852">
                  <c:v>0</c:v>
                </c:pt>
                <c:pt idx="6853">
                  <c:v>0</c:v>
                </c:pt>
                <c:pt idx="6854">
                  <c:v>0</c:v>
                </c:pt>
                <c:pt idx="6855">
                  <c:v>0</c:v>
                </c:pt>
                <c:pt idx="6856">
                  <c:v>0</c:v>
                </c:pt>
                <c:pt idx="6857">
                  <c:v>0</c:v>
                </c:pt>
                <c:pt idx="6858">
                  <c:v>0</c:v>
                </c:pt>
                <c:pt idx="6859">
                  <c:v>0</c:v>
                </c:pt>
                <c:pt idx="6860">
                  <c:v>0</c:v>
                </c:pt>
                <c:pt idx="6861">
                  <c:v>0</c:v>
                </c:pt>
                <c:pt idx="6862">
                  <c:v>0</c:v>
                </c:pt>
                <c:pt idx="6863">
                  <c:v>0</c:v>
                </c:pt>
                <c:pt idx="6864">
                  <c:v>0</c:v>
                </c:pt>
                <c:pt idx="6865">
                  <c:v>0</c:v>
                </c:pt>
                <c:pt idx="6866">
                  <c:v>0</c:v>
                </c:pt>
                <c:pt idx="6867">
                  <c:v>0</c:v>
                </c:pt>
                <c:pt idx="6868">
                  <c:v>0</c:v>
                </c:pt>
                <c:pt idx="6869">
                  <c:v>0</c:v>
                </c:pt>
                <c:pt idx="6870">
                  <c:v>0</c:v>
                </c:pt>
                <c:pt idx="6871">
                  <c:v>0</c:v>
                </c:pt>
                <c:pt idx="6872">
                  <c:v>0</c:v>
                </c:pt>
                <c:pt idx="6873">
                  <c:v>0</c:v>
                </c:pt>
                <c:pt idx="6874">
                  <c:v>0</c:v>
                </c:pt>
                <c:pt idx="6875">
                  <c:v>0</c:v>
                </c:pt>
                <c:pt idx="6876">
                  <c:v>0</c:v>
                </c:pt>
                <c:pt idx="6877">
                  <c:v>0</c:v>
                </c:pt>
                <c:pt idx="6878">
                  <c:v>0</c:v>
                </c:pt>
                <c:pt idx="6879">
                  <c:v>0</c:v>
                </c:pt>
                <c:pt idx="6880">
                  <c:v>0</c:v>
                </c:pt>
                <c:pt idx="6881">
                  <c:v>0</c:v>
                </c:pt>
                <c:pt idx="6882">
                  <c:v>0</c:v>
                </c:pt>
                <c:pt idx="6883">
                  <c:v>0</c:v>
                </c:pt>
                <c:pt idx="6884">
                  <c:v>0</c:v>
                </c:pt>
                <c:pt idx="6885">
                  <c:v>0</c:v>
                </c:pt>
                <c:pt idx="6886">
                  <c:v>0</c:v>
                </c:pt>
                <c:pt idx="6887">
                  <c:v>0</c:v>
                </c:pt>
                <c:pt idx="6888">
                  <c:v>0</c:v>
                </c:pt>
                <c:pt idx="6889">
                  <c:v>0</c:v>
                </c:pt>
                <c:pt idx="6890">
                  <c:v>0</c:v>
                </c:pt>
                <c:pt idx="6891">
                  <c:v>0</c:v>
                </c:pt>
                <c:pt idx="6892">
                  <c:v>0</c:v>
                </c:pt>
                <c:pt idx="6893">
                  <c:v>0</c:v>
                </c:pt>
                <c:pt idx="6894">
                  <c:v>0</c:v>
                </c:pt>
                <c:pt idx="6895">
                  <c:v>0</c:v>
                </c:pt>
                <c:pt idx="6896">
                  <c:v>0</c:v>
                </c:pt>
                <c:pt idx="6897">
                  <c:v>0</c:v>
                </c:pt>
                <c:pt idx="6898">
                  <c:v>0</c:v>
                </c:pt>
                <c:pt idx="6899">
                  <c:v>0</c:v>
                </c:pt>
                <c:pt idx="6900">
                  <c:v>0</c:v>
                </c:pt>
                <c:pt idx="6901">
                  <c:v>0</c:v>
                </c:pt>
                <c:pt idx="6902">
                  <c:v>0</c:v>
                </c:pt>
                <c:pt idx="6903">
                  <c:v>0</c:v>
                </c:pt>
                <c:pt idx="6904">
                  <c:v>0</c:v>
                </c:pt>
                <c:pt idx="6905">
                  <c:v>0</c:v>
                </c:pt>
                <c:pt idx="6906">
                  <c:v>0</c:v>
                </c:pt>
                <c:pt idx="6907">
                  <c:v>0</c:v>
                </c:pt>
                <c:pt idx="6908">
                  <c:v>0</c:v>
                </c:pt>
                <c:pt idx="6909">
                  <c:v>0</c:v>
                </c:pt>
                <c:pt idx="6910">
                  <c:v>0</c:v>
                </c:pt>
                <c:pt idx="6911">
                  <c:v>0</c:v>
                </c:pt>
                <c:pt idx="6912">
                  <c:v>0</c:v>
                </c:pt>
                <c:pt idx="6913">
                  <c:v>0</c:v>
                </c:pt>
                <c:pt idx="6914">
                  <c:v>0</c:v>
                </c:pt>
                <c:pt idx="6915">
                  <c:v>0</c:v>
                </c:pt>
                <c:pt idx="6916">
                  <c:v>0</c:v>
                </c:pt>
                <c:pt idx="6917">
                  <c:v>0</c:v>
                </c:pt>
                <c:pt idx="6918">
                  <c:v>0</c:v>
                </c:pt>
                <c:pt idx="6919">
                  <c:v>0</c:v>
                </c:pt>
                <c:pt idx="6920">
                  <c:v>0</c:v>
                </c:pt>
                <c:pt idx="6921">
                  <c:v>0</c:v>
                </c:pt>
                <c:pt idx="6922">
                  <c:v>0</c:v>
                </c:pt>
                <c:pt idx="6923">
                  <c:v>0</c:v>
                </c:pt>
                <c:pt idx="6924">
                  <c:v>0</c:v>
                </c:pt>
                <c:pt idx="6925">
                  <c:v>0</c:v>
                </c:pt>
                <c:pt idx="6926">
                  <c:v>0</c:v>
                </c:pt>
                <c:pt idx="6927">
                  <c:v>0</c:v>
                </c:pt>
                <c:pt idx="6928">
                  <c:v>0</c:v>
                </c:pt>
                <c:pt idx="6929">
                  <c:v>0</c:v>
                </c:pt>
                <c:pt idx="6930">
                  <c:v>0</c:v>
                </c:pt>
                <c:pt idx="6931">
                  <c:v>0</c:v>
                </c:pt>
                <c:pt idx="6932">
                  <c:v>0</c:v>
                </c:pt>
                <c:pt idx="6933">
                  <c:v>0</c:v>
                </c:pt>
                <c:pt idx="6934">
                  <c:v>0</c:v>
                </c:pt>
                <c:pt idx="6935">
                  <c:v>0</c:v>
                </c:pt>
                <c:pt idx="6936">
                  <c:v>0</c:v>
                </c:pt>
                <c:pt idx="6937">
                  <c:v>0</c:v>
                </c:pt>
                <c:pt idx="6938">
                  <c:v>0</c:v>
                </c:pt>
                <c:pt idx="6939">
                  <c:v>0</c:v>
                </c:pt>
                <c:pt idx="6940">
                  <c:v>0</c:v>
                </c:pt>
                <c:pt idx="6941">
                  <c:v>0</c:v>
                </c:pt>
                <c:pt idx="6942">
                  <c:v>0</c:v>
                </c:pt>
                <c:pt idx="6943">
                  <c:v>0</c:v>
                </c:pt>
                <c:pt idx="6944">
                  <c:v>0</c:v>
                </c:pt>
                <c:pt idx="6945">
                  <c:v>0</c:v>
                </c:pt>
                <c:pt idx="6946">
                  <c:v>0</c:v>
                </c:pt>
                <c:pt idx="6947">
                  <c:v>0</c:v>
                </c:pt>
                <c:pt idx="6948">
                  <c:v>0</c:v>
                </c:pt>
                <c:pt idx="6949">
                  <c:v>0</c:v>
                </c:pt>
                <c:pt idx="6950">
                  <c:v>0</c:v>
                </c:pt>
                <c:pt idx="6951">
                  <c:v>0</c:v>
                </c:pt>
                <c:pt idx="6952">
                  <c:v>0</c:v>
                </c:pt>
                <c:pt idx="6953">
                  <c:v>0</c:v>
                </c:pt>
                <c:pt idx="6954">
                  <c:v>0</c:v>
                </c:pt>
                <c:pt idx="6955">
                  <c:v>0</c:v>
                </c:pt>
                <c:pt idx="6956">
                  <c:v>0</c:v>
                </c:pt>
                <c:pt idx="6957">
                  <c:v>0</c:v>
                </c:pt>
                <c:pt idx="6958">
                  <c:v>0</c:v>
                </c:pt>
                <c:pt idx="6959">
                  <c:v>0</c:v>
                </c:pt>
                <c:pt idx="6960">
                  <c:v>0</c:v>
                </c:pt>
                <c:pt idx="6961">
                  <c:v>0</c:v>
                </c:pt>
                <c:pt idx="6962">
                  <c:v>0</c:v>
                </c:pt>
                <c:pt idx="6963">
                  <c:v>0</c:v>
                </c:pt>
                <c:pt idx="6964">
                  <c:v>0</c:v>
                </c:pt>
                <c:pt idx="6965">
                  <c:v>0</c:v>
                </c:pt>
                <c:pt idx="6966">
                  <c:v>0</c:v>
                </c:pt>
                <c:pt idx="6967">
                  <c:v>0</c:v>
                </c:pt>
                <c:pt idx="6968">
                  <c:v>0</c:v>
                </c:pt>
                <c:pt idx="6969">
                  <c:v>0</c:v>
                </c:pt>
                <c:pt idx="6970">
                  <c:v>0</c:v>
                </c:pt>
                <c:pt idx="6971">
                  <c:v>0</c:v>
                </c:pt>
                <c:pt idx="6972">
                  <c:v>0</c:v>
                </c:pt>
                <c:pt idx="6973">
                  <c:v>0</c:v>
                </c:pt>
                <c:pt idx="6974">
                  <c:v>0</c:v>
                </c:pt>
                <c:pt idx="6975">
                  <c:v>0</c:v>
                </c:pt>
                <c:pt idx="6976">
                  <c:v>0</c:v>
                </c:pt>
                <c:pt idx="6977">
                  <c:v>0</c:v>
                </c:pt>
                <c:pt idx="6978">
                  <c:v>0</c:v>
                </c:pt>
                <c:pt idx="6979">
                  <c:v>0</c:v>
                </c:pt>
                <c:pt idx="6980">
                  <c:v>0</c:v>
                </c:pt>
                <c:pt idx="6981">
                  <c:v>0</c:v>
                </c:pt>
                <c:pt idx="6982">
                  <c:v>0</c:v>
                </c:pt>
                <c:pt idx="6983">
                  <c:v>0</c:v>
                </c:pt>
                <c:pt idx="6984">
                  <c:v>0</c:v>
                </c:pt>
                <c:pt idx="6985">
                  <c:v>0</c:v>
                </c:pt>
                <c:pt idx="6986">
                  <c:v>0</c:v>
                </c:pt>
                <c:pt idx="6987">
                  <c:v>0</c:v>
                </c:pt>
                <c:pt idx="6988">
                  <c:v>0</c:v>
                </c:pt>
                <c:pt idx="6989">
                  <c:v>0</c:v>
                </c:pt>
                <c:pt idx="6990">
                  <c:v>0</c:v>
                </c:pt>
                <c:pt idx="6991">
                  <c:v>0</c:v>
                </c:pt>
                <c:pt idx="6992">
                  <c:v>0</c:v>
                </c:pt>
                <c:pt idx="6993">
                  <c:v>0</c:v>
                </c:pt>
                <c:pt idx="6994">
                  <c:v>0</c:v>
                </c:pt>
                <c:pt idx="6995">
                  <c:v>0</c:v>
                </c:pt>
                <c:pt idx="6996">
                  <c:v>0</c:v>
                </c:pt>
                <c:pt idx="6997">
                  <c:v>0</c:v>
                </c:pt>
                <c:pt idx="6998">
                  <c:v>0</c:v>
                </c:pt>
                <c:pt idx="6999">
                  <c:v>0</c:v>
                </c:pt>
                <c:pt idx="7000">
                  <c:v>0</c:v>
                </c:pt>
                <c:pt idx="7001">
                  <c:v>0</c:v>
                </c:pt>
                <c:pt idx="7002">
                  <c:v>0</c:v>
                </c:pt>
                <c:pt idx="7003">
                  <c:v>0</c:v>
                </c:pt>
                <c:pt idx="7004">
                  <c:v>0</c:v>
                </c:pt>
                <c:pt idx="7005">
                  <c:v>0</c:v>
                </c:pt>
                <c:pt idx="7006">
                  <c:v>0</c:v>
                </c:pt>
                <c:pt idx="7007">
                  <c:v>0</c:v>
                </c:pt>
                <c:pt idx="7008">
                  <c:v>0</c:v>
                </c:pt>
                <c:pt idx="7009">
                  <c:v>0</c:v>
                </c:pt>
                <c:pt idx="7010">
                  <c:v>0</c:v>
                </c:pt>
                <c:pt idx="7011">
                  <c:v>0</c:v>
                </c:pt>
                <c:pt idx="7012">
                  <c:v>0</c:v>
                </c:pt>
                <c:pt idx="7013">
                  <c:v>0</c:v>
                </c:pt>
                <c:pt idx="7014">
                  <c:v>0</c:v>
                </c:pt>
                <c:pt idx="7015">
                  <c:v>0</c:v>
                </c:pt>
                <c:pt idx="7016">
                  <c:v>0</c:v>
                </c:pt>
                <c:pt idx="7017">
                  <c:v>0</c:v>
                </c:pt>
                <c:pt idx="7018">
                  <c:v>0</c:v>
                </c:pt>
                <c:pt idx="7019">
                  <c:v>0</c:v>
                </c:pt>
                <c:pt idx="7020">
                  <c:v>0</c:v>
                </c:pt>
                <c:pt idx="7021">
                  <c:v>0</c:v>
                </c:pt>
                <c:pt idx="7022">
                  <c:v>0</c:v>
                </c:pt>
                <c:pt idx="7023">
                  <c:v>0</c:v>
                </c:pt>
                <c:pt idx="7024">
                  <c:v>0</c:v>
                </c:pt>
                <c:pt idx="7025">
                  <c:v>0</c:v>
                </c:pt>
                <c:pt idx="7026">
                  <c:v>0</c:v>
                </c:pt>
                <c:pt idx="7027">
                  <c:v>0</c:v>
                </c:pt>
                <c:pt idx="7028">
                  <c:v>0</c:v>
                </c:pt>
                <c:pt idx="7029">
                  <c:v>0</c:v>
                </c:pt>
                <c:pt idx="7030">
                  <c:v>0</c:v>
                </c:pt>
                <c:pt idx="7031">
                  <c:v>0</c:v>
                </c:pt>
                <c:pt idx="7032">
                  <c:v>0</c:v>
                </c:pt>
                <c:pt idx="7033">
                  <c:v>0</c:v>
                </c:pt>
                <c:pt idx="7034">
                  <c:v>0</c:v>
                </c:pt>
                <c:pt idx="7035">
                  <c:v>0</c:v>
                </c:pt>
                <c:pt idx="7036">
                  <c:v>0</c:v>
                </c:pt>
                <c:pt idx="7037">
                  <c:v>0</c:v>
                </c:pt>
                <c:pt idx="7038">
                  <c:v>0</c:v>
                </c:pt>
                <c:pt idx="7039">
                  <c:v>0</c:v>
                </c:pt>
                <c:pt idx="7040">
                  <c:v>0</c:v>
                </c:pt>
                <c:pt idx="7041">
                  <c:v>0</c:v>
                </c:pt>
                <c:pt idx="7042">
                  <c:v>0</c:v>
                </c:pt>
                <c:pt idx="7043">
                  <c:v>0</c:v>
                </c:pt>
                <c:pt idx="7044">
                  <c:v>0</c:v>
                </c:pt>
                <c:pt idx="7045">
                  <c:v>0</c:v>
                </c:pt>
                <c:pt idx="7046">
                  <c:v>0</c:v>
                </c:pt>
                <c:pt idx="7047">
                  <c:v>0</c:v>
                </c:pt>
                <c:pt idx="7048">
                  <c:v>0</c:v>
                </c:pt>
                <c:pt idx="7049">
                  <c:v>0</c:v>
                </c:pt>
                <c:pt idx="7050">
                  <c:v>0</c:v>
                </c:pt>
                <c:pt idx="7051">
                  <c:v>0</c:v>
                </c:pt>
                <c:pt idx="7052">
                  <c:v>0</c:v>
                </c:pt>
                <c:pt idx="7053">
                  <c:v>0</c:v>
                </c:pt>
                <c:pt idx="7054">
                  <c:v>0</c:v>
                </c:pt>
                <c:pt idx="7055">
                  <c:v>0</c:v>
                </c:pt>
                <c:pt idx="7056">
                  <c:v>0</c:v>
                </c:pt>
                <c:pt idx="7057">
                  <c:v>0</c:v>
                </c:pt>
                <c:pt idx="7058">
                  <c:v>0</c:v>
                </c:pt>
                <c:pt idx="7059">
                  <c:v>0</c:v>
                </c:pt>
                <c:pt idx="7060">
                  <c:v>0</c:v>
                </c:pt>
                <c:pt idx="7061">
                  <c:v>0</c:v>
                </c:pt>
                <c:pt idx="7062">
                  <c:v>0</c:v>
                </c:pt>
                <c:pt idx="7063">
                  <c:v>0</c:v>
                </c:pt>
                <c:pt idx="7064">
                  <c:v>0</c:v>
                </c:pt>
                <c:pt idx="7065">
                  <c:v>0</c:v>
                </c:pt>
                <c:pt idx="7066">
                  <c:v>0</c:v>
                </c:pt>
                <c:pt idx="7067">
                  <c:v>0</c:v>
                </c:pt>
                <c:pt idx="7068">
                  <c:v>0</c:v>
                </c:pt>
                <c:pt idx="7069">
                  <c:v>0</c:v>
                </c:pt>
                <c:pt idx="7070">
                  <c:v>0</c:v>
                </c:pt>
                <c:pt idx="7071">
                  <c:v>0</c:v>
                </c:pt>
                <c:pt idx="7072">
                  <c:v>0</c:v>
                </c:pt>
                <c:pt idx="7073">
                  <c:v>0</c:v>
                </c:pt>
                <c:pt idx="7074">
                  <c:v>0</c:v>
                </c:pt>
                <c:pt idx="7075">
                  <c:v>0</c:v>
                </c:pt>
                <c:pt idx="7076">
                  <c:v>0</c:v>
                </c:pt>
                <c:pt idx="7077">
                  <c:v>0</c:v>
                </c:pt>
                <c:pt idx="7078">
                  <c:v>0</c:v>
                </c:pt>
                <c:pt idx="7079">
                  <c:v>0</c:v>
                </c:pt>
                <c:pt idx="7080">
                  <c:v>0</c:v>
                </c:pt>
                <c:pt idx="7081">
                  <c:v>0</c:v>
                </c:pt>
                <c:pt idx="7082">
                  <c:v>0</c:v>
                </c:pt>
                <c:pt idx="7083">
                  <c:v>0</c:v>
                </c:pt>
                <c:pt idx="7084">
                  <c:v>0</c:v>
                </c:pt>
                <c:pt idx="7085">
                  <c:v>0</c:v>
                </c:pt>
                <c:pt idx="7086">
                  <c:v>0</c:v>
                </c:pt>
                <c:pt idx="7087">
                  <c:v>0</c:v>
                </c:pt>
                <c:pt idx="7088">
                  <c:v>0</c:v>
                </c:pt>
                <c:pt idx="7089">
                  <c:v>0</c:v>
                </c:pt>
                <c:pt idx="7090">
                  <c:v>0</c:v>
                </c:pt>
                <c:pt idx="7091">
                  <c:v>0</c:v>
                </c:pt>
                <c:pt idx="7092">
                  <c:v>0</c:v>
                </c:pt>
                <c:pt idx="7093">
                  <c:v>0</c:v>
                </c:pt>
                <c:pt idx="7094">
                  <c:v>0</c:v>
                </c:pt>
                <c:pt idx="7095">
                  <c:v>0</c:v>
                </c:pt>
                <c:pt idx="7096">
                  <c:v>0</c:v>
                </c:pt>
                <c:pt idx="7097">
                  <c:v>0</c:v>
                </c:pt>
                <c:pt idx="7098">
                  <c:v>0</c:v>
                </c:pt>
                <c:pt idx="7099">
                  <c:v>0</c:v>
                </c:pt>
                <c:pt idx="7100">
                  <c:v>0</c:v>
                </c:pt>
                <c:pt idx="7101">
                  <c:v>0</c:v>
                </c:pt>
                <c:pt idx="7102">
                  <c:v>0</c:v>
                </c:pt>
                <c:pt idx="7103">
                  <c:v>0</c:v>
                </c:pt>
                <c:pt idx="7104">
                  <c:v>0</c:v>
                </c:pt>
                <c:pt idx="7105">
                  <c:v>0</c:v>
                </c:pt>
                <c:pt idx="7106">
                  <c:v>0</c:v>
                </c:pt>
                <c:pt idx="7107">
                  <c:v>0</c:v>
                </c:pt>
                <c:pt idx="7108">
                  <c:v>0</c:v>
                </c:pt>
                <c:pt idx="7109">
                  <c:v>0</c:v>
                </c:pt>
                <c:pt idx="7110">
                  <c:v>0</c:v>
                </c:pt>
                <c:pt idx="7111">
                  <c:v>0</c:v>
                </c:pt>
                <c:pt idx="7112">
                  <c:v>0</c:v>
                </c:pt>
                <c:pt idx="7113">
                  <c:v>0</c:v>
                </c:pt>
                <c:pt idx="7114">
                  <c:v>0</c:v>
                </c:pt>
                <c:pt idx="7115">
                  <c:v>0</c:v>
                </c:pt>
                <c:pt idx="7116">
                  <c:v>0</c:v>
                </c:pt>
                <c:pt idx="7117">
                  <c:v>0</c:v>
                </c:pt>
                <c:pt idx="7118">
                  <c:v>0</c:v>
                </c:pt>
                <c:pt idx="7119">
                  <c:v>0</c:v>
                </c:pt>
                <c:pt idx="7120">
                  <c:v>0</c:v>
                </c:pt>
                <c:pt idx="7121">
                  <c:v>0</c:v>
                </c:pt>
                <c:pt idx="7122">
                  <c:v>0</c:v>
                </c:pt>
                <c:pt idx="7123">
                  <c:v>0</c:v>
                </c:pt>
                <c:pt idx="7124">
                  <c:v>0</c:v>
                </c:pt>
                <c:pt idx="7125">
                  <c:v>0</c:v>
                </c:pt>
                <c:pt idx="7126">
                  <c:v>0</c:v>
                </c:pt>
                <c:pt idx="7127">
                  <c:v>0</c:v>
                </c:pt>
                <c:pt idx="7128">
                  <c:v>0</c:v>
                </c:pt>
                <c:pt idx="7129">
                  <c:v>0</c:v>
                </c:pt>
                <c:pt idx="7130">
                  <c:v>0</c:v>
                </c:pt>
                <c:pt idx="7131">
                  <c:v>0</c:v>
                </c:pt>
                <c:pt idx="7132">
                  <c:v>0</c:v>
                </c:pt>
                <c:pt idx="7133">
                  <c:v>0</c:v>
                </c:pt>
                <c:pt idx="7134">
                  <c:v>0</c:v>
                </c:pt>
                <c:pt idx="7135">
                  <c:v>0</c:v>
                </c:pt>
                <c:pt idx="7136">
                  <c:v>0</c:v>
                </c:pt>
                <c:pt idx="7137">
                  <c:v>0</c:v>
                </c:pt>
                <c:pt idx="7138">
                  <c:v>0</c:v>
                </c:pt>
                <c:pt idx="7139">
                  <c:v>0</c:v>
                </c:pt>
                <c:pt idx="7140">
                  <c:v>0</c:v>
                </c:pt>
                <c:pt idx="7141">
                  <c:v>0</c:v>
                </c:pt>
                <c:pt idx="7142">
                  <c:v>0</c:v>
                </c:pt>
                <c:pt idx="7143">
                  <c:v>0</c:v>
                </c:pt>
                <c:pt idx="7144">
                  <c:v>0</c:v>
                </c:pt>
                <c:pt idx="7145">
                  <c:v>0</c:v>
                </c:pt>
                <c:pt idx="7146">
                  <c:v>0</c:v>
                </c:pt>
                <c:pt idx="7147">
                  <c:v>0</c:v>
                </c:pt>
                <c:pt idx="7148">
                  <c:v>0</c:v>
                </c:pt>
                <c:pt idx="7149">
                  <c:v>0</c:v>
                </c:pt>
                <c:pt idx="7150">
                  <c:v>0</c:v>
                </c:pt>
                <c:pt idx="7151">
                  <c:v>0</c:v>
                </c:pt>
                <c:pt idx="7152">
                  <c:v>0</c:v>
                </c:pt>
                <c:pt idx="7153">
                  <c:v>0</c:v>
                </c:pt>
                <c:pt idx="7154">
                  <c:v>0</c:v>
                </c:pt>
                <c:pt idx="7155">
                  <c:v>0</c:v>
                </c:pt>
                <c:pt idx="7156">
                  <c:v>0</c:v>
                </c:pt>
                <c:pt idx="7157">
                  <c:v>0</c:v>
                </c:pt>
                <c:pt idx="7158">
                  <c:v>0</c:v>
                </c:pt>
                <c:pt idx="7159">
                  <c:v>0</c:v>
                </c:pt>
                <c:pt idx="7160">
                  <c:v>0</c:v>
                </c:pt>
                <c:pt idx="7161">
                  <c:v>0</c:v>
                </c:pt>
                <c:pt idx="7162">
                  <c:v>0</c:v>
                </c:pt>
                <c:pt idx="7163">
                  <c:v>0</c:v>
                </c:pt>
                <c:pt idx="7164">
                  <c:v>0</c:v>
                </c:pt>
                <c:pt idx="7165">
                  <c:v>0</c:v>
                </c:pt>
                <c:pt idx="7166">
                  <c:v>0</c:v>
                </c:pt>
                <c:pt idx="7167">
                  <c:v>0</c:v>
                </c:pt>
                <c:pt idx="7168">
                  <c:v>0</c:v>
                </c:pt>
                <c:pt idx="7169">
                  <c:v>0</c:v>
                </c:pt>
                <c:pt idx="7170">
                  <c:v>0</c:v>
                </c:pt>
                <c:pt idx="7171">
                  <c:v>0</c:v>
                </c:pt>
                <c:pt idx="7172">
                  <c:v>0</c:v>
                </c:pt>
                <c:pt idx="7173">
                  <c:v>0</c:v>
                </c:pt>
                <c:pt idx="7174">
                  <c:v>0</c:v>
                </c:pt>
                <c:pt idx="7175">
                  <c:v>0</c:v>
                </c:pt>
                <c:pt idx="7176">
                  <c:v>0</c:v>
                </c:pt>
                <c:pt idx="7177">
                  <c:v>0</c:v>
                </c:pt>
                <c:pt idx="7178">
                  <c:v>0</c:v>
                </c:pt>
                <c:pt idx="7179">
                  <c:v>0</c:v>
                </c:pt>
                <c:pt idx="7180">
                  <c:v>0</c:v>
                </c:pt>
                <c:pt idx="7181">
                  <c:v>0</c:v>
                </c:pt>
                <c:pt idx="7182">
                  <c:v>0</c:v>
                </c:pt>
                <c:pt idx="7183">
                  <c:v>0</c:v>
                </c:pt>
                <c:pt idx="7184">
                  <c:v>0</c:v>
                </c:pt>
                <c:pt idx="7185">
                  <c:v>0</c:v>
                </c:pt>
                <c:pt idx="7186">
                  <c:v>0</c:v>
                </c:pt>
                <c:pt idx="7187">
                  <c:v>0</c:v>
                </c:pt>
                <c:pt idx="7188">
                  <c:v>0</c:v>
                </c:pt>
                <c:pt idx="7189">
                  <c:v>0</c:v>
                </c:pt>
                <c:pt idx="7190">
                  <c:v>0</c:v>
                </c:pt>
                <c:pt idx="7191">
                  <c:v>0</c:v>
                </c:pt>
                <c:pt idx="7192">
                  <c:v>0</c:v>
                </c:pt>
                <c:pt idx="7193">
                  <c:v>0</c:v>
                </c:pt>
                <c:pt idx="7194">
                  <c:v>0</c:v>
                </c:pt>
                <c:pt idx="7195">
                  <c:v>0</c:v>
                </c:pt>
                <c:pt idx="7196">
                  <c:v>0</c:v>
                </c:pt>
                <c:pt idx="7197">
                  <c:v>0</c:v>
                </c:pt>
                <c:pt idx="7198">
                  <c:v>0</c:v>
                </c:pt>
                <c:pt idx="7199">
                  <c:v>0</c:v>
                </c:pt>
                <c:pt idx="7200">
                  <c:v>0</c:v>
                </c:pt>
                <c:pt idx="7201">
                  <c:v>0</c:v>
                </c:pt>
                <c:pt idx="7202">
                  <c:v>0</c:v>
                </c:pt>
                <c:pt idx="7203">
                  <c:v>0</c:v>
                </c:pt>
                <c:pt idx="7204">
                  <c:v>0</c:v>
                </c:pt>
                <c:pt idx="7205">
                  <c:v>0</c:v>
                </c:pt>
                <c:pt idx="7206">
                  <c:v>0</c:v>
                </c:pt>
                <c:pt idx="7207">
                  <c:v>0</c:v>
                </c:pt>
                <c:pt idx="7208">
                  <c:v>0</c:v>
                </c:pt>
                <c:pt idx="7209">
                  <c:v>0</c:v>
                </c:pt>
                <c:pt idx="7210">
                  <c:v>0</c:v>
                </c:pt>
                <c:pt idx="7211">
                  <c:v>0</c:v>
                </c:pt>
                <c:pt idx="7212">
                  <c:v>0</c:v>
                </c:pt>
                <c:pt idx="7213">
                  <c:v>0</c:v>
                </c:pt>
                <c:pt idx="7214">
                  <c:v>0</c:v>
                </c:pt>
                <c:pt idx="7215">
                  <c:v>0</c:v>
                </c:pt>
                <c:pt idx="7216">
                  <c:v>0</c:v>
                </c:pt>
                <c:pt idx="7217">
                  <c:v>0</c:v>
                </c:pt>
                <c:pt idx="7218">
                  <c:v>0</c:v>
                </c:pt>
                <c:pt idx="7219">
                  <c:v>0</c:v>
                </c:pt>
                <c:pt idx="7220">
                  <c:v>0</c:v>
                </c:pt>
                <c:pt idx="7221">
                  <c:v>0</c:v>
                </c:pt>
                <c:pt idx="7222">
                  <c:v>0</c:v>
                </c:pt>
                <c:pt idx="7223">
                  <c:v>0</c:v>
                </c:pt>
                <c:pt idx="7224">
                  <c:v>0</c:v>
                </c:pt>
                <c:pt idx="7225">
                  <c:v>0</c:v>
                </c:pt>
                <c:pt idx="7226">
                  <c:v>0</c:v>
                </c:pt>
                <c:pt idx="7227">
                  <c:v>0</c:v>
                </c:pt>
                <c:pt idx="7228">
                  <c:v>0</c:v>
                </c:pt>
                <c:pt idx="7229">
                  <c:v>0</c:v>
                </c:pt>
                <c:pt idx="7230">
                  <c:v>0</c:v>
                </c:pt>
                <c:pt idx="7231">
                  <c:v>0</c:v>
                </c:pt>
                <c:pt idx="7232">
                  <c:v>0</c:v>
                </c:pt>
                <c:pt idx="7233">
                  <c:v>0</c:v>
                </c:pt>
                <c:pt idx="7234">
                  <c:v>0</c:v>
                </c:pt>
                <c:pt idx="7235">
                  <c:v>0</c:v>
                </c:pt>
                <c:pt idx="7236">
                  <c:v>0</c:v>
                </c:pt>
                <c:pt idx="7237">
                  <c:v>0</c:v>
                </c:pt>
                <c:pt idx="7238">
                  <c:v>0</c:v>
                </c:pt>
                <c:pt idx="7239">
                  <c:v>0</c:v>
                </c:pt>
                <c:pt idx="7240">
                  <c:v>0</c:v>
                </c:pt>
                <c:pt idx="7241">
                  <c:v>0</c:v>
                </c:pt>
                <c:pt idx="7242">
                  <c:v>0</c:v>
                </c:pt>
                <c:pt idx="7243">
                  <c:v>0</c:v>
                </c:pt>
                <c:pt idx="7244">
                  <c:v>0</c:v>
                </c:pt>
                <c:pt idx="7245">
                  <c:v>0</c:v>
                </c:pt>
                <c:pt idx="7246">
                  <c:v>0</c:v>
                </c:pt>
                <c:pt idx="7247">
                  <c:v>0</c:v>
                </c:pt>
                <c:pt idx="7248">
                  <c:v>0</c:v>
                </c:pt>
                <c:pt idx="7249">
                  <c:v>0</c:v>
                </c:pt>
                <c:pt idx="7250">
                  <c:v>0</c:v>
                </c:pt>
                <c:pt idx="7251">
                  <c:v>0</c:v>
                </c:pt>
                <c:pt idx="7252">
                  <c:v>0</c:v>
                </c:pt>
                <c:pt idx="7253">
                  <c:v>0</c:v>
                </c:pt>
                <c:pt idx="7254">
                  <c:v>0</c:v>
                </c:pt>
                <c:pt idx="7255">
                  <c:v>0</c:v>
                </c:pt>
                <c:pt idx="7256">
                  <c:v>0</c:v>
                </c:pt>
                <c:pt idx="7257">
                  <c:v>0</c:v>
                </c:pt>
                <c:pt idx="7258">
                  <c:v>0</c:v>
                </c:pt>
                <c:pt idx="7259">
                  <c:v>0</c:v>
                </c:pt>
                <c:pt idx="7260">
                  <c:v>0</c:v>
                </c:pt>
                <c:pt idx="7261">
                  <c:v>0</c:v>
                </c:pt>
                <c:pt idx="7262">
                  <c:v>0</c:v>
                </c:pt>
                <c:pt idx="7263">
                  <c:v>0</c:v>
                </c:pt>
                <c:pt idx="7264">
                  <c:v>0</c:v>
                </c:pt>
                <c:pt idx="7265">
                  <c:v>0</c:v>
                </c:pt>
                <c:pt idx="7266">
                  <c:v>0</c:v>
                </c:pt>
                <c:pt idx="7267">
                  <c:v>0</c:v>
                </c:pt>
                <c:pt idx="7268">
                  <c:v>0</c:v>
                </c:pt>
                <c:pt idx="7269">
                  <c:v>0</c:v>
                </c:pt>
                <c:pt idx="7270">
                  <c:v>0</c:v>
                </c:pt>
                <c:pt idx="7271">
                  <c:v>0</c:v>
                </c:pt>
                <c:pt idx="7272">
                  <c:v>0</c:v>
                </c:pt>
                <c:pt idx="7273">
                  <c:v>0</c:v>
                </c:pt>
                <c:pt idx="7274">
                  <c:v>0</c:v>
                </c:pt>
                <c:pt idx="7275">
                  <c:v>0</c:v>
                </c:pt>
                <c:pt idx="7276">
                  <c:v>0</c:v>
                </c:pt>
                <c:pt idx="7277">
                  <c:v>0</c:v>
                </c:pt>
                <c:pt idx="7278">
                  <c:v>0</c:v>
                </c:pt>
                <c:pt idx="7279">
                  <c:v>0</c:v>
                </c:pt>
                <c:pt idx="7280">
                  <c:v>0</c:v>
                </c:pt>
                <c:pt idx="7281">
                  <c:v>0</c:v>
                </c:pt>
                <c:pt idx="7282">
                  <c:v>0</c:v>
                </c:pt>
                <c:pt idx="7283">
                  <c:v>0</c:v>
                </c:pt>
                <c:pt idx="7284">
                  <c:v>0</c:v>
                </c:pt>
                <c:pt idx="7285">
                  <c:v>0</c:v>
                </c:pt>
                <c:pt idx="7286">
                  <c:v>0</c:v>
                </c:pt>
                <c:pt idx="7287">
                  <c:v>0</c:v>
                </c:pt>
                <c:pt idx="7288">
                  <c:v>0</c:v>
                </c:pt>
                <c:pt idx="7289">
                  <c:v>0</c:v>
                </c:pt>
                <c:pt idx="7290">
                  <c:v>0</c:v>
                </c:pt>
                <c:pt idx="7291">
                  <c:v>0</c:v>
                </c:pt>
                <c:pt idx="7292">
                  <c:v>0</c:v>
                </c:pt>
                <c:pt idx="7293">
                  <c:v>0</c:v>
                </c:pt>
                <c:pt idx="7294">
                  <c:v>0</c:v>
                </c:pt>
                <c:pt idx="7295">
                  <c:v>0</c:v>
                </c:pt>
                <c:pt idx="7296">
                  <c:v>0</c:v>
                </c:pt>
                <c:pt idx="7297">
                  <c:v>0</c:v>
                </c:pt>
                <c:pt idx="7298">
                  <c:v>0</c:v>
                </c:pt>
                <c:pt idx="7299">
                  <c:v>0</c:v>
                </c:pt>
                <c:pt idx="7300">
                  <c:v>0</c:v>
                </c:pt>
                <c:pt idx="7301">
                  <c:v>0</c:v>
                </c:pt>
                <c:pt idx="7302">
                  <c:v>0</c:v>
                </c:pt>
                <c:pt idx="7303">
                  <c:v>0</c:v>
                </c:pt>
                <c:pt idx="7304">
                  <c:v>0</c:v>
                </c:pt>
                <c:pt idx="7305">
                  <c:v>0</c:v>
                </c:pt>
                <c:pt idx="7306">
                  <c:v>0</c:v>
                </c:pt>
                <c:pt idx="7307">
                  <c:v>0</c:v>
                </c:pt>
                <c:pt idx="7308">
                  <c:v>0</c:v>
                </c:pt>
                <c:pt idx="7309">
                  <c:v>0</c:v>
                </c:pt>
                <c:pt idx="7310">
                  <c:v>0</c:v>
                </c:pt>
                <c:pt idx="7311">
                  <c:v>0</c:v>
                </c:pt>
                <c:pt idx="7312">
                  <c:v>0</c:v>
                </c:pt>
                <c:pt idx="7313">
                  <c:v>0</c:v>
                </c:pt>
                <c:pt idx="7314">
                  <c:v>0</c:v>
                </c:pt>
                <c:pt idx="7315">
                  <c:v>0</c:v>
                </c:pt>
                <c:pt idx="7316">
                  <c:v>0</c:v>
                </c:pt>
                <c:pt idx="7317">
                  <c:v>0</c:v>
                </c:pt>
                <c:pt idx="7318">
                  <c:v>0</c:v>
                </c:pt>
                <c:pt idx="7319">
                  <c:v>0</c:v>
                </c:pt>
                <c:pt idx="7320">
                  <c:v>0</c:v>
                </c:pt>
                <c:pt idx="7321">
                  <c:v>0</c:v>
                </c:pt>
                <c:pt idx="7322">
                  <c:v>0</c:v>
                </c:pt>
                <c:pt idx="7323">
                  <c:v>0</c:v>
                </c:pt>
                <c:pt idx="7324">
                  <c:v>0</c:v>
                </c:pt>
                <c:pt idx="7325">
                  <c:v>0</c:v>
                </c:pt>
                <c:pt idx="7326">
                  <c:v>0</c:v>
                </c:pt>
                <c:pt idx="7327">
                  <c:v>0</c:v>
                </c:pt>
                <c:pt idx="7328">
                  <c:v>0</c:v>
                </c:pt>
                <c:pt idx="7329">
                  <c:v>0</c:v>
                </c:pt>
                <c:pt idx="7330">
                  <c:v>0</c:v>
                </c:pt>
                <c:pt idx="7331">
                  <c:v>0</c:v>
                </c:pt>
                <c:pt idx="7332">
                  <c:v>0</c:v>
                </c:pt>
                <c:pt idx="7333">
                  <c:v>0</c:v>
                </c:pt>
                <c:pt idx="7334">
                  <c:v>0</c:v>
                </c:pt>
                <c:pt idx="7335">
                  <c:v>0</c:v>
                </c:pt>
                <c:pt idx="7336">
                  <c:v>0</c:v>
                </c:pt>
                <c:pt idx="7337">
                  <c:v>0</c:v>
                </c:pt>
                <c:pt idx="7338">
                  <c:v>0</c:v>
                </c:pt>
                <c:pt idx="7339">
                  <c:v>0</c:v>
                </c:pt>
                <c:pt idx="7340">
                  <c:v>0</c:v>
                </c:pt>
                <c:pt idx="7341">
                  <c:v>0</c:v>
                </c:pt>
                <c:pt idx="7342">
                  <c:v>0</c:v>
                </c:pt>
                <c:pt idx="7343">
                  <c:v>0</c:v>
                </c:pt>
                <c:pt idx="7344">
                  <c:v>0</c:v>
                </c:pt>
                <c:pt idx="7345">
                  <c:v>0</c:v>
                </c:pt>
                <c:pt idx="7346">
                  <c:v>0</c:v>
                </c:pt>
                <c:pt idx="7347">
                  <c:v>0</c:v>
                </c:pt>
                <c:pt idx="7348">
                  <c:v>0</c:v>
                </c:pt>
                <c:pt idx="7349">
                  <c:v>0</c:v>
                </c:pt>
                <c:pt idx="7350">
                  <c:v>0</c:v>
                </c:pt>
                <c:pt idx="7351">
                  <c:v>0</c:v>
                </c:pt>
                <c:pt idx="7352">
                  <c:v>0</c:v>
                </c:pt>
                <c:pt idx="7353">
                  <c:v>0</c:v>
                </c:pt>
                <c:pt idx="7354">
                  <c:v>0</c:v>
                </c:pt>
                <c:pt idx="7355">
                  <c:v>0</c:v>
                </c:pt>
                <c:pt idx="7356">
                  <c:v>0</c:v>
                </c:pt>
                <c:pt idx="7357">
                  <c:v>0</c:v>
                </c:pt>
                <c:pt idx="7358">
                  <c:v>0</c:v>
                </c:pt>
                <c:pt idx="7359">
                  <c:v>0</c:v>
                </c:pt>
                <c:pt idx="7360">
                  <c:v>0</c:v>
                </c:pt>
                <c:pt idx="7361">
                  <c:v>0</c:v>
                </c:pt>
                <c:pt idx="7362">
                  <c:v>0</c:v>
                </c:pt>
                <c:pt idx="7363">
                  <c:v>0</c:v>
                </c:pt>
                <c:pt idx="7364">
                  <c:v>0</c:v>
                </c:pt>
                <c:pt idx="7365">
                  <c:v>0</c:v>
                </c:pt>
                <c:pt idx="7366">
                  <c:v>0</c:v>
                </c:pt>
                <c:pt idx="7367">
                  <c:v>0</c:v>
                </c:pt>
                <c:pt idx="7368">
                  <c:v>0</c:v>
                </c:pt>
                <c:pt idx="7369">
                  <c:v>0</c:v>
                </c:pt>
                <c:pt idx="7370">
                  <c:v>0</c:v>
                </c:pt>
                <c:pt idx="7371">
                  <c:v>0</c:v>
                </c:pt>
                <c:pt idx="7372">
                  <c:v>0</c:v>
                </c:pt>
                <c:pt idx="7373">
                  <c:v>0</c:v>
                </c:pt>
                <c:pt idx="7374">
                  <c:v>0</c:v>
                </c:pt>
                <c:pt idx="7375">
                  <c:v>0</c:v>
                </c:pt>
                <c:pt idx="7376">
                  <c:v>0</c:v>
                </c:pt>
                <c:pt idx="7377">
                  <c:v>0</c:v>
                </c:pt>
                <c:pt idx="7378">
                  <c:v>0</c:v>
                </c:pt>
                <c:pt idx="7379">
                  <c:v>0</c:v>
                </c:pt>
                <c:pt idx="7380">
                  <c:v>0</c:v>
                </c:pt>
                <c:pt idx="7381">
                  <c:v>0</c:v>
                </c:pt>
                <c:pt idx="7382">
                  <c:v>0</c:v>
                </c:pt>
                <c:pt idx="7383">
                  <c:v>0</c:v>
                </c:pt>
                <c:pt idx="7384">
                  <c:v>0</c:v>
                </c:pt>
                <c:pt idx="7385">
                  <c:v>0</c:v>
                </c:pt>
                <c:pt idx="7386">
                  <c:v>0</c:v>
                </c:pt>
                <c:pt idx="7387">
                  <c:v>0</c:v>
                </c:pt>
                <c:pt idx="7388">
                  <c:v>0</c:v>
                </c:pt>
                <c:pt idx="7389">
                  <c:v>0</c:v>
                </c:pt>
                <c:pt idx="7390">
                  <c:v>0</c:v>
                </c:pt>
                <c:pt idx="7391">
                  <c:v>0</c:v>
                </c:pt>
                <c:pt idx="7392">
                  <c:v>0</c:v>
                </c:pt>
                <c:pt idx="7393">
                  <c:v>0</c:v>
                </c:pt>
                <c:pt idx="7394">
                  <c:v>0</c:v>
                </c:pt>
                <c:pt idx="7395">
                  <c:v>0</c:v>
                </c:pt>
                <c:pt idx="7396">
                  <c:v>0</c:v>
                </c:pt>
                <c:pt idx="7397">
                  <c:v>0</c:v>
                </c:pt>
                <c:pt idx="7398">
                  <c:v>0</c:v>
                </c:pt>
                <c:pt idx="7399">
                  <c:v>0</c:v>
                </c:pt>
                <c:pt idx="7400">
                  <c:v>0</c:v>
                </c:pt>
                <c:pt idx="7401">
                  <c:v>0</c:v>
                </c:pt>
                <c:pt idx="7402">
                  <c:v>0</c:v>
                </c:pt>
                <c:pt idx="7403">
                  <c:v>0</c:v>
                </c:pt>
                <c:pt idx="7404">
                  <c:v>0</c:v>
                </c:pt>
                <c:pt idx="7405">
                  <c:v>0</c:v>
                </c:pt>
                <c:pt idx="7406">
                  <c:v>0</c:v>
                </c:pt>
                <c:pt idx="7407">
                  <c:v>0</c:v>
                </c:pt>
                <c:pt idx="7408">
                  <c:v>0</c:v>
                </c:pt>
                <c:pt idx="7409">
                  <c:v>0</c:v>
                </c:pt>
                <c:pt idx="7410">
                  <c:v>0</c:v>
                </c:pt>
                <c:pt idx="7411">
                  <c:v>0</c:v>
                </c:pt>
                <c:pt idx="7412">
                  <c:v>0</c:v>
                </c:pt>
                <c:pt idx="7413">
                  <c:v>0</c:v>
                </c:pt>
                <c:pt idx="7414">
                  <c:v>0</c:v>
                </c:pt>
                <c:pt idx="7415">
                  <c:v>0</c:v>
                </c:pt>
                <c:pt idx="7416">
                  <c:v>0</c:v>
                </c:pt>
                <c:pt idx="7417">
                  <c:v>0</c:v>
                </c:pt>
                <c:pt idx="7418">
                  <c:v>0</c:v>
                </c:pt>
                <c:pt idx="7419">
                  <c:v>0</c:v>
                </c:pt>
                <c:pt idx="7420">
                  <c:v>0</c:v>
                </c:pt>
                <c:pt idx="7421">
                  <c:v>0</c:v>
                </c:pt>
                <c:pt idx="7422">
                  <c:v>0</c:v>
                </c:pt>
                <c:pt idx="7423">
                  <c:v>0</c:v>
                </c:pt>
                <c:pt idx="7424">
                  <c:v>0</c:v>
                </c:pt>
                <c:pt idx="7425">
                  <c:v>0</c:v>
                </c:pt>
                <c:pt idx="7426">
                  <c:v>0</c:v>
                </c:pt>
                <c:pt idx="7427">
                  <c:v>0</c:v>
                </c:pt>
                <c:pt idx="7428">
                  <c:v>0</c:v>
                </c:pt>
                <c:pt idx="7429">
                  <c:v>0</c:v>
                </c:pt>
                <c:pt idx="7430">
                  <c:v>0</c:v>
                </c:pt>
                <c:pt idx="7431">
                  <c:v>0</c:v>
                </c:pt>
                <c:pt idx="7432">
                  <c:v>0</c:v>
                </c:pt>
                <c:pt idx="7433">
                  <c:v>0</c:v>
                </c:pt>
                <c:pt idx="7434">
                  <c:v>0</c:v>
                </c:pt>
                <c:pt idx="7435">
                  <c:v>0</c:v>
                </c:pt>
                <c:pt idx="7436">
                  <c:v>0</c:v>
                </c:pt>
                <c:pt idx="7437">
                  <c:v>0</c:v>
                </c:pt>
                <c:pt idx="7438">
                  <c:v>0</c:v>
                </c:pt>
                <c:pt idx="7439">
                  <c:v>0</c:v>
                </c:pt>
                <c:pt idx="7440">
                  <c:v>0</c:v>
                </c:pt>
                <c:pt idx="7441">
                  <c:v>0</c:v>
                </c:pt>
                <c:pt idx="7442">
                  <c:v>0</c:v>
                </c:pt>
                <c:pt idx="7443">
                  <c:v>0</c:v>
                </c:pt>
                <c:pt idx="7444">
                  <c:v>0</c:v>
                </c:pt>
                <c:pt idx="7445">
                  <c:v>0</c:v>
                </c:pt>
                <c:pt idx="7446">
                  <c:v>0</c:v>
                </c:pt>
                <c:pt idx="7447">
                  <c:v>0</c:v>
                </c:pt>
                <c:pt idx="7448">
                  <c:v>0</c:v>
                </c:pt>
                <c:pt idx="7449">
                  <c:v>0</c:v>
                </c:pt>
                <c:pt idx="7450">
                  <c:v>0</c:v>
                </c:pt>
                <c:pt idx="7451">
                  <c:v>0</c:v>
                </c:pt>
                <c:pt idx="7452">
                  <c:v>0</c:v>
                </c:pt>
                <c:pt idx="7453">
                  <c:v>0</c:v>
                </c:pt>
                <c:pt idx="7454">
                  <c:v>0</c:v>
                </c:pt>
                <c:pt idx="7455">
                  <c:v>0</c:v>
                </c:pt>
                <c:pt idx="7456">
                  <c:v>0</c:v>
                </c:pt>
                <c:pt idx="7457">
                  <c:v>0</c:v>
                </c:pt>
                <c:pt idx="7458">
                  <c:v>0</c:v>
                </c:pt>
                <c:pt idx="7459">
                  <c:v>0</c:v>
                </c:pt>
                <c:pt idx="7460">
                  <c:v>0</c:v>
                </c:pt>
                <c:pt idx="7461">
                  <c:v>0</c:v>
                </c:pt>
                <c:pt idx="7462">
                  <c:v>0</c:v>
                </c:pt>
                <c:pt idx="7463">
                  <c:v>0</c:v>
                </c:pt>
                <c:pt idx="7464">
                  <c:v>0</c:v>
                </c:pt>
                <c:pt idx="7465">
                  <c:v>0</c:v>
                </c:pt>
                <c:pt idx="7466">
                  <c:v>0</c:v>
                </c:pt>
                <c:pt idx="7467">
                  <c:v>0</c:v>
                </c:pt>
                <c:pt idx="7468">
                  <c:v>0</c:v>
                </c:pt>
                <c:pt idx="7469">
                  <c:v>0</c:v>
                </c:pt>
                <c:pt idx="7470">
                  <c:v>0</c:v>
                </c:pt>
                <c:pt idx="7471">
                  <c:v>0</c:v>
                </c:pt>
                <c:pt idx="7472">
                  <c:v>0</c:v>
                </c:pt>
                <c:pt idx="7473">
                  <c:v>0</c:v>
                </c:pt>
                <c:pt idx="7474">
                  <c:v>0</c:v>
                </c:pt>
                <c:pt idx="7475">
                  <c:v>0</c:v>
                </c:pt>
                <c:pt idx="7476">
                  <c:v>0</c:v>
                </c:pt>
                <c:pt idx="7477">
                  <c:v>0</c:v>
                </c:pt>
                <c:pt idx="7478">
                  <c:v>0</c:v>
                </c:pt>
                <c:pt idx="7479">
                  <c:v>0</c:v>
                </c:pt>
                <c:pt idx="7480">
                  <c:v>0</c:v>
                </c:pt>
                <c:pt idx="7481">
                  <c:v>0</c:v>
                </c:pt>
                <c:pt idx="7482">
                  <c:v>0</c:v>
                </c:pt>
                <c:pt idx="7483">
                  <c:v>0</c:v>
                </c:pt>
                <c:pt idx="7484">
                  <c:v>0</c:v>
                </c:pt>
                <c:pt idx="7485">
                  <c:v>0</c:v>
                </c:pt>
                <c:pt idx="7486">
                  <c:v>0</c:v>
                </c:pt>
                <c:pt idx="7487">
                  <c:v>0</c:v>
                </c:pt>
                <c:pt idx="7488">
                  <c:v>0</c:v>
                </c:pt>
                <c:pt idx="7489">
                  <c:v>0</c:v>
                </c:pt>
                <c:pt idx="7490">
                  <c:v>0</c:v>
                </c:pt>
                <c:pt idx="7491">
                  <c:v>0</c:v>
                </c:pt>
                <c:pt idx="7492">
                  <c:v>0</c:v>
                </c:pt>
                <c:pt idx="7493">
                  <c:v>0</c:v>
                </c:pt>
                <c:pt idx="7494">
                  <c:v>0</c:v>
                </c:pt>
                <c:pt idx="7495">
                  <c:v>0</c:v>
                </c:pt>
                <c:pt idx="7496">
                  <c:v>0</c:v>
                </c:pt>
                <c:pt idx="7497">
                  <c:v>0</c:v>
                </c:pt>
                <c:pt idx="7498">
                  <c:v>0</c:v>
                </c:pt>
                <c:pt idx="7499">
                  <c:v>0</c:v>
                </c:pt>
                <c:pt idx="7500">
                  <c:v>0</c:v>
                </c:pt>
                <c:pt idx="7501">
                  <c:v>0</c:v>
                </c:pt>
                <c:pt idx="7502">
                  <c:v>0</c:v>
                </c:pt>
                <c:pt idx="7503">
                  <c:v>0</c:v>
                </c:pt>
                <c:pt idx="7504">
                  <c:v>0</c:v>
                </c:pt>
                <c:pt idx="7505">
                  <c:v>0</c:v>
                </c:pt>
                <c:pt idx="7506">
                  <c:v>0</c:v>
                </c:pt>
                <c:pt idx="7507">
                  <c:v>0</c:v>
                </c:pt>
                <c:pt idx="7508">
                  <c:v>0</c:v>
                </c:pt>
                <c:pt idx="7509">
                  <c:v>0</c:v>
                </c:pt>
                <c:pt idx="7510">
                  <c:v>0</c:v>
                </c:pt>
                <c:pt idx="7511">
                  <c:v>0</c:v>
                </c:pt>
                <c:pt idx="7512">
                  <c:v>0</c:v>
                </c:pt>
                <c:pt idx="7513">
                  <c:v>0</c:v>
                </c:pt>
                <c:pt idx="7514">
                  <c:v>0</c:v>
                </c:pt>
                <c:pt idx="7515">
                  <c:v>0</c:v>
                </c:pt>
                <c:pt idx="7516">
                  <c:v>0</c:v>
                </c:pt>
                <c:pt idx="7517">
                  <c:v>0</c:v>
                </c:pt>
                <c:pt idx="7518">
                  <c:v>0</c:v>
                </c:pt>
                <c:pt idx="7519">
                  <c:v>0</c:v>
                </c:pt>
                <c:pt idx="7520">
                  <c:v>0</c:v>
                </c:pt>
                <c:pt idx="7521">
                  <c:v>0</c:v>
                </c:pt>
                <c:pt idx="7522">
                  <c:v>0</c:v>
                </c:pt>
                <c:pt idx="7523">
                  <c:v>0</c:v>
                </c:pt>
                <c:pt idx="7524">
                  <c:v>0</c:v>
                </c:pt>
                <c:pt idx="7525">
                  <c:v>0</c:v>
                </c:pt>
                <c:pt idx="7526">
                  <c:v>0</c:v>
                </c:pt>
                <c:pt idx="7527">
                  <c:v>0</c:v>
                </c:pt>
                <c:pt idx="7528">
                  <c:v>0</c:v>
                </c:pt>
                <c:pt idx="7529">
                  <c:v>0</c:v>
                </c:pt>
                <c:pt idx="7530">
                  <c:v>0</c:v>
                </c:pt>
                <c:pt idx="7531">
                  <c:v>0</c:v>
                </c:pt>
                <c:pt idx="7532">
                  <c:v>0</c:v>
                </c:pt>
                <c:pt idx="7533">
                  <c:v>0</c:v>
                </c:pt>
                <c:pt idx="7534">
                  <c:v>0</c:v>
                </c:pt>
                <c:pt idx="7535">
                  <c:v>0</c:v>
                </c:pt>
                <c:pt idx="7536">
                  <c:v>0</c:v>
                </c:pt>
                <c:pt idx="7537">
                  <c:v>0</c:v>
                </c:pt>
                <c:pt idx="7538">
                  <c:v>0</c:v>
                </c:pt>
                <c:pt idx="7539">
                  <c:v>0</c:v>
                </c:pt>
                <c:pt idx="7540">
                  <c:v>0</c:v>
                </c:pt>
                <c:pt idx="7541">
                  <c:v>0</c:v>
                </c:pt>
                <c:pt idx="7542">
                  <c:v>0</c:v>
                </c:pt>
                <c:pt idx="7543">
                  <c:v>0</c:v>
                </c:pt>
                <c:pt idx="7544">
                  <c:v>0</c:v>
                </c:pt>
                <c:pt idx="7545">
                  <c:v>0</c:v>
                </c:pt>
                <c:pt idx="7546">
                  <c:v>0</c:v>
                </c:pt>
                <c:pt idx="7547">
                  <c:v>0</c:v>
                </c:pt>
                <c:pt idx="7548">
                  <c:v>0</c:v>
                </c:pt>
                <c:pt idx="7549">
                  <c:v>0</c:v>
                </c:pt>
                <c:pt idx="7550">
                  <c:v>0</c:v>
                </c:pt>
                <c:pt idx="7551">
                  <c:v>0</c:v>
                </c:pt>
                <c:pt idx="7552">
                  <c:v>0</c:v>
                </c:pt>
                <c:pt idx="7553">
                  <c:v>0</c:v>
                </c:pt>
                <c:pt idx="7554">
                  <c:v>0</c:v>
                </c:pt>
                <c:pt idx="7555">
                  <c:v>0</c:v>
                </c:pt>
                <c:pt idx="7556">
                  <c:v>0</c:v>
                </c:pt>
                <c:pt idx="7557">
                  <c:v>0</c:v>
                </c:pt>
                <c:pt idx="7558">
                  <c:v>0</c:v>
                </c:pt>
                <c:pt idx="7559">
                  <c:v>0</c:v>
                </c:pt>
                <c:pt idx="7560">
                  <c:v>0</c:v>
                </c:pt>
                <c:pt idx="7561">
                  <c:v>0</c:v>
                </c:pt>
                <c:pt idx="7562">
                  <c:v>0</c:v>
                </c:pt>
                <c:pt idx="7563">
                  <c:v>0</c:v>
                </c:pt>
                <c:pt idx="7564">
                  <c:v>0</c:v>
                </c:pt>
                <c:pt idx="7565">
                  <c:v>0</c:v>
                </c:pt>
                <c:pt idx="7566">
                  <c:v>0</c:v>
                </c:pt>
                <c:pt idx="7567">
                  <c:v>0</c:v>
                </c:pt>
                <c:pt idx="7568">
                  <c:v>0</c:v>
                </c:pt>
                <c:pt idx="7569">
                  <c:v>0</c:v>
                </c:pt>
                <c:pt idx="7570">
                  <c:v>0</c:v>
                </c:pt>
                <c:pt idx="7571">
                  <c:v>0</c:v>
                </c:pt>
                <c:pt idx="7572">
                  <c:v>0</c:v>
                </c:pt>
                <c:pt idx="7573">
                  <c:v>0</c:v>
                </c:pt>
                <c:pt idx="7574">
                  <c:v>0</c:v>
                </c:pt>
                <c:pt idx="7575">
                  <c:v>0</c:v>
                </c:pt>
                <c:pt idx="7576">
                  <c:v>0</c:v>
                </c:pt>
                <c:pt idx="7577">
                  <c:v>0</c:v>
                </c:pt>
                <c:pt idx="7578">
                  <c:v>0</c:v>
                </c:pt>
                <c:pt idx="7579">
                  <c:v>0</c:v>
                </c:pt>
                <c:pt idx="7580">
                  <c:v>0</c:v>
                </c:pt>
                <c:pt idx="7581">
                  <c:v>0</c:v>
                </c:pt>
                <c:pt idx="7582">
                  <c:v>0</c:v>
                </c:pt>
                <c:pt idx="7583">
                  <c:v>0</c:v>
                </c:pt>
                <c:pt idx="7584">
                  <c:v>0</c:v>
                </c:pt>
                <c:pt idx="7585">
                  <c:v>0</c:v>
                </c:pt>
                <c:pt idx="7586">
                  <c:v>0</c:v>
                </c:pt>
                <c:pt idx="7587">
                  <c:v>0</c:v>
                </c:pt>
                <c:pt idx="7588">
                  <c:v>0</c:v>
                </c:pt>
                <c:pt idx="7589">
                  <c:v>0</c:v>
                </c:pt>
                <c:pt idx="7590">
                  <c:v>0</c:v>
                </c:pt>
                <c:pt idx="7591">
                  <c:v>0</c:v>
                </c:pt>
                <c:pt idx="7592">
                  <c:v>0</c:v>
                </c:pt>
                <c:pt idx="7593">
                  <c:v>0</c:v>
                </c:pt>
                <c:pt idx="7594">
                  <c:v>0</c:v>
                </c:pt>
                <c:pt idx="7595">
                  <c:v>0</c:v>
                </c:pt>
                <c:pt idx="7596">
                  <c:v>0</c:v>
                </c:pt>
                <c:pt idx="7597">
                  <c:v>0</c:v>
                </c:pt>
                <c:pt idx="7598">
                  <c:v>0</c:v>
                </c:pt>
                <c:pt idx="7599">
                  <c:v>0</c:v>
                </c:pt>
                <c:pt idx="7600">
                  <c:v>0</c:v>
                </c:pt>
                <c:pt idx="7601">
                  <c:v>0</c:v>
                </c:pt>
                <c:pt idx="7602">
                  <c:v>0</c:v>
                </c:pt>
                <c:pt idx="7603">
                  <c:v>0</c:v>
                </c:pt>
                <c:pt idx="7604">
                  <c:v>0</c:v>
                </c:pt>
                <c:pt idx="7605">
                  <c:v>0</c:v>
                </c:pt>
                <c:pt idx="7606">
                  <c:v>0</c:v>
                </c:pt>
                <c:pt idx="7607">
                  <c:v>0</c:v>
                </c:pt>
                <c:pt idx="7608">
                  <c:v>0</c:v>
                </c:pt>
                <c:pt idx="7609">
                  <c:v>0</c:v>
                </c:pt>
                <c:pt idx="7610">
                  <c:v>0</c:v>
                </c:pt>
                <c:pt idx="7611">
                  <c:v>0</c:v>
                </c:pt>
                <c:pt idx="7612">
                  <c:v>0</c:v>
                </c:pt>
                <c:pt idx="7613">
                  <c:v>0</c:v>
                </c:pt>
                <c:pt idx="7614">
                  <c:v>0</c:v>
                </c:pt>
                <c:pt idx="7615">
                  <c:v>0</c:v>
                </c:pt>
                <c:pt idx="7616">
                  <c:v>0</c:v>
                </c:pt>
                <c:pt idx="7617">
                  <c:v>0</c:v>
                </c:pt>
                <c:pt idx="7618">
                  <c:v>0</c:v>
                </c:pt>
                <c:pt idx="7619">
                  <c:v>0</c:v>
                </c:pt>
                <c:pt idx="7620">
                  <c:v>0</c:v>
                </c:pt>
                <c:pt idx="7621">
                  <c:v>0</c:v>
                </c:pt>
                <c:pt idx="7622">
                  <c:v>0</c:v>
                </c:pt>
                <c:pt idx="7623">
                  <c:v>0</c:v>
                </c:pt>
                <c:pt idx="7624">
                  <c:v>0</c:v>
                </c:pt>
                <c:pt idx="7625">
                  <c:v>0</c:v>
                </c:pt>
                <c:pt idx="7626">
                  <c:v>0</c:v>
                </c:pt>
                <c:pt idx="7627">
                  <c:v>0</c:v>
                </c:pt>
                <c:pt idx="7628">
                  <c:v>0</c:v>
                </c:pt>
                <c:pt idx="7629">
                  <c:v>0</c:v>
                </c:pt>
                <c:pt idx="7630">
                  <c:v>0</c:v>
                </c:pt>
                <c:pt idx="7631">
                  <c:v>0</c:v>
                </c:pt>
                <c:pt idx="7632">
                  <c:v>0</c:v>
                </c:pt>
                <c:pt idx="7633">
                  <c:v>0</c:v>
                </c:pt>
                <c:pt idx="7634">
                  <c:v>0</c:v>
                </c:pt>
                <c:pt idx="7635">
                  <c:v>0</c:v>
                </c:pt>
                <c:pt idx="7636">
                  <c:v>0</c:v>
                </c:pt>
                <c:pt idx="7637">
                  <c:v>0</c:v>
                </c:pt>
                <c:pt idx="7638">
                  <c:v>0</c:v>
                </c:pt>
                <c:pt idx="7639">
                  <c:v>0</c:v>
                </c:pt>
                <c:pt idx="7640">
                  <c:v>0</c:v>
                </c:pt>
                <c:pt idx="7641">
                  <c:v>0</c:v>
                </c:pt>
                <c:pt idx="7642">
                  <c:v>0</c:v>
                </c:pt>
                <c:pt idx="7643">
                  <c:v>0</c:v>
                </c:pt>
                <c:pt idx="7644">
                  <c:v>0</c:v>
                </c:pt>
                <c:pt idx="7645">
                  <c:v>0</c:v>
                </c:pt>
                <c:pt idx="7646">
                  <c:v>0</c:v>
                </c:pt>
                <c:pt idx="7647">
                  <c:v>0</c:v>
                </c:pt>
                <c:pt idx="7648">
                  <c:v>0</c:v>
                </c:pt>
                <c:pt idx="7649">
                  <c:v>0</c:v>
                </c:pt>
                <c:pt idx="7650">
                  <c:v>0</c:v>
                </c:pt>
                <c:pt idx="7651">
                  <c:v>0</c:v>
                </c:pt>
                <c:pt idx="7652">
                  <c:v>0</c:v>
                </c:pt>
                <c:pt idx="7653">
                  <c:v>0</c:v>
                </c:pt>
                <c:pt idx="7654">
                  <c:v>0</c:v>
                </c:pt>
                <c:pt idx="7655">
                  <c:v>0</c:v>
                </c:pt>
                <c:pt idx="7656">
                  <c:v>0</c:v>
                </c:pt>
                <c:pt idx="7657">
                  <c:v>0</c:v>
                </c:pt>
                <c:pt idx="7658">
                  <c:v>0</c:v>
                </c:pt>
                <c:pt idx="7659">
                  <c:v>0</c:v>
                </c:pt>
                <c:pt idx="7660">
                  <c:v>0</c:v>
                </c:pt>
                <c:pt idx="7661">
                  <c:v>0</c:v>
                </c:pt>
                <c:pt idx="7662">
                  <c:v>0</c:v>
                </c:pt>
                <c:pt idx="7663">
                  <c:v>0</c:v>
                </c:pt>
                <c:pt idx="7664">
                  <c:v>0</c:v>
                </c:pt>
                <c:pt idx="7665">
                  <c:v>0</c:v>
                </c:pt>
                <c:pt idx="7666">
                  <c:v>0</c:v>
                </c:pt>
                <c:pt idx="7667">
                  <c:v>0</c:v>
                </c:pt>
                <c:pt idx="7668">
                  <c:v>0</c:v>
                </c:pt>
                <c:pt idx="7669">
                  <c:v>0</c:v>
                </c:pt>
                <c:pt idx="7670">
                  <c:v>0</c:v>
                </c:pt>
                <c:pt idx="7671">
                  <c:v>0</c:v>
                </c:pt>
                <c:pt idx="7672">
                  <c:v>0</c:v>
                </c:pt>
                <c:pt idx="7673">
                  <c:v>0</c:v>
                </c:pt>
                <c:pt idx="7674">
                  <c:v>0</c:v>
                </c:pt>
                <c:pt idx="7675">
                  <c:v>0</c:v>
                </c:pt>
                <c:pt idx="7676">
                  <c:v>0</c:v>
                </c:pt>
                <c:pt idx="7677">
                  <c:v>0</c:v>
                </c:pt>
                <c:pt idx="7678">
                  <c:v>0</c:v>
                </c:pt>
                <c:pt idx="7679">
                  <c:v>0</c:v>
                </c:pt>
                <c:pt idx="7680">
                  <c:v>0</c:v>
                </c:pt>
                <c:pt idx="7681">
                  <c:v>0</c:v>
                </c:pt>
                <c:pt idx="7682">
                  <c:v>0</c:v>
                </c:pt>
                <c:pt idx="7683">
                  <c:v>0</c:v>
                </c:pt>
                <c:pt idx="7684">
                  <c:v>0</c:v>
                </c:pt>
                <c:pt idx="7685">
                  <c:v>0</c:v>
                </c:pt>
                <c:pt idx="7686">
                  <c:v>0</c:v>
                </c:pt>
                <c:pt idx="7687">
                  <c:v>0</c:v>
                </c:pt>
                <c:pt idx="7688">
                  <c:v>0</c:v>
                </c:pt>
                <c:pt idx="7689">
                  <c:v>0</c:v>
                </c:pt>
                <c:pt idx="7690">
                  <c:v>0</c:v>
                </c:pt>
                <c:pt idx="7691">
                  <c:v>0</c:v>
                </c:pt>
                <c:pt idx="7692">
                  <c:v>0</c:v>
                </c:pt>
                <c:pt idx="7693">
                  <c:v>0</c:v>
                </c:pt>
                <c:pt idx="7694">
                  <c:v>0</c:v>
                </c:pt>
                <c:pt idx="7695">
                  <c:v>0</c:v>
                </c:pt>
                <c:pt idx="7696">
                  <c:v>0</c:v>
                </c:pt>
                <c:pt idx="7697">
                  <c:v>0</c:v>
                </c:pt>
                <c:pt idx="7698">
                  <c:v>0</c:v>
                </c:pt>
                <c:pt idx="7699">
                  <c:v>0</c:v>
                </c:pt>
                <c:pt idx="7700">
                  <c:v>0</c:v>
                </c:pt>
                <c:pt idx="7701">
                  <c:v>0</c:v>
                </c:pt>
                <c:pt idx="7702">
                  <c:v>0</c:v>
                </c:pt>
                <c:pt idx="7703">
                  <c:v>0</c:v>
                </c:pt>
                <c:pt idx="7704">
                  <c:v>0</c:v>
                </c:pt>
                <c:pt idx="7705">
                  <c:v>0</c:v>
                </c:pt>
                <c:pt idx="7706">
                  <c:v>0</c:v>
                </c:pt>
                <c:pt idx="7707">
                  <c:v>0</c:v>
                </c:pt>
                <c:pt idx="7708">
                  <c:v>0</c:v>
                </c:pt>
                <c:pt idx="7709">
                  <c:v>0</c:v>
                </c:pt>
                <c:pt idx="7710">
                  <c:v>0</c:v>
                </c:pt>
                <c:pt idx="7711">
                  <c:v>0</c:v>
                </c:pt>
                <c:pt idx="7712">
                  <c:v>0</c:v>
                </c:pt>
                <c:pt idx="7713">
                  <c:v>0</c:v>
                </c:pt>
                <c:pt idx="7714">
                  <c:v>0</c:v>
                </c:pt>
                <c:pt idx="7715">
                  <c:v>0</c:v>
                </c:pt>
                <c:pt idx="7716">
                  <c:v>0</c:v>
                </c:pt>
                <c:pt idx="7717">
                  <c:v>0</c:v>
                </c:pt>
                <c:pt idx="7718">
                  <c:v>0</c:v>
                </c:pt>
                <c:pt idx="7719">
                  <c:v>0</c:v>
                </c:pt>
                <c:pt idx="7720">
                  <c:v>0</c:v>
                </c:pt>
                <c:pt idx="7721">
                  <c:v>0</c:v>
                </c:pt>
                <c:pt idx="7722">
                  <c:v>0</c:v>
                </c:pt>
                <c:pt idx="7723">
                  <c:v>0</c:v>
                </c:pt>
                <c:pt idx="7724">
                  <c:v>0</c:v>
                </c:pt>
                <c:pt idx="7725">
                  <c:v>0</c:v>
                </c:pt>
                <c:pt idx="7726">
                  <c:v>0</c:v>
                </c:pt>
                <c:pt idx="7727">
                  <c:v>0</c:v>
                </c:pt>
                <c:pt idx="7728">
                  <c:v>0</c:v>
                </c:pt>
                <c:pt idx="7729">
                  <c:v>0</c:v>
                </c:pt>
                <c:pt idx="7730">
                  <c:v>0</c:v>
                </c:pt>
                <c:pt idx="7731">
                  <c:v>0</c:v>
                </c:pt>
                <c:pt idx="7732">
                  <c:v>0</c:v>
                </c:pt>
                <c:pt idx="7733">
                  <c:v>0</c:v>
                </c:pt>
                <c:pt idx="7734">
                  <c:v>0</c:v>
                </c:pt>
                <c:pt idx="7735">
                  <c:v>0</c:v>
                </c:pt>
                <c:pt idx="7736">
                  <c:v>0</c:v>
                </c:pt>
                <c:pt idx="7737">
                  <c:v>0</c:v>
                </c:pt>
                <c:pt idx="7738">
                  <c:v>0</c:v>
                </c:pt>
                <c:pt idx="7739">
                  <c:v>0</c:v>
                </c:pt>
                <c:pt idx="7740">
                  <c:v>0</c:v>
                </c:pt>
                <c:pt idx="7741">
                  <c:v>0</c:v>
                </c:pt>
                <c:pt idx="7742">
                  <c:v>0</c:v>
                </c:pt>
                <c:pt idx="7743">
                  <c:v>0</c:v>
                </c:pt>
                <c:pt idx="7744">
                  <c:v>0</c:v>
                </c:pt>
                <c:pt idx="7745">
                  <c:v>0</c:v>
                </c:pt>
                <c:pt idx="7746">
                  <c:v>0</c:v>
                </c:pt>
                <c:pt idx="7747">
                  <c:v>0</c:v>
                </c:pt>
                <c:pt idx="7748">
                  <c:v>0</c:v>
                </c:pt>
                <c:pt idx="7749">
                  <c:v>0</c:v>
                </c:pt>
                <c:pt idx="7750">
                  <c:v>0</c:v>
                </c:pt>
                <c:pt idx="7751">
                  <c:v>0</c:v>
                </c:pt>
                <c:pt idx="7752">
                  <c:v>0</c:v>
                </c:pt>
                <c:pt idx="7753">
                  <c:v>0</c:v>
                </c:pt>
                <c:pt idx="7754">
                  <c:v>0</c:v>
                </c:pt>
                <c:pt idx="7755">
                  <c:v>0</c:v>
                </c:pt>
                <c:pt idx="7756">
                  <c:v>0</c:v>
                </c:pt>
                <c:pt idx="7757">
                  <c:v>0</c:v>
                </c:pt>
                <c:pt idx="7758">
                  <c:v>0</c:v>
                </c:pt>
                <c:pt idx="7759">
                  <c:v>0</c:v>
                </c:pt>
                <c:pt idx="7760">
                  <c:v>0</c:v>
                </c:pt>
                <c:pt idx="7761">
                  <c:v>0</c:v>
                </c:pt>
                <c:pt idx="7762">
                  <c:v>0</c:v>
                </c:pt>
                <c:pt idx="7763">
                  <c:v>0</c:v>
                </c:pt>
                <c:pt idx="7764">
                  <c:v>0</c:v>
                </c:pt>
                <c:pt idx="7765">
                  <c:v>0</c:v>
                </c:pt>
                <c:pt idx="7766">
                  <c:v>0</c:v>
                </c:pt>
                <c:pt idx="7767">
                  <c:v>0</c:v>
                </c:pt>
                <c:pt idx="7768">
                  <c:v>0</c:v>
                </c:pt>
                <c:pt idx="7769">
                  <c:v>0</c:v>
                </c:pt>
                <c:pt idx="7770">
                  <c:v>0</c:v>
                </c:pt>
                <c:pt idx="7771">
                  <c:v>0</c:v>
                </c:pt>
                <c:pt idx="7772">
                  <c:v>0</c:v>
                </c:pt>
                <c:pt idx="7773">
                  <c:v>0</c:v>
                </c:pt>
                <c:pt idx="7774">
                  <c:v>0</c:v>
                </c:pt>
                <c:pt idx="7775">
                  <c:v>0</c:v>
                </c:pt>
                <c:pt idx="7776">
                  <c:v>0</c:v>
                </c:pt>
                <c:pt idx="7777">
                  <c:v>0</c:v>
                </c:pt>
                <c:pt idx="7778">
                  <c:v>0</c:v>
                </c:pt>
                <c:pt idx="7779">
                  <c:v>0</c:v>
                </c:pt>
                <c:pt idx="7780">
                  <c:v>0</c:v>
                </c:pt>
                <c:pt idx="7781">
                  <c:v>0</c:v>
                </c:pt>
                <c:pt idx="7782">
                  <c:v>0</c:v>
                </c:pt>
                <c:pt idx="7783">
                  <c:v>0</c:v>
                </c:pt>
                <c:pt idx="7784">
                  <c:v>0</c:v>
                </c:pt>
                <c:pt idx="7785">
                  <c:v>0</c:v>
                </c:pt>
                <c:pt idx="7786">
                  <c:v>0</c:v>
                </c:pt>
                <c:pt idx="7787">
                  <c:v>0</c:v>
                </c:pt>
                <c:pt idx="7788">
                  <c:v>0</c:v>
                </c:pt>
                <c:pt idx="7789">
                  <c:v>0</c:v>
                </c:pt>
                <c:pt idx="7790">
                  <c:v>0</c:v>
                </c:pt>
                <c:pt idx="7791">
                  <c:v>0</c:v>
                </c:pt>
                <c:pt idx="7792">
                  <c:v>0</c:v>
                </c:pt>
                <c:pt idx="7793">
                  <c:v>0</c:v>
                </c:pt>
                <c:pt idx="7794">
                  <c:v>0</c:v>
                </c:pt>
                <c:pt idx="7795">
                  <c:v>0</c:v>
                </c:pt>
                <c:pt idx="7796">
                  <c:v>0</c:v>
                </c:pt>
                <c:pt idx="7797">
                  <c:v>0</c:v>
                </c:pt>
                <c:pt idx="7798">
                  <c:v>0</c:v>
                </c:pt>
                <c:pt idx="7799">
                  <c:v>0</c:v>
                </c:pt>
                <c:pt idx="7800">
                  <c:v>0</c:v>
                </c:pt>
                <c:pt idx="7801">
                  <c:v>0</c:v>
                </c:pt>
                <c:pt idx="7802">
                  <c:v>0</c:v>
                </c:pt>
                <c:pt idx="7803">
                  <c:v>0</c:v>
                </c:pt>
                <c:pt idx="7804">
                  <c:v>0</c:v>
                </c:pt>
                <c:pt idx="7805">
                  <c:v>0</c:v>
                </c:pt>
                <c:pt idx="7806">
                  <c:v>0</c:v>
                </c:pt>
                <c:pt idx="7807">
                  <c:v>0</c:v>
                </c:pt>
                <c:pt idx="7808">
                  <c:v>0</c:v>
                </c:pt>
                <c:pt idx="7809">
                  <c:v>0</c:v>
                </c:pt>
                <c:pt idx="7810">
                  <c:v>0</c:v>
                </c:pt>
                <c:pt idx="7811">
                  <c:v>0</c:v>
                </c:pt>
                <c:pt idx="7812">
                  <c:v>0</c:v>
                </c:pt>
                <c:pt idx="7813">
                  <c:v>0</c:v>
                </c:pt>
                <c:pt idx="7814">
                  <c:v>0</c:v>
                </c:pt>
                <c:pt idx="7815">
                  <c:v>0</c:v>
                </c:pt>
                <c:pt idx="7816">
                  <c:v>0</c:v>
                </c:pt>
                <c:pt idx="7817">
                  <c:v>0</c:v>
                </c:pt>
                <c:pt idx="7818">
                  <c:v>0</c:v>
                </c:pt>
                <c:pt idx="7819">
                  <c:v>0</c:v>
                </c:pt>
                <c:pt idx="7820">
                  <c:v>0</c:v>
                </c:pt>
                <c:pt idx="7821">
                  <c:v>0</c:v>
                </c:pt>
                <c:pt idx="7822">
                  <c:v>0</c:v>
                </c:pt>
                <c:pt idx="7823">
                  <c:v>0</c:v>
                </c:pt>
                <c:pt idx="7824">
                  <c:v>0</c:v>
                </c:pt>
                <c:pt idx="7825">
                  <c:v>0</c:v>
                </c:pt>
                <c:pt idx="7826">
                  <c:v>0</c:v>
                </c:pt>
                <c:pt idx="7827">
                  <c:v>0</c:v>
                </c:pt>
                <c:pt idx="7828">
                  <c:v>0</c:v>
                </c:pt>
                <c:pt idx="7829">
                  <c:v>0</c:v>
                </c:pt>
                <c:pt idx="7830">
                  <c:v>0</c:v>
                </c:pt>
                <c:pt idx="7831">
                  <c:v>0</c:v>
                </c:pt>
                <c:pt idx="7832">
                  <c:v>0</c:v>
                </c:pt>
                <c:pt idx="7833">
                  <c:v>0</c:v>
                </c:pt>
                <c:pt idx="7834">
                  <c:v>0</c:v>
                </c:pt>
                <c:pt idx="7835">
                  <c:v>0</c:v>
                </c:pt>
                <c:pt idx="7836">
                  <c:v>0</c:v>
                </c:pt>
                <c:pt idx="7837">
                  <c:v>0</c:v>
                </c:pt>
                <c:pt idx="7838">
                  <c:v>0</c:v>
                </c:pt>
                <c:pt idx="7839">
                  <c:v>0</c:v>
                </c:pt>
                <c:pt idx="7840">
                  <c:v>0</c:v>
                </c:pt>
                <c:pt idx="7841">
                  <c:v>0</c:v>
                </c:pt>
                <c:pt idx="7842">
                  <c:v>0</c:v>
                </c:pt>
                <c:pt idx="7843">
                  <c:v>0</c:v>
                </c:pt>
                <c:pt idx="7844">
                  <c:v>0</c:v>
                </c:pt>
                <c:pt idx="7845">
                  <c:v>0</c:v>
                </c:pt>
                <c:pt idx="7846">
                  <c:v>0</c:v>
                </c:pt>
                <c:pt idx="7847">
                  <c:v>0</c:v>
                </c:pt>
                <c:pt idx="7848">
                  <c:v>0</c:v>
                </c:pt>
                <c:pt idx="7849">
                  <c:v>0</c:v>
                </c:pt>
                <c:pt idx="7850">
                  <c:v>0</c:v>
                </c:pt>
                <c:pt idx="7851">
                  <c:v>0</c:v>
                </c:pt>
                <c:pt idx="7852">
                  <c:v>0</c:v>
                </c:pt>
                <c:pt idx="7853">
                  <c:v>0</c:v>
                </c:pt>
                <c:pt idx="7854">
                  <c:v>0</c:v>
                </c:pt>
                <c:pt idx="7855">
                  <c:v>0</c:v>
                </c:pt>
                <c:pt idx="7856">
                  <c:v>0</c:v>
                </c:pt>
                <c:pt idx="7857">
                  <c:v>0</c:v>
                </c:pt>
                <c:pt idx="7858">
                  <c:v>0</c:v>
                </c:pt>
                <c:pt idx="7859">
                  <c:v>0</c:v>
                </c:pt>
                <c:pt idx="7860">
                  <c:v>0</c:v>
                </c:pt>
                <c:pt idx="7861">
                  <c:v>0</c:v>
                </c:pt>
                <c:pt idx="7862">
                  <c:v>0</c:v>
                </c:pt>
                <c:pt idx="7863">
                  <c:v>0</c:v>
                </c:pt>
                <c:pt idx="7864">
                  <c:v>0</c:v>
                </c:pt>
                <c:pt idx="7865">
                  <c:v>0</c:v>
                </c:pt>
                <c:pt idx="7866">
                  <c:v>0</c:v>
                </c:pt>
                <c:pt idx="7867">
                  <c:v>0</c:v>
                </c:pt>
                <c:pt idx="7868">
                  <c:v>0</c:v>
                </c:pt>
                <c:pt idx="7869">
                  <c:v>0</c:v>
                </c:pt>
                <c:pt idx="7870">
                  <c:v>0</c:v>
                </c:pt>
                <c:pt idx="7871">
                  <c:v>0</c:v>
                </c:pt>
                <c:pt idx="7872">
                  <c:v>0</c:v>
                </c:pt>
                <c:pt idx="7873">
                  <c:v>0</c:v>
                </c:pt>
                <c:pt idx="7874">
                  <c:v>0</c:v>
                </c:pt>
                <c:pt idx="7875">
                  <c:v>0</c:v>
                </c:pt>
                <c:pt idx="7876">
                  <c:v>0</c:v>
                </c:pt>
                <c:pt idx="7877">
                  <c:v>0</c:v>
                </c:pt>
                <c:pt idx="7878">
                  <c:v>0</c:v>
                </c:pt>
                <c:pt idx="7879">
                  <c:v>0</c:v>
                </c:pt>
                <c:pt idx="7880">
                  <c:v>0</c:v>
                </c:pt>
                <c:pt idx="7881">
                  <c:v>0</c:v>
                </c:pt>
                <c:pt idx="7882">
                  <c:v>0</c:v>
                </c:pt>
                <c:pt idx="7883">
                  <c:v>0</c:v>
                </c:pt>
                <c:pt idx="7884">
                  <c:v>0</c:v>
                </c:pt>
                <c:pt idx="7885">
                  <c:v>0</c:v>
                </c:pt>
                <c:pt idx="7886">
                  <c:v>0</c:v>
                </c:pt>
                <c:pt idx="7887">
                  <c:v>0</c:v>
                </c:pt>
                <c:pt idx="7888">
                  <c:v>0</c:v>
                </c:pt>
                <c:pt idx="7889">
                  <c:v>0</c:v>
                </c:pt>
                <c:pt idx="7890">
                  <c:v>0</c:v>
                </c:pt>
                <c:pt idx="7891">
                  <c:v>0</c:v>
                </c:pt>
                <c:pt idx="7892">
                  <c:v>0</c:v>
                </c:pt>
                <c:pt idx="7893">
                  <c:v>0</c:v>
                </c:pt>
                <c:pt idx="7894">
                  <c:v>0</c:v>
                </c:pt>
                <c:pt idx="7895">
                  <c:v>0</c:v>
                </c:pt>
                <c:pt idx="7896">
                  <c:v>0</c:v>
                </c:pt>
                <c:pt idx="7897">
                  <c:v>0</c:v>
                </c:pt>
                <c:pt idx="7898">
                  <c:v>0</c:v>
                </c:pt>
                <c:pt idx="7899">
                  <c:v>0</c:v>
                </c:pt>
                <c:pt idx="7900">
                  <c:v>0</c:v>
                </c:pt>
                <c:pt idx="7901">
                  <c:v>0</c:v>
                </c:pt>
                <c:pt idx="7902">
                  <c:v>0</c:v>
                </c:pt>
                <c:pt idx="7903">
                  <c:v>0</c:v>
                </c:pt>
                <c:pt idx="7904">
                  <c:v>0</c:v>
                </c:pt>
                <c:pt idx="7905">
                  <c:v>0</c:v>
                </c:pt>
                <c:pt idx="7906">
                  <c:v>0</c:v>
                </c:pt>
                <c:pt idx="7907">
                  <c:v>0</c:v>
                </c:pt>
                <c:pt idx="7908">
                  <c:v>0</c:v>
                </c:pt>
                <c:pt idx="7909">
                  <c:v>0</c:v>
                </c:pt>
                <c:pt idx="7910">
                  <c:v>0</c:v>
                </c:pt>
                <c:pt idx="7911">
                  <c:v>0</c:v>
                </c:pt>
                <c:pt idx="7912">
                  <c:v>0</c:v>
                </c:pt>
                <c:pt idx="7913">
                  <c:v>0</c:v>
                </c:pt>
                <c:pt idx="7914">
                  <c:v>0</c:v>
                </c:pt>
                <c:pt idx="7915">
                  <c:v>0</c:v>
                </c:pt>
                <c:pt idx="7916">
                  <c:v>0</c:v>
                </c:pt>
                <c:pt idx="7917">
                  <c:v>0</c:v>
                </c:pt>
                <c:pt idx="7918">
                  <c:v>0</c:v>
                </c:pt>
                <c:pt idx="7919">
                  <c:v>0</c:v>
                </c:pt>
                <c:pt idx="7920">
                  <c:v>0</c:v>
                </c:pt>
                <c:pt idx="7921">
                  <c:v>0</c:v>
                </c:pt>
                <c:pt idx="7922">
                  <c:v>0</c:v>
                </c:pt>
                <c:pt idx="7923">
                  <c:v>0</c:v>
                </c:pt>
                <c:pt idx="7924">
                  <c:v>0</c:v>
                </c:pt>
                <c:pt idx="7925">
                  <c:v>0</c:v>
                </c:pt>
                <c:pt idx="7926">
                  <c:v>0</c:v>
                </c:pt>
                <c:pt idx="7927">
                  <c:v>0</c:v>
                </c:pt>
                <c:pt idx="7928">
                  <c:v>0</c:v>
                </c:pt>
                <c:pt idx="7929">
                  <c:v>0</c:v>
                </c:pt>
                <c:pt idx="7930">
                  <c:v>0</c:v>
                </c:pt>
                <c:pt idx="7931">
                  <c:v>0</c:v>
                </c:pt>
                <c:pt idx="7932">
                  <c:v>0</c:v>
                </c:pt>
                <c:pt idx="7933">
                  <c:v>0</c:v>
                </c:pt>
                <c:pt idx="7934">
                  <c:v>0</c:v>
                </c:pt>
                <c:pt idx="7935">
                  <c:v>0</c:v>
                </c:pt>
                <c:pt idx="7936">
                  <c:v>0</c:v>
                </c:pt>
                <c:pt idx="7937">
                  <c:v>0</c:v>
                </c:pt>
                <c:pt idx="7938">
                  <c:v>0</c:v>
                </c:pt>
                <c:pt idx="7939">
                  <c:v>0</c:v>
                </c:pt>
                <c:pt idx="7940">
                  <c:v>0</c:v>
                </c:pt>
                <c:pt idx="7941">
                  <c:v>0</c:v>
                </c:pt>
                <c:pt idx="7942">
                  <c:v>0</c:v>
                </c:pt>
                <c:pt idx="7943">
                  <c:v>0</c:v>
                </c:pt>
                <c:pt idx="7944">
                  <c:v>0</c:v>
                </c:pt>
                <c:pt idx="7945">
                  <c:v>0</c:v>
                </c:pt>
                <c:pt idx="7946">
                  <c:v>0</c:v>
                </c:pt>
                <c:pt idx="7947">
                  <c:v>0</c:v>
                </c:pt>
                <c:pt idx="7948">
                  <c:v>0</c:v>
                </c:pt>
                <c:pt idx="7949">
                  <c:v>0</c:v>
                </c:pt>
                <c:pt idx="7950">
                  <c:v>0</c:v>
                </c:pt>
                <c:pt idx="7951">
                  <c:v>0</c:v>
                </c:pt>
                <c:pt idx="7952">
                  <c:v>0</c:v>
                </c:pt>
                <c:pt idx="7953">
                  <c:v>0</c:v>
                </c:pt>
                <c:pt idx="7954">
                  <c:v>0</c:v>
                </c:pt>
                <c:pt idx="7955">
                  <c:v>0</c:v>
                </c:pt>
                <c:pt idx="7956">
                  <c:v>0</c:v>
                </c:pt>
                <c:pt idx="7957">
                  <c:v>0</c:v>
                </c:pt>
                <c:pt idx="7958">
                  <c:v>0</c:v>
                </c:pt>
                <c:pt idx="7959">
                  <c:v>0</c:v>
                </c:pt>
                <c:pt idx="7960">
                  <c:v>0</c:v>
                </c:pt>
                <c:pt idx="7961">
                  <c:v>0</c:v>
                </c:pt>
                <c:pt idx="7962">
                  <c:v>0</c:v>
                </c:pt>
                <c:pt idx="7963">
                  <c:v>0</c:v>
                </c:pt>
                <c:pt idx="7964">
                  <c:v>0</c:v>
                </c:pt>
                <c:pt idx="7965">
                  <c:v>0</c:v>
                </c:pt>
                <c:pt idx="7966">
                  <c:v>0</c:v>
                </c:pt>
                <c:pt idx="7967">
                  <c:v>0</c:v>
                </c:pt>
                <c:pt idx="7968">
                  <c:v>0</c:v>
                </c:pt>
                <c:pt idx="7969">
                  <c:v>0</c:v>
                </c:pt>
                <c:pt idx="7970">
                  <c:v>0</c:v>
                </c:pt>
                <c:pt idx="7971">
                  <c:v>0</c:v>
                </c:pt>
                <c:pt idx="7972">
                  <c:v>0</c:v>
                </c:pt>
                <c:pt idx="7973">
                  <c:v>0</c:v>
                </c:pt>
                <c:pt idx="7974">
                  <c:v>0</c:v>
                </c:pt>
                <c:pt idx="7975">
                  <c:v>0</c:v>
                </c:pt>
                <c:pt idx="7976">
                  <c:v>0</c:v>
                </c:pt>
                <c:pt idx="7977">
                  <c:v>0</c:v>
                </c:pt>
                <c:pt idx="7978">
                  <c:v>0</c:v>
                </c:pt>
                <c:pt idx="7979">
                  <c:v>0</c:v>
                </c:pt>
                <c:pt idx="7980">
                  <c:v>0</c:v>
                </c:pt>
                <c:pt idx="7981">
                  <c:v>0</c:v>
                </c:pt>
                <c:pt idx="7982">
                  <c:v>0</c:v>
                </c:pt>
                <c:pt idx="7983">
                  <c:v>0</c:v>
                </c:pt>
                <c:pt idx="7984">
                  <c:v>0</c:v>
                </c:pt>
                <c:pt idx="7985">
                  <c:v>0</c:v>
                </c:pt>
                <c:pt idx="7986">
                  <c:v>0</c:v>
                </c:pt>
                <c:pt idx="7987">
                  <c:v>0</c:v>
                </c:pt>
                <c:pt idx="7988">
                  <c:v>0</c:v>
                </c:pt>
                <c:pt idx="7989">
                  <c:v>0</c:v>
                </c:pt>
                <c:pt idx="7990">
                  <c:v>0</c:v>
                </c:pt>
                <c:pt idx="7991">
                  <c:v>0</c:v>
                </c:pt>
                <c:pt idx="7992">
                  <c:v>0</c:v>
                </c:pt>
                <c:pt idx="7993">
                  <c:v>0</c:v>
                </c:pt>
                <c:pt idx="7994">
                  <c:v>0</c:v>
                </c:pt>
                <c:pt idx="7995">
                  <c:v>0</c:v>
                </c:pt>
                <c:pt idx="7996">
                  <c:v>0</c:v>
                </c:pt>
                <c:pt idx="7997">
                  <c:v>0</c:v>
                </c:pt>
                <c:pt idx="7998">
                  <c:v>0</c:v>
                </c:pt>
                <c:pt idx="7999">
                  <c:v>0</c:v>
                </c:pt>
                <c:pt idx="8000">
                  <c:v>0</c:v>
                </c:pt>
                <c:pt idx="8001">
                  <c:v>0</c:v>
                </c:pt>
                <c:pt idx="8002">
                  <c:v>0</c:v>
                </c:pt>
                <c:pt idx="8003">
                  <c:v>0</c:v>
                </c:pt>
                <c:pt idx="8004">
                  <c:v>0</c:v>
                </c:pt>
                <c:pt idx="8005">
                  <c:v>0</c:v>
                </c:pt>
                <c:pt idx="8006">
                  <c:v>0</c:v>
                </c:pt>
                <c:pt idx="8007">
                  <c:v>0</c:v>
                </c:pt>
                <c:pt idx="8008">
                  <c:v>0</c:v>
                </c:pt>
                <c:pt idx="8009">
                  <c:v>0</c:v>
                </c:pt>
                <c:pt idx="8010">
                  <c:v>0</c:v>
                </c:pt>
                <c:pt idx="8011">
                  <c:v>0</c:v>
                </c:pt>
                <c:pt idx="8012">
                  <c:v>0</c:v>
                </c:pt>
                <c:pt idx="8013">
                  <c:v>0</c:v>
                </c:pt>
                <c:pt idx="8014">
                  <c:v>0</c:v>
                </c:pt>
                <c:pt idx="8015">
                  <c:v>0</c:v>
                </c:pt>
                <c:pt idx="8016">
                  <c:v>0</c:v>
                </c:pt>
                <c:pt idx="8017">
                  <c:v>0</c:v>
                </c:pt>
                <c:pt idx="8018">
                  <c:v>0</c:v>
                </c:pt>
                <c:pt idx="8019">
                  <c:v>0</c:v>
                </c:pt>
                <c:pt idx="8020">
                  <c:v>0</c:v>
                </c:pt>
                <c:pt idx="8021">
                  <c:v>0</c:v>
                </c:pt>
                <c:pt idx="8022">
                  <c:v>0</c:v>
                </c:pt>
                <c:pt idx="8023">
                  <c:v>0</c:v>
                </c:pt>
                <c:pt idx="8024">
                  <c:v>0</c:v>
                </c:pt>
                <c:pt idx="8025">
                  <c:v>0</c:v>
                </c:pt>
                <c:pt idx="8026">
                  <c:v>0</c:v>
                </c:pt>
                <c:pt idx="8027">
                  <c:v>0</c:v>
                </c:pt>
                <c:pt idx="8028">
                  <c:v>0</c:v>
                </c:pt>
                <c:pt idx="8029">
                  <c:v>0</c:v>
                </c:pt>
                <c:pt idx="8030">
                  <c:v>0</c:v>
                </c:pt>
                <c:pt idx="8031">
                  <c:v>0</c:v>
                </c:pt>
                <c:pt idx="8032">
                  <c:v>0</c:v>
                </c:pt>
                <c:pt idx="8033">
                  <c:v>0</c:v>
                </c:pt>
                <c:pt idx="8034">
                  <c:v>0</c:v>
                </c:pt>
                <c:pt idx="8035">
                  <c:v>0</c:v>
                </c:pt>
                <c:pt idx="8036">
                  <c:v>0</c:v>
                </c:pt>
                <c:pt idx="8037">
                  <c:v>0</c:v>
                </c:pt>
                <c:pt idx="8038">
                  <c:v>0</c:v>
                </c:pt>
                <c:pt idx="8039">
                  <c:v>0</c:v>
                </c:pt>
                <c:pt idx="8040">
                  <c:v>0</c:v>
                </c:pt>
                <c:pt idx="8041">
                  <c:v>0</c:v>
                </c:pt>
                <c:pt idx="8042">
                  <c:v>0</c:v>
                </c:pt>
                <c:pt idx="8043">
                  <c:v>0</c:v>
                </c:pt>
                <c:pt idx="8044">
                  <c:v>0</c:v>
                </c:pt>
                <c:pt idx="8045">
                  <c:v>0</c:v>
                </c:pt>
                <c:pt idx="8046">
                  <c:v>0</c:v>
                </c:pt>
                <c:pt idx="8047">
                  <c:v>0</c:v>
                </c:pt>
                <c:pt idx="8048">
                  <c:v>0</c:v>
                </c:pt>
                <c:pt idx="8049">
                  <c:v>0</c:v>
                </c:pt>
                <c:pt idx="8050">
                  <c:v>0</c:v>
                </c:pt>
                <c:pt idx="8051">
                  <c:v>0</c:v>
                </c:pt>
                <c:pt idx="8052">
                  <c:v>0</c:v>
                </c:pt>
                <c:pt idx="8053">
                  <c:v>0</c:v>
                </c:pt>
                <c:pt idx="8054">
                  <c:v>0</c:v>
                </c:pt>
                <c:pt idx="8055">
                  <c:v>0</c:v>
                </c:pt>
                <c:pt idx="8056">
                  <c:v>0</c:v>
                </c:pt>
                <c:pt idx="8057">
                  <c:v>0</c:v>
                </c:pt>
                <c:pt idx="8058">
                  <c:v>0</c:v>
                </c:pt>
                <c:pt idx="8059">
                  <c:v>0</c:v>
                </c:pt>
                <c:pt idx="8060">
                  <c:v>0</c:v>
                </c:pt>
                <c:pt idx="8061">
                  <c:v>0</c:v>
                </c:pt>
                <c:pt idx="8062">
                  <c:v>0</c:v>
                </c:pt>
                <c:pt idx="8063">
                  <c:v>0</c:v>
                </c:pt>
                <c:pt idx="8064">
                  <c:v>0</c:v>
                </c:pt>
                <c:pt idx="8065">
                  <c:v>0</c:v>
                </c:pt>
                <c:pt idx="8066">
                  <c:v>0</c:v>
                </c:pt>
                <c:pt idx="8067">
                  <c:v>0</c:v>
                </c:pt>
                <c:pt idx="8068">
                  <c:v>0</c:v>
                </c:pt>
                <c:pt idx="8069">
                  <c:v>0</c:v>
                </c:pt>
                <c:pt idx="8070">
                  <c:v>0</c:v>
                </c:pt>
                <c:pt idx="8071">
                  <c:v>0</c:v>
                </c:pt>
                <c:pt idx="8072">
                  <c:v>0</c:v>
                </c:pt>
                <c:pt idx="8073">
                  <c:v>0</c:v>
                </c:pt>
                <c:pt idx="8074">
                  <c:v>0</c:v>
                </c:pt>
                <c:pt idx="8075">
                  <c:v>0</c:v>
                </c:pt>
                <c:pt idx="8076">
                  <c:v>0</c:v>
                </c:pt>
                <c:pt idx="8077">
                  <c:v>0</c:v>
                </c:pt>
                <c:pt idx="8078">
                  <c:v>0</c:v>
                </c:pt>
                <c:pt idx="8079">
                  <c:v>0</c:v>
                </c:pt>
                <c:pt idx="8080">
                  <c:v>0</c:v>
                </c:pt>
                <c:pt idx="8081">
                  <c:v>0</c:v>
                </c:pt>
                <c:pt idx="8082">
                  <c:v>0</c:v>
                </c:pt>
                <c:pt idx="8083">
                  <c:v>0</c:v>
                </c:pt>
                <c:pt idx="8084">
                  <c:v>0</c:v>
                </c:pt>
                <c:pt idx="8085">
                  <c:v>0</c:v>
                </c:pt>
                <c:pt idx="8086">
                  <c:v>0</c:v>
                </c:pt>
                <c:pt idx="8087">
                  <c:v>0</c:v>
                </c:pt>
                <c:pt idx="8088">
                  <c:v>0</c:v>
                </c:pt>
                <c:pt idx="8089">
                  <c:v>0</c:v>
                </c:pt>
                <c:pt idx="8090">
                  <c:v>0</c:v>
                </c:pt>
                <c:pt idx="8091">
                  <c:v>0</c:v>
                </c:pt>
                <c:pt idx="8092">
                  <c:v>0</c:v>
                </c:pt>
                <c:pt idx="8093">
                  <c:v>0</c:v>
                </c:pt>
                <c:pt idx="8094">
                  <c:v>0</c:v>
                </c:pt>
                <c:pt idx="8095">
                  <c:v>0</c:v>
                </c:pt>
                <c:pt idx="8096">
                  <c:v>0</c:v>
                </c:pt>
                <c:pt idx="8097">
                  <c:v>0</c:v>
                </c:pt>
                <c:pt idx="8098">
                  <c:v>0</c:v>
                </c:pt>
                <c:pt idx="8099">
                  <c:v>0</c:v>
                </c:pt>
                <c:pt idx="8100">
                  <c:v>0</c:v>
                </c:pt>
                <c:pt idx="8101">
                  <c:v>0</c:v>
                </c:pt>
                <c:pt idx="8102">
                  <c:v>0</c:v>
                </c:pt>
                <c:pt idx="8103">
                  <c:v>0</c:v>
                </c:pt>
                <c:pt idx="8104">
                  <c:v>0</c:v>
                </c:pt>
                <c:pt idx="8105">
                  <c:v>0</c:v>
                </c:pt>
                <c:pt idx="8106">
                  <c:v>0</c:v>
                </c:pt>
                <c:pt idx="8107">
                  <c:v>0</c:v>
                </c:pt>
                <c:pt idx="8108">
                  <c:v>0</c:v>
                </c:pt>
                <c:pt idx="8109">
                  <c:v>0</c:v>
                </c:pt>
                <c:pt idx="8110">
                  <c:v>0</c:v>
                </c:pt>
                <c:pt idx="8111">
                  <c:v>0</c:v>
                </c:pt>
                <c:pt idx="8112">
                  <c:v>0</c:v>
                </c:pt>
                <c:pt idx="8113">
                  <c:v>0</c:v>
                </c:pt>
                <c:pt idx="8114">
                  <c:v>0</c:v>
                </c:pt>
                <c:pt idx="8115">
                  <c:v>0</c:v>
                </c:pt>
                <c:pt idx="8116">
                  <c:v>0</c:v>
                </c:pt>
                <c:pt idx="8117">
                  <c:v>0</c:v>
                </c:pt>
                <c:pt idx="8118">
                  <c:v>0</c:v>
                </c:pt>
                <c:pt idx="8119">
                  <c:v>0</c:v>
                </c:pt>
                <c:pt idx="8120">
                  <c:v>0</c:v>
                </c:pt>
                <c:pt idx="8121">
                  <c:v>0</c:v>
                </c:pt>
                <c:pt idx="8122">
                  <c:v>0</c:v>
                </c:pt>
                <c:pt idx="8123">
                  <c:v>0</c:v>
                </c:pt>
                <c:pt idx="8124">
                  <c:v>0</c:v>
                </c:pt>
                <c:pt idx="8125">
                  <c:v>0</c:v>
                </c:pt>
                <c:pt idx="8126">
                  <c:v>0</c:v>
                </c:pt>
                <c:pt idx="8127">
                  <c:v>0</c:v>
                </c:pt>
                <c:pt idx="8128">
                  <c:v>0</c:v>
                </c:pt>
                <c:pt idx="8129">
                  <c:v>0</c:v>
                </c:pt>
                <c:pt idx="8130">
                  <c:v>0</c:v>
                </c:pt>
                <c:pt idx="8131">
                  <c:v>0</c:v>
                </c:pt>
                <c:pt idx="8132">
                  <c:v>0</c:v>
                </c:pt>
                <c:pt idx="8133">
                  <c:v>0</c:v>
                </c:pt>
                <c:pt idx="8134">
                  <c:v>0</c:v>
                </c:pt>
                <c:pt idx="8135">
                  <c:v>0</c:v>
                </c:pt>
                <c:pt idx="8136">
                  <c:v>0</c:v>
                </c:pt>
                <c:pt idx="8137">
                  <c:v>0</c:v>
                </c:pt>
                <c:pt idx="8138">
                  <c:v>0</c:v>
                </c:pt>
                <c:pt idx="8139">
                  <c:v>0</c:v>
                </c:pt>
                <c:pt idx="8140">
                  <c:v>0</c:v>
                </c:pt>
                <c:pt idx="8141">
                  <c:v>0</c:v>
                </c:pt>
                <c:pt idx="8142">
                  <c:v>0</c:v>
                </c:pt>
                <c:pt idx="8143">
                  <c:v>0</c:v>
                </c:pt>
                <c:pt idx="8144">
                  <c:v>0</c:v>
                </c:pt>
                <c:pt idx="8145">
                  <c:v>0</c:v>
                </c:pt>
                <c:pt idx="8146">
                  <c:v>0</c:v>
                </c:pt>
                <c:pt idx="8147">
                  <c:v>0</c:v>
                </c:pt>
                <c:pt idx="8148">
                  <c:v>0</c:v>
                </c:pt>
                <c:pt idx="8149">
                  <c:v>0</c:v>
                </c:pt>
                <c:pt idx="8150">
                  <c:v>0</c:v>
                </c:pt>
                <c:pt idx="8151">
                  <c:v>0</c:v>
                </c:pt>
                <c:pt idx="8152">
                  <c:v>0</c:v>
                </c:pt>
                <c:pt idx="8153">
                  <c:v>0</c:v>
                </c:pt>
                <c:pt idx="8154">
                  <c:v>0</c:v>
                </c:pt>
                <c:pt idx="8155">
                  <c:v>0</c:v>
                </c:pt>
                <c:pt idx="8156">
                  <c:v>0</c:v>
                </c:pt>
                <c:pt idx="8157">
                  <c:v>0</c:v>
                </c:pt>
                <c:pt idx="8158">
                  <c:v>0</c:v>
                </c:pt>
                <c:pt idx="8159">
                  <c:v>0</c:v>
                </c:pt>
                <c:pt idx="8160">
                  <c:v>0</c:v>
                </c:pt>
                <c:pt idx="8161">
                  <c:v>0</c:v>
                </c:pt>
                <c:pt idx="8162">
                  <c:v>0</c:v>
                </c:pt>
                <c:pt idx="8163">
                  <c:v>0</c:v>
                </c:pt>
                <c:pt idx="8164">
                  <c:v>0</c:v>
                </c:pt>
                <c:pt idx="8165">
                  <c:v>0</c:v>
                </c:pt>
                <c:pt idx="8166">
                  <c:v>0</c:v>
                </c:pt>
                <c:pt idx="8167">
                  <c:v>0</c:v>
                </c:pt>
                <c:pt idx="8168">
                  <c:v>0</c:v>
                </c:pt>
                <c:pt idx="8169">
                  <c:v>0</c:v>
                </c:pt>
                <c:pt idx="8170">
                  <c:v>0</c:v>
                </c:pt>
                <c:pt idx="8171">
                  <c:v>0</c:v>
                </c:pt>
                <c:pt idx="8172">
                  <c:v>0</c:v>
                </c:pt>
                <c:pt idx="8173">
                  <c:v>0</c:v>
                </c:pt>
                <c:pt idx="8174">
                  <c:v>0</c:v>
                </c:pt>
                <c:pt idx="8175">
                  <c:v>0</c:v>
                </c:pt>
                <c:pt idx="8176">
                  <c:v>0</c:v>
                </c:pt>
                <c:pt idx="8177">
                  <c:v>0</c:v>
                </c:pt>
                <c:pt idx="8178">
                  <c:v>0</c:v>
                </c:pt>
                <c:pt idx="8179">
                  <c:v>0</c:v>
                </c:pt>
                <c:pt idx="8180">
                  <c:v>0</c:v>
                </c:pt>
                <c:pt idx="8181">
                  <c:v>0</c:v>
                </c:pt>
                <c:pt idx="8182">
                  <c:v>0</c:v>
                </c:pt>
                <c:pt idx="8183">
                  <c:v>0</c:v>
                </c:pt>
                <c:pt idx="8184">
                  <c:v>0</c:v>
                </c:pt>
                <c:pt idx="8185">
                  <c:v>0</c:v>
                </c:pt>
                <c:pt idx="8186">
                  <c:v>0</c:v>
                </c:pt>
                <c:pt idx="8187">
                  <c:v>0</c:v>
                </c:pt>
                <c:pt idx="8188">
                  <c:v>0</c:v>
                </c:pt>
                <c:pt idx="8189">
                  <c:v>0</c:v>
                </c:pt>
                <c:pt idx="8190">
                  <c:v>0</c:v>
                </c:pt>
                <c:pt idx="8191">
                  <c:v>0</c:v>
                </c:pt>
                <c:pt idx="8192">
                  <c:v>0</c:v>
                </c:pt>
                <c:pt idx="8193">
                  <c:v>0</c:v>
                </c:pt>
                <c:pt idx="8194">
                  <c:v>0</c:v>
                </c:pt>
                <c:pt idx="8195">
                  <c:v>0</c:v>
                </c:pt>
                <c:pt idx="8196">
                  <c:v>0</c:v>
                </c:pt>
                <c:pt idx="8197">
                  <c:v>0</c:v>
                </c:pt>
                <c:pt idx="8198">
                  <c:v>0</c:v>
                </c:pt>
                <c:pt idx="8199">
                  <c:v>0</c:v>
                </c:pt>
                <c:pt idx="8200">
                  <c:v>0</c:v>
                </c:pt>
                <c:pt idx="8201">
                  <c:v>0</c:v>
                </c:pt>
                <c:pt idx="8202">
                  <c:v>0</c:v>
                </c:pt>
                <c:pt idx="8203">
                  <c:v>0</c:v>
                </c:pt>
                <c:pt idx="8204">
                  <c:v>0</c:v>
                </c:pt>
                <c:pt idx="8205">
                  <c:v>0</c:v>
                </c:pt>
                <c:pt idx="8206">
                  <c:v>0</c:v>
                </c:pt>
                <c:pt idx="8207">
                  <c:v>0</c:v>
                </c:pt>
                <c:pt idx="8208">
                  <c:v>0</c:v>
                </c:pt>
                <c:pt idx="8209">
                  <c:v>0</c:v>
                </c:pt>
                <c:pt idx="8210">
                  <c:v>0</c:v>
                </c:pt>
                <c:pt idx="8211">
                  <c:v>0</c:v>
                </c:pt>
                <c:pt idx="8212">
                  <c:v>0</c:v>
                </c:pt>
                <c:pt idx="8213">
                  <c:v>0</c:v>
                </c:pt>
                <c:pt idx="8214">
                  <c:v>0</c:v>
                </c:pt>
                <c:pt idx="8215">
                  <c:v>0</c:v>
                </c:pt>
                <c:pt idx="8216">
                  <c:v>0</c:v>
                </c:pt>
                <c:pt idx="8217">
                  <c:v>0</c:v>
                </c:pt>
                <c:pt idx="8218">
                  <c:v>0</c:v>
                </c:pt>
                <c:pt idx="8219">
                  <c:v>0</c:v>
                </c:pt>
                <c:pt idx="8220">
                  <c:v>0</c:v>
                </c:pt>
                <c:pt idx="8221">
                  <c:v>0</c:v>
                </c:pt>
                <c:pt idx="8222">
                  <c:v>0</c:v>
                </c:pt>
                <c:pt idx="8223">
                  <c:v>0</c:v>
                </c:pt>
                <c:pt idx="8224">
                  <c:v>0</c:v>
                </c:pt>
                <c:pt idx="8225">
                  <c:v>0</c:v>
                </c:pt>
                <c:pt idx="8226">
                  <c:v>0</c:v>
                </c:pt>
                <c:pt idx="8227">
                  <c:v>0</c:v>
                </c:pt>
                <c:pt idx="8228">
                  <c:v>0</c:v>
                </c:pt>
                <c:pt idx="8229">
                  <c:v>0</c:v>
                </c:pt>
                <c:pt idx="8230">
                  <c:v>0</c:v>
                </c:pt>
                <c:pt idx="8231">
                  <c:v>0</c:v>
                </c:pt>
                <c:pt idx="8232">
                  <c:v>0</c:v>
                </c:pt>
                <c:pt idx="8233">
                  <c:v>0</c:v>
                </c:pt>
                <c:pt idx="8234">
                  <c:v>0</c:v>
                </c:pt>
                <c:pt idx="8235">
                  <c:v>0</c:v>
                </c:pt>
                <c:pt idx="8236">
                  <c:v>0</c:v>
                </c:pt>
                <c:pt idx="8237">
                  <c:v>0</c:v>
                </c:pt>
                <c:pt idx="8238">
                  <c:v>0</c:v>
                </c:pt>
                <c:pt idx="8239">
                  <c:v>0</c:v>
                </c:pt>
                <c:pt idx="8240">
                  <c:v>0</c:v>
                </c:pt>
                <c:pt idx="8241">
                  <c:v>0</c:v>
                </c:pt>
                <c:pt idx="8242">
                  <c:v>0</c:v>
                </c:pt>
                <c:pt idx="8243">
                  <c:v>0</c:v>
                </c:pt>
                <c:pt idx="8244">
                  <c:v>0</c:v>
                </c:pt>
                <c:pt idx="8245">
                  <c:v>0</c:v>
                </c:pt>
                <c:pt idx="8246">
                  <c:v>0</c:v>
                </c:pt>
                <c:pt idx="8247">
                  <c:v>0</c:v>
                </c:pt>
                <c:pt idx="8248">
                  <c:v>0</c:v>
                </c:pt>
                <c:pt idx="8249">
                  <c:v>0</c:v>
                </c:pt>
                <c:pt idx="8250">
                  <c:v>0</c:v>
                </c:pt>
                <c:pt idx="8251">
                  <c:v>0</c:v>
                </c:pt>
                <c:pt idx="8252">
                  <c:v>0</c:v>
                </c:pt>
                <c:pt idx="8253">
                  <c:v>0</c:v>
                </c:pt>
                <c:pt idx="8254">
                  <c:v>0</c:v>
                </c:pt>
                <c:pt idx="8255">
                  <c:v>0</c:v>
                </c:pt>
                <c:pt idx="8256">
                  <c:v>0</c:v>
                </c:pt>
                <c:pt idx="8257">
                  <c:v>0</c:v>
                </c:pt>
                <c:pt idx="8258">
                  <c:v>0</c:v>
                </c:pt>
                <c:pt idx="8259">
                  <c:v>0</c:v>
                </c:pt>
                <c:pt idx="8260">
                  <c:v>0</c:v>
                </c:pt>
                <c:pt idx="8261">
                  <c:v>0</c:v>
                </c:pt>
                <c:pt idx="8262">
                  <c:v>0</c:v>
                </c:pt>
                <c:pt idx="8263">
                  <c:v>0</c:v>
                </c:pt>
                <c:pt idx="8264">
                  <c:v>0</c:v>
                </c:pt>
                <c:pt idx="8265">
                  <c:v>0</c:v>
                </c:pt>
                <c:pt idx="8266">
                  <c:v>0</c:v>
                </c:pt>
                <c:pt idx="8267">
                  <c:v>0</c:v>
                </c:pt>
                <c:pt idx="8268">
                  <c:v>0</c:v>
                </c:pt>
                <c:pt idx="8269">
                  <c:v>0</c:v>
                </c:pt>
                <c:pt idx="8270">
                  <c:v>0</c:v>
                </c:pt>
                <c:pt idx="8271">
                  <c:v>0</c:v>
                </c:pt>
                <c:pt idx="8272">
                  <c:v>0</c:v>
                </c:pt>
                <c:pt idx="8273">
                  <c:v>0</c:v>
                </c:pt>
                <c:pt idx="8274">
                  <c:v>0</c:v>
                </c:pt>
                <c:pt idx="8275">
                  <c:v>0</c:v>
                </c:pt>
                <c:pt idx="8276">
                  <c:v>0</c:v>
                </c:pt>
                <c:pt idx="8277">
                  <c:v>0</c:v>
                </c:pt>
                <c:pt idx="8278">
                  <c:v>0</c:v>
                </c:pt>
                <c:pt idx="8279">
                  <c:v>0</c:v>
                </c:pt>
                <c:pt idx="8280">
                  <c:v>0</c:v>
                </c:pt>
                <c:pt idx="8281">
                  <c:v>0</c:v>
                </c:pt>
                <c:pt idx="8282">
                  <c:v>0</c:v>
                </c:pt>
                <c:pt idx="8283">
                  <c:v>0</c:v>
                </c:pt>
                <c:pt idx="8284">
                  <c:v>0</c:v>
                </c:pt>
                <c:pt idx="8285">
                  <c:v>0</c:v>
                </c:pt>
                <c:pt idx="8286">
                  <c:v>0</c:v>
                </c:pt>
                <c:pt idx="8287">
                  <c:v>0</c:v>
                </c:pt>
                <c:pt idx="8288">
                  <c:v>0</c:v>
                </c:pt>
                <c:pt idx="8289">
                  <c:v>0</c:v>
                </c:pt>
                <c:pt idx="8290">
                  <c:v>0</c:v>
                </c:pt>
                <c:pt idx="8291">
                  <c:v>0</c:v>
                </c:pt>
                <c:pt idx="8292">
                  <c:v>0</c:v>
                </c:pt>
                <c:pt idx="8293">
                  <c:v>0</c:v>
                </c:pt>
                <c:pt idx="8294">
                  <c:v>0</c:v>
                </c:pt>
                <c:pt idx="8295">
                  <c:v>0</c:v>
                </c:pt>
                <c:pt idx="8296">
                  <c:v>0</c:v>
                </c:pt>
                <c:pt idx="8297">
                  <c:v>0</c:v>
                </c:pt>
                <c:pt idx="8298">
                  <c:v>0</c:v>
                </c:pt>
                <c:pt idx="8299">
                  <c:v>0</c:v>
                </c:pt>
                <c:pt idx="8300">
                  <c:v>0</c:v>
                </c:pt>
                <c:pt idx="8301">
                  <c:v>0</c:v>
                </c:pt>
                <c:pt idx="8302">
                  <c:v>0</c:v>
                </c:pt>
                <c:pt idx="8303">
                  <c:v>0</c:v>
                </c:pt>
                <c:pt idx="8304">
                  <c:v>0</c:v>
                </c:pt>
                <c:pt idx="8305">
                  <c:v>0</c:v>
                </c:pt>
                <c:pt idx="8306">
                  <c:v>0</c:v>
                </c:pt>
                <c:pt idx="8307">
                  <c:v>0</c:v>
                </c:pt>
                <c:pt idx="8308">
                  <c:v>0</c:v>
                </c:pt>
                <c:pt idx="8309">
                  <c:v>0</c:v>
                </c:pt>
                <c:pt idx="8310">
                  <c:v>0</c:v>
                </c:pt>
                <c:pt idx="8311">
                  <c:v>0</c:v>
                </c:pt>
                <c:pt idx="8312">
                  <c:v>0</c:v>
                </c:pt>
                <c:pt idx="8313">
                  <c:v>0</c:v>
                </c:pt>
                <c:pt idx="8314">
                  <c:v>0</c:v>
                </c:pt>
                <c:pt idx="8315">
                  <c:v>0</c:v>
                </c:pt>
                <c:pt idx="8316">
                  <c:v>0</c:v>
                </c:pt>
                <c:pt idx="8317">
                  <c:v>0</c:v>
                </c:pt>
                <c:pt idx="8318">
                  <c:v>0</c:v>
                </c:pt>
                <c:pt idx="8319">
                  <c:v>0</c:v>
                </c:pt>
                <c:pt idx="8320">
                  <c:v>0</c:v>
                </c:pt>
                <c:pt idx="8321">
                  <c:v>0</c:v>
                </c:pt>
                <c:pt idx="8322">
                  <c:v>0</c:v>
                </c:pt>
                <c:pt idx="8323">
                  <c:v>0</c:v>
                </c:pt>
                <c:pt idx="8324">
                  <c:v>0</c:v>
                </c:pt>
                <c:pt idx="8325">
                  <c:v>0</c:v>
                </c:pt>
                <c:pt idx="8326">
                  <c:v>0</c:v>
                </c:pt>
                <c:pt idx="8327">
                  <c:v>0</c:v>
                </c:pt>
                <c:pt idx="8328">
                  <c:v>0</c:v>
                </c:pt>
                <c:pt idx="8329">
                  <c:v>0</c:v>
                </c:pt>
                <c:pt idx="8330">
                  <c:v>0</c:v>
                </c:pt>
                <c:pt idx="8331">
                  <c:v>0</c:v>
                </c:pt>
                <c:pt idx="8332">
                  <c:v>0</c:v>
                </c:pt>
                <c:pt idx="8333">
                  <c:v>0</c:v>
                </c:pt>
                <c:pt idx="8334">
                  <c:v>0</c:v>
                </c:pt>
                <c:pt idx="8335">
                  <c:v>0</c:v>
                </c:pt>
                <c:pt idx="8336">
                  <c:v>0</c:v>
                </c:pt>
                <c:pt idx="8337">
                  <c:v>0</c:v>
                </c:pt>
                <c:pt idx="8338">
                  <c:v>0</c:v>
                </c:pt>
                <c:pt idx="8339">
                  <c:v>0</c:v>
                </c:pt>
                <c:pt idx="8340">
                  <c:v>0</c:v>
                </c:pt>
                <c:pt idx="8341">
                  <c:v>0</c:v>
                </c:pt>
                <c:pt idx="8342">
                  <c:v>0</c:v>
                </c:pt>
                <c:pt idx="8343">
                  <c:v>0</c:v>
                </c:pt>
                <c:pt idx="8344">
                  <c:v>0</c:v>
                </c:pt>
                <c:pt idx="8345">
                  <c:v>0</c:v>
                </c:pt>
                <c:pt idx="8346">
                  <c:v>0</c:v>
                </c:pt>
                <c:pt idx="8347">
                  <c:v>0</c:v>
                </c:pt>
                <c:pt idx="8348">
                  <c:v>0</c:v>
                </c:pt>
                <c:pt idx="8349">
                  <c:v>0</c:v>
                </c:pt>
                <c:pt idx="8350">
                  <c:v>0</c:v>
                </c:pt>
                <c:pt idx="8351">
                  <c:v>0</c:v>
                </c:pt>
                <c:pt idx="8352">
                  <c:v>0</c:v>
                </c:pt>
                <c:pt idx="8353">
                  <c:v>0</c:v>
                </c:pt>
                <c:pt idx="8354">
                  <c:v>0</c:v>
                </c:pt>
                <c:pt idx="8355">
                  <c:v>0</c:v>
                </c:pt>
                <c:pt idx="8356">
                  <c:v>0</c:v>
                </c:pt>
                <c:pt idx="8357">
                  <c:v>0</c:v>
                </c:pt>
                <c:pt idx="8358">
                  <c:v>0</c:v>
                </c:pt>
                <c:pt idx="8359">
                  <c:v>0</c:v>
                </c:pt>
                <c:pt idx="8360">
                  <c:v>0</c:v>
                </c:pt>
                <c:pt idx="8361">
                  <c:v>0</c:v>
                </c:pt>
                <c:pt idx="8362">
                  <c:v>0</c:v>
                </c:pt>
                <c:pt idx="8363">
                  <c:v>0</c:v>
                </c:pt>
                <c:pt idx="8364">
                  <c:v>0</c:v>
                </c:pt>
                <c:pt idx="8365">
                  <c:v>0</c:v>
                </c:pt>
                <c:pt idx="8366">
                  <c:v>0</c:v>
                </c:pt>
                <c:pt idx="8367">
                  <c:v>0</c:v>
                </c:pt>
                <c:pt idx="8368">
                  <c:v>0</c:v>
                </c:pt>
                <c:pt idx="8369">
                  <c:v>0</c:v>
                </c:pt>
                <c:pt idx="8370">
                  <c:v>0</c:v>
                </c:pt>
                <c:pt idx="8371">
                  <c:v>0</c:v>
                </c:pt>
                <c:pt idx="8372">
                  <c:v>0</c:v>
                </c:pt>
                <c:pt idx="8373">
                  <c:v>0</c:v>
                </c:pt>
                <c:pt idx="8374">
                  <c:v>0</c:v>
                </c:pt>
                <c:pt idx="8375">
                  <c:v>0</c:v>
                </c:pt>
                <c:pt idx="8376">
                  <c:v>0</c:v>
                </c:pt>
                <c:pt idx="8377">
                  <c:v>0</c:v>
                </c:pt>
                <c:pt idx="8378">
                  <c:v>0</c:v>
                </c:pt>
                <c:pt idx="8379">
                  <c:v>0</c:v>
                </c:pt>
                <c:pt idx="8380">
                  <c:v>0</c:v>
                </c:pt>
                <c:pt idx="8381">
                  <c:v>0</c:v>
                </c:pt>
                <c:pt idx="8382">
                  <c:v>0</c:v>
                </c:pt>
                <c:pt idx="8383">
                  <c:v>0</c:v>
                </c:pt>
                <c:pt idx="8384">
                  <c:v>0</c:v>
                </c:pt>
                <c:pt idx="8385">
                  <c:v>0</c:v>
                </c:pt>
                <c:pt idx="8386">
                  <c:v>0</c:v>
                </c:pt>
                <c:pt idx="8387">
                  <c:v>0</c:v>
                </c:pt>
                <c:pt idx="8388">
                  <c:v>0</c:v>
                </c:pt>
                <c:pt idx="8389">
                  <c:v>0</c:v>
                </c:pt>
                <c:pt idx="8390">
                  <c:v>0</c:v>
                </c:pt>
                <c:pt idx="8391">
                  <c:v>0</c:v>
                </c:pt>
                <c:pt idx="8392">
                  <c:v>0</c:v>
                </c:pt>
                <c:pt idx="8393">
                  <c:v>0</c:v>
                </c:pt>
                <c:pt idx="8394">
                  <c:v>0</c:v>
                </c:pt>
                <c:pt idx="8395">
                  <c:v>0</c:v>
                </c:pt>
                <c:pt idx="8396">
                  <c:v>0</c:v>
                </c:pt>
                <c:pt idx="8397">
                  <c:v>0</c:v>
                </c:pt>
                <c:pt idx="8398">
                  <c:v>0</c:v>
                </c:pt>
                <c:pt idx="8399">
                  <c:v>0</c:v>
                </c:pt>
                <c:pt idx="8400">
                  <c:v>0</c:v>
                </c:pt>
                <c:pt idx="8401">
                  <c:v>0</c:v>
                </c:pt>
                <c:pt idx="8402">
                  <c:v>0</c:v>
                </c:pt>
                <c:pt idx="8403">
                  <c:v>0</c:v>
                </c:pt>
                <c:pt idx="8404">
                  <c:v>0</c:v>
                </c:pt>
                <c:pt idx="8405">
                  <c:v>0</c:v>
                </c:pt>
                <c:pt idx="8406">
                  <c:v>0</c:v>
                </c:pt>
                <c:pt idx="8407">
                  <c:v>0</c:v>
                </c:pt>
                <c:pt idx="8408">
                  <c:v>0</c:v>
                </c:pt>
                <c:pt idx="8409">
                  <c:v>0</c:v>
                </c:pt>
                <c:pt idx="8410">
                  <c:v>0</c:v>
                </c:pt>
                <c:pt idx="8411">
                  <c:v>0</c:v>
                </c:pt>
                <c:pt idx="8412">
                  <c:v>0</c:v>
                </c:pt>
                <c:pt idx="8413">
                  <c:v>0</c:v>
                </c:pt>
                <c:pt idx="8414">
                  <c:v>0</c:v>
                </c:pt>
                <c:pt idx="8415">
                  <c:v>0</c:v>
                </c:pt>
                <c:pt idx="8416">
                  <c:v>0</c:v>
                </c:pt>
                <c:pt idx="8417">
                  <c:v>0</c:v>
                </c:pt>
                <c:pt idx="8418">
                  <c:v>0</c:v>
                </c:pt>
                <c:pt idx="8419">
                  <c:v>0</c:v>
                </c:pt>
                <c:pt idx="8420">
                  <c:v>0</c:v>
                </c:pt>
                <c:pt idx="8421">
                  <c:v>0</c:v>
                </c:pt>
                <c:pt idx="8422">
                  <c:v>0</c:v>
                </c:pt>
                <c:pt idx="8423">
                  <c:v>0</c:v>
                </c:pt>
                <c:pt idx="8424">
                  <c:v>0</c:v>
                </c:pt>
                <c:pt idx="8425">
                  <c:v>0</c:v>
                </c:pt>
                <c:pt idx="8426">
                  <c:v>0</c:v>
                </c:pt>
                <c:pt idx="8427">
                  <c:v>0</c:v>
                </c:pt>
                <c:pt idx="8428">
                  <c:v>0</c:v>
                </c:pt>
                <c:pt idx="8429">
                  <c:v>0</c:v>
                </c:pt>
                <c:pt idx="8430">
                  <c:v>0</c:v>
                </c:pt>
                <c:pt idx="8431">
                  <c:v>0</c:v>
                </c:pt>
                <c:pt idx="8432">
                  <c:v>0</c:v>
                </c:pt>
                <c:pt idx="8433">
                  <c:v>0</c:v>
                </c:pt>
                <c:pt idx="8434">
                  <c:v>0</c:v>
                </c:pt>
                <c:pt idx="8435">
                  <c:v>0</c:v>
                </c:pt>
                <c:pt idx="8436">
                  <c:v>0</c:v>
                </c:pt>
                <c:pt idx="8437">
                  <c:v>0</c:v>
                </c:pt>
                <c:pt idx="8438">
                  <c:v>0</c:v>
                </c:pt>
                <c:pt idx="8439">
                  <c:v>0</c:v>
                </c:pt>
                <c:pt idx="8440">
                  <c:v>0</c:v>
                </c:pt>
                <c:pt idx="8441">
                  <c:v>0</c:v>
                </c:pt>
                <c:pt idx="8442">
                  <c:v>0</c:v>
                </c:pt>
                <c:pt idx="8443">
                  <c:v>0</c:v>
                </c:pt>
                <c:pt idx="8444">
                  <c:v>0</c:v>
                </c:pt>
                <c:pt idx="8445">
                  <c:v>0</c:v>
                </c:pt>
                <c:pt idx="8446">
                  <c:v>0</c:v>
                </c:pt>
                <c:pt idx="8447">
                  <c:v>0</c:v>
                </c:pt>
                <c:pt idx="8448">
                  <c:v>0</c:v>
                </c:pt>
                <c:pt idx="8449">
                  <c:v>0</c:v>
                </c:pt>
                <c:pt idx="8450">
                  <c:v>0</c:v>
                </c:pt>
                <c:pt idx="8451">
                  <c:v>0</c:v>
                </c:pt>
                <c:pt idx="8452">
                  <c:v>0</c:v>
                </c:pt>
                <c:pt idx="8453">
                  <c:v>0</c:v>
                </c:pt>
                <c:pt idx="8454">
                  <c:v>0</c:v>
                </c:pt>
                <c:pt idx="8455">
                  <c:v>0</c:v>
                </c:pt>
                <c:pt idx="8456">
                  <c:v>0</c:v>
                </c:pt>
                <c:pt idx="8457">
                  <c:v>0</c:v>
                </c:pt>
                <c:pt idx="8458">
                  <c:v>0</c:v>
                </c:pt>
                <c:pt idx="8459">
                  <c:v>0</c:v>
                </c:pt>
                <c:pt idx="8460">
                  <c:v>0</c:v>
                </c:pt>
                <c:pt idx="8461">
                  <c:v>0</c:v>
                </c:pt>
                <c:pt idx="8462">
                  <c:v>0</c:v>
                </c:pt>
                <c:pt idx="8463">
                  <c:v>0</c:v>
                </c:pt>
                <c:pt idx="8464">
                  <c:v>0</c:v>
                </c:pt>
                <c:pt idx="8465">
                  <c:v>0</c:v>
                </c:pt>
                <c:pt idx="8466">
                  <c:v>0</c:v>
                </c:pt>
                <c:pt idx="8467">
                  <c:v>0</c:v>
                </c:pt>
                <c:pt idx="8468">
                  <c:v>0</c:v>
                </c:pt>
                <c:pt idx="8469">
                  <c:v>0</c:v>
                </c:pt>
                <c:pt idx="8470">
                  <c:v>0</c:v>
                </c:pt>
                <c:pt idx="8471">
                  <c:v>0</c:v>
                </c:pt>
                <c:pt idx="8472">
                  <c:v>0</c:v>
                </c:pt>
                <c:pt idx="8473">
                  <c:v>0</c:v>
                </c:pt>
                <c:pt idx="8474">
                  <c:v>0</c:v>
                </c:pt>
                <c:pt idx="8475">
                  <c:v>0</c:v>
                </c:pt>
                <c:pt idx="8476">
                  <c:v>0</c:v>
                </c:pt>
                <c:pt idx="8477">
                  <c:v>0</c:v>
                </c:pt>
                <c:pt idx="8478">
                  <c:v>0</c:v>
                </c:pt>
                <c:pt idx="8479">
                  <c:v>0</c:v>
                </c:pt>
                <c:pt idx="8480">
                  <c:v>0</c:v>
                </c:pt>
                <c:pt idx="8481">
                  <c:v>0</c:v>
                </c:pt>
                <c:pt idx="8482">
                  <c:v>0</c:v>
                </c:pt>
                <c:pt idx="8483">
                  <c:v>0</c:v>
                </c:pt>
                <c:pt idx="8484">
                  <c:v>0</c:v>
                </c:pt>
                <c:pt idx="8485">
                  <c:v>0</c:v>
                </c:pt>
                <c:pt idx="8486">
                  <c:v>0</c:v>
                </c:pt>
                <c:pt idx="8487">
                  <c:v>0</c:v>
                </c:pt>
                <c:pt idx="8488">
                  <c:v>0</c:v>
                </c:pt>
                <c:pt idx="8489">
                  <c:v>0</c:v>
                </c:pt>
                <c:pt idx="8490">
                  <c:v>0</c:v>
                </c:pt>
                <c:pt idx="8491">
                  <c:v>0</c:v>
                </c:pt>
                <c:pt idx="8492">
                  <c:v>0</c:v>
                </c:pt>
                <c:pt idx="8493">
                  <c:v>0</c:v>
                </c:pt>
                <c:pt idx="8494">
                  <c:v>0</c:v>
                </c:pt>
                <c:pt idx="8495">
                  <c:v>0</c:v>
                </c:pt>
                <c:pt idx="8496">
                  <c:v>0</c:v>
                </c:pt>
                <c:pt idx="8497">
                  <c:v>0</c:v>
                </c:pt>
                <c:pt idx="8498">
                  <c:v>0</c:v>
                </c:pt>
                <c:pt idx="8499">
                  <c:v>0</c:v>
                </c:pt>
                <c:pt idx="8500">
                  <c:v>0</c:v>
                </c:pt>
                <c:pt idx="8501">
                  <c:v>0</c:v>
                </c:pt>
                <c:pt idx="8502">
                  <c:v>0</c:v>
                </c:pt>
                <c:pt idx="8503">
                  <c:v>0</c:v>
                </c:pt>
                <c:pt idx="8504">
                  <c:v>0</c:v>
                </c:pt>
                <c:pt idx="8505">
                  <c:v>0</c:v>
                </c:pt>
                <c:pt idx="8506">
                  <c:v>0</c:v>
                </c:pt>
                <c:pt idx="8507">
                  <c:v>0</c:v>
                </c:pt>
                <c:pt idx="8508">
                  <c:v>0</c:v>
                </c:pt>
                <c:pt idx="8509">
                  <c:v>0</c:v>
                </c:pt>
                <c:pt idx="8510">
                  <c:v>0</c:v>
                </c:pt>
                <c:pt idx="8511">
                  <c:v>0</c:v>
                </c:pt>
                <c:pt idx="8512">
                  <c:v>0</c:v>
                </c:pt>
                <c:pt idx="8513">
                  <c:v>0</c:v>
                </c:pt>
                <c:pt idx="8514">
                  <c:v>0</c:v>
                </c:pt>
                <c:pt idx="8515">
                  <c:v>0</c:v>
                </c:pt>
                <c:pt idx="8516">
                  <c:v>0</c:v>
                </c:pt>
                <c:pt idx="8517">
                  <c:v>0</c:v>
                </c:pt>
                <c:pt idx="8518">
                  <c:v>0</c:v>
                </c:pt>
                <c:pt idx="8519">
                  <c:v>0</c:v>
                </c:pt>
                <c:pt idx="8520">
                  <c:v>0</c:v>
                </c:pt>
                <c:pt idx="8521">
                  <c:v>0</c:v>
                </c:pt>
                <c:pt idx="8522">
                  <c:v>0</c:v>
                </c:pt>
                <c:pt idx="8523">
                  <c:v>0</c:v>
                </c:pt>
                <c:pt idx="8524">
                  <c:v>0</c:v>
                </c:pt>
                <c:pt idx="8525">
                  <c:v>0</c:v>
                </c:pt>
                <c:pt idx="8526">
                  <c:v>0</c:v>
                </c:pt>
                <c:pt idx="8527">
                  <c:v>0</c:v>
                </c:pt>
                <c:pt idx="8528">
                  <c:v>0</c:v>
                </c:pt>
                <c:pt idx="8529">
                  <c:v>0</c:v>
                </c:pt>
                <c:pt idx="8530">
                  <c:v>0</c:v>
                </c:pt>
                <c:pt idx="8531">
                  <c:v>0</c:v>
                </c:pt>
                <c:pt idx="8532">
                  <c:v>0</c:v>
                </c:pt>
                <c:pt idx="8533">
                  <c:v>0</c:v>
                </c:pt>
                <c:pt idx="8534">
                  <c:v>0</c:v>
                </c:pt>
                <c:pt idx="8535">
                  <c:v>0</c:v>
                </c:pt>
                <c:pt idx="8536">
                  <c:v>0</c:v>
                </c:pt>
                <c:pt idx="8537">
                  <c:v>0</c:v>
                </c:pt>
                <c:pt idx="8538">
                  <c:v>0</c:v>
                </c:pt>
                <c:pt idx="8539">
                  <c:v>0</c:v>
                </c:pt>
                <c:pt idx="8540">
                  <c:v>0</c:v>
                </c:pt>
                <c:pt idx="8541">
                  <c:v>0</c:v>
                </c:pt>
                <c:pt idx="8542">
                  <c:v>0</c:v>
                </c:pt>
                <c:pt idx="8543">
                  <c:v>0</c:v>
                </c:pt>
                <c:pt idx="8544">
                  <c:v>0</c:v>
                </c:pt>
                <c:pt idx="8545">
                  <c:v>0</c:v>
                </c:pt>
                <c:pt idx="8546">
                  <c:v>0</c:v>
                </c:pt>
                <c:pt idx="8547">
                  <c:v>0</c:v>
                </c:pt>
                <c:pt idx="8548">
                  <c:v>0</c:v>
                </c:pt>
                <c:pt idx="8549">
                  <c:v>0</c:v>
                </c:pt>
                <c:pt idx="8550">
                  <c:v>0</c:v>
                </c:pt>
                <c:pt idx="8551">
                  <c:v>0</c:v>
                </c:pt>
                <c:pt idx="8552">
                  <c:v>0</c:v>
                </c:pt>
                <c:pt idx="8553">
                  <c:v>0</c:v>
                </c:pt>
                <c:pt idx="8554">
                  <c:v>0</c:v>
                </c:pt>
                <c:pt idx="8555">
                  <c:v>0</c:v>
                </c:pt>
                <c:pt idx="8556">
                  <c:v>0</c:v>
                </c:pt>
                <c:pt idx="8557">
                  <c:v>0</c:v>
                </c:pt>
                <c:pt idx="8558">
                  <c:v>0</c:v>
                </c:pt>
                <c:pt idx="8559">
                  <c:v>0</c:v>
                </c:pt>
                <c:pt idx="8560">
                  <c:v>0</c:v>
                </c:pt>
                <c:pt idx="8561">
                  <c:v>0</c:v>
                </c:pt>
                <c:pt idx="8562">
                  <c:v>0</c:v>
                </c:pt>
                <c:pt idx="8563">
                  <c:v>0</c:v>
                </c:pt>
                <c:pt idx="8564">
                  <c:v>0</c:v>
                </c:pt>
                <c:pt idx="8565">
                  <c:v>0</c:v>
                </c:pt>
                <c:pt idx="8566">
                  <c:v>0</c:v>
                </c:pt>
                <c:pt idx="8567">
                  <c:v>0</c:v>
                </c:pt>
                <c:pt idx="8568">
                  <c:v>0</c:v>
                </c:pt>
                <c:pt idx="8569">
                  <c:v>0</c:v>
                </c:pt>
                <c:pt idx="8570">
                  <c:v>0</c:v>
                </c:pt>
                <c:pt idx="8571">
                  <c:v>0</c:v>
                </c:pt>
                <c:pt idx="8572">
                  <c:v>0</c:v>
                </c:pt>
                <c:pt idx="8573">
                  <c:v>0</c:v>
                </c:pt>
                <c:pt idx="8574">
                  <c:v>0</c:v>
                </c:pt>
                <c:pt idx="8575">
                  <c:v>0</c:v>
                </c:pt>
                <c:pt idx="8576">
                  <c:v>0</c:v>
                </c:pt>
                <c:pt idx="8577">
                  <c:v>0</c:v>
                </c:pt>
                <c:pt idx="8578">
                  <c:v>0</c:v>
                </c:pt>
                <c:pt idx="8579">
                  <c:v>0</c:v>
                </c:pt>
                <c:pt idx="8580">
                  <c:v>0</c:v>
                </c:pt>
                <c:pt idx="8581">
                  <c:v>0</c:v>
                </c:pt>
                <c:pt idx="8582">
                  <c:v>0</c:v>
                </c:pt>
                <c:pt idx="8583">
                  <c:v>0</c:v>
                </c:pt>
                <c:pt idx="8584">
                  <c:v>0</c:v>
                </c:pt>
                <c:pt idx="8585">
                  <c:v>0</c:v>
                </c:pt>
                <c:pt idx="8586">
                  <c:v>0</c:v>
                </c:pt>
                <c:pt idx="8587">
                  <c:v>0</c:v>
                </c:pt>
                <c:pt idx="8588">
                  <c:v>0</c:v>
                </c:pt>
                <c:pt idx="8589">
                  <c:v>0</c:v>
                </c:pt>
                <c:pt idx="8590">
                  <c:v>0</c:v>
                </c:pt>
                <c:pt idx="8591">
                  <c:v>0</c:v>
                </c:pt>
                <c:pt idx="8592">
                  <c:v>0</c:v>
                </c:pt>
                <c:pt idx="8593">
                  <c:v>0</c:v>
                </c:pt>
                <c:pt idx="8594">
                  <c:v>0</c:v>
                </c:pt>
                <c:pt idx="8595">
                  <c:v>0</c:v>
                </c:pt>
                <c:pt idx="8596">
                  <c:v>0</c:v>
                </c:pt>
                <c:pt idx="8597">
                  <c:v>0</c:v>
                </c:pt>
                <c:pt idx="8598">
                  <c:v>0</c:v>
                </c:pt>
                <c:pt idx="8599">
                  <c:v>0</c:v>
                </c:pt>
                <c:pt idx="8600">
                  <c:v>0</c:v>
                </c:pt>
                <c:pt idx="8601">
                  <c:v>0</c:v>
                </c:pt>
                <c:pt idx="8602">
                  <c:v>0</c:v>
                </c:pt>
                <c:pt idx="8603">
                  <c:v>0</c:v>
                </c:pt>
                <c:pt idx="8604">
                  <c:v>0</c:v>
                </c:pt>
                <c:pt idx="8605">
                  <c:v>0</c:v>
                </c:pt>
                <c:pt idx="8606">
                  <c:v>0</c:v>
                </c:pt>
                <c:pt idx="8607">
                  <c:v>0</c:v>
                </c:pt>
                <c:pt idx="8608">
                  <c:v>0</c:v>
                </c:pt>
                <c:pt idx="8609">
                  <c:v>0</c:v>
                </c:pt>
                <c:pt idx="8610">
                  <c:v>0</c:v>
                </c:pt>
                <c:pt idx="8611">
                  <c:v>0</c:v>
                </c:pt>
                <c:pt idx="8612">
                  <c:v>0</c:v>
                </c:pt>
                <c:pt idx="8613">
                  <c:v>0</c:v>
                </c:pt>
                <c:pt idx="8614">
                  <c:v>0</c:v>
                </c:pt>
                <c:pt idx="8615">
                  <c:v>0</c:v>
                </c:pt>
                <c:pt idx="8616">
                  <c:v>0</c:v>
                </c:pt>
                <c:pt idx="8617">
                  <c:v>0</c:v>
                </c:pt>
                <c:pt idx="8618">
                  <c:v>0</c:v>
                </c:pt>
                <c:pt idx="8619">
                  <c:v>0</c:v>
                </c:pt>
                <c:pt idx="8620">
                  <c:v>0</c:v>
                </c:pt>
                <c:pt idx="8621">
                  <c:v>0</c:v>
                </c:pt>
                <c:pt idx="8622">
                  <c:v>0</c:v>
                </c:pt>
                <c:pt idx="8623">
                  <c:v>0</c:v>
                </c:pt>
                <c:pt idx="8624">
                  <c:v>0</c:v>
                </c:pt>
                <c:pt idx="8625">
                  <c:v>0</c:v>
                </c:pt>
                <c:pt idx="8626">
                  <c:v>0</c:v>
                </c:pt>
                <c:pt idx="8627">
                  <c:v>0</c:v>
                </c:pt>
                <c:pt idx="8628">
                  <c:v>0</c:v>
                </c:pt>
                <c:pt idx="8629">
                  <c:v>0</c:v>
                </c:pt>
                <c:pt idx="8630">
                  <c:v>0</c:v>
                </c:pt>
                <c:pt idx="8631">
                  <c:v>0</c:v>
                </c:pt>
                <c:pt idx="8632">
                  <c:v>0</c:v>
                </c:pt>
                <c:pt idx="8633">
                  <c:v>0</c:v>
                </c:pt>
                <c:pt idx="8634">
                  <c:v>0</c:v>
                </c:pt>
                <c:pt idx="8635">
                  <c:v>0</c:v>
                </c:pt>
                <c:pt idx="8636">
                  <c:v>0</c:v>
                </c:pt>
                <c:pt idx="8637">
                  <c:v>0</c:v>
                </c:pt>
                <c:pt idx="8638">
                  <c:v>0</c:v>
                </c:pt>
                <c:pt idx="8639">
                  <c:v>0</c:v>
                </c:pt>
                <c:pt idx="8640">
                  <c:v>0</c:v>
                </c:pt>
                <c:pt idx="8641">
                  <c:v>0</c:v>
                </c:pt>
                <c:pt idx="8642">
                  <c:v>0</c:v>
                </c:pt>
                <c:pt idx="8643">
                  <c:v>0</c:v>
                </c:pt>
                <c:pt idx="8644">
                  <c:v>0</c:v>
                </c:pt>
                <c:pt idx="8645">
                  <c:v>0</c:v>
                </c:pt>
                <c:pt idx="8646">
                  <c:v>0</c:v>
                </c:pt>
                <c:pt idx="8647">
                  <c:v>0</c:v>
                </c:pt>
                <c:pt idx="8648">
                  <c:v>0</c:v>
                </c:pt>
                <c:pt idx="8649">
                  <c:v>0</c:v>
                </c:pt>
                <c:pt idx="8650">
                  <c:v>0</c:v>
                </c:pt>
                <c:pt idx="8651">
                  <c:v>0</c:v>
                </c:pt>
                <c:pt idx="8652">
                  <c:v>0</c:v>
                </c:pt>
                <c:pt idx="8653">
                  <c:v>0</c:v>
                </c:pt>
                <c:pt idx="8654">
                  <c:v>0</c:v>
                </c:pt>
                <c:pt idx="8655">
                  <c:v>0</c:v>
                </c:pt>
                <c:pt idx="8656">
                  <c:v>0</c:v>
                </c:pt>
                <c:pt idx="8657">
                  <c:v>0</c:v>
                </c:pt>
                <c:pt idx="8658">
                  <c:v>0</c:v>
                </c:pt>
                <c:pt idx="8659">
                  <c:v>0</c:v>
                </c:pt>
                <c:pt idx="8660">
                  <c:v>0</c:v>
                </c:pt>
                <c:pt idx="8661">
                  <c:v>0</c:v>
                </c:pt>
                <c:pt idx="8662">
                  <c:v>0</c:v>
                </c:pt>
                <c:pt idx="8663">
                  <c:v>0</c:v>
                </c:pt>
                <c:pt idx="8664">
                  <c:v>0</c:v>
                </c:pt>
                <c:pt idx="8665">
                  <c:v>0</c:v>
                </c:pt>
                <c:pt idx="8666">
                  <c:v>0</c:v>
                </c:pt>
                <c:pt idx="8667">
                  <c:v>0</c:v>
                </c:pt>
                <c:pt idx="8668">
                  <c:v>0</c:v>
                </c:pt>
                <c:pt idx="8669">
                  <c:v>0</c:v>
                </c:pt>
                <c:pt idx="8670">
                  <c:v>0</c:v>
                </c:pt>
                <c:pt idx="8671">
                  <c:v>0</c:v>
                </c:pt>
                <c:pt idx="8672">
                  <c:v>0</c:v>
                </c:pt>
                <c:pt idx="8673">
                  <c:v>0</c:v>
                </c:pt>
                <c:pt idx="8674">
                  <c:v>0</c:v>
                </c:pt>
                <c:pt idx="8675">
                  <c:v>0</c:v>
                </c:pt>
                <c:pt idx="8676">
                  <c:v>0</c:v>
                </c:pt>
                <c:pt idx="8677">
                  <c:v>0</c:v>
                </c:pt>
                <c:pt idx="8678">
                  <c:v>0</c:v>
                </c:pt>
                <c:pt idx="8679">
                  <c:v>0</c:v>
                </c:pt>
                <c:pt idx="8680">
                  <c:v>0</c:v>
                </c:pt>
                <c:pt idx="8681">
                  <c:v>0</c:v>
                </c:pt>
                <c:pt idx="8682">
                  <c:v>0</c:v>
                </c:pt>
                <c:pt idx="8683">
                  <c:v>0</c:v>
                </c:pt>
                <c:pt idx="8684">
                  <c:v>0</c:v>
                </c:pt>
                <c:pt idx="8685">
                  <c:v>0</c:v>
                </c:pt>
                <c:pt idx="8686">
                  <c:v>0</c:v>
                </c:pt>
                <c:pt idx="8687">
                  <c:v>0</c:v>
                </c:pt>
                <c:pt idx="8688">
                  <c:v>0</c:v>
                </c:pt>
                <c:pt idx="8689">
                  <c:v>0</c:v>
                </c:pt>
                <c:pt idx="8690">
                  <c:v>0</c:v>
                </c:pt>
                <c:pt idx="8691">
                  <c:v>0</c:v>
                </c:pt>
                <c:pt idx="8692">
                  <c:v>0</c:v>
                </c:pt>
                <c:pt idx="8693">
                  <c:v>0</c:v>
                </c:pt>
                <c:pt idx="8694">
                  <c:v>0</c:v>
                </c:pt>
                <c:pt idx="8695">
                  <c:v>0</c:v>
                </c:pt>
                <c:pt idx="8696">
                  <c:v>0</c:v>
                </c:pt>
                <c:pt idx="8697">
                  <c:v>0</c:v>
                </c:pt>
                <c:pt idx="8698">
                  <c:v>0</c:v>
                </c:pt>
                <c:pt idx="8699">
                  <c:v>0</c:v>
                </c:pt>
                <c:pt idx="8700">
                  <c:v>0</c:v>
                </c:pt>
                <c:pt idx="8701">
                  <c:v>0</c:v>
                </c:pt>
                <c:pt idx="8702">
                  <c:v>0</c:v>
                </c:pt>
                <c:pt idx="8703">
                  <c:v>0</c:v>
                </c:pt>
                <c:pt idx="8704">
                  <c:v>0</c:v>
                </c:pt>
                <c:pt idx="8705">
                  <c:v>0</c:v>
                </c:pt>
                <c:pt idx="8706">
                  <c:v>0</c:v>
                </c:pt>
                <c:pt idx="8707">
                  <c:v>0</c:v>
                </c:pt>
                <c:pt idx="8708">
                  <c:v>0</c:v>
                </c:pt>
                <c:pt idx="8709">
                  <c:v>0</c:v>
                </c:pt>
                <c:pt idx="8710">
                  <c:v>0</c:v>
                </c:pt>
                <c:pt idx="8711">
                  <c:v>0</c:v>
                </c:pt>
                <c:pt idx="8712">
                  <c:v>0</c:v>
                </c:pt>
                <c:pt idx="8713">
                  <c:v>0</c:v>
                </c:pt>
                <c:pt idx="8714">
                  <c:v>0</c:v>
                </c:pt>
                <c:pt idx="8715">
                  <c:v>0</c:v>
                </c:pt>
                <c:pt idx="8716">
                  <c:v>0</c:v>
                </c:pt>
                <c:pt idx="8717">
                  <c:v>0</c:v>
                </c:pt>
                <c:pt idx="8718">
                  <c:v>0</c:v>
                </c:pt>
                <c:pt idx="8719">
                  <c:v>0</c:v>
                </c:pt>
                <c:pt idx="8720">
                  <c:v>0</c:v>
                </c:pt>
                <c:pt idx="8721">
                  <c:v>0</c:v>
                </c:pt>
                <c:pt idx="8722">
                  <c:v>0</c:v>
                </c:pt>
                <c:pt idx="8723">
                  <c:v>0</c:v>
                </c:pt>
                <c:pt idx="8724">
                  <c:v>0</c:v>
                </c:pt>
                <c:pt idx="8725">
                  <c:v>0</c:v>
                </c:pt>
                <c:pt idx="8726">
                  <c:v>0</c:v>
                </c:pt>
                <c:pt idx="8727">
                  <c:v>0</c:v>
                </c:pt>
                <c:pt idx="8728">
                  <c:v>0</c:v>
                </c:pt>
                <c:pt idx="8729">
                  <c:v>0</c:v>
                </c:pt>
                <c:pt idx="8730">
                  <c:v>0</c:v>
                </c:pt>
                <c:pt idx="8731">
                  <c:v>0</c:v>
                </c:pt>
                <c:pt idx="8732">
                  <c:v>0</c:v>
                </c:pt>
                <c:pt idx="8733">
                  <c:v>0</c:v>
                </c:pt>
                <c:pt idx="8734">
                  <c:v>0</c:v>
                </c:pt>
                <c:pt idx="8735">
                  <c:v>0</c:v>
                </c:pt>
                <c:pt idx="8736">
                  <c:v>0</c:v>
                </c:pt>
                <c:pt idx="8737">
                  <c:v>0</c:v>
                </c:pt>
                <c:pt idx="8738">
                  <c:v>0</c:v>
                </c:pt>
                <c:pt idx="8739">
                  <c:v>0</c:v>
                </c:pt>
                <c:pt idx="8740">
                  <c:v>0</c:v>
                </c:pt>
                <c:pt idx="8741">
                  <c:v>0</c:v>
                </c:pt>
                <c:pt idx="8742">
                  <c:v>0</c:v>
                </c:pt>
                <c:pt idx="8743">
                  <c:v>0</c:v>
                </c:pt>
                <c:pt idx="8744">
                  <c:v>0</c:v>
                </c:pt>
                <c:pt idx="8745">
                  <c:v>0</c:v>
                </c:pt>
                <c:pt idx="8746">
                  <c:v>0</c:v>
                </c:pt>
                <c:pt idx="8747">
                  <c:v>0</c:v>
                </c:pt>
                <c:pt idx="8748">
                  <c:v>0</c:v>
                </c:pt>
                <c:pt idx="8749">
                  <c:v>0</c:v>
                </c:pt>
                <c:pt idx="8750">
                  <c:v>0</c:v>
                </c:pt>
                <c:pt idx="8751">
                  <c:v>0</c:v>
                </c:pt>
                <c:pt idx="8752">
                  <c:v>0</c:v>
                </c:pt>
                <c:pt idx="8753">
                  <c:v>0</c:v>
                </c:pt>
                <c:pt idx="8754">
                  <c:v>0</c:v>
                </c:pt>
                <c:pt idx="8755">
                  <c:v>0</c:v>
                </c:pt>
                <c:pt idx="8756">
                  <c:v>0</c:v>
                </c:pt>
                <c:pt idx="8757">
                  <c:v>0</c:v>
                </c:pt>
                <c:pt idx="8758">
                  <c:v>0</c:v>
                </c:pt>
                <c:pt idx="8759">
                  <c:v>0</c:v>
                </c:pt>
                <c:pt idx="8760">
                  <c:v>0</c:v>
                </c:pt>
                <c:pt idx="8761">
                  <c:v>0</c:v>
                </c:pt>
                <c:pt idx="8762">
                  <c:v>0</c:v>
                </c:pt>
                <c:pt idx="8763">
                  <c:v>0</c:v>
                </c:pt>
                <c:pt idx="8764">
                  <c:v>0</c:v>
                </c:pt>
                <c:pt idx="8765">
                  <c:v>0</c:v>
                </c:pt>
                <c:pt idx="8766">
                  <c:v>0</c:v>
                </c:pt>
                <c:pt idx="8767">
                  <c:v>0</c:v>
                </c:pt>
                <c:pt idx="8768">
                  <c:v>0</c:v>
                </c:pt>
                <c:pt idx="8769">
                  <c:v>0</c:v>
                </c:pt>
                <c:pt idx="8770">
                  <c:v>0</c:v>
                </c:pt>
                <c:pt idx="8771">
                  <c:v>0</c:v>
                </c:pt>
                <c:pt idx="8772">
                  <c:v>0</c:v>
                </c:pt>
                <c:pt idx="8773">
                  <c:v>0</c:v>
                </c:pt>
                <c:pt idx="8774">
                  <c:v>0</c:v>
                </c:pt>
                <c:pt idx="8775">
                  <c:v>0</c:v>
                </c:pt>
                <c:pt idx="8776">
                  <c:v>0</c:v>
                </c:pt>
                <c:pt idx="8777">
                  <c:v>0</c:v>
                </c:pt>
                <c:pt idx="8778">
                  <c:v>0</c:v>
                </c:pt>
                <c:pt idx="8779">
                  <c:v>0</c:v>
                </c:pt>
                <c:pt idx="8780">
                  <c:v>0</c:v>
                </c:pt>
                <c:pt idx="8781">
                  <c:v>0</c:v>
                </c:pt>
                <c:pt idx="8782">
                  <c:v>0</c:v>
                </c:pt>
                <c:pt idx="8783">
                  <c:v>0</c:v>
                </c:pt>
                <c:pt idx="8784">
                  <c:v>0</c:v>
                </c:pt>
                <c:pt idx="8785">
                  <c:v>0</c:v>
                </c:pt>
                <c:pt idx="8786">
                  <c:v>0</c:v>
                </c:pt>
                <c:pt idx="8787">
                  <c:v>0</c:v>
                </c:pt>
                <c:pt idx="8788">
                  <c:v>0</c:v>
                </c:pt>
                <c:pt idx="8789">
                  <c:v>0</c:v>
                </c:pt>
                <c:pt idx="8790">
                  <c:v>0</c:v>
                </c:pt>
                <c:pt idx="8791">
                  <c:v>0</c:v>
                </c:pt>
                <c:pt idx="8792">
                  <c:v>0</c:v>
                </c:pt>
                <c:pt idx="8793">
                  <c:v>0</c:v>
                </c:pt>
                <c:pt idx="8794">
                  <c:v>0</c:v>
                </c:pt>
                <c:pt idx="8795">
                  <c:v>0</c:v>
                </c:pt>
                <c:pt idx="8796">
                  <c:v>0</c:v>
                </c:pt>
                <c:pt idx="8797">
                  <c:v>0</c:v>
                </c:pt>
                <c:pt idx="8798">
                  <c:v>0</c:v>
                </c:pt>
                <c:pt idx="8799">
                  <c:v>0</c:v>
                </c:pt>
                <c:pt idx="8800">
                  <c:v>0</c:v>
                </c:pt>
                <c:pt idx="8801">
                  <c:v>0</c:v>
                </c:pt>
                <c:pt idx="8802">
                  <c:v>0</c:v>
                </c:pt>
                <c:pt idx="8803">
                  <c:v>0</c:v>
                </c:pt>
                <c:pt idx="8804">
                  <c:v>0</c:v>
                </c:pt>
                <c:pt idx="8805">
                  <c:v>0</c:v>
                </c:pt>
                <c:pt idx="8806">
                  <c:v>0</c:v>
                </c:pt>
                <c:pt idx="8807">
                  <c:v>0</c:v>
                </c:pt>
                <c:pt idx="8808">
                  <c:v>0</c:v>
                </c:pt>
                <c:pt idx="8809">
                  <c:v>0</c:v>
                </c:pt>
                <c:pt idx="8810">
                  <c:v>0</c:v>
                </c:pt>
                <c:pt idx="8811">
                  <c:v>0</c:v>
                </c:pt>
                <c:pt idx="8812">
                  <c:v>0</c:v>
                </c:pt>
                <c:pt idx="8813">
                  <c:v>0</c:v>
                </c:pt>
                <c:pt idx="8814">
                  <c:v>0</c:v>
                </c:pt>
                <c:pt idx="8815">
                  <c:v>0</c:v>
                </c:pt>
                <c:pt idx="8816">
                  <c:v>0</c:v>
                </c:pt>
                <c:pt idx="8817">
                  <c:v>0</c:v>
                </c:pt>
                <c:pt idx="8818">
                  <c:v>0</c:v>
                </c:pt>
                <c:pt idx="8819">
                  <c:v>0</c:v>
                </c:pt>
                <c:pt idx="8820">
                  <c:v>0</c:v>
                </c:pt>
                <c:pt idx="8821">
                  <c:v>0</c:v>
                </c:pt>
                <c:pt idx="8822">
                  <c:v>0</c:v>
                </c:pt>
                <c:pt idx="8823">
                  <c:v>0</c:v>
                </c:pt>
                <c:pt idx="8824">
                  <c:v>0</c:v>
                </c:pt>
                <c:pt idx="8825">
                  <c:v>0</c:v>
                </c:pt>
                <c:pt idx="8826">
                  <c:v>0</c:v>
                </c:pt>
                <c:pt idx="8827">
                  <c:v>0</c:v>
                </c:pt>
                <c:pt idx="8828">
                  <c:v>0</c:v>
                </c:pt>
                <c:pt idx="8829">
                  <c:v>0</c:v>
                </c:pt>
                <c:pt idx="8830">
                  <c:v>0</c:v>
                </c:pt>
                <c:pt idx="8831">
                  <c:v>0</c:v>
                </c:pt>
                <c:pt idx="8832">
                  <c:v>0</c:v>
                </c:pt>
                <c:pt idx="8833">
                  <c:v>0</c:v>
                </c:pt>
                <c:pt idx="8834">
                  <c:v>0</c:v>
                </c:pt>
                <c:pt idx="8835">
                  <c:v>0</c:v>
                </c:pt>
                <c:pt idx="8836">
                  <c:v>0</c:v>
                </c:pt>
                <c:pt idx="8837">
                  <c:v>0</c:v>
                </c:pt>
                <c:pt idx="8838">
                  <c:v>0</c:v>
                </c:pt>
                <c:pt idx="8839">
                  <c:v>0</c:v>
                </c:pt>
                <c:pt idx="8840">
                  <c:v>0</c:v>
                </c:pt>
                <c:pt idx="8841">
                  <c:v>0</c:v>
                </c:pt>
                <c:pt idx="8842">
                  <c:v>0</c:v>
                </c:pt>
                <c:pt idx="8843">
                  <c:v>0</c:v>
                </c:pt>
                <c:pt idx="8844">
                  <c:v>0</c:v>
                </c:pt>
                <c:pt idx="8845">
                  <c:v>0</c:v>
                </c:pt>
                <c:pt idx="8846">
                  <c:v>0</c:v>
                </c:pt>
                <c:pt idx="8847">
                  <c:v>0</c:v>
                </c:pt>
                <c:pt idx="8848">
                  <c:v>0</c:v>
                </c:pt>
                <c:pt idx="8849">
                  <c:v>0</c:v>
                </c:pt>
                <c:pt idx="8850">
                  <c:v>0</c:v>
                </c:pt>
                <c:pt idx="8851">
                  <c:v>0</c:v>
                </c:pt>
                <c:pt idx="8852">
                  <c:v>0</c:v>
                </c:pt>
                <c:pt idx="8853">
                  <c:v>0</c:v>
                </c:pt>
                <c:pt idx="8854">
                  <c:v>0</c:v>
                </c:pt>
                <c:pt idx="8855">
                  <c:v>0</c:v>
                </c:pt>
                <c:pt idx="8856">
                  <c:v>0</c:v>
                </c:pt>
                <c:pt idx="8857">
                  <c:v>0</c:v>
                </c:pt>
                <c:pt idx="8858">
                  <c:v>0</c:v>
                </c:pt>
                <c:pt idx="8859">
                  <c:v>0</c:v>
                </c:pt>
                <c:pt idx="8860">
                  <c:v>0</c:v>
                </c:pt>
                <c:pt idx="8861">
                  <c:v>0</c:v>
                </c:pt>
                <c:pt idx="8862">
                  <c:v>0</c:v>
                </c:pt>
                <c:pt idx="8863">
                  <c:v>0</c:v>
                </c:pt>
                <c:pt idx="8864">
                  <c:v>0</c:v>
                </c:pt>
                <c:pt idx="8865">
                  <c:v>0</c:v>
                </c:pt>
                <c:pt idx="8866">
                  <c:v>0</c:v>
                </c:pt>
                <c:pt idx="8867">
                  <c:v>0</c:v>
                </c:pt>
                <c:pt idx="8868">
                  <c:v>0</c:v>
                </c:pt>
                <c:pt idx="8869">
                  <c:v>0</c:v>
                </c:pt>
                <c:pt idx="8870">
                  <c:v>0</c:v>
                </c:pt>
                <c:pt idx="8871">
                  <c:v>0</c:v>
                </c:pt>
                <c:pt idx="8872">
                  <c:v>0</c:v>
                </c:pt>
                <c:pt idx="8873">
                  <c:v>0</c:v>
                </c:pt>
                <c:pt idx="8874">
                  <c:v>0</c:v>
                </c:pt>
                <c:pt idx="8875">
                  <c:v>0</c:v>
                </c:pt>
                <c:pt idx="8876">
                  <c:v>0</c:v>
                </c:pt>
                <c:pt idx="8877">
                  <c:v>0</c:v>
                </c:pt>
                <c:pt idx="8878">
                  <c:v>0</c:v>
                </c:pt>
                <c:pt idx="8879">
                  <c:v>0</c:v>
                </c:pt>
                <c:pt idx="8880">
                  <c:v>0</c:v>
                </c:pt>
                <c:pt idx="8881">
                  <c:v>0</c:v>
                </c:pt>
                <c:pt idx="8882">
                  <c:v>0</c:v>
                </c:pt>
                <c:pt idx="8883">
                  <c:v>0</c:v>
                </c:pt>
                <c:pt idx="8884">
                  <c:v>0</c:v>
                </c:pt>
                <c:pt idx="8885">
                  <c:v>0</c:v>
                </c:pt>
                <c:pt idx="8886">
                  <c:v>0</c:v>
                </c:pt>
                <c:pt idx="8887">
                  <c:v>0</c:v>
                </c:pt>
                <c:pt idx="8888">
                  <c:v>0</c:v>
                </c:pt>
                <c:pt idx="8889">
                  <c:v>0</c:v>
                </c:pt>
                <c:pt idx="8890">
                  <c:v>0</c:v>
                </c:pt>
                <c:pt idx="8891">
                  <c:v>0</c:v>
                </c:pt>
                <c:pt idx="8892">
                  <c:v>0</c:v>
                </c:pt>
                <c:pt idx="8893">
                  <c:v>0</c:v>
                </c:pt>
                <c:pt idx="8894">
                  <c:v>0</c:v>
                </c:pt>
                <c:pt idx="8895">
                  <c:v>0</c:v>
                </c:pt>
                <c:pt idx="8896">
                  <c:v>0</c:v>
                </c:pt>
                <c:pt idx="8897">
                  <c:v>0</c:v>
                </c:pt>
                <c:pt idx="8898">
                  <c:v>0</c:v>
                </c:pt>
                <c:pt idx="8899">
                  <c:v>0</c:v>
                </c:pt>
                <c:pt idx="8900">
                  <c:v>0</c:v>
                </c:pt>
                <c:pt idx="8901">
                  <c:v>0</c:v>
                </c:pt>
                <c:pt idx="8902">
                  <c:v>0</c:v>
                </c:pt>
                <c:pt idx="8903">
                  <c:v>0</c:v>
                </c:pt>
                <c:pt idx="8904">
                  <c:v>0</c:v>
                </c:pt>
                <c:pt idx="8905">
                  <c:v>0</c:v>
                </c:pt>
                <c:pt idx="8906">
                  <c:v>0</c:v>
                </c:pt>
                <c:pt idx="8907">
                  <c:v>0</c:v>
                </c:pt>
                <c:pt idx="8908">
                  <c:v>0</c:v>
                </c:pt>
                <c:pt idx="8909">
                  <c:v>0</c:v>
                </c:pt>
                <c:pt idx="8910">
                  <c:v>0</c:v>
                </c:pt>
                <c:pt idx="8911">
                  <c:v>0</c:v>
                </c:pt>
                <c:pt idx="8912">
                  <c:v>0</c:v>
                </c:pt>
                <c:pt idx="8913">
                  <c:v>0</c:v>
                </c:pt>
                <c:pt idx="8914">
                  <c:v>0</c:v>
                </c:pt>
                <c:pt idx="8915">
                  <c:v>0</c:v>
                </c:pt>
                <c:pt idx="8916">
                  <c:v>0</c:v>
                </c:pt>
                <c:pt idx="8917">
                  <c:v>0</c:v>
                </c:pt>
                <c:pt idx="8918">
                  <c:v>0</c:v>
                </c:pt>
                <c:pt idx="8919">
                  <c:v>0</c:v>
                </c:pt>
                <c:pt idx="8920">
                  <c:v>0</c:v>
                </c:pt>
                <c:pt idx="8921">
                  <c:v>0</c:v>
                </c:pt>
                <c:pt idx="8922">
                  <c:v>0</c:v>
                </c:pt>
                <c:pt idx="8923">
                  <c:v>0</c:v>
                </c:pt>
                <c:pt idx="8924">
                  <c:v>0</c:v>
                </c:pt>
                <c:pt idx="8925">
                  <c:v>0</c:v>
                </c:pt>
                <c:pt idx="8926">
                  <c:v>0</c:v>
                </c:pt>
                <c:pt idx="8927">
                  <c:v>0</c:v>
                </c:pt>
                <c:pt idx="8928">
                  <c:v>0</c:v>
                </c:pt>
                <c:pt idx="8929">
                  <c:v>0</c:v>
                </c:pt>
                <c:pt idx="8930">
                  <c:v>0</c:v>
                </c:pt>
                <c:pt idx="8931">
                  <c:v>0</c:v>
                </c:pt>
                <c:pt idx="8932">
                  <c:v>0</c:v>
                </c:pt>
                <c:pt idx="8933">
                  <c:v>0</c:v>
                </c:pt>
                <c:pt idx="8934">
                  <c:v>0</c:v>
                </c:pt>
                <c:pt idx="8935">
                  <c:v>0</c:v>
                </c:pt>
                <c:pt idx="8936">
                  <c:v>0</c:v>
                </c:pt>
                <c:pt idx="8937">
                  <c:v>0</c:v>
                </c:pt>
                <c:pt idx="8938">
                  <c:v>0</c:v>
                </c:pt>
                <c:pt idx="8939">
                  <c:v>0</c:v>
                </c:pt>
                <c:pt idx="8940">
                  <c:v>0</c:v>
                </c:pt>
                <c:pt idx="8941">
                  <c:v>0</c:v>
                </c:pt>
                <c:pt idx="8942">
                  <c:v>0</c:v>
                </c:pt>
                <c:pt idx="8943">
                  <c:v>0</c:v>
                </c:pt>
                <c:pt idx="8944">
                  <c:v>0</c:v>
                </c:pt>
                <c:pt idx="8945">
                  <c:v>0</c:v>
                </c:pt>
                <c:pt idx="8946">
                  <c:v>0</c:v>
                </c:pt>
                <c:pt idx="8947">
                  <c:v>0</c:v>
                </c:pt>
                <c:pt idx="8948">
                  <c:v>0</c:v>
                </c:pt>
                <c:pt idx="8949">
                  <c:v>0</c:v>
                </c:pt>
                <c:pt idx="8950">
                  <c:v>0</c:v>
                </c:pt>
                <c:pt idx="8951">
                  <c:v>0</c:v>
                </c:pt>
                <c:pt idx="8952">
                  <c:v>0</c:v>
                </c:pt>
                <c:pt idx="8953">
                  <c:v>0</c:v>
                </c:pt>
                <c:pt idx="8954">
                  <c:v>0</c:v>
                </c:pt>
                <c:pt idx="8955">
                  <c:v>0</c:v>
                </c:pt>
                <c:pt idx="8956">
                  <c:v>0</c:v>
                </c:pt>
                <c:pt idx="8957">
                  <c:v>0</c:v>
                </c:pt>
                <c:pt idx="8958">
                  <c:v>0</c:v>
                </c:pt>
                <c:pt idx="8959">
                  <c:v>0</c:v>
                </c:pt>
                <c:pt idx="8960">
                  <c:v>0</c:v>
                </c:pt>
                <c:pt idx="8961">
                  <c:v>0</c:v>
                </c:pt>
                <c:pt idx="8962">
                  <c:v>0</c:v>
                </c:pt>
                <c:pt idx="8963">
                  <c:v>0</c:v>
                </c:pt>
                <c:pt idx="8964">
                  <c:v>0</c:v>
                </c:pt>
                <c:pt idx="8965">
                  <c:v>0</c:v>
                </c:pt>
                <c:pt idx="8966">
                  <c:v>0</c:v>
                </c:pt>
                <c:pt idx="8967">
                  <c:v>0</c:v>
                </c:pt>
                <c:pt idx="8968">
                  <c:v>0</c:v>
                </c:pt>
                <c:pt idx="8969">
                  <c:v>0</c:v>
                </c:pt>
                <c:pt idx="8970">
                  <c:v>0</c:v>
                </c:pt>
                <c:pt idx="8971">
                  <c:v>0</c:v>
                </c:pt>
                <c:pt idx="8972">
                  <c:v>0</c:v>
                </c:pt>
                <c:pt idx="8973">
                  <c:v>0</c:v>
                </c:pt>
                <c:pt idx="8974">
                  <c:v>0</c:v>
                </c:pt>
                <c:pt idx="8975">
                  <c:v>0</c:v>
                </c:pt>
                <c:pt idx="8976">
                  <c:v>0</c:v>
                </c:pt>
                <c:pt idx="8977">
                  <c:v>0</c:v>
                </c:pt>
                <c:pt idx="8978">
                  <c:v>0</c:v>
                </c:pt>
                <c:pt idx="8979">
                  <c:v>0</c:v>
                </c:pt>
                <c:pt idx="8980">
                  <c:v>0</c:v>
                </c:pt>
                <c:pt idx="8981">
                  <c:v>0</c:v>
                </c:pt>
                <c:pt idx="8982">
                  <c:v>0</c:v>
                </c:pt>
                <c:pt idx="8983">
                  <c:v>0</c:v>
                </c:pt>
                <c:pt idx="8984">
                  <c:v>0</c:v>
                </c:pt>
                <c:pt idx="8985">
                  <c:v>0</c:v>
                </c:pt>
                <c:pt idx="8986">
                  <c:v>0</c:v>
                </c:pt>
                <c:pt idx="8987">
                  <c:v>0</c:v>
                </c:pt>
                <c:pt idx="8988">
                  <c:v>0</c:v>
                </c:pt>
                <c:pt idx="8989">
                  <c:v>0</c:v>
                </c:pt>
                <c:pt idx="8990">
                  <c:v>0</c:v>
                </c:pt>
                <c:pt idx="8991">
                  <c:v>0</c:v>
                </c:pt>
                <c:pt idx="8992">
                  <c:v>0</c:v>
                </c:pt>
                <c:pt idx="8993">
                  <c:v>0</c:v>
                </c:pt>
                <c:pt idx="8994">
                  <c:v>0</c:v>
                </c:pt>
                <c:pt idx="8995">
                  <c:v>0</c:v>
                </c:pt>
                <c:pt idx="8996">
                  <c:v>0</c:v>
                </c:pt>
                <c:pt idx="8997">
                  <c:v>0</c:v>
                </c:pt>
                <c:pt idx="8998">
                  <c:v>0</c:v>
                </c:pt>
                <c:pt idx="8999">
                  <c:v>0</c:v>
                </c:pt>
                <c:pt idx="9000">
                  <c:v>0</c:v>
                </c:pt>
                <c:pt idx="9001">
                  <c:v>0</c:v>
                </c:pt>
                <c:pt idx="9002">
                  <c:v>0</c:v>
                </c:pt>
                <c:pt idx="9003">
                  <c:v>0</c:v>
                </c:pt>
                <c:pt idx="9004">
                  <c:v>0</c:v>
                </c:pt>
                <c:pt idx="9005">
                  <c:v>0</c:v>
                </c:pt>
                <c:pt idx="9006">
                  <c:v>0</c:v>
                </c:pt>
                <c:pt idx="9007">
                  <c:v>0</c:v>
                </c:pt>
                <c:pt idx="9008">
                  <c:v>0</c:v>
                </c:pt>
                <c:pt idx="9009">
                  <c:v>0</c:v>
                </c:pt>
                <c:pt idx="9010">
                  <c:v>0</c:v>
                </c:pt>
                <c:pt idx="9011">
                  <c:v>0</c:v>
                </c:pt>
                <c:pt idx="9012">
                  <c:v>0</c:v>
                </c:pt>
                <c:pt idx="9013">
                  <c:v>0</c:v>
                </c:pt>
                <c:pt idx="9014">
                  <c:v>0</c:v>
                </c:pt>
                <c:pt idx="9015">
                  <c:v>0</c:v>
                </c:pt>
                <c:pt idx="9016">
                  <c:v>0</c:v>
                </c:pt>
                <c:pt idx="9017">
                  <c:v>0</c:v>
                </c:pt>
                <c:pt idx="9018">
                  <c:v>0</c:v>
                </c:pt>
                <c:pt idx="9019">
                  <c:v>0</c:v>
                </c:pt>
                <c:pt idx="9020">
                  <c:v>0</c:v>
                </c:pt>
                <c:pt idx="9021">
                  <c:v>0</c:v>
                </c:pt>
                <c:pt idx="9022">
                  <c:v>0</c:v>
                </c:pt>
                <c:pt idx="9023">
                  <c:v>0</c:v>
                </c:pt>
                <c:pt idx="9024">
                  <c:v>0</c:v>
                </c:pt>
                <c:pt idx="9025">
                  <c:v>0</c:v>
                </c:pt>
                <c:pt idx="9026">
                  <c:v>0</c:v>
                </c:pt>
                <c:pt idx="9027">
                  <c:v>0</c:v>
                </c:pt>
                <c:pt idx="9028">
                  <c:v>0</c:v>
                </c:pt>
                <c:pt idx="9029">
                  <c:v>0</c:v>
                </c:pt>
                <c:pt idx="9030">
                  <c:v>0</c:v>
                </c:pt>
                <c:pt idx="9031">
                  <c:v>0</c:v>
                </c:pt>
                <c:pt idx="9032">
                  <c:v>0</c:v>
                </c:pt>
                <c:pt idx="9033">
                  <c:v>0</c:v>
                </c:pt>
                <c:pt idx="9034">
                  <c:v>0</c:v>
                </c:pt>
                <c:pt idx="9035">
                  <c:v>0</c:v>
                </c:pt>
                <c:pt idx="9036">
                  <c:v>0</c:v>
                </c:pt>
                <c:pt idx="9037">
                  <c:v>0</c:v>
                </c:pt>
                <c:pt idx="9038">
                  <c:v>0</c:v>
                </c:pt>
                <c:pt idx="9039">
                  <c:v>0</c:v>
                </c:pt>
                <c:pt idx="9040">
                  <c:v>0</c:v>
                </c:pt>
                <c:pt idx="9041">
                  <c:v>0</c:v>
                </c:pt>
                <c:pt idx="9042">
                  <c:v>0</c:v>
                </c:pt>
                <c:pt idx="9043">
                  <c:v>0</c:v>
                </c:pt>
                <c:pt idx="9044">
                  <c:v>0</c:v>
                </c:pt>
                <c:pt idx="9045">
                  <c:v>0</c:v>
                </c:pt>
                <c:pt idx="9046">
                  <c:v>0</c:v>
                </c:pt>
                <c:pt idx="9047">
                  <c:v>0</c:v>
                </c:pt>
                <c:pt idx="9048">
                  <c:v>0</c:v>
                </c:pt>
                <c:pt idx="9049">
                  <c:v>0</c:v>
                </c:pt>
                <c:pt idx="9050">
                  <c:v>0</c:v>
                </c:pt>
                <c:pt idx="9051">
                  <c:v>0</c:v>
                </c:pt>
                <c:pt idx="9052">
                  <c:v>0</c:v>
                </c:pt>
                <c:pt idx="9053">
                  <c:v>0</c:v>
                </c:pt>
                <c:pt idx="9054">
                  <c:v>0</c:v>
                </c:pt>
                <c:pt idx="9055">
                  <c:v>0</c:v>
                </c:pt>
                <c:pt idx="9056">
                  <c:v>0</c:v>
                </c:pt>
                <c:pt idx="9057">
                  <c:v>0</c:v>
                </c:pt>
                <c:pt idx="9058">
                  <c:v>0</c:v>
                </c:pt>
                <c:pt idx="9059">
                  <c:v>0</c:v>
                </c:pt>
                <c:pt idx="9060">
                  <c:v>0</c:v>
                </c:pt>
                <c:pt idx="9061">
                  <c:v>0</c:v>
                </c:pt>
                <c:pt idx="9062">
                  <c:v>0</c:v>
                </c:pt>
                <c:pt idx="9063">
                  <c:v>0</c:v>
                </c:pt>
                <c:pt idx="9064">
                  <c:v>0</c:v>
                </c:pt>
                <c:pt idx="9065">
                  <c:v>0</c:v>
                </c:pt>
                <c:pt idx="9066">
                  <c:v>0</c:v>
                </c:pt>
                <c:pt idx="9067">
                  <c:v>0</c:v>
                </c:pt>
                <c:pt idx="9068">
                  <c:v>0</c:v>
                </c:pt>
                <c:pt idx="9069">
                  <c:v>0</c:v>
                </c:pt>
                <c:pt idx="9070">
                  <c:v>0</c:v>
                </c:pt>
                <c:pt idx="9071">
                  <c:v>0</c:v>
                </c:pt>
                <c:pt idx="9072">
                  <c:v>0</c:v>
                </c:pt>
                <c:pt idx="9073">
                  <c:v>0</c:v>
                </c:pt>
                <c:pt idx="9074">
                  <c:v>0</c:v>
                </c:pt>
                <c:pt idx="9075">
                  <c:v>0</c:v>
                </c:pt>
                <c:pt idx="9076">
                  <c:v>0</c:v>
                </c:pt>
                <c:pt idx="9077">
                  <c:v>0</c:v>
                </c:pt>
                <c:pt idx="9078">
                  <c:v>0</c:v>
                </c:pt>
                <c:pt idx="9079">
                  <c:v>0</c:v>
                </c:pt>
                <c:pt idx="9080">
                  <c:v>0</c:v>
                </c:pt>
                <c:pt idx="9081">
                  <c:v>0</c:v>
                </c:pt>
                <c:pt idx="9082">
                  <c:v>0</c:v>
                </c:pt>
                <c:pt idx="9083">
                  <c:v>0</c:v>
                </c:pt>
                <c:pt idx="9084">
                  <c:v>0</c:v>
                </c:pt>
                <c:pt idx="9085">
                  <c:v>0</c:v>
                </c:pt>
                <c:pt idx="9086">
                  <c:v>0</c:v>
                </c:pt>
                <c:pt idx="9087">
                  <c:v>0</c:v>
                </c:pt>
                <c:pt idx="9088">
                  <c:v>0</c:v>
                </c:pt>
                <c:pt idx="9089">
                  <c:v>0</c:v>
                </c:pt>
                <c:pt idx="9090">
                  <c:v>0</c:v>
                </c:pt>
                <c:pt idx="9091">
                  <c:v>0</c:v>
                </c:pt>
                <c:pt idx="9092">
                  <c:v>0</c:v>
                </c:pt>
                <c:pt idx="9093">
                  <c:v>0</c:v>
                </c:pt>
                <c:pt idx="9094">
                  <c:v>0</c:v>
                </c:pt>
                <c:pt idx="9095">
                  <c:v>0</c:v>
                </c:pt>
                <c:pt idx="9096">
                  <c:v>0</c:v>
                </c:pt>
                <c:pt idx="9097">
                  <c:v>0</c:v>
                </c:pt>
                <c:pt idx="9098">
                  <c:v>0</c:v>
                </c:pt>
                <c:pt idx="9099">
                  <c:v>0</c:v>
                </c:pt>
                <c:pt idx="9100">
                  <c:v>0</c:v>
                </c:pt>
                <c:pt idx="9101">
                  <c:v>0</c:v>
                </c:pt>
                <c:pt idx="9102">
                  <c:v>0</c:v>
                </c:pt>
                <c:pt idx="9103">
                  <c:v>0</c:v>
                </c:pt>
                <c:pt idx="9104">
                  <c:v>0</c:v>
                </c:pt>
                <c:pt idx="9105">
                  <c:v>0</c:v>
                </c:pt>
                <c:pt idx="9106">
                  <c:v>0</c:v>
                </c:pt>
                <c:pt idx="9107">
                  <c:v>0</c:v>
                </c:pt>
                <c:pt idx="9108">
                  <c:v>0</c:v>
                </c:pt>
                <c:pt idx="9109">
                  <c:v>0</c:v>
                </c:pt>
                <c:pt idx="9110">
                  <c:v>0</c:v>
                </c:pt>
                <c:pt idx="9111">
                  <c:v>0</c:v>
                </c:pt>
                <c:pt idx="9112">
                  <c:v>0</c:v>
                </c:pt>
                <c:pt idx="9113">
                  <c:v>0</c:v>
                </c:pt>
                <c:pt idx="9114">
                  <c:v>0</c:v>
                </c:pt>
                <c:pt idx="9115">
                  <c:v>0</c:v>
                </c:pt>
                <c:pt idx="9116">
                  <c:v>0</c:v>
                </c:pt>
                <c:pt idx="9117">
                  <c:v>0</c:v>
                </c:pt>
                <c:pt idx="9118">
                  <c:v>0</c:v>
                </c:pt>
                <c:pt idx="9119">
                  <c:v>0</c:v>
                </c:pt>
                <c:pt idx="9120">
                  <c:v>0</c:v>
                </c:pt>
                <c:pt idx="9121">
                  <c:v>0</c:v>
                </c:pt>
                <c:pt idx="9122">
                  <c:v>0</c:v>
                </c:pt>
                <c:pt idx="9123">
                  <c:v>0</c:v>
                </c:pt>
                <c:pt idx="9124">
                  <c:v>0</c:v>
                </c:pt>
                <c:pt idx="9125">
                  <c:v>0</c:v>
                </c:pt>
                <c:pt idx="9126">
                  <c:v>0</c:v>
                </c:pt>
                <c:pt idx="9127">
                  <c:v>0</c:v>
                </c:pt>
                <c:pt idx="9128">
                  <c:v>0</c:v>
                </c:pt>
                <c:pt idx="9129">
                  <c:v>0</c:v>
                </c:pt>
                <c:pt idx="9130">
                  <c:v>0</c:v>
                </c:pt>
                <c:pt idx="9131">
                  <c:v>0</c:v>
                </c:pt>
                <c:pt idx="9132">
                  <c:v>0</c:v>
                </c:pt>
                <c:pt idx="9133">
                  <c:v>0</c:v>
                </c:pt>
                <c:pt idx="9134">
                  <c:v>0</c:v>
                </c:pt>
                <c:pt idx="9135">
                  <c:v>0</c:v>
                </c:pt>
                <c:pt idx="9136">
                  <c:v>0</c:v>
                </c:pt>
                <c:pt idx="9137">
                  <c:v>0</c:v>
                </c:pt>
                <c:pt idx="9138">
                  <c:v>0</c:v>
                </c:pt>
                <c:pt idx="9139">
                  <c:v>0</c:v>
                </c:pt>
                <c:pt idx="9140">
                  <c:v>0</c:v>
                </c:pt>
                <c:pt idx="9141">
                  <c:v>0</c:v>
                </c:pt>
                <c:pt idx="9142">
                  <c:v>0</c:v>
                </c:pt>
                <c:pt idx="9143">
                  <c:v>0</c:v>
                </c:pt>
                <c:pt idx="9144">
                  <c:v>0</c:v>
                </c:pt>
                <c:pt idx="9145">
                  <c:v>0</c:v>
                </c:pt>
                <c:pt idx="9146">
                  <c:v>0</c:v>
                </c:pt>
                <c:pt idx="9147">
                  <c:v>0</c:v>
                </c:pt>
                <c:pt idx="9148">
                  <c:v>0</c:v>
                </c:pt>
                <c:pt idx="9149">
                  <c:v>0</c:v>
                </c:pt>
                <c:pt idx="9150">
                  <c:v>0</c:v>
                </c:pt>
                <c:pt idx="9151">
                  <c:v>0</c:v>
                </c:pt>
                <c:pt idx="9152">
                  <c:v>0</c:v>
                </c:pt>
                <c:pt idx="9153">
                  <c:v>0</c:v>
                </c:pt>
                <c:pt idx="9154">
                  <c:v>0</c:v>
                </c:pt>
                <c:pt idx="9155">
                  <c:v>0</c:v>
                </c:pt>
                <c:pt idx="9156">
                  <c:v>0</c:v>
                </c:pt>
                <c:pt idx="9157">
                  <c:v>0</c:v>
                </c:pt>
                <c:pt idx="9158">
                  <c:v>0</c:v>
                </c:pt>
                <c:pt idx="9159">
                  <c:v>0</c:v>
                </c:pt>
                <c:pt idx="9160">
                  <c:v>0</c:v>
                </c:pt>
                <c:pt idx="9161">
                  <c:v>0</c:v>
                </c:pt>
                <c:pt idx="9162">
                  <c:v>0</c:v>
                </c:pt>
                <c:pt idx="9163">
                  <c:v>0</c:v>
                </c:pt>
                <c:pt idx="9164">
                  <c:v>0</c:v>
                </c:pt>
                <c:pt idx="9165">
                  <c:v>0</c:v>
                </c:pt>
                <c:pt idx="9166">
                  <c:v>0</c:v>
                </c:pt>
                <c:pt idx="9167">
                  <c:v>0</c:v>
                </c:pt>
                <c:pt idx="9168">
                  <c:v>0</c:v>
                </c:pt>
                <c:pt idx="9169">
                  <c:v>0</c:v>
                </c:pt>
                <c:pt idx="9170">
                  <c:v>0</c:v>
                </c:pt>
                <c:pt idx="9171">
                  <c:v>0</c:v>
                </c:pt>
                <c:pt idx="9172">
                  <c:v>0</c:v>
                </c:pt>
                <c:pt idx="9173">
                  <c:v>0</c:v>
                </c:pt>
                <c:pt idx="9174">
                  <c:v>0</c:v>
                </c:pt>
                <c:pt idx="9175">
                  <c:v>0</c:v>
                </c:pt>
                <c:pt idx="9176">
                  <c:v>0</c:v>
                </c:pt>
                <c:pt idx="9177">
                  <c:v>0</c:v>
                </c:pt>
                <c:pt idx="9178">
                  <c:v>0</c:v>
                </c:pt>
                <c:pt idx="9179">
                  <c:v>0</c:v>
                </c:pt>
                <c:pt idx="9180">
                  <c:v>0</c:v>
                </c:pt>
                <c:pt idx="9181">
                  <c:v>0</c:v>
                </c:pt>
                <c:pt idx="9182">
                  <c:v>0</c:v>
                </c:pt>
                <c:pt idx="9183">
                  <c:v>0</c:v>
                </c:pt>
                <c:pt idx="9184">
                  <c:v>0</c:v>
                </c:pt>
                <c:pt idx="9185">
                  <c:v>0</c:v>
                </c:pt>
                <c:pt idx="9186">
                  <c:v>0</c:v>
                </c:pt>
                <c:pt idx="9187">
                  <c:v>0</c:v>
                </c:pt>
                <c:pt idx="9188">
                  <c:v>0</c:v>
                </c:pt>
                <c:pt idx="9189">
                  <c:v>0</c:v>
                </c:pt>
                <c:pt idx="9190">
                  <c:v>0</c:v>
                </c:pt>
                <c:pt idx="9191">
                  <c:v>0</c:v>
                </c:pt>
                <c:pt idx="9192">
                  <c:v>0</c:v>
                </c:pt>
                <c:pt idx="9193">
                  <c:v>0</c:v>
                </c:pt>
                <c:pt idx="9194">
                  <c:v>0</c:v>
                </c:pt>
                <c:pt idx="9195">
                  <c:v>0</c:v>
                </c:pt>
                <c:pt idx="9196">
                  <c:v>0</c:v>
                </c:pt>
                <c:pt idx="9197">
                  <c:v>0</c:v>
                </c:pt>
                <c:pt idx="9198">
                  <c:v>0</c:v>
                </c:pt>
                <c:pt idx="9199">
                  <c:v>0</c:v>
                </c:pt>
                <c:pt idx="9200">
                  <c:v>0</c:v>
                </c:pt>
                <c:pt idx="9201">
                  <c:v>0</c:v>
                </c:pt>
                <c:pt idx="9202">
                  <c:v>0</c:v>
                </c:pt>
                <c:pt idx="9203">
                  <c:v>0</c:v>
                </c:pt>
                <c:pt idx="9204">
                  <c:v>0</c:v>
                </c:pt>
                <c:pt idx="9205">
                  <c:v>0</c:v>
                </c:pt>
                <c:pt idx="9206">
                  <c:v>0</c:v>
                </c:pt>
                <c:pt idx="9207">
                  <c:v>0</c:v>
                </c:pt>
                <c:pt idx="9208">
                  <c:v>0</c:v>
                </c:pt>
                <c:pt idx="9209">
                  <c:v>0</c:v>
                </c:pt>
                <c:pt idx="9210">
                  <c:v>0</c:v>
                </c:pt>
                <c:pt idx="9211">
                  <c:v>0</c:v>
                </c:pt>
                <c:pt idx="9212">
                  <c:v>0</c:v>
                </c:pt>
                <c:pt idx="9213">
                  <c:v>0</c:v>
                </c:pt>
                <c:pt idx="9214">
                  <c:v>0</c:v>
                </c:pt>
                <c:pt idx="9215">
                  <c:v>0</c:v>
                </c:pt>
                <c:pt idx="9216">
                  <c:v>0</c:v>
                </c:pt>
                <c:pt idx="9217">
                  <c:v>0</c:v>
                </c:pt>
                <c:pt idx="9218">
                  <c:v>0</c:v>
                </c:pt>
                <c:pt idx="9219">
                  <c:v>0</c:v>
                </c:pt>
                <c:pt idx="9220">
                  <c:v>0</c:v>
                </c:pt>
                <c:pt idx="9221">
                  <c:v>0</c:v>
                </c:pt>
                <c:pt idx="9222">
                  <c:v>0</c:v>
                </c:pt>
                <c:pt idx="9223">
                  <c:v>0</c:v>
                </c:pt>
                <c:pt idx="9224">
                  <c:v>0</c:v>
                </c:pt>
                <c:pt idx="9225">
                  <c:v>0</c:v>
                </c:pt>
                <c:pt idx="9226">
                  <c:v>0</c:v>
                </c:pt>
                <c:pt idx="9227">
                  <c:v>0</c:v>
                </c:pt>
                <c:pt idx="9228">
                  <c:v>0</c:v>
                </c:pt>
                <c:pt idx="9229">
                  <c:v>0</c:v>
                </c:pt>
                <c:pt idx="9230">
                  <c:v>0</c:v>
                </c:pt>
                <c:pt idx="9231">
                  <c:v>0</c:v>
                </c:pt>
                <c:pt idx="9232">
                  <c:v>0</c:v>
                </c:pt>
                <c:pt idx="9233">
                  <c:v>0</c:v>
                </c:pt>
                <c:pt idx="9234">
                  <c:v>0</c:v>
                </c:pt>
                <c:pt idx="9235">
                  <c:v>0</c:v>
                </c:pt>
                <c:pt idx="9236">
                  <c:v>0</c:v>
                </c:pt>
                <c:pt idx="9237">
                  <c:v>0</c:v>
                </c:pt>
                <c:pt idx="9238">
                  <c:v>0</c:v>
                </c:pt>
                <c:pt idx="9239">
                  <c:v>0</c:v>
                </c:pt>
                <c:pt idx="9240">
                  <c:v>0</c:v>
                </c:pt>
                <c:pt idx="9241">
                  <c:v>0</c:v>
                </c:pt>
                <c:pt idx="9242">
                  <c:v>0</c:v>
                </c:pt>
                <c:pt idx="9243">
                  <c:v>0</c:v>
                </c:pt>
                <c:pt idx="9244">
                  <c:v>0</c:v>
                </c:pt>
                <c:pt idx="9245">
                  <c:v>0</c:v>
                </c:pt>
                <c:pt idx="9246">
                  <c:v>0</c:v>
                </c:pt>
                <c:pt idx="9247">
                  <c:v>0</c:v>
                </c:pt>
                <c:pt idx="9248">
                  <c:v>0</c:v>
                </c:pt>
                <c:pt idx="9249">
                  <c:v>0</c:v>
                </c:pt>
                <c:pt idx="9250">
                  <c:v>0</c:v>
                </c:pt>
                <c:pt idx="9251">
                  <c:v>0</c:v>
                </c:pt>
                <c:pt idx="9252">
                  <c:v>0</c:v>
                </c:pt>
                <c:pt idx="9253">
                  <c:v>0</c:v>
                </c:pt>
                <c:pt idx="9254">
                  <c:v>0</c:v>
                </c:pt>
                <c:pt idx="9255">
                  <c:v>0</c:v>
                </c:pt>
                <c:pt idx="9256">
                  <c:v>0</c:v>
                </c:pt>
                <c:pt idx="9257">
                  <c:v>0</c:v>
                </c:pt>
                <c:pt idx="9258">
                  <c:v>0</c:v>
                </c:pt>
                <c:pt idx="9259">
                  <c:v>0</c:v>
                </c:pt>
                <c:pt idx="9260">
                  <c:v>0</c:v>
                </c:pt>
                <c:pt idx="9261">
                  <c:v>0</c:v>
                </c:pt>
                <c:pt idx="9262">
                  <c:v>0</c:v>
                </c:pt>
                <c:pt idx="9263">
                  <c:v>0</c:v>
                </c:pt>
                <c:pt idx="9264">
                  <c:v>0</c:v>
                </c:pt>
                <c:pt idx="9265">
                  <c:v>0</c:v>
                </c:pt>
                <c:pt idx="9266">
                  <c:v>0</c:v>
                </c:pt>
                <c:pt idx="9267">
                  <c:v>0</c:v>
                </c:pt>
                <c:pt idx="9268">
                  <c:v>0</c:v>
                </c:pt>
                <c:pt idx="9269">
                  <c:v>0</c:v>
                </c:pt>
                <c:pt idx="9270">
                  <c:v>0</c:v>
                </c:pt>
                <c:pt idx="9271">
                  <c:v>0</c:v>
                </c:pt>
                <c:pt idx="9272">
                  <c:v>0</c:v>
                </c:pt>
                <c:pt idx="9273">
                  <c:v>0</c:v>
                </c:pt>
                <c:pt idx="9274">
                  <c:v>0</c:v>
                </c:pt>
                <c:pt idx="9275">
                  <c:v>0</c:v>
                </c:pt>
                <c:pt idx="9276">
                  <c:v>0</c:v>
                </c:pt>
                <c:pt idx="9277">
                  <c:v>0</c:v>
                </c:pt>
                <c:pt idx="9278">
                  <c:v>0</c:v>
                </c:pt>
                <c:pt idx="9279">
                  <c:v>0</c:v>
                </c:pt>
                <c:pt idx="9280">
                  <c:v>0</c:v>
                </c:pt>
                <c:pt idx="9281">
                  <c:v>0</c:v>
                </c:pt>
                <c:pt idx="9282">
                  <c:v>0</c:v>
                </c:pt>
                <c:pt idx="9283">
                  <c:v>0</c:v>
                </c:pt>
                <c:pt idx="9284">
                  <c:v>0</c:v>
                </c:pt>
                <c:pt idx="9285">
                  <c:v>0</c:v>
                </c:pt>
                <c:pt idx="9286">
                  <c:v>0</c:v>
                </c:pt>
                <c:pt idx="9287">
                  <c:v>0</c:v>
                </c:pt>
                <c:pt idx="9288">
                  <c:v>0</c:v>
                </c:pt>
                <c:pt idx="9289">
                  <c:v>0</c:v>
                </c:pt>
                <c:pt idx="9290">
                  <c:v>0</c:v>
                </c:pt>
                <c:pt idx="9291">
                  <c:v>0</c:v>
                </c:pt>
                <c:pt idx="9292">
                  <c:v>0</c:v>
                </c:pt>
                <c:pt idx="9293">
                  <c:v>0</c:v>
                </c:pt>
                <c:pt idx="9294">
                  <c:v>0</c:v>
                </c:pt>
                <c:pt idx="9295">
                  <c:v>0</c:v>
                </c:pt>
                <c:pt idx="9296">
                  <c:v>0</c:v>
                </c:pt>
                <c:pt idx="9297">
                  <c:v>0</c:v>
                </c:pt>
                <c:pt idx="9298">
                  <c:v>0</c:v>
                </c:pt>
                <c:pt idx="9299">
                  <c:v>0</c:v>
                </c:pt>
                <c:pt idx="9300">
                  <c:v>0</c:v>
                </c:pt>
                <c:pt idx="9301">
                  <c:v>0</c:v>
                </c:pt>
                <c:pt idx="9302">
                  <c:v>0</c:v>
                </c:pt>
                <c:pt idx="9303">
                  <c:v>0</c:v>
                </c:pt>
                <c:pt idx="9304">
                  <c:v>0</c:v>
                </c:pt>
                <c:pt idx="9305">
                  <c:v>0</c:v>
                </c:pt>
                <c:pt idx="9306">
                  <c:v>0</c:v>
                </c:pt>
                <c:pt idx="9307">
                  <c:v>0</c:v>
                </c:pt>
                <c:pt idx="9308">
                  <c:v>0</c:v>
                </c:pt>
                <c:pt idx="9309">
                  <c:v>0</c:v>
                </c:pt>
                <c:pt idx="9310">
                  <c:v>0</c:v>
                </c:pt>
                <c:pt idx="9311">
                  <c:v>0</c:v>
                </c:pt>
                <c:pt idx="9312">
                  <c:v>0</c:v>
                </c:pt>
                <c:pt idx="9313">
                  <c:v>0</c:v>
                </c:pt>
                <c:pt idx="9314">
                  <c:v>0</c:v>
                </c:pt>
                <c:pt idx="9315">
                  <c:v>0</c:v>
                </c:pt>
                <c:pt idx="9316">
                  <c:v>0</c:v>
                </c:pt>
                <c:pt idx="9317">
                  <c:v>0</c:v>
                </c:pt>
                <c:pt idx="9318">
                  <c:v>0</c:v>
                </c:pt>
                <c:pt idx="9319">
                  <c:v>0</c:v>
                </c:pt>
                <c:pt idx="9320">
                  <c:v>0</c:v>
                </c:pt>
                <c:pt idx="9321">
                  <c:v>0</c:v>
                </c:pt>
                <c:pt idx="9322">
                  <c:v>0</c:v>
                </c:pt>
                <c:pt idx="9323">
                  <c:v>0</c:v>
                </c:pt>
                <c:pt idx="9324">
                  <c:v>0</c:v>
                </c:pt>
                <c:pt idx="9325">
                  <c:v>0</c:v>
                </c:pt>
                <c:pt idx="9326">
                  <c:v>0</c:v>
                </c:pt>
                <c:pt idx="9327">
                  <c:v>0</c:v>
                </c:pt>
                <c:pt idx="9328">
                  <c:v>0</c:v>
                </c:pt>
                <c:pt idx="9329">
                  <c:v>0</c:v>
                </c:pt>
                <c:pt idx="9330">
                  <c:v>0</c:v>
                </c:pt>
                <c:pt idx="9331">
                  <c:v>0</c:v>
                </c:pt>
                <c:pt idx="9332">
                  <c:v>0</c:v>
                </c:pt>
                <c:pt idx="9333">
                  <c:v>0</c:v>
                </c:pt>
                <c:pt idx="9334">
                  <c:v>0</c:v>
                </c:pt>
                <c:pt idx="9335">
                  <c:v>0</c:v>
                </c:pt>
                <c:pt idx="9336">
                  <c:v>0</c:v>
                </c:pt>
                <c:pt idx="9337">
                  <c:v>0</c:v>
                </c:pt>
                <c:pt idx="9338">
                  <c:v>0</c:v>
                </c:pt>
                <c:pt idx="9339">
                  <c:v>0</c:v>
                </c:pt>
                <c:pt idx="9340">
                  <c:v>0</c:v>
                </c:pt>
                <c:pt idx="9341">
                  <c:v>0</c:v>
                </c:pt>
                <c:pt idx="9342">
                  <c:v>0</c:v>
                </c:pt>
                <c:pt idx="9343">
                  <c:v>0</c:v>
                </c:pt>
                <c:pt idx="9344">
                  <c:v>0</c:v>
                </c:pt>
                <c:pt idx="9345">
                  <c:v>0</c:v>
                </c:pt>
                <c:pt idx="9346">
                  <c:v>0</c:v>
                </c:pt>
                <c:pt idx="9347">
                  <c:v>0</c:v>
                </c:pt>
                <c:pt idx="9348">
                  <c:v>0</c:v>
                </c:pt>
                <c:pt idx="9349">
                  <c:v>0</c:v>
                </c:pt>
                <c:pt idx="9350">
                  <c:v>0</c:v>
                </c:pt>
                <c:pt idx="9351">
                  <c:v>0</c:v>
                </c:pt>
                <c:pt idx="9352">
                  <c:v>0</c:v>
                </c:pt>
                <c:pt idx="9353">
                  <c:v>0</c:v>
                </c:pt>
                <c:pt idx="9354">
                  <c:v>0</c:v>
                </c:pt>
                <c:pt idx="9355">
                  <c:v>0</c:v>
                </c:pt>
                <c:pt idx="9356">
                  <c:v>0</c:v>
                </c:pt>
                <c:pt idx="9357">
                  <c:v>0</c:v>
                </c:pt>
                <c:pt idx="9358">
                  <c:v>0</c:v>
                </c:pt>
                <c:pt idx="9359">
                  <c:v>0</c:v>
                </c:pt>
                <c:pt idx="9360">
                  <c:v>0</c:v>
                </c:pt>
                <c:pt idx="9361">
                  <c:v>0</c:v>
                </c:pt>
                <c:pt idx="9362">
                  <c:v>0</c:v>
                </c:pt>
                <c:pt idx="9363">
                  <c:v>0</c:v>
                </c:pt>
                <c:pt idx="9364">
                  <c:v>0</c:v>
                </c:pt>
                <c:pt idx="9365">
                  <c:v>0</c:v>
                </c:pt>
                <c:pt idx="9366">
                  <c:v>0</c:v>
                </c:pt>
                <c:pt idx="9367">
                  <c:v>0</c:v>
                </c:pt>
                <c:pt idx="9368">
                  <c:v>0</c:v>
                </c:pt>
                <c:pt idx="9369">
                  <c:v>0</c:v>
                </c:pt>
                <c:pt idx="9370">
                  <c:v>0</c:v>
                </c:pt>
                <c:pt idx="9371">
                  <c:v>0</c:v>
                </c:pt>
                <c:pt idx="9372">
                  <c:v>0</c:v>
                </c:pt>
                <c:pt idx="9373">
                  <c:v>0</c:v>
                </c:pt>
                <c:pt idx="9374">
                  <c:v>0</c:v>
                </c:pt>
                <c:pt idx="9375">
                  <c:v>0</c:v>
                </c:pt>
                <c:pt idx="9376">
                  <c:v>0</c:v>
                </c:pt>
                <c:pt idx="9377">
                  <c:v>0</c:v>
                </c:pt>
                <c:pt idx="9378">
                  <c:v>0</c:v>
                </c:pt>
                <c:pt idx="9379">
                  <c:v>0</c:v>
                </c:pt>
                <c:pt idx="9380">
                  <c:v>0</c:v>
                </c:pt>
                <c:pt idx="9381">
                  <c:v>0</c:v>
                </c:pt>
                <c:pt idx="9382">
                  <c:v>0</c:v>
                </c:pt>
                <c:pt idx="9383">
                  <c:v>0</c:v>
                </c:pt>
                <c:pt idx="9384">
                  <c:v>0</c:v>
                </c:pt>
                <c:pt idx="9385">
                  <c:v>0</c:v>
                </c:pt>
                <c:pt idx="9386">
                  <c:v>0</c:v>
                </c:pt>
                <c:pt idx="9387">
                  <c:v>0</c:v>
                </c:pt>
                <c:pt idx="9388">
                  <c:v>0</c:v>
                </c:pt>
                <c:pt idx="9389">
                  <c:v>0</c:v>
                </c:pt>
                <c:pt idx="9390">
                  <c:v>0</c:v>
                </c:pt>
                <c:pt idx="9391">
                  <c:v>0</c:v>
                </c:pt>
                <c:pt idx="9392">
                  <c:v>0</c:v>
                </c:pt>
                <c:pt idx="9393">
                  <c:v>0</c:v>
                </c:pt>
                <c:pt idx="9394">
                  <c:v>0</c:v>
                </c:pt>
                <c:pt idx="9395">
                  <c:v>0</c:v>
                </c:pt>
                <c:pt idx="9396">
                  <c:v>0</c:v>
                </c:pt>
                <c:pt idx="9397">
                  <c:v>0</c:v>
                </c:pt>
                <c:pt idx="9398">
                  <c:v>0</c:v>
                </c:pt>
                <c:pt idx="9399">
                  <c:v>0</c:v>
                </c:pt>
                <c:pt idx="9400">
                  <c:v>0</c:v>
                </c:pt>
                <c:pt idx="9401">
                  <c:v>0</c:v>
                </c:pt>
                <c:pt idx="9402">
                  <c:v>0</c:v>
                </c:pt>
                <c:pt idx="9403">
                  <c:v>0</c:v>
                </c:pt>
                <c:pt idx="9404">
                  <c:v>0</c:v>
                </c:pt>
                <c:pt idx="9405">
                  <c:v>0</c:v>
                </c:pt>
                <c:pt idx="9406">
                  <c:v>0</c:v>
                </c:pt>
                <c:pt idx="9407">
                  <c:v>0</c:v>
                </c:pt>
                <c:pt idx="9408">
                  <c:v>0</c:v>
                </c:pt>
                <c:pt idx="9409">
                  <c:v>0</c:v>
                </c:pt>
                <c:pt idx="9410">
                  <c:v>0</c:v>
                </c:pt>
                <c:pt idx="9411">
                  <c:v>0</c:v>
                </c:pt>
                <c:pt idx="9412">
                  <c:v>0</c:v>
                </c:pt>
                <c:pt idx="9413">
                  <c:v>0</c:v>
                </c:pt>
                <c:pt idx="9414">
                  <c:v>0</c:v>
                </c:pt>
                <c:pt idx="9415">
                  <c:v>0</c:v>
                </c:pt>
                <c:pt idx="9416">
                  <c:v>0</c:v>
                </c:pt>
                <c:pt idx="9417">
                  <c:v>0</c:v>
                </c:pt>
                <c:pt idx="9418">
                  <c:v>0</c:v>
                </c:pt>
                <c:pt idx="9419">
                  <c:v>0</c:v>
                </c:pt>
                <c:pt idx="9420">
                  <c:v>0</c:v>
                </c:pt>
                <c:pt idx="9421">
                  <c:v>0</c:v>
                </c:pt>
                <c:pt idx="9422">
                  <c:v>0</c:v>
                </c:pt>
                <c:pt idx="9423">
                  <c:v>0</c:v>
                </c:pt>
                <c:pt idx="9424">
                  <c:v>0</c:v>
                </c:pt>
                <c:pt idx="9425">
                  <c:v>0</c:v>
                </c:pt>
                <c:pt idx="9426">
                  <c:v>0</c:v>
                </c:pt>
                <c:pt idx="9427">
                  <c:v>0</c:v>
                </c:pt>
                <c:pt idx="9428">
                  <c:v>0</c:v>
                </c:pt>
                <c:pt idx="9429">
                  <c:v>0</c:v>
                </c:pt>
                <c:pt idx="9430">
                  <c:v>0</c:v>
                </c:pt>
                <c:pt idx="9431">
                  <c:v>0</c:v>
                </c:pt>
                <c:pt idx="9432">
                  <c:v>0</c:v>
                </c:pt>
                <c:pt idx="9433">
                  <c:v>0</c:v>
                </c:pt>
                <c:pt idx="9434">
                  <c:v>0</c:v>
                </c:pt>
                <c:pt idx="9435">
                  <c:v>0</c:v>
                </c:pt>
                <c:pt idx="9436">
                  <c:v>0</c:v>
                </c:pt>
                <c:pt idx="9437">
                  <c:v>0</c:v>
                </c:pt>
                <c:pt idx="9438">
                  <c:v>0</c:v>
                </c:pt>
                <c:pt idx="9439">
                  <c:v>0</c:v>
                </c:pt>
                <c:pt idx="9440">
                  <c:v>0</c:v>
                </c:pt>
                <c:pt idx="9441">
                  <c:v>0</c:v>
                </c:pt>
                <c:pt idx="9442">
                  <c:v>0</c:v>
                </c:pt>
                <c:pt idx="9443">
                  <c:v>0</c:v>
                </c:pt>
                <c:pt idx="9444">
                  <c:v>0</c:v>
                </c:pt>
                <c:pt idx="9445">
                  <c:v>0</c:v>
                </c:pt>
                <c:pt idx="9446">
                  <c:v>0</c:v>
                </c:pt>
                <c:pt idx="9447">
                  <c:v>0</c:v>
                </c:pt>
                <c:pt idx="9448">
                  <c:v>0</c:v>
                </c:pt>
                <c:pt idx="9449">
                  <c:v>0</c:v>
                </c:pt>
                <c:pt idx="9450">
                  <c:v>0</c:v>
                </c:pt>
                <c:pt idx="9451">
                  <c:v>0</c:v>
                </c:pt>
                <c:pt idx="9452">
                  <c:v>0</c:v>
                </c:pt>
                <c:pt idx="9453">
                  <c:v>0</c:v>
                </c:pt>
                <c:pt idx="9454">
                  <c:v>0</c:v>
                </c:pt>
                <c:pt idx="9455">
                  <c:v>0</c:v>
                </c:pt>
                <c:pt idx="9456">
                  <c:v>0</c:v>
                </c:pt>
                <c:pt idx="9457">
                  <c:v>0</c:v>
                </c:pt>
                <c:pt idx="9458">
                  <c:v>0</c:v>
                </c:pt>
                <c:pt idx="9459">
                  <c:v>0</c:v>
                </c:pt>
                <c:pt idx="9460">
                  <c:v>0</c:v>
                </c:pt>
                <c:pt idx="9461">
                  <c:v>0</c:v>
                </c:pt>
                <c:pt idx="9462">
                  <c:v>0</c:v>
                </c:pt>
                <c:pt idx="9463">
                  <c:v>0</c:v>
                </c:pt>
                <c:pt idx="9464">
                  <c:v>0</c:v>
                </c:pt>
                <c:pt idx="9465">
                  <c:v>0</c:v>
                </c:pt>
                <c:pt idx="9466">
                  <c:v>0</c:v>
                </c:pt>
                <c:pt idx="9467">
                  <c:v>0</c:v>
                </c:pt>
                <c:pt idx="9468">
                  <c:v>0</c:v>
                </c:pt>
                <c:pt idx="9469">
                  <c:v>0</c:v>
                </c:pt>
                <c:pt idx="9470">
                  <c:v>0</c:v>
                </c:pt>
                <c:pt idx="9471">
                  <c:v>0</c:v>
                </c:pt>
                <c:pt idx="9472">
                  <c:v>0</c:v>
                </c:pt>
                <c:pt idx="9473">
                  <c:v>0</c:v>
                </c:pt>
                <c:pt idx="9474">
                  <c:v>0</c:v>
                </c:pt>
                <c:pt idx="9475">
                  <c:v>0</c:v>
                </c:pt>
                <c:pt idx="9476">
                  <c:v>0</c:v>
                </c:pt>
                <c:pt idx="9477">
                  <c:v>0</c:v>
                </c:pt>
                <c:pt idx="9478">
                  <c:v>0</c:v>
                </c:pt>
                <c:pt idx="9479">
                  <c:v>0</c:v>
                </c:pt>
                <c:pt idx="9480">
                  <c:v>0</c:v>
                </c:pt>
                <c:pt idx="9481">
                  <c:v>0</c:v>
                </c:pt>
                <c:pt idx="9482">
                  <c:v>0</c:v>
                </c:pt>
                <c:pt idx="9483">
                  <c:v>0</c:v>
                </c:pt>
                <c:pt idx="9484">
                  <c:v>0</c:v>
                </c:pt>
                <c:pt idx="9485">
                  <c:v>0</c:v>
                </c:pt>
                <c:pt idx="9486">
                  <c:v>0</c:v>
                </c:pt>
                <c:pt idx="9487">
                  <c:v>0</c:v>
                </c:pt>
                <c:pt idx="9488">
                  <c:v>0</c:v>
                </c:pt>
                <c:pt idx="9489">
                  <c:v>0</c:v>
                </c:pt>
                <c:pt idx="9490">
                  <c:v>0</c:v>
                </c:pt>
                <c:pt idx="9491">
                  <c:v>0</c:v>
                </c:pt>
                <c:pt idx="9492">
                  <c:v>0</c:v>
                </c:pt>
                <c:pt idx="9493">
                  <c:v>0</c:v>
                </c:pt>
                <c:pt idx="9494">
                  <c:v>0</c:v>
                </c:pt>
                <c:pt idx="9495">
                  <c:v>0</c:v>
                </c:pt>
                <c:pt idx="9496">
                  <c:v>0</c:v>
                </c:pt>
                <c:pt idx="9497">
                  <c:v>0</c:v>
                </c:pt>
                <c:pt idx="9498">
                  <c:v>0</c:v>
                </c:pt>
                <c:pt idx="9499">
                  <c:v>0</c:v>
                </c:pt>
                <c:pt idx="9500">
                  <c:v>0</c:v>
                </c:pt>
                <c:pt idx="9501">
                  <c:v>0</c:v>
                </c:pt>
                <c:pt idx="9502">
                  <c:v>0</c:v>
                </c:pt>
                <c:pt idx="9503">
                  <c:v>0</c:v>
                </c:pt>
                <c:pt idx="9504">
                  <c:v>0</c:v>
                </c:pt>
                <c:pt idx="9505">
                  <c:v>0</c:v>
                </c:pt>
                <c:pt idx="9506">
                  <c:v>0</c:v>
                </c:pt>
                <c:pt idx="9507">
                  <c:v>0</c:v>
                </c:pt>
                <c:pt idx="9508">
                  <c:v>0</c:v>
                </c:pt>
                <c:pt idx="9509">
                  <c:v>0</c:v>
                </c:pt>
                <c:pt idx="9510">
                  <c:v>0</c:v>
                </c:pt>
                <c:pt idx="9511">
                  <c:v>0</c:v>
                </c:pt>
                <c:pt idx="9512">
                  <c:v>0</c:v>
                </c:pt>
                <c:pt idx="9513">
                  <c:v>0</c:v>
                </c:pt>
                <c:pt idx="9514">
                  <c:v>0</c:v>
                </c:pt>
                <c:pt idx="9515">
                  <c:v>0</c:v>
                </c:pt>
                <c:pt idx="9516">
                  <c:v>0</c:v>
                </c:pt>
                <c:pt idx="9517">
                  <c:v>0</c:v>
                </c:pt>
                <c:pt idx="9518">
                  <c:v>0</c:v>
                </c:pt>
                <c:pt idx="9519">
                  <c:v>0</c:v>
                </c:pt>
                <c:pt idx="9520">
                  <c:v>0</c:v>
                </c:pt>
                <c:pt idx="9521">
                  <c:v>0</c:v>
                </c:pt>
                <c:pt idx="9522">
                  <c:v>0</c:v>
                </c:pt>
                <c:pt idx="9523">
                  <c:v>0</c:v>
                </c:pt>
                <c:pt idx="9524">
                  <c:v>0</c:v>
                </c:pt>
                <c:pt idx="9525">
                  <c:v>0</c:v>
                </c:pt>
                <c:pt idx="9526">
                  <c:v>0</c:v>
                </c:pt>
                <c:pt idx="9527">
                  <c:v>0</c:v>
                </c:pt>
                <c:pt idx="9528">
                  <c:v>0</c:v>
                </c:pt>
                <c:pt idx="9529">
                  <c:v>0</c:v>
                </c:pt>
                <c:pt idx="9530">
                  <c:v>0</c:v>
                </c:pt>
                <c:pt idx="9531">
                  <c:v>0</c:v>
                </c:pt>
                <c:pt idx="9532">
                  <c:v>0</c:v>
                </c:pt>
                <c:pt idx="9533">
                  <c:v>0</c:v>
                </c:pt>
                <c:pt idx="9534">
                  <c:v>0</c:v>
                </c:pt>
                <c:pt idx="9535">
                  <c:v>0</c:v>
                </c:pt>
                <c:pt idx="9536">
                  <c:v>0</c:v>
                </c:pt>
                <c:pt idx="9537">
                  <c:v>0</c:v>
                </c:pt>
                <c:pt idx="9538">
                  <c:v>0</c:v>
                </c:pt>
                <c:pt idx="9539">
                  <c:v>0</c:v>
                </c:pt>
                <c:pt idx="9540">
                  <c:v>0</c:v>
                </c:pt>
                <c:pt idx="9541">
                  <c:v>0</c:v>
                </c:pt>
                <c:pt idx="9542">
                  <c:v>0</c:v>
                </c:pt>
                <c:pt idx="9543">
                  <c:v>0</c:v>
                </c:pt>
                <c:pt idx="9544">
                  <c:v>0</c:v>
                </c:pt>
                <c:pt idx="9545">
                  <c:v>0</c:v>
                </c:pt>
                <c:pt idx="9546">
                  <c:v>0</c:v>
                </c:pt>
                <c:pt idx="9547">
                  <c:v>0</c:v>
                </c:pt>
                <c:pt idx="9548">
                  <c:v>0</c:v>
                </c:pt>
                <c:pt idx="9549">
                  <c:v>0</c:v>
                </c:pt>
                <c:pt idx="9550">
                  <c:v>0</c:v>
                </c:pt>
                <c:pt idx="9551">
                  <c:v>0</c:v>
                </c:pt>
                <c:pt idx="9552">
                  <c:v>0</c:v>
                </c:pt>
                <c:pt idx="9553">
                  <c:v>0</c:v>
                </c:pt>
                <c:pt idx="9554">
                  <c:v>0</c:v>
                </c:pt>
                <c:pt idx="9555">
                  <c:v>0</c:v>
                </c:pt>
                <c:pt idx="9556">
                  <c:v>0</c:v>
                </c:pt>
                <c:pt idx="9557">
                  <c:v>0</c:v>
                </c:pt>
                <c:pt idx="9558">
                  <c:v>0</c:v>
                </c:pt>
                <c:pt idx="9559">
                  <c:v>0</c:v>
                </c:pt>
                <c:pt idx="9560">
                  <c:v>0</c:v>
                </c:pt>
                <c:pt idx="9561">
                  <c:v>0</c:v>
                </c:pt>
                <c:pt idx="9562">
                  <c:v>0</c:v>
                </c:pt>
                <c:pt idx="9563">
                  <c:v>0</c:v>
                </c:pt>
                <c:pt idx="9564">
                  <c:v>0</c:v>
                </c:pt>
                <c:pt idx="9565">
                  <c:v>0</c:v>
                </c:pt>
                <c:pt idx="9566">
                  <c:v>0</c:v>
                </c:pt>
                <c:pt idx="9567">
                  <c:v>0</c:v>
                </c:pt>
                <c:pt idx="9568">
                  <c:v>0</c:v>
                </c:pt>
                <c:pt idx="9569">
                  <c:v>0</c:v>
                </c:pt>
                <c:pt idx="9570">
                  <c:v>0</c:v>
                </c:pt>
                <c:pt idx="9571">
                  <c:v>0</c:v>
                </c:pt>
                <c:pt idx="9572">
                  <c:v>0</c:v>
                </c:pt>
                <c:pt idx="9573">
                  <c:v>0</c:v>
                </c:pt>
                <c:pt idx="9574">
                  <c:v>0</c:v>
                </c:pt>
                <c:pt idx="9575">
                  <c:v>0</c:v>
                </c:pt>
                <c:pt idx="9576">
                  <c:v>0</c:v>
                </c:pt>
                <c:pt idx="9577">
                  <c:v>0</c:v>
                </c:pt>
                <c:pt idx="9578">
                  <c:v>0</c:v>
                </c:pt>
                <c:pt idx="9579">
                  <c:v>0</c:v>
                </c:pt>
                <c:pt idx="9580">
                  <c:v>0</c:v>
                </c:pt>
                <c:pt idx="9581">
                  <c:v>0</c:v>
                </c:pt>
                <c:pt idx="9582">
                  <c:v>0</c:v>
                </c:pt>
                <c:pt idx="9583">
                  <c:v>0</c:v>
                </c:pt>
                <c:pt idx="9584">
                  <c:v>0</c:v>
                </c:pt>
                <c:pt idx="9585">
                  <c:v>0</c:v>
                </c:pt>
                <c:pt idx="9586">
                  <c:v>0</c:v>
                </c:pt>
                <c:pt idx="9587">
                  <c:v>0</c:v>
                </c:pt>
                <c:pt idx="9588">
                  <c:v>0</c:v>
                </c:pt>
                <c:pt idx="9589">
                  <c:v>0</c:v>
                </c:pt>
                <c:pt idx="9590">
                  <c:v>0</c:v>
                </c:pt>
                <c:pt idx="9591">
                  <c:v>0</c:v>
                </c:pt>
                <c:pt idx="9592">
                  <c:v>0</c:v>
                </c:pt>
                <c:pt idx="9593">
                  <c:v>0</c:v>
                </c:pt>
                <c:pt idx="9594">
                  <c:v>0</c:v>
                </c:pt>
                <c:pt idx="9595">
                  <c:v>0</c:v>
                </c:pt>
                <c:pt idx="9596">
                  <c:v>0</c:v>
                </c:pt>
                <c:pt idx="9597">
                  <c:v>0</c:v>
                </c:pt>
                <c:pt idx="9598">
                  <c:v>0</c:v>
                </c:pt>
                <c:pt idx="9599">
                  <c:v>0</c:v>
                </c:pt>
                <c:pt idx="9600">
                  <c:v>0</c:v>
                </c:pt>
                <c:pt idx="9601">
                  <c:v>0</c:v>
                </c:pt>
                <c:pt idx="9602">
                  <c:v>0</c:v>
                </c:pt>
                <c:pt idx="9603">
                  <c:v>0</c:v>
                </c:pt>
                <c:pt idx="9604">
                  <c:v>0</c:v>
                </c:pt>
                <c:pt idx="9605">
                  <c:v>0</c:v>
                </c:pt>
                <c:pt idx="9606">
                  <c:v>0</c:v>
                </c:pt>
                <c:pt idx="9607">
                  <c:v>0</c:v>
                </c:pt>
                <c:pt idx="9608">
                  <c:v>0</c:v>
                </c:pt>
                <c:pt idx="9609">
                  <c:v>0</c:v>
                </c:pt>
                <c:pt idx="9610">
                  <c:v>0</c:v>
                </c:pt>
                <c:pt idx="9611">
                  <c:v>0</c:v>
                </c:pt>
                <c:pt idx="9612">
                  <c:v>0</c:v>
                </c:pt>
                <c:pt idx="9613">
                  <c:v>0</c:v>
                </c:pt>
                <c:pt idx="9614">
                  <c:v>0</c:v>
                </c:pt>
                <c:pt idx="9615">
                  <c:v>0</c:v>
                </c:pt>
                <c:pt idx="9616">
                  <c:v>0</c:v>
                </c:pt>
                <c:pt idx="9617">
                  <c:v>0</c:v>
                </c:pt>
                <c:pt idx="9618">
                  <c:v>0</c:v>
                </c:pt>
                <c:pt idx="9619">
                  <c:v>0</c:v>
                </c:pt>
                <c:pt idx="9620">
                  <c:v>0</c:v>
                </c:pt>
                <c:pt idx="9621">
                  <c:v>0</c:v>
                </c:pt>
                <c:pt idx="9622">
                  <c:v>0</c:v>
                </c:pt>
                <c:pt idx="9623">
                  <c:v>0</c:v>
                </c:pt>
                <c:pt idx="9624">
                  <c:v>0</c:v>
                </c:pt>
                <c:pt idx="9625">
                  <c:v>0</c:v>
                </c:pt>
                <c:pt idx="9626">
                  <c:v>0</c:v>
                </c:pt>
                <c:pt idx="9627">
                  <c:v>0</c:v>
                </c:pt>
                <c:pt idx="9628">
                  <c:v>0</c:v>
                </c:pt>
                <c:pt idx="9629">
                  <c:v>0</c:v>
                </c:pt>
                <c:pt idx="9630">
                  <c:v>0</c:v>
                </c:pt>
                <c:pt idx="9631">
                  <c:v>0</c:v>
                </c:pt>
                <c:pt idx="9632">
                  <c:v>0</c:v>
                </c:pt>
                <c:pt idx="9633">
                  <c:v>0</c:v>
                </c:pt>
                <c:pt idx="9634">
                  <c:v>0</c:v>
                </c:pt>
                <c:pt idx="9635">
                  <c:v>0</c:v>
                </c:pt>
                <c:pt idx="9636">
                  <c:v>0</c:v>
                </c:pt>
                <c:pt idx="9637">
                  <c:v>0</c:v>
                </c:pt>
                <c:pt idx="9638">
                  <c:v>0</c:v>
                </c:pt>
                <c:pt idx="9639">
                  <c:v>0</c:v>
                </c:pt>
                <c:pt idx="9640">
                  <c:v>0</c:v>
                </c:pt>
                <c:pt idx="9641">
                  <c:v>0</c:v>
                </c:pt>
                <c:pt idx="9642">
                  <c:v>0</c:v>
                </c:pt>
                <c:pt idx="9643">
                  <c:v>0</c:v>
                </c:pt>
                <c:pt idx="9644">
                  <c:v>0</c:v>
                </c:pt>
                <c:pt idx="9645">
                  <c:v>0</c:v>
                </c:pt>
                <c:pt idx="9646">
                  <c:v>0</c:v>
                </c:pt>
                <c:pt idx="9647">
                  <c:v>0</c:v>
                </c:pt>
                <c:pt idx="9648">
                  <c:v>0</c:v>
                </c:pt>
                <c:pt idx="9649">
                  <c:v>0</c:v>
                </c:pt>
                <c:pt idx="9650">
                  <c:v>0</c:v>
                </c:pt>
                <c:pt idx="9651">
                  <c:v>0</c:v>
                </c:pt>
                <c:pt idx="9652">
                  <c:v>0</c:v>
                </c:pt>
                <c:pt idx="9653">
                  <c:v>0</c:v>
                </c:pt>
                <c:pt idx="9654">
                  <c:v>0</c:v>
                </c:pt>
                <c:pt idx="9655">
                  <c:v>0</c:v>
                </c:pt>
                <c:pt idx="9656">
                  <c:v>0</c:v>
                </c:pt>
                <c:pt idx="9657">
                  <c:v>0</c:v>
                </c:pt>
                <c:pt idx="9658">
                  <c:v>0</c:v>
                </c:pt>
                <c:pt idx="9659">
                  <c:v>0</c:v>
                </c:pt>
                <c:pt idx="9660">
                  <c:v>0</c:v>
                </c:pt>
                <c:pt idx="9661">
                  <c:v>0</c:v>
                </c:pt>
                <c:pt idx="9662">
                  <c:v>0</c:v>
                </c:pt>
                <c:pt idx="9663">
                  <c:v>0</c:v>
                </c:pt>
                <c:pt idx="9664">
                  <c:v>0</c:v>
                </c:pt>
                <c:pt idx="9665">
                  <c:v>0</c:v>
                </c:pt>
                <c:pt idx="9666">
                  <c:v>0</c:v>
                </c:pt>
                <c:pt idx="9667">
                  <c:v>0</c:v>
                </c:pt>
                <c:pt idx="9668">
                  <c:v>0</c:v>
                </c:pt>
                <c:pt idx="9669">
                  <c:v>0</c:v>
                </c:pt>
                <c:pt idx="9670">
                  <c:v>0</c:v>
                </c:pt>
                <c:pt idx="9671">
                  <c:v>0</c:v>
                </c:pt>
                <c:pt idx="9672">
                  <c:v>0</c:v>
                </c:pt>
                <c:pt idx="9673">
                  <c:v>0</c:v>
                </c:pt>
                <c:pt idx="9674">
                  <c:v>0</c:v>
                </c:pt>
                <c:pt idx="9675">
                  <c:v>0</c:v>
                </c:pt>
                <c:pt idx="9676">
                  <c:v>0</c:v>
                </c:pt>
                <c:pt idx="9677">
                  <c:v>0</c:v>
                </c:pt>
                <c:pt idx="9678">
                  <c:v>0</c:v>
                </c:pt>
                <c:pt idx="9679">
                  <c:v>0</c:v>
                </c:pt>
                <c:pt idx="9680">
                  <c:v>0</c:v>
                </c:pt>
                <c:pt idx="9681">
                  <c:v>0</c:v>
                </c:pt>
                <c:pt idx="9682">
                  <c:v>0</c:v>
                </c:pt>
                <c:pt idx="9683">
                  <c:v>0</c:v>
                </c:pt>
                <c:pt idx="9684">
                  <c:v>0</c:v>
                </c:pt>
                <c:pt idx="9685">
                  <c:v>0</c:v>
                </c:pt>
                <c:pt idx="9686">
                  <c:v>0</c:v>
                </c:pt>
                <c:pt idx="9687">
                  <c:v>0</c:v>
                </c:pt>
                <c:pt idx="9688">
                  <c:v>0</c:v>
                </c:pt>
                <c:pt idx="9689">
                  <c:v>0</c:v>
                </c:pt>
                <c:pt idx="9690">
                  <c:v>0</c:v>
                </c:pt>
                <c:pt idx="9691">
                  <c:v>0</c:v>
                </c:pt>
                <c:pt idx="9692">
                  <c:v>0</c:v>
                </c:pt>
                <c:pt idx="9693">
                  <c:v>0</c:v>
                </c:pt>
                <c:pt idx="9694">
                  <c:v>0</c:v>
                </c:pt>
                <c:pt idx="9695">
                  <c:v>0</c:v>
                </c:pt>
                <c:pt idx="9696">
                  <c:v>0</c:v>
                </c:pt>
                <c:pt idx="9697">
                  <c:v>0</c:v>
                </c:pt>
                <c:pt idx="9698">
                  <c:v>0</c:v>
                </c:pt>
                <c:pt idx="9699">
                  <c:v>0</c:v>
                </c:pt>
                <c:pt idx="9700">
                  <c:v>0</c:v>
                </c:pt>
                <c:pt idx="9701">
                  <c:v>0</c:v>
                </c:pt>
                <c:pt idx="9702">
                  <c:v>0</c:v>
                </c:pt>
                <c:pt idx="9703">
                  <c:v>0</c:v>
                </c:pt>
                <c:pt idx="9704">
                  <c:v>0</c:v>
                </c:pt>
                <c:pt idx="9705">
                  <c:v>0</c:v>
                </c:pt>
                <c:pt idx="9706">
                  <c:v>0</c:v>
                </c:pt>
                <c:pt idx="9707">
                  <c:v>0</c:v>
                </c:pt>
                <c:pt idx="9708">
                  <c:v>0</c:v>
                </c:pt>
                <c:pt idx="9709">
                  <c:v>0</c:v>
                </c:pt>
                <c:pt idx="9710">
                  <c:v>0</c:v>
                </c:pt>
                <c:pt idx="9711">
                  <c:v>0</c:v>
                </c:pt>
                <c:pt idx="9712">
                  <c:v>0</c:v>
                </c:pt>
                <c:pt idx="9713">
                  <c:v>0</c:v>
                </c:pt>
                <c:pt idx="9714">
                  <c:v>0</c:v>
                </c:pt>
                <c:pt idx="9715">
                  <c:v>0</c:v>
                </c:pt>
                <c:pt idx="9716">
                  <c:v>0</c:v>
                </c:pt>
                <c:pt idx="9717">
                  <c:v>0</c:v>
                </c:pt>
                <c:pt idx="9718">
                  <c:v>0</c:v>
                </c:pt>
                <c:pt idx="9719">
                  <c:v>0</c:v>
                </c:pt>
                <c:pt idx="9720">
                  <c:v>0</c:v>
                </c:pt>
                <c:pt idx="9721">
                  <c:v>0</c:v>
                </c:pt>
                <c:pt idx="9722">
                  <c:v>0</c:v>
                </c:pt>
                <c:pt idx="9723">
                  <c:v>0</c:v>
                </c:pt>
                <c:pt idx="9724">
                  <c:v>0</c:v>
                </c:pt>
                <c:pt idx="9725">
                  <c:v>0</c:v>
                </c:pt>
                <c:pt idx="9726">
                  <c:v>0</c:v>
                </c:pt>
                <c:pt idx="9727">
                  <c:v>0</c:v>
                </c:pt>
                <c:pt idx="9728">
                  <c:v>0</c:v>
                </c:pt>
                <c:pt idx="9729">
                  <c:v>0</c:v>
                </c:pt>
                <c:pt idx="9730">
                  <c:v>0</c:v>
                </c:pt>
                <c:pt idx="9731">
                  <c:v>0</c:v>
                </c:pt>
                <c:pt idx="9732">
                  <c:v>0</c:v>
                </c:pt>
                <c:pt idx="9733">
                  <c:v>0</c:v>
                </c:pt>
                <c:pt idx="9734">
                  <c:v>0</c:v>
                </c:pt>
                <c:pt idx="9735">
                  <c:v>0</c:v>
                </c:pt>
                <c:pt idx="9736">
                  <c:v>0</c:v>
                </c:pt>
                <c:pt idx="9737">
                  <c:v>0</c:v>
                </c:pt>
                <c:pt idx="9738">
                  <c:v>0</c:v>
                </c:pt>
                <c:pt idx="9739">
                  <c:v>0</c:v>
                </c:pt>
                <c:pt idx="9740">
                  <c:v>0</c:v>
                </c:pt>
                <c:pt idx="9741">
                  <c:v>0</c:v>
                </c:pt>
                <c:pt idx="9742">
                  <c:v>0</c:v>
                </c:pt>
                <c:pt idx="9743">
                  <c:v>0</c:v>
                </c:pt>
                <c:pt idx="9744">
                  <c:v>0</c:v>
                </c:pt>
                <c:pt idx="9745">
                  <c:v>0</c:v>
                </c:pt>
                <c:pt idx="9746">
                  <c:v>0</c:v>
                </c:pt>
                <c:pt idx="9747">
                  <c:v>0</c:v>
                </c:pt>
                <c:pt idx="9748">
                  <c:v>0</c:v>
                </c:pt>
                <c:pt idx="9749">
                  <c:v>0</c:v>
                </c:pt>
                <c:pt idx="9750">
                  <c:v>0</c:v>
                </c:pt>
                <c:pt idx="9751">
                  <c:v>0</c:v>
                </c:pt>
                <c:pt idx="9752">
                  <c:v>0</c:v>
                </c:pt>
                <c:pt idx="9753">
                  <c:v>0</c:v>
                </c:pt>
                <c:pt idx="9754">
                  <c:v>0</c:v>
                </c:pt>
                <c:pt idx="9755">
                  <c:v>0</c:v>
                </c:pt>
                <c:pt idx="9756">
                  <c:v>0</c:v>
                </c:pt>
                <c:pt idx="9757">
                  <c:v>0</c:v>
                </c:pt>
                <c:pt idx="9758">
                  <c:v>0</c:v>
                </c:pt>
                <c:pt idx="9759">
                  <c:v>0</c:v>
                </c:pt>
                <c:pt idx="9760">
                  <c:v>0</c:v>
                </c:pt>
                <c:pt idx="9761">
                  <c:v>0</c:v>
                </c:pt>
                <c:pt idx="9762">
                  <c:v>0</c:v>
                </c:pt>
                <c:pt idx="9763">
                  <c:v>0</c:v>
                </c:pt>
                <c:pt idx="9764">
                  <c:v>0</c:v>
                </c:pt>
                <c:pt idx="9765">
                  <c:v>0</c:v>
                </c:pt>
                <c:pt idx="9766">
                  <c:v>0</c:v>
                </c:pt>
                <c:pt idx="9767">
                  <c:v>0</c:v>
                </c:pt>
                <c:pt idx="9768">
                  <c:v>0</c:v>
                </c:pt>
                <c:pt idx="9769">
                  <c:v>0</c:v>
                </c:pt>
                <c:pt idx="9770">
                  <c:v>0</c:v>
                </c:pt>
                <c:pt idx="9771">
                  <c:v>0</c:v>
                </c:pt>
                <c:pt idx="9772">
                  <c:v>0</c:v>
                </c:pt>
                <c:pt idx="9773">
                  <c:v>0</c:v>
                </c:pt>
                <c:pt idx="9774">
                  <c:v>0</c:v>
                </c:pt>
                <c:pt idx="9775">
                  <c:v>0</c:v>
                </c:pt>
                <c:pt idx="9776">
                  <c:v>0</c:v>
                </c:pt>
                <c:pt idx="9777">
                  <c:v>0</c:v>
                </c:pt>
                <c:pt idx="9778">
                  <c:v>0</c:v>
                </c:pt>
                <c:pt idx="9779">
                  <c:v>0</c:v>
                </c:pt>
                <c:pt idx="9780">
                  <c:v>0</c:v>
                </c:pt>
                <c:pt idx="9781">
                  <c:v>0</c:v>
                </c:pt>
                <c:pt idx="9782">
                  <c:v>0</c:v>
                </c:pt>
                <c:pt idx="9783">
                  <c:v>0</c:v>
                </c:pt>
                <c:pt idx="9784">
                  <c:v>0</c:v>
                </c:pt>
                <c:pt idx="9785">
                  <c:v>0</c:v>
                </c:pt>
                <c:pt idx="9786">
                  <c:v>0</c:v>
                </c:pt>
                <c:pt idx="9787">
                  <c:v>0</c:v>
                </c:pt>
                <c:pt idx="9788">
                  <c:v>0</c:v>
                </c:pt>
                <c:pt idx="9789">
                  <c:v>0</c:v>
                </c:pt>
                <c:pt idx="9790">
                  <c:v>0</c:v>
                </c:pt>
                <c:pt idx="9791">
                  <c:v>0</c:v>
                </c:pt>
                <c:pt idx="9792">
                  <c:v>0</c:v>
                </c:pt>
                <c:pt idx="9793">
                  <c:v>0</c:v>
                </c:pt>
                <c:pt idx="9794">
                  <c:v>0</c:v>
                </c:pt>
                <c:pt idx="9795">
                  <c:v>0</c:v>
                </c:pt>
                <c:pt idx="9796">
                  <c:v>0</c:v>
                </c:pt>
                <c:pt idx="9797">
                  <c:v>0</c:v>
                </c:pt>
                <c:pt idx="9798">
                  <c:v>0</c:v>
                </c:pt>
                <c:pt idx="9799">
                  <c:v>0</c:v>
                </c:pt>
                <c:pt idx="9800">
                  <c:v>0</c:v>
                </c:pt>
                <c:pt idx="9801">
                  <c:v>0</c:v>
                </c:pt>
                <c:pt idx="9802">
                  <c:v>0</c:v>
                </c:pt>
                <c:pt idx="9803">
                  <c:v>0</c:v>
                </c:pt>
                <c:pt idx="9804">
                  <c:v>0</c:v>
                </c:pt>
                <c:pt idx="9805">
                  <c:v>0</c:v>
                </c:pt>
                <c:pt idx="9806">
                  <c:v>0</c:v>
                </c:pt>
                <c:pt idx="9807">
                  <c:v>0</c:v>
                </c:pt>
                <c:pt idx="9808">
                  <c:v>0</c:v>
                </c:pt>
                <c:pt idx="9809">
                  <c:v>0</c:v>
                </c:pt>
                <c:pt idx="9810">
                  <c:v>0</c:v>
                </c:pt>
                <c:pt idx="9811">
                  <c:v>0</c:v>
                </c:pt>
                <c:pt idx="9812">
                  <c:v>0</c:v>
                </c:pt>
                <c:pt idx="9813">
                  <c:v>0</c:v>
                </c:pt>
                <c:pt idx="9814">
                  <c:v>0</c:v>
                </c:pt>
                <c:pt idx="9815">
                  <c:v>0</c:v>
                </c:pt>
                <c:pt idx="9816">
                  <c:v>0</c:v>
                </c:pt>
                <c:pt idx="9817">
                  <c:v>0</c:v>
                </c:pt>
                <c:pt idx="9818">
                  <c:v>0</c:v>
                </c:pt>
                <c:pt idx="9819">
                  <c:v>0</c:v>
                </c:pt>
                <c:pt idx="9820">
                  <c:v>0</c:v>
                </c:pt>
                <c:pt idx="9821">
                  <c:v>0</c:v>
                </c:pt>
                <c:pt idx="9822">
                  <c:v>0</c:v>
                </c:pt>
                <c:pt idx="9823">
                  <c:v>0</c:v>
                </c:pt>
                <c:pt idx="9824">
                  <c:v>0</c:v>
                </c:pt>
                <c:pt idx="9825">
                  <c:v>0</c:v>
                </c:pt>
                <c:pt idx="9826">
                  <c:v>0</c:v>
                </c:pt>
                <c:pt idx="9827">
                  <c:v>0</c:v>
                </c:pt>
                <c:pt idx="9828">
                  <c:v>0</c:v>
                </c:pt>
                <c:pt idx="9829">
                  <c:v>0</c:v>
                </c:pt>
                <c:pt idx="9830">
                  <c:v>0</c:v>
                </c:pt>
                <c:pt idx="9831">
                  <c:v>0</c:v>
                </c:pt>
                <c:pt idx="9832">
                  <c:v>0</c:v>
                </c:pt>
                <c:pt idx="9833">
                  <c:v>0</c:v>
                </c:pt>
                <c:pt idx="9834">
                  <c:v>0</c:v>
                </c:pt>
                <c:pt idx="9835">
                  <c:v>0</c:v>
                </c:pt>
                <c:pt idx="9836">
                  <c:v>0</c:v>
                </c:pt>
                <c:pt idx="9837">
                  <c:v>0</c:v>
                </c:pt>
                <c:pt idx="9838">
                  <c:v>0</c:v>
                </c:pt>
                <c:pt idx="9839">
                  <c:v>0</c:v>
                </c:pt>
                <c:pt idx="9840">
                  <c:v>0</c:v>
                </c:pt>
                <c:pt idx="9841">
                  <c:v>0</c:v>
                </c:pt>
                <c:pt idx="9842">
                  <c:v>0</c:v>
                </c:pt>
                <c:pt idx="9843">
                  <c:v>0</c:v>
                </c:pt>
                <c:pt idx="9844">
                  <c:v>0</c:v>
                </c:pt>
                <c:pt idx="9845">
                  <c:v>0</c:v>
                </c:pt>
                <c:pt idx="9846">
                  <c:v>0</c:v>
                </c:pt>
                <c:pt idx="9847">
                  <c:v>0</c:v>
                </c:pt>
                <c:pt idx="9848">
                  <c:v>0</c:v>
                </c:pt>
                <c:pt idx="9849">
                  <c:v>0</c:v>
                </c:pt>
                <c:pt idx="9850">
                  <c:v>0</c:v>
                </c:pt>
                <c:pt idx="9851">
                  <c:v>0</c:v>
                </c:pt>
                <c:pt idx="9852">
                  <c:v>0</c:v>
                </c:pt>
                <c:pt idx="9853">
                  <c:v>0</c:v>
                </c:pt>
                <c:pt idx="9854">
                  <c:v>0</c:v>
                </c:pt>
                <c:pt idx="9855">
                  <c:v>0</c:v>
                </c:pt>
                <c:pt idx="9856">
                  <c:v>0</c:v>
                </c:pt>
                <c:pt idx="9857">
                  <c:v>0</c:v>
                </c:pt>
                <c:pt idx="9858">
                  <c:v>0</c:v>
                </c:pt>
                <c:pt idx="9859">
                  <c:v>0</c:v>
                </c:pt>
                <c:pt idx="9860">
                  <c:v>0</c:v>
                </c:pt>
                <c:pt idx="9861">
                  <c:v>0</c:v>
                </c:pt>
                <c:pt idx="9862">
                  <c:v>0</c:v>
                </c:pt>
                <c:pt idx="9863">
                  <c:v>0</c:v>
                </c:pt>
                <c:pt idx="9864">
                  <c:v>0</c:v>
                </c:pt>
                <c:pt idx="9865">
                  <c:v>0</c:v>
                </c:pt>
                <c:pt idx="9866">
                  <c:v>0</c:v>
                </c:pt>
                <c:pt idx="9867">
                  <c:v>0</c:v>
                </c:pt>
                <c:pt idx="9868">
                  <c:v>0</c:v>
                </c:pt>
                <c:pt idx="9869">
                  <c:v>0</c:v>
                </c:pt>
                <c:pt idx="9870">
                  <c:v>0</c:v>
                </c:pt>
                <c:pt idx="9871">
                  <c:v>0</c:v>
                </c:pt>
                <c:pt idx="9872">
                  <c:v>0</c:v>
                </c:pt>
                <c:pt idx="9873">
                  <c:v>0</c:v>
                </c:pt>
                <c:pt idx="9874">
                  <c:v>0</c:v>
                </c:pt>
                <c:pt idx="9875">
                  <c:v>0</c:v>
                </c:pt>
                <c:pt idx="9876">
                  <c:v>0</c:v>
                </c:pt>
                <c:pt idx="9877">
                  <c:v>0</c:v>
                </c:pt>
                <c:pt idx="9878">
                  <c:v>0</c:v>
                </c:pt>
                <c:pt idx="9879">
                  <c:v>0</c:v>
                </c:pt>
                <c:pt idx="9880">
                  <c:v>0</c:v>
                </c:pt>
                <c:pt idx="9881">
                  <c:v>0</c:v>
                </c:pt>
                <c:pt idx="9882">
                  <c:v>0</c:v>
                </c:pt>
                <c:pt idx="9883">
                  <c:v>0</c:v>
                </c:pt>
                <c:pt idx="9884">
                  <c:v>0</c:v>
                </c:pt>
                <c:pt idx="9885">
                  <c:v>0</c:v>
                </c:pt>
                <c:pt idx="9886">
                  <c:v>0</c:v>
                </c:pt>
                <c:pt idx="9887">
                  <c:v>0</c:v>
                </c:pt>
                <c:pt idx="9888">
                  <c:v>0</c:v>
                </c:pt>
                <c:pt idx="9889">
                  <c:v>0</c:v>
                </c:pt>
                <c:pt idx="9890">
                  <c:v>0</c:v>
                </c:pt>
                <c:pt idx="9891">
                  <c:v>0</c:v>
                </c:pt>
                <c:pt idx="9892">
                  <c:v>0</c:v>
                </c:pt>
                <c:pt idx="9893">
                  <c:v>0</c:v>
                </c:pt>
                <c:pt idx="9894">
                  <c:v>0</c:v>
                </c:pt>
                <c:pt idx="9895">
                  <c:v>0</c:v>
                </c:pt>
                <c:pt idx="9896">
                  <c:v>0</c:v>
                </c:pt>
                <c:pt idx="9897">
                  <c:v>0</c:v>
                </c:pt>
                <c:pt idx="9898">
                  <c:v>0</c:v>
                </c:pt>
                <c:pt idx="9899">
                  <c:v>0</c:v>
                </c:pt>
                <c:pt idx="9900">
                  <c:v>0</c:v>
                </c:pt>
                <c:pt idx="9901">
                  <c:v>0</c:v>
                </c:pt>
                <c:pt idx="9902">
                  <c:v>0</c:v>
                </c:pt>
                <c:pt idx="9903">
                  <c:v>0</c:v>
                </c:pt>
                <c:pt idx="9904">
                  <c:v>0</c:v>
                </c:pt>
                <c:pt idx="9905">
                  <c:v>0</c:v>
                </c:pt>
                <c:pt idx="9906">
                  <c:v>0</c:v>
                </c:pt>
                <c:pt idx="9907">
                  <c:v>0</c:v>
                </c:pt>
                <c:pt idx="9908">
                  <c:v>0</c:v>
                </c:pt>
                <c:pt idx="9909">
                  <c:v>0</c:v>
                </c:pt>
                <c:pt idx="9910">
                  <c:v>0</c:v>
                </c:pt>
                <c:pt idx="9911">
                  <c:v>0</c:v>
                </c:pt>
                <c:pt idx="9912">
                  <c:v>0</c:v>
                </c:pt>
                <c:pt idx="9913">
                  <c:v>0</c:v>
                </c:pt>
                <c:pt idx="9914">
                  <c:v>0</c:v>
                </c:pt>
                <c:pt idx="9915">
                  <c:v>0</c:v>
                </c:pt>
                <c:pt idx="9916">
                  <c:v>0</c:v>
                </c:pt>
                <c:pt idx="9917">
                  <c:v>0</c:v>
                </c:pt>
                <c:pt idx="9918">
                  <c:v>0</c:v>
                </c:pt>
                <c:pt idx="9919">
                  <c:v>0</c:v>
                </c:pt>
                <c:pt idx="9920">
                  <c:v>0</c:v>
                </c:pt>
                <c:pt idx="9921">
                  <c:v>0</c:v>
                </c:pt>
                <c:pt idx="9922">
                  <c:v>0</c:v>
                </c:pt>
                <c:pt idx="9923">
                  <c:v>0</c:v>
                </c:pt>
                <c:pt idx="9924">
                  <c:v>0</c:v>
                </c:pt>
                <c:pt idx="9925">
                  <c:v>0</c:v>
                </c:pt>
                <c:pt idx="9926">
                  <c:v>0</c:v>
                </c:pt>
                <c:pt idx="9927">
                  <c:v>0</c:v>
                </c:pt>
                <c:pt idx="9928">
                  <c:v>0</c:v>
                </c:pt>
                <c:pt idx="9929">
                  <c:v>0</c:v>
                </c:pt>
                <c:pt idx="9930">
                  <c:v>0</c:v>
                </c:pt>
                <c:pt idx="9931">
                  <c:v>0</c:v>
                </c:pt>
                <c:pt idx="9932">
                  <c:v>0</c:v>
                </c:pt>
                <c:pt idx="9933">
                  <c:v>0</c:v>
                </c:pt>
                <c:pt idx="9934">
                  <c:v>0</c:v>
                </c:pt>
                <c:pt idx="9935">
                  <c:v>0</c:v>
                </c:pt>
                <c:pt idx="9936">
                  <c:v>0</c:v>
                </c:pt>
                <c:pt idx="9937">
                  <c:v>0</c:v>
                </c:pt>
                <c:pt idx="9938">
                  <c:v>0</c:v>
                </c:pt>
                <c:pt idx="9939">
                  <c:v>0</c:v>
                </c:pt>
                <c:pt idx="9940">
                  <c:v>0</c:v>
                </c:pt>
                <c:pt idx="9941">
                  <c:v>0</c:v>
                </c:pt>
                <c:pt idx="9942">
                  <c:v>0</c:v>
                </c:pt>
                <c:pt idx="9943">
                  <c:v>0</c:v>
                </c:pt>
                <c:pt idx="9944">
                  <c:v>0</c:v>
                </c:pt>
                <c:pt idx="9945">
                  <c:v>0</c:v>
                </c:pt>
                <c:pt idx="9946">
                  <c:v>0</c:v>
                </c:pt>
                <c:pt idx="9947">
                  <c:v>0</c:v>
                </c:pt>
                <c:pt idx="9948">
                  <c:v>0</c:v>
                </c:pt>
                <c:pt idx="9949">
                  <c:v>0</c:v>
                </c:pt>
                <c:pt idx="9950">
                  <c:v>0</c:v>
                </c:pt>
                <c:pt idx="9951">
                  <c:v>0</c:v>
                </c:pt>
                <c:pt idx="9952">
                  <c:v>0</c:v>
                </c:pt>
                <c:pt idx="9953">
                  <c:v>0</c:v>
                </c:pt>
                <c:pt idx="9954">
                  <c:v>0</c:v>
                </c:pt>
                <c:pt idx="9955">
                  <c:v>0</c:v>
                </c:pt>
                <c:pt idx="9956">
                  <c:v>0</c:v>
                </c:pt>
                <c:pt idx="9957">
                  <c:v>0</c:v>
                </c:pt>
                <c:pt idx="9958">
                  <c:v>0</c:v>
                </c:pt>
                <c:pt idx="9959">
                  <c:v>0</c:v>
                </c:pt>
                <c:pt idx="9960">
                  <c:v>0</c:v>
                </c:pt>
                <c:pt idx="9961">
                  <c:v>0</c:v>
                </c:pt>
                <c:pt idx="9962">
                  <c:v>0</c:v>
                </c:pt>
                <c:pt idx="9963">
                  <c:v>0</c:v>
                </c:pt>
                <c:pt idx="9964">
                  <c:v>0</c:v>
                </c:pt>
                <c:pt idx="9965">
                  <c:v>0</c:v>
                </c:pt>
                <c:pt idx="9966">
                  <c:v>0</c:v>
                </c:pt>
                <c:pt idx="9967">
                  <c:v>0</c:v>
                </c:pt>
                <c:pt idx="9968">
                  <c:v>0</c:v>
                </c:pt>
                <c:pt idx="9969">
                  <c:v>0</c:v>
                </c:pt>
                <c:pt idx="9970">
                  <c:v>0</c:v>
                </c:pt>
                <c:pt idx="9971">
                  <c:v>0</c:v>
                </c:pt>
                <c:pt idx="9972">
                  <c:v>0</c:v>
                </c:pt>
                <c:pt idx="9973">
                  <c:v>0</c:v>
                </c:pt>
                <c:pt idx="9974">
                  <c:v>0</c:v>
                </c:pt>
                <c:pt idx="9975">
                  <c:v>0</c:v>
                </c:pt>
                <c:pt idx="9976">
                  <c:v>0</c:v>
                </c:pt>
                <c:pt idx="9977">
                  <c:v>0</c:v>
                </c:pt>
                <c:pt idx="9978">
                  <c:v>0</c:v>
                </c:pt>
                <c:pt idx="9979">
                  <c:v>0</c:v>
                </c:pt>
                <c:pt idx="9980">
                  <c:v>0</c:v>
                </c:pt>
                <c:pt idx="9981">
                  <c:v>0</c:v>
                </c:pt>
                <c:pt idx="9982">
                  <c:v>0</c:v>
                </c:pt>
                <c:pt idx="9983">
                  <c:v>0</c:v>
                </c:pt>
                <c:pt idx="9984">
                  <c:v>0</c:v>
                </c:pt>
                <c:pt idx="9985">
                  <c:v>0</c:v>
                </c:pt>
                <c:pt idx="9986">
                  <c:v>0</c:v>
                </c:pt>
                <c:pt idx="9987">
                  <c:v>0</c:v>
                </c:pt>
                <c:pt idx="9988">
                  <c:v>0</c:v>
                </c:pt>
                <c:pt idx="9989">
                  <c:v>0</c:v>
                </c:pt>
                <c:pt idx="9990">
                  <c:v>0</c:v>
                </c:pt>
                <c:pt idx="9991">
                  <c:v>0</c:v>
                </c:pt>
                <c:pt idx="9992">
                  <c:v>0</c:v>
                </c:pt>
                <c:pt idx="9993">
                  <c:v>0</c:v>
                </c:pt>
                <c:pt idx="9994">
                  <c:v>0</c:v>
                </c:pt>
                <c:pt idx="9995">
                  <c:v>0</c:v>
                </c:pt>
                <c:pt idx="9996">
                  <c:v>0</c:v>
                </c:pt>
                <c:pt idx="9997">
                  <c:v>0</c:v>
                </c:pt>
                <c:pt idx="9998">
                  <c:v>0</c:v>
                </c:pt>
                <c:pt idx="9999">
                  <c:v>0</c:v>
                </c:pt>
              </c:numCache>
            </c:numRef>
          </c:cat>
          <c:val>
            <c:numRef>
              <c:f>Data!$B$3:$B$10002</c:f>
              <c:numCache>
                <c:formatCode>General</c:formatCode>
                <c:ptCount val="10000"/>
                <c:pt idx="0">
                  <c:v>-4.4431699999999998E-2</c:v>
                </c:pt>
                <c:pt idx="1">
                  <c:v>0.172015</c:v>
                </c:pt>
                <c:pt idx="2">
                  <c:v>0.175571</c:v>
                </c:pt>
                <c:pt idx="3">
                  <c:v>#N/A</c:v>
                </c:pt>
                <c:pt idx="4">
                  <c:v>0.31769900000000001</c:v>
                </c:pt>
                <c:pt idx="5">
                  <c:v>0.28497899999999998</c:v>
                </c:pt>
                <c:pt idx="6">
                  <c:v>0.162804</c:v>
                </c:pt>
                <c:pt idx="7">
                  <c:v>#N/A</c:v>
                </c:pt>
                <c:pt idx="8">
                  <c:v>0.22159999999999999</c:v>
                </c:pt>
                <c:pt idx="9">
                  <c:v>0.83338999999999996</c:v>
                </c:pt>
                <c:pt idx="10">
                  <c:v>1.3157399999999999</c:v>
                </c:pt>
                <c:pt idx="11">
                  <c:v>#N/A</c:v>
                </c:pt>
                <c:pt idx="12">
                  <c:v>1.89076</c:v>
                </c:pt>
                <c:pt idx="13">
                  <c:v>3.2001300000000001</c:v>
                </c:pt>
                <c:pt idx="14">
                  <c:v>4.3832700000000004</c:v>
                </c:pt>
                <c:pt idx="15">
                  <c:v>#N/A</c:v>
                </c:pt>
                <c:pt idx="16">
                  <c:v>5.6279700000000004</c:v>
                </c:pt>
                <c:pt idx="17">
                  <c:v>7.0564299999999998</c:v>
                </c:pt>
                <c:pt idx="18">
                  <c:v>#N/A</c:v>
                </c:pt>
                <c:pt idx="19">
                  <c:v>9.4388699999999996</c:v>
                </c:pt>
                <c:pt idx="20">
                  <c:v>10.633699999999999</c:v>
                </c:pt>
                <c:pt idx="21">
                  <c:v>11.4747</c:v>
                </c:pt>
                <c:pt idx="22">
                  <c:v>#N/A</c:v>
                </c:pt>
                <c:pt idx="23">
                  <c:v>12.8734</c:v>
                </c:pt>
                <c:pt idx="24">
                  <c:v>15.7798</c:v>
                </c:pt>
                <c:pt idx="25">
                  <c:v>16.275500000000001</c:v>
                </c:pt>
                <c:pt idx="26">
                  <c:v>#N/A</c:v>
                </c:pt>
                <c:pt idx="27">
                  <c:v>16.488600000000002</c:v>
                </c:pt>
                <c:pt idx="28">
                  <c:v>17.549700000000001</c:v>
                </c:pt>
                <c:pt idx="29">
                  <c:v>17.121099999999998</c:v>
                </c:pt>
                <c:pt idx="30">
                  <c:v>#N/A</c:v>
                </c:pt>
                <c:pt idx="31">
                  <c:v>18.569900000000001</c:v>
                </c:pt>
                <c:pt idx="32">
                  <c:v>17.648700000000002</c:v>
                </c:pt>
                <c:pt idx="33">
                  <c:v>18.6815</c:v>
                </c:pt>
                <c:pt idx="34">
                  <c:v>#N/A</c:v>
                </c:pt>
                <c:pt idx="35">
                  <c:v>17.789300000000001</c:v>
                </c:pt>
                <c:pt idx="36">
                  <c:v>17.891400000000001</c:v>
                </c:pt>
                <c:pt idx="37">
                  <c:v>#N/A</c:v>
                </c:pt>
                <c:pt idx="38">
                  <c:v>17.0305</c:v>
                </c:pt>
                <c:pt idx="39">
                  <c:v>17.635400000000001</c:v>
                </c:pt>
                <c:pt idx="40">
                  <c:v>16.939399999999999</c:v>
                </c:pt>
                <c:pt idx="41">
                  <c:v>#N/A</c:v>
                </c:pt>
                <c:pt idx="42">
                  <c:v>17.601299999999998</c:v>
                </c:pt>
                <c:pt idx="43">
                  <c:v>16.815999999999999</c:v>
                </c:pt>
                <c:pt idx="44">
                  <c:v>16.914400000000001</c:v>
                </c:pt>
                <c:pt idx="45">
                  <c:v>#N/A</c:v>
                </c:pt>
                <c:pt idx="46">
                  <c:v>15.537100000000001</c:v>
                </c:pt>
                <c:pt idx="47">
                  <c:v>13.829499999999999</c:v>
                </c:pt>
                <c:pt idx="48">
                  <c:v>11.9605</c:v>
                </c:pt>
                <c:pt idx="49">
                  <c:v>#N/A</c:v>
                </c:pt>
                <c:pt idx="50">
                  <c:v>9.1758199999999999</c:v>
                </c:pt>
                <c:pt idx="51">
                  <c:v>8.2223600000000001</c:v>
                </c:pt>
                <c:pt idx="52">
                  <c:v>#N/A</c:v>
                </c:pt>
                <c:pt idx="53">
                  <c:v>7.4937800000000001</c:v>
                </c:pt>
                <c:pt idx="54">
                  <c:v>6.3607100000000001</c:v>
                </c:pt>
                <c:pt idx="55">
                  <c:v>4.7644799999999998</c:v>
                </c:pt>
                <c:pt idx="56">
                  <c:v>#N/A</c:v>
                </c:pt>
                <c:pt idx="57">
                  <c:v>3.5109400000000002</c:v>
                </c:pt>
                <c:pt idx="58">
                  <c:v>1.3277000000000001</c:v>
                </c:pt>
                <c:pt idx="59">
                  <c:v>0.63546599999999998</c:v>
                </c:pt>
                <c:pt idx="60">
                  <c:v>#N/A</c:v>
                </c:pt>
                <c:pt idx="61">
                  <c:v>0.27933400000000003</c:v>
                </c:pt>
                <c:pt idx="62">
                  <c:v>0.26217600000000002</c:v>
                </c:pt>
                <c:pt idx="63">
                  <c:v>4.1592700000000003E-2</c:v>
                </c:pt>
                <c:pt idx="64">
                  <c:v>#N/A</c:v>
                </c:pt>
                <c:pt idx="65">
                  <c:v>1.3975200000000001</c:v>
                </c:pt>
                <c:pt idx="66">
                  <c:v>0.77607199999999998</c:v>
                </c:pt>
                <c:pt idx="67">
                  <c:v>1.0507299999999999</c:v>
                </c:pt>
                <c:pt idx="68">
                  <c:v>#N/A</c:v>
                </c:pt>
                <c:pt idx="69">
                  <c:v>0.81764400000000004</c:v>
                </c:pt>
                <c:pt idx="70">
                  <c:v>1.2899700000000001</c:v>
                </c:pt>
                <c:pt idx="71">
                  <c:v>#N/A</c:v>
                </c:pt>
                <c:pt idx="72">
                  <c:v>1.92195</c:v>
                </c:pt>
                <c:pt idx="73">
                  <c:v>#N/A</c:v>
                </c:pt>
                <c:pt idx="74">
                  <c:v>2.7410600000000001</c:v>
                </c:pt>
                <c:pt idx="75">
                  <c:v>3.2472799999999999</c:v>
                </c:pt>
                <c:pt idx="76">
                  <c:v>3.4809199999999998</c:v>
                </c:pt>
                <c:pt idx="77">
                  <c:v>#N/A</c:v>
                </c:pt>
                <c:pt idx="78">
                  <c:v>3.5139900000000002</c:v>
                </c:pt>
                <c:pt idx="79">
                  <c:v>3.2714500000000002</c:v>
                </c:pt>
                <c:pt idx="80">
                  <c:v>3.2901799999999999</c:v>
                </c:pt>
                <c:pt idx="81">
                  <c:v>#N/A</c:v>
                </c:pt>
                <c:pt idx="82">
                  <c:v>2.72851</c:v>
                </c:pt>
                <c:pt idx="83">
                  <c:v>3.4074800000000001</c:v>
                </c:pt>
                <c:pt idx="84">
                  <c:v>3.10331</c:v>
                </c:pt>
                <c:pt idx="85">
                  <c:v>#N/A</c:v>
                </c:pt>
                <c:pt idx="86">
                  <c:v>3.2102300000000001</c:v>
                </c:pt>
                <c:pt idx="87">
                  <c:v>3.1606399999999999</c:v>
                </c:pt>
                <c:pt idx="88">
                  <c:v>2.0260899999999999</c:v>
                </c:pt>
                <c:pt idx="89">
                  <c:v>#N/A</c:v>
                </c:pt>
                <c:pt idx="90">
                  <c:v>1.0692999999999999</c:v>
                </c:pt>
                <c:pt idx="91">
                  <c:v>0.83059400000000005</c:v>
                </c:pt>
                <c:pt idx="92">
                  <c:v>1.2129799999999999</c:v>
                </c:pt>
                <c:pt idx="93">
                  <c:v>#N/A</c:v>
                </c:pt>
                <c:pt idx="94">
                  <c:v>1.8401799999999999</c:v>
                </c:pt>
                <c:pt idx="95">
                  <c:v>2.8444500000000001</c:v>
                </c:pt>
                <c:pt idx="96">
                  <c:v>2.7713000000000001</c:v>
                </c:pt>
                <c:pt idx="97">
                  <c:v>#N/A</c:v>
                </c:pt>
                <c:pt idx="98">
                  <c:v>2.6280600000000001</c:v>
                </c:pt>
                <c:pt idx="99">
                  <c:v>2.4051999999999998</c:v>
                </c:pt>
                <c:pt idx="100">
                  <c:v>#N/A</c:v>
                </c:pt>
                <c:pt idx="101">
                  <c:v>2.0762499999999999</c:v>
                </c:pt>
                <c:pt idx="102">
                  <c:v>2.36808</c:v>
                </c:pt>
                <c:pt idx="103">
                  <c:v>2.73441</c:v>
                </c:pt>
                <c:pt idx="104">
                  <c:v>#N/A</c:v>
                </c:pt>
                <c:pt idx="105">
                  <c:v>3.2706200000000001</c:v>
                </c:pt>
                <c:pt idx="106">
                  <c:v>3.3461400000000001</c:v>
                </c:pt>
                <c:pt idx="107">
                  <c:v>3.0462799999999999</c:v>
                </c:pt>
                <c:pt idx="108">
                  <c:v>#N/A</c:v>
                </c:pt>
                <c:pt idx="109">
                  <c:v>3.2436600000000002</c:v>
                </c:pt>
                <c:pt idx="110">
                  <c:v>2.6706099999999999</c:v>
                </c:pt>
                <c:pt idx="111">
                  <c:v>2.4185300000000001</c:v>
                </c:pt>
                <c:pt idx="112">
                  <c:v>#N/A</c:v>
                </c:pt>
                <c:pt idx="113">
                  <c:v>2.5286</c:v>
                </c:pt>
                <c:pt idx="114">
                  <c:v>2.5389599999999999</c:v>
                </c:pt>
                <c:pt idx="115">
                  <c:v>2.6848000000000001</c:v>
                </c:pt>
                <c:pt idx="116">
                  <c:v>#N/A</c:v>
                </c:pt>
                <c:pt idx="117">
                  <c:v>3.0815199999999998</c:v>
                </c:pt>
                <c:pt idx="118">
                  <c:v>3.1144799999999999</c:v>
                </c:pt>
                <c:pt idx="119">
                  <c:v>2.6739099999999998</c:v>
                </c:pt>
                <c:pt idx="120">
                  <c:v>#N/A</c:v>
                </c:pt>
                <c:pt idx="121">
                  <c:v>2.55158</c:v>
                </c:pt>
                <c:pt idx="122">
                  <c:v>2.49918</c:v>
                </c:pt>
                <c:pt idx="123">
                  <c:v>2.2870599999999999</c:v>
                </c:pt>
                <c:pt idx="124">
                  <c:v>#N/A</c:v>
                </c:pt>
                <c:pt idx="125">
                  <c:v>2.6190600000000002</c:v>
                </c:pt>
                <c:pt idx="126">
                  <c:v>2.8671899999999999</c:v>
                </c:pt>
                <c:pt idx="127">
                  <c:v>#N/A</c:v>
                </c:pt>
                <c:pt idx="128">
                  <c:v>2.2741099999999999</c:v>
                </c:pt>
                <c:pt idx="129">
                  <c:v>2.4245899999999998</c:v>
                </c:pt>
                <c:pt idx="130">
                  <c:v>2.1031200000000001</c:v>
                </c:pt>
                <c:pt idx="131">
                  <c:v>#N/A</c:v>
                </c:pt>
                <c:pt idx="132">
                  <c:v>1.3203199999999999</c:v>
                </c:pt>
                <c:pt idx="133">
                  <c:v>1.64886</c:v>
                </c:pt>
                <c:pt idx="134">
                  <c:v>1.72824</c:v>
                </c:pt>
                <c:pt idx="135">
                  <c:v>#N/A</c:v>
                </c:pt>
                <c:pt idx="136">
                  <c:v>2.5061599999999999</c:v>
                </c:pt>
                <c:pt idx="137">
                  <c:v>3.37466</c:v>
                </c:pt>
                <c:pt idx="138">
                  <c:v>3.0904199999999999</c:v>
                </c:pt>
                <c:pt idx="139">
                  <c:v>#N/A</c:v>
                </c:pt>
                <c:pt idx="140">
                  <c:v>2.9741399999999998</c:v>
                </c:pt>
                <c:pt idx="141">
                  <c:v>2.4022399999999999</c:v>
                </c:pt>
                <c:pt idx="142">
                  <c:v>2.2832400000000002</c:v>
                </c:pt>
                <c:pt idx="143">
                  <c:v>#N/A</c:v>
                </c:pt>
                <c:pt idx="144">
                  <c:v>2.0104600000000001</c:v>
                </c:pt>
                <c:pt idx="145">
                  <c:v>1.8842300000000001</c:v>
                </c:pt>
                <c:pt idx="146">
                  <c:v>#N/A</c:v>
                </c:pt>
                <c:pt idx="147">
                  <c:v>2.99213</c:v>
                </c:pt>
                <c:pt idx="148">
                  <c:v>#N/A</c:v>
                </c:pt>
                <c:pt idx="149">
                  <c:v>3.0898300000000001</c:v>
                </c:pt>
                <c:pt idx="150">
                  <c:v>2.3702000000000001</c:v>
                </c:pt>
                <c:pt idx="151">
                  <c:v>1.59212</c:v>
                </c:pt>
                <c:pt idx="152">
                  <c:v>#N/A</c:v>
                </c:pt>
                <c:pt idx="153">
                  <c:v>1.41357</c:v>
                </c:pt>
                <c:pt idx="154">
                  <c:v>1.4083000000000001</c:v>
                </c:pt>
                <c:pt idx="155">
                  <c:v>#N/A</c:v>
                </c:pt>
                <c:pt idx="156">
                  <c:v>1.3918600000000001</c:v>
                </c:pt>
                <c:pt idx="157">
                  <c:v>1.94638</c:v>
                </c:pt>
                <c:pt idx="158">
                  <c:v>2.7124000000000001</c:v>
                </c:pt>
                <c:pt idx="159">
                  <c:v>#N/A</c:v>
                </c:pt>
                <c:pt idx="160">
                  <c:v>2.7504</c:v>
                </c:pt>
                <c:pt idx="161">
                  <c:v>3.1153</c:v>
                </c:pt>
                <c:pt idx="162">
                  <c:v>#N/A</c:v>
                </c:pt>
                <c:pt idx="163">
                  <c:v>2.51877</c:v>
                </c:pt>
                <c:pt idx="164">
                  <c:v>2.0770599999999999</c:v>
                </c:pt>
                <c:pt idx="165">
                  <c:v>2.1919400000000002</c:v>
                </c:pt>
                <c:pt idx="166">
                  <c:v>#N/A</c:v>
                </c:pt>
                <c:pt idx="167">
                  <c:v>2.6009099999999998</c:v>
                </c:pt>
                <c:pt idx="168">
                  <c:v>2.4278900000000001</c:v>
                </c:pt>
                <c:pt idx="169">
                  <c:v>2.5098600000000002</c:v>
                </c:pt>
                <c:pt idx="170">
                  <c:v>#N/A</c:v>
                </c:pt>
                <c:pt idx="171">
                  <c:v>2.16066</c:v>
                </c:pt>
                <c:pt idx="172">
                  <c:v>2.7747899999999999</c:v>
                </c:pt>
                <c:pt idx="173">
                  <c:v>2.3838699999999999</c:v>
                </c:pt>
                <c:pt idx="174">
                  <c:v>#N/A</c:v>
                </c:pt>
                <c:pt idx="175">
                  <c:v>1.9069499999999999</c:v>
                </c:pt>
                <c:pt idx="176">
                  <c:v>2.04339</c:v>
                </c:pt>
                <c:pt idx="177">
                  <c:v>2.51884</c:v>
                </c:pt>
                <c:pt idx="178">
                  <c:v>#N/A</c:v>
                </c:pt>
                <c:pt idx="179">
                  <c:v>2.7750499999999998</c:v>
                </c:pt>
                <c:pt idx="180">
                  <c:v>2.6075900000000001</c:v>
                </c:pt>
                <c:pt idx="181">
                  <c:v>2.7226699999999999</c:v>
                </c:pt>
                <c:pt idx="182">
                  <c:v>#N/A</c:v>
                </c:pt>
                <c:pt idx="183">
                  <c:v>2.3495200000000001</c:v>
                </c:pt>
                <c:pt idx="184">
                  <c:v>2.2017000000000002</c:v>
                </c:pt>
                <c:pt idx="185">
                  <c:v>1.60442</c:v>
                </c:pt>
                <c:pt idx="186">
                  <c:v>#N/A</c:v>
                </c:pt>
                <c:pt idx="187">
                  <c:v>1.82348</c:v>
                </c:pt>
                <c:pt idx="188">
                  <c:v>1.9563999999999999</c:v>
                </c:pt>
                <c:pt idx="189">
                  <c:v>#N/A</c:v>
                </c:pt>
                <c:pt idx="190">
                  <c:v>2.35256</c:v>
                </c:pt>
                <c:pt idx="191">
                  <c:v>1.9261999999999999</c:v>
                </c:pt>
                <c:pt idx="192">
                  <c:v>2.3037000000000001</c:v>
                </c:pt>
                <c:pt idx="193">
                  <c:v>#N/A</c:v>
                </c:pt>
                <c:pt idx="194">
                  <c:v>1.57565</c:v>
                </c:pt>
                <c:pt idx="195">
                  <c:v>1.5781000000000001</c:v>
                </c:pt>
                <c:pt idx="196">
                  <c:v>1.8588</c:v>
                </c:pt>
                <c:pt idx="197">
                  <c:v>#N/A</c:v>
                </c:pt>
                <c:pt idx="198">
                  <c:v>3.15625</c:v>
                </c:pt>
                <c:pt idx="199">
                  <c:v>3.2206299999999999</c:v>
                </c:pt>
                <c:pt idx="200">
                  <c:v>3.0883099999999999</c:v>
                </c:pt>
                <c:pt idx="201">
                  <c:v>#N/A</c:v>
                </c:pt>
                <c:pt idx="202">
                  <c:v>2.8747099999999999</c:v>
                </c:pt>
                <c:pt idx="203">
                  <c:v>2.77108</c:v>
                </c:pt>
                <c:pt idx="204">
                  <c:v>1.90449</c:v>
                </c:pt>
                <c:pt idx="205">
                  <c:v>#N/A</c:v>
                </c:pt>
                <c:pt idx="206">
                  <c:v>1.61734</c:v>
                </c:pt>
                <c:pt idx="207">
                  <c:v>1.80175</c:v>
                </c:pt>
                <c:pt idx="208">
                  <c:v>2.3967499999999999</c:v>
                </c:pt>
                <c:pt idx="209">
                  <c:v>#N/A</c:v>
                </c:pt>
                <c:pt idx="210">
                  <c:v>3.35514</c:v>
                </c:pt>
                <c:pt idx="211">
                  <c:v>2.6689400000000001</c:v>
                </c:pt>
                <c:pt idx="212">
                  <c:v>2.09911</c:v>
                </c:pt>
                <c:pt idx="213">
                  <c:v>#N/A</c:v>
                </c:pt>
                <c:pt idx="214">
                  <c:v>2.4079899999999999</c:v>
                </c:pt>
                <c:pt idx="215">
                  <c:v>1.6211100000000001</c:v>
                </c:pt>
                <c:pt idx="216">
                  <c:v>1.8421099999999999</c:v>
                </c:pt>
                <c:pt idx="217">
                  <c:v>#N/A</c:v>
                </c:pt>
                <c:pt idx="218">
                  <c:v>1.7679</c:v>
                </c:pt>
                <c:pt idx="219">
                  <c:v>2.5078399999999998</c:v>
                </c:pt>
                <c:pt idx="220">
                  <c:v>2.8475000000000001</c:v>
                </c:pt>
                <c:pt idx="221">
                  <c:v>#N/A</c:v>
                </c:pt>
                <c:pt idx="222">
                  <c:v>#N/A</c:v>
                </c:pt>
                <c:pt idx="223">
                  <c:v>3.13049</c:v>
                </c:pt>
                <c:pt idx="224">
                  <c:v>2.5523699999999998</c:v>
                </c:pt>
                <c:pt idx="225">
                  <c:v>#N/A</c:v>
                </c:pt>
                <c:pt idx="226">
                  <c:v>2.5185900000000001</c:v>
                </c:pt>
                <c:pt idx="227">
                  <c:v>2.0505900000000001</c:v>
                </c:pt>
                <c:pt idx="228">
                  <c:v>2.2198500000000001</c:v>
                </c:pt>
                <c:pt idx="229">
                  <c:v>#N/A</c:v>
                </c:pt>
                <c:pt idx="230">
                  <c:v>2.7810999999999999</c:v>
                </c:pt>
                <c:pt idx="231">
                  <c:v>3.0167600000000001</c:v>
                </c:pt>
                <c:pt idx="232">
                  <c:v>2.8719000000000001</c:v>
                </c:pt>
                <c:pt idx="233">
                  <c:v>#N/A</c:v>
                </c:pt>
                <c:pt idx="234">
                  <c:v>2.9205999999999999</c:v>
                </c:pt>
                <c:pt idx="235">
                  <c:v>1.9115899999999999</c:v>
                </c:pt>
                <c:pt idx="236">
                  <c:v>2.0489299999999999</c:v>
                </c:pt>
                <c:pt idx="237">
                  <c:v>#N/A</c:v>
                </c:pt>
                <c:pt idx="238">
                  <c:v>2.1817299999999999</c:v>
                </c:pt>
                <c:pt idx="239">
                  <c:v>2.0682700000000001</c:v>
                </c:pt>
                <c:pt idx="240">
                  <c:v>2.9229400000000001</c:v>
                </c:pt>
                <c:pt idx="241">
                  <c:v>#N/A</c:v>
                </c:pt>
                <c:pt idx="242">
                  <c:v>3.0833900000000001</c:v>
                </c:pt>
                <c:pt idx="243">
                  <c:v>3.2349299999999999</c:v>
                </c:pt>
                <c:pt idx="244">
                  <c:v>2.8972099999999998</c:v>
                </c:pt>
                <c:pt idx="245">
                  <c:v>#N/A</c:v>
                </c:pt>
                <c:pt idx="246">
                  <c:v>2.68289</c:v>
                </c:pt>
                <c:pt idx="247">
                  <c:v>2.38687</c:v>
                </c:pt>
                <c:pt idx="248">
                  <c:v>#N/A</c:v>
                </c:pt>
                <c:pt idx="249">
                  <c:v>2.3787600000000002</c:v>
                </c:pt>
                <c:pt idx="250">
                  <c:v>2.5705900000000002</c:v>
                </c:pt>
                <c:pt idx="251">
                  <c:v>2.2505099999999998</c:v>
                </c:pt>
                <c:pt idx="252">
                  <c:v>#N/A</c:v>
                </c:pt>
                <c:pt idx="253">
                  <c:v>2.2321</c:v>
                </c:pt>
                <c:pt idx="254">
                  <c:v>2.6720899999999999</c:v>
                </c:pt>
                <c:pt idx="255">
                  <c:v>2.5548099999999998</c:v>
                </c:pt>
                <c:pt idx="256">
                  <c:v>#N/A</c:v>
                </c:pt>
                <c:pt idx="257">
                  <c:v>2.2334900000000002</c:v>
                </c:pt>
                <c:pt idx="258">
                  <c:v>2.52447</c:v>
                </c:pt>
                <c:pt idx="259">
                  <c:v>2.4938899999999999</c:v>
                </c:pt>
                <c:pt idx="260">
                  <c:v>#N/A</c:v>
                </c:pt>
                <c:pt idx="261">
                  <c:v>2.81697</c:v>
                </c:pt>
                <c:pt idx="262">
                  <c:v>3.3200099999999999</c:v>
                </c:pt>
                <c:pt idx="263">
                  <c:v>3.6600199999999998</c:v>
                </c:pt>
                <c:pt idx="264">
                  <c:v>#N/A</c:v>
                </c:pt>
                <c:pt idx="265">
                  <c:v>3.20777</c:v>
                </c:pt>
                <c:pt idx="266">
                  <c:v>2.9764200000000001</c:v>
                </c:pt>
                <c:pt idx="267">
                  <c:v>2.2773099999999999</c:v>
                </c:pt>
                <c:pt idx="268">
                  <c:v>#N/A</c:v>
                </c:pt>
                <c:pt idx="269">
                  <c:v>2.2814100000000002</c:v>
                </c:pt>
                <c:pt idx="270">
                  <c:v>2.78139</c:v>
                </c:pt>
                <c:pt idx="271">
                  <c:v>#N/A</c:v>
                </c:pt>
                <c:pt idx="272">
                  <c:v>2.85562</c:v>
                </c:pt>
                <c:pt idx="273">
                  <c:v>2.8536700000000002</c:v>
                </c:pt>
                <c:pt idx="274">
                  <c:v>2.6925300000000001</c:v>
                </c:pt>
                <c:pt idx="275">
                  <c:v>#N/A</c:v>
                </c:pt>
                <c:pt idx="276">
                  <c:v>2.1307100000000001</c:v>
                </c:pt>
                <c:pt idx="277">
                  <c:v>1.4277</c:v>
                </c:pt>
                <c:pt idx="278">
                  <c:v>1.5516799999999999</c:v>
                </c:pt>
                <c:pt idx="279">
                  <c:v>#N/A</c:v>
                </c:pt>
                <c:pt idx="280">
                  <c:v>2.1903999999999999</c:v>
                </c:pt>
                <c:pt idx="281">
                  <c:v>2.33555</c:v>
                </c:pt>
                <c:pt idx="282">
                  <c:v>3.17469</c:v>
                </c:pt>
                <c:pt idx="283">
                  <c:v>#N/A</c:v>
                </c:pt>
                <c:pt idx="284">
                  <c:v>3.2409599999999998</c:v>
                </c:pt>
                <c:pt idx="285">
                  <c:v>3.3842099999999999</c:v>
                </c:pt>
                <c:pt idx="286">
                  <c:v>2.8077399999999999</c:v>
                </c:pt>
                <c:pt idx="287">
                  <c:v>#N/A</c:v>
                </c:pt>
                <c:pt idx="288">
                  <c:v>2.1882700000000002</c:v>
                </c:pt>
                <c:pt idx="289">
                  <c:v>2.19136</c:v>
                </c:pt>
                <c:pt idx="290">
                  <c:v>#N/A</c:v>
                </c:pt>
                <c:pt idx="291">
                  <c:v>2.4877699999999998</c:v>
                </c:pt>
                <c:pt idx="292">
                  <c:v>2.0466099999999998</c:v>
                </c:pt>
                <c:pt idx="293">
                  <c:v>2.6514099999999998</c:v>
                </c:pt>
                <c:pt idx="294">
                  <c:v>#N/A</c:v>
                </c:pt>
                <c:pt idx="295">
                  <c:v>3.1601400000000002</c:v>
                </c:pt>
                <c:pt idx="296">
                  <c:v>2.7176300000000002</c:v>
                </c:pt>
                <c:pt idx="297">
                  <c:v>#N/A</c:v>
                </c:pt>
                <c:pt idx="298">
                  <c:v>2.8871000000000002</c:v>
                </c:pt>
                <c:pt idx="299">
                  <c:v>1.7893600000000001</c:v>
                </c:pt>
                <c:pt idx="300">
                  <c:v>#N/A</c:v>
                </c:pt>
                <c:pt idx="301">
                  <c:v>1.8286800000000001</c:v>
                </c:pt>
                <c:pt idx="302">
                  <c:v>2.08013</c:v>
                </c:pt>
                <c:pt idx="303">
                  <c:v>2.1424099999999999</c:v>
                </c:pt>
                <c:pt idx="304">
                  <c:v>#N/A</c:v>
                </c:pt>
                <c:pt idx="305">
                  <c:v>3.1294900000000001</c:v>
                </c:pt>
                <c:pt idx="306">
                  <c:v>3.48889</c:v>
                </c:pt>
                <c:pt idx="307">
                  <c:v>3.2584200000000001</c:v>
                </c:pt>
                <c:pt idx="308">
                  <c:v>#N/A</c:v>
                </c:pt>
                <c:pt idx="309">
                  <c:v>2.39622</c:v>
                </c:pt>
                <c:pt idx="310">
                  <c:v>1.81219</c:v>
                </c:pt>
                <c:pt idx="311">
                  <c:v>2.0102799999999998</c:v>
                </c:pt>
                <c:pt idx="312">
                  <c:v>#N/A</c:v>
                </c:pt>
                <c:pt idx="313">
                  <c:v>1.9872099999999999</c:v>
                </c:pt>
                <c:pt idx="314">
                  <c:v>2.9552999999999998</c:v>
                </c:pt>
                <c:pt idx="315">
                  <c:v>#N/A</c:v>
                </c:pt>
                <c:pt idx="316">
                  <c:v>2.8321800000000001</c:v>
                </c:pt>
                <c:pt idx="317">
                  <c:v>3.2914400000000001</c:v>
                </c:pt>
                <c:pt idx="318">
                  <c:v>2.6999900000000001</c:v>
                </c:pt>
                <c:pt idx="319">
                  <c:v>#N/A</c:v>
                </c:pt>
                <c:pt idx="320">
                  <c:v>2.5964800000000001</c:v>
                </c:pt>
                <c:pt idx="321">
                  <c:v>2.3178399999999999</c:v>
                </c:pt>
                <c:pt idx="322">
                  <c:v>2.4233899999999999</c:v>
                </c:pt>
                <c:pt idx="323">
                  <c:v>#N/A</c:v>
                </c:pt>
                <c:pt idx="324">
                  <c:v>2.8767800000000001</c:v>
                </c:pt>
                <c:pt idx="325">
                  <c:v>3.7317800000000001</c:v>
                </c:pt>
                <c:pt idx="326">
                  <c:v>3.0509400000000002</c:v>
                </c:pt>
                <c:pt idx="327">
                  <c:v>#N/A</c:v>
                </c:pt>
                <c:pt idx="328">
                  <c:v>2.9003100000000002</c:v>
                </c:pt>
                <c:pt idx="329">
                  <c:v>2.3945400000000001</c:v>
                </c:pt>
                <c:pt idx="330">
                  <c:v>2.5539100000000001</c:v>
                </c:pt>
                <c:pt idx="331">
                  <c:v>#N/A</c:v>
                </c:pt>
                <c:pt idx="332">
                  <c:v>2.847</c:v>
                </c:pt>
                <c:pt idx="333">
                  <c:v>2.6739199999999999</c:v>
                </c:pt>
                <c:pt idx="334">
                  <c:v>3.0784600000000002</c:v>
                </c:pt>
                <c:pt idx="335">
                  <c:v>#N/A</c:v>
                </c:pt>
                <c:pt idx="336">
                  <c:v>2.81073</c:v>
                </c:pt>
                <c:pt idx="337">
                  <c:v>2.9826899999999998</c:v>
                </c:pt>
                <c:pt idx="338">
                  <c:v>#N/A</c:v>
                </c:pt>
                <c:pt idx="339">
                  <c:v>2.2885399999999998</c:v>
                </c:pt>
                <c:pt idx="340">
                  <c:v>2.3311199999999999</c:v>
                </c:pt>
                <c:pt idx="341">
                  <c:v>2.0852300000000001</c:v>
                </c:pt>
                <c:pt idx="342">
                  <c:v>#N/A</c:v>
                </c:pt>
                <c:pt idx="343">
                  <c:v>2.4674499999999999</c:v>
                </c:pt>
                <c:pt idx="344">
                  <c:v>2.81826</c:v>
                </c:pt>
                <c:pt idx="345">
                  <c:v>3.4068900000000002</c:v>
                </c:pt>
                <c:pt idx="346">
                  <c:v>#N/A</c:v>
                </c:pt>
                <c:pt idx="347">
                  <c:v>3.39872</c:v>
                </c:pt>
                <c:pt idx="348">
                  <c:v>2.8663500000000002</c:v>
                </c:pt>
                <c:pt idx="349">
                  <c:v>3.1118600000000001</c:v>
                </c:pt>
                <c:pt idx="350">
                  <c:v>#N/A</c:v>
                </c:pt>
                <c:pt idx="351">
                  <c:v>2.3075899999999998</c:v>
                </c:pt>
                <c:pt idx="352">
                  <c:v>2.2845800000000001</c:v>
                </c:pt>
                <c:pt idx="353">
                  <c:v>2.65957</c:v>
                </c:pt>
                <c:pt idx="354">
                  <c:v>#N/A</c:v>
                </c:pt>
                <c:pt idx="355">
                  <c:v>2.8664499999999999</c:v>
                </c:pt>
                <c:pt idx="356">
                  <c:v>3.0355699999999999</c:v>
                </c:pt>
                <c:pt idx="357">
                  <c:v>3.1142500000000002</c:v>
                </c:pt>
                <c:pt idx="358">
                  <c:v>#N/A</c:v>
                </c:pt>
                <c:pt idx="359">
                  <c:v>2.6346599999999998</c:v>
                </c:pt>
                <c:pt idx="360">
                  <c:v>2.5997400000000002</c:v>
                </c:pt>
                <c:pt idx="361">
                  <c:v>#N/A</c:v>
                </c:pt>
                <c:pt idx="362">
                  <c:v>2.0905300000000002</c:v>
                </c:pt>
                <c:pt idx="363">
                  <c:v>2.11483</c:v>
                </c:pt>
                <c:pt idx="364">
                  <c:v>2.4729100000000002</c:v>
                </c:pt>
                <c:pt idx="365">
                  <c:v>#N/A</c:v>
                </c:pt>
                <c:pt idx="366">
                  <c:v>2.9403899999999998</c:v>
                </c:pt>
                <c:pt idx="367">
                  <c:v>3.7578100000000001</c:v>
                </c:pt>
                <c:pt idx="368">
                  <c:v>3.4641099999999998</c:v>
                </c:pt>
                <c:pt idx="369">
                  <c:v>#N/A</c:v>
                </c:pt>
                <c:pt idx="370">
                  <c:v>3.5342899999999999</c:v>
                </c:pt>
                <c:pt idx="371">
                  <c:v>2.74709</c:v>
                </c:pt>
                <c:pt idx="372">
                  <c:v>#N/A</c:v>
                </c:pt>
                <c:pt idx="373">
                  <c:v>1.8230200000000001</c:v>
                </c:pt>
                <c:pt idx="374">
                  <c:v>#N/A</c:v>
                </c:pt>
                <c:pt idx="375">
                  <c:v>2.2058300000000002</c:v>
                </c:pt>
                <c:pt idx="376">
                  <c:v>2.6589900000000002</c:v>
                </c:pt>
                <c:pt idx="377">
                  <c:v>3.2709199999999998</c:v>
                </c:pt>
                <c:pt idx="378">
                  <c:v>#N/A</c:v>
                </c:pt>
                <c:pt idx="379">
                  <c:v>3.2603900000000001</c:v>
                </c:pt>
                <c:pt idx="380">
                  <c:v>3.1025700000000001</c:v>
                </c:pt>
                <c:pt idx="381">
                  <c:v>2.7944100000000001</c:v>
                </c:pt>
                <c:pt idx="382">
                  <c:v>#N/A</c:v>
                </c:pt>
                <c:pt idx="383">
                  <c:v>1.89601</c:v>
                </c:pt>
                <c:pt idx="384">
                  <c:v>2.0642499999999999</c:v>
                </c:pt>
                <c:pt idx="385">
                  <c:v>2.4059900000000001</c:v>
                </c:pt>
                <c:pt idx="386">
                  <c:v>#N/A</c:v>
                </c:pt>
                <c:pt idx="387">
                  <c:v>3.2328399999999999</c:v>
                </c:pt>
                <c:pt idx="388">
                  <c:v>3.32707</c:v>
                </c:pt>
                <c:pt idx="389">
                  <c:v>3.31019</c:v>
                </c:pt>
                <c:pt idx="390">
                  <c:v>#N/A</c:v>
                </c:pt>
                <c:pt idx="391">
                  <c:v>3.4559600000000001</c:v>
                </c:pt>
                <c:pt idx="392">
                  <c:v>3.7187899999999998</c:v>
                </c:pt>
                <c:pt idx="393">
                  <c:v>#N/A</c:v>
                </c:pt>
                <c:pt idx="394">
                  <c:v>2.2072699999999998</c:v>
                </c:pt>
                <c:pt idx="395">
                  <c:v>2.2930199999999998</c:v>
                </c:pt>
                <c:pt idx="396">
                  <c:v>2.50414</c:v>
                </c:pt>
                <c:pt idx="397">
                  <c:v>#N/A</c:v>
                </c:pt>
                <c:pt idx="398">
                  <c:v>2.7970799999999998</c:v>
                </c:pt>
                <c:pt idx="399">
                  <c:v>2.6423199999999998</c:v>
                </c:pt>
                <c:pt idx="400">
                  <c:v>3.1136599999999999</c:v>
                </c:pt>
                <c:pt idx="401">
                  <c:v>#N/A</c:v>
                </c:pt>
                <c:pt idx="402">
                  <c:v>2.7336399999999998</c:v>
                </c:pt>
                <c:pt idx="403">
                  <c:v>2.5058400000000001</c:v>
                </c:pt>
                <c:pt idx="404">
                  <c:v>2.7118199999999999</c:v>
                </c:pt>
                <c:pt idx="405">
                  <c:v>#N/A</c:v>
                </c:pt>
                <c:pt idx="406">
                  <c:v>2.5561199999999999</c:v>
                </c:pt>
                <c:pt idx="407">
                  <c:v>2.7747299999999999</c:v>
                </c:pt>
                <c:pt idx="408">
                  <c:v>2.7325599999999999</c:v>
                </c:pt>
                <c:pt idx="409">
                  <c:v>#N/A</c:v>
                </c:pt>
                <c:pt idx="410">
                  <c:v>3.8404500000000001</c:v>
                </c:pt>
                <c:pt idx="411">
                  <c:v>3.1154299999999999</c:v>
                </c:pt>
                <c:pt idx="412">
                  <c:v>3.1509399999999999</c:v>
                </c:pt>
                <c:pt idx="413">
                  <c:v>#N/A</c:v>
                </c:pt>
                <c:pt idx="414">
                  <c:v>2.9327899999999998</c:v>
                </c:pt>
                <c:pt idx="415">
                  <c:v>2.8064200000000001</c:v>
                </c:pt>
                <c:pt idx="416">
                  <c:v>3.03383</c:v>
                </c:pt>
                <c:pt idx="417">
                  <c:v>#N/A</c:v>
                </c:pt>
                <c:pt idx="418">
                  <c:v>3.1256900000000001</c:v>
                </c:pt>
                <c:pt idx="419">
                  <c:v>3.51573</c:v>
                </c:pt>
                <c:pt idx="420">
                  <c:v>#N/A</c:v>
                </c:pt>
                <c:pt idx="421">
                  <c:v>2.9252699999999998</c:v>
                </c:pt>
                <c:pt idx="422">
                  <c:v>2.4103400000000001</c:v>
                </c:pt>
                <c:pt idx="423">
                  <c:v>2.4432299999999998</c:v>
                </c:pt>
                <c:pt idx="424">
                  <c:v>#N/A</c:v>
                </c:pt>
                <c:pt idx="425">
                  <c:v>1.9235899999999999</c:v>
                </c:pt>
                <c:pt idx="426">
                  <c:v>2.6512500000000001</c:v>
                </c:pt>
                <c:pt idx="427">
                  <c:v>2.9455</c:v>
                </c:pt>
                <c:pt idx="428">
                  <c:v>#N/A</c:v>
                </c:pt>
                <c:pt idx="429">
                  <c:v>3.3782100000000002</c:v>
                </c:pt>
                <c:pt idx="430">
                  <c:v>3.5728800000000001</c:v>
                </c:pt>
                <c:pt idx="431">
                  <c:v>3.2658299999999998</c:v>
                </c:pt>
                <c:pt idx="432">
                  <c:v>#N/A</c:v>
                </c:pt>
                <c:pt idx="433">
                  <c:v>2.92564</c:v>
                </c:pt>
                <c:pt idx="434">
                  <c:v>1.90103</c:v>
                </c:pt>
                <c:pt idx="435">
                  <c:v>1.9613700000000001</c:v>
                </c:pt>
                <c:pt idx="436">
                  <c:v>#N/A</c:v>
                </c:pt>
                <c:pt idx="437">
                  <c:v>2.4702799999999998</c:v>
                </c:pt>
                <c:pt idx="438">
                  <c:v>2.5288300000000001</c:v>
                </c:pt>
                <c:pt idx="439">
                  <c:v>#N/A</c:v>
                </c:pt>
                <c:pt idx="440">
                  <c:v>3.3764099999999999</c:v>
                </c:pt>
                <c:pt idx="441">
                  <c:v>3.8487800000000001</c:v>
                </c:pt>
                <c:pt idx="442">
                  <c:v>3.26241</c:v>
                </c:pt>
                <c:pt idx="443">
                  <c:v>#N/A</c:v>
                </c:pt>
                <c:pt idx="444">
                  <c:v>3.16893</c:v>
                </c:pt>
                <c:pt idx="445">
                  <c:v>2.4701300000000002</c:v>
                </c:pt>
                <c:pt idx="446">
                  <c:v>1.87097</c:v>
                </c:pt>
                <c:pt idx="447">
                  <c:v>#N/A</c:v>
                </c:pt>
                <c:pt idx="448">
                  <c:v>2.1840899999999999</c:v>
                </c:pt>
                <c:pt idx="449">
                  <c:v>#N/A</c:v>
                </c:pt>
                <c:pt idx="450">
                  <c:v>3.14514</c:v>
                </c:pt>
                <c:pt idx="451">
                  <c:v>3.18567</c:v>
                </c:pt>
                <c:pt idx="452">
                  <c:v>#N/A</c:v>
                </c:pt>
                <c:pt idx="453">
                  <c:v>3.8125499999999999</c:v>
                </c:pt>
                <c:pt idx="454">
                  <c:v>3.7773300000000001</c:v>
                </c:pt>
                <c:pt idx="455">
                  <c:v>2.5777100000000002</c:v>
                </c:pt>
                <c:pt idx="456">
                  <c:v>#N/A</c:v>
                </c:pt>
                <c:pt idx="457">
                  <c:v>2.4866199999999998</c:v>
                </c:pt>
                <c:pt idx="458">
                  <c:v>2.3064800000000001</c:v>
                </c:pt>
                <c:pt idx="459">
                  <c:v>#N/A</c:v>
                </c:pt>
                <c:pt idx="460">
                  <c:v>1.9702900000000001</c:v>
                </c:pt>
                <c:pt idx="461">
                  <c:v>2.6381399999999999</c:v>
                </c:pt>
                <c:pt idx="462">
                  <c:v>2.9224899999999998</c:v>
                </c:pt>
                <c:pt idx="463">
                  <c:v>#N/A</c:v>
                </c:pt>
                <c:pt idx="464">
                  <c:v>3.14255</c:v>
                </c:pt>
                <c:pt idx="465">
                  <c:v>2.8463699999999998</c:v>
                </c:pt>
                <c:pt idx="466">
                  <c:v>3.0350199999999998</c:v>
                </c:pt>
                <c:pt idx="467">
                  <c:v>#N/A</c:v>
                </c:pt>
                <c:pt idx="468">
                  <c:v>2.7719900000000002</c:v>
                </c:pt>
                <c:pt idx="469">
                  <c:v>2.5840000000000001</c:v>
                </c:pt>
                <c:pt idx="470">
                  <c:v>2.7481300000000002</c:v>
                </c:pt>
                <c:pt idx="471">
                  <c:v>#N/A</c:v>
                </c:pt>
                <c:pt idx="472">
                  <c:v>3.0682800000000001</c:v>
                </c:pt>
                <c:pt idx="473">
                  <c:v>3.0771999999999999</c:v>
                </c:pt>
                <c:pt idx="474">
                  <c:v>3.25928</c:v>
                </c:pt>
                <c:pt idx="475">
                  <c:v>#N/A</c:v>
                </c:pt>
                <c:pt idx="476">
                  <c:v>2.8348399999999998</c:v>
                </c:pt>
                <c:pt idx="477">
                  <c:v>2.4497100000000001</c:v>
                </c:pt>
                <c:pt idx="478">
                  <c:v>2.82796</c:v>
                </c:pt>
                <c:pt idx="479">
                  <c:v>#N/A</c:v>
                </c:pt>
                <c:pt idx="480">
                  <c:v>2.9161999999999999</c:v>
                </c:pt>
                <c:pt idx="481">
                  <c:v>2.6599200000000001</c:v>
                </c:pt>
                <c:pt idx="482">
                  <c:v>2.6859299999999999</c:v>
                </c:pt>
                <c:pt idx="483">
                  <c:v>#N/A</c:v>
                </c:pt>
                <c:pt idx="484">
                  <c:v>3.1434700000000002</c:v>
                </c:pt>
                <c:pt idx="485">
                  <c:v>2.1984499999999998</c:v>
                </c:pt>
                <c:pt idx="486">
                  <c:v>1.23749</c:v>
                </c:pt>
                <c:pt idx="487">
                  <c:v>#N/A</c:v>
                </c:pt>
                <c:pt idx="488">
                  <c:v>1.7418800000000001</c:v>
                </c:pt>
                <c:pt idx="489">
                  <c:v>2.0636700000000001</c:v>
                </c:pt>
                <c:pt idx="490">
                  <c:v>#N/A</c:v>
                </c:pt>
                <c:pt idx="491">
                  <c:v>2.7167699999999999</c:v>
                </c:pt>
                <c:pt idx="492">
                  <c:v>3.4528699999999999</c:v>
                </c:pt>
                <c:pt idx="493">
                  <c:v>3.2885499999999999</c:v>
                </c:pt>
                <c:pt idx="494">
                  <c:v>#N/A</c:v>
                </c:pt>
                <c:pt idx="495">
                  <c:v>2.67319</c:v>
                </c:pt>
                <c:pt idx="496">
                  <c:v>2.5285099999999998</c:v>
                </c:pt>
                <c:pt idx="497">
                  <c:v>1.76674</c:v>
                </c:pt>
                <c:pt idx="498">
                  <c:v>#N/A</c:v>
                </c:pt>
                <c:pt idx="499">
                  <c:v>1.7437</c:v>
                </c:pt>
                <c:pt idx="500">
                  <c:v>2.3501099999999999</c:v>
                </c:pt>
                <c:pt idx="501">
                  <c:v>3.4380700000000002</c:v>
                </c:pt>
                <c:pt idx="502">
                  <c:v>#N/A</c:v>
                </c:pt>
                <c:pt idx="503">
                  <c:v>3.4205700000000001</c:v>
                </c:pt>
                <c:pt idx="504">
                  <c:v>3.2995800000000002</c:v>
                </c:pt>
                <c:pt idx="505">
                  <c:v>3.01796</c:v>
                </c:pt>
                <c:pt idx="506">
                  <c:v>#N/A</c:v>
                </c:pt>
                <c:pt idx="507">
                  <c:v>2.6329099999999999</c:v>
                </c:pt>
                <c:pt idx="508">
                  <c:v>2.4216099999999998</c:v>
                </c:pt>
                <c:pt idx="509">
                  <c:v>2.2617099999999999</c:v>
                </c:pt>
                <c:pt idx="510">
                  <c:v>#N/A</c:v>
                </c:pt>
                <c:pt idx="511">
                  <c:v>1.90144</c:v>
                </c:pt>
                <c:pt idx="512">
                  <c:v>2.6536499999999998</c:v>
                </c:pt>
                <c:pt idx="513">
                  <c:v>3.6488900000000002</c:v>
                </c:pt>
                <c:pt idx="514">
                  <c:v>#N/A</c:v>
                </c:pt>
                <c:pt idx="515">
                  <c:v>3.8829799999999999</c:v>
                </c:pt>
                <c:pt idx="516">
                  <c:v>3.42401</c:v>
                </c:pt>
                <c:pt idx="517">
                  <c:v>2.6940400000000002</c:v>
                </c:pt>
                <c:pt idx="518">
                  <c:v>#N/A</c:v>
                </c:pt>
                <c:pt idx="519">
                  <c:v>2.3530799999999998</c:v>
                </c:pt>
                <c:pt idx="520">
                  <c:v>1.99735</c:v>
                </c:pt>
                <c:pt idx="521">
                  <c:v>#N/A</c:v>
                </c:pt>
                <c:pt idx="522">
                  <c:v>2.4994800000000001</c:v>
                </c:pt>
                <c:pt idx="523">
                  <c:v>2.8467500000000001</c:v>
                </c:pt>
                <c:pt idx="524">
                  <c:v>#N/A</c:v>
                </c:pt>
                <c:pt idx="525">
                  <c:v>2.4845299999999999</c:v>
                </c:pt>
                <c:pt idx="526">
                  <c:v>3.1607799999999999</c:v>
                </c:pt>
                <c:pt idx="527">
                  <c:v>3.2605300000000002</c:v>
                </c:pt>
                <c:pt idx="528">
                  <c:v>#N/A</c:v>
                </c:pt>
                <c:pt idx="529">
                  <c:v>2.3100700000000001</c:v>
                </c:pt>
                <c:pt idx="530">
                  <c:v>2.6295700000000002</c:v>
                </c:pt>
                <c:pt idx="531">
                  <c:v>#N/A</c:v>
                </c:pt>
                <c:pt idx="532">
                  <c:v>2.3347600000000002</c:v>
                </c:pt>
                <c:pt idx="533">
                  <c:v>2.4810699999999999</c:v>
                </c:pt>
                <c:pt idx="534">
                  <c:v>3.1623700000000001</c:v>
                </c:pt>
                <c:pt idx="535">
                  <c:v>#N/A</c:v>
                </c:pt>
                <c:pt idx="536">
                  <c:v>3.3365499999999999</c:v>
                </c:pt>
                <c:pt idx="537">
                  <c:v>3.2206299999999999</c:v>
                </c:pt>
                <c:pt idx="538">
                  <c:v>3.30172</c:v>
                </c:pt>
                <c:pt idx="539">
                  <c:v>#N/A</c:v>
                </c:pt>
                <c:pt idx="540">
                  <c:v>2.93615</c:v>
                </c:pt>
                <c:pt idx="541">
                  <c:v>2.9480400000000002</c:v>
                </c:pt>
                <c:pt idx="542">
                  <c:v>3.6212200000000001</c:v>
                </c:pt>
                <c:pt idx="543">
                  <c:v>#N/A</c:v>
                </c:pt>
                <c:pt idx="544">
                  <c:v>3.8742999999999999</c:v>
                </c:pt>
                <c:pt idx="545">
                  <c:v>3.9484300000000001</c:v>
                </c:pt>
                <c:pt idx="546">
                  <c:v>4.0283600000000002</c:v>
                </c:pt>
                <c:pt idx="547">
                  <c:v>#N/A</c:v>
                </c:pt>
                <c:pt idx="548">
                  <c:v>3.8044199999999999</c:v>
                </c:pt>
                <c:pt idx="549">
                  <c:v>2.7567400000000002</c:v>
                </c:pt>
                <c:pt idx="550">
                  <c:v>#N/A</c:v>
                </c:pt>
                <c:pt idx="551">
                  <c:v>2.4497300000000002</c:v>
                </c:pt>
                <c:pt idx="552">
                  <c:v>2.2700200000000001</c:v>
                </c:pt>
                <c:pt idx="553">
                  <c:v>2.6256300000000001</c:v>
                </c:pt>
                <c:pt idx="554">
                  <c:v>#N/A</c:v>
                </c:pt>
                <c:pt idx="555">
                  <c:v>2.8315600000000001</c:v>
                </c:pt>
                <c:pt idx="556">
                  <c:v>3.17842</c:v>
                </c:pt>
                <c:pt idx="557">
                  <c:v>3.0720399999999999</c:v>
                </c:pt>
                <c:pt idx="558">
                  <c:v>#N/A</c:v>
                </c:pt>
                <c:pt idx="559">
                  <c:v>2.6096699999999999</c:v>
                </c:pt>
                <c:pt idx="560">
                  <c:v>1.51623</c:v>
                </c:pt>
                <c:pt idx="561">
                  <c:v>1.4911000000000001</c:v>
                </c:pt>
                <c:pt idx="562">
                  <c:v>#N/A</c:v>
                </c:pt>
                <c:pt idx="563">
                  <c:v>2.16113</c:v>
                </c:pt>
                <c:pt idx="564">
                  <c:v>2.6173999999999999</c:v>
                </c:pt>
                <c:pt idx="565">
                  <c:v>3.1413500000000001</c:v>
                </c:pt>
                <c:pt idx="566">
                  <c:v>#N/A</c:v>
                </c:pt>
                <c:pt idx="567">
                  <c:v>3.3001399999999999</c:v>
                </c:pt>
                <c:pt idx="568">
                  <c:v>2.8162799999999999</c:v>
                </c:pt>
                <c:pt idx="569">
                  <c:v>2.74891</c:v>
                </c:pt>
                <c:pt idx="570">
                  <c:v>#N/A</c:v>
                </c:pt>
                <c:pt idx="571">
                  <c:v>2.6541899999999998</c:v>
                </c:pt>
                <c:pt idx="572">
                  <c:v>2.6778200000000001</c:v>
                </c:pt>
                <c:pt idx="573">
                  <c:v>3.1176400000000002</c:v>
                </c:pt>
                <c:pt idx="574">
                  <c:v>#N/A</c:v>
                </c:pt>
                <c:pt idx="575">
                  <c:v>3.7168999999999999</c:v>
                </c:pt>
                <c:pt idx="576">
                  <c:v>3.9824299999999999</c:v>
                </c:pt>
                <c:pt idx="577">
                  <c:v>3.9318300000000002</c:v>
                </c:pt>
                <c:pt idx="578">
                  <c:v>#N/A</c:v>
                </c:pt>
                <c:pt idx="579">
                  <c:v>3.7006399999999999</c:v>
                </c:pt>
                <c:pt idx="580">
                  <c:v>3.35791</c:v>
                </c:pt>
                <c:pt idx="581">
                  <c:v>#N/A</c:v>
                </c:pt>
                <c:pt idx="582">
                  <c:v>2.3890699999999998</c:v>
                </c:pt>
                <c:pt idx="583">
                  <c:v>2.6180699999999999</c:v>
                </c:pt>
                <c:pt idx="584">
                  <c:v>2.5351599999999999</c:v>
                </c:pt>
                <c:pt idx="585">
                  <c:v>#N/A</c:v>
                </c:pt>
                <c:pt idx="586">
                  <c:v>2.8012199999999998</c:v>
                </c:pt>
                <c:pt idx="587">
                  <c:v>3.2313399999999999</c:v>
                </c:pt>
                <c:pt idx="588">
                  <c:v>3.4990299999999999</c:v>
                </c:pt>
                <c:pt idx="589">
                  <c:v>#N/A</c:v>
                </c:pt>
                <c:pt idx="590">
                  <c:v>2.9522599999999999</c:v>
                </c:pt>
                <c:pt idx="591">
                  <c:v>2.3762699999999999</c:v>
                </c:pt>
                <c:pt idx="592">
                  <c:v>2.27183</c:v>
                </c:pt>
                <c:pt idx="593">
                  <c:v>#N/A</c:v>
                </c:pt>
                <c:pt idx="594">
                  <c:v>2.4158200000000001</c:v>
                </c:pt>
                <c:pt idx="595">
                  <c:v>2.9650699999999999</c:v>
                </c:pt>
                <c:pt idx="596">
                  <c:v>3.5193599999999998</c:v>
                </c:pt>
                <c:pt idx="597">
                  <c:v>#N/A</c:v>
                </c:pt>
                <c:pt idx="598">
                  <c:v>#N/A</c:v>
                </c:pt>
                <c:pt idx="599">
                  <c:v>3.8583500000000002</c:v>
                </c:pt>
                <c:pt idx="600">
                  <c:v>3.5773700000000002</c:v>
                </c:pt>
                <c:pt idx="601">
                  <c:v>2.5348799999999998</c:v>
                </c:pt>
                <c:pt idx="602">
                  <c:v>#N/A</c:v>
                </c:pt>
                <c:pt idx="603">
                  <c:v>#N/A</c:v>
                </c:pt>
                <c:pt idx="604">
                  <c:v>2.9508200000000002</c:v>
                </c:pt>
                <c:pt idx="605">
                  <c:v>#N/A</c:v>
                </c:pt>
                <c:pt idx="606">
                  <c:v>2.9925799999999998</c:v>
                </c:pt>
                <c:pt idx="607">
                  <c:v>3.4635400000000001</c:v>
                </c:pt>
                <c:pt idx="608">
                  <c:v>3.6316700000000002</c:v>
                </c:pt>
                <c:pt idx="609">
                  <c:v>#N/A</c:v>
                </c:pt>
                <c:pt idx="610">
                  <c:v>3.8858000000000001</c:v>
                </c:pt>
                <c:pt idx="611">
                  <c:v>3.1724299999999999</c:v>
                </c:pt>
                <c:pt idx="612">
                  <c:v>2.9736799999999999</c:v>
                </c:pt>
                <c:pt idx="613">
                  <c:v>#N/A</c:v>
                </c:pt>
                <c:pt idx="614">
                  <c:v>2.8480300000000001</c:v>
                </c:pt>
                <c:pt idx="615">
                  <c:v>2.8646400000000001</c:v>
                </c:pt>
                <c:pt idx="616">
                  <c:v>3.2410199999999998</c:v>
                </c:pt>
                <c:pt idx="617">
                  <c:v>#N/A</c:v>
                </c:pt>
                <c:pt idx="618">
                  <c:v>4.0461600000000004</c:v>
                </c:pt>
                <c:pt idx="619">
                  <c:v>3.94068</c:v>
                </c:pt>
                <c:pt idx="620">
                  <c:v>4.1586699999999999</c:v>
                </c:pt>
                <c:pt idx="621">
                  <c:v>#N/A</c:v>
                </c:pt>
                <c:pt idx="622">
                  <c:v>4.1315299999999997</c:v>
                </c:pt>
                <c:pt idx="623">
                  <c:v>3.4874100000000001</c:v>
                </c:pt>
                <c:pt idx="624">
                  <c:v>2.9865400000000002</c:v>
                </c:pt>
                <c:pt idx="625">
                  <c:v>#N/A</c:v>
                </c:pt>
                <c:pt idx="626">
                  <c:v>2.7360899999999999</c:v>
                </c:pt>
                <c:pt idx="627">
                  <c:v>3.7932100000000002</c:v>
                </c:pt>
                <c:pt idx="628">
                  <c:v>#N/A</c:v>
                </c:pt>
                <c:pt idx="629">
                  <c:v>3.5279600000000002</c:v>
                </c:pt>
                <c:pt idx="630">
                  <c:v>3.1414900000000001</c:v>
                </c:pt>
                <c:pt idx="631">
                  <c:v>3.37371</c:v>
                </c:pt>
                <c:pt idx="632">
                  <c:v>#N/A</c:v>
                </c:pt>
                <c:pt idx="633">
                  <c:v>3.5530499999999998</c:v>
                </c:pt>
                <c:pt idx="634">
                  <c:v>3.0058799999999999</c:v>
                </c:pt>
                <c:pt idx="635">
                  <c:v>3.6024500000000002</c:v>
                </c:pt>
                <c:pt idx="636">
                  <c:v>#N/A</c:v>
                </c:pt>
                <c:pt idx="637">
                  <c:v>3.38747</c:v>
                </c:pt>
                <c:pt idx="638">
                  <c:v>3.58962</c:v>
                </c:pt>
                <c:pt idx="639">
                  <c:v>3.6282700000000001</c:v>
                </c:pt>
                <c:pt idx="640">
                  <c:v>#N/A</c:v>
                </c:pt>
                <c:pt idx="641">
                  <c:v>4.1123200000000004</c:v>
                </c:pt>
                <c:pt idx="642">
                  <c:v>3.5125000000000002</c:v>
                </c:pt>
                <c:pt idx="643">
                  <c:v>2.7036600000000002</c:v>
                </c:pt>
                <c:pt idx="644">
                  <c:v>#N/A</c:v>
                </c:pt>
                <c:pt idx="645">
                  <c:v>3.2038099999999998</c:v>
                </c:pt>
                <c:pt idx="646">
                  <c:v>3.2908499999999998</c:v>
                </c:pt>
                <c:pt idx="647">
                  <c:v>3.9590800000000002</c:v>
                </c:pt>
                <c:pt idx="648">
                  <c:v>#N/A</c:v>
                </c:pt>
                <c:pt idx="649">
                  <c:v>3.9295300000000002</c:v>
                </c:pt>
                <c:pt idx="650">
                  <c:v>3.7022400000000002</c:v>
                </c:pt>
                <c:pt idx="651">
                  <c:v>3.32287</c:v>
                </c:pt>
                <c:pt idx="652">
                  <c:v>#N/A</c:v>
                </c:pt>
                <c:pt idx="653">
                  <c:v>3.37236</c:v>
                </c:pt>
                <c:pt idx="654">
                  <c:v>2.5028000000000001</c:v>
                </c:pt>
                <c:pt idx="655">
                  <c:v>#N/A</c:v>
                </c:pt>
                <c:pt idx="656">
                  <c:v>2.3913700000000002</c:v>
                </c:pt>
                <c:pt idx="657">
                  <c:v>2.7475499999999999</c:v>
                </c:pt>
                <c:pt idx="658">
                  <c:v>3.5753499999999998</c:v>
                </c:pt>
                <c:pt idx="659">
                  <c:v>#N/A</c:v>
                </c:pt>
                <c:pt idx="660">
                  <c:v>4.8820100000000002</c:v>
                </c:pt>
                <c:pt idx="661">
                  <c:v>4.2544199999999996</c:v>
                </c:pt>
                <c:pt idx="662">
                  <c:v>3.9081899999999998</c:v>
                </c:pt>
                <c:pt idx="663">
                  <c:v>#N/A</c:v>
                </c:pt>
                <c:pt idx="664">
                  <c:v>3.00122</c:v>
                </c:pt>
                <c:pt idx="665">
                  <c:v>2.21245</c:v>
                </c:pt>
                <c:pt idx="666">
                  <c:v>2.4160300000000001</c:v>
                </c:pt>
                <c:pt idx="667">
                  <c:v>#N/A</c:v>
                </c:pt>
                <c:pt idx="668">
                  <c:v>2.7860200000000002</c:v>
                </c:pt>
                <c:pt idx="669">
                  <c:v>3.4089200000000002</c:v>
                </c:pt>
                <c:pt idx="670">
                  <c:v>3.86633</c:v>
                </c:pt>
                <c:pt idx="671">
                  <c:v>#N/A</c:v>
                </c:pt>
                <c:pt idx="672">
                  <c:v>3.8534899999999999</c:v>
                </c:pt>
                <c:pt idx="673">
                  <c:v>#N/A</c:v>
                </c:pt>
                <c:pt idx="674">
                  <c:v>3.4805999999999999</c:v>
                </c:pt>
                <c:pt idx="675">
                  <c:v>3.1825399999999999</c:v>
                </c:pt>
                <c:pt idx="676">
                  <c:v>#N/A</c:v>
                </c:pt>
                <c:pt idx="677">
                  <c:v>2.5844900000000002</c:v>
                </c:pt>
                <c:pt idx="678">
                  <c:v>2.7704</c:v>
                </c:pt>
                <c:pt idx="679">
                  <c:v>#N/A</c:v>
                </c:pt>
                <c:pt idx="680">
                  <c:v>2.9147799999999999</c:v>
                </c:pt>
                <c:pt idx="681">
                  <c:v>3.76431</c:v>
                </c:pt>
                <c:pt idx="682">
                  <c:v>3.8344800000000001</c:v>
                </c:pt>
                <c:pt idx="683">
                  <c:v>#N/A</c:v>
                </c:pt>
                <c:pt idx="684">
                  <c:v>3.8298399999999999</c:v>
                </c:pt>
                <c:pt idx="685">
                  <c:v>3.1274999999999999</c:v>
                </c:pt>
                <c:pt idx="686">
                  <c:v>3.3084099999999999</c:v>
                </c:pt>
                <c:pt idx="687">
                  <c:v>#N/A</c:v>
                </c:pt>
                <c:pt idx="688">
                  <c:v>3.0081699999999998</c:v>
                </c:pt>
                <c:pt idx="689">
                  <c:v>2.8210600000000001</c:v>
                </c:pt>
                <c:pt idx="690">
                  <c:v>#N/A</c:v>
                </c:pt>
                <c:pt idx="691">
                  <c:v>2.7261700000000002</c:v>
                </c:pt>
                <c:pt idx="692">
                  <c:v>2.82857</c:v>
                </c:pt>
                <c:pt idx="693">
                  <c:v>2.7448299999999999</c:v>
                </c:pt>
                <c:pt idx="694">
                  <c:v>#N/A</c:v>
                </c:pt>
                <c:pt idx="695">
                  <c:v>3.0977899999999998</c:v>
                </c:pt>
                <c:pt idx="696">
                  <c:v>3.23393</c:v>
                </c:pt>
                <c:pt idx="697">
                  <c:v>2.8143500000000001</c:v>
                </c:pt>
                <c:pt idx="698">
                  <c:v>#N/A</c:v>
                </c:pt>
                <c:pt idx="699">
                  <c:v>3.01993</c:v>
                </c:pt>
                <c:pt idx="700">
                  <c:v>3.6408200000000002</c:v>
                </c:pt>
                <c:pt idx="701">
                  <c:v>3.8620000000000001</c:v>
                </c:pt>
                <c:pt idx="702">
                  <c:v>#N/A</c:v>
                </c:pt>
                <c:pt idx="703">
                  <c:v>3.9313699999999998</c:v>
                </c:pt>
                <c:pt idx="704">
                  <c:v>3.5428799999999998</c:v>
                </c:pt>
                <c:pt idx="705">
                  <c:v>3.1970100000000001</c:v>
                </c:pt>
                <c:pt idx="706">
                  <c:v>#N/A</c:v>
                </c:pt>
                <c:pt idx="707">
                  <c:v>3.3080400000000001</c:v>
                </c:pt>
                <c:pt idx="708">
                  <c:v>3.0379499999999999</c:v>
                </c:pt>
                <c:pt idx="709">
                  <c:v>3.2336</c:v>
                </c:pt>
                <c:pt idx="710">
                  <c:v>#N/A</c:v>
                </c:pt>
                <c:pt idx="711">
                  <c:v>3.48773</c:v>
                </c:pt>
                <c:pt idx="712">
                  <c:v>3.99987</c:v>
                </c:pt>
                <c:pt idx="713">
                  <c:v>3.52752</c:v>
                </c:pt>
                <c:pt idx="714">
                  <c:v>#N/A</c:v>
                </c:pt>
                <c:pt idx="715">
                  <c:v>3.1526399999999999</c:v>
                </c:pt>
                <c:pt idx="716">
                  <c:v>2.2215400000000001</c:v>
                </c:pt>
                <c:pt idx="717">
                  <c:v>#N/A</c:v>
                </c:pt>
                <c:pt idx="718">
                  <c:v>2.8237999999999999</c:v>
                </c:pt>
                <c:pt idx="719">
                  <c:v>2.7089400000000001</c:v>
                </c:pt>
                <c:pt idx="720">
                  <c:v>3.3560099999999999</c:v>
                </c:pt>
                <c:pt idx="721">
                  <c:v>#N/A</c:v>
                </c:pt>
                <c:pt idx="722">
                  <c:v>3.9056000000000002</c:v>
                </c:pt>
                <c:pt idx="723">
                  <c:v>4.0201599999999997</c:v>
                </c:pt>
                <c:pt idx="724">
                  <c:v>4.1363099999999999</c:v>
                </c:pt>
                <c:pt idx="725">
                  <c:v>#N/A</c:v>
                </c:pt>
                <c:pt idx="726">
                  <c:v>4.4702000000000002</c:v>
                </c:pt>
                <c:pt idx="727">
                  <c:v>3.83982</c:v>
                </c:pt>
                <c:pt idx="728">
                  <c:v>#N/A</c:v>
                </c:pt>
                <c:pt idx="729">
                  <c:v>3.34721</c:v>
                </c:pt>
                <c:pt idx="730">
                  <c:v>3.2837200000000002</c:v>
                </c:pt>
                <c:pt idx="731">
                  <c:v>3.8914300000000002</c:v>
                </c:pt>
                <c:pt idx="732">
                  <c:v>#N/A</c:v>
                </c:pt>
                <c:pt idx="733">
                  <c:v>3.96618</c:v>
                </c:pt>
                <c:pt idx="734">
                  <c:v>3.7058</c:v>
                </c:pt>
                <c:pt idx="735">
                  <c:v>3.9944899999999999</c:v>
                </c:pt>
                <c:pt idx="736">
                  <c:v>#N/A</c:v>
                </c:pt>
                <c:pt idx="737">
                  <c:v>3.4227699999999999</c:v>
                </c:pt>
                <c:pt idx="738">
                  <c:v>3.05342</c:v>
                </c:pt>
                <c:pt idx="739">
                  <c:v>2.9526699999999999</c:v>
                </c:pt>
                <c:pt idx="740">
                  <c:v>#N/A</c:v>
                </c:pt>
                <c:pt idx="741">
                  <c:v>3.2159200000000001</c:v>
                </c:pt>
                <c:pt idx="742">
                  <c:v>3.6455600000000001</c:v>
                </c:pt>
                <c:pt idx="743">
                  <c:v>4.3958199999999996</c:v>
                </c:pt>
                <c:pt idx="744">
                  <c:v>#N/A</c:v>
                </c:pt>
                <c:pt idx="745">
                  <c:v>4.3703000000000003</c:v>
                </c:pt>
                <c:pt idx="746">
                  <c:v>3.8473099999999998</c:v>
                </c:pt>
                <c:pt idx="747">
                  <c:v>3.0577000000000001</c:v>
                </c:pt>
                <c:pt idx="748">
                  <c:v>#N/A</c:v>
                </c:pt>
                <c:pt idx="749">
                  <c:v>3.0884999999999998</c:v>
                </c:pt>
                <c:pt idx="750">
                  <c:v>#N/A</c:v>
                </c:pt>
                <c:pt idx="751">
                  <c:v>3.2510500000000002</c:v>
                </c:pt>
                <c:pt idx="752">
                  <c:v>3.6718199999999999</c:v>
                </c:pt>
                <c:pt idx="753">
                  <c:v>#N/A</c:v>
                </c:pt>
                <c:pt idx="754">
                  <c:v>3.73678</c:v>
                </c:pt>
                <c:pt idx="755">
                  <c:v>3.9668100000000002</c:v>
                </c:pt>
                <c:pt idx="756">
                  <c:v>4.3696000000000002</c:v>
                </c:pt>
                <c:pt idx="757">
                  <c:v>#N/A</c:v>
                </c:pt>
                <c:pt idx="758">
                  <c:v>4.3388400000000003</c:v>
                </c:pt>
                <c:pt idx="759">
                  <c:v>3.3314699999999999</c:v>
                </c:pt>
                <c:pt idx="760">
                  <c:v>#N/A</c:v>
                </c:pt>
                <c:pt idx="761">
                  <c:v>3.3588499999999999</c:v>
                </c:pt>
                <c:pt idx="762">
                  <c:v>3.1846000000000001</c:v>
                </c:pt>
                <c:pt idx="763">
                  <c:v>3.96882</c:v>
                </c:pt>
                <c:pt idx="764">
                  <c:v>#N/A</c:v>
                </c:pt>
                <c:pt idx="765">
                  <c:v>4.5041700000000002</c:v>
                </c:pt>
                <c:pt idx="766">
                  <c:v>4.64567</c:v>
                </c:pt>
                <c:pt idx="767">
                  <c:v>5.1151499999999999</c:v>
                </c:pt>
                <c:pt idx="768">
                  <c:v>#N/A</c:v>
                </c:pt>
                <c:pt idx="769">
                  <c:v>4.3219200000000004</c:v>
                </c:pt>
                <c:pt idx="770">
                  <c:v>4.0559599999999998</c:v>
                </c:pt>
                <c:pt idx="771">
                  <c:v>4.2868399999999998</c:v>
                </c:pt>
                <c:pt idx="772">
                  <c:v>#N/A</c:v>
                </c:pt>
                <c:pt idx="773">
                  <c:v>4.0808999999999997</c:v>
                </c:pt>
                <c:pt idx="774">
                  <c:v>4.3402599999999998</c:v>
                </c:pt>
                <c:pt idx="775">
                  <c:v>4.34924</c:v>
                </c:pt>
                <c:pt idx="776">
                  <c:v>#N/A</c:v>
                </c:pt>
                <c:pt idx="777">
                  <c:v>3.9586399999999999</c:v>
                </c:pt>
                <c:pt idx="778">
                  <c:v>3.9232300000000002</c:v>
                </c:pt>
                <c:pt idx="779">
                  <c:v>3.61293</c:v>
                </c:pt>
                <c:pt idx="780">
                  <c:v>#N/A</c:v>
                </c:pt>
                <c:pt idx="781">
                  <c:v>3.77142</c:v>
                </c:pt>
                <c:pt idx="782">
                  <c:v>3.7811699999999999</c:v>
                </c:pt>
                <c:pt idx="783">
                  <c:v>4.1619799999999998</c:v>
                </c:pt>
                <c:pt idx="784">
                  <c:v>#N/A</c:v>
                </c:pt>
                <c:pt idx="785">
                  <c:v>4.3683500000000004</c:v>
                </c:pt>
                <c:pt idx="786">
                  <c:v>4.5272100000000002</c:v>
                </c:pt>
                <c:pt idx="787">
                  <c:v>4.7845500000000003</c:v>
                </c:pt>
                <c:pt idx="788">
                  <c:v>#N/A</c:v>
                </c:pt>
                <c:pt idx="789">
                  <c:v>4.0780900000000004</c:v>
                </c:pt>
                <c:pt idx="790">
                  <c:v>3.66405</c:v>
                </c:pt>
                <c:pt idx="791">
                  <c:v>#N/A</c:v>
                </c:pt>
                <c:pt idx="792">
                  <c:v>4.33148</c:v>
                </c:pt>
                <c:pt idx="793">
                  <c:v>4.4552399999999999</c:v>
                </c:pt>
                <c:pt idx="794">
                  <c:v>4.8089199999999996</c:v>
                </c:pt>
                <c:pt idx="795">
                  <c:v>#N/A</c:v>
                </c:pt>
                <c:pt idx="796">
                  <c:v>5.0510900000000003</c:v>
                </c:pt>
                <c:pt idx="797">
                  <c:v>4.4958099999999996</c:v>
                </c:pt>
                <c:pt idx="798">
                  <c:v>4.1275899999999996</c:v>
                </c:pt>
                <c:pt idx="799">
                  <c:v>#N/A</c:v>
                </c:pt>
                <c:pt idx="800">
                  <c:v>3.4544299999999999</c:v>
                </c:pt>
                <c:pt idx="801">
                  <c:v>3.5638700000000001</c:v>
                </c:pt>
                <c:pt idx="802">
                  <c:v>3.00657</c:v>
                </c:pt>
                <c:pt idx="803">
                  <c:v>#N/A</c:v>
                </c:pt>
                <c:pt idx="804">
                  <c:v>3.4015499999999999</c:v>
                </c:pt>
                <c:pt idx="805">
                  <c:v>4.6260199999999996</c:v>
                </c:pt>
                <c:pt idx="806">
                  <c:v>4.4375600000000004</c:v>
                </c:pt>
                <c:pt idx="807">
                  <c:v>#N/A</c:v>
                </c:pt>
                <c:pt idx="808">
                  <c:v>4.5264800000000003</c:v>
                </c:pt>
                <c:pt idx="809">
                  <c:v>4.19726</c:v>
                </c:pt>
                <c:pt idx="810">
                  <c:v>3.0686599999999999</c:v>
                </c:pt>
                <c:pt idx="811">
                  <c:v>#N/A</c:v>
                </c:pt>
                <c:pt idx="812">
                  <c:v>2.9889399999999999</c:v>
                </c:pt>
                <c:pt idx="813">
                  <c:v>3.1453000000000002</c:v>
                </c:pt>
                <c:pt idx="814">
                  <c:v>2.6695799999999998</c:v>
                </c:pt>
                <c:pt idx="815">
                  <c:v>#N/A</c:v>
                </c:pt>
                <c:pt idx="816">
                  <c:v>3.54996</c:v>
                </c:pt>
                <c:pt idx="817">
                  <c:v>4.6041299999999996</c:v>
                </c:pt>
                <c:pt idx="818">
                  <c:v>#N/A</c:v>
                </c:pt>
                <c:pt idx="819">
                  <c:v>5.0604500000000003</c:v>
                </c:pt>
                <c:pt idx="820">
                  <c:v>4.5468799999999998</c:v>
                </c:pt>
                <c:pt idx="821">
                  <c:v>3.6176900000000001</c:v>
                </c:pt>
                <c:pt idx="822">
                  <c:v>#N/A</c:v>
                </c:pt>
                <c:pt idx="823">
                  <c:v>3.2641200000000001</c:v>
                </c:pt>
                <c:pt idx="824">
                  <c:v>3.2798500000000002</c:v>
                </c:pt>
                <c:pt idx="825">
                  <c:v>#N/A</c:v>
                </c:pt>
                <c:pt idx="826">
                  <c:v>4.0153699999999999</c:v>
                </c:pt>
                <c:pt idx="827">
                  <c:v>#N/A</c:v>
                </c:pt>
                <c:pt idx="828">
                  <c:v>4.2308300000000001</c:v>
                </c:pt>
                <c:pt idx="829">
                  <c:v>4.6027699999999996</c:v>
                </c:pt>
                <c:pt idx="830">
                  <c:v>4.3631900000000003</c:v>
                </c:pt>
                <c:pt idx="831">
                  <c:v>#N/A</c:v>
                </c:pt>
                <c:pt idx="832">
                  <c:v>4.0091000000000001</c:v>
                </c:pt>
                <c:pt idx="833">
                  <c:v>3.4789699999999999</c:v>
                </c:pt>
                <c:pt idx="834">
                  <c:v>3.34192</c:v>
                </c:pt>
                <c:pt idx="835">
                  <c:v>#N/A</c:v>
                </c:pt>
                <c:pt idx="836">
                  <c:v>3.2217199999999999</c:v>
                </c:pt>
                <c:pt idx="837">
                  <c:v>3.5896499999999998</c:v>
                </c:pt>
                <c:pt idx="838">
                  <c:v>3.6358899999999998</c:v>
                </c:pt>
                <c:pt idx="839">
                  <c:v>#N/A</c:v>
                </c:pt>
                <c:pt idx="840">
                  <c:v>3.9056899999999999</c:v>
                </c:pt>
                <c:pt idx="841">
                  <c:v>3.3009599999999999</c:v>
                </c:pt>
                <c:pt idx="842">
                  <c:v>3.1485500000000002</c:v>
                </c:pt>
                <c:pt idx="843">
                  <c:v>#N/A</c:v>
                </c:pt>
                <c:pt idx="844">
                  <c:v>3.3819300000000001</c:v>
                </c:pt>
                <c:pt idx="845">
                  <c:v>3.0492400000000002</c:v>
                </c:pt>
                <c:pt idx="846">
                  <c:v>3.66737</c:v>
                </c:pt>
                <c:pt idx="847">
                  <c:v>#N/A</c:v>
                </c:pt>
                <c:pt idx="848">
                  <c:v>4.3231099999999998</c:v>
                </c:pt>
                <c:pt idx="849">
                  <c:v>3.8745400000000001</c:v>
                </c:pt>
                <c:pt idx="850">
                  <c:v>#N/A</c:v>
                </c:pt>
                <c:pt idx="851">
                  <c:v>3.44611</c:v>
                </c:pt>
                <c:pt idx="852">
                  <c:v>3.1721599999999999</c:v>
                </c:pt>
                <c:pt idx="853">
                  <c:v>3.4430399999999999</c:v>
                </c:pt>
                <c:pt idx="854">
                  <c:v>#N/A</c:v>
                </c:pt>
                <c:pt idx="855">
                  <c:v>3.40171</c:v>
                </c:pt>
                <c:pt idx="856">
                  <c:v>3.5146899999999999</c:v>
                </c:pt>
                <c:pt idx="857">
                  <c:v>3.6572800000000001</c:v>
                </c:pt>
                <c:pt idx="858">
                  <c:v>#N/A</c:v>
                </c:pt>
                <c:pt idx="859">
                  <c:v>3.9380899999999999</c:v>
                </c:pt>
                <c:pt idx="860">
                  <c:v>3.1929099999999999</c:v>
                </c:pt>
                <c:pt idx="861">
                  <c:v>3.6651500000000001</c:v>
                </c:pt>
                <c:pt idx="862">
                  <c:v>#N/A</c:v>
                </c:pt>
                <c:pt idx="863">
                  <c:v>2.76335</c:v>
                </c:pt>
                <c:pt idx="864">
                  <c:v>2.4054899999999999</c:v>
                </c:pt>
                <c:pt idx="865">
                  <c:v>2.74146</c:v>
                </c:pt>
                <c:pt idx="866">
                  <c:v>#N/A</c:v>
                </c:pt>
                <c:pt idx="867">
                  <c:v>3.1042900000000002</c:v>
                </c:pt>
                <c:pt idx="868">
                  <c:v>3.9735900000000002</c:v>
                </c:pt>
                <c:pt idx="869">
                  <c:v>#N/A</c:v>
                </c:pt>
                <c:pt idx="870">
                  <c:v>3.3258200000000002</c:v>
                </c:pt>
                <c:pt idx="871">
                  <c:v>3.89133</c:v>
                </c:pt>
                <c:pt idx="872">
                  <c:v>3.09361</c:v>
                </c:pt>
                <c:pt idx="873">
                  <c:v>#N/A</c:v>
                </c:pt>
                <c:pt idx="874">
                  <c:v>2.3079100000000001</c:v>
                </c:pt>
                <c:pt idx="875">
                  <c:v>1.9312400000000001</c:v>
                </c:pt>
                <c:pt idx="876">
                  <c:v>2.19164</c:v>
                </c:pt>
                <c:pt idx="877">
                  <c:v>#N/A</c:v>
                </c:pt>
                <c:pt idx="878">
                  <c:v>3.1627800000000001</c:v>
                </c:pt>
                <c:pt idx="879">
                  <c:v>4.10975</c:v>
                </c:pt>
                <c:pt idx="880">
                  <c:v>3.9432499999999999</c:v>
                </c:pt>
                <c:pt idx="881">
                  <c:v>#N/A</c:v>
                </c:pt>
                <c:pt idx="882">
                  <c:v>2.99193</c:v>
                </c:pt>
                <c:pt idx="883">
                  <c:v>2.6145399999999999</c:v>
                </c:pt>
                <c:pt idx="884">
                  <c:v>1.77518</c:v>
                </c:pt>
                <c:pt idx="885">
                  <c:v>#N/A</c:v>
                </c:pt>
                <c:pt idx="886">
                  <c:v>1.5254300000000001</c:v>
                </c:pt>
                <c:pt idx="887">
                  <c:v>2.1217999999999999</c:v>
                </c:pt>
                <c:pt idx="888">
                  <c:v>#N/A</c:v>
                </c:pt>
                <c:pt idx="889">
                  <c:v>2.9937</c:v>
                </c:pt>
                <c:pt idx="890">
                  <c:v>3.8771599999999999</c:v>
                </c:pt>
                <c:pt idx="891">
                  <c:v>3.87175</c:v>
                </c:pt>
                <c:pt idx="892">
                  <c:v>#N/A</c:v>
                </c:pt>
                <c:pt idx="893">
                  <c:v>3.6099299999999999</c:v>
                </c:pt>
                <c:pt idx="894">
                  <c:v>3.4435899999999999</c:v>
                </c:pt>
                <c:pt idx="895">
                  <c:v>2.8615499999999998</c:v>
                </c:pt>
                <c:pt idx="896">
                  <c:v>#N/A</c:v>
                </c:pt>
                <c:pt idx="897">
                  <c:v>2.8395700000000001</c:v>
                </c:pt>
                <c:pt idx="898">
                  <c:v>2.9478599999999999</c:v>
                </c:pt>
                <c:pt idx="899">
                  <c:v>#N/A</c:v>
                </c:pt>
                <c:pt idx="900">
                  <c:v>2.8764400000000001</c:v>
                </c:pt>
                <c:pt idx="901">
                  <c:v>#N/A</c:v>
                </c:pt>
                <c:pt idx="902">
                  <c:v>3.57328</c:v>
                </c:pt>
                <c:pt idx="903">
                  <c:v>3.40632</c:v>
                </c:pt>
                <c:pt idx="904">
                  <c:v>#N/A</c:v>
                </c:pt>
                <c:pt idx="905">
                  <c:v>2.63327</c:v>
                </c:pt>
                <c:pt idx="906">
                  <c:v>2.6516299999999999</c:v>
                </c:pt>
                <c:pt idx="907">
                  <c:v>2.56216</c:v>
                </c:pt>
                <c:pt idx="908">
                  <c:v>#N/A</c:v>
                </c:pt>
                <c:pt idx="909">
                  <c:v>2.9733800000000001</c:v>
                </c:pt>
                <c:pt idx="910">
                  <c:v>2.7109999999999999</c:v>
                </c:pt>
                <c:pt idx="911">
                  <c:v>3.0717099999999999</c:v>
                </c:pt>
                <c:pt idx="912">
                  <c:v>#N/A</c:v>
                </c:pt>
                <c:pt idx="913">
                  <c:v>3.2829999999999999</c:v>
                </c:pt>
                <c:pt idx="914">
                  <c:v>3.0628500000000001</c:v>
                </c:pt>
                <c:pt idx="915">
                  <c:v>#N/A</c:v>
                </c:pt>
                <c:pt idx="916">
                  <c:v>3.2426599999999999</c:v>
                </c:pt>
                <c:pt idx="917">
                  <c:v>2.55708</c:v>
                </c:pt>
                <c:pt idx="918">
                  <c:v>2.54128</c:v>
                </c:pt>
                <c:pt idx="919">
                  <c:v>#N/A</c:v>
                </c:pt>
                <c:pt idx="920">
                  <c:v>3.4137400000000002</c:v>
                </c:pt>
                <c:pt idx="921">
                  <c:v>3.0162200000000001</c:v>
                </c:pt>
                <c:pt idx="922">
                  <c:v>3.2837499999999999</c:v>
                </c:pt>
                <c:pt idx="923">
                  <c:v>#N/A</c:v>
                </c:pt>
                <c:pt idx="924">
                  <c:v>2.5864099999999999</c:v>
                </c:pt>
                <c:pt idx="925">
                  <c:v>2.6398199999999998</c:v>
                </c:pt>
                <c:pt idx="926">
                  <c:v>1.8038700000000001</c:v>
                </c:pt>
                <c:pt idx="927">
                  <c:v>#N/A</c:v>
                </c:pt>
                <c:pt idx="928">
                  <c:v>2.2315800000000001</c:v>
                </c:pt>
                <c:pt idx="929">
                  <c:v>2.6730800000000001</c:v>
                </c:pt>
                <c:pt idx="930">
                  <c:v>2.9184100000000002</c:v>
                </c:pt>
                <c:pt idx="931">
                  <c:v>#N/A</c:v>
                </c:pt>
                <c:pt idx="932">
                  <c:v>3.29298</c:v>
                </c:pt>
                <c:pt idx="933">
                  <c:v>3.43513</c:v>
                </c:pt>
                <c:pt idx="934">
                  <c:v>2.9689199999999998</c:v>
                </c:pt>
                <c:pt idx="935">
                  <c:v>#N/A</c:v>
                </c:pt>
                <c:pt idx="936">
                  <c:v>2.5300099999999999</c:v>
                </c:pt>
                <c:pt idx="937">
                  <c:v>2.0822699999999998</c:v>
                </c:pt>
                <c:pt idx="938">
                  <c:v>2.3742899999999998</c:v>
                </c:pt>
                <c:pt idx="939">
                  <c:v>#N/A</c:v>
                </c:pt>
                <c:pt idx="940">
                  <c:v>2.6493500000000001</c:v>
                </c:pt>
                <c:pt idx="941">
                  <c:v>3.0293399999999999</c:v>
                </c:pt>
                <c:pt idx="942">
                  <c:v>#N/A</c:v>
                </c:pt>
                <c:pt idx="943">
                  <c:v>2.84964</c:v>
                </c:pt>
                <c:pt idx="944">
                  <c:v>3.5048300000000001</c:v>
                </c:pt>
                <c:pt idx="945">
                  <c:v>3.1414599999999999</c:v>
                </c:pt>
                <c:pt idx="946">
                  <c:v>#N/A</c:v>
                </c:pt>
                <c:pt idx="947">
                  <c:v>2.0373100000000002</c:v>
                </c:pt>
                <c:pt idx="948">
                  <c:v>2.13978</c:v>
                </c:pt>
                <c:pt idx="949">
                  <c:v>2.3386999999999998</c:v>
                </c:pt>
                <c:pt idx="950">
                  <c:v>#N/A</c:v>
                </c:pt>
                <c:pt idx="951">
                  <c:v>3.2576399999999999</c:v>
                </c:pt>
                <c:pt idx="952">
                  <c:v>3.5610599999999999</c:v>
                </c:pt>
                <c:pt idx="953">
                  <c:v>3.8367800000000001</c:v>
                </c:pt>
                <c:pt idx="954">
                  <c:v>#N/A</c:v>
                </c:pt>
                <c:pt idx="955">
                  <c:v>2.6807099999999999</c:v>
                </c:pt>
                <c:pt idx="956">
                  <c:v>2.7619400000000001</c:v>
                </c:pt>
                <c:pt idx="957">
                  <c:v>2.3666499999999999</c:v>
                </c:pt>
                <c:pt idx="958">
                  <c:v>#N/A</c:v>
                </c:pt>
                <c:pt idx="959">
                  <c:v>1.9301999999999999</c:v>
                </c:pt>
                <c:pt idx="960">
                  <c:v>2.2791100000000002</c:v>
                </c:pt>
                <c:pt idx="961">
                  <c:v>2.3626</c:v>
                </c:pt>
                <c:pt idx="962">
                  <c:v>#N/A</c:v>
                </c:pt>
                <c:pt idx="963">
                  <c:v>2.7023600000000001</c:v>
                </c:pt>
                <c:pt idx="964">
                  <c:v>2.7421899999999999</c:v>
                </c:pt>
                <c:pt idx="965">
                  <c:v>2.3156400000000001</c:v>
                </c:pt>
                <c:pt idx="966">
                  <c:v>#N/A</c:v>
                </c:pt>
                <c:pt idx="967">
                  <c:v>2.5263</c:v>
                </c:pt>
                <c:pt idx="968">
                  <c:v>1.3636299999999999</c:v>
                </c:pt>
                <c:pt idx="969">
                  <c:v>1.1913499999999999</c:v>
                </c:pt>
                <c:pt idx="970">
                  <c:v>#N/A</c:v>
                </c:pt>
                <c:pt idx="971">
                  <c:v>1.38914</c:v>
                </c:pt>
                <c:pt idx="972">
                  <c:v>2.7233100000000001</c:v>
                </c:pt>
                <c:pt idx="973">
                  <c:v>#N/A</c:v>
                </c:pt>
                <c:pt idx="974">
                  <c:v>3.2963399999999998</c:v>
                </c:pt>
                <c:pt idx="975">
                  <c:v>#N/A</c:v>
                </c:pt>
                <c:pt idx="976">
                  <c:v>3.4655200000000002</c:v>
                </c:pt>
                <c:pt idx="977">
                  <c:v>#N/A</c:v>
                </c:pt>
                <c:pt idx="978">
                  <c:v>2.7502499999999999</c:v>
                </c:pt>
                <c:pt idx="979">
                  <c:v>2.4408099999999999</c:v>
                </c:pt>
                <c:pt idx="980">
                  <c:v>2.6456200000000001</c:v>
                </c:pt>
                <c:pt idx="981">
                  <c:v>#N/A</c:v>
                </c:pt>
                <c:pt idx="982">
                  <c:v>2.31582</c:v>
                </c:pt>
                <c:pt idx="983">
                  <c:v>2.7596400000000001</c:v>
                </c:pt>
                <c:pt idx="984">
                  <c:v>2.7937699999999999</c:v>
                </c:pt>
                <c:pt idx="985">
                  <c:v>#N/A</c:v>
                </c:pt>
                <c:pt idx="986">
                  <c:v>3.1482299999999999</c:v>
                </c:pt>
                <c:pt idx="987">
                  <c:v>2.5864500000000001</c:v>
                </c:pt>
                <c:pt idx="988">
                  <c:v>2.2435299999999998</c:v>
                </c:pt>
                <c:pt idx="989">
                  <c:v>#N/A</c:v>
                </c:pt>
                <c:pt idx="990">
                  <c:v>1.7051400000000001</c:v>
                </c:pt>
                <c:pt idx="991">
                  <c:v>1.6094200000000001</c:v>
                </c:pt>
                <c:pt idx="992">
                  <c:v>1.8740399999999999</c:v>
                </c:pt>
                <c:pt idx="993">
                  <c:v>#N/A</c:v>
                </c:pt>
                <c:pt idx="994">
                  <c:v>1.9297200000000001</c:v>
                </c:pt>
                <c:pt idx="995">
                  <c:v>2.3281100000000001</c:v>
                </c:pt>
                <c:pt idx="996">
                  <c:v>#N/A</c:v>
                </c:pt>
                <c:pt idx="997">
                  <c:v>1.9130499999999999</c:v>
                </c:pt>
                <c:pt idx="998">
                  <c:v>2.6010300000000002</c:v>
                </c:pt>
                <c:pt idx="999">
                  <c:v>2.65184</c:v>
                </c:pt>
                <c:pt idx="1000">
                  <c:v>#N/A</c:v>
                </c:pt>
                <c:pt idx="1001">
                  <c:v>2.4571999999999998</c:v>
                </c:pt>
                <c:pt idx="1002">
                  <c:v>2.5760999999999998</c:v>
                </c:pt>
                <c:pt idx="1003">
                  <c:v>2.8125499999999999</c:v>
                </c:pt>
                <c:pt idx="1004">
                  <c:v>#N/A</c:v>
                </c:pt>
                <c:pt idx="1005">
                  <c:v>2.77596</c:v>
                </c:pt>
                <c:pt idx="1006">
                  <c:v>2.742</c:v>
                </c:pt>
                <c:pt idx="1007">
                  <c:v>2.2719900000000002</c:v>
                </c:pt>
                <c:pt idx="1008">
                  <c:v>#N/A</c:v>
                </c:pt>
                <c:pt idx="1009">
                  <c:v>1.46227</c:v>
                </c:pt>
                <c:pt idx="1010">
                  <c:v>1.83927</c:v>
                </c:pt>
                <c:pt idx="1011">
                  <c:v>2.53009</c:v>
                </c:pt>
                <c:pt idx="1012">
                  <c:v>#N/A</c:v>
                </c:pt>
                <c:pt idx="1013">
                  <c:v>2.4429599999999998</c:v>
                </c:pt>
                <c:pt idx="1014">
                  <c:v>2.7999900000000002</c:v>
                </c:pt>
                <c:pt idx="1015">
                  <c:v>3.2279800000000001</c:v>
                </c:pt>
                <c:pt idx="1016">
                  <c:v>#N/A</c:v>
                </c:pt>
                <c:pt idx="1017">
                  <c:v>3.01884</c:v>
                </c:pt>
                <c:pt idx="1018">
                  <c:v>2.6589700000000001</c:v>
                </c:pt>
                <c:pt idx="1019">
                  <c:v>#N/A</c:v>
                </c:pt>
                <c:pt idx="1020">
                  <c:v>1.9839</c:v>
                </c:pt>
                <c:pt idx="1021">
                  <c:v>1.55118</c:v>
                </c:pt>
                <c:pt idx="1022">
                  <c:v>1.87961</c:v>
                </c:pt>
                <c:pt idx="1023">
                  <c:v>#N/A</c:v>
                </c:pt>
                <c:pt idx="1024">
                  <c:v>2.0338699999999998</c:v>
                </c:pt>
                <c:pt idx="1025">
                  <c:v>2.9512100000000001</c:v>
                </c:pt>
                <c:pt idx="1026">
                  <c:v>2.4453999999999998</c:v>
                </c:pt>
                <c:pt idx="1027">
                  <c:v>#N/A</c:v>
                </c:pt>
                <c:pt idx="1028">
                  <c:v>2.7550699999999999</c:v>
                </c:pt>
                <c:pt idx="1029">
                  <c:v>2.36836</c:v>
                </c:pt>
                <c:pt idx="1030">
                  <c:v>2.0311499999999998</c:v>
                </c:pt>
                <c:pt idx="1031">
                  <c:v>#N/A</c:v>
                </c:pt>
                <c:pt idx="1032">
                  <c:v>1.3168500000000001</c:v>
                </c:pt>
                <c:pt idx="1033">
                  <c:v>1.2146699999999999</c:v>
                </c:pt>
                <c:pt idx="1034">
                  <c:v>2.05084</c:v>
                </c:pt>
                <c:pt idx="1035">
                  <c:v>#N/A</c:v>
                </c:pt>
                <c:pt idx="1036">
                  <c:v>3.2067299999999999</c:v>
                </c:pt>
                <c:pt idx="1037">
                  <c:v>3.7000600000000001</c:v>
                </c:pt>
                <c:pt idx="1038">
                  <c:v>3.3609300000000002</c:v>
                </c:pt>
                <c:pt idx="1039">
                  <c:v>#N/A</c:v>
                </c:pt>
                <c:pt idx="1040">
                  <c:v>3.0076100000000001</c:v>
                </c:pt>
                <c:pt idx="1041">
                  <c:v>2.3701099999999999</c:v>
                </c:pt>
                <c:pt idx="1042">
                  <c:v>#N/A</c:v>
                </c:pt>
                <c:pt idx="1043">
                  <c:v>1.9334800000000001</c:v>
                </c:pt>
                <c:pt idx="1044">
                  <c:v>2.0763799999999999</c:v>
                </c:pt>
                <c:pt idx="1045">
                  <c:v>2.1535099999999998</c:v>
                </c:pt>
                <c:pt idx="1046">
                  <c:v>#N/A</c:v>
                </c:pt>
                <c:pt idx="1047">
                  <c:v>2.8796400000000002</c:v>
                </c:pt>
                <c:pt idx="1048">
                  <c:v>3.1217100000000002</c:v>
                </c:pt>
                <c:pt idx="1049">
                  <c:v>#N/A</c:v>
                </c:pt>
                <c:pt idx="1050">
                  <c:v>2.36435</c:v>
                </c:pt>
                <c:pt idx="1051">
                  <c:v>#N/A</c:v>
                </c:pt>
                <c:pt idx="1052">
                  <c:v>1.51007</c:v>
                </c:pt>
                <c:pt idx="1053">
                  <c:v>1.5859700000000001</c:v>
                </c:pt>
                <c:pt idx="1054">
                  <c:v>1.3959999999999999</c:v>
                </c:pt>
                <c:pt idx="1055">
                  <c:v>#N/A</c:v>
                </c:pt>
                <c:pt idx="1056">
                  <c:v>1.6607099999999999</c:v>
                </c:pt>
                <c:pt idx="1057">
                  <c:v>2.4235199999999999</c:v>
                </c:pt>
                <c:pt idx="1058">
                  <c:v>2.9517799999999998</c:v>
                </c:pt>
                <c:pt idx="1059">
                  <c:v>#N/A</c:v>
                </c:pt>
                <c:pt idx="1060">
                  <c:v>2.68893</c:v>
                </c:pt>
                <c:pt idx="1061">
                  <c:v>2.38937</c:v>
                </c:pt>
                <c:pt idx="1062">
                  <c:v>#N/A</c:v>
                </c:pt>
                <c:pt idx="1063">
                  <c:v>2.16106</c:v>
                </c:pt>
                <c:pt idx="1064">
                  <c:v>2.0444800000000001</c:v>
                </c:pt>
                <c:pt idx="1065">
                  <c:v>2.5030800000000002</c:v>
                </c:pt>
                <c:pt idx="1066">
                  <c:v>#N/A</c:v>
                </c:pt>
                <c:pt idx="1067">
                  <c:v>2.39019</c:v>
                </c:pt>
                <c:pt idx="1068">
                  <c:v>2.3039700000000001</c:v>
                </c:pt>
                <c:pt idx="1069">
                  <c:v>2.1627200000000002</c:v>
                </c:pt>
                <c:pt idx="1070">
                  <c:v>#N/A</c:v>
                </c:pt>
                <c:pt idx="1071">
                  <c:v>2.3176000000000001</c:v>
                </c:pt>
                <c:pt idx="1072">
                  <c:v>2.61117</c:v>
                </c:pt>
                <c:pt idx="1073">
                  <c:v>#N/A</c:v>
                </c:pt>
                <c:pt idx="1074">
                  <c:v>2.3787600000000002</c:v>
                </c:pt>
                <c:pt idx="1075">
                  <c:v>2.03878</c:v>
                </c:pt>
                <c:pt idx="1076">
                  <c:v>2.7282000000000002</c:v>
                </c:pt>
                <c:pt idx="1077">
                  <c:v>#N/A</c:v>
                </c:pt>
                <c:pt idx="1078">
                  <c:v>2.6582300000000001</c:v>
                </c:pt>
                <c:pt idx="1079">
                  <c:v>2.4357199999999999</c:v>
                </c:pt>
                <c:pt idx="1080">
                  <c:v>1.7520899999999999</c:v>
                </c:pt>
                <c:pt idx="1081">
                  <c:v>#N/A</c:v>
                </c:pt>
                <c:pt idx="1082">
                  <c:v>2.0710999999999999</c:v>
                </c:pt>
                <c:pt idx="1083">
                  <c:v>1.95082</c:v>
                </c:pt>
                <c:pt idx="1084">
                  <c:v>#N/A</c:v>
                </c:pt>
                <c:pt idx="1085">
                  <c:v>2.0555099999999999</c:v>
                </c:pt>
                <c:pt idx="1086">
                  <c:v>2.64696</c:v>
                </c:pt>
                <c:pt idx="1087">
                  <c:v>2.1261000000000001</c:v>
                </c:pt>
                <c:pt idx="1088">
                  <c:v>#N/A</c:v>
                </c:pt>
                <c:pt idx="1089">
                  <c:v>2.3756400000000002</c:v>
                </c:pt>
                <c:pt idx="1090">
                  <c:v>2.5299299999999998</c:v>
                </c:pt>
                <c:pt idx="1091">
                  <c:v>#N/A</c:v>
                </c:pt>
                <c:pt idx="1092">
                  <c:v>2.1285699999999999</c:v>
                </c:pt>
                <c:pt idx="1093">
                  <c:v>1.62473</c:v>
                </c:pt>
                <c:pt idx="1094">
                  <c:v>1.8727199999999999</c:v>
                </c:pt>
                <c:pt idx="1095">
                  <c:v>#N/A</c:v>
                </c:pt>
                <c:pt idx="1096">
                  <c:v>2.1474799999999998</c:v>
                </c:pt>
                <c:pt idx="1097">
                  <c:v>2.8568899999999999</c:v>
                </c:pt>
                <c:pt idx="1098">
                  <c:v>3.5428199999999999</c:v>
                </c:pt>
                <c:pt idx="1099">
                  <c:v>#N/A</c:v>
                </c:pt>
                <c:pt idx="1100">
                  <c:v>3.6258300000000001</c:v>
                </c:pt>
                <c:pt idx="1101">
                  <c:v>3.0827300000000002</c:v>
                </c:pt>
                <c:pt idx="1102">
                  <c:v>2.4313799999999999</c:v>
                </c:pt>
                <c:pt idx="1103">
                  <c:v>#N/A</c:v>
                </c:pt>
                <c:pt idx="1104">
                  <c:v>1.9500200000000001</c:v>
                </c:pt>
                <c:pt idx="1105">
                  <c:v>1.48556</c:v>
                </c:pt>
                <c:pt idx="1106">
                  <c:v>1.62791</c:v>
                </c:pt>
                <c:pt idx="1107">
                  <c:v>#N/A</c:v>
                </c:pt>
                <c:pt idx="1108">
                  <c:v>2.3149000000000002</c:v>
                </c:pt>
                <c:pt idx="1109">
                  <c:v>3.09815</c:v>
                </c:pt>
                <c:pt idx="1110">
                  <c:v>#N/A</c:v>
                </c:pt>
                <c:pt idx="1111">
                  <c:v>2.79576</c:v>
                </c:pt>
                <c:pt idx="1112">
                  <c:v>2.75929</c:v>
                </c:pt>
                <c:pt idx="1113">
                  <c:v>1.69496</c:v>
                </c:pt>
                <c:pt idx="1114">
                  <c:v>#N/A</c:v>
                </c:pt>
                <c:pt idx="1115">
                  <c:v>1.0563899999999999</c:v>
                </c:pt>
                <c:pt idx="1116">
                  <c:v>0.99321700000000002</c:v>
                </c:pt>
                <c:pt idx="1117">
                  <c:v>0.98323400000000005</c:v>
                </c:pt>
                <c:pt idx="1118">
                  <c:v>#N/A</c:v>
                </c:pt>
                <c:pt idx="1119">
                  <c:v>1.84304</c:v>
                </c:pt>
                <c:pt idx="1120">
                  <c:v>2.5474999999999999</c:v>
                </c:pt>
                <c:pt idx="1121">
                  <c:v>2.8050899999999999</c:v>
                </c:pt>
                <c:pt idx="1122">
                  <c:v>#N/A</c:v>
                </c:pt>
                <c:pt idx="1123">
                  <c:v>2.6072500000000001</c:v>
                </c:pt>
                <c:pt idx="1124">
                  <c:v>#N/A</c:v>
                </c:pt>
                <c:pt idx="1125">
                  <c:v>2.1301399999999999</c:v>
                </c:pt>
                <c:pt idx="1126">
                  <c:v>1.73688</c:v>
                </c:pt>
                <c:pt idx="1127">
                  <c:v>1.71577</c:v>
                </c:pt>
                <c:pt idx="1128">
                  <c:v>#N/A</c:v>
                </c:pt>
                <c:pt idx="1129">
                  <c:v>1.8017799999999999</c:v>
                </c:pt>
                <c:pt idx="1130">
                  <c:v>2.5523400000000001</c:v>
                </c:pt>
                <c:pt idx="1131">
                  <c:v>2.8103500000000001</c:v>
                </c:pt>
                <c:pt idx="1132">
                  <c:v>#N/A</c:v>
                </c:pt>
                <c:pt idx="1133">
                  <c:v>2.3058299999999998</c:v>
                </c:pt>
                <c:pt idx="1134">
                  <c:v>2.2643800000000001</c:v>
                </c:pt>
                <c:pt idx="1135">
                  <c:v>1.83575</c:v>
                </c:pt>
                <c:pt idx="1136">
                  <c:v>#N/A</c:v>
                </c:pt>
                <c:pt idx="1137">
                  <c:v>2.08013</c:v>
                </c:pt>
                <c:pt idx="1138">
                  <c:v>2.24112</c:v>
                </c:pt>
                <c:pt idx="1139">
                  <c:v>#N/A</c:v>
                </c:pt>
                <c:pt idx="1140">
                  <c:v>2.3799800000000002</c:v>
                </c:pt>
                <c:pt idx="1141">
                  <c:v>1.9905900000000001</c:v>
                </c:pt>
                <c:pt idx="1142">
                  <c:v>2.1834899999999999</c:v>
                </c:pt>
                <c:pt idx="1143">
                  <c:v>#N/A</c:v>
                </c:pt>
                <c:pt idx="1144">
                  <c:v>2.3183699999999998</c:v>
                </c:pt>
                <c:pt idx="1145">
                  <c:v>2.34294</c:v>
                </c:pt>
                <c:pt idx="1146">
                  <c:v>2.3643800000000001</c:v>
                </c:pt>
                <c:pt idx="1147">
                  <c:v>#N/A</c:v>
                </c:pt>
                <c:pt idx="1148">
                  <c:v>2.3499400000000001</c:v>
                </c:pt>
                <c:pt idx="1149">
                  <c:v>2.0967099999999999</c:v>
                </c:pt>
                <c:pt idx="1150">
                  <c:v>2.1259800000000002</c:v>
                </c:pt>
                <c:pt idx="1151">
                  <c:v>#N/A</c:v>
                </c:pt>
                <c:pt idx="1152">
                  <c:v>2.4563799999999998</c:v>
                </c:pt>
                <c:pt idx="1153">
                  <c:v>3.02502</c:v>
                </c:pt>
                <c:pt idx="1154">
                  <c:v>3.1281400000000001</c:v>
                </c:pt>
                <c:pt idx="1155">
                  <c:v>#N/A</c:v>
                </c:pt>
                <c:pt idx="1156">
                  <c:v>2.61233</c:v>
                </c:pt>
                <c:pt idx="1157">
                  <c:v>2.5998000000000001</c:v>
                </c:pt>
                <c:pt idx="1158">
                  <c:v>2.16547</c:v>
                </c:pt>
                <c:pt idx="1159">
                  <c:v>#N/A</c:v>
                </c:pt>
                <c:pt idx="1160">
                  <c:v>2.7359599999999999</c:v>
                </c:pt>
                <c:pt idx="1161">
                  <c:v>2.4554</c:v>
                </c:pt>
                <c:pt idx="1162">
                  <c:v>3.0392600000000001</c:v>
                </c:pt>
                <c:pt idx="1163">
                  <c:v>#N/A</c:v>
                </c:pt>
                <c:pt idx="1164">
                  <c:v>2.3435100000000002</c:v>
                </c:pt>
                <c:pt idx="1165">
                  <c:v>2.1251799999999998</c:v>
                </c:pt>
                <c:pt idx="1166">
                  <c:v>1.2999700000000001</c:v>
                </c:pt>
                <c:pt idx="1167">
                  <c:v>#N/A</c:v>
                </c:pt>
                <c:pt idx="1168">
                  <c:v>1.0222</c:v>
                </c:pt>
                <c:pt idx="1169">
                  <c:v>1.2442599999999999</c:v>
                </c:pt>
                <c:pt idx="1170">
                  <c:v>1.7249099999999999</c:v>
                </c:pt>
                <c:pt idx="1171">
                  <c:v>#N/A</c:v>
                </c:pt>
                <c:pt idx="1172">
                  <c:v>1.8112600000000001</c:v>
                </c:pt>
                <c:pt idx="1173">
                  <c:v>1.85175</c:v>
                </c:pt>
                <c:pt idx="1174">
                  <c:v>1.89585</c:v>
                </c:pt>
                <c:pt idx="1175">
                  <c:v>#N/A</c:v>
                </c:pt>
                <c:pt idx="1176">
                  <c:v>2.2071200000000002</c:v>
                </c:pt>
                <c:pt idx="1177">
                  <c:v>1.96499</c:v>
                </c:pt>
                <c:pt idx="1178">
                  <c:v>1.8188800000000001</c:v>
                </c:pt>
                <c:pt idx="1179">
                  <c:v>#N/A</c:v>
                </c:pt>
                <c:pt idx="1180">
                  <c:v>2.28613</c:v>
                </c:pt>
                <c:pt idx="1181">
                  <c:v>3.0341999999999998</c:v>
                </c:pt>
                <c:pt idx="1182">
                  <c:v>#N/A</c:v>
                </c:pt>
                <c:pt idx="1183">
                  <c:v>4.1831300000000002</c:v>
                </c:pt>
                <c:pt idx="1184">
                  <c:v>3.22973</c:v>
                </c:pt>
                <c:pt idx="1185">
                  <c:v>3.07395</c:v>
                </c:pt>
                <c:pt idx="1186">
                  <c:v>#N/A</c:v>
                </c:pt>
                <c:pt idx="1187">
                  <c:v>1.9937</c:v>
                </c:pt>
                <c:pt idx="1188">
                  <c:v>1.9152800000000001</c:v>
                </c:pt>
                <c:pt idx="1189">
                  <c:v>2.1364299999999998</c:v>
                </c:pt>
                <c:pt idx="1190">
                  <c:v>#N/A</c:v>
                </c:pt>
                <c:pt idx="1191">
                  <c:v>1.8555600000000001</c:v>
                </c:pt>
                <c:pt idx="1192">
                  <c:v>2.2576200000000002</c:v>
                </c:pt>
                <c:pt idx="1193">
                  <c:v>2.3583699999999999</c:v>
                </c:pt>
                <c:pt idx="1194">
                  <c:v>#N/A</c:v>
                </c:pt>
                <c:pt idx="1195">
                  <c:v>2.7446600000000001</c:v>
                </c:pt>
                <c:pt idx="1196">
                  <c:v>2.3376100000000002</c:v>
                </c:pt>
                <c:pt idx="1197">
                  <c:v>#N/A</c:v>
                </c:pt>
                <c:pt idx="1198">
                  <c:v>1.4271199999999999</c:v>
                </c:pt>
                <c:pt idx="1199">
                  <c:v>#N/A</c:v>
                </c:pt>
                <c:pt idx="1200">
                  <c:v>1.18092</c:v>
                </c:pt>
                <c:pt idx="1201">
                  <c:v>1.9617800000000001</c:v>
                </c:pt>
                <c:pt idx="1202">
                  <c:v>#N/A</c:v>
                </c:pt>
                <c:pt idx="1203">
                  <c:v>3.0496799999999999</c:v>
                </c:pt>
                <c:pt idx="1204">
                  <c:v>#N/A</c:v>
                </c:pt>
                <c:pt idx="1205">
                  <c:v>2.94774</c:v>
                </c:pt>
                <c:pt idx="1206">
                  <c:v>2.9637699999999998</c:v>
                </c:pt>
                <c:pt idx="1207">
                  <c:v>2.4193600000000002</c:v>
                </c:pt>
                <c:pt idx="1208">
                  <c:v>#N/A</c:v>
                </c:pt>
                <c:pt idx="1209">
                  <c:v>2.5307499999999998</c:v>
                </c:pt>
                <c:pt idx="1210">
                  <c:v>2.3835999999999999</c:v>
                </c:pt>
                <c:pt idx="1211">
                  <c:v>2.4313099999999999</c:v>
                </c:pt>
                <c:pt idx="1212">
                  <c:v>#N/A</c:v>
                </c:pt>
                <c:pt idx="1213">
                  <c:v>2.3552200000000001</c:v>
                </c:pt>
                <c:pt idx="1214">
                  <c:v>2.7906200000000001</c:v>
                </c:pt>
                <c:pt idx="1215">
                  <c:v>#N/A</c:v>
                </c:pt>
                <c:pt idx="1216">
                  <c:v>2.8173400000000002</c:v>
                </c:pt>
                <c:pt idx="1217">
                  <c:v>2.56603</c:v>
                </c:pt>
                <c:pt idx="1218">
                  <c:v>2.3477700000000001</c:v>
                </c:pt>
                <c:pt idx="1219">
                  <c:v>#N/A</c:v>
                </c:pt>
                <c:pt idx="1220">
                  <c:v>2.4125299999999998</c:v>
                </c:pt>
                <c:pt idx="1221">
                  <c:v>1.9691099999999999</c:v>
                </c:pt>
                <c:pt idx="1222">
                  <c:v>1.7416</c:v>
                </c:pt>
                <c:pt idx="1223">
                  <c:v>#N/A</c:v>
                </c:pt>
                <c:pt idx="1224">
                  <c:v>1.92547</c:v>
                </c:pt>
                <c:pt idx="1225">
                  <c:v>1.9484300000000001</c:v>
                </c:pt>
                <c:pt idx="1226">
                  <c:v>2.1907299999999998</c:v>
                </c:pt>
                <c:pt idx="1227">
                  <c:v>#N/A</c:v>
                </c:pt>
                <c:pt idx="1228">
                  <c:v>2.0418799999999999</c:v>
                </c:pt>
                <c:pt idx="1229">
                  <c:v>1.2767299999999999</c:v>
                </c:pt>
                <c:pt idx="1230">
                  <c:v>1.90964</c:v>
                </c:pt>
                <c:pt idx="1231">
                  <c:v>#N/A</c:v>
                </c:pt>
                <c:pt idx="1232">
                  <c:v>2.53498</c:v>
                </c:pt>
                <c:pt idx="1233">
                  <c:v>3.0051800000000002</c:v>
                </c:pt>
                <c:pt idx="1234">
                  <c:v>#N/A</c:v>
                </c:pt>
                <c:pt idx="1235">
                  <c:v>3.0236800000000001</c:v>
                </c:pt>
                <c:pt idx="1236">
                  <c:v>2.6172499999999999</c:v>
                </c:pt>
                <c:pt idx="1237">
                  <c:v>2.61273</c:v>
                </c:pt>
                <c:pt idx="1238">
                  <c:v>#N/A</c:v>
                </c:pt>
                <c:pt idx="1239">
                  <c:v>1.76305</c:v>
                </c:pt>
                <c:pt idx="1240">
                  <c:v>1.80522</c:v>
                </c:pt>
                <c:pt idx="1241">
                  <c:v>2.0857700000000001</c:v>
                </c:pt>
                <c:pt idx="1242">
                  <c:v>#N/A</c:v>
                </c:pt>
                <c:pt idx="1243">
                  <c:v>2.97872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2.19496</c:v>
                </c:pt>
                <c:pt idx="1322">
                  <c:v>2.2526000000000002</c:v>
                </c:pt>
                <c:pt idx="1323">
                  <c:v>#N/A</c:v>
                </c:pt>
                <c:pt idx="1324">
                  <c:v>1.7983199999999999</c:v>
                </c:pt>
                <c:pt idx="1325">
                  <c:v>2.5021800000000001</c:v>
                </c:pt>
                <c:pt idx="1326">
                  <c:v>2.5406900000000001</c:v>
                </c:pt>
                <c:pt idx="1327">
                  <c:v>#N/A</c:v>
                </c:pt>
                <c:pt idx="1328">
                  <c:v>3.2267999999999999</c:v>
                </c:pt>
                <c:pt idx="1329">
                  <c:v>3.7684199999999999</c:v>
                </c:pt>
                <c:pt idx="1330">
                  <c:v>2.9241000000000001</c:v>
                </c:pt>
                <c:pt idx="1331">
                  <c:v>#N/A</c:v>
                </c:pt>
                <c:pt idx="1332">
                  <c:v>2.94923</c:v>
                </c:pt>
                <c:pt idx="1333">
                  <c:v>2.0215000000000001</c:v>
                </c:pt>
                <c:pt idx="1334">
                  <c:v>#N/A</c:v>
                </c:pt>
                <c:pt idx="1335">
                  <c:v>2.1855099999999998</c:v>
                </c:pt>
                <c:pt idx="1336">
                  <c:v>2.0602499999999999</c:v>
                </c:pt>
                <c:pt idx="1337">
                  <c:v>2.7176</c:v>
                </c:pt>
                <c:pt idx="1338">
                  <c:v>#N/A</c:v>
                </c:pt>
                <c:pt idx="1339">
                  <c:v>2.62195</c:v>
                </c:pt>
                <c:pt idx="1340">
                  <c:v>2.9938199999999999</c:v>
                </c:pt>
                <c:pt idx="1341">
                  <c:v>3.5761699999999998</c:v>
                </c:pt>
                <c:pt idx="1342">
                  <c:v>#N/A</c:v>
                </c:pt>
                <c:pt idx="1343">
                  <c:v>2.3405399999999998</c:v>
                </c:pt>
                <c:pt idx="1344">
                  <c:v>2.2107700000000001</c:v>
                </c:pt>
                <c:pt idx="1345">
                  <c:v>1.72281</c:v>
                </c:pt>
                <c:pt idx="1346">
                  <c:v>#N/A</c:v>
                </c:pt>
                <c:pt idx="1347">
                  <c:v>1.83921</c:v>
                </c:pt>
                <c:pt idx="1348">
                  <c:v>2.6043500000000002</c:v>
                </c:pt>
                <c:pt idx="1349">
                  <c:v>#N/A</c:v>
                </c:pt>
                <c:pt idx="1350">
                  <c:v>3.1329199999999999</c:v>
                </c:pt>
                <c:pt idx="1351">
                  <c:v>3.3302800000000001</c:v>
                </c:pt>
                <c:pt idx="1352">
                  <c:v>3.5799300000000001</c:v>
                </c:pt>
                <c:pt idx="1353">
                  <c:v>#N/A</c:v>
                </c:pt>
                <c:pt idx="1354">
                  <c:v>3.4600900000000001</c:v>
                </c:pt>
                <c:pt idx="1355">
                  <c:v>2.24404</c:v>
                </c:pt>
                <c:pt idx="1356">
                  <c:v>2.0319600000000002</c:v>
                </c:pt>
                <c:pt idx="1357">
                  <c:v>#N/A</c:v>
                </c:pt>
                <c:pt idx="1358">
                  <c:v>1.71532</c:v>
                </c:pt>
                <c:pt idx="1359">
                  <c:v>3.0369700000000002</c:v>
                </c:pt>
                <c:pt idx="1360">
                  <c:v>#N/A</c:v>
                </c:pt>
                <c:pt idx="1361">
                  <c:v>3.0057800000000001</c:v>
                </c:pt>
                <c:pt idx="1362">
                  <c:v>3.0353300000000001</c:v>
                </c:pt>
                <c:pt idx="1363">
                  <c:v>2.51369</c:v>
                </c:pt>
                <c:pt idx="1364">
                  <c:v>#N/A</c:v>
                </c:pt>
                <c:pt idx="1365">
                  <c:v>2.8261799999999999</c:v>
                </c:pt>
                <c:pt idx="1366">
                  <c:v>2.08975</c:v>
                </c:pt>
                <c:pt idx="1367">
                  <c:v>#N/A</c:v>
                </c:pt>
                <c:pt idx="1368">
                  <c:v>1.6100099999999999</c:v>
                </c:pt>
                <c:pt idx="1369">
                  <c:v>2.12493</c:v>
                </c:pt>
                <c:pt idx="1370">
                  <c:v>2.7704300000000002</c:v>
                </c:pt>
                <c:pt idx="1371">
                  <c:v>#N/A</c:v>
                </c:pt>
                <c:pt idx="1372">
                  <c:v>3.5106600000000001</c:v>
                </c:pt>
                <c:pt idx="1373">
                  <c:v>2.8605499999999999</c:v>
                </c:pt>
                <c:pt idx="1374">
                  <c:v>2.9981599999999999</c:v>
                </c:pt>
                <c:pt idx="1375">
                  <c:v>#N/A</c:v>
                </c:pt>
                <c:pt idx="1376">
                  <c:v>2.5564</c:v>
                </c:pt>
                <c:pt idx="1377">
                  <c:v>2.8870100000000001</c:v>
                </c:pt>
                <c:pt idx="1378">
                  <c:v>2.53118</c:v>
                </c:pt>
                <c:pt idx="1379">
                  <c:v>#N/A</c:v>
                </c:pt>
                <c:pt idx="1380">
                  <c:v>2.5127100000000002</c:v>
                </c:pt>
                <c:pt idx="1381">
                  <c:v>2.7875100000000002</c:v>
                </c:pt>
                <c:pt idx="1382">
                  <c:v>3.0819100000000001</c:v>
                </c:pt>
                <c:pt idx="1383">
                  <c:v>#N/A</c:v>
                </c:pt>
                <c:pt idx="1384">
                  <c:v>2.6964000000000001</c:v>
                </c:pt>
                <c:pt idx="1385">
                  <c:v>2.9484599999999999</c:v>
                </c:pt>
                <c:pt idx="1386">
                  <c:v>2.2437200000000002</c:v>
                </c:pt>
                <c:pt idx="1387">
                  <c:v>#N/A</c:v>
                </c:pt>
                <c:pt idx="1388">
                  <c:v>2.4089200000000002</c:v>
                </c:pt>
                <c:pt idx="1389">
                  <c:v>2.54142</c:v>
                </c:pt>
                <c:pt idx="1390">
                  <c:v>2.8725999999999998</c:v>
                </c:pt>
                <c:pt idx="1391">
                  <c:v>#N/A</c:v>
                </c:pt>
                <c:pt idx="1392">
                  <c:v>2.8521399999999999</c:v>
                </c:pt>
                <c:pt idx="1393">
                  <c:v>2.6918099999999998</c:v>
                </c:pt>
                <c:pt idx="1394">
                  <c:v>2.4484499999999998</c:v>
                </c:pt>
                <c:pt idx="1395">
                  <c:v>#N/A</c:v>
                </c:pt>
                <c:pt idx="1396">
                  <c:v>2.0848900000000001</c:v>
                </c:pt>
                <c:pt idx="1397">
                  <c:v>1.45624</c:v>
                </c:pt>
                <c:pt idx="1398">
                  <c:v>#N/A</c:v>
                </c:pt>
                <c:pt idx="1399">
                  <c:v>2.3534299999999999</c:v>
                </c:pt>
                <c:pt idx="1400">
                  <c:v>2.3670100000000001</c:v>
                </c:pt>
                <c:pt idx="1401">
                  <c:v>3.1240399999999999</c:v>
                </c:pt>
                <c:pt idx="1402">
                  <c:v>#N/A</c:v>
                </c:pt>
                <c:pt idx="1403">
                  <c:v>3.11293</c:v>
                </c:pt>
                <c:pt idx="1404">
                  <c:v>2.0223300000000002</c:v>
                </c:pt>
                <c:pt idx="1405">
                  <c:v>1.89672</c:v>
                </c:pt>
                <c:pt idx="1406">
                  <c:v>#N/A</c:v>
                </c:pt>
                <c:pt idx="1407">
                  <c:v>1.5100899999999999</c:v>
                </c:pt>
                <c:pt idx="1408">
                  <c:v>1.5812600000000001</c:v>
                </c:pt>
                <c:pt idx="1409">
                  <c:v>1.31186</c:v>
                </c:pt>
                <c:pt idx="1410">
                  <c:v>#N/A</c:v>
                </c:pt>
                <c:pt idx="1411">
                  <c:v>2.1577000000000002</c:v>
                </c:pt>
                <c:pt idx="1412">
                  <c:v>2.6290100000000001</c:v>
                </c:pt>
                <c:pt idx="1413">
                  <c:v>3.3502200000000002</c:v>
                </c:pt>
                <c:pt idx="1414">
                  <c:v>#N/A</c:v>
                </c:pt>
                <c:pt idx="1415">
                  <c:v>2.9314</c:v>
                </c:pt>
                <c:pt idx="1416">
                  <c:v>2.5881699999999999</c:v>
                </c:pt>
                <c:pt idx="1417">
                  <c:v>1.9567600000000001</c:v>
                </c:pt>
                <c:pt idx="1418">
                  <c:v>#N/A</c:v>
                </c:pt>
                <c:pt idx="1419">
                  <c:v>1.175</c:v>
                </c:pt>
                <c:pt idx="1420">
                  <c:v>2.2630400000000002</c:v>
                </c:pt>
                <c:pt idx="1421">
                  <c:v>2.1186400000000001</c:v>
                </c:pt>
                <c:pt idx="1422">
                  <c:v>#N/A</c:v>
                </c:pt>
                <c:pt idx="1423">
                  <c:v>2.9851100000000002</c:v>
                </c:pt>
                <c:pt idx="1424">
                  <c:v>#N/A</c:v>
                </c:pt>
                <c:pt idx="1425">
                  <c:v>2.84334</c:v>
                </c:pt>
                <c:pt idx="1426">
                  <c:v>3.1763300000000001</c:v>
                </c:pt>
                <c:pt idx="1427">
                  <c:v>#N/A</c:v>
                </c:pt>
                <c:pt idx="1428">
                  <c:v>1.7847900000000001</c:v>
                </c:pt>
                <c:pt idx="1429">
                  <c:v>1.4590099999999999</c:v>
                </c:pt>
                <c:pt idx="1430">
                  <c:v>#N/A</c:v>
                </c:pt>
                <c:pt idx="1431">
                  <c:v>1.0469200000000001</c:v>
                </c:pt>
                <c:pt idx="1432">
                  <c:v>2.1914199999999999</c:v>
                </c:pt>
                <c:pt idx="1433">
                  <c:v>#N/A</c:v>
                </c:pt>
                <c:pt idx="1434">
                  <c:v>2.6814</c:v>
                </c:pt>
                <c:pt idx="1435">
                  <c:v>2.4384600000000001</c:v>
                </c:pt>
                <c:pt idx="1436">
                  <c:v>3.0273500000000002</c:v>
                </c:pt>
                <c:pt idx="1437">
                  <c:v>#N/A</c:v>
                </c:pt>
                <c:pt idx="1438">
                  <c:v>3.45024</c:v>
                </c:pt>
                <c:pt idx="1439">
                  <c:v>2.5615100000000002</c:v>
                </c:pt>
                <c:pt idx="1440">
                  <c:v>2.66811</c:v>
                </c:pt>
                <c:pt idx="1441">
                  <c:v>#N/A</c:v>
                </c:pt>
                <c:pt idx="1442">
                  <c:v>2.3754400000000002</c:v>
                </c:pt>
                <c:pt idx="1443">
                  <c:v>2.5545200000000001</c:v>
                </c:pt>
                <c:pt idx="1444">
                  <c:v>2.5056099999999999</c:v>
                </c:pt>
                <c:pt idx="1445">
                  <c:v>#N/A</c:v>
                </c:pt>
                <c:pt idx="1446">
                  <c:v>2.44272</c:v>
                </c:pt>
                <c:pt idx="1447">
                  <c:v>2.4237899999999999</c:v>
                </c:pt>
                <c:pt idx="1448">
                  <c:v>#N/A</c:v>
                </c:pt>
                <c:pt idx="1449">
                  <c:v>2.8221599999999998</c:v>
                </c:pt>
                <c:pt idx="1450">
                  <c:v>2.6511</c:v>
                </c:pt>
                <c:pt idx="1451">
                  <c:v>2.3603700000000001</c:v>
                </c:pt>
                <c:pt idx="1452">
                  <c:v>#N/A</c:v>
                </c:pt>
                <c:pt idx="1453">
                  <c:v>2.1818499999999998</c:v>
                </c:pt>
                <c:pt idx="1454">
                  <c:v>2.2253599999999998</c:v>
                </c:pt>
                <c:pt idx="1455">
                  <c:v>2.2968600000000001</c:v>
                </c:pt>
                <c:pt idx="1456">
                  <c:v>#N/A</c:v>
                </c:pt>
                <c:pt idx="1457">
                  <c:v>2.2003499999999998</c:v>
                </c:pt>
                <c:pt idx="1458">
                  <c:v>2.3513600000000001</c:v>
                </c:pt>
                <c:pt idx="1459">
                  <c:v>2.1596299999999999</c:v>
                </c:pt>
                <c:pt idx="1460">
                  <c:v>#N/A</c:v>
                </c:pt>
                <c:pt idx="1461">
                  <c:v>1.3576900000000001</c:v>
                </c:pt>
                <c:pt idx="1462">
                  <c:v>1.8095699999999999</c:v>
                </c:pt>
                <c:pt idx="1463">
                  <c:v>2.1055000000000001</c:v>
                </c:pt>
                <c:pt idx="1464">
                  <c:v>#N/A</c:v>
                </c:pt>
                <c:pt idx="1465">
                  <c:v>2.7786200000000001</c:v>
                </c:pt>
                <c:pt idx="1466">
                  <c:v>1.9403900000000001</c:v>
                </c:pt>
                <c:pt idx="1467">
                  <c:v>2.2805900000000001</c:v>
                </c:pt>
                <c:pt idx="1468">
                  <c:v>#N/A</c:v>
                </c:pt>
                <c:pt idx="1469">
                  <c:v>1.86493</c:v>
                </c:pt>
                <c:pt idx="1470">
                  <c:v>0.955233</c:v>
                </c:pt>
                <c:pt idx="1471">
                  <c:v>1.7815399999999999</c:v>
                </c:pt>
                <c:pt idx="1472">
                  <c:v>#N/A</c:v>
                </c:pt>
                <c:pt idx="1473">
                  <c:v>2.1815000000000002</c:v>
                </c:pt>
                <c:pt idx="1474">
                  <c:v>2.9778600000000002</c:v>
                </c:pt>
                <c:pt idx="1475">
                  <c:v>3.2172000000000001</c:v>
                </c:pt>
                <c:pt idx="1476">
                  <c:v>#N/A</c:v>
                </c:pt>
                <c:pt idx="1477">
                  <c:v>2.8131200000000001</c:v>
                </c:pt>
                <c:pt idx="1478">
                  <c:v>2.6194500000000001</c:v>
                </c:pt>
                <c:pt idx="1479">
                  <c:v>#N/A</c:v>
                </c:pt>
                <c:pt idx="1480">
                  <c:v>1.8284100000000001</c:v>
                </c:pt>
                <c:pt idx="1481">
                  <c:v>2.12079</c:v>
                </c:pt>
                <c:pt idx="1482">
                  <c:v>1.4219299999999999</c:v>
                </c:pt>
                <c:pt idx="1483">
                  <c:v>#N/A</c:v>
                </c:pt>
                <c:pt idx="1484">
                  <c:v>1.70705</c:v>
                </c:pt>
                <c:pt idx="1485">
                  <c:v>2.52786</c:v>
                </c:pt>
                <c:pt idx="1486">
                  <c:v>2.9558200000000001</c:v>
                </c:pt>
                <c:pt idx="1487">
                  <c:v>#N/A</c:v>
                </c:pt>
                <c:pt idx="1488">
                  <c:v>2.4617100000000001</c:v>
                </c:pt>
                <c:pt idx="1489">
                  <c:v>1.79176</c:v>
                </c:pt>
                <c:pt idx="1490">
                  <c:v>1.1777899999999999</c:v>
                </c:pt>
                <c:pt idx="1491">
                  <c:v>#N/A</c:v>
                </c:pt>
                <c:pt idx="1492">
                  <c:v>0.97459700000000005</c:v>
                </c:pt>
                <c:pt idx="1493">
                  <c:v>1.8585</c:v>
                </c:pt>
                <c:pt idx="1494">
                  <c:v>1.6067100000000001</c:v>
                </c:pt>
                <c:pt idx="1495">
                  <c:v>#N/A</c:v>
                </c:pt>
                <c:pt idx="1496">
                  <c:v>2.56792</c:v>
                </c:pt>
                <c:pt idx="1497">
                  <c:v>3.12663</c:v>
                </c:pt>
                <c:pt idx="1498">
                  <c:v>#N/A</c:v>
                </c:pt>
                <c:pt idx="1499">
                  <c:v>3.3334299999999999</c:v>
                </c:pt>
                <c:pt idx="1500">
                  <c:v>1.8991100000000001</c:v>
                </c:pt>
                <c:pt idx="1501">
                  <c:v>#N/A</c:v>
                </c:pt>
                <c:pt idx="1502">
                  <c:v>1.5631200000000001</c:v>
                </c:pt>
                <c:pt idx="1503">
                  <c:v>#N/A</c:v>
                </c:pt>
                <c:pt idx="1504">
                  <c:v>1.5706800000000001</c:v>
                </c:pt>
                <c:pt idx="1505">
                  <c:v>2.3311000000000002</c:v>
                </c:pt>
                <c:pt idx="1506">
                  <c:v>2.536</c:v>
                </c:pt>
                <c:pt idx="1507">
                  <c:v>#N/A</c:v>
                </c:pt>
                <c:pt idx="1508">
                  <c:v>2.6164999999999998</c:v>
                </c:pt>
                <c:pt idx="1509">
                  <c:v>2.6612399999999998</c:v>
                </c:pt>
                <c:pt idx="1510">
                  <c:v>#N/A</c:v>
                </c:pt>
                <c:pt idx="1511">
                  <c:v>3.1063200000000002</c:v>
                </c:pt>
                <c:pt idx="1512">
                  <c:v>2.0796999999999999</c:v>
                </c:pt>
                <c:pt idx="1513">
                  <c:v>2.0714299999999999</c:v>
                </c:pt>
                <c:pt idx="1514">
                  <c:v>#N/A</c:v>
                </c:pt>
                <c:pt idx="1515">
                  <c:v>2.1121699999999999</c:v>
                </c:pt>
                <c:pt idx="1516">
                  <c:v>2.5361500000000001</c:v>
                </c:pt>
                <c:pt idx="1517">
                  <c:v>3.0213800000000002</c:v>
                </c:pt>
                <c:pt idx="1518">
                  <c:v>#N/A</c:v>
                </c:pt>
                <c:pt idx="1519">
                  <c:v>2.7841999999999998</c:v>
                </c:pt>
                <c:pt idx="1520">
                  <c:v>2.8557299999999999</c:v>
                </c:pt>
                <c:pt idx="1521">
                  <c:v>1.6114900000000001</c:v>
                </c:pt>
                <c:pt idx="1522">
                  <c:v>#N/A</c:v>
                </c:pt>
                <c:pt idx="1523">
                  <c:v>2.2458399999999998</c:v>
                </c:pt>
                <c:pt idx="1524">
                  <c:v>1.9720299999999999</c:v>
                </c:pt>
                <c:pt idx="1525">
                  <c:v>2.4363199999999998</c:v>
                </c:pt>
                <c:pt idx="1526">
                  <c:v>#N/A</c:v>
                </c:pt>
                <c:pt idx="1527">
                  <c:v>1.86053</c:v>
                </c:pt>
                <c:pt idx="1528">
                  <c:v>2.08134</c:v>
                </c:pt>
                <c:pt idx="1529">
                  <c:v>2.0451199999999998</c:v>
                </c:pt>
                <c:pt idx="1530">
                  <c:v>#N/A</c:v>
                </c:pt>
                <c:pt idx="1531">
                  <c:v>1.7701100000000001</c:v>
                </c:pt>
                <c:pt idx="1532">
                  <c:v>1.4311799999999999</c:v>
                </c:pt>
                <c:pt idx="1533">
                  <c:v>#N/A</c:v>
                </c:pt>
                <c:pt idx="1534">
                  <c:v>1.8372299999999999</c:v>
                </c:pt>
                <c:pt idx="1535">
                  <c:v>2.9545400000000002</c:v>
                </c:pt>
                <c:pt idx="1536">
                  <c:v>2.79941</c:v>
                </c:pt>
                <c:pt idx="1537">
                  <c:v>#N/A</c:v>
                </c:pt>
                <c:pt idx="1538">
                  <c:v>3.5261300000000002</c:v>
                </c:pt>
                <c:pt idx="1539">
                  <c:v>3.6034999999999999</c:v>
                </c:pt>
                <c:pt idx="1540">
                  <c:v>#N/A</c:v>
                </c:pt>
                <c:pt idx="1541">
                  <c:v>2.85806</c:v>
                </c:pt>
                <c:pt idx="1542">
                  <c:v>3.0494599999999998</c:v>
                </c:pt>
                <c:pt idx="1543">
                  <c:v>1.8177300000000001</c:v>
                </c:pt>
                <c:pt idx="1544">
                  <c:v>#N/A</c:v>
                </c:pt>
                <c:pt idx="1545">
                  <c:v>1.7747200000000001</c:v>
                </c:pt>
                <c:pt idx="1546">
                  <c:v>2.0432399999999999</c:v>
                </c:pt>
                <c:pt idx="1547">
                  <c:v>3.01363</c:v>
                </c:pt>
                <c:pt idx="1548">
                  <c:v>#N/A</c:v>
                </c:pt>
                <c:pt idx="1549">
                  <c:v>3.26993</c:v>
                </c:pt>
                <c:pt idx="1550">
                  <c:v>3.1717900000000001</c:v>
                </c:pt>
                <c:pt idx="1551">
                  <c:v>2.75284</c:v>
                </c:pt>
                <c:pt idx="1552">
                  <c:v>#N/A</c:v>
                </c:pt>
                <c:pt idx="1553">
                  <c:v>2.0174500000000002</c:v>
                </c:pt>
                <c:pt idx="1554">
                  <c:v>1.5302899999999999</c:v>
                </c:pt>
                <c:pt idx="1555">
                  <c:v>1.13951</c:v>
                </c:pt>
                <c:pt idx="1556">
                  <c:v>#N/A</c:v>
                </c:pt>
                <c:pt idx="1557">
                  <c:v>1.08873</c:v>
                </c:pt>
                <c:pt idx="1558">
                  <c:v>2.00387</c:v>
                </c:pt>
                <c:pt idx="1559">
                  <c:v>3.1629299999999998</c:v>
                </c:pt>
                <c:pt idx="1560">
                  <c:v>#N/A</c:v>
                </c:pt>
                <c:pt idx="1561">
                  <c:v>3.1975600000000002</c:v>
                </c:pt>
                <c:pt idx="1562">
                  <c:v>3.1044800000000001</c:v>
                </c:pt>
                <c:pt idx="1563">
                  <c:v>2.2044800000000002</c:v>
                </c:pt>
                <c:pt idx="1564">
                  <c:v>#N/A</c:v>
                </c:pt>
                <c:pt idx="1565">
                  <c:v>1.87805</c:v>
                </c:pt>
                <c:pt idx="1566">
                  <c:v>1.504</c:v>
                </c:pt>
                <c:pt idx="1567">
                  <c:v>2.2413099999999999</c:v>
                </c:pt>
                <c:pt idx="1568">
                  <c:v>#N/A</c:v>
                </c:pt>
                <c:pt idx="1569">
                  <c:v>2.4911500000000002</c:v>
                </c:pt>
                <c:pt idx="1570">
                  <c:v>3.3323999999999998</c:v>
                </c:pt>
                <c:pt idx="1571">
                  <c:v>#N/A</c:v>
                </c:pt>
                <c:pt idx="1572">
                  <c:v>3.1501800000000002</c:v>
                </c:pt>
                <c:pt idx="1573">
                  <c:v>1.8022899999999999</c:v>
                </c:pt>
                <c:pt idx="1574">
                  <c:v>#N/A</c:v>
                </c:pt>
                <c:pt idx="1575">
                  <c:v>1.57952</c:v>
                </c:pt>
                <c:pt idx="1576">
                  <c:v>1.7234</c:v>
                </c:pt>
                <c:pt idx="1577">
                  <c:v>#N/A</c:v>
                </c:pt>
                <c:pt idx="1578">
                  <c:v>1.7719400000000001</c:v>
                </c:pt>
                <c:pt idx="1579">
                  <c:v>2.2909700000000002</c:v>
                </c:pt>
                <c:pt idx="1580">
                  <c:v>2.6347900000000002</c:v>
                </c:pt>
                <c:pt idx="1581">
                  <c:v>#N/A</c:v>
                </c:pt>
                <c:pt idx="1582">
                  <c:v>2.4459499999999998</c:v>
                </c:pt>
                <c:pt idx="1583">
                  <c:v>2.5935199999999998</c:v>
                </c:pt>
                <c:pt idx="1584">
                  <c:v>#N/A</c:v>
                </c:pt>
                <c:pt idx="1585">
                  <c:v>2.5021599999999999</c:v>
                </c:pt>
                <c:pt idx="1586">
                  <c:v>1.6913899999999999</c:v>
                </c:pt>
                <c:pt idx="1587">
                  <c:v>1.6556500000000001</c:v>
                </c:pt>
                <c:pt idx="1588">
                  <c:v>#N/A</c:v>
                </c:pt>
                <c:pt idx="1589">
                  <c:v>2.12262</c:v>
                </c:pt>
                <c:pt idx="1590">
                  <c:v>1.8991400000000001</c:v>
                </c:pt>
                <c:pt idx="1591">
                  <c:v>2.08541</c:v>
                </c:pt>
                <c:pt idx="1592">
                  <c:v>#N/A</c:v>
                </c:pt>
                <c:pt idx="1593">
                  <c:v>2.2048399999999999</c:v>
                </c:pt>
                <c:pt idx="1594">
                  <c:v>1.9329700000000001</c:v>
                </c:pt>
                <c:pt idx="1595">
                  <c:v>1.9959</c:v>
                </c:pt>
                <c:pt idx="1596">
                  <c:v>#N/A</c:v>
                </c:pt>
                <c:pt idx="1597">
                  <c:v>2.5781900000000002</c:v>
                </c:pt>
                <c:pt idx="1598">
                  <c:v>2.5413700000000001</c:v>
                </c:pt>
                <c:pt idx="1599">
                  <c:v>#N/A</c:v>
                </c:pt>
                <c:pt idx="1600">
                  <c:v>2.4077799999999998</c:v>
                </c:pt>
                <c:pt idx="1601">
                  <c:v>2.2697600000000002</c:v>
                </c:pt>
                <c:pt idx="1602">
                  <c:v>2.8525499999999999</c:v>
                </c:pt>
                <c:pt idx="1603">
                  <c:v>#N/A</c:v>
                </c:pt>
                <c:pt idx="1604">
                  <c:v>2.57091</c:v>
                </c:pt>
                <c:pt idx="1605">
                  <c:v>1.9200299999999999</c:v>
                </c:pt>
                <c:pt idx="1606">
                  <c:v>1.76071</c:v>
                </c:pt>
                <c:pt idx="1607">
                  <c:v>#N/A</c:v>
                </c:pt>
                <c:pt idx="1608">
                  <c:v>2.3885900000000002</c:v>
                </c:pt>
                <c:pt idx="1609">
                  <c:v>2.6047400000000001</c:v>
                </c:pt>
                <c:pt idx="1610">
                  <c:v>2.5855600000000001</c:v>
                </c:pt>
                <c:pt idx="1611">
                  <c:v>#N/A</c:v>
                </c:pt>
                <c:pt idx="1612">
                  <c:v>2.00909</c:v>
                </c:pt>
                <c:pt idx="1613">
                  <c:v>2.0409799999999998</c:v>
                </c:pt>
                <c:pt idx="1614">
                  <c:v>#N/A</c:v>
                </c:pt>
                <c:pt idx="1615">
                  <c:v>2.61117</c:v>
                </c:pt>
                <c:pt idx="1616">
                  <c:v>1.5843400000000001</c:v>
                </c:pt>
                <c:pt idx="1617">
                  <c:v>1.2815300000000001</c:v>
                </c:pt>
                <c:pt idx="1618">
                  <c:v>#N/A</c:v>
                </c:pt>
                <c:pt idx="1619">
                  <c:v>1.9395500000000001</c:v>
                </c:pt>
                <c:pt idx="1620">
                  <c:v>2.6946099999999999</c:v>
                </c:pt>
                <c:pt idx="1621">
                  <c:v>3.2828499999999998</c:v>
                </c:pt>
                <c:pt idx="1622">
                  <c:v>#N/A</c:v>
                </c:pt>
                <c:pt idx="1623">
                  <c:v>3.0754899999999998</c:v>
                </c:pt>
                <c:pt idx="1624">
                  <c:v>2.0870000000000002</c:v>
                </c:pt>
                <c:pt idx="1625">
                  <c:v>1.9505600000000001</c:v>
                </c:pt>
                <c:pt idx="1626">
                  <c:v>#N/A</c:v>
                </c:pt>
                <c:pt idx="1627">
                  <c:v>1.4604900000000001</c:v>
                </c:pt>
                <c:pt idx="1628">
                  <c:v>1.59659</c:v>
                </c:pt>
                <c:pt idx="1629">
                  <c:v>2.0141399999999998</c:v>
                </c:pt>
                <c:pt idx="1630">
                  <c:v>#N/A</c:v>
                </c:pt>
                <c:pt idx="1631">
                  <c:v>2.5230899999999998</c:v>
                </c:pt>
                <c:pt idx="1632">
                  <c:v>3.0968599999999999</c:v>
                </c:pt>
                <c:pt idx="1633">
                  <c:v>#N/A</c:v>
                </c:pt>
                <c:pt idx="1634">
                  <c:v>3.1340599999999998</c:v>
                </c:pt>
                <c:pt idx="1635">
                  <c:v>2.42767</c:v>
                </c:pt>
                <c:pt idx="1636">
                  <c:v>1.77841</c:v>
                </c:pt>
                <c:pt idx="1637">
                  <c:v>#N/A</c:v>
                </c:pt>
                <c:pt idx="1638">
                  <c:v>1.2442500000000001</c:v>
                </c:pt>
                <c:pt idx="1639">
                  <c:v>1.47848</c:v>
                </c:pt>
                <c:pt idx="1640">
                  <c:v>#N/A</c:v>
                </c:pt>
                <c:pt idx="1641">
                  <c:v>1.7364200000000001</c:v>
                </c:pt>
                <c:pt idx="1642">
                  <c:v>2.7319399999999998</c:v>
                </c:pt>
                <c:pt idx="1643">
                  <c:v>3.00299</c:v>
                </c:pt>
                <c:pt idx="1644">
                  <c:v>#N/A</c:v>
                </c:pt>
                <c:pt idx="1645">
                  <c:v>3.9595699999999998</c:v>
                </c:pt>
                <c:pt idx="1646">
                  <c:v>3.0284900000000001</c:v>
                </c:pt>
                <c:pt idx="1647">
                  <c:v>1.79572</c:v>
                </c:pt>
                <c:pt idx="1648">
                  <c:v>#N/A</c:v>
                </c:pt>
                <c:pt idx="1649">
                  <c:v>#N/A</c:v>
                </c:pt>
                <c:pt idx="1650">
                  <c:v>1.30748</c:v>
                </c:pt>
                <c:pt idx="1651">
                  <c:v>1.9923200000000001</c:v>
                </c:pt>
                <c:pt idx="1652">
                  <c:v>#N/A</c:v>
                </c:pt>
                <c:pt idx="1653">
                  <c:v>2.4499900000000001</c:v>
                </c:pt>
                <c:pt idx="1654">
                  <c:v>2.21068</c:v>
                </c:pt>
                <c:pt idx="1655">
                  <c:v>2.4815999999999998</c:v>
                </c:pt>
                <c:pt idx="1656">
                  <c:v>#N/A</c:v>
                </c:pt>
                <c:pt idx="1657">
                  <c:v>2.9614600000000002</c:v>
                </c:pt>
                <c:pt idx="1658">
                  <c:v>2.7132000000000001</c:v>
                </c:pt>
                <c:pt idx="1659">
                  <c:v>2.41527</c:v>
                </c:pt>
                <c:pt idx="1660">
                  <c:v>#N/A</c:v>
                </c:pt>
                <c:pt idx="1661">
                  <c:v>1.9920199999999999</c:v>
                </c:pt>
                <c:pt idx="1662">
                  <c:v>1.81925</c:v>
                </c:pt>
                <c:pt idx="1663">
                  <c:v>2.4248699999999999</c:v>
                </c:pt>
                <c:pt idx="1664">
                  <c:v>#N/A</c:v>
                </c:pt>
                <c:pt idx="1665">
                  <c:v>2.6789900000000002</c:v>
                </c:pt>
                <c:pt idx="1666">
                  <c:v>2.9321000000000002</c:v>
                </c:pt>
                <c:pt idx="1667">
                  <c:v>2.8142</c:v>
                </c:pt>
                <c:pt idx="1668">
                  <c:v>#N/A</c:v>
                </c:pt>
                <c:pt idx="1669">
                  <c:v>2.4963899999999999</c:v>
                </c:pt>
                <c:pt idx="1670">
                  <c:v>2.43987</c:v>
                </c:pt>
                <c:pt idx="1671">
                  <c:v>#N/A</c:v>
                </c:pt>
                <c:pt idx="1672">
                  <c:v>2.1794699999999998</c:v>
                </c:pt>
                <c:pt idx="1673">
                  <c:v>2.1811500000000001</c:v>
                </c:pt>
                <c:pt idx="1674">
                  <c:v>2.20444</c:v>
                </c:pt>
                <c:pt idx="1675">
                  <c:v>#N/A</c:v>
                </c:pt>
                <c:pt idx="1676">
                  <c:v>2.57544</c:v>
                </c:pt>
                <c:pt idx="1677">
                  <c:v>1.87558</c:v>
                </c:pt>
                <c:pt idx="1678">
                  <c:v>#N/A</c:v>
                </c:pt>
                <c:pt idx="1679">
                  <c:v>1.2040299999999999</c:v>
                </c:pt>
                <c:pt idx="1680">
                  <c:v>1.11355</c:v>
                </c:pt>
                <c:pt idx="1681">
                  <c:v>1.98898</c:v>
                </c:pt>
                <c:pt idx="1682">
                  <c:v>#N/A</c:v>
                </c:pt>
                <c:pt idx="1683">
                  <c:v>2.5670799999999998</c:v>
                </c:pt>
                <c:pt idx="1684">
                  <c:v>3.2606899999999999</c:v>
                </c:pt>
                <c:pt idx="1685">
                  <c:v>3.3358599999999998</c:v>
                </c:pt>
                <c:pt idx="1686">
                  <c:v>#N/A</c:v>
                </c:pt>
                <c:pt idx="1687">
                  <c:v>2.9382899999999998</c:v>
                </c:pt>
                <c:pt idx="1688">
                  <c:v>2.8722699999999999</c:v>
                </c:pt>
                <c:pt idx="1689">
                  <c:v>2.4960599999999999</c:v>
                </c:pt>
                <c:pt idx="1690">
                  <c:v>#N/A</c:v>
                </c:pt>
                <c:pt idx="1691">
                  <c:v>2.2154199999999999</c:v>
                </c:pt>
                <c:pt idx="1692">
                  <c:v>2.3200799999999999</c:v>
                </c:pt>
                <c:pt idx="1693">
                  <c:v>3.1597200000000001</c:v>
                </c:pt>
                <c:pt idx="1694">
                  <c:v>#N/A</c:v>
                </c:pt>
                <c:pt idx="1695">
                  <c:v>2.8971</c:v>
                </c:pt>
                <c:pt idx="1696">
                  <c:v>2.6972200000000002</c:v>
                </c:pt>
                <c:pt idx="1697">
                  <c:v>2.2979799999999999</c:v>
                </c:pt>
                <c:pt idx="1698">
                  <c:v>#N/A</c:v>
                </c:pt>
                <c:pt idx="1699">
                  <c:v>2.1476199999999999</c:v>
                </c:pt>
                <c:pt idx="1700">
                  <c:v>1.91255</c:v>
                </c:pt>
                <c:pt idx="1701">
                  <c:v>1.7921199999999999</c:v>
                </c:pt>
                <c:pt idx="1702">
                  <c:v>#N/A</c:v>
                </c:pt>
                <c:pt idx="1703">
                  <c:v>1.64131</c:v>
                </c:pt>
                <c:pt idx="1704">
                  <c:v>2.2611400000000001</c:v>
                </c:pt>
                <c:pt idx="1705">
                  <c:v>2.4546899999999998</c:v>
                </c:pt>
                <c:pt idx="1706">
                  <c:v>#N/A</c:v>
                </c:pt>
                <c:pt idx="1707">
                  <c:v>2.9511799999999999</c:v>
                </c:pt>
                <c:pt idx="1708">
                  <c:v>2.7709700000000002</c:v>
                </c:pt>
                <c:pt idx="1709">
                  <c:v>#N/A</c:v>
                </c:pt>
                <c:pt idx="1710">
                  <c:v>2.3836599999999999</c:v>
                </c:pt>
                <c:pt idx="1711">
                  <c:v>2.26505</c:v>
                </c:pt>
                <c:pt idx="1712">
                  <c:v>1.7172700000000001</c:v>
                </c:pt>
                <c:pt idx="1713">
                  <c:v>#N/A</c:v>
                </c:pt>
                <c:pt idx="1714">
                  <c:v>2.25718</c:v>
                </c:pt>
                <c:pt idx="1715">
                  <c:v>2.5828600000000002</c:v>
                </c:pt>
                <c:pt idx="1716">
                  <c:v>2.8477199999999998</c:v>
                </c:pt>
                <c:pt idx="1717">
                  <c:v>#N/A</c:v>
                </c:pt>
                <c:pt idx="1718">
                  <c:v>3.6161400000000001</c:v>
                </c:pt>
                <c:pt idx="1719">
                  <c:v>2.88347</c:v>
                </c:pt>
                <c:pt idx="1720">
                  <c:v>2.0921099999999999</c:v>
                </c:pt>
                <c:pt idx="1721">
                  <c:v>#N/A</c:v>
                </c:pt>
                <c:pt idx="1722">
                  <c:v>2.1537799999999998</c:v>
                </c:pt>
                <c:pt idx="1723">
                  <c:v>1.7166300000000001</c:v>
                </c:pt>
                <c:pt idx="1724">
                  <c:v>#N/A</c:v>
                </c:pt>
                <c:pt idx="1725">
                  <c:v>2.2220200000000001</c:v>
                </c:pt>
                <c:pt idx="1726">
                  <c:v>3.07056</c:v>
                </c:pt>
                <c:pt idx="1727">
                  <c:v>#N/A</c:v>
                </c:pt>
                <c:pt idx="1728">
                  <c:v>3.3713099999999998</c:v>
                </c:pt>
                <c:pt idx="1729">
                  <c:v>2.8312499999999998</c:v>
                </c:pt>
                <c:pt idx="1730">
                  <c:v>#N/A</c:v>
                </c:pt>
                <c:pt idx="1731">
                  <c:v>2.39296</c:v>
                </c:pt>
                <c:pt idx="1732">
                  <c:v>1.96875</c:v>
                </c:pt>
                <c:pt idx="1733">
                  <c:v>1.5233699999999999</c:v>
                </c:pt>
                <c:pt idx="1734">
                  <c:v>#N/A</c:v>
                </c:pt>
                <c:pt idx="1735">
                  <c:v>1.9130799999999999</c:v>
                </c:pt>
                <c:pt idx="1736">
                  <c:v>1.9152100000000001</c:v>
                </c:pt>
                <c:pt idx="1737">
                  <c:v>2.4208500000000002</c:v>
                </c:pt>
                <c:pt idx="1738">
                  <c:v>#N/A</c:v>
                </c:pt>
                <c:pt idx="1739">
                  <c:v>2.8946299999999998</c:v>
                </c:pt>
                <c:pt idx="1740">
                  <c:v>2.5141300000000002</c:v>
                </c:pt>
                <c:pt idx="1741">
                  <c:v>#N/A</c:v>
                </c:pt>
                <c:pt idx="1742">
                  <c:v>2.2922899999999999</c:v>
                </c:pt>
                <c:pt idx="1743">
                  <c:v>2.2072699999999998</c:v>
                </c:pt>
                <c:pt idx="1744">
                  <c:v>2.39086</c:v>
                </c:pt>
                <c:pt idx="1745">
                  <c:v>#N/A</c:v>
                </c:pt>
                <c:pt idx="1746">
                  <c:v>2.5299700000000001</c:v>
                </c:pt>
                <c:pt idx="1747">
                  <c:v>3.3035999999999999</c:v>
                </c:pt>
                <c:pt idx="1748">
                  <c:v>3.4731399999999999</c:v>
                </c:pt>
                <c:pt idx="1749">
                  <c:v>#N/A</c:v>
                </c:pt>
                <c:pt idx="1750">
                  <c:v>2.5013299999999998</c:v>
                </c:pt>
                <c:pt idx="1751">
                  <c:v>2.7808999999999999</c:v>
                </c:pt>
                <c:pt idx="1752">
                  <c:v>2.4065599999999998</c:v>
                </c:pt>
                <c:pt idx="1753">
                  <c:v>#N/A</c:v>
                </c:pt>
                <c:pt idx="1754">
                  <c:v>2.8543799999999999</c:v>
                </c:pt>
                <c:pt idx="1755">
                  <c:v>3.2099799999999998</c:v>
                </c:pt>
                <c:pt idx="1756">
                  <c:v>3.7390599999999998</c:v>
                </c:pt>
                <c:pt idx="1757">
                  <c:v>#N/A</c:v>
                </c:pt>
                <c:pt idx="1758">
                  <c:v>3.7132299999999998</c:v>
                </c:pt>
                <c:pt idx="1759">
                  <c:v>3.5373800000000002</c:v>
                </c:pt>
                <c:pt idx="1760">
                  <c:v>3.1353300000000002</c:v>
                </c:pt>
                <c:pt idx="1761">
                  <c:v>#N/A</c:v>
                </c:pt>
                <c:pt idx="1762">
                  <c:v>2.9285100000000002</c:v>
                </c:pt>
                <c:pt idx="1763">
                  <c:v>2.6150699999999998</c:v>
                </c:pt>
                <c:pt idx="1764">
                  <c:v>2.6874899999999999</c:v>
                </c:pt>
                <c:pt idx="1765">
                  <c:v>#N/A</c:v>
                </c:pt>
                <c:pt idx="1766">
                  <c:v>2.4421300000000001</c:v>
                </c:pt>
                <c:pt idx="1767">
                  <c:v>2.4343699999999999</c:v>
                </c:pt>
                <c:pt idx="1768">
                  <c:v>#N/A</c:v>
                </c:pt>
                <c:pt idx="1769">
                  <c:v>3.1701199999999998</c:v>
                </c:pt>
                <c:pt idx="1770">
                  <c:v>3.1388600000000002</c:v>
                </c:pt>
                <c:pt idx="1771">
                  <c:v>3.0503100000000001</c:v>
                </c:pt>
                <c:pt idx="1772">
                  <c:v>#N/A</c:v>
                </c:pt>
                <c:pt idx="1773">
                  <c:v>2.1069599999999999</c:v>
                </c:pt>
                <c:pt idx="1774">
                  <c:v>1.6166700000000001</c:v>
                </c:pt>
                <c:pt idx="1775">
                  <c:v>1.5907</c:v>
                </c:pt>
                <c:pt idx="1776">
                  <c:v>#N/A</c:v>
                </c:pt>
                <c:pt idx="1777">
                  <c:v>2.2046399999999999</c:v>
                </c:pt>
                <c:pt idx="1778">
                  <c:v>2.4157600000000001</c:v>
                </c:pt>
                <c:pt idx="1779">
                  <c:v>3.08792</c:v>
                </c:pt>
                <c:pt idx="1780">
                  <c:v>#N/A</c:v>
                </c:pt>
                <c:pt idx="1781">
                  <c:v>2.8702899999999998</c:v>
                </c:pt>
                <c:pt idx="1782">
                  <c:v>3.04027</c:v>
                </c:pt>
                <c:pt idx="1783">
                  <c:v>2.67814</c:v>
                </c:pt>
                <c:pt idx="1784">
                  <c:v>#N/A</c:v>
                </c:pt>
                <c:pt idx="1785">
                  <c:v>2.14195</c:v>
                </c:pt>
                <c:pt idx="1786">
                  <c:v>1.87754</c:v>
                </c:pt>
                <c:pt idx="1787">
                  <c:v>#N/A</c:v>
                </c:pt>
                <c:pt idx="1788">
                  <c:v>2.4329499999999999</c:v>
                </c:pt>
                <c:pt idx="1789">
                  <c:v>3.01403</c:v>
                </c:pt>
                <c:pt idx="1790">
                  <c:v>3.3103600000000002</c:v>
                </c:pt>
                <c:pt idx="1791">
                  <c:v>#N/A</c:v>
                </c:pt>
                <c:pt idx="1792">
                  <c:v>3.2724099999999998</c:v>
                </c:pt>
                <c:pt idx="1793">
                  <c:v>3.0998000000000001</c:v>
                </c:pt>
                <c:pt idx="1794">
                  <c:v>2.3437100000000002</c:v>
                </c:pt>
                <c:pt idx="1795">
                  <c:v>#N/A</c:v>
                </c:pt>
                <c:pt idx="1796">
                  <c:v>2.4681099999999998</c:v>
                </c:pt>
                <c:pt idx="1797">
                  <c:v>2.3379099999999999</c:v>
                </c:pt>
                <c:pt idx="1798">
                  <c:v>#N/A</c:v>
                </c:pt>
                <c:pt idx="1799">
                  <c:v>2.4019900000000001</c:v>
                </c:pt>
                <c:pt idx="1800">
                  <c:v>2.6313900000000001</c:v>
                </c:pt>
                <c:pt idx="1801">
                  <c:v>#N/A</c:v>
                </c:pt>
                <c:pt idx="1802">
                  <c:v>2.5109499999999998</c:v>
                </c:pt>
                <c:pt idx="1803">
                  <c:v>1.8537600000000001</c:v>
                </c:pt>
                <c:pt idx="1804">
                  <c:v>#N/A</c:v>
                </c:pt>
                <c:pt idx="1805">
                  <c:v>1.9510099999999999</c:v>
                </c:pt>
                <c:pt idx="1806">
                  <c:v>2.3731100000000001</c:v>
                </c:pt>
                <c:pt idx="1807">
                  <c:v>2.3454700000000002</c:v>
                </c:pt>
                <c:pt idx="1808">
                  <c:v>#N/A</c:v>
                </c:pt>
                <c:pt idx="1809">
                  <c:v>3.25061</c:v>
                </c:pt>
                <c:pt idx="1810">
                  <c:v>2.68513</c:v>
                </c:pt>
                <c:pt idx="1811">
                  <c:v>#N/A</c:v>
                </c:pt>
                <c:pt idx="1812">
                  <c:v>3.2963200000000001</c:v>
                </c:pt>
                <c:pt idx="1813">
                  <c:v>2.84375</c:v>
                </c:pt>
                <c:pt idx="1814">
                  <c:v>2.9393199999999999</c:v>
                </c:pt>
                <c:pt idx="1815">
                  <c:v>#N/A</c:v>
                </c:pt>
                <c:pt idx="1816">
                  <c:v>2.56942</c:v>
                </c:pt>
                <c:pt idx="1817">
                  <c:v>2.5112700000000001</c:v>
                </c:pt>
                <c:pt idx="1818">
                  <c:v>2.5453700000000001</c:v>
                </c:pt>
                <c:pt idx="1819">
                  <c:v>#N/A</c:v>
                </c:pt>
                <c:pt idx="1820">
                  <c:v>2.8410299999999999</c:v>
                </c:pt>
                <c:pt idx="1821">
                  <c:v>2.6820900000000001</c:v>
                </c:pt>
                <c:pt idx="1822">
                  <c:v>2.8575499999999998</c:v>
                </c:pt>
                <c:pt idx="1823">
                  <c:v>#N/A</c:v>
                </c:pt>
                <c:pt idx="1824">
                  <c:v>2.4530699999999999</c:v>
                </c:pt>
                <c:pt idx="1825">
                  <c:v>1.75522</c:v>
                </c:pt>
                <c:pt idx="1826">
                  <c:v>1.7174799999999999</c:v>
                </c:pt>
                <c:pt idx="1827">
                  <c:v>#N/A</c:v>
                </c:pt>
                <c:pt idx="1828">
                  <c:v>1.75366</c:v>
                </c:pt>
                <c:pt idx="1829">
                  <c:v>2.4511799999999999</c:v>
                </c:pt>
                <c:pt idx="1830">
                  <c:v>2.92767</c:v>
                </c:pt>
                <c:pt idx="1831">
                  <c:v>#N/A</c:v>
                </c:pt>
                <c:pt idx="1832">
                  <c:v>2.9629599999999998</c:v>
                </c:pt>
                <c:pt idx="1833">
                  <c:v>2.5706000000000002</c:v>
                </c:pt>
                <c:pt idx="1834">
                  <c:v>#N/A</c:v>
                </c:pt>
                <c:pt idx="1835">
                  <c:v>2.4066700000000001</c:v>
                </c:pt>
                <c:pt idx="1836">
                  <c:v>1.6441399999999999</c:v>
                </c:pt>
                <c:pt idx="1837">
                  <c:v>1.9825600000000001</c:v>
                </c:pt>
                <c:pt idx="1838">
                  <c:v>#N/A</c:v>
                </c:pt>
                <c:pt idx="1839">
                  <c:v>2.2724099999999998</c:v>
                </c:pt>
                <c:pt idx="1840">
                  <c:v>2.46637</c:v>
                </c:pt>
                <c:pt idx="1841">
                  <c:v>2.98163</c:v>
                </c:pt>
                <c:pt idx="1842">
                  <c:v>#N/A</c:v>
                </c:pt>
                <c:pt idx="1843">
                  <c:v>3.1466099999999999</c:v>
                </c:pt>
                <c:pt idx="1844">
                  <c:v>3.1247600000000002</c:v>
                </c:pt>
                <c:pt idx="1845">
                  <c:v>3.0544600000000002</c:v>
                </c:pt>
                <c:pt idx="1846">
                  <c:v>#N/A</c:v>
                </c:pt>
                <c:pt idx="1847">
                  <c:v>1.6345000000000001</c:v>
                </c:pt>
                <c:pt idx="1848">
                  <c:v>1.92553</c:v>
                </c:pt>
                <c:pt idx="1849">
                  <c:v>1.9061399999999999</c:v>
                </c:pt>
                <c:pt idx="1850">
                  <c:v>#N/A</c:v>
                </c:pt>
                <c:pt idx="1851">
                  <c:v>2.9590100000000001</c:v>
                </c:pt>
                <c:pt idx="1852">
                  <c:v>3.2986800000000001</c:v>
                </c:pt>
                <c:pt idx="1853">
                  <c:v>3.22864</c:v>
                </c:pt>
                <c:pt idx="1854">
                  <c:v>#N/A</c:v>
                </c:pt>
                <c:pt idx="1855">
                  <c:v>2.77197</c:v>
                </c:pt>
                <c:pt idx="1856">
                  <c:v>2.6261299999999999</c:v>
                </c:pt>
                <c:pt idx="1857">
                  <c:v>1.8801399999999999</c:v>
                </c:pt>
                <c:pt idx="1858">
                  <c:v>#N/A</c:v>
                </c:pt>
                <c:pt idx="1859">
                  <c:v>1.75901</c:v>
                </c:pt>
                <c:pt idx="1860">
                  <c:v>2.3112699999999999</c:v>
                </c:pt>
                <c:pt idx="1861">
                  <c:v>#N/A</c:v>
                </c:pt>
                <c:pt idx="1862">
                  <c:v>2.5586099999999998</c:v>
                </c:pt>
                <c:pt idx="1863">
                  <c:v>2.8244500000000001</c:v>
                </c:pt>
                <c:pt idx="1864">
                  <c:v>2.5879699999999999</c:v>
                </c:pt>
                <c:pt idx="1865">
                  <c:v>#N/A</c:v>
                </c:pt>
                <c:pt idx="1866">
                  <c:v>2.41689</c:v>
                </c:pt>
                <c:pt idx="1867">
                  <c:v>2.3058000000000001</c:v>
                </c:pt>
                <c:pt idx="1868">
                  <c:v>2.3718499999999998</c:v>
                </c:pt>
                <c:pt idx="1869">
                  <c:v>#N/A</c:v>
                </c:pt>
                <c:pt idx="1870">
                  <c:v>3.1293099999999998</c:v>
                </c:pt>
                <c:pt idx="1871">
                  <c:v>2.88524</c:v>
                </c:pt>
                <c:pt idx="1872">
                  <c:v>2.9436399999999998</c:v>
                </c:pt>
                <c:pt idx="1873">
                  <c:v>#N/A</c:v>
                </c:pt>
                <c:pt idx="1874">
                  <c:v>3.19956</c:v>
                </c:pt>
                <c:pt idx="1875">
                  <c:v>#N/A</c:v>
                </c:pt>
                <c:pt idx="1876">
                  <c:v>3.29786</c:v>
                </c:pt>
                <c:pt idx="1877">
                  <c:v>2.6120399999999999</c:v>
                </c:pt>
                <c:pt idx="1878">
                  <c:v>2.2825299999999999</c:v>
                </c:pt>
                <c:pt idx="1879">
                  <c:v>#N/A</c:v>
                </c:pt>
                <c:pt idx="1880">
                  <c:v>2.49648</c:v>
                </c:pt>
                <c:pt idx="1881">
                  <c:v>2.7054900000000002</c:v>
                </c:pt>
                <c:pt idx="1882">
                  <c:v>#N/A</c:v>
                </c:pt>
                <c:pt idx="1883">
                  <c:v>2.9071799999999999</c:v>
                </c:pt>
                <c:pt idx="1884">
                  <c:v>2.9761700000000002</c:v>
                </c:pt>
                <c:pt idx="1885">
                  <c:v>2.5020600000000002</c:v>
                </c:pt>
                <c:pt idx="1886">
                  <c:v>#N/A</c:v>
                </c:pt>
                <c:pt idx="1887">
                  <c:v>2.0897000000000001</c:v>
                </c:pt>
                <c:pt idx="1888">
                  <c:v>2.3455599999999999</c:v>
                </c:pt>
                <c:pt idx="1889">
                  <c:v>1.64893</c:v>
                </c:pt>
                <c:pt idx="1890">
                  <c:v>#N/A</c:v>
                </c:pt>
                <c:pt idx="1891">
                  <c:v>2.3082099999999999</c:v>
                </c:pt>
                <c:pt idx="1892">
                  <c:v>2.5012799999999999</c:v>
                </c:pt>
                <c:pt idx="1893">
                  <c:v>#N/A</c:v>
                </c:pt>
                <c:pt idx="1894">
                  <c:v>3.2205300000000001</c:v>
                </c:pt>
                <c:pt idx="1895">
                  <c:v>3.1777099999999998</c:v>
                </c:pt>
                <c:pt idx="1896">
                  <c:v>2.9093399999999998</c:v>
                </c:pt>
                <c:pt idx="1897">
                  <c:v>#N/A</c:v>
                </c:pt>
                <c:pt idx="1898">
                  <c:v>2.7645499999999998</c:v>
                </c:pt>
                <c:pt idx="1899">
                  <c:v>2.2037300000000002</c:v>
                </c:pt>
                <c:pt idx="1900">
                  <c:v>2.4380000000000002</c:v>
                </c:pt>
                <c:pt idx="1901">
                  <c:v>#N/A</c:v>
                </c:pt>
                <c:pt idx="1902">
                  <c:v>2.2251300000000001</c:v>
                </c:pt>
                <c:pt idx="1903">
                  <c:v>2.6352099999999998</c:v>
                </c:pt>
                <c:pt idx="1904">
                  <c:v>2.86808</c:v>
                </c:pt>
                <c:pt idx="1905">
                  <c:v>#N/A</c:v>
                </c:pt>
                <c:pt idx="1906">
                  <c:v>2.9643199999999998</c:v>
                </c:pt>
                <c:pt idx="1907">
                  <c:v>2.5667800000000001</c:v>
                </c:pt>
                <c:pt idx="1908">
                  <c:v>1.7761</c:v>
                </c:pt>
                <c:pt idx="1909">
                  <c:v>#N/A</c:v>
                </c:pt>
                <c:pt idx="1910">
                  <c:v>1.39839</c:v>
                </c:pt>
                <c:pt idx="1911">
                  <c:v>1.9135500000000001</c:v>
                </c:pt>
                <c:pt idx="1912">
                  <c:v>2.4202900000000001</c:v>
                </c:pt>
                <c:pt idx="1913">
                  <c:v>#N/A</c:v>
                </c:pt>
                <c:pt idx="1914">
                  <c:v>2.84727</c:v>
                </c:pt>
                <c:pt idx="1915">
                  <c:v>3.0382400000000001</c:v>
                </c:pt>
                <c:pt idx="1916">
                  <c:v>2.8858899999999998</c:v>
                </c:pt>
                <c:pt idx="1917">
                  <c:v>#N/A</c:v>
                </c:pt>
                <c:pt idx="1918">
                  <c:v>2.58432</c:v>
                </c:pt>
                <c:pt idx="1919">
                  <c:v>2.3326199999999999</c:v>
                </c:pt>
                <c:pt idx="1920">
                  <c:v>#N/A</c:v>
                </c:pt>
                <c:pt idx="1921">
                  <c:v>1.8320099999999999</c:v>
                </c:pt>
                <c:pt idx="1922">
                  <c:v>1.5471999999999999</c:v>
                </c:pt>
                <c:pt idx="1923">
                  <c:v>2.29928</c:v>
                </c:pt>
                <c:pt idx="1924">
                  <c:v>#N/A</c:v>
                </c:pt>
                <c:pt idx="1925">
                  <c:v>2.62269</c:v>
                </c:pt>
                <c:pt idx="1926">
                  <c:v>3.0635599999999998</c:v>
                </c:pt>
                <c:pt idx="1927">
                  <c:v>2.54901</c:v>
                </c:pt>
                <c:pt idx="1928">
                  <c:v>#N/A</c:v>
                </c:pt>
                <c:pt idx="1929">
                  <c:v>2.4707400000000002</c:v>
                </c:pt>
                <c:pt idx="1930">
                  <c:v>2.0152199999999998</c:v>
                </c:pt>
                <c:pt idx="1931">
                  <c:v>2.0432800000000002</c:v>
                </c:pt>
                <c:pt idx="1932">
                  <c:v>#N/A</c:v>
                </c:pt>
                <c:pt idx="1933">
                  <c:v>1.82613</c:v>
                </c:pt>
                <c:pt idx="1934">
                  <c:v>2.7391399999999999</c:v>
                </c:pt>
                <c:pt idx="1935">
                  <c:v>3.4601299999999999</c:v>
                </c:pt>
                <c:pt idx="1936">
                  <c:v>#N/A</c:v>
                </c:pt>
                <c:pt idx="1937">
                  <c:v>3.12663</c:v>
                </c:pt>
                <c:pt idx="1938">
                  <c:v>3.0936900000000001</c:v>
                </c:pt>
                <c:pt idx="1939">
                  <c:v>2.371</c:v>
                </c:pt>
                <c:pt idx="1940">
                  <c:v>#N/A</c:v>
                </c:pt>
                <c:pt idx="1941">
                  <c:v>2.1229499999999999</c:v>
                </c:pt>
                <c:pt idx="1942">
                  <c:v>2.0720999999999998</c:v>
                </c:pt>
                <c:pt idx="1943">
                  <c:v>2.46611</c:v>
                </c:pt>
                <c:pt idx="1944">
                  <c:v>#N/A</c:v>
                </c:pt>
                <c:pt idx="1945">
                  <c:v>2.2971900000000001</c:v>
                </c:pt>
                <c:pt idx="1946">
                  <c:v>2.9380700000000002</c:v>
                </c:pt>
                <c:pt idx="1947">
                  <c:v>2.8614199999999999</c:v>
                </c:pt>
                <c:pt idx="1948">
                  <c:v>#N/A</c:v>
                </c:pt>
                <c:pt idx="1949">
                  <c:v>2.6090100000000001</c:v>
                </c:pt>
                <c:pt idx="1950">
                  <c:v>#N/A</c:v>
                </c:pt>
                <c:pt idx="1951">
                  <c:v>1.7394099999999999</c:v>
                </c:pt>
                <c:pt idx="1952">
                  <c:v>2.00501</c:v>
                </c:pt>
                <c:pt idx="1953">
                  <c:v>#N/A</c:v>
                </c:pt>
                <c:pt idx="1954">
                  <c:v>1.7270399999999999</c:v>
                </c:pt>
                <c:pt idx="1955">
                  <c:v>2.6097199999999998</c:v>
                </c:pt>
                <c:pt idx="1956">
                  <c:v>3.0908199999999999</c:v>
                </c:pt>
                <c:pt idx="1957">
                  <c:v>#N/A</c:v>
                </c:pt>
                <c:pt idx="1958">
                  <c:v>3.1246100000000001</c:v>
                </c:pt>
                <c:pt idx="1959">
                  <c:v>2.6335799999999998</c:v>
                </c:pt>
                <c:pt idx="1960">
                  <c:v>#N/A</c:v>
                </c:pt>
                <c:pt idx="1961">
                  <c:v>2.2711899999999998</c:v>
                </c:pt>
                <c:pt idx="1962">
                  <c:v>2.0506000000000002</c:v>
                </c:pt>
                <c:pt idx="1963">
                  <c:v>2.1462699999999999</c:v>
                </c:pt>
                <c:pt idx="1964">
                  <c:v>#N/A</c:v>
                </c:pt>
                <c:pt idx="1965">
                  <c:v>2.5946699999999998</c:v>
                </c:pt>
                <c:pt idx="1966">
                  <c:v>2.9204699999999999</c:v>
                </c:pt>
                <c:pt idx="1967">
                  <c:v>2.8694999999999999</c:v>
                </c:pt>
                <c:pt idx="1968">
                  <c:v>#N/A</c:v>
                </c:pt>
                <c:pt idx="1969">
                  <c:v>2.53037</c:v>
                </c:pt>
                <c:pt idx="1970">
                  <c:v>2.4180600000000001</c:v>
                </c:pt>
                <c:pt idx="1971">
                  <c:v>2.0266700000000002</c:v>
                </c:pt>
                <c:pt idx="1972">
                  <c:v>#N/A</c:v>
                </c:pt>
                <c:pt idx="1973">
                  <c:v>2.4620000000000002</c:v>
                </c:pt>
                <c:pt idx="1974">
                  <c:v>2.7571599999999998</c:v>
                </c:pt>
                <c:pt idx="1975">
                  <c:v>#N/A</c:v>
                </c:pt>
                <c:pt idx="1976">
                  <c:v>2.8879800000000002</c:v>
                </c:pt>
                <c:pt idx="1977">
                  <c:v>3.1481599999999998</c:v>
                </c:pt>
                <c:pt idx="1978">
                  <c:v>3.3600500000000002</c:v>
                </c:pt>
                <c:pt idx="1979">
                  <c:v>#N/A</c:v>
                </c:pt>
                <c:pt idx="1980">
                  <c:v>2.58846</c:v>
                </c:pt>
                <c:pt idx="1981">
                  <c:v>2.3953600000000002</c:v>
                </c:pt>
                <c:pt idx="1982">
                  <c:v>2.1812299999999998</c:v>
                </c:pt>
                <c:pt idx="1983">
                  <c:v>#N/A</c:v>
                </c:pt>
                <c:pt idx="1984">
                  <c:v>2.6141999999999999</c:v>
                </c:pt>
                <c:pt idx="1985">
                  <c:v>2.5986699999999998</c:v>
                </c:pt>
                <c:pt idx="1986">
                  <c:v>3.17299</c:v>
                </c:pt>
                <c:pt idx="1987">
                  <c:v>#N/A</c:v>
                </c:pt>
                <c:pt idx="1988">
                  <c:v>3.10711</c:v>
                </c:pt>
                <c:pt idx="1989">
                  <c:v>3.12005</c:v>
                </c:pt>
                <c:pt idx="1990">
                  <c:v>2.8682500000000002</c:v>
                </c:pt>
                <c:pt idx="1991">
                  <c:v>#N/A</c:v>
                </c:pt>
                <c:pt idx="1992">
                  <c:v>2.38646</c:v>
                </c:pt>
                <c:pt idx="1993">
                  <c:v>2.1238999999999999</c:v>
                </c:pt>
                <c:pt idx="1994">
                  <c:v>2.2395399999999999</c:v>
                </c:pt>
                <c:pt idx="1995">
                  <c:v>#N/A</c:v>
                </c:pt>
                <c:pt idx="1996">
                  <c:v>2.60839</c:v>
                </c:pt>
                <c:pt idx="1997">
                  <c:v>2.9845999999999999</c:v>
                </c:pt>
                <c:pt idx="1998">
                  <c:v>3.4187400000000001</c:v>
                </c:pt>
                <c:pt idx="1999">
                  <c:v>#N/A</c:v>
                </c:pt>
                <c:pt idx="2000">
                  <c:v>3.5970499999999999</c:v>
                </c:pt>
                <c:pt idx="2001">
                  <c:v>3.1741299999999999</c:v>
                </c:pt>
                <c:pt idx="2002">
                  <c:v>2.53708</c:v>
                </c:pt>
                <c:pt idx="2003">
                  <c:v>#N/A</c:v>
                </c:pt>
                <c:pt idx="2004">
                  <c:v>2.3847499999999999</c:v>
                </c:pt>
                <c:pt idx="2005">
                  <c:v>2.2389600000000001</c:v>
                </c:pt>
                <c:pt idx="2006">
                  <c:v>#N/A</c:v>
                </c:pt>
                <c:pt idx="2007">
                  <c:v>2.2815799999999999</c:v>
                </c:pt>
                <c:pt idx="2008">
                  <c:v>2.44157</c:v>
                </c:pt>
                <c:pt idx="2009">
                  <c:v>2.76125</c:v>
                </c:pt>
                <c:pt idx="2010">
                  <c:v>#N/A</c:v>
                </c:pt>
                <c:pt idx="2011">
                  <c:v>2.6433599999999999</c:v>
                </c:pt>
                <c:pt idx="2012">
                  <c:v>2.8755500000000001</c:v>
                </c:pt>
                <c:pt idx="2013">
                  <c:v>2.2080199999999999</c:v>
                </c:pt>
                <c:pt idx="2014">
                  <c:v>#N/A</c:v>
                </c:pt>
                <c:pt idx="2015">
                  <c:v>1.4872399999999999</c:v>
                </c:pt>
                <c:pt idx="2016">
                  <c:v>1.6629</c:v>
                </c:pt>
                <c:pt idx="2017">
                  <c:v>2.1723599999999998</c:v>
                </c:pt>
                <c:pt idx="2018">
                  <c:v>#N/A</c:v>
                </c:pt>
                <c:pt idx="2019">
                  <c:v>2.7798400000000001</c:v>
                </c:pt>
                <c:pt idx="2020">
                  <c:v>2.7921200000000002</c:v>
                </c:pt>
                <c:pt idx="2021">
                  <c:v>2.8928199999999999</c:v>
                </c:pt>
                <c:pt idx="2022">
                  <c:v>#N/A</c:v>
                </c:pt>
                <c:pt idx="2023">
                  <c:v>2.7306599999999999</c:v>
                </c:pt>
                <c:pt idx="2024">
                  <c:v>2.2646999999999999</c:v>
                </c:pt>
                <c:pt idx="2025">
                  <c:v>#N/A</c:v>
                </c:pt>
                <c:pt idx="2026">
                  <c:v>2.69346</c:v>
                </c:pt>
                <c:pt idx="2027">
                  <c:v>2.15124</c:v>
                </c:pt>
                <c:pt idx="2028">
                  <c:v>#N/A</c:v>
                </c:pt>
                <c:pt idx="2029">
                  <c:v>2.6666400000000001</c:v>
                </c:pt>
                <c:pt idx="2030">
                  <c:v>2.6716000000000002</c:v>
                </c:pt>
                <c:pt idx="2031">
                  <c:v>2.67876</c:v>
                </c:pt>
                <c:pt idx="2032">
                  <c:v>#N/A</c:v>
                </c:pt>
                <c:pt idx="2033">
                  <c:v>2.2767400000000002</c:v>
                </c:pt>
                <c:pt idx="2034">
                  <c:v>2.3596499999999998</c:v>
                </c:pt>
                <c:pt idx="2035">
                  <c:v>#N/A</c:v>
                </c:pt>
                <c:pt idx="2036">
                  <c:v>1.69638</c:v>
                </c:pt>
                <c:pt idx="2037">
                  <c:v>1.9023600000000001</c:v>
                </c:pt>
                <c:pt idx="2038">
                  <c:v>2.6499100000000002</c:v>
                </c:pt>
                <c:pt idx="2039">
                  <c:v>#N/A</c:v>
                </c:pt>
                <c:pt idx="2040">
                  <c:v>3.14716</c:v>
                </c:pt>
                <c:pt idx="2041">
                  <c:v>3.3898000000000001</c:v>
                </c:pt>
                <c:pt idx="2042">
                  <c:v>2.2837399999999999</c:v>
                </c:pt>
                <c:pt idx="2043">
                  <c:v>#N/A</c:v>
                </c:pt>
                <c:pt idx="2044">
                  <c:v>2.25617</c:v>
                </c:pt>
                <c:pt idx="2045">
                  <c:v>2.1331199999999999</c:v>
                </c:pt>
                <c:pt idx="2046">
                  <c:v>2.27522</c:v>
                </c:pt>
                <c:pt idx="2047">
                  <c:v>#N/A</c:v>
                </c:pt>
                <c:pt idx="2048">
                  <c:v>2.6713399999999998</c:v>
                </c:pt>
                <c:pt idx="2049">
                  <c:v>2.5625900000000001</c:v>
                </c:pt>
                <c:pt idx="2050">
                  <c:v>3.0329000000000002</c:v>
                </c:pt>
                <c:pt idx="2051">
                  <c:v>#N/A</c:v>
                </c:pt>
                <c:pt idx="2052">
                  <c:v>3.3014299999999999</c:v>
                </c:pt>
                <c:pt idx="2053">
                  <c:v>2.7125400000000002</c:v>
                </c:pt>
                <c:pt idx="2054">
                  <c:v>2.34267</c:v>
                </c:pt>
                <c:pt idx="2055">
                  <c:v>#N/A</c:v>
                </c:pt>
                <c:pt idx="2056">
                  <c:v>1.8199700000000001</c:v>
                </c:pt>
                <c:pt idx="2057">
                  <c:v>2.5642999999999998</c:v>
                </c:pt>
                <c:pt idx="2058">
                  <c:v>#N/A</c:v>
                </c:pt>
                <c:pt idx="2059">
                  <c:v>2.4285999999999999</c:v>
                </c:pt>
                <c:pt idx="2060">
                  <c:v>2.79271</c:v>
                </c:pt>
                <c:pt idx="2061">
                  <c:v>2.8541799999999999</c:v>
                </c:pt>
                <c:pt idx="2062">
                  <c:v>#N/A</c:v>
                </c:pt>
                <c:pt idx="2063">
                  <c:v>3.1495299999999999</c:v>
                </c:pt>
                <c:pt idx="2064">
                  <c:v>2.3140299999999998</c:v>
                </c:pt>
                <c:pt idx="2065">
                  <c:v>2.0503900000000002</c:v>
                </c:pt>
                <c:pt idx="2066">
                  <c:v>#N/A</c:v>
                </c:pt>
                <c:pt idx="2067">
                  <c:v>1.6712400000000001</c:v>
                </c:pt>
                <c:pt idx="2068">
                  <c:v>1.7346299999999999</c:v>
                </c:pt>
                <c:pt idx="2069">
                  <c:v>2.6132399999999998</c:v>
                </c:pt>
                <c:pt idx="2070">
                  <c:v>#N/A</c:v>
                </c:pt>
                <c:pt idx="2071">
                  <c:v>2.77501</c:v>
                </c:pt>
                <c:pt idx="2072">
                  <c:v>2.51953</c:v>
                </c:pt>
                <c:pt idx="2073">
                  <c:v>#N/A</c:v>
                </c:pt>
                <c:pt idx="2074">
                  <c:v>2.3527999999999998</c:v>
                </c:pt>
                <c:pt idx="2075">
                  <c:v>2.5239799999999999</c:v>
                </c:pt>
                <c:pt idx="2076">
                  <c:v>1.91886</c:v>
                </c:pt>
                <c:pt idx="2077">
                  <c:v>#N/A</c:v>
                </c:pt>
                <c:pt idx="2078">
                  <c:v>1.76173</c:v>
                </c:pt>
                <c:pt idx="2079">
                  <c:v>1.7844899999999999</c:v>
                </c:pt>
                <c:pt idx="2080">
                  <c:v>2.5314700000000001</c:v>
                </c:pt>
                <c:pt idx="2081">
                  <c:v>#N/A</c:v>
                </c:pt>
                <c:pt idx="2082">
                  <c:v>3.3691800000000001</c:v>
                </c:pt>
                <c:pt idx="2083">
                  <c:v>3.2672099999999999</c:v>
                </c:pt>
                <c:pt idx="2084">
                  <c:v>3.0767899999999999</c:v>
                </c:pt>
                <c:pt idx="2085">
                  <c:v>#N/A</c:v>
                </c:pt>
                <c:pt idx="2086">
                  <c:v>2.5854400000000002</c:v>
                </c:pt>
                <c:pt idx="2087">
                  <c:v>2.4337499999999999</c:v>
                </c:pt>
                <c:pt idx="2088">
                  <c:v>2.46048</c:v>
                </c:pt>
                <c:pt idx="2089">
                  <c:v>#N/A</c:v>
                </c:pt>
                <c:pt idx="2090">
                  <c:v>2.18147</c:v>
                </c:pt>
                <c:pt idx="2091">
                  <c:v>2.2627600000000001</c:v>
                </c:pt>
                <c:pt idx="2092">
                  <c:v>2.3448600000000002</c:v>
                </c:pt>
                <c:pt idx="2093">
                  <c:v>#N/A</c:v>
                </c:pt>
                <c:pt idx="2094">
                  <c:v>3.1329400000000001</c:v>
                </c:pt>
                <c:pt idx="2095">
                  <c:v>#N/A</c:v>
                </c:pt>
                <c:pt idx="2096">
                  <c:v>2.1266500000000002</c:v>
                </c:pt>
                <c:pt idx="2097">
                  <c:v>#N/A</c:v>
                </c:pt>
                <c:pt idx="2098">
                  <c:v>1.87229</c:v>
                </c:pt>
                <c:pt idx="2099">
                  <c:v>2.23577</c:v>
                </c:pt>
                <c:pt idx="2100">
                  <c:v>#N/A</c:v>
                </c:pt>
                <c:pt idx="2101">
                  <c:v>2.7070799999999999</c:v>
                </c:pt>
                <c:pt idx="2102">
                  <c:v>#N/A</c:v>
                </c:pt>
                <c:pt idx="2103">
                  <c:v>2.6861100000000002</c:v>
                </c:pt>
                <c:pt idx="2104">
                  <c:v>2.95547</c:v>
                </c:pt>
                <c:pt idx="2105">
                  <c:v>2.99437</c:v>
                </c:pt>
                <c:pt idx="2106">
                  <c:v>#N/A</c:v>
                </c:pt>
                <c:pt idx="2107">
                  <c:v>3.32864</c:v>
                </c:pt>
                <c:pt idx="2108">
                  <c:v>2.8307899999999999</c:v>
                </c:pt>
                <c:pt idx="2109">
                  <c:v>2.9265400000000001</c:v>
                </c:pt>
                <c:pt idx="2110">
                  <c:v>#N/A</c:v>
                </c:pt>
                <c:pt idx="2111">
                  <c:v>3.0886999999999998</c:v>
                </c:pt>
                <c:pt idx="2112">
                  <c:v>3.1154000000000002</c:v>
                </c:pt>
                <c:pt idx="2113">
                  <c:v>#N/A</c:v>
                </c:pt>
                <c:pt idx="2114">
                  <c:v>2.8540700000000001</c:v>
                </c:pt>
                <c:pt idx="2115">
                  <c:v>3.2082799999999998</c:v>
                </c:pt>
                <c:pt idx="2116">
                  <c:v>2.8501599999999998</c:v>
                </c:pt>
                <c:pt idx="2117">
                  <c:v>#N/A</c:v>
                </c:pt>
                <c:pt idx="2118">
                  <c:v>1.89161</c:v>
                </c:pt>
                <c:pt idx="2119">
                  <c:v>2.15449</c:v>
                </c:pt>
                <c:pt idx="2120">
                  <c:v>2.0643099999999999</c:v>
                </c:pt>
                <c:pt idx="2121">
                  <c:v>#N/A</c:v>
                </c:pt>
                <c:pt idx="2122">
                  <c:v>2.3666</c:v>
                </c:pt>
                <c:pt idx="2123">
                  <c:v>2.7389299999999999</c:v>
                </c:pt>
                <c:pt idx="2124">
                  <c:v>2.98055</c:v>
                </c:pt>
                <c:pt idx="2125">
                  <c:v>#N/A</c:v>
                </c:pt>
                <c:pt idx="2126">
                  <c:v>2.8763399999999999</c:v>
                </c:pt>
                <c:pt idx="2127">
                  <c:v>2.1406000000000001</c:v>
                </c:pt>
                <c:pt idx="2128">
                  <c:v>1.8171299999999999</c:v>
                </c:pt>
                <c:pt idx="2129">
                  <c:v>#N/A</c:v>
                </c:pt>
                <c:pt idx="2130">
                  <c:v>1.7151000000000001</c:v>
                </c:pt>
                <c:pt idx="2131">
                  <c:v>2.0360100000000001</c:v>
                </c:pt>
                <c:pt idx="2132">
                  <c:v>2.6419700000000002</c:v>
                </c:pt>
                <c:pt idx="2133">
                  <c:v>#N/A</c:v>
                </c:pt>
                <c:pt idx="2134">
                  <c:v>2.5600700000000001</c:v>
                </c:pt>
                <c:pt idx="2135">
                  <c:v>2.4873099999999999</c:v>
                </c:pt>
                <c:pt idx="2136">
                  <c:v>2.32131</c:v>
                </c:pt>
                <c:pt idx="2137">
                  <c:v>#N/A</c:v>
                </c:pt>
                <c:pt idx="2138">
                  <c:v>2.2007699999999999</c:v>
                </c:pt>
                <c:pt idx="2139">
                  <c:v>1.5139400000000001</c:v>
                </c:pt>
                <c:pt idx="2140">
                  <c:v>#N/A</c:v>
                </c:pt>
                <c:pt idx="2141">
                  <c:v>1.85897</c:v>
                </c:pt>
                <c:pt idx="2142">
                  <c:v>2.2730600000000001</c:v>
                </c:pt>
                <c:pt idx="2143">
                  <c:v>3.19272</c:v>
                </c:pt>
                <c:pt idx="2144">
                  <c:v>#N/A</c:v>
                </c:pt>
                <c:pt idx="2145">
                  <c:v>3.3250000000000002</c:v>
                </c:pt>
                <c:pt idx="2146">
                  <c:v>2.6783999999999999</c:v>
                </c:pt>
                <c:pt idx="2147">
                  <c:v>2.9788600000000001</c:v>
                </c:pt>
                <c:pt idx="2148">
                  <c:v>#N/A</c:v>
                </c:pt>
                <c:pt idx="2149">
                  <c:v>2.2263899999999999</c:v>
                </c:pt>
                <c:pt idx="2150">
                  <c:v>2.2615699999999999</c:v>
                </c:pt>
                <c:pt idx="2151">
                  <c:v>2.17476</c:v>
                </c:pt>
                <c:pt idx="2152">
                  <c:v>#N/A</c:v>
                </c:pt>
                <c:pt idx="2153">
                  <c:v>2.1793</c:v>
                </c:pt>
                <c:pt idx="2154">
                  <c:v>2.2614399999999999</c:v>
                </c:pt>
                <c:pt idx="2155">
                  <c:v>3.3086899999999999</c:v>
                </c:pt>
                <c:pt idx="2156">
                  <c:v>#N/A</c:v>
                </c:pt>
                <c:pt idx="2157">
                  <c:v>2.24742</c:v>
                </c:pt>
                <c:pt idx="2158">
                  <c:v>2.4233699999999998</c:v>
                </c:pt>
                <c:pt idx="2159">
                  <c:v>2.0679799999999999</c:v>
                </c:pt>
                <c:pt idx="2160">
                  <c:v>#N/A</c:v>
                </c:pt>
                <c:pt idx="2161">
                  <c:v>1.82819</c:v>
                </c:pt>
                <c:pt idx="2162">
                  <c:v>1.7709699999999999</c:v>
                </c:pt>
                <c:pt idx="2163">
                  <c:v>2.0605099999999998</c:v>
                </c:pt>
                <c:pt idx="2164">
                  <c:v>#N/A</c:v>
                </c:pt>
                <c:pt idx="2165">
                  <c:v>2.70479</c:v>
                </c:pt>
                <c:pt idx="2166">
                  <c:v>2.2818200000000002</c:v>
                </c:pt>
                <c:pt idx="2167">
                  <c:v>3.4801199999999999</c:v>
                </c:pt>
                <c:pt idx="2168">
                  <c:v>#N/A</c:v>
                </c:pt>
                <c:pt idx="2169">
                  <c:v>2.28227</c:v>
                </c:pt>
                <c:pt idx="2170">
                  <c:v>2.31969</c:v>
                </c:pt>
                <c:pt idx="2171">
                  <c:v>#N/A</c:v>
                </c:pt>
                <c:pt idx="2172">
                  <c:v>1.61781</c:v>
                </c:pt>
                <c:pt idx="2173">
                  <c:v>2.2171500000000002</c:v>
                </c:pt>
                <c:pt idx="2174">
                  <c:v>2.1906099999999999</c:v>
                </c:pt>
                <c:pt idx="2175">
                  <c:v>#N/A</c:v>
                </c:pt>
                <c:pt idx="2176">
                  <c:v>2.6905600000000001</c:v>
                </c:pt>
                <c:pt idx="2177">
                  <c:v>#N/A</c:v>
                </c:pt>
                <c:pt idx="2178">
                  <c:v>2.5741999999999998</c:v>
                </c:pt>
                <c:pt idx="2179">
                  <c:v>2.8327100000000001</c:v>
                </c:pt>
                <c:pt idx="2180">
                  <c:v>#N/A</c:v>
                </c:pt>
                <c:pt idx="2181">
                  <c:v>2.6207699999999998</c:v>
                </c:pt>
                <c:pt idx="2182">
                  <c:v>2.0689600000000001</c:v>
                </c:pt>
                <c:pt idx="2183">
                  <c:v>1.56471</c:v>
                </c:pt>
                <c:pt idx="2184">
                  <c:v>#N/A</c:v>
                </c:pt>
                <c:pt idx="2185">
                  <c:v>2.37717</c:v>
                </c:pt>
                <c:pt idx="2186">
                  <c:v>2.4218700000000002</c:v>
                </c:pt>
                <c:pt idx="2187">
                  <c:v>2.4890400000000001</c:v>
                </c:pt>
                <c:pt idx="2188">
                  <c:v>#N/A</c:v>
                </c:pt>
                <c:pt idx="2189">
                  <c:v>1.9238599999999999</c:v>
                </c:pt>
                <c:pt idx="2190">
                  <c:v>2.1535299999999999</c:v>
                </c:pt>
                <c:pt idx="2191">
                  <c:v>2.3659599999999998</c:v>
                </c:pt>
                <c:pt idx="2192">
                  <c:v>#N/A</c:v>
                </c:pt>
                <c:pt idx="2193">
                  <c:v>2.04758</c:v>
                </c:pt>
                <c:pt idx="2194">
                  <c:v>2.1405500000000002</c:v>
                </c:pt>
                <c:pt idx="2195">
                  <c:v>2.3963399999999999</c:v>
                </c:pt>
                <c:pt idx="2196">
                  <c:v>#N/A</c:v>
                </c:pt>
                <c:pt idx="2197">
                  <c:v>2.49465</c:v>
                </c:pt>
                <c:pt idx="2198">
                  <c:v>2.4681099999999998</c:v>
                </c:pt>
                <c:pt idx="2199">
                  <c:v>2.10731</c:v>
                </c:pt>
                <c:pt idx="2200">
                  <c:v>#N/A</c:v>
                </c:pt>
                <c:pt idx="2201">
                  <c:v>1.5511299999999999</c:v>
                </c:pt>
                <c:pt idx="2202">
                  <c:v>1.74553</c:v>
                </c:pt>
                <c:pt idx="2203">
                  <c:v>#N/A</c:v>
                </c:pt>
                <c:pt idx="2204">
                  <c:v>2.3019400000000001</c:v>
                </c:pt>
                <c:pt idx="2205">
                  <c:v>2.6412399999999998</c:v>
                </c:pt>
                <c:pt idx="2206">
                  <c:v>2.9062000000000001</c:v>
                </c:pt>
                <c:pt idx="2207">
                  <c:v>#N/A</c:v>
                </c:pt>
                <c:pt idx="2208">
                  <c:v>3.0747599999999999</c:v>
                </c:pt>
                <c:pt idx="2209">
                  <c:v>2.1562999999999999</c:v>
                </c:pt>
                <c:pt idx="2210">
                  <c:v>2.5021300000000002</c:v>
                </c:pt>
                <c:pt idx="2211">
                  <c:v>#N/A</c:v>
                </c:pt>
                <c:pt idx="2212">
                  <c:v>1.5290299999999999</c:v>
                </c:pt>
                <c:pt idx="2213">
                  <c:v>1.46035</c:v>
                </c:pt>
                <c:pt idx="2214">
                  <c:v>#N/A</c:v>
                </c:pt>
                <c:pt idx="2215">
                  <c:v>1.8873500000000001</c:v>
                </c:pt>
                <c:pt idx="2216">
                  <c:v>2.51417</c:v>
                </c:pt>
                <c:pt idx="2217">
                  <c:v>3.0024799999999998</c:v>
                </c:pt>
                <c:pt idx="2218">
                  <c:v>#N/A</c:v>
                </c:pt>
                <c:pt idx="2219">
                  <c:v>2.4525600000000001</c:v>
                </c:pt>
                <c:pt idx="2220">
                  <c:v>2.2280199999999999</c:v>
                </c:pt>
                <c:pt idx="2221">
                  <c:v>1.9010800000000001</c:v>
                </c:pt>
                <c:pt idx="2222">
                  <c:v>#N/A</c:v>
                </c:pt>
                <c:pt idx="2223">
                  <c:v>1.80227</c:v>
                </c:pt>
                <c:pt idx="2224">
                  <c:v>1.92211</c:v>
                </c:pt>
                <c:pt idx="2225">
                  <c:v>2.3628800000000001</c:v>
                </c:pt>
                <c:pt idx="2226">
                  <c:v>#N/A</c:v>
                </c:pt>
                <c:pt idx="2227">
                  <c:v>2.84856</c:v>
                </c:pt>
                <c:pt idx="2228">
                  <c:v>2.89506</c:v>
                </c:pt>
                <c:pt idx="2229">
                  <c:v>3.4790100000000002</c:v>
                </c:pt>
                <c:pt idx="2230">
                  <c:v>#N/A</c:v>
                </c:pt>
                <c:pt idx="2231">
                  <c:v>2.8260299999999998</c:v>
                </c:pt>
                <c:pt idx="2232">
                  <c:v>2.4371299999999998</c:v>
                </c:pt>
                <c:pt idx="2233">
                  <c:v>2.2871600000000001</c:v>
                </c:pt>
                <c:pt idx="2234">
                  <c:v>#N/A</c:v>
                </c:pt>
                <c:pt idx="2235">
                  <c:v>2.1713499999999999</c:v>
                </c:pt>
                <c:pt idx="2236">
                  <c:v>1.9597199999999999</c:v>
                </c:pt>
                <c:pt idx="2237">
                  <c:v>2.2934299999999999</c:v>
                </c:pt>
                <c:pt idx="2238">
                  <c:v>#N/A</c:v>
                </c:pt>
                <c:pt idx="2239">
                  <c:v>3.0929700000000002</c:v>
                </c:pt>
                <c:pt idx="2240">
                  <c:v>2.3595199999999998</c:v>
                </c:pt>
                <c:pt idx="2241">
                  <c:v>2.4425400000000002</c:v>
                </c:pt>
                <c:pt idx="2242">
                  <c:v>#N/A</c:v>
                </c:pt>
                <c:pt idx="2243">
                  <c:v>1.7118500000000001</c:v>
                </c:pt>
                <c:pt idx="2244">
                  <c:v>1.75118</c:v>
                </c:pt>
                <c:pt idx="2245">
                  <c:v>2.3502100000000001</c:v>
                </c:pt>
                <c:pt idx="2246">
                  <c:v>#N/A</c:v>
                </c:pt>
                <c:pt idx="2247">
                  <c:v>1.9339299999999999</c:v>
                </c:pt>
                <c:pt idx="2248">
                  <c:v>2.5268199999999998</c:v>
                </c:pt>
                <c:pt idx="2249">
                  <c:v>#N/A</c:v>
                </c:pt>
                <c:pt idx="2250">
                  <c:v>2.9763500000000001</c:v>
                </c:pt>
                <c:pt idx="2251">
                  <c:v>#N/A</c:v>
                </c:pt>
                <c:pt idx="2252">
                  <c:v>3.35012</c:v>
                </c:pt>
                <c:pt idx="2253">
                  <c:v>2.60521</c:v>
                </c:pt>
                <c:pt idx="2254">
                  <c:v>2.12323</c:v>
                </c:pt>
                <c:pt idx="2255">
                  <c:v>#N/A</c:v>
                </c:pt>
                <c:pt idx="2256">
                  <c:v>1.8582099999999999</c:v>
                </c:pt>
                <c:pt idx="2257">
                  <c:v>1.81945</c:v>
                </c:pt>
                <c:pt idx="2258">
                  <c:v>2.0699999999999998</c:v>
                </c:pt>
                <c:pt idx="2259">
                  <c:v>#N/A</c:v>
                </c:pt>
                <c:pt idx="2260">
                  <c:v>2.53905</c:v>
                </c:pt>
                <c:pt idx="2261">
                  <c:v>2.5125899999999999</c:v>
                </c:pt>
                <c:pt idx="2262">
                  <c:v>#N/A</c:v>
                </c:pt>
                <c:pt idx="2263">
                  <c:v>2.7757999999999998</c:v>
                </c:pt>
                <c:pt idx="2264">
                  <c:v>2.2392799999999999</c:v>
                </c:pt>
                <c:pt idx="2265">
                  <c:v>2.5275599999999998</c:v>
                </c:pt>
                <c:pt idx="2266">
                  <c:v>#N/A</c:v>
                </c:pt>
                <c:pt idx="2267">
                  <c:v>2.4045100000000001</c:v>
                </c:pt>
                <c:pt idx="2268">
                  <c:v>2.0599400000000001</c:v>
                </c:pt>
                <c:pt idx="2269">
                  <c:v>2.74383</c:v>
                </c:pt>
                <c:pt idx="2270">
                  <c:v>#N/A</c:v>
                </c:pt>
                <c:pt idx="2271">
                  <c:v>2.7841200000000002</c:v>
                </c:pt>
                <c:pt idx="2272">
                  <c:v>2.7452800000000002</c:v>
                </c:pt>
                <c:pt idx="2273">
                  <c:v>2.6500900000000001</c:v>
                </c:pt>
                <c:pt idx="2274">
                  <c:v>#N/A</c:v>
                </c:pt>
                <c:pt idx="2275">
                  <c:v>2.5416300000000001</c:v>
                </c:pt>
                <c:pt idx="2276">
                  <c:v>2.1591499999999999</c:v>
                </c:pt>
                <c:pt idx="2277">
                  <c:v>#N/A</c:v>
                </c:pt>
                <c:pt idx="2278">
                  <c:v>2.95309</c:v>
                </c:pt>
                <c:pt idx="2279">
                  <c:v>2.5123799999999998</c:v>
                </c:pt>
                <c:pt idx="2280">
                  <c:v>2.7336200000000002</c:v>
                </c:pt>
                <c:pt idx="2281">
                  <c:v>#N/A</c:v>
                </c:pt>
                <c:pt idx="2282">
                  <c:v>2.5474199999999998</c:v>
                </c:pt>
                <c:pt idx="2283">
                  <c:v>2.7616800000000001</c:v>
                </c:pt>
                <c:pt idx="2284">
                  <c:v>2.7815300000000001</c:v>
                </c:pt>
                <c:pt idx="2285">
                  <c:v>#N/A</c:v>
                </c:pt>
                <c:pt idx="2286">
                  <c:v>1.89937</c:v>
                </c:pt>
                <c:pt idx="2287">
                  <c:v>2.0880000000000001</c:v>
                </c:pt>
                <c:pt idx="2288">
                  <c:v>2.7161300000000002</c:v>
                </c:pt>
                <c:pt idx="2289">
                  <c:v>#N/A</c:v>
                </c:pt>
                <c:pt idx="2290">
                  <c:v>3.3115399999999999</c:v>
                </c:pt>
                <c:pt idx="2291">
                  <c:v>3.5216799999999999</c:v>
                </c:pt>
                <c:pt idx="2292">
                  <c:v>3.0277799999999999</c:v>
                </c:pt>
                <c:pt idx="2293">
                  <c:v>#N/A</c:v>
                </c:pt>
                <c:pt idx="2294">
                  <c:v>3.0201799999999999</c:v>
                </c:pt>
                <c:pt idx="2295">
                  <c:v>2.2035999999999998</c:v>
                </c:pt>
                <c:pt idx="2296">
                  <c:v>2.23115</c:v>
                </c:pt>
                <c:pt idx="2297">
                  <c:v>#N/A</c:v>
                </c:pt>
                <c:pt idx="2298">
                  <c:v>2.25664</c:v>
                </c:pt>
                <c:pt idx="2299">
                  <c:v>2.67536</c:v>
                </c:pt>
                <c:pt idx="2300">
                  <c:v>#N/A</c:v>
                </c:pt>
                <c:pt idx="2301">
                  <c:v>2.7686799999999998</c:v>
                </c:pt>
                <c:pt idx="2302">
                  <c:v>3.1818900000000001</c:v>
                </c:pt>
                <c:pt idx="2303">
                  <c:v>3.2149700000000001</c:v>
                </c:pt>
                <c:pt idx="2304">
                  <c:v>#N/A</c:v>
                </c:pt>
                <c:pt idx="2305">
                  <c:v>2.7797200000000002</c:v>
                </c:pt>
                <c:pt idx="2306">
                  <c:v>2.4363600000000001</c:v>
                </c:pt>
                <c:pt idx="2307">
                  <c:v>2.3724699999999999</c:v>
                </c:pt>
                <c:pt idx="2308">
                  <c:v>#N/A</c:v>
                </c:pt>
                <c:pt idx="2309">
                  <c:v>2.8706800000000001</c:v>
                </c:pt>
                <c:pt idx="2310">
                  <c:v>2.6229300000000002</c:v>
                </c:pt>
                <c:pt idx="2311">
                  <c:v>3.1783100000000002</c:v>
                </c:pt>
                <c:pt idx="2312">
                  <c:v>#N/A</c:v>
                </c:pt>
                <c:pt idx="2313">
                  <c:v>3.6493199999999999</c:v>
                </c:pt>
                <c:pt idx="2314">
                  <c:v>3.70655</c:v>
                </c:pt>
                <c:pt idx="2315">
                  <c:v>3.4601299999999999</c:v>
                </c:pt>
                <c:pt idx="2316">
                  <c:v>#N/A</c:v>
                </c:pt>
                <c:pt idx="2317">
                  <c:v>2.63205</c:v>
                </c:pt>
                <c:pt idx="2318">
                  <c:v>2.4352</c:v>
                </c:pt>
                <c:pt idx="2319">
                  <c:v>2.1031</c:v>
                </c:pt>
                <c:pt idx="2320">
                  <c:v>#N/A</c:v>
                </c:pt>
                <c:pt idx="2321">
                  <c:v>2.8266200000000001</c:v>
                </c:pt>
                <c:pt idx="2322">
                  <c:v>3.39046</c:v>
                </c:pt>
                <c:pt idx="2323">
                  <c:v>3.2533400000000001</c:v>
                </c:pt>
                <c:pt idx="2324">
                  <c:v>#N/A</c:v>
                </c:pt>
                <c:pt idx="2325">
                  <c:v>3.0152299999999999</c:v>
                </c:pt>
                <c:pt idx="2326">
                  <c:v>#N/A</c:v>
                </c:pt>
                <c:pt idx="2327">
                  <c:v>2.8710499999999999</c:v>
                </c:pt>
                <c:pt idx="2328">
                  <c:v>#N/A</c:v>
                </c:pt>
                <c:pt idx="2329">
                  <c:v>2.4681899999999999</c:v>
                </c:pt>
                <c:pt idx="2330">
                  <c:v>2.7247699999999999</c:v>
                </c:pt>
                <c:pt idx="2331">
                  <c:v>3.1284299999999998</c:v>
                </c:pt>
                <c:pt idx="2332">
                  <c:v>#N/A</c:v>
                </c:pt>
                <c:pt idx="2333">
                  <c:v>3.72099</c:v>
                </c:pt>
                <c:pt idx="2334">
                  <c:v>3.5134699999999999</c:v>
                </c:pt>
                <c:pt idx="2335">
                  <c:v>2.98827</c:v>
                </c:pt>
                <c:pt idx="2336">
                  <c:v>#N/A</c:v>
                </c:pt>
                <c:pt idx="2337">
                  <c:v>3.04358</c:v>
                </c:pt>
                <c:pt idx="2338">
                  <c:v>2.6947399999999999</c:v>
                </c:pt>
                <c:pt idx="2339">
                  <c:v>2.4121700000000001</c:v>
                </c:pt>
                <c:pt idx="2340">
                  <c:v>#N/A</c:v>
                </c:pt>
                <c:pt idx="2341">
                  <c:v>2.90062</c:v>
                </c:pt>
                <c:pt idx="2342">
                  <c:v>2.76139</c:v>
                </c:pt>
                <c:pt idx="2343">
                  <c:v>#N/A</c:v>
                </c:pt>
                <c:pt idx="2344">
                  <c:v>3.21848</c:v>
                </c:pt>
                <c:pt idx="2345">
                  <c:v>3.2852299999999999</c:v>
                </c:pt>
                <c:pt idx="2346">
                  <c:v>2.3673500000000001</c:v>
                </c:pt>
                <c:pt idx="2347">
                  <c:v>#N/A</c:v>
                </c:pt>
                <c:pt idx="2348">
                  <c:v>2.1059700000000001</c:v>
                </c:pt>
                <c:pt idx="2349">
                  <c:v>2.1092900000000001</c:v>
                </c:pt>
                <c:pt idx="2350">
                  <c:v>#N/A</c:v>
                </c:pt>
                <c:pt idx="2351">
                  <c:v>2.4720300000000002</c:v>
                </c:pt>
                <c:pt idx="2352">
                  <c:v>3.2076799999999999</c:v>
                </c:pt>
                <c:pt idx="2353">
                  <c:v>3.3795099999999998</c:v>
                </c:pt>
                <c:pt idx="2354">
                  <c:v>#N/A</c:v>
                </c:pt>
                <c:pt idx="2355">
                  <c:v>3.8205900000000002</c:v>
                </c:pt>
                <c:pt idx="2356">
                  <c:v>3.0477099999999999</c:v>
                </c:pt>
                <c:pt idx="2357">
                  <c:v>2.8520699999999999</c:v>
                </c:pt>
                <c:pt idx="2358">
                  <c:v>#N/A</c:v>
                </c:pt>
                <c:pt idx="2359">
                  <c:v>2.4196200000000001</c:v>
                </c:pt>
                <c:pt idx="2360">
                  <c:v>2.5109599999999999</c:v>
                </c:pt>
                <c:pt idx="2361">
                  <c:v>2.42788</c:v>
                </c:pt>
                <c:pt idx="2362">
                  <c:v>#N/A</c:v>
                </c:pt>
                <c:pt idx="2363">
                  <c:v>3.0780500000000002</c:v>
                </c:pt>
                <c:pt idx="2364">
                  <c:v>3.1846999999999999</c:v>
                </c:pt>
                <c:pt idx="2365">
                  <c:v>2.76892</c:v>
                </c:pt>
                <c:pt idx="2366">
                  <c:v>#N/A</c:v>
                </c:pt>
                <c:pt idx="2367">
                  <c:v>3.0985100000000001</c:v>
                </c:pt>
                <c:pt idx="2368">
                  <c:v>2.38462</c:v>
                </c:pt>
                <c:pt idx="2369">
                  <c:v>#N/A</c:v>
                </c:pt>
                <c:pt idx="2370">
                  <c:v>2.49125</c:v>
                </c:pt>
                <c:pt idx="2371">
                  <c:v>2.5759099999999999</c:v>
                </c:pt>
                <c:pt idx="2372">
                  <c:v>2.8016899999999998</c:v>
                </c:pt>
                <c:pt idx="2373">
                  <c:v>#N/A</c:v>
                </c:pt>
                <c:pt idx="2374">
                  <c:v>3.1328299999999998</c:v>
                </c:pt>
                <c:pt idx="2375">
                  <c:v>3.2687400000000002</c:v>
                </c:pt>
                <c:pt idx="2376">
                  <c:v>3.2475299999999998</c:v>
                </c:pt>
                <c:pt idx="2377">
                  <c:v>#N/A</c:v>
                </c:pt>
                <c:pt idx="2378">
                  <c:v>2.96238</c:v>
                </c:pt>
                <c:pt idx="2379">
                  <c:v>2.6487699999999998</c:v>
                </c:pt>
                <c:pt idx="2380">
                  <c:v>2.1979099999999998</c:v>
                </c:pt>
                <c:pt idx="2381">
                  <c:v>#N/A</c:v>
                </c:pt>
                <c:pt idx="2382">
                  <c:v>2.3404500000000001</c:v>
                </c:pt>
                <c:pt idx="2383">
                  <c:v>2.2597100000000001</c:v>
                </c:pt>
                <c:pt idx="2384">
                  <c:v>3.05335</c:v>
                </c:pt>
                <c:pt idx="2385">
                  <c:v>#N/A</c:v>
                </c:pt>
                <c:pt idx="2386">
                  <c:v>2.92591</c:v>
                </c:pt>
                <c:pt idx="2387">
                  <c:v>2.77197</c:v>
                </c:pt>
                <c:pt idx="2388">
                  <c:v>2.8530500000000001</c:v>
                </c:pt>
                <c:pt idx="2389">
                  <c:v>#N/A</c:v>
                </c:pt>
                <c:pt idx="2390">
                  <c:v>1.9013899999999999</c:v>
                </c:pt>
                <c:pt idx="2391">
                  <c:v>1.9292800000000001</c:v>
                </c:pt>
                <c:pt idx="2392">
                  <c:v>2.2636400000000001</c:v>
                </c:pt>
                <c:pt idx="2393">
                  <c:v>#N/A</c:v>
                </c:pt>
                <c:pt idx="2394">
                  <c:v>3.0418400000000001</c:v>
                </c:pt>
                <c:pt idx="2395">
                  <c:v>3.2521</c:v>
                </c:pt>
                <c:pt idx="2396">
                  <c:v>#N/A</c:v>
                </c:pt>
                <c:pt idx="2397">
                  <c:v>3.84131</c:v>
                </c:pt>
                <c:pt idx="2398">
                  <c:v>3.7987299999999999</c:v>
                </c:pt>
                <c:pt idx="2399">
                  <c:v>2.9779300000000002</c:v>
                </c:pt>
                <c:pt idx="2400">
                  <c:v>#N/A</c:v>
                </c:pt>
                <c:pt idx="2401">
                  <c:v>2.9292099999999999</c:v>
                </c:pt>
                <c:pt idx="2402">
                  <c:v>#N/A</c:v>
                </c:pt>
                <c:pt idx="2403">
                  <c:v>2.8373900000000001</c:v>
                </c:pt>
                <c:pt idx="2404">
                  <c:v>#N/A</c:v>
                </c:pt>
                <c:pt idx="2405">
                  <c:v>3.2507700000000002</c:v>
                </c:pt>
                <c:pt idx="2406">
                  <c:v>3.6132599999999999</c:v>
                </c:pt>
                <c:pt idx="2407">
                  <c:v>3.1607500000000002</c:v>
                </c:pt>
                <c:pt idx="2408">
                  <c:v>#N/A</c:v>
                </c:pt>
                <c:pt idx="2409">
                  <c:v>2.83535</c:v>
                </c:pt>
                <c:pt idx="2410">
                  <c:v>3.0503800000000001</c:v>
                </c:pt>
                <c:pt idx="2411">
                  <c:v>3.15089</c:v>
                </c:pt>
                <c:pt idx="2412">
                  <c:v>#N/A</c:v>
                </c:pt>
                <c:pt idx="2413">
                  <c:v>2.97858</c:v>
                </c:pt>
                <c:pt idx="2414">
                  <c:v>2.94706</c:v>
                </c:pt>
                <c:pt idx="2415">
                  <c:v>3.3475100000000002</c:v>
                </c:pt>
                <c:pt idx="2416">
                  <c:v>#N/A</c:v>
                </c:pt>
                <c:pt idx="2417">
                  <c:v>3.9496500000000001</c:v>
                </c:pt>
                <c:pt idx="2418">
                  <c:v>3.7858100000000001</c:v>
                </c:pt>
                <c:pt idx="2419">
                  <c:v>4.2463699999999998</c:v>
                </c:pt>
                <c:pt idx="2420">
                  <c:v>#N/A</c:v>
                </c:pt>
                <c:pt idx="2421">
                  <c:v>2.9393500000000001</c:v>
                </c:pt>
                <c:pt idx="2422">
                  <c:v>2.8914300000000002</c:v>
                </c:pt>
                <c:pt idx="2423">
                  <c:v>3.5463800000000001</c:v>
                </c:pt>
                <c:pt idx="2424">
                  <c:v>#N/A</c:v>
                </c:pt>
                <c:pt idx="2425">
                  <c:v>3.7760400000000001</c:v>
                </c:pt>
                <c:pt idx="2426">
                  <c:v>3.5935199999999998</c:v>
                </c:pt>
                <c:pt idx="2427">
                  <c:v>3.3199700000000001</c:v>
                </c:pt>
                <c:pt idx="2428">
                  <c:v>#N/A</c:v>
                </c:pt>
                <c:pt idx="2429">
                  <c:v>3.41046</c:v>
                </c:pt>
                <c:pt idx="2430">
                  <c:v>3.1491500000000001</c:v>
                </c:pt>
                <c:pt idx="2431">
                  <c:v>#N/A</c:v>
                </c:pt>
                <c:pt idx="2432">
                  <c:v>3.0006300000000001</c:v>
                </c:pt>
                <c:pt idx="2433">
                  <c:v>2.86795</c:v>
                </c:pt>
                <c:pt idx="2434">
                  <c:v>3.1062599999999998</c:v>
                </c:pt>
                <c:pt idx="2435">
                  <c:v>#N/A</c:v>
                </c:pt>
                <c:pt idx="2436">
                  <c:v>3.5620400000000001</c:v>
                </c:pt>
                <c:pt idx="2437">
                  <c:v>4.01295</c:v>
                </c:pt>
                <c:pt idx="2438">
                  <c:v>3.5326200000000001</c:v>
                </c:pt>
                <c:pt idx="2439">
                  <c:v>#N/A</c:v>
                </c:pt>
                <c:pt idx="2440">
                  <c:v>3.48306</c:v>
                </c:pt>
                <c:pt idx="2441">
                  <c:v>3.68059</c:v>
                </c:pt>
                <c:pt idx="2442">
                  <c:v>2.9771800000000002</c:v>
                </c:pt>
                <c:pt idx="2443">
                  <c:v>#N/A</c:v>
                </c:pt>
                <c:pt idx="2444">
                  <c:v>2.7441</c:v>
                </c:pt>
                <c:pt idx="2445">
                  <c:v>3.2795100000000001</c:v>
                </c:pt>
                <c:pt idx="2446">
                  <c:v>3.8961999999999999</c:v>
                </c:pt>
                <c:pt idx="2447">
                  <c:v>#N/A</c:v>
                </c:pt>
                <c:pt idx="2448">
                  <c:v>4.2751200000000003</c:v>
                </c:pt>
                <c:pt idx="2449">
                  <c:v>3.4225699999999999</c:v>
                </c:pt>
                <c:pt idx="2450">
                  <c:v>3.3625500000000001</c:v>
                </c:pt>
                <c:pt idx="2451">
                  <c:v>#N/A</c:v>
                </c:pt>
                <c:pt idx="2452">
                  <c:v>2.3026300000000002</c:v>
                </c:pt>
                <c:pt idx="2453">
                  <c:v>2.40754</c:v>
                </c:pt>
                <c:pt idx="2454">
                  <c:v>3.1507499999999999</c:v>
                </c:pt>
                <c:pt idx="2455">
                  <c:v>#N/A</c:v>
                </c:pt>
                <c:pt idx="2456">
                  <c:v>2.8532899999999999</c:v>
                </c:pt>
                <c:pt idx="2457">
                  <c:v>3.3889399999999998</c:v>
                </c:pt>
                <c:pt idx="2458">
                  <c:v>#N/A</c:v>
                </c:pt>
                <c:pt idx="2459">
                  <c:v>3.8021400000000001</c:v>
                </c:pt>
                <c:pt idx="2460">
                  <c:v>4.0058100000000003</c:v>
                </c:pt>
                <c:pt idx="2461">
                  <c:v>3.6408</c:v>
                </c:pt>
                <c:pt idx="2462">
                  <c:v>#N/A</c:v>
                </c:pt>
                <c:pt idx="2463">
                  <c:v>3.1255799999999998</c:v>
                </c:pt>
                <c:pt idx="2464">
                  <c:v>2.7951800000000002</c:v>
                </c:pt>
                <c:pt idx="2465">
                  <c:v>2.76084</c:v>
                </c:pt>
                <c:pt idx="2466">
                  <c:v>#N/A</c:v>
                </c:pt>
                <c:pt idx="2467">
                  <c:v>3.3799199999999998</c:v>
                </c:pt>
                <c:pt idx="2468">
                  <c:v>3.4285600000000001</c:v>
                </c:pt>
                <c:pt idx="2469">
                  <c:v>3.0014599999999998</c:v>
                </c:pt>
                <c:pt idx="2470">
                  <c:v>#N/A</c:v>
                </c:pt>
                <c:pt idx="2471">
                  <c:v>3.5228700000000002</c:v>
                </c:pt>
                <c:pt idx="2472">
                  <c:v>3.1356600000000001</c:v>
                </c:pt>
                <c:pt idx="2473">
                  <c:v>2.6608999999999998</c:v>
                </c:pt>
                <c:pt idx="2474">
                  <c:v>#N/A</c:v>
                </c:pt>
                <c:pt idx="2475">
                  <c:v>2.5775199999999998</c:v>
                </c:pt>
                <c:pt idx="2476">
                  <c:v>#N/A</c:v>
                </c:pt>
                <c:pt idx="2477">
                  <c:v>2.6457199999999998</c:v>
                </c:pt>
                <c:pt idx="2478">
                  <c:v>3.3970699999999998</c:v>
                </c:pt>
                <c:pt idx="2479">
                  <c:v>#N/A</c:v>
                </c:pt>
                <c:pt idx="2480">
                  <c:v>3.1692100000000001</c:v>
                </c:pt>
                <c:pt idx="2481">
                  <c:v>3.9233899999999999</c:v>
                </c:pt>
                <c:pt idx="2482">
                  <c:v>3.60412</c:v>
                </c:pt>
                <c:pt idx="2483">
                  <c:v>#N/A</c:v>
                </c:pt>
                <c:pt idx="2484">
                  <c:v>3.3550200000000001</c:v>
                </c:pt>
                <c:pt idx="2485">
                  <c:v>2.9238400000000002</c:v>
                </c:pt>
                <c:pt idx="2486">
                  <c:v>#N/A</c:v>
                </c:pt>
                <c:pt idx="2487">
                  <c:v>2.3435000000000001</c:v>
                </c:pt>
                <c:pt idx="2488">
                  <c:v>2.9902299999999999</c:v>
                </c:pt>
                <c:pt idx="2489">
                  <c:v>2.5713499999999998</c:v>
                </c:pt>
                <c:pt idx="2490">
                  <c:v>#N/A</c:v>
                </c:pt>
                <c:pt idx="2491">
                  <c:v>3.3233299999999999</c:v>
                </c:pt>
                <c:pt idx="2492">
                  <c:v>3.4200900000000001</c:v>
                </c:pt>
                <c:pt idx="2493">
                  <c:v>3.5548799999999998</c:v>
                </c:pt>
                <c:pt idx="2494">
                  <c:v>#N/A</c:v>
                </c:pt>
                <c:pt idx="2495">
                  <c:v>2.7130100000000001</c:v>
                </c:pt>
                <c:pt idx="2496">
                  <c:v>2.63856</c:v>
                </c:pt>
                <c:pt idx="2497">
                  <c:v>2.8978700000000002</c:v>
                </c:pt>
                <c:pt idx="2498">
                  <c:v>#N/A</c:v>
                </c:pt>
                <c:pt idx="2499">
                  <c:v>3.4603999999999999</c:v>
                </c:pt>
                <c:pt idx="2500">
                  <c:v>3.4784700000000002</c:v>
                </c:pt>
                <c:pt idx="2501">
                  <c:v>3.8058000000000001</c:v>
                </c:pt>
                <c:pt idx="2502">
                  <c:v>#N/A</c:v>
                </c:pt>
                <c:pt idx="2503">
                  <c:v>3.8415699999999999</c:v>
                </c:pt>
                <c:pt idx="2504">
                  <c:v>2.8273799999999998</c:v>
                </c:pt>
                <c:pt idx="2505">
                  <c:v>3.0464199999999999</c:v>
                </c:pt>
                <c:pt idx="2506">
                  <c:v>#N/A</c:v>
                </c:pt>
                <c:pt idx="2507">
                  <c:v>3.1426599999999998</c:v>
                </c:pt>
                <c:pt idx="2508">
                  <c:v>3.6254499999999998</c:v>
                </c:pt>
                <c:pt idx="2509">
                  <c:v>3.5845500000000001</c:v>
                </c:pt>
                <c:pt idx="2510">
                  <c:v>#N/A</c:v>
                </c:pt>
                <c:pt idx="2511">
                  <c:v>3.5294300000000001</c:v>
                </c:pt>
                <c:pt idx="2512">
                  <c:v>3.51932</c:v>
                </c:pt>
                <c:pt idx="2513">
                  <c:v>2.7002100000000002</c:v>
                </c:pt>
                <c:pt idx="2514">
                  <c:v>#N/A</c:v>
                </c:pt>
                <c:pt idx="2515">
                  <c:v>2.19523</c:v>
                </c:pt>
                <c:pt idx="2516">
                  <c:v>2.6365699999999999</c:v>
                </c:pt>
                <c:pt idx="2517">
                  <c:v>2.7480899999999999</c:v>
                </c:pt>
                <c:pt idx="2518">
                  <c:v>#N/A</c:v>
                </c:pt>
                <c:pt idx="2519">
                  <c:v>3.07403</c:v>
                </c:pt>
                <c:pt idx="2520">
                  <c:v>4.4176299999999999</c:v>
                </c:pt>
                <c:pt idx="2521">
                  <c:v>#N/A</c:v>
                </c:pt>
                <c:pt idx="2522">
                  <c:v>4.3067799999999998</c:v>
                </c:pt>
                <c:pt idx="2523">
                  <c:v>3.7090100000000001</c:v>
                </c:pt>
                <c:pt idx="2524">
                  <c:v>3.5890499999999999</c:v>
                </c:pt>
                <c:pt idx="2525">
                  <c:v>#N/A</c:v>
                </c:pt>
                <c:pt idx="2526">
                  <c:v>3.6429</c:v>
                </c:pt>
                <c:pt idx="2527">
                  <c:v>3.2009099999999999</c:v>
                </c:pt>
                <c:pt idx="2528">
                  <c:v>2.96001</c:v>
                </c:pt>
                <c:pt idx="2529">
                  <c:v>#N/A</c:v>
                </c:pt>
                <c:pt idx="2530">
                  <c:v>4.1935099999999998</c:v>
                </c:pt>
                <c:pt idx="2531">
                  <c:v>4.9647100000000002</c:v>
                </c:pt>
                <c:pt idx="2532">
                  <c:v>4.4903300000000002</c:v>
                </c:pt>
                <c:pt idx="2533">
                  <c:v>#N/A</c:v>
                </c:pt>
                <c:pt idx="2534">
                  <c:v>4.45939</c:v>
                </c:pt>
                <c:pt idx="2535">
                  <c:v>3.8698899999999998</c:v>
                </c:pt>
                <c:pt idx="2536">
                  <c:v>3.2048000000000001</c:v>
                </c:pt>
                <c:pt idx="2537">
                  <c:v>#N/A</c:v>
                </c:pt>
                <c:pt idx="2538">
                  <c:v>2.6994099999999999</c:v>
                </c:pt>
                <c:pt idx="2539">
                  <c:v>3.3468300000000002</c:v>
                </c:pt>
                <c:pt idx="2540">
                  <c:v>3.8357999999999999</c:v>
                </c:pt>
                <c:pt idx="2541">
                  <c:v>#N/A</c:v>
                </c:pt>
                <c:pt idx="2542">
                  <c:v>4.2497400000000001</c:v>
                </c:pt>
                <c:pt idx="2543">
                  <c:v>4.4042700000000004</c:v>
                </c:pt>
                <c:pt idx="2544">
                  <c:v>#N/A</c:v>
                </c:pt>
                <c:pt idx="2545">
                  <c:v>4.4119999999999999</c:v>
                </c:pt>
                <c:pt idx="2546">
                  <c:v>3.3887200000000002</c:v>
                </c:pt>
                <c:pt idx="2547">
                  <c:v>3.4165000000000001</c:v>
                </c:pt>
                <c:pt idx="2548">
                  <c:v>#N/A</c:v>
                </c:pt>
                <c:pt idx="2549">
                  <c:v>3.3932199999999999</c:v>
                </c:pt>
                <c:pt idx="2550">
                  <c:v>3.08033</c:v>
                </c:pt>
                <c:pt idx="2551">
                  <c:v>3.6741000000000001</c:v>
                </c:pt>
                <c:pt idx="2552">
                  <c:v>#N/A</c:v>
                </c:pt>
                <c:pt idx="2553">
                  <c:v>4.1435300000000002</c:v>
                </c:pt>
                <c:pt idx="2554">
                  <c:v>4.1131900000000003</c:v>
                </c:pt>
                <c:pt idx="2555">
                  <c:v>3.9931800000000002</c:v>
                </c:pt>
                <c:pt idx="2556">
                  <c:v>#N/A</c:v>
                </c:pt>
                <c:pt idx="2557">
                  <c:v>3.1247199999999999</c:v>
                </c:pt>
                <c:pt idx="2558">
                  <c:v>3.1411600000000002</c:v>
                </c:pt>
                <c:pt idx="2559">
                  <c:v>3.2405400000000002</c:v>
                </c:pt>
                <c:pt idx="2560">
                  <c:v>#N/A</c:v>
                </c:pt>
                <c:pt idx="2561">
                  <c:v>3.9053599999999999</c:v>
                </c:pt>
                <c:pt idx="2562">
                  <c:v>3.9824600000000001</c:v>
                </c:pt>
                <c:pt idx="2563">
                  <c:v>#N/A</c:v>
                </c:pt>
                <c:pt idx="2564">
                  <c:v>4.3574000000000002</c:v>
                </c:pt>
                <c:pt idx="2565">
                  <c:v>3.6663800000000002</c:v>
                </c:pt>
                <c:pt idx="2566">
                  <c:v>4.1292</c:v>
                </c:pt>
                <c:pt idx="2567">
                  <c:v>#N/A</c:v>
                </c:pt>
                <c:pt idx="2568">
                  <c:v>3.1023000000000001</c:v>
                </c:pt>
                <c:pt idx="2569">
                  <c:v>3.4074900000000001</c:v>
                </c:pt>
                <c:pt idx="2570">
                  <c:v>3.1116100000000002</c:v>
                </c:pt>
                <c:pt idx="2571">
                  <c:v>#N/A</c:v>
                </c:pt>
                <c:pt idx="2572">
                  <c:v>2.9195000000000002</c:v>
                </c:pt>
                <c:pt idx="2573">
                  <c:v>3.88653</c:v>
                </c:pt>
                <c:pt idx="2574">
                  <c:v>3.3989199999999999</c:v>
                </c:pt>
                <c:pt idx="2575">
                  <c:v>#N/A</c:v>
                </c:pt>
                <c:pt idx="2576">
                  <c:v>3.2549899999999998</c:v>
                </c:pt>
                <c:pt idx="2577">
                  <c:v>2.66086</c:v>
                </c:pt>
                <c:pt idx="2578">
                  <c:v>3.1525500000000002</c:v>
                </c:pt>
                <c:pt idx="2579">
                  <c:v>#N/A</c:v>
                </c:pt>
                <c:pt idx="2580">
                  <c:v>3.3445200000000002</c:v>
                </c:pt>
                <c:pt idx="2581">
                  <c:v>3.5715400000000002</c:v>
                </c:pt>
                <c:pt idx="2582">
                  <c:v>3.5840700000000001</c:v>
                </c:pt>
                <c:pt idx="2583">
                  <c:v>#N/A</c:v>
                </c:pt>
                <c:pt idx="2584">
                  <c:v>3.8149000000000002</c:v>
                </c:pt>
                <c:pt idx="2585">
                  <c:v>3.79853</c:v>
                </c:pt>
                <c:pt idx="2586">
                  <c:v>3.4094000000000002</c:v>
                </c:pt>
                <c:pt idx="2587">
                  <c:v>#N/A</c:v>
                </c:pt>
                <c:pt idx="2588">
                  <c:v>3.5101200000000001</c:v>
                </c:pt>
                <c:pt idx="2589">
                  <c:v>2.9925299999999999</c:v>
                </c:pt>
                <c:pt idx="2590">
                  <c:v>#N/A</c:v>
                </c:pt>
                <c:pt idx="2591">
                  <c:v>2.9765100000000002</c:v>
                </c:pt>
                <c:pt idx="2592">
                  <c:v>3.5186000000000002</c:v>
                </c:pt>
                <c:pt idx="2593">
                  <c:v>3.8651599999999999</c:v>
                </c:pt>
                <c:pt idx="2594">
                  <c:v>#N/A</c:v>
                </c:pt>
                <c:pt idx="2595">
                  <c:v>4.1387</c:v>
                </c:pt>
                <c:pt idx="2596">
                  <c:v>3.5058400000000001</c:v>
                </c:pt>
                <c:pt idx="2597">
                  <c:v>#N/A</c:v>
                </c:pt>
                <c:pt idx="2598">
                  <c:v>3.1947199999999998</c:v>
                </c:pt>
                <c:pt idx="2599">
                  <c:v>2.39541</c:v>
                </c:pt>
                <c:pt idx="2600">
                  <c:v>2.6749900000000002</c:v>
                </c:pt>
                <c:pt idx="2601">
                  <c:v>#N/A</c:v>
                </c:pt>
                <c:pt idx="2602">
                  <c:v>2.60521</c:v>
                </c:pt>
                <c:pt idx="2603">
                  <c:v>3.7635999999999998</c:v>
                </c:pt>
                <c:pt idx="2604">
                  <c:v>4.8117400000000004</c:v>
                </c:pt>
                <c:pt idx="2605">
                  <c:v>#N/A</c:v>
                </c:pt>
                <c:pt idx="2606">
                  <c:v>4.7233400000000003</c:v>
                </c:pt>
                <c:pt idx="2607">
                  <c:v>4.3728999999999996</c:v>
                </c:pt>
                <c:pt idx="2608">
                  <c:v>3.4517699999999998</c:v>
                </c:pt>
                <c:pt idx="2609">
                  <c:v>#N/A</c:v>
                </c:pt>
                <c:pt idx="2610">
                  <c:v>3.2145899999999998</c:v>
                </c:pt>
                <c:pt idx="2611">
                  <c:v>3.1950699999999999</c:v>
                </c:pt>
                <c:pt idx="2612">
                  <c:v>3.4276499999999999</c:v>
                </c:pt>
                <c:pt idx="2613">
                  <c:v>#N/A</c:v>
                </c:pt>
                <c:pt idx="2614">
                  <c:v>3.5781100000000001</c:v>
                </c:pt>
                <c:pt idx="2615">
                  <c:v>4.2423700000000002</c:v>
                </c:pt>
                <c:pt idx="2616">
                  <c:v>4.3395799999999998</c:v>
                </c:pt>
                <c:pt idx="2617">
                  <c:v>#N/A</c:v>
                </c:pt>
                <c:pt idx="2618">
                  <c:v>3.99451</c:v>
                </c:pt>
                <c:pt idx="2619">
                  <c:v>3.1400899999999998</c:v>
                </c:pt>
                <c:pt idx="2620">
                  <c:v>2.9695100000000001</c:v>
                </c:pt>
                <c:pt idx="2621">
                  <c:v>#N/A</c:v>
                </c:pt>
                <c:pt idx="2622">
                  <c:v>2.8502800000000001</c:v>
                </c:pt>
                <c:pt idx="2623">
                  <c:v>2.5515599999999998</c:v>
                </c:pt>
                <c:pt idx="2624">
                  <c:v>3.7682000000000002</c:v>
                </c:pt>
                <c:pt idx="2625">
                  <c:v>#N/A</c:v>
                </c:pt>
                <c:pt idx="2626">
                  <c:v>4.0186400000000004</c:v>
                </c:pt>
                <c:pt idx="2627">
                  <c:v>#N/A</c:v>
                </c:pt>
                <c:pt idx="2628">
                  <c:v>3.9824600000000001</c:v>
                </c:pt>
                <c:pt idx="2629">
                  <c:v>3.8600099999999999</c:v>
                </c:pt>
                <c:pt idx="2630">
                  <c:v>4.0541400000000003</c:v>
                </c:pt>
                <c:pt idx="2631">
                  <c:v>#N/A</c:v>
                </c:pt>
                <c:pt idx="2632">
                  <c:v>3.58263</c:v>
                </c:pt>
                <c:pt idx="2633">
                  <c:v>3.5511300000000001</c:v>
                </c:pt>
                <c:pt idx="2634">
                  <c:v>3.7172800000000001</c:v>
                </c:pt>
                <c:pt idx="2635">
                  <c:v>#N/A</c:v>
                </c:pt>
                <c:pt idx="2636">
                  <c:v>3.9062100000000002</c:v>
                </c:pt>
                <c:pt idx="2637">
                  <c:v>4.3154199999999996</c:v>
                </c:pt>
                <c:pt idx="2638">
                  <c:v>3.8181500000000002</c:v>
                </c:pt>
                <c:pt idx="2639">
                  <c:v>#N/A</c:v>
                </c:pt>
                <c:pt idx="2640">
                  <c:v>3.7732999999999999</c:v>
                </c:pt>
                <c:pt idx="2641">
                  <c:v>3.4233699999999998</c:v>
                </c:pt>
                <c:pt idx="2642">
                  <c:v>#N/A</c:v>
                </c:pt>
                <c:pt idx="2643">
                  <c:v>3.59579</c:v>
                </c:pt>
                <c:pt idx="2644">
                  <c:v>3.8011599999999999</c:v>
                </c:pt>
                <c:pt idx="2645">
                  <c:v>3.8492299999999999</c:v>
                </c:pt>
                <c:pt idx="2646">
                  <c:v>#N/A</c:v>
                </c:pt>
                <c:pt idx="2647">
                  <c:v>4.2909300000000004</c:v>
                </c:pt>
                <c:pt idx="2648">
                  <c:v>4.51844</c:v>
                </c:pt>
                <c:pt idx="2649">
                  <c:v>3.8022300000000002</c:v>
                </c:pt>
                <c:pt idx="2650">
                  <c:v>#N/A</c:v>
                </c:pt>
                <c:pt idx="2651">
                  <c:v>3.4495499999999999</c:v>
                </c:pt>
                <c:pt idx="2652">
                  <c:v>3.2492899999999998</c:v>
                </c:pt>
                <c:pt idx="2653">
                  <c:v>3.4842900000000001</c:v>
                </c:pt>
                <c:pt idx="2654">
                  <c:v>#N/A</c:v>
                </c:pt>
                <c:pt idx="2655">
                  <c:v>3.5628000000000002</c:v>
                </c:pt>
                <c:pt idx="2656">
                  <c:v>3.7641300000000002</c:v>
                </c:pt>
                <c:pt idx="2657">
                  <c:v>4.0453299999999999</c:v>
                </c:pt>
                <c:pt idx="2658">
                  <c:v>#N/A</c:v>
                </c:pt>
                <c:pt idx="2659">
                  <c:v>3.6935899999999999</c:v>
                </c:pt>
                <c:pt idx="2660">
                  <c:v>3.1735799999999998</c:v>
                </c:pt>
                <c:pt idx="2661">
                  <c:v>2.6810999999999998</c:v>
                </c:pt>
                <c:pt idx="2662">
                  <c:v>#N/A</c:v>
                </c:pt>
                <c:pt idx="2663">
                  <c:v>2.6745999999999999</c:v>
                </c:pt>
                <c:pt idx="2664">
                  <c:v>3.1051899999999999</c:v>
                </c:pt>
                <c:pt idx="2665">
                  <c:v>3.7437800000000001</c:v>
                </c:pt>
                <c:pt idx="2666">
                  <c:v>#N/A</c:v>
                </c:pt>
                <c:pt idx="2667">
                  <c:v>4.7945599999999997</c:v>
                </c:pt>
                <c:pt idx="2668">
                  <c:v>4.4092099999999999</c:v>
                </c:pt>
                <c:pt idx="2669">
                  <c:v>3.8258899999999998</c:v>
                </c:pt>
                <c:pt idx="2670">
                  <c:v>#N/A</c:v>
                </c:pt>
                <c:pt idx="2671">
                  <c:v>3.61694</c:v>
                </c:pt>
                <c:pt idx="2672">
                  <c:v>2.8947099999999999</c:v>
                </c:pt>
                <c:pt idx="2673">
                  <c:v>#N/A</c:v>
                </c:pt>
                <c:pt idx="2674">
                  <c:v>2.4201800000000002</c:v>
                </c:pt>
                <c:pt idx="2675">
                  <c:v>2.86958</c:v>
                </c:pt>
                <c:pt idx="2676">
                  <c:v>3.34646</c:v>
                </c:pt>
                <c:pt idx="2677">
                  <c:v>#N/A</c:v>
                </c:pt>
                <c:pt idx="2678">
                  <c:v>3.9293900000000002</c:v>
                </c:pt>
                <c:pt idx="2679">
                  <c:v>3.66005</c:v>
                </c:pt>
                <c:pt idx="2680">
                  <c:v>2.7019700000000002</c:v>
                </c:pt>
                <c:pt idx="2681">
                  <c:v>#N/A</c:v>
                </c:pt>
                <c:pt idx="2682">
                  <c:v>1.7234799999999999</c:v>
                </c:pt>
                <c:pt idx="2683">
                  <c:v>1.89594</c:v>
                </c:pt>
                <c:pt idx="2684">
                  <c:v>1.7012</c:v>
                </c:pt>
                <c:pt idx="2685">
                  <c:v>#N/A</c:v>
                </c:pt>
                <c:pt idx="2686">
                  <c:v>1.75837</c:v>
                </c:pt>
                <c:pt idx="2687">
                  <c:v>3.5043000000000002</c:v>
                </c:pt>
                <c:pt idx="2688">
                  <c:v>#N/A</c:v>
                </c:pt>
                <c:pt idx="2689">
                  <c:v>3.6651799999999999</c:v>
                </c:pt>
                <c:pt idx="2690">
                  <c:v>3.5592800000000002</c:v>
                </c:pt>
                <c:pt idx="2691">
                  <c:v>2.7690899999999998</c:v>
                </c:pt>
                <c:pt idx="2692">
                  <c:v>#N/A</c:v>
                </c:pt>
                <c:pt idx="2693">
                  <c:v>2.56839</c:v>
                </c:pt>
                <c:pt idx="2694">
                  <c:v>1.80003</c:v>
                </c:pt>
                <c:pt idx="2695">
                  <c:v>1.3905000000000001</c:v>
                </c:pt>
                <c:pt idx="2696">
                  <c:v>#N/A</c:v>
                </c:pt>
                <c:pt idx="2697">
                  <c:v>2.02935</c:v>
                </c:pt>
                <c:pt idx="2698">
                  <c:v>2.2989299999999999</c:v>
                </c:pt>
                <c:pt idx="2699">
                  <c:v>2.5841500000000002</c:v>
                </c:pt>
                <c:pt idx="2700">
                  <c:v>#N/A</c:v>
                </c:pt>
                <c:pt idx="2701">
                  <c:v>2.3671000000000002</c:v>
                </c:pt>
                <c:pt idx="2702">
                  <c:v>#N/A</c:v>
                </c:pt>
                <c:pt idx="2703">
                  <c:v>2.0900300000000001</c:v>
                </c:pt>
                <c:pt idx="2704">
                  <c:v>1.86009</c:v>
                </c:pt>
                <c:pt idx="2705">
                  <c:v>#N/A</c:v>
                </c:pt>
                <c:pt idx="2706">
                  <c:v>2.1072000000000002</c:v>
                </c:pt>
                <c:pt idx="2707">
                  <c:v>2.5555500000000002</c:v>
                </c:pt>
                <c:pt idx="2708">
                  <c:v>2.8261799999999999</c:v>
                </c:pt>
                <c:pt idx="2709">
                  <c:v>#N/A</c:v>
                </c:pt>
                <c:pt idx="2710">
                  <c:v>2.7305299999999999</c:v>
                </c:pt>
                <c:pt idx="2711">
                  <c:v>2.6507399999999999</c:v>
                </c:pt>
                <c:pt idx="2712">
                  <c:v>2.5031699999999999</c:v>
                </c:pt>
                <c:pt idx="2713">
                  <c:v>#N/A</c:v>
                </c:pt>
                <c:pt idx="2714">
                  <c:v>2.95675</c:v>
                </c:pt>
                <c:pt idx="2715">
                  <c:v>2.5263100000000001</c:v>
                </c:pt>
                <c:pt idx="2716">
                  <c:v>2.4732500000000002</c:v>
                </c:pt>
                <c:pt idx="2717">
                  <c:v>#N/A</c:v>
                </c:pt>
                <c:pt idx="2718">
                  <c:v>2.8703599999999998</c:v>
                </c:pt>
                <c:pt idx="2719">
                  <c:v>2.94678</c:v>
                </c:pt>
                <c:pt idx="2720">
                  <c:v>2.2353700000000001</c:v>
                </c:pt>
                <c:pt idx="2721">
                  <c:v>#N/A</c:v>
                </c:pt>
                <c:pt idx="2722">
                  <c:v>2.0373199999999998</c:v>
                </c:pt>
                <c:pt idx="2723">
                  <c:v>1.35836</c:v>
                </c:pt>
                <c:pt idx="2724">
                  <c:v>1.36192</c:v>
                </c:pt>
                <c:pt idx="2725">
                  <c:v>#N/A</c:v>
                </c:pt>
                <c:pt idx="2726">
                  <c:v>1.8432599999999999</c:v>
                </c:pt>
                <c:pt idx="2727">
                  <c:v>2.12486</c:v>
                </c:pt>
                <c:pt idx="2728">
                  <c:v>#N/A</c:v>
                </c:pt>
                <c:pt idx="2729">
                  <c:v>3.0523400000000001</c:v>
                </c:pt>
                <c:pt idx="2730">
                  <c:v>3.40591</c:v>
                </c:pt>
                <c:pt idx="2731">
                  <c:v>3.0427399999999998</c:v>
                </c:pt>
                <c:pt idx="2732">
                  <c:v>#N/A</c:v>
                </c:pt>
                <c:pt idx="2733">
                  <c:v>2.0924299999999998</c:v>
                </c:pt>
                <c:pt idx="2734">
                  <c:v>1.48811</c:v>
                </c:pt>
                <c:pt idx="2735">
                  <c:v>1.80284</c:v>
                </c:pt>
                <c:pt idx="2736">
                  <c:v>#N/A</c:v>
                </c:pt>
                <c:pt idx="2737">
                  <c:v>2.3672200000000001</c:v>
                </c:pt>
                <c:pt idx="2738">
                  <c:v>2.45608</c:v>
                </c:pt>
                <c:pt idx="2739">
                  <c:v>3.1426500000000002</c:v>
                </c:pt>
                <c:pt idx="2740">
                  <c:v>#N/A</c:v>
                </c:pt>
                <c:pt idx="2741">
                  <c:v>2.92204</c:v>
                </c:pt>
                <c:pt idx="2742">
                  <c:v>3.2712500000000002</c:v>
                </c:pt>
                <c:pt idx="2743">
                  <c:v>2.67258</c:v>
                </c:pt>
                <c:pt idx="2744">
                  <c:v>#N/A</c:v>
                </c:pt>
                <c:pt idx="2745">
                  <c:v>1.8764000000000001</c:v>
                </c:pt>
                <c:pt idx="2746">
                  <c:v>1.6820299999999999</c:v>
                </c:pt>
                <c:pt idx="2747">
                  <c:v>1.31213</c:v>
                </c:pt>
                <c:pt idx="2748">
                  <c:v>#N/A</c:v>
                </c:pt>
                <c:pt idx="2749">
                  <c:v>2.1982900000000001</c:v>
                </c:pt>
                <c:pt idx="2750">
                  <c:v>3.1547100000000001</c:v>
                </c:pt>
                <c:pt idx="2751">
                  <c:v>3.6216699999999999</c:v>
                </c:pt>
                <c:pt idx="2752">
                  <c:v>#N/A</c:v>
                </c:pt>
                <c:pt idx="2753">
                  <c:v>3.0326399999999998</c:v>
                </c:pt>
                <c:pt idx="2754">
                  <c:v>2.7753700000000001</c:v>
                </c:pt>
                <c:pt idx="2755">
                  <c:v>2.2181899999999999</c:v>
                </c:pt>
                <c:pt idx="2756">
                  <c:v>#N/A</c:v>
                </c:pt>
                <c:pt idx="2757">
                  <c:v>1.46729</c:v>
                </c:pt>
                <c:pt idx="2758">
                  <c:v>1.4522200000000001</c:v>
                </c:pt>
                <c:pt idx="2759">
                  <c:v>#N/A</c:v>
                </c:pt>
                <c:pt idx="2760">
                  <c:v>1.82226</c:v>
                </c:pt>
                <c:pt idx="2761">
                  <c:v>2.38781</c:v>
                </c:pt>
                <c:pt idx="2762">
                  <c:v>2.6872799999999999</c:v>
                </c:pt>
                <c:pt idx="2763">
                  <c:v>#N/A</c:v>
                </c:pt>
                <c:pt idx="2764">
                  <c:v>2.83134</c:v>
                </c:pt>
                <c:pt idx="2765">
                  <c:v>2.4217300000000002</c:v>
                </c:pt>
                <c:pt idx="2766">
                  <c:v>2.0325600000000001</c:v>
                </c:pt>
                <c:pt idx="2767">
                  <c:v>#N/A</c:v>
                </c:pt>
                <c:pt idx="2768">
                  <c:v>1.6396200000000001</c:v>
                </c:pt>
                <c:pt idx="2769">
                  <c:v>1.93743</c:v>
                </c:pt>
                <c:pt idx="2770">
                  <c:v>2.7086600000000001</c:v>
                </c:pt>
                <c:pt idx="2771">
                  <c:v>#N/A</c:v>
                </c:pt>
                <c:pt idx="2772">
                  <c:v>3.0309300000000001</c:v>
                </c:pt>
                <c:pt idx="2773">
                  <c:v>3.3093900000000001</c:v>
                </c:pt>
                <c:pt idx="2774">
                  <c:v>#N/A</c:v>
                </c:pt>
                <c:pt idx="2775">
                  <c:v>3.4996900000000002</c:v>
                </c:pt>
                <c:pt idx="2776">
                  <c:v>2.3249</c:v>
                </c:pt>
                <c:pt idx="2777">
                  <c:v>#N/A</c:v>
                </c:pt>
                <c:pt idx="2778">
                  <c:v>2.37093</c:v>
                </c:pt>
                <c:pt idx="2779">
                  <c:v>#N/A</c:v>
                </c:pt>
                <c:pt idx="2780">
                  <c:v>2.1916600000000002</c:v>
                </c:pt>
                <c:pt idx="2781">
                  <c:v>2.3942199999999998</c:v>
                </c:pt>
                <c:pt idx="2782">
                  <c:v>3.35025</c:v>
                </c:pt>
                <c:pt idx="2783">
                  <c:v>#N/A</c:v>
                </c:pt>
                <c:pt idx="2784">
                  <c:v>2.5124499999999999</c:v>
                </c:pt>
                <c:pt idx="2785">
                  <c:v>2.5617100000000002</c:v>
                </c:pt>
                <c:pt idx="2786">
                  <c:v>2.14459</c:v>
                </c:pt>
                <c:pt idx="2787">
                  <c:v>#N/A</c:v>
                </c:pt>
                <c:pt idx="2788">
                  <c:v>2.12459</c:v>
                </c:pt>
                <c:pt idx="2789">
                  <c:v>2.3148499999999999</c:v>
                </c:pt>
                <c:pt idx="2790">
                  <c:v>2.5973099999999998</c:v>
                </c:pt>
                <c:pt idx="2791">
                  <c:v>#N/A</c:v>
                </c:pt>
                <c:pt idx="2792">
                  <c:v>2.8949099999999999</c:v>
                </c:pt>
                <c:pt idx="2793">
                  <c:v>2.9256700000000002</c:v>
                </c:pt>
                <c:pt idx="2794">
                  <c:v>3.02833</c:v>
                </c:pt>
                <c:pt idx="2795">
                  <c:v>#N/A</c:v>
                </c:pt>
                <c:pt idx="2796">
                  <c:v>2.5823100000000001</c:v>
                </c:pt>
                <c:pt idx="2797">
                  <c:v>2.4601899999999999</c:v>
                </c:pt>
                <c:pt idx="2798">
                  <c:v>2.4397099999999998</c:v>
                </c:pt>
                <c:pt idx="2799">
                  <c:v>#N/A</c:v>
                </c:pt>
                <c:pt idx="2800">
                  <c:v>2.7176100000000001</c:v>
                </c:pt>
                <c:pt idx="2801">
                  <c:v>2.7659600000000002</c:v>
                </c:pt>
                <c:pt idx="2802">
                  <c:v>2.7637100000000001</c:v>
                </c:pt>
                <c:pt idx="2803">
                  <c:v>#N/A</c:v>
                </c:pt>
                <c:pt idx="2804">
                  <c:v>2.47227</c:v>
                </c:pt>
                <c:pt idx="2805">
                  <c:v>2.4256099999999998</c:v>
                </c:pt>
                <c:pt idx="2806">
                  <c:v>1.8915900000000001</c:v>
                </c:pt>
                <c:pt idx="2807">
                  <c:v>#N/A</c:v>
                </c:pt>
                <c:pt idx="2808">
                  <c:v>1.60684</c:v>
                </c:pt>
                <c:pt idx="2809">
                  <c:v>1.99335</c:v>
                </c:pt>
                <c:pt idx="2810">
                  <c:v>2.2511199999999998</c:v>
                </c:pt>
                <c:pt idx="2811">
                  <c:v>#N/A</c:v>
                </c:pt>
                <c:pt idx="2812">
                  <c:v>2.5996899999999998</c:v>
                </c:pt>
                <c:pt idx="2813">
                  <c:v>3.0584600000000002</c:v>
                </c:pt>
                <c:pt idx="2814">
                  <c:v>3.0725600000000002</c:v>
                </c:pt>
                <c:pt idx="2815">
                  <c:v>#N/A</c:v>
                </c:pt>
                <c:pt idx="2816">
                  <c:v>1.98827</c:v>
                </c:pt>
                <c:pt idx="2817">
                  <c:v>1.8975500000000001</c:v>
                </c:pt>
                <c:pt idx="2818">
                  <c:v>#N/A</c:v>
                </c:pt>
                <c:pt idx="2819">
                  <c:v>1.78654</c:v>
                </c:pt>
                <c:pt idx="2820">
                  <c:v>1.79193</c:v>
                </c:pt>
                <c:pt idx="2821">
                  <c:v>2.3113000000000001</c:v>
                </c:pt>
                <c:pt idx="2822">
                  <c:v>#N/A</c:v>
                </c:pt>
                <c:pt idx="2823">
                  <c:v>2.2214499999999999</c:v>
                </c:pt>
                <c:pt idx="2824">
                  <c:v>2.68567</c:v>
                </c:pt>
                <c:pt idx="2825">
                  <c:v>2.9159600000000001</c:v>
                </c:pt>
                <c:pt idx="2826">
                  <c:v>#N/A</c:v>
                </c:pt>
                <c:pt idx="2827">
                  <c:v>2.6021299999999998</c:v>
                </c:pt>
                <c:pt idx="2828">
                  <c:v>2.0117400000000001</c:v>
                </c:pt>
                <c:pt idx="2829">
                  <c:v>1.56993</c:v>
                </c:pt>
                <c:pt idx="2830">
                  <c:v>#N/A</c:v>
                </c:pt>
                <c:pt idx="2831">
                  <c:v>2.0644800000000001</c:v>
                </c:pt>
                <c:pt idx="2832">
                  <c:v>1.5551900000000001</c:v>
                </c:pt>
                <c:pt idx="2833">
                  <c:v>1.9774400000000001</c:v>
                </c:pt>
                <c:pt idx="2834">
                  <c:v>#N/A</c:v>
                </c:pt>
                <c:pt idx="2835">
                  <c:v>3.1139800000000002</c:v>
                </c:pt>
                <c:pt idx="2836">
                  <c:v>3.4627599999999998</c:v>
                </c:pt>
                <c:pt idx="2837">
                  <c:v>#N/A</c:v>
                </c:pt>
                <c:pt idx="2838">
                  <c:v>2.9582199999999998</c:v>
                </c:pt>
                <c:pt idx="2839">
                  <c:v>1.96837</c:v>
                </c:pt>
                <c:pt idx="2840">
                  <c:v>1.4723999999999999</c:v>
                </c:pt>
                <c:pt idx="2841">
                  <c:v>#N/A</c:v>
                </c:pt>
                <c:pt idx="2842">
                  <c:v>#N/A</c:v>
                </c:pt>
                <c:pt idx="2843">
                  <c:v>2.5204300000000002</c:v>
                </c:pt>
                <c:pt idx="2844">
                  <c:v>#N/A</c:v>
                </c:pt>
                <c:pt idx="2845">
                  <c:v>2.4304000000000001</c:v>
                </c:pt>
                <c:pt idx="2846">
                  <c:v>2.42456</c:v>
                </c:pt>
                <c:pt idx="2847">
                  <c:v>2.61633</c:v>
                </c:pt>
                <c:pt idx="2848">
                  <c:v>#N/A</c:v>
                </c:pt>
                <c:pt idx="2849">
                  <c:v>2.7270699999999999</c:v>
                </c:pt>
                <c:pt idx="2850">
                  <c:v>#N/A</c:v>
                </c:pt>
                <c:pt idx="2851">
                  <c:v>2.0388899999999999</c:v>
                </c:pt>
                <c:pt idx="2852">
                  <c:v>1.9073500000000001</c:v>
                </c:pt>
                <c:pt idx="2853">
                  <c:v>#N/A</c:v>
                </c:pt>
                <c:pt idx="2854">
                  <c:v>1.8997599999999999</c:v>
                </c:pt>
                <c:pt idx="2855">
                  <c:v>#N/A</c:v>
                </c:pt>
                <c:pt idx="2856">
                  <c:v>2.8266900000000001</c:v>
                </c:pt>
                <c:pt idx="2857">
                  <c:v>3.15401</c:v>
                </c:pt>
                <c:pt idx="2858">
                  <c:v>2.9465599999999998</c:v>
                </c:pt>
                <c:pt idx="2859">
                  <c:v>#N/A</c:v>
                </c:pt>
                <c:pt idx="2860">
                  <c:v>2.6074299999999999</c:v>
                </c:pt>
                <c:pt idx="2861">
                  <c:v>2.4093300000000002</c:v>
                </c:pt>
                <c:pt idx="2862">
                  <c:v>1.9395800000000001</c:v>
                </c:pt>
                <c:pt idx="2863">
                  <c:v>#N/A</c:v>
                </c:pt>
                <c:pt idx="2864">
                  <c:v>2.4256799999999998</c:v>
                </c:pt>
                <c:pt idx="2865">
                  <c:v>2.7054200000000002</c:v>
                </c:pt>
                <c:pt idx="2866">
                  <c:v>2.1611899999999999</c:v>
                </c:pt>
                <c:pt idx="2867">
                  <c:v>#N/A</c:v>
                </c:pt>
                <c:pt idx="2868">
                  <c:v>2.2959000000000001</c:v>
                </c:pt>
                <c:pt idx="2869">
                  <c:v>1.9462900000000001</c:v>
                </c:pt>
                <c:pt idx="2870">
                  <c:v>#N/A</c:v>
                </c:pt>
                <c:pt idx="2871">
                  <c:v>2.2400000000000002</c:v>
                </c:pt>
                <c:pt idx="2872">
                  <c:v>1.5589200000000001</c:v>
                </c:pt>
                <c:pt idx="2873">
                  <c:v>2.07029</c:v>
                </c:pt>
                <c:pt idx="2874">
                  <c:v>#N/A</c:v>
                </c:pt>
                <c:pt idx="2875">
                  <c:v>2.51586</c:v>
                </c:pt>
                <c:pt idx="2876">
                  <c:v>2.6343999999999999</c:v>
                </c:pt>
                <c:pt idx="2877">
                  <c:v>2.4706800000000002</c:v>
                </c:pt>
                <c:pt idx="2878">
                  <c:v>#N/A</c:v>
                </c:pt>
                <c:pt idx="2879">
                  <c:v>1.5767199999999999</c:v>
                </c:pt>
                <c:pt idx="2880">
                  <c:v>1.99817</c:v>
                </c:pt>
                <c:pt idx="2881">
                  <c:v>1.37504</c:v>
                </c:pt>
                <c:pt idx="2882">
                  <c:v>#N/A</c:v>
                </c:pt>
                <c:pt idx="2883">
                  <c:v>1.9267000000000001</c:v>
                </c:pt>
                <c:pt idx="2884">
                  <c:v>2.0189900000000001</c:v>
                </c:pt>
                <c:pt idx="2885">
                  <c:v>2.7693400000000001</c:v>
                </c:pt>
                <c:pt idx="2886">
                  <c:v>#N/A</c:v>
                </c:pt>
                <c:pt idx="2887">
                  <c:v>3.1563599999999998</c:v>
                </c:pt>
                <c:pt idx="2888">
                  <c:v>2.80836</c:v>
                </c:pt>
                <c:pt idx="2889">
                  <c:v>1.26291</c:v>
                </c:pt>
                <c:pt idx="2890">
                  <c:v>#N/A</c:v>
                </c:pt>
                <c:pt idx="2891">
                  <c:v>1.7633099999999999</c:v>
                </c:pt>
                <c:pt idx="2892">
                  <c:v>2.2389899999999998</c:v>
                </c:pt>
                <c:pt idx="2893">
                  <c:v>2.3271600000000001</c:v>
                </c:pt>
                <c:pt idx="2894">
                  <c:v>#N/A</c:v>
                </c:pt>
                <c:pt idx="2895">
                  <c:v>2.1896399999999998</c:v>
                </c:pt>
                <c:pt idx="2896">
                  <c:v>3.2155900000000002</c:v>
                </c:pt>
                <c:pt idx="2897">
                  <c:v>3.5182500000000001</c:v>
                </c:pt>
                <c:pt idx="2898">
                  <c:v>#N/A</c:v>
                </c:pt>
                <c:pt idx="2899">
                  <c:v>3.2245699999999999</c:v>
                </c:pt>
                <c:pt idx="2900">
                  <c:v>2.2404999999999999</c:v>
                </c:pt>
                <c:pt idx="2901">
                  <c:v>#N/A</c:v>
                </c:pt>
                <c:pt idx="2902">
                  <c:v>2.3784200000000002</c:v>
                </c:pt>
                <c:pt idx="2903">
                  <c:v>1.82039</c:v>
                </c:pt>
                <c:pt idx="2904">
                  <c:v>1.7617799999999999</c:v>
                </c:pt>
                <c:pt idx="2905">
                  <c:v>#N/A</c:v>
                </c:pt>
                <c:pt idx="2906">
                  <c:v>2.8204600000000002</c:v>
                </c:pt>
                <c:pt idx="2907">
                  <c:v>2.6639200000000001</c:v>
                </c:pt>
                <c:pt idx="2908">
                  <c:v>2.7257699999999998</c:v>
                </c:pt>
                <c:pt idx="2909">
                  <c:v>#N/A</c:v>
                </c:pt>
                <c:pt idx="2910">
                  <c:v>3.5783299999999998</c:v>
                </c:pt>
                <c:pt idx="2911">
                  <c:v>2.5269200000000001</c:v>
                </c:pt>
                <c:pt idx="2912">
                  <c:v>1.42991</c:v>
                </c:pt>
                <c:pt idx="2913">
                  <c:v>#N/A</c:v>
                </c:pt>
                <c:pt idx="2914">
                  <c:v>1.5770599999999999</c:v>
                </c:pt>
                <c:pt idx="2915">
                  <c:v>1.6975800000000001</c:v>
                </c:pt>
                <c:pt idx="2916">
                  <c:v>1.77962</c:v>
                </c:pt>
                <c:pt idx="2917">
                  <c:v>#N/A</c:v>
                </c:pt>
                <c:pt idx="2918">
                  <c:v>2.8908100000000001</c:v>
                </c:pt>
                <c:pt idx="2919">
                  <c:v>3.1038600000000001</c:v>
                </c:pt>
                <c:pt idx="2920">
                  <c:v>2.9885100000000002</c:v>
                </c:pt>
                <c:pt idx="2921">
                  <c:v>#N/A</c:v>
                </c:pt>
                <c:pt idx="2922">
                  <c:v>2.95566</c:v>
                </c:pt>
                <c:pt idx="2923">
                  <c:v>2.2751800000000002</c:v>
                </c:pt>
                <c:pt idx="2924">
                  <c:v>2.3088600000000001</c:v>
                </c:pt>
                <c:pt idx="2925">
                  <c:v>#N/A</c:v>
                </c:pt>
                <c:pt idx="2926">
                  <c:v>2.3540899999999998</c:v>
                </c:pt>
                <c:pt idx="2927">
                  <c:v>#N/A</c:v>
                </c:pt>
                <c:pt idx="2928">
                  <c:v>2.18974</c:v>
                </c:pt>
                <c:pt idx="2929">
                  <c:v>#N/A</c:v>
                </c:pt>
                <c:pt idx="2930">
                  <c:v>2.1433200000000001</c:v>
                </c:pt>
                <c:pt idx="2931">
                  <c:v>2.7746200000000001</c:v>
                </c:pt>
                <c:pt idx="2932">
                  <c:v>#N/A</c:v>
                </c:pt>
                <c:pt idx="2933">
                  <c:v>2.50041</c:v>
                </c:pt>
                <c:pt idx="2934">
                  <c:v>1.9275500000000001</c:v>
                </c:pt>
                <c:pt idx="2935">
                  <c:v>2.0210499999999998</c:v>
                </c:pt>
                <c:pt idx="2936">
                  <c:v>#N/A</c:v>
                </c:pt>
                <c:pt idx="2937">
                  <c:v>1.7890699999999999</c:v>
                </c:pt>
                <c:pt idx="2938">
                  <c:v>1.8116000000000001</c:v>
                </c:pt>
                <c:pt idx="2939">
                  <c:v>2.55226</c:v>
                </c:pt>
                <c:pt idx="2940">
                  <c:v>#N/A</c:v>
                </c:pt>
                <c:pt idx="2941">
                  <c:v>2.7761300000000002</c:v>
                </c:pt>
                <c:pt idx="2942">
                  <c:v>2.1739600000000001</c:v>
                </c:pt>
                <c:pt idx="2943">
                  <c:v>1.3640000000000001</c:v>
                </c:pt>
                <c:pt idx="2944">
                  <c:v>#N/A</c:v>
                </c:pt>
                <c:pt idx="2945">
                  <c:v>2.0054099999999999</c:v>
                </c:pt>
                <c:pt idx="2946">
                  <c:v>2.26431</c:v>
                </c:pt>
                <c:pt idx="2947">
                  <c:v>2.5875400000000002</c:v>
                </c:pt>
                <c:pt idx="2948">
                  <c:v>#N/A</c:v>
                </c:pt>
                <c:pt idx="2949">
                  <c:v>2.6420300000000001</c:v>
                </c:pt>
                <c:pt idx="2950">
                  <c:v>2.5534500000000002</c:v>
                </c:pt>
                <c:pt idx="2951">
                  <c:v>2.55558</c:v>
                </c:pt>
                <c:pt idx="2952">
                  <c:v>#N/A</c:v>
                </c:pt>
                <c:pt idx="2953">
                  <c:v>2.5140199999999999</c:v>
                </c:pt>
                <c:pt idx="2954">
                  <c:v>1.9256599999999999</c:v>
                </c:pt>
                <c:pt idx="2955">
                  <c:v>2.0491100000000002</c:v>
                </c:pt>
                <c:pt idx="2956">
                  <c:v>#N/A</c:v>
                </c:pt>
                <c:pt idx="2957">
                  <c:v>1.8561099999999999</c:v>
                </c:pt>
                <c:pt idx="2958">
                  <c:v>2.69678</c:v>
                </c:pt>
                <c:pt idx="2959">
                  <c:v>#N/A</c:v>
                </c:pt>
                <c:pt idx="2960">
                  <c:v>3.41472</c:v>
                </c:pt>
                <c:pt idx="2961">
                  <c:v>3.0181800000000001</c:v>
                </c:pt>
                <c:pt idx="2962">
                  <c:v>2.8289300000000002</c:v>
                </c:pt>
                <c:pt idx="2963">
                  <c:v>#N/A</c:v>
                </c:pt>
                <c:pt idx="2964">
                  <c:v>2.8198099999999999</c:v>
                </c:pt>
                <c:pt idx="2965">
                  <c:v>2.3664499999999999</c:v>
                </c:pt>
                <c:pt idx="2966">
                  <c:v>#N/A</c:v>
                </c:pt>
                <c:pt idx="2967">
                  <c:v>2.06507</c:v>
                </c:pt>
                <c:pt idx="2968">
                  <c:v>1.80755</c:v>
                </c:pt>
                <c:pt idx="2969">
                  <c:v>2.8638599999999999</c:v>
                </c:pt>
                <c:pt idx="2970">
                  <c:v>#N/A</c:v>
                </c:pt>
                <c:pt idx="2971">
                  <c:v>3.3783400000000001</c:v>
                </c:pt>
                <c:pt idx="2972">
                  <c:v>3.3399700000000001</c:v>
                </c:pt>
                <c:pt idx="2973">
                  <c:v>3.0560299999999998</c:v>
                </c:pt>
                <c:pt idx="2974">
                  <c:v>#N/A</c:v>
                </c:pt>
                <c:pt idx="2975">
                  <c:v>2.1466699999999999</c:v>
                </c:pt>
                <c:pt idx="2976">
                  <c:v>2.4874200000000002</c:v>
                </c:pt>
                <c:pt idx="2977">
                  <c:v>2.41398</c:v>
                </c:pt>
                <c:pt idx="2978">
                  <c:v>#N/A</c:v>
                </c:pt>
                <c:pt idx="2979">
                  <c:v>2.6675</c:v>
                </c:pt>
                <c:pt idx="2980">
                  <c:v>3.1893899999999999</c:v>
                </c:pt>
                <c:pt idx="2981">
                  <c:v>3.6102599999999998</c:v>
                </c:pt>
                <c:pt idx="2982">
                  <c:v>#N/A</c:v>
                </c:pt>
                <c:pt idx="2983">
                  <c:v>3.1193499999999998</c:v>
                </c:pt>
                <c:pt idx="2984">
                  <c:v>2.68432</c:v>
                </c:pt>
                <c:pt idx="2985">
                  <c:v>2.1547100000000001</c:v>
                </c:pt>
                <c:pt idx="2986">
                  <c:v>#N/A</c:v>
                </c:pt>
                <c:pt idx="2987">
                  <c:v>1.89957</c:v>
                </c:pt>
                <c:pt idx="2988">
                  <c:v>2.0225200000000001</c:v>
                </c:pt>
                <c:pt idx="2989">
                  <c:v>#N/A</c:v>
                </c:pt>
                <c:pt idx="2990">
                  <c:v>2.47363</c:v>
                </c:pt>
                <c:pt idx="2991">
                  <c:v>2.64662</c:v>
                </c:pt>
                <c:pt idx="2992">
                  <c:v>2.4865499999999998</c:v>
                </c:pt>
                <c:pt idx="2993">
                  <c:v>#N/A</c:v>
                </c:pt>
                <c:pt idx="2994">
                  <c:v>2.10073</c:v>
                </c:pt>
                <c:pt idx="2995">
                  <c:v>2.6075599999999999</c:v>
                </c:pt>
                <c:pt idx="2996">
                  <c:v>2.3294700000000002</c:v>
                </c:pt>
                <c:pt idx="2997">
                  <c:v>#N/A</c:v>
                </c:pt>
                <c:pt idx="2998">
                  <c:v>2.4274900000000001</c:v>
                </c:pt>
                <c:pt idx="2999">
                  <c:v>2.3026300000000002</c:v>
                </c:pt>
                <c:pt idx="3000">
                  <c:v>2.86938</c:v>
                </c:pt>
                <c:pt idx="3001">
                  <c:v>#N/A</c:v>
                </c:pt>
                <c:pt idx="3002">
                  <c:v>2.26376</c:v>
                </c:pt>
                <c:pt idx="3003">
                  <c:v>3.1284700000000001</c:v>
                </c:pt>
                <c:pt idx="3004">
                  <c:v>3.2526000000000002</c:v>
                </c:pt>
                <c:pt idx="3005">
                  <c:v>#N/A</c:v>
                </c:pt>
                <c:pt idx="3006">
                  <c:v>2.8542900000000002</c:v>
                </c:pt>
                <c:pt idx="3007">
                  <c:v>2.66703</c:v>
                </c:pt>
                <c:pt idx="3008">
                  <c:v>#N/A</c:v>
                </c:pt>
                <c:pt idx="3009">
                  <c:v>2.4432200000000002</c:v>
                </c:pt>
                <c:pt idx="3010">
                  <c:v>2.5484900000000001</c:v>
                </c:pt>
                <c:pt idx="3011">
                  <c:v>2.49064</c:v>
                </c:pt>
                <c:pt idx="3012">
                  <c:v>#N/A</c:v>
                </c:pt>
                <c:pt idx="3013">
                  <c:v>2.7624499999999999</c:v>
                </c:pt>
                <c:pt idx="3014">
                  <c:v>2.4866899999999998</c:v>
                </c:pt>
                <c:pt idx="3015">
                  <c:v>2.2591000000000001</c:v>
                </c:pt>
                <c:pt idx="3016">
                  <c:v>#N/A</c:v>
                </c:pt>
                <c:pt idx="3017">
                  <c:v>1.28894</c:v>
                </c:pt>
                <c:pt idx="3018">
                  <c:v>2.0829599999999999</c:v>
                </c:pt>
                <c:pt idx="3019">
                  <c:v>1.7286600000000001</c:v>
                </c:pt>
                <c:pt idx="3020">
                  <c:v>#N/A</c:v>
                </c:pt>
                <c:pt idx="3021">
                  <c:v>2.4252699999999998</c:v>
                </c:pt>
                <c:pt idx="3022">
                  <c:v>2.7352300000000001</c:v>
                </c:pt>
                <c:pt idx="3023">
                  <c:v>2.55789</c:v>
                </c:pt>
                <c:pt idx="3024">
                  <c:v>#N/A</c:v>
                </c:pt>
                <c:pt idx="3025">
                  <c:v>3.01274</c:v>
                </c:pt>
                <c:pt idx="3026">
                  <c:v>2.3989099999999999</c:v>
                </c:pt>
                <c:pt idx="3027">
                  <c:v>2.6993800000000001</c:v>
                </c:pt>
                <c:pt idx="3028">
                  <c:v>#N/A</c:v>
                </c:pt>
                <c:pt idx="3029">
                  <c:v>1.97048</c:v>
                </c:pt>
                <c:pt idx="3030">
                  <c:v>2.4297499999999999</c:v>
                </c:pt>
                <c:pt idx="3031">
                  <c:v>2.7014100000000001</c:v>
                </c:pt>
                <c:pt idx="3032">
                  <c:v>#N/A</c:v>
                </c:pt>
                <c:pt idx="3033">
                  <c:v>2.7323499999999998</c:v>
                </c:pt>
                <c:pt idx="3034">
                  <c:v>2.6175899999999999</c:v>
                </c:pt>
                <c:pt idx="3035">
                  <c:v>2.4487700000000001</c:v>
                </c:pt>
                <c:pt idx="3036">
                  <c:v>#N/A</c:v>
                </c:pt>
                <c:pt idx="3037">
                  <c:v>1.9188700000000001</c:v>
                </c:pt>
                <c:pt idx="3038">
                  <c:v>2.0532300000000001</c:v>
                </c:pt>
                <c:pt idx="3039">
                  <c:v>#N/A</c:v>
                </c:pt>
                <c:pt idx="3040">
                  <c:v>1.6007</c:v>
                </c:pt>
                <c:pt idx="3041">
                  <c:v>1.6993400000000001</c:v>
                </c:pt>
                <c:pt idx="3042">
                  <c:v>2.40293</c:v>
                </c:pt>
                <c:pt idx="3043">
                  <c:v>#N/A</c:v>
                </c:pt>
                <c:pt idx="3044">
                  <c:v>3.7801399999999998</c:v>
                </c:pt>
                <c:pt idx="3045">
                  <c:v>2.8525299999999998</c:v>
                </c:pt>
                <c:pt idx="3046">
                  <c:v>2.09877</c:v>
                </c:pt>
                <c:pt idx="3047">
                  <c:v>#N/A</c:v>
                </c:pt>
                <c:pt idx="3048">
                  <c:v>1.7926800000000001</c:v>
                </c:pt>
                <c:pt idx="3049">
                  <c:v>1.60355</c:v>
                </c:pt>
                <c:pt idx="3050">
                  <c:v>1.4680899999999999</c:v>
                </c:pt>
                <c:pt idx="3051">
                  <c:v>#N/A</c:v>
                </c:pt>
                <c:pt idx="3052">
                  <c:v>1.3321400000000001</c:v>
                </c:pt>
                <c:pt idx="3053">
                  <c:v>1.8844000000000001</c:v>
                </c:pt>
                <c:pt idx="3054">
                  <c:v>2.36341</c:v>
                </c:pt>
                <c:pt idx="3055">
                  <c:v>#N/A</c:v>
                </c:pt>
                <c:pt idx="3056">
                  <c:v>2.81718</c:v>
                </c:pt>
                <c:pt idx="3057">
                  <c:v>2.2902999999999998</c:v>
                </c:pt>
                <c:pt idx="3058">
                  <c:v>1.5747100000000001</c:v>
                </c:pt>
                <c:pt idx="3059">
                  <c:v>#N/A</c:v>
                </c:pt>
                <c:pt idx="3060">
                  <c:v>1.2519899999999999</c:v>
                </c:pt>
                <c:pt idx="3061">
                  <c:v>1.46346</c:v>
                </c:pt>
                <c:pt idx="3062">
                  <c:v>1.86188</c:v>
                </c:pt>
                <c:pt idx="3063">
                  <c:v>#N/A</c:v>
                </c:pt>
                <c:pt idx="3064">
                  <c:v>2.6423899999999998</c:v>
                </c:pt>
                <c:pt idx="3065">
                  <c:v>2.7851900000000001</c:v>
                </c:pt>
                <c:pt idx="3066">
                  <c:v>2.9609800000000002</c:v>
                </c:pt>
                <c:pt idx="3067">
                  <c:v>#N/A</c:v>
                </c:pt>
                <c:pt idx="3068">
                  <c:v>2.90333</c:v>
                </c:pt>
                <c:pt idx="3069">
                  <c:v>2.0929899999999999</c:v>
                </c:pt>
                <c:pt idx="3070">
                  <c:v>#N/A</c:v>
                </c:pt>
                <c:pt idx="3071">
                  <c:v>1.7149799999999999</c:v>
                </c:pt>
                <c:pt idx="3072">
                  <c:v>1.5672200000000001</c:v>
                </c:pt>
                <c:pt idx="3073">
                  <c:v>2.4260000000000002</c:v>
                </c:pt>
                <c:pt idx="3074">
                  <c:v>#N/A</c:v>
                </c:pt>
                <c:pt idx="3075">
                  <c:v>2.7323900000000001</c:v>
                </c:pt>
                <c:pt idx="3076">
                  <c:v>2.2591800000000002</c:v>
                </c:pt>
                <c:pt idx="3077">
                  <c:v>#N/A</c:v>
                </c:pt>
                <c:pt idx="3078">
                  <c:v>2.1177100000000002</c:v>
                </c:pt>
                <c:pt idx="3079">
                  <c:v>#N/A</c:v>
                </c:pt>
                <c:pt idx="3080">
                  <c:v>1.88496</c:v>
                </c:pt>
                <c:pt idx="3081">
                  <c:v>1.6287100000000001</c:v>
                </c:pt>
                <c:pt idx="3082">
                  <c:v>1.9365600000000001</c:v>
                </c:pt>
                <c:pt idx="3083">
                  <c:v>#N/A</c:v>
                </c:pt>
                <c:pt idx="3084">
                  <c:v>2.3487100000000001</c:v>
                </c:pt>
                <c:pt idx="3085">
                  <c:v>3.0420600000000002</c:v>
                </c:pt>
                <c:pt idx="3086">
                  <c:v>3.3610000000000002</c:v>
                </c:pt>
                <c:pt idx="3087">
                  <c:v>#N/A</c:v>
                </c:pt>
                <c:pt idx="3088">
                  <c:v>3.0766399999999998</c:v>
                </c:pt>
                <c:pt idx="3089">
                  <c:v>2.6953399999999998</c:v>
                </c:pt>
                <c:pt idx="3090">
                  <c:v>2.1812200000000002</c:v>
                </c:pt>
                <c:pt idx="3091">
                  <c:v>#N/A</c:v>
                </c:pt>
                <c:pt idx="3092">
                  <c:v>2.0242200000000001</c:v>
                </c:pt>
                <c:pt idx="3093">
                  <c:v>2.4041199999999998</c:v>
                </c:pt>
                <c:pt idx="3094">
                  <c:v>#N/A</c:v>
                </c:pt>
                <c:pt idx="3095">
                  <c:v>2.1270600000000002</c:v>
                </c:pt>
                <c:pt idx="3096">
                  <c:v>2.87669</c:v>
                </c:pt>
                <c:pt idx="3097">
                  <c:v>2.6581199999999998</c:v>
                </c:pt>
                <c:pt idx="3098">
                  <c:v>#N/A</c:v>
                </c:pt>
                <c:pt idx="3099">
                  <c:v>1.83619</c:v>
                </c:pt>
                <c:pt idx="3100">
                  <c:v>1.2027399999999999</c:v>
                </c:pt>
                <c:pt idx="3101">
                  <c:v>1.4530400000000001</c:v>
                </c:pt>
                <c:pt idx="3102">
                  <c:v>#N/A</c:v>
                </c:pt>
                <c:pt idx="3103">
                  <c:v>1.60304</c:v>
                </c:pt>
                <c:pt idx="3104">
                  <c:v>2.24776</c:v>
                </c:pt>
                <c:pt idx="3105">
                  <c:v>2.3841100000000002</c:v>
                </c:pt>
                <c:pt idx="3106">
                  <c:v>#N/A</c:v>
                </c:pt>
                <c:pt idx="3107">
                  <c:v>2.53966</c:v>
                </c:pt>
                <c:pt idx="3108">
                  <c:v>2.5612300000000001</c:v>
                </c:pt>
                <c:pt idx="3109">
                  <c:v>2.2724799999999998</c:v>
                </c:pt>
                <c:pt idx="3110">
                  <c:v>#N/A</c:v>
                </c:pt>
                <c:pt idx="3111">
                  <c:v>2.3144200000000001</c:v>
                </c:pt>
                <c:pt idx="3112">
                  <c:v>1.97797</c:v>
                </c:pt>
                <c:pt idx="3113">
                  <c:v>2.1480800000000002</c:v>
                </c:pt>
                <c:pt idx="3114">
                  <c:v>#N/A</c:v>
                </c:pt>
                <c:pt idx="3115">
                  <c:v>2.1741999999999999</c:v>
                </c:pt>
                <c:pt idx="3116">
                  <c:v>2.8788200000000002</c:v>
                </c:pt>
                <c:pt idx="3117">
                  <c:v>2.8333599999999999</c:v>
                </c:pt>
                <c:pt idx="3118">
                  <c:v>#N/A</c:v>
                </c:pt>
                <c:pt idx="3119">
                  <c:v>2.8385500000000001</c:v>
                </c:pt>
                <c:pt idx="3120">
                  <c:v>2.11145</c:v>
                </c:pt>
                <c:pt idx="3121">
                  <c:v>1.7966500000000001</c:v>
                </c:pt>
                <c:pt idx="3122">
                  <c:v>#N/A</c:v>
                </c:pt>
                <c:pt idx="3123">
                  <c:v>1.78904</c:v>
                </c:pt>
                <c:pt idx="3124">
                  <c:v>1.7922400000000001</c:v>
                </c:pt>
                <c:pt idx="3125">
                  <c:v>#N/A</c:v>
                </c:pt>
                <c:pt idx="3126">
                  <c:v>2.1785899999999998</c:v>
                </c:pt>
                <c:pt idx="3127">
                  <c:v>2.9561700000000002</c:v>
                </c:pt>
                <c:pt idx="3128">
                  <c:v>2.7795399999999999</c:v>
                </c:pt>
                <c:pt idx="3129">
                  <c:v>#N/A</c:v>
                </c:pt>
                <c:pt idx="3130">
                  <c:v>2.5078900000000002</c:v>
                </c:pt>
                <c:pt idx="3131">
                  <c:v>1.8700600000000001</c:v>
                </c:pt>
                <c:pt idx="3132">
                  <c:v>#N/A</c:v>
                </c:pt>
                <c:pt idx="3133">
                  <c:v>1.70733</c:v>
                </c:pt>
                <c:pt idx="3134">
                  <c:v>1.54522</c:v>
                </c:pt>
                <c:pt idx="3135">
                  <c:v>1.8368100000000001</c:v>
                </c:pt>
                <c:pt idx="3136">
                  <c:v>#N/A</c:v>
                </c:pt>
                <c:pt idx="3137">
                  <c:v>1.92869</c:v>
                </c:pt>
                <c:pt idx="3138">
                  <c:v>2.4138700000000002</c:v>
                </c:pt>
                <c:pt idx="3139">
                  <c:v>2.8411900000000001</c:v>
                </c:pt>
                <c:pt idx="3140">
                  <c:v>#N/A</c:v>
                </c:pt>
                <c:pt idx="3141">
                  <c:v>2.6899199999999999</c:v>
                </c:pt>
                <c:pt idx="3142">
                  <c:v>2.0282900000000001</c:v>
                </c:pt>
                <c:pt idx="3143">
                  <c:v>2.1403599999999998</c:v>
                </c:pt>
                <c:pt idx="3144">
                  <c:v>#N/A</c:v>
                </c:pt>
                <c:pt idx="3145">
                  <c:v>2.5940799999999999</c:v>
                </c:pt>
                <c:pt idx="3146">
                  <c:v>1.74251</c:v>
                </c:pt>
                <c:pt idx="3147">
                  <c:v>2.5205299999999999</c:v>
                </c:pt>
                <c:pt idx="3148">
                  <c:v>#N/A</c:v>
                </c:pt>
                <c:pt idx="3149">
                  <c:v>2.6508799999999999</c:v>
                </c:pt>
                <c:pt idx="3150">
                  <c:v>2.95777</c:v>
                </c:pt>
                <c:pt idx="3151">
                  <c:v>#N/A</c:v>
                </c:pt>
                <c:pt idx="3152">
                  <c:v>2.5597799999999999</c:v>
                </c:pt>
                <c:pt idx="3153">
                  <c:v>1.88124</c:v>
                </c:pt>
                <c:pt idx="3154">
                  <c:v>#N/A</c:v>
                </c:pt>
                <c:pt idx="3155">
                  <c:v>2.1990099999999999</c:v>
                </c:pt>
                <c:pt idx="3156">
                  <c:v>2.3528799999999999</c:v>
                </c:pt>
                <c:pt idx="3157">
                  <c:v>2.52033</c:v>
                </c:pt>
                <c:pt idx="3158">
                  <c:v>#N/A</c:v>
                </c:pt>
                <c:pt idx="3159">
                  <c:v>2.2848999999999999</c:v>
                </c:pt>
                <c:pt idx="3160">
                  <c:v>2.0789200000000001</c:v>
                </c:pt>
                <c:pt idx="3161">
                  <c:v>#N/A</c:v>
                </c:pt>
                <c:pt idx="3162">
                  <c:v>1.63079</c:v>
                </c:pt>
                <c:pt idx="3163">
                  <c:v>1.0684800000000001</c:v>
                </c:pt>
                <c:pt idx="3164">
                  <c:v>1.78772</c:v>
                </c:pt>
                <c:pt idx="3165">
                  <c:v>#N/A</c:v>
                </c:pt>
                <c:pt idx="3166">
                  <c:v>1.8128899999999999</c:v>
                </c:pt>
                <c:pt idx="3167">
                  <c:v>2.1612</c:v>
                </c:pt>
                <c:pt idx="3168">
                  <c:v>2.4236499999999999</c:v>
                </c:pt>
                <c:pt idx="3169">
                  <c:v>#N/A</c:v>
                </c:pt>
                <c:pt idx="3170">
                  <c:v>2.7406799999999998</c:v>
                </c:pt>
                <c:pt idx="3171">
                  <c:v>2.4746800000000002</c:v>
                </c:pt>
                <c:pt idx="3172">
                  <c:v>2.2987799999999998</c:v>
                </c:pt>
                <c:pt idx="3173">
                  <c:v>#N/A</c:v>
                </c:pt>
                <c:pt idx="3174">
                  <c:v>1.4751399999999999</c:v>
                </c:pt>
                <c:pt idx="3175">
                  <c:v>1.30003</c:v>
                </c:pt>
                <c:pt idx="3176">
                  <c:v>1.67797</c:v>
                </c:pt>
                <c:pt idx="3177">
                  <c:v>#N/A</c:v>
                </c:pt>
                <c:pt idx="3178">
                  <c:v>2.6912199999999999</c:v>
                </c:pt>
                <c:pt idx="3179">
                  <c:v>3.1810299999999998</c:v>
                </c:pt>
                <c:pt idx="3180">
                  <c:v>#N/A</c:v>
                </c:pt>
                <c:pt idx="3181">
                  <c:v>2.8744399999999999</c:v>
                </c:pt>
                <c:pt idx="3182">
                  <c:v>2.2696000000000001</c:v>
                </c:pt>
                <c:pt idx="3183">
                  <c:v>1.65219</c:v>
                </c:pt>
                <c:pt idx="3184">
                  <c:v>#N/A</c:v>
                </c:pt>
                <c:pt idx="3185">
                  <c:v>1.20139</c:v>
                </c:pt>
                <c:pt idx="3186">
                  <c:v>1.19496</c:v>
                </c:pt>
                <c:pt idx="3187">
                  <c:v>1.60165</c:v>
                </c:pt>
                <c:pt idx="3188">
                  <c:v>#N/A</c:v>
                </c:pt>
                <c:pt idx="3189">
                  <c:v>2.45228</c:v>
                </c:pt>
                <c:pt idx="3190">
                  <c:v>3.1265399999999999</c:v>
                </c:pt>
                <c:pt idx="3191">
                  <c:v>#N/A</c:v>
                </c:pt>
                <c:pt idx="3192">
                  <c:v>3.11741</c:v>
                </c:pt>
                <c:pt idx="3193">
                  <c:v>2.7217099999999999</c:v>
                </c:pt>
                <c:pt idx="3194">
                  <c:v>1.8718900000000001</c:v>
                </c:pt>
                <c:pt idx="3195">
                  <c:v>#N/A</c:v>
                </c:pt>
                <c:pt idx="3196">
                  <c:v>1.88262</c:v>
                </c:pt>
                <c:pt idx="3197">
                  <c:v>1.7223999999999999</c:v>
                </c:pt>
                <c:pt idx="3198">
                  <c:v>2.2886899999999999</c:v>
                </c:pt>
                <c:pt idx="3199">
                  <c:v>#N/A</c:v>
                </c:pt>
                <c:pt idx="3200">
                  <c:v>2.0511499999999998</c:v>
                </c:pt>
                <c:pt idx="3201">
                  <c:v>2.5216599999999998</c:v>
                </c:pt>
                <c:pt idx="3202">
                  <c:v>3.2757800000000001</c:v>
                </c:pt>
                <c:pt idx="3203">
                  <c:v>#N/A</c:v>
                </c:pt>
                <c:pt idx="3204">
                  <c:v>2.0436299999999998</c:v>
                </c:pt>
                <c:pt idx="3205">
                  <c:v>1.6912199999999999</c:v>
                </c:pt>
                <c:pt idx="3206">
                  <c:v>1.0069600000000001</c:v>
                </c:pt>
                <c:pt idx="3207">
                  <c:v>#N/A</c:v>
                </c:pt>
                <c:pt idx="3208">
                  <c:v>1.3040700000000001</c:v>
                </c:pt>
                <c:pt idx="3209">
                  <c:v>2.1348699999999998</c:v>
                </c:pt>
                <c:pt idx="3210">
                  <c:v>2.2927300000000002</c:v>
                </c:pt>
                <c:pt idx="3211">
                  <c:v>#N/A</c:v>
                </c:pt>
                <c:pt idx="3212">
                  <c:v>3.57254</c:v>
                </c:pt>
                <c:pt idx="3213">
                  <c:v>3.0336599999999998</c:v>
                </c:pt>
                <c:pt idx="3214">
                  <c:v>2.9681899999999999</c:v>
                </c:pt>
                <c:pt idx="3215">
                  <c:v>#N/A</c:v>
                </c:pt>
                <c:pt idx="3216">
                  <c:v>2.2123400000000002</c:v>
                </c:pt>
                <c:pt idx="3217">
                  <c:v>1.80152</c:v>
                </c:pt>
                <c:pt idx="3218">
                  <c:v>1.6409199999999999</c:v>
                </c:pt>
                <c:pt idx="3219">
                  <c:v>#N/A</c:v>
                </c:pt>
                <c:pt idx="3220">
                  <c:v>2.6037499999999998</c:v>
                </c:pt>
                <c:pt idx="3221">
                  <c:v>2.3690000000000002</c:v>
                </c:pt>
                <c:pt idx="3222">
                  <c:v>#N/A</c:v>
                </c:pt>
                <c:pt idx="3223">
                  <c:v>2.9569200000000002</c:v>
                </c:pt>
                <c:pt idx="3224">
                  <c:v>2.3219699999999999</c:v>
                </c:pt>
                <c:pt idx="3225">
                  <c:v>2.1577600000000001</c:v>
                </c:pt>
                <c:pt idx="3226">
                  <c:v>#N/A</c:v>
                </c:pt>
                <c:pt idx="3227">
                  <c:v>1.6131500000000001</c:v>
                </c:pt>
                <c:pt idx="3228">
                  <c:v>#N/A</c:v>
                </c:pt>
                <c:pt idx="3229">
                  <c:v>1.70946</c:v>
                </c:pt>
                <c:pt idx="3230">
                  <c:v>#N/A</c:v>
                </c:pt>
                <c:pt idx="3231">
                  <c:v>2.36809</c:v>
                </c:pt>
                <c:pt idx="3232">
                  <c:v>2.0778300000000001</c:v>
                </c:pt>
                <c:pt idx="3233">
                  <c:v>1.93398</c:v>
                </c:pt>
                <c:pt idx="3234">
                  <c:v>#N/A</c:v>
                </c:pt>
                <c:pt idx="3235">
                  <c:v>2.0070800000000002</c:v>
                </c:pt>
                <c:pt idx="3236">
                  <c:v>1.5113300000000001</c:v>
                </c:pt>
                <c:pt idx="3237">
                  <c:v>1.80321</c:v>
                </c:pt>
                <c:pt idx="3238">
                  <c:v>#N/A</c:v>
                </c:pt>
                <c:pt idx="3239">
                  <c:v>1.89103</c:v>
                </c:pt>
                <c:pt idx="3240">
                  <c:v>2.3452099999999998</c:v>
                </c:pt>
                <c:pt idx="3241">
                  <c:v>2.4877699999999998</c:v>
                </c:pt>
                <c:pt idx="3242">
                  <c:v>#N/A</c:v>
                </c:pt>
                <c:pt idx="3243">
                  <c:v>2.5625200000000001</c:v>
                </c:pt>
                <c:pt idx="3244">
                  <c:v>2.2015600000000002</c:v>
                </c:pt>
                <c:pt idx="3245">
                  <c:v>1.5621700000000001</c:v>
                </c:pt>
                <c:pt idx="3246">
                  <c:v>#N/A</c:v>
                </c:pt>
                <c:pt idx="3247">
                  <c:v>1.47689</c:v>
                </c:pt>
                <c:pt idx="3248">
                  <c:v>1.2261500000000001</c:v>
                </c:pt>
                <c:pt idx="3249">
                  <c:v>2.3570099999999998</c:v>
                </c:pt>
                <c:pt idx="3250">
                  <c:v>#N/A</c:v>
                </c:pt>
                <c:pt idx="3251">
                  <c:v>3.0910500000000001</c:v>
                </c:pt>
                <c:pt idx="3252">
                  <c:v>3.50373</c:v>
                </c:pt>
                <c:pt idx="3253">
                  <c:v>#N/A</c:v>
                </c:pt>
                <c:pt idx="3254">
                  <c:v>3.0656400000000001</c:v>
                </c:pt>
                <c:pt idx="3255">
                  <c:v>2.1217800000000002</c:v>
                </c:pt>
                <c:pt idx="3256">
                  <c:v>2.00231</c:v>
                </c:pt>
                <c:pt idx="3257">
                  <c:v>#N/A</c:v>
                </c:pt>
                <c:pt idx="3258">
                  <c:v>1.4026700000000001</c:v>
                </c:pt>
                <c:pt idx="3259">
                  <c:v>1.3414299999999999</c:v>
                </c:pt>
                <c:pt idx="3260">
                  <c:v>#N/A</c:v>
                </c:pt>
                <c:pt idx="3261">
                  <c:v>1.77329</c:v>
                </c:pt>
                <c:pt idx="3262">
                  <c:v>2.40951</c:v>
                </c:pt>
                <c:pt idx="3263">
                  <c:v>2.9583900000000001</c:v>
                </c:pt>
                <c:pt idx="3264">
                  <c:v>#N/A</c:v>
                </c:pt>
                <c:pt idx="3265">
                  <c:v>2.7084700000000002</c:v>
                </c:pt>
                <c:pt idx="3266">
                  <c:v>2.2888799999999998</c:v>
                </c:pt>
                <c:pt idx="3267">
                  <c:v>1.9966600000000001</c:v>
                </c:pt>
                <c:pt idx="3268">
                  <c:v>#N/A</c:v>
                </c:pt>
                <c:pt idx="3269">
                  <c:v>1.5620499999999999</c:v>
                </c:pt>
                <c:pt idx="3270">
                  <c:v>1.4639</c:v>
                </c:pt>
                <c:pt idx="3271">
                  <c:v>1.6923900000000001</c:v>
                </c:pt>
                <c:pt idx="3272">
                  <c:v>#N/A</c:v>
                </c:pt>
                <c:pt idx="3273">
                  <c:v>2.7201300000000002</c:v>
                </c:pt>
                <c:pt idx="3274">
                  <c:v>3.5459900000000002</c:v>
                </c:pt>
                <c:pt idx="3275">
                  <c:v>3.21306</c:v>
                </c:pt>
                <c:pt idx="3276">
                  <c:v>#N/A</c:v>
                </c:pt>
                <c:pt idx="3277">
                  <c:v>2.4297200000000001</c:v>
                </c:pt>
                <c:pt idx="3278">
                  <c:v>1.7975000000000001</c:v>
                </c:pt>
                <c:pt idx="3279">
                  <c:v>1.6510199999999999</c:v>
                </c:pt>
                <c:pt idx="3280">
                  <c:v>#N/A</c:v>
                </c:pt>
                <c:pt idx="3281">
                  <c:v>1.4070499999999999</c:v>
                </c:pt>
                <c:pt idx="3282">
                  <c:v>1.4191</c:v>
                </c:pt>
                <c:pt idx="3283">
                  <c:v>1.8309200000000001</c:v>
                </c:pt>
                <c:pt idx="3284">
                  <c:v>#N/A</c:v>
                </c:pt>
                <c:pt idx="3285">
                  <c:v>1.71465</c:v>
                </c:pt>
                <c:pt idx="3286">
                  <c:v>2.2517200000000002</c:v>
                </c:pt>
                <c:pt idx="3287">
                  <c:v>2.13036</c:v>
                </c:pt>
                <c:pt idx="3288">
                  <c:v>#N/A</c:v>
                </c:pt>
                <c:pt idx="3289">
                  <c:v>1.89757</c:v>
                </c:pt>
                <c:pt idx="3290">
                  <c:v>1.79606</c:v>
                </c:pt>
                <c:pt idx="3291">
                  <c:v>1.45296</c:v>
                </c:pt>
                <c:pt idx="3292">
                  <c:v>#N/A</c:v>
                </c:pt>
                <c:pt idx="3293">
                  <c:v>1.85934</c:v>
                </c:pt>
                <c:pt idx="3294">
                  <c:v>2.3011699999999999</c:v>
                </c:pt>
                <c:pt idx="3295">
                  <c:v>#N/A</c:v>
                </c:pt>
                <c:pt idx="3296">
                  <c:v>2.9689899999999998</c:v>
                </c:pt>
                <c:pt idx="3297">
                  <c:v>2.7299799999999999</c:v>
                </c:pt>
                <c:pt idx="3298">
                  <c:v>3.2110400000000001</c:v>
                </c:pt>
                <c:pt idx="3299">
                  <c:v>#N/A</c:v>
                </c:pt>
                <c:pt idx="3300">
                  <c:v>2.7832599999999998</c:v>
                </c:pt>
                <c:pt idx="3301">
                  <c:v>1.85971</c:v>
                </c:pt>
                <c:pt idx="3302">
                  <c:v>2.2645</c:v>
                </c:pt>
                <c:pt idx="3303">
                  <c:v>#N/A</c:v>
                </c:pt>
                <c:pt idx="3304">
                  <c:v>2.0596999999999999</c:v>
                </c:pt>
                <c:pt idx="3305">
                  <c:v>2.8851100000000001</c:v>
                </c:pt>
                <c:pt idx="3306">
                  <c:v>2.5072100000000002</c:v>
                </c:pt>
                <c:pt idx="3307">
                  <c:v>#N/A</c:v>
                </c:pt>
                <c:pt idx="3308">
                  <c:v>2.4180799999999998</c:v>
                </c:pt>
                <c:pt idx="3309">
                  <c:v>1.50386</c:v>
                </c:pt>
                <c:pt idx="3310">
                  <c:v>1.44608</c:v>
                </c:pt>
                <c:pt idx="3311">
                  <c:v>#N/A</c:v>
                </c:pt>
                <c:pt idx="3312">
                  <c:v>1.4579599999999999</c:v>
                </c:pt>
                <c:pt idx="3313">
                  <c:v>2.0834899999999998</c:v>
                </c:pt>
                <c:pt idx="3314">
                  <c:v>2.1385800000000001</c:v>
                </c:pt>
                <c:pt idx="3315">
                  <c:v>#N/A</c:v>
                </c:pt>
                <c:pt idx="3316">
                  <c:v>2.7949700000000002</c:v>
                </c:pt>
                <c:pt idx="3317">
                  <c:v>3.1955399999999998</c:v>
                </c:pt>
                <c:pt idx="3318">
                  <c:v>2.2852399999999999</c:v>
                </c:pt>
                <c:pt idx="3319">
                  <c:v>#N/A</c:v>
                </c:pt>
                <c:pt idx="3320">
                  <c:v>1.8915900000000001</c:v>
                </c:pt>
                <c:pt idx="3321">
                  <c:v>1.83558</c:v>
                </c:pt>
                <c:pt idx="3322">
                  <c:v>#N/A</c:v>
                </c:pt>
                <c:pt idx="3323">
                  <c:v>1.92319</c:v>
                </c:pt>
                <c:pt idx="3324">
                  <c:v>3.02332</c:v>
                </c:pt>
                <c:pt idx="3325">
                  <c:v>3.0907900000000001</c:v>
                </c:pt>
                <c:pt idx="3326">
                  <c:v>#N/A</c:v>
                </c:pt>
                <c:pt idx="3327">
                  <c:v>2.7976100000000002</c:v>
                </c:pt>
                <c:pt idx="3328">
                  <c:v>2.9628100000000002</c:v>
                </c:pt>
                <c:pt idx="3329">
                  <c:v>2.5910500000000001</c:v>
                </c:pt>
                <c:pt idx="3330">
                  <c:v>#N/A</c:v>
                </c:pt>
                <c:pt idx="3331">
                  <c:v>1.8923000000000001</c:v>
                </c:pt>
                <c:pt idx="3332">
                  <c:v>1.51861</c:v>
                </c:pt>
                <c:pt idx="3333">
                  <c:v>1.6328499999999999</c:v>
                </c:pt>
                <c:pt idx="3334">
                  <c:v>#N/A</c:v>
                </c:pt>
                <c:pt idx="3335">
                  <c:v>2.97262</c:v>
                </c:pt>
                <c:pt idx="3336">
                  <c:v>3.1345200000000002</c:v>
                </c:pt>
                <c:pt idx="3337">
                  <c:v>3.13991</c:v>
                </c:pt>
                <c:pt idx="3338">
                  <c:v>#N/A</c:v>
                </c:pt>
                <c:pt idx="3339">
                  <c:v>2.3409499999999999</c:v>
                </c:pt>
                <c:pt idx="3340">
                  <c:v>1.5747899999999999</c:v>
                </c:pt>
                <c:pt idx="3341">
                  <c:v>#N/A</c:v>
                </c:pt>
                <c:pt idx="3342">
                  <c:v>1.95374</c:v>
                </c:pt>
                <c:pt idx="3343">
                  <c:v>1.31362</c:v>
                </c:pt>
                <c:pt idx="3344">
                  <c:v>1.9215500000000001</c:v>
                </c:pt>
                <c:pt idx="3345">
                  <c:v>#N/A</c:v>
                </c:pt>
                <c:pt idx="3346">
                  <c:v>2.02555</c:v>
                </c:pt>
                <c:pt idx="3347">
                  <c:v>2.7143199999999998</c:v>
                </c:pt>
                <c:pt idx="3348">
                  <c:v>2.5761699999999998</c:v>
                </c:pt>
                <c:pt idx="3349">
                  <c:v>#N/A</c:v>
                </c:pt>
                <c:pt idx="3350">
                  <c:v>2.44177</c:v>
                </c:pt>
                <c:pt idx="3351">
                  <c:v>1.1972799999999999</c:v>
                </c:pt>
                <c:pt idx="3352">
                  <c:v>1.32575</c:v>
                </c:pt>
                <c:pt idx="3353">
                  <c:v>#N/A</c:v>
                </c:pt>
                <c:pt idx="3354">
                  <c:v>1.84409</c:v>
                </c:pt>
                <c:pt idx="3355">
                  <c:v>1.55504</c:v>
                </c:pt>
                <c:pt idx="3356">
                  <c:v>2.3527499999999999</c:v>
                </c:pt>
                <c:pt idx="3357">
                  <c:v>#N/A</c:v>
                </c:pt>
                <c:pt idx="3358">
                  <c:v>2.77251</c:v>
                </c:pt>
                <c:pt idx="3359">
                  <c:v>3.47797</c:v>
                </c:pt>
                <c:pt idx="3360">
                  <c:v>3.3479399999999999</c:v>
                </c:pt>
                <c:pt idx="3361">
                  <c:v>#N/A</c:v>
                </c:pt>
                <c:pt idx="3362">
                  <c:v>2.1391100000000001</c:v>
                </c:pt>
                <c:pt idx="3363">
                  <c:v>2.0842900000000002</c:v>
                </c:pt>
                <c:pt idx="3364">
                  <c:v>#N/A</c:v>
                </c:pt>
                <c:pt idx="3365">
                  <c:v>1.8194900000000001</c:v>
                </c:pt>
                <c:pt idx="3366">
                  <c:v>1.91167</c:v>
                </c:pt>
                <c:pt idx="3367">
                  <c:v>2.1315900000000001</c:v>
                </c:pt>
                <c:pt idx="3368">
                  <c:v>#N/A</c:v>
                </c:pt>
                <c:pt idx="3369">
                  <c:v>1.9723999999999999</c:v>
                </c:pt>
                <c:pt idx="3370">
                  <c:v>2.1453799999999998</c:v>
                </c:pt>
                <c:pt idx="3371">
                  <c:v>#N/A</c:v>
                </c:pt>
                <c:pt idx="3372">
                  <c:v>2.6239699999999999</c:v>
                </c:pt>
                <c:pt idx="3373">
                  <c:v>1.8486400000000001</c:v>
                </c:pt>
                <c:pt idx="3374">
                  <c:v>1.8508899999999999</c:v>
                </c:pt>
                <c:pt idx="3375">
                  <c:v>#N/A</c:v>
                </c:pt>
                <c:pt idx="3376">
                  <c:v>1.21336</c:v>
                </c:pt>
                <c:pt idx="3377">
                  <c:v>#N/A</c:v>
                </c:pt>
                <c:pt idx="3378">
                  <c:v>2.17923</c:v>
                </c:pt>
                <c:pt idx="3379">
                  <c:v>2.2932899999999998</c:v>
                </c:pt>
                <c:pt idx="3380">
                  <c:v>2.6248800000000001</c:v>
                </c:pt>
                <c:pt idx="3381">
                  <c:v>#N/A</c:v>
                </c:pt>
                <c:pt idx="3382">
                  <c:v>2.4966900000000001</c:v>
                </c:pt>
                <c:pt idx="3383">
                  <c:v>2.3125499999999999</c:v>
                </c:pt>
                <c:pt idx="3384">
                  <c:v>2.4486500000000002</c:v>
                </c:pt>
                <c:pt idx="3385">
                  <c:v>#N/A</c:v>
                </c:pt>
                <c:pt idx="3386">
                  <c:v>2.5913900000000001</c:v>
                </c:pt>
                <c:pt idx="3387">
                  <c:v>2.21685</c:v>
                </c:pt>
                <c:pt idx="3388">
                  <c:v>#N/A</c:v>
                </c:pt>
                <c:pt idx="3389">
                  <c:v>2.1683699999999999</c:v>
                </c:pt>
                <c:pt idx="3390">
                  <c:v>1.8229299999999999</c:v>
                </c:pt>
                <c:pt idx="3391">
                  <c:v>1.98488</c:v>
                </c:pt>
                <c:pt idx="3392">
                  <c:v>#N/A</c:v>
                </c:pt>
                <c:pt idx="3393">
                  <c:v>1.91682</c:v>
                </c:pt>
                <c:pt idx="3394">
                  <c:v>1.81169</c:v>
                </c:pt>
                <c:pt idx="3395">
                  <c:v>1.7561100000000001</c:v>
                </c:pt>
                <c:pt idx="3396">
                  <c:v>#N/A</c:v>
                </c:pt>
                <c:pt idx="3397">
                  <c:v>1.9339500000000001</c:v>
                </c:pt>
                <c:pt idx="3398">
                  <c:v>2.6340699999999999</c:v>
                </c:pt>
                <c:pt idx="3399">
                  <c:v>2.6863100000000002</c:v>
                </c:pt>
                <c:pt idx="3400">
                  <c:v>#N/A</c:v>
                </c:pt>
                <c:pt idx="3401">
                  <c:v>2.8526400000000001</c:v>
                </c:pt>
                <c:pt idx="3402">
                  <c:v>2.1573699999999998</c:v>
                </c:pt>
                <c:pt idx="3403">
                  <c:v>1.8211999999999999</c:v>
                </c:pt>
                <c:pt idx="3404">
                  <c:v>#N/A</c:v>
                </c:pt>
                <c:pt idx="3405">
                  <c:v>1.5121199999999999</c:v>
                </c:pt>
                <c:pt idx="3406">
                  <c:v>2.40686</c:v>
                </c:pt>
                <c:pt idx="3407">
                  <c:v>1.9491000000000001</c:v>
                </c:pt>
                <c:pt idx="3408">
                  <c:v>#N/A</c:v>
                </c:pt>
                <c:pt idx="3409">
                  <c:v>3.2398199999999999</c:v>
                </c:pt>
                <c:pt idx="3410">
                  <c:v>2.8662700000000001</c:v>
                </c:pt>
                <c:pt idx="3411">
                  <c:v>3.0204499999999999</c:v>
                </c:pt>
                <c:pt idx="3412">
                  <c:v>#N/A</c:v>
                </c:pt>
                <c:pt idx="3413">
                  <c:v>2.0831499999999998</c:v>
                </c:pt>
                <c:pt idx="3414">
                  <c:v>1.2475799999999999</c:v>
                </c:pt>
                <c:pt idx="3415">
                  <c:v>1.4301299999999999</c:v>
                </c:pt>
                <c:pt idx="3416">
                  <c:v>#N/A</c:v>
                </c:pt>
                <c:pt idx="3417">
                  <c:v>1.3812599999999999</c:v>
                </c:pt>
                <c:pt idx="3418">
                  <c:v>2.1442100000000002</c:v>
                </c:pt>
                <c:pt idx="3419">
                  <c:v>2.44042</c:v>
                </c:pt>
                <c:pt idx="3420">
                  <c:v>#N/A</c:v>
                </c:pt>
                <c:pt idx="3421">
                  <c:v>3.6267399999999999</c:v>
                </c:pt>
                <c:pt idx="3422">
                  <c:v>3.4133399999999998</c:v>
                </c:pt>
                <c:pt idx="3423">
                  <c:v>#N/A</c:v>
                </c:pt>
                <c:pt idx="3424">
                  <c:v>2.3253300000000001</c:v>
                </c:pt>
                <c:pt idx="3425">
                  <c:v>1.4367799999999999</c:v>
                </c:pt>
                <c:pt idx="3426">
                  <c:v>1.8546</c:v>
                </c:pt>
                <c:pt idx="3427">
                  <c:v>#N/A</c:v>
                </c:pt>
                <c:pt idx="3428">
                  <c:v>1.70363</c:v>
                </c:pt>
                <c:pt idx="3429">
                  <c:v>2.42198</c:v>
                </c:pt>
                <c:pt idx="3430">
                  <c:v>2.6393399999999998</c:v>
                </c:pt>
                <c:pt idx="3431">
                  <c:v>#N/A</c:v>
                </c:pt>
                <c:pt idx="3432">
                  <c:v>2.7494999999999998</c:v>
                </c:pt>
                <c:pt idx="3433">
                  <c:v>2.66832</c:v>
                </c:pt>
                <c:pt idx="3434">
                  <c:v>2.5099300000000002</c:v>
                </c:pt>
                <c:pt idx="3435">
                  <c:v>#N/A</c:v>
                </c:pt>
                <c:pt idx="3436">
                  <c:v>2.3574799999999998</c:v>
                </c:pt>
                <c:pt idx="3437">
                  <c:v>1.55871</c:v>
                </c:pt>
                <c:pt idx="3438">
                  <c:v>2.0985499999999999</c:v>
                </c:pt>
                <c:pt idx="3439">
                  <c:v>#N/A</c:v>
                </c:pt>
                <c:pt idx="3440">
                  <c:v>1.9333100000000001</c:v>
                </c:pt>
                <c:pt idx="3441">
                  <c:v>2.9894599999999998</c:v>
                </c:pt>
                <c:pt idx="3442">
                  <c:v>3.2166999999999999</c:v>
                </c:pt>
                <c:pt idx="3443">
                  <c:v>#N/A</c:v>
                </c:pt>
                <c:pt idx="3444">
                  <c:v>2.8219799999999999</c:v>
                </c:pt>
                <c:pt idx="3445">
                  <c:v>2.8639100000000002</c:v>
                </c:pt>
                <c:pt idx="3446">
                  <c:v>#N/A</c:v>
                </c:pt>
                <c:pt idx="3447">
                  <c:v>2.22296</c:v>
                </c:pt>
                <c:pt idx="3448">
                  <c:v>2.1303399999999999</c:v>
                </c:pt>
                <c:pt idx="3449">
                  <c:v>2.1762999999999999</c:v>
                </c:pt>
                <c:pt idx="3450">
                  <c:v>#N/A</c:v>
                </c:pt>
                <c:pt idx="3451">
                  <c:v>2.67347</c:v>
                </c:pt>
                <c:pt idx="3452">
                  <c:v>#N/A</c:v>
                </c:pt>
                <c:pt idx="3453">
                  <c:v>2.64717</c:v>
                </c:pt>
                <c:pt idx="3454">
                  <c:v>2.2344499999999998</c:v>
                </c:pt>
                <c:pt idx="3455">
                  <c:v>#N/A</c:v>
                </c:pt>
                <c:pt idx="3456">
                  <c:v>1.8001499999999999</c:v>
                </c:pt>
                <c:pt idx="3457">
                  <c:v>1.8702099999999999</c:v>
                </c:pt>
                <c:pt idx="3458">
                  <c:v>1.96306</c:v>
                </c:pt>
                <c:pt idx="3459">
                  <c:v>#N/A</c:v>
                </c:pt>
                <c:pt idx="3460">
                  <c:v>1.8324499999999999</c:v>
                </c:pt>
                <c:pt idx="3461">
                  <c:v>2.30084</c:v>
                </c:pt>
                <c:pt idx="3462">
                  <c:v>2.3747199999999999</c:v>
                </c:pt>
                <c:pt idx="3463">
                  <c:v>#N/A</c:v>
                </c:pt>
                <c:pt idx="3464">
                  <c:v>2.9582600000000001</c:v>
                </c:pt>
                <c:pt idx="3465">
                  <c:v>2.3526799999999999</c:v>
                </c:pt>
                <c:pt idx="3466">
                  <c:v>2.2969900000000001</c:v>
                </c:pt>
                <c:pt idx="3467">
                  <c:v>#N/A</c:v>
                </c:pt>
                <c:pt idx="3468">
                  <c:v>1.83216</c:v>
                </c:pt>
                <c:pt idx="3469">
                  <c:v>2.0113099999999999</c:v>
                </c:pt>
                <c:pt idx="3470">
                  <c:v>2.4027099999999999</c:v>
                </c:pt>
                <c:pt idx="3471">
                  <c:v>#N/A</c:v>
                </c:pt>
                <c:pt idx="3472">
                  <c:v>2.30063</c:v>
                </c:pt>
                <c:pt idx="3473">
                  <c:v>2.09354</c:v>
                </c:pt>
                <c:pt idx="3474">
                  <c:v>2.30179</c:v>
                </c:pt>
                <c:pt idx="3475">
                  <c:v>#N/A</c:v>
                </c:pt>
                <c:pt idx="3476">
                  <c:v>2.3077200000000002</c:v>
                </c:pt>
                <c:pt idx="3477">
                  <c:v>1.4098900000000001</c:v>
                </c:pt>
                <c:pt idx="3478">
                  <c:v>1.68937</c:v>
                </c:pt>
                <c:pt idx="3479">
                  <c:v>#N/A</c:v>
                </c:pt>
                <c:pt idx="3480">
                  <c:v>1.7131700000000001</c:v>
                </c:pt>
                <c:pt idx="3481">
                  <c:v>2.7547199999999998</c:v>
                </c:pt>
                <c:pt idx="3482">
                  <c:v>#N/A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#N/A</c:v>
                </c:pt>
                <c:pt idx="3492">
                  <c:v>#N/A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#N/A</c:v>
                </c:pt>
                <c:pt idx="3499">
                  <c:v>#N/A</c:v>
                </c:pt>
                <c:pt idx="3500">
                  <c:v>#N/A</c:v>
                </c:pt>
                <c:pt idx="3501">
                  <c:v>#N/A</c:v>
                </c:pt>
                <c:pt idx="3502">
                  <c:v>#N/A</c:v>
                </c:pt>
                <c:pt idx="3503">
                  <c:v>#N/A</c:v>
                </c:pt>
                <c:pt idx="3504">
                  <c:v>#N/A</c:v>
                </c:pt>
                <c:pt idx="3505">
                  <c:v>2.7277300000000002</c:v>
                </c:pt>
                <c:pt idx="3506">
                  <c:v>2.9614600000000002</c:v>
                </c:pt>
                <c:pt idx="3507">
                  <c:v>#N/A</c:v>
                </c:pt>
                <c:pt idx="3508">
                  <c:v>2.1435599999999999</c:v>
                </c:pt>
                <c:pt idx="3509">
                  <c:v>1.9483600000000001</c:v>
                </c:pt>
                <c:pt idx="3510">
                  <c:v>#N/A</c:v>
                </c:pt>
                <c:pt idx="3511">
                  <c:v>1.8965700000000001</c:v>
                </c:pt>
                <c:pt idx="3512">
                  <c:v>2.47119</c:v>
                </c:pt>
                <c:pt idx="3513">
                  <c:v>2.6516799999999998</c:v>
                </c:pt>
                <c:pt idx="3514">
                  <c:v>#N/A</c:v>
                </c:pt>
                <c:pt idx="3515">
                  <c:v>2.8808400000000001</c:v>
                </c:pt>
                <c:pt idx="3516">
                  <c:v>3.0794000000000001</c:v>
                </c:pt>
                <c:pt idx="3517">
                  <c:v>2.6737700000000002</c:v>
                </c:pt>
                <c:pt idx="3518">
                  <c:v>#N/A</c:v>
                </c:pt>
                <c:pt idx="3519">
                  <c:v>2.4718300000000002</c:v>
                </c:pt>
                <c:pt idx="3520">
                  <c:v>1.98706</c:v>
                </c:pt>
                <c:pt idx="3521">
                  <c:v>#N/A</c:v>
                </c:pt>
                <c:pt idx="3522">
                  <c:v>2.0938500000000002</c:v>
                </c:pt>
                <c:pt idx="3523">
                  <c:v>2.0487199999999999</c:v>
                </c:pt>
                <c:pt idx="3524">
                  <c:v>2.8479399999999999</c:v>
                </c:pt>
                <c:pt idx="3525">
                  <c:v>#N/A</c:v>
                </c:pt>
                <c:pt idx="3526">
                  <c:v>2.3172600000000001</c:v>
                </c:pt>
                <c:pt idx="3527">
                  <c:v>2.5974400000000002</c:v>
                </c:pt>
                <c:pt idx="3528">
                  <c:v>2.7482799999999998</c:v>
                </c:pt>
                <c:pt idx="3529">
                  <c:v>#N/A</c:v>
                </c:pt>
                <c:pt idx="3530">
                  <c:v>2.2075</c:v>
                </c:pt>
                <c:pt idx="3531">
                  <c:v>2.33704</c:v>
                </c:pt>
                <c:pt idx="3532">
                  <c:v>#N/A</c:v>
                </c:pt>
                <c:pt idx="3533">
                  <c:v>2.1345200000000002</c:v>
                </c:pt>
                <c:pt idx="3534">
                  <c:v>2.1340599999999998</c:v>
                </c:pt>
                <c:pt idx="3535">
                  <c:v>2.3755799999999998</c:v>
                </c:pt>
                <c:pt idx="3536">
                  <c:v>#N/A</c:v>
                </c:pt>
                <c:pt idx="3537">
                  <c:v>2.5241600000000002</c:v>
                </c:pt>
                <c:pt idx="3538">
                  <c:v>1.87104</c:v>
                </c:pt>
                <c:pt idx="3539">
                  <c:v>1.45627</c:v>
                </c:pt>
                <c:pt idx="3540">
                  <c:v>#N/A</c:v>
                </c:pt>
                <c:pt idx="3541">
                  <c:v>1.78888</c:v>
                </c:pt>
                <c:pt idx="3542">
                  <c:v>2.4164099999999999</c:v>
                </c:pt>
                <c:pt idx="3543">
                  <c:v>2.9676399999999998</c:v>
                </c:pt>
                <c:pt idx="3544">
                  <c:v>#N/A</c:v>
                </c:pt>
                <c:pt idx="3545">
                  <c:v>2.8886400000000001</c:v>
                </c:pt>
                <c:pt idx="3546">
                  <c:v>2.7172200000000002</c:v>
                </c:pt>
                <c:pt idx="3547">
                  <c:v>#N/A</c:v>
                </c:pt>
                <c:pt idx="3548">
                  <c:v>2.5473599999999998</c:v>
                </c:pt>
                <c:pt idx="3549">
                  <c:v>2.9214099999999998</c:v>
                </c:pt>
                <c:pt idx="3550">
                  <c:v>2.5181100000000001</c:v>
                </c:pt>
                <c:pt idx="3551">
                  <c:v>#N/A</c:v>
                </c:pt>
                <c:pt idx="3552">
                  <c:v>2.1786599999999998</c:v>
                </c:pt>
                <c:pt idx="3553">
                  <c:v>2.1740900000000001</c:v>
                </c:pt>
                <c:pt idx="3554">
                  <c:v>2.9766599999999999</c:v>
                </c:pt>
                <c:pt idx="3555">
                  <c:v>#N/A</c:v>
                </c:pt>
                <c:pt idx="3556">
                  <c:v>3.3010000000000002</c:v>
                </c:pt>
                <c:pt idx="3557">
                  <c:v>2.5723799999999999</c:v>
                </c:pt>
                <c:pt idx="3558">
                  <c:v>1.6798200000000001</c:v>
                </c:pt>
                <c:pt idx="3559">
                  <c:v>#N/A</c:v>
                </c:pt>
                <c:pt idx="3560">
                  <c:v>1.87049</c:v>
                </c:pt>
                <c:pt idx="3561">
                  <c:v>1.7385900000000001</c:v>
                </c:pt>
                <c:pt idx="3562">
                  <c:v>1.2123200000000001</c:v>
                </c:pt>
                <c:pt idx="3563">
                  <c:v>#N/A</c:v>
                </c:pt>
                <c:pt idx="3564">
                  <c:v>2.0131199999999998</c:v>
                </c:pt>
                <c:pt idx="3565">
                  <c:v>2.74214</c:v>
                </c:pt>
                <c:pt idx="3566">
                  <c:v>3.7522099999999998</c:v>
                </c:pt>
                <c:pt idx="3567">
                  <c:v>#N/A</c:v>
                </c:pt>
                <c:pt idx="3568">
                  <c:v>3.8151099999999998</c:v>
                </c:pt>
                <c:pt idx="3569">
                  <c:v>2.5428799999999998</c:v>
                </c:pt>
                <c:pt idx="3570">
                  <c:v>2.0236800000000001</c:v>
                </c:pt>
                <c:pt idx="3571">
                  <c:v>#N/A</c:v>
                </c:pt>
                <c:pt idx="3572">
                  <c:v>1.76485</c:v>
                </c:pt>
                <c:pt idx="3573">
                  <c:v>2.2610899999999998</c:v>
                </c:pt>
                <c:pt idx="3574">
                  <c:v>#N/A</c:v>
                </c:pt>
                <c:pt idx="3575">
                  <c:v>2.3052700000000002</c:v>
                </c:pt>
                <c:pt idx="3576">
                  <c:v>2.70411</c:v>
                </c:pt>
                <c:pt idx="3577">
                  <c:v>3.3764599999999998</c:v>
                </c:pt>
                <c:pt idx="3578">
                  <c:v>#N/A</c:v>
                </c:pt>
                <c:pt idx="3579">
                  <c:v>2.9909400000000002</c:v>
                </c:pt>
                <c:pt idx="3580">
                  <c:v>2.7302200000000001</c:v>
                </c:pt>
                <c:pt idx="3581">
                  <c:v>1.976</c:v>
                </c:pt>
                <c:pt idx="3582">
                  <c:v>#N/A</c:v>
                </c:pt>
                <c:pt idx="3583">
                  <c:v>2.04203</c:v>
                </c:pt>
                <c:pt idx="3584">
                  <c:v>1.4398</c:v>
                </c:pt>
                <c:pt idx="3585">
                  <c:v>2.57165</c:v>
                </c:pt>
                <c:pt idx="3586">
                  <c:v>#N/A</c:v>
                </c:pt>
                <c:pt idx="3587">
                  <c:v>2.3493200000000001</c:v>
                </c:pt>
                <c:pt idx="3588">
                  <c:v>2.43872</c:v>
                </c:pt>
                <c:pt idx="3589">
                  <c:v>#N/A</c:v>
                </c:pt>
                <c:pt idx="3590">
                  <c:v>2.5696599999999998</c:v>
                </c:pt>
                <c:pt idx="3591">
                  <c:v>2.85331</c:v>
                </c:pt>
                <c:pt idx="3592">
                  <c:v>2.7668900000000001</c:v>
                </c:pt>
                <c:pt idx="3593">
                  <c:v>#N/A</c:v>
                </c:pt>
                <c:pt idx="3594">
                  <c:v>1.91086</c:v>
                </c:pt>
                <c:pt idx="3595">
                  <c:v>1.6822600000000001</c:v>
                </c:pt>
                <c:pt idx="3596">
                  <c:v>2.4065500000000002</c:v>
                </c:pt>
                <c:pt idx="3597">
                  <c:v>#N/A</c:v>
                </c:pt>
                <c:pt idx="3598">
                  <c:v>2.56134</c:v>
                </c:pt>
                <c:pt idx="3599">
                  <c:v>3.01268</c:v>
                </c:pt>
                <c:pt idx="3600">
                  <c:v>#N/A</c:v>
                </c:pt>
                <c:pt idx="3601">
                  <c:v>2.45499</c:v>
                </c:pt>
                <c:pt idx="3602">
                  <c:v>2.5497200000000002</c:v>
                </c:pt>
                <c:pt idx="3603">
                  <c:v>#N/A</c:v>
                </c:pt>
                <c:pt idx="3604">
                  <c:v>1.9864200000000001</c:v>
                </c:pt>
                <c:pt idx="3605">
                  <c:v>2.1043799999999999</c:v>
                </c:pt>
                <c:pt idx="3606">
                  <c:v>#N/A</c:v>
                </c:pt>
                <c:pt idx="3607">
                  <c:v>2.37791</c:v>
                </c:pt>
                <c:pt idx="3608">
                  <c:v>2.9353600000000002</c:v>
                </c:pt>
                <c:pt idx="3609">
                  <c:v>#N/A</c:v>
                </c:pt>
                <c:pt idx="3610">
                  <c:v>3.0068899999999998</c:v>
                </c:pt>
                <c:pt idx="3611">
                  <c:v>2.6936200000000001</c:v>
                </c:pt>
                <c:pt idx="3612">
                  <c:v>2.3554200000000001</c:v>
                </c:pt>
                <c:pt idx="3613">
                  <c:v>#N/A</c:v>
                </c:pt>
                <c:pt idx="3614">
                  <c:v>2.1185900000000002</c:v>
                </c:pt>
                <c:pt idx="3615">
                  <c:v>2.4900600000000002</c:v>
                </c:pt>
                <c:pt idx="3616">
                  <c:v>2.4561899999999999</c:v>
                </c:pt>
                <c:pt idx="3617">
                  <c:v>#N/A</c:v>
                </c:pt>
                <c:pt idx="3618">
                  <c:v>2.6469299999999998</c:v>
                </c:pt>
                <c:pt idx="3619">
                  <c:v>2.6697700000000002</c:v>
                </c:pt>
                <c:pt idx="3620">
                  <c:v>#N/A</c:v>
                </c:pt>
                <c:pt idx="3621">
                  <c:v>2.8473799999999998</c:v>
                </c:pt>
                <c:pt idx="3622">
                  <c:v>2.0889199999999999</c:v>
                </c:pt>
                <c:pt idx="3623">
                  <c:v>1.71628</c:v>
                </c:pt>
                <c:pt idx="3624">
                  <c:v>#N/A</c:v>
                </c:pt>
                <c:pt idx="3625">
                  <c:v>1.6536500000000001</c:v>
                </c:pt>
                <c:pt idx="3626">
                  <c:v>1.9774799999999999</c:v>
                </c:pt>
                <c:pt idx="3627">
                  <c:v>3.0579399999999999</c:v>
                </c:pt>
                <c:pt idx="3628">
                  <c:v>#N/A</c:v>
                </c:pt>
                <c:pt idx="3629">
                  <c:v>3.5203000000000002</c:v>
                </c:pt>
                <c:pt idx="3630">
                  <c:v>3.49153</c:v>
                </c:pt>
                <c:pt idx="3631">
                  <c:v>3.0655999999999999</c:v>
                </c:pt>
                <c:pt idx="3632">
                  <c:v>#N/A</c:v>
                </c:pt>
                <c:pt idx="3633">
                  <c:v>2.9016899999999999</c:v>
                </c:pt>
                <c:pt idx="3634">
                  <c:v>2.4758900000000001</c:v>
                </c:pt>
                <c:pt idx="3635">
                  <c:v>1.9175500000000001</c:v>
                </c:pt>
                <c:pt idx="3636">
                  <c:v>#N/A</c:v>
                </c:pt>
                <c:pt idx="3637">
                  <c:v>2.16805</c:v>
                </c:pt>
                <c:pt idx="3638">
                  <c:v>2.9192300000000002</c:v>
                </c:pt>
                <c:pt idx="3639">
                  <c:v>#N/A</c:v>
                </c:pt>
                <c:pt idx="3640">
                  <c:v>3.6406499999999999</c:v>
                </c:pt>
                <c:pt idx="3641">
                  <c:v>3.0354100000000002</c:v>
                </c:pt>
                <c:pt idx="3642">
                  <c:v>2.6536499999999998</c:v>
                </c:pt>
                <c:pt idx="3643">
                  <c:v>#N/A</c:v>
                </c:pt>
                <c:pt idx="3644">
                  <c:v>2.0300600000000002</c:v>
                </c:pt>
                <c:pt idx="3645">
                  <c:v>1.5028900000000001</c:v>
                </c:pt>
                <c:pt idx="3646">
                  <c:v>2.0098699999999998</c:v>
                </c:pt>
                <c:pt idx="3647">
                  <c:v>#N/A</c:v>
                </c:pt>
                <c:pt idx="3648">
                  <c:v>2.01844</c:v>
                </c:pt>
                <c:pt idx="3649">
                  <c:v>2.7882899999999999</c:v>
                </c:pt>
                <c:pt idx="3650">
                  <c:v>3.2074600000000002</c:v>
                </c:pt>
                <c:pt idx="3651">
                  <c:v>#N/A</c:v>
                </c:pt>
                <c:pt idx="3652">
                  <c:v>3.7145700000000001</c:v>
                </c:pt>
                <c:pt idx="3653">
                  <c:v>2.9009299999999998</c:v>
                </c:pt>
                <c:pt idx="3654">
                  <c:v>2.45844</c:v>
                </c:pt>
                <c:pt idx="3655">
                  <c:v>#N/A</c:v>
                </c:pt>
                <c:pt idx="3656">
                  <c:v>2.2051500000000002</c:v>
                </c:pt>
                <c:pt idx="3657">
                  <c:v>2.0152199999999998</c:v>
                </c:pt>
                <c:pt idx="3658">
                  <c:v>2.0421800000000001</c:v>
                </c:pt>
                <c:pt idx="3659">
                  <c:v>#N/A</c:v>
                </c:pt>
                <c:pt idx="3660">
                  <c:v>2.6777500000000001</c:v>
                </c:pt>
                <c:pt idx="3661">
                  <c:v>2.7460800000000001</c:v>
                </c:pt>
                <c:pt idx="3662">
                  <c:v>#N/A</c:v>
                </c:pt>
                <c:pt idx="3663">
                  <c:v>3.0662500000000001</c:v>
                </c:pt>
                <c:pt idx="3664">
                  <c:v>3.1463299999999998</c:v>
                </c:pt>
                <c:pt idx="3665">
                  <c:v>2.5942500000000002</c:v>
                </c:pt>
                <c:pt idx="3666">
                  <c:v>#N/A</c:v>
                </c:pt>
                <c:pt idx="3667">
                  <c:v>2.0209600000000001</c:v>
                </c:pt>
                <c:pt idx="3668">
                  <c:v>2.12921</c:v>
                </c:pt>
                <c:pt idx="3669">
                  <c:v>2.8349299999999999</c:v>
                </c:pt>
                <c:pt idx="3670">
                  <c:v>#N/A</c:v>
                </c:pt>
                <c:pt idx="3671">
                  <c:v>3.4535</c:v>
                </c:pt>
                <c:pt idx="3672">
                  <c:v>3.80071</c:v>
                </c:pt>
                <c:pt idx="3673">
                  <c:v>3.14161</c:v>
                </c:pt>
                <c:pt idx="3674">
                  <c:v>#N/A</c:v>
                </c:pt>
                <c:pt idx="3675">
                  <c:v>#N/A</c:v>
                </c:pt>
                <c:pt idx="3676">
                  <c:v>2.8367900000000001</c:v>
                </c:pt>
                <c:pt idx="3677">
                  <c:v>2.4588199999999998</c:v>
                </c:pt>
                <c:pt idx="3678">
                  <c:v>2.7069399999999999</c:v>
                </c:pt>
                <c:pt idx="3679">
                  <c:v>#N/A</c:v>
                </c:pt>
                <c:pt idx="3680">
                  <c:v>2.7936700000000001</c:v>
                </c:pt>
                <c:pt idx="3681">
                  <c:v>2.8004500000000001</c:v>
                </c:pt>
                <c:pt idx="3682">
                  <c:v>2.8357299999999999</c:v>
                </c:pt>
                <c:pt idx="3683">
                  <c:v>#N/A</c:v>
                </c:pt>
                <c:pt idx="3684">
                  <c:v>2.5618400000000001</c:v>
                </c:pt>
                <c:pt idx="3685">
                  <c:v>2.5124300000000002</c:v>
                </c:pt>
                <c:pt idx="3686">
                  <c:v>2.0253299999999999</c:v>
                </c:pt>
                <c:pt idx="3687">
                  <c:v>#N/A</c:v>
                </c:pt>
                <c:pt idx="3688">
                  <c:v>2.0922000000000001</c:v>
                </c:pt>
                <c:pt idx="3689">
                  <c:v>2.0290499999999998</c:v>
                </c:pt>
                <c:pt idx="3690">
                  <c:v>2.7185800000000002</c:v>
                </c:pt>
                <c:pt idx="3691">
                  <c:v>#N/A</c:v>
                </c:pt>
                <c:pt idx="3692">
                  <c:v>3.7062300000000001</c:v>
                </c:pt>
                <c:pt idx="3693">
                  <c:v>3.5678999999999998</c:v>
                </c:pt>
                <c:pt idx="3694">
                  <c:v>2.9632800000000001</c:v>
                </c:pt>
                <c:pt idx="3695">
                  <c:v>#N/A</c:v>
                </c:pt>
                <c:pt idx="3696">
                  <c:v>2.6157699999999999</c:v>
                </c:pt>
                <c:pt idx="3697">
                  <c:v>2.1319400000000002</c:v>
                </c:pt>
                <c:pt idx="3698">
                  <c:v>#N/A</c:v>
                </c:pt>
                <c:pt idx="3699">
                  <c:v>2.4866199999999998</c:v>
                </c:pt>
                <c:pt idx="3700">
                  <c:v>2.8217599999999998</c:v>
                </c:pt>
                <c:pt idx="3701">
                  <c:v>2.93757</c:v>
                </c:pt>
                <c:pt idx="3702">
                  <c:v>#N/A</c:v>
                </c:pt>
                <c:pt idx="3703">
                  <c:v>3.2825899999999999</c:v>
                </c:pt>
                <c:pt idx="3704">
                  <c:v>3.0146600000000001</c:v>
                </c:pt>
                <c:pt idx="3705">
                  <c:v>2.6742499999999998</c:v>
                </c:pt>
                <c:pt idx="3706">
                  <c:v>#N/A</c:v>
                </c:pt>
                <c:pt idx="3707">
                  <c:v>2.2160199999999999</c:v>
                </c:pt>
                <c:pt idx="3708">
                  <c:v>1.7470399999999999</c:v>
                </c:pt>
                <c:pt idx="3709">
                  <c:v>2.3553600000000001</c:v>
                </c:pt>
                <c:pt idx="3710">
                  <c:v>#N/A</c:v>
                </c:pt>
                <c:pt idx="3711">
                  <c:v>2.77826</c:v>
                </c:pt>
                <c:pt idx="3712">
                  <c:v>2.96218</c:v>
                </c:pt>
                <c:pt idx="3713">
                  <c:v>3.2852800000000002</c:v>
                </c:pt>
                <c:pt idx="3714">
                  <c:v>#N/A</c:v>
                </c:pt>
                <c:pt idx="3715">
                  <c:v>3.34964</c:v>
                </c:pt>
                <c:pt idx="3716">
                  <c:v>2.7804500000000001</c:v>
                </c:pt>
                <c:pt idx="3717">
                  <c:v>2.3410600000000001</c:v>
                </c:pt>
                <c:pt idx="3718">
                  <c:v>#N/A</c:v>
                </c:pt>
                <c:pt idx="3719">
                  <c:v>1.83826</c:v>
                </c:pt>
                <c:pt idx="3720">
                  <c:v>2.0902799999999999</c:v>
                </c:pt>
                <c:pt idx="3721">
                  <c:v>#N/A</c:v>
                </c:pt>
                <c:pt idx="3722">
                  <c:v>2.5422899999999999</c:v>
                </c:pt>
                <c:pt idx="3723">
                  <c:v>3.2649300000000001</c:v>
                </c:pt>
                <c:pt idx="3724">
                  <c:v>3.1411899999999999</c:v>
                </c:pt>
                <c:pt idx="3725">
                  <c:v>#N/A</c:v>
                </c:pt>
                <c:pt idx="3726">
                  <c:v>2.9378099999999998</c:v>
                </c:pt>
                <c:pt idx="3727">
                  <c:v>2.2288899999999998</c:v>
                </c:pt>
                <c:pt idx="3728">
                  <c:v>2.2126700000000001</c:v>
                </c:pt>
                <c:pt idx="3729">
                  <c:v>#N/A</c:v>
                </c:pt>
                <c:pt idx="3730">
                  <c:v>1.73546</c:v>
                </c:pt>
                <c:pt idx="3731">
                  <c:v>2.3366699999999998</c:v>
                </c:pt>
                <c:pt idx="3732">
                  <c:v>2.9015</c:v>
                </c:pt>
                <c:pt idx="3733">
                  <c:v>#N/A</c:v>
                </c:pt>
                <c:pt idx="3734">
                  <c:v>3.1477599999999999</c:v>
                </c:pt>
                <c:pt idx="3735">
                  <c:v>3.35311</c:v>
                </c:pt>
                <c:pt idx="3736">
                  <c:v>#N/A</c:v>
                </c:pt>
                <c:pt idx="3737">
                  <c:v>3.2208899999999998</c:v>
                </c:pt>
                <c:pt idx="3738">
                  <c:v>2.5758200000000002</c:v>
                </c:pt>
                <c:pt idx="3739">
                  <c:v>2.3732000000000002</c:v>
                </c:pt>
                <c:pt idx="3740">
                  <c:v>#N/A</c:v>
                </c:pt>
                <c:pt idx="3741">
                  <c:v>3.0142600000000002</c:v>
                </c:pt>
                <c:pt idx="3742">
                  <c:v>2.5643699999999998</c:v>
                </c:pt>
                <c:pt idx="3743">
                  <c:v>3.0364599999999999</c:v>
                </c:pt>
                <c:pt idx="3744">
                  <c:v>#N/A</c:v>
                </c:pt>
                <c:pt idx="3745">
                  <c:v>2.4386199999999998</c:v>
                </c:pt>
                <c:pt idx="3746">
                  <c:v>3.2164100000000002</c:v>
                </c:pt>
                <c:pt idx="3747">
                  <c:v>2.7626400000000002</c:v>
                </c:pt>
                <c:pt idx="3748">
                  <c:v>#N/A</c:v>
                </c:pt>
                <c:pt idx="3749">
                  <c:v>2.9876999999999998</c:v>
                </c:pt>
                <c:pt idx="3750">
                  <c:v>2.4356900000000001</c:v>
                </c:pt>
                <c:pt idx="3751">
                  <c:v>2.4079199999999998</c:v>
                </c:pt>
                <c:pt idx="3752">
                  <c:v>#N/A</c:v>
                </c:pt>
                <c:pt idx="3753">
                  <c:v>2.7910499999999998</c:v>
                </c:pt>
                <c:pt idx="3754">
                  <c:v>3.0477400000000001</c:v>
                </c:pt>
                <c:pt idx="3755">
                  <c:v>3.4401099999999998</c:v>
                </c:pt>
                <c:pt idx="3756">
                  <c:v>#N/A</c:v>
                </c:pt>
                <c:pt idx="3757">
                  <c:v>3.2221199999999999</c:v>
                </c:pt>
                <c:pt idx="3758">
                  <c:v>2.85433</c:v>
                </c:pt>
                <c:pt idx="3759">
                  <c:v>2.54067</c:v>
                </c:pt>
                <c:pt idx="3760">
                  <c:v>#N/A</c:v>
                </c:pt>
                <c:pt idx="3761">
                  <c:v>2.7734399999999999</c:v>
                </c:pt>
                <c:pt idx="3762">
                  <c:v>2.7873000000000001</c:v>
                </c:pt>
                <c:pt idx="3763">
                  <c:v>3.2795800000000002</c:v>
                </c:pt>
                <c:pt idx="3764">
                  <c:v>#N/A</c:v>
                </c:pt>
                <c:pt idx="3765">
                  <c:v>2.8577900000000001</c:v>
                </c:pt>
                <c:pt idx="3766">
                  <c:v>2.9892599999999998</c:v>
                </c:pt>
                <c:pt idx="3767">
                  <c:v>#N/A</c:v>
                </c:pt>
                <c:pt idx="3768">
                  <c:v>2.5711900000000001</c:v>
                </c:pt>
                <c:pt idx="3769">
                  <c:v>2.3268300000000002</c:v>
                </c:pt>
                <c:pt idx="3770">
                  <c:v>2.18838</c:v>
                </c:pt>
                <c:pt idx="3771">
                  <c:v>#N/A</c:v>
                </c:pt>
                <c:pt idx="3772">
                  <c:v>2.25807</c:v>
                </c:pt>
                <c:pt idx="3773">
                  <c:v>2.3068499999999998</c:v>
                </c:pt>
                <c:pt idx="3774">
                  <c:v>3.0702799999999999</c:v>
                </c:pt>
                <c:pt idx="3775">
                  <c:v>#N/A</c:v>
                </c:pt>
                <c:pt idx="3776">
                  <c:v>3.5234700000000001</c:v>
                </c:pt>
                <c:pt idx="3777">
                  <c:v>3.7136999999999998</c:v>
                </c:pt>
                <c:pt idx="3778">
                  <c:v>2.9910399999999999</c:v>
                </c:pt>
                <c:pt idx="3779">
                  <c:v>#N/A</c:v>
                </c:pt>
                <c:pt idx="3780">
                  <c:v>2.5191400000000002</c:v>
                </c:pt>
                <c:pt idx="3781">
                  <c:v>2.1636799999999998</c:v>
                </c:pt>
                <c:pt idx="3782">
                  <c:v>#N/A</c:v>
                </c:pt>
                <c:pt idx="3783">
                  <c:v>2.32551</c:v>
                </c:pt>
                <c:pt idx="3784">
                  <c:v>2.7437299999999998</c:v>
                </c:pt>
                <c:pt idx="3785">
                  <c:v>2.9709099999999999</c:v>
                </c:pt>
                <c:pt idx="3786">
                  <c:v>#N/A</c:v>
                </c:pt>
                <c:pt idx="3787">
                  <c:v>3.5355799999999999</c:v>
                </c:pt>
                <c:pt idx="3788">
                  <c:v>3.6465999999999998</c:v>
                </c:pt>
                <c:pt idx="3789">
                  <c:v>3.3950399999999998</c:v>
                </c:pt>
                <c:pt idx="3790">
                  <c:v>#N/A</c:v>
                </c:pt>
                <c:pt idx="3791">
                  <c:v>1.9899500000000001</c:v>
                </c:pt>
                <c:pt idx="3792">
                  <c:v>1.6980299999999999</c:v>
                </c:pt>
                <c:pt idx="3793">
                  <c:v>1.9994700000000001</c:v>
                </c:pt>
                <c:pt idx="3794">
                  <c:v>#N/A</c:v>
                </c:pt>
                <c:pt idx="3795">
                  <c:v>2.6705899999999998</c:v>
                </c:pt>
                <c:pt idx="3796">
                  <c:v>3.26362</c:v>
                </c:pt>
                <c:pt idx="3797">
                  <c:v>3.4852400000000001</c:v>
                </c:pt>
                <c:pt idx="3798">
                  <c:v>#N/A</c:v>
                </c:pt>
                <c:pt idx="3799">
                  <c:v>2.9068200000000002</c:v>
                </c:pt>
                <c:pt idx="3800">
                  <c:v>2.3991199999999999</c:v>
                </c:pt>
                <c:pt idx="3801">
                  <c:v>2.5142899999999999</c:v>
                </c:pt>
                <c:pt idx="3802">
                  <c:v>#N/A</c:v>
                </c:pt>
                <c:pt idx="3803">
                  <c:v>2.2460399999999998</c:v>
                </c:pt>
                <c:pt idx="3804">
                  <c:v>2.5321400000000001</c:v>
                </c:pt>
                <c:pt idx="3805">
                  <c:v>2.7145700000000001</c:v>
                </c:pt>
                <c:pt idx="3806">
                  <c:v>#N/A</c:v>
                </c:pt>
                <c:pt idx="3807">
                  <c:v>3.1705299999999998</c:v>
                </c:pt>
                <c:pt idx="3808">
                  <c:v>3.1387399999999999</c:v>
                </c:pt>
                <c:pt idx="3809">
                  <c:v>3.1743600000000001</c:v>
                </c:pt>
                <c:pt idx="3810">
                  <c:v>#N/A</c:v>
                </c:pt>
                <c:pt idx="3811">
                  <c:v>2.7627600000000001</c:v>
                </c:pt>
                <c:pt idx="3812">
                  <c:v>2.6193</c:v>
                </c:pt>
                <c:pt idx="3813">
                  <c:v>#N/A</c:v>
                </c:pt>
                <c:pt idx="3814">
                  <c:v>2.0198100000000001</c:v>
                </c:pt>
                <c:pt idx="3815">
                  <c:v>2.2358600000000002</c:v>
                </c:pt>
                <c:pt idx="3816">
                  <c:v>2.94136</c:v>
                </c:pt>
                <c:pt idx="3817">
                  <c:v>#N/A</c:v>
                </c:pt>
                <c:pt idx="3818">
                  <c:v>3.3890699999999998</c:v>
                </c:pt>
                <c:pt idx="3819">
                  <c:v>2.8237700000000001</c:v>
                </c:pt>
                <c:pt idx="3820">
                  <c:v>3.2642699999999998</c:v>
                </c:pt>
                <c:pt idx="3821">
                  <c:v>#N/A</c:v>
                </c:pt>
                <c:pt idx="3822">
                  <c:v>2.8828499999999999</c:v>
                </c:pt>
                <c:pt idx="3823">
                  <c:v>2.9319299999999999</c:v>
                </c:pt>
                <c:pt idx="3824">
                  <c:v>#N/A</c:v>
                </c:pt>
                <c:pt idx="3825">
                  <c:v>2.8273100000000002</c:v>
                </c:pt>
                <c:pt idx="3826">
                  <c:v>#N/A</c:v>
                </c:pt>
                <c:pt idx="3827">
                  <c:v>2.79915</c:v>
                </c:pt>
                <c:pt idx="3828">
                  <c:v>2.8693399999999998</c:v>
                </c:pt>
                <c:pt idx="3829">
                  <c:v>#N/A</c:v>
                </c:pt>
                <c:pt idx="3830">
                  <c:v>2.98976</c:v>
                </c:pt>
                <c:pt idx="3831">
                  <c:v>2.48746</c:v>
                </c:pt>
                <c:pt idx="3832">
                  <c:v>2.51423</c:v>
                </c:pt>
                <c:pt idx="3833">
                  <c:v>#N/A</c:v>
                </c:pt>
                <c:pt idx="3834">
                  <c:v>2.2277300000000002</c:v>
                </c:pt>
                <c:pt idx="3835">
                  <c:v>1.9224300000000001</c:v>
                </c:pt>
                <c:pt idx="3836">
                  <c:v>2.4403800000000002</c:v>
                </c:pt>
                <c:pt idx="3837">
                  <c:v>#N/A</c:v>
                </c:pt>
                <c:pt idx="3838">
                  <c:v>3.0746099999999998</c:v>
                </c:pt>
                <c:pt idx="3839">
                  <c:v>3.03403</c:v>
                </c:pt>
                <c:pt idx="3840">
                  <c:v>#N/A</c:v>
                </c:pt>
                <c:pt idx="3841">
                  <c:v>2.7787299999999999</c:v>
                </c:pt>
                <c:pt idx="3842">
                  <c:v>2.5125700000000002</c:v>
                </c:pt>
                <c:pt idx="3843">
                  <c:v>1.70404</c:v>
                </c:pt>
                <c:pt idx="3844">
                  <c:v>#N/A</c:v>
                </c:pt>
                <c:pt idx="3845">
                  <c:v>2.0668099999999998</c:v>
                </c:pt>
                <c:pt idx="3846">
                  <c:v>2.5245700000000002</c:v>
                </c:pt>
                <c:pt idx="3847">
                  <c:v>3.32518</c:v>
                </c:pt>
                <c:pt idx="3848">
                  <c:v>#N/A</c:v>
                </c:pt>
                <c:pt idx="3849">
                  <c:v>3.8087599999999999</c:v>
                </c:pt>
                <c:pt idx="3850">
                  <c:v>3.8174299999999999</c:v>
                </c:pt>
                <c:pt idx="3851">
                  <c:v>#N/A</c:v>
                </c:pt>
                <c:pt idx="3852">
                  <c:v>2.9248599999999998</c:v>
                </c:pt>
                <c:pt idx="3853">
                  <c:v>2.51024</c:v>
                </c:pt>
                <c:pt idx="3854">
                  <c:v>1.9962599999999999</c:v>
                </c:pt>
                <c:pt idx="3855">
                  <c:v>#N/A</c:v>
                </c:pt>
                <c:pt idx="3856">
                  <c:v>2.4067699999999999</c:v>
                </c:pt>
                <c:pt idx="3857">
                  <c:v>2.8729499999999999</c:v>
                </c:pt>
                <c:pt idx="3858">
                  <c:v>3.74383</c:v>
                </c:pt>
                <c:pt idx="3859">
                  <c:v>#N/A</c:v>
                </c:pt>
                <c:pt idx="3860">
                  <c:v>4.0984299999999996</c:v>
                </c:pt>
                <c:pt idx="3861">
                  <c:v>3.7799399999999999</c:v>
                </c:pt>
                <c:pt idx="3862">
                  <c:v>3.0017299999999998</c:v>
                </c:pt>
                <c:pt idx="3863">
                  <c:v>#N/A</c:v>
                </c:pt>
                <c:pt idx="3864">
                  <c:v>2.6950099999999999</c:v>
                </c:pt>
                <c:pt idx="3865">
                  <c:v>2.37845</c:v>
                </c:pt>
                <c:pt idx="3866">
                  <c:v>1.79376</c:v>
                </c:pt>
                <c:pt idx="3867">
                  <c:v>#N/A</c:v>
                </c:pt>
                <c:pt idx="3868">
                  <c:v>2.03782</c:v>
                </c:pt>
                <c:pt idx="3869">
                  <c:v>2.9719899999999999</c:v>
                </c:pt>
                <c:pt idx="3870">
                  <c:v>3.6569799999999999</c:v>
                </c:pt>
                <c:pt idx="3871">
                  <c:v>#N/A</c:v>
                </c:pt>
                <c:pt idx="3872">
                  <c:v>3.5647799999999998</c:v>
                </c:pt>
                <c:pt idx="3873">
                  <c:v>2.81331</c:v>
                </c:pt>
                <c:pt idx="3874">
                  <c:v>2.4156599999999999</c:v>
                </c:pt>
                <c:pt idx="3875">
                  <c:v>#N/A</c:v>
                </c:pt>
                <c:pt idx="3876">
                  <c:v>2.1077499999999998</c:v>
                </c:pt>
                <c:pt idx="3877">
                  <c:v>2.5112899999999998</c:v>
                </c:pt>
                <c:pt idx="3878">
                  <c:v>3.1552799999999999</c:v>
                </c:pt>
                <c:pt idx="3879">
                  <c:v>#N/A</c:v>
                </c:pt>
                <c:pt idx="3880">
                  <c:v>3.6452599999999999</c:v>
                </c:pt>
                <c:pt idx="3881">
                  <c:v>4.0091299999999999</c:v>
                </c:pt>
                <c:pt idx="3882">
                  <c:v>#N/A</c:v>
                </c:pt>
                <c:pt idx="3883">
                  <c:v>3.6375199999999999</c:v>
                </c:pt>
                <c:pt idx="3884">
                  <c:v>3.0910199999999999</c:v>
                </c:pt>
                <c:pt idx="3885">
                  <c:v>2.6379899999999998</c:v>
                </c:pt>
                <c:pt idx="3886">
                  <c:v>#N/A</c:v>
                </c:pt>
                <c:pt idx="3887">
                  <c:v>2.5761500000000002</c:v>
                </c:pt>
                <c:pt idx="3888">
                  <c:v>2.39371</c:v>
                </c:pt>
                <c:pt idx="3889">
                  <c:v>2.8672900000000001</c:v>
                </c:pt>
                <c:pt idx="3890">
                  <c:v>#N/A</c:v>
                </c:pt>
                <c:pt idx="3891">
                  <c:v>3.1966800000000002</c:v>
                </c:pt>
                <c:pt idx="3892">
                  <c:v>2.9851899999999998</c:v>
                </c:pt>
                <c:pt idx="3893">
                  <c:v>2.9167200000000002</c:v>
                </c:pt>
                <c:pt idx="3894">
                  <c:v>#N/A</c:v>
                </c:pt>
                <c:pt idx="3895">
                  <c:v>3.1715499999999999</c:v>
                </c:pt>
                <c:pt idx="3896">
                  <c:v>2.3768199999999999</c:v>
                </c:pt>
                <c:pt idx="3897">
                  <c:v>2.56297</c:v>
                </c:pt>
                <c:pt idx="3898">
                  <c:v>#N/A</c:v>
                </c:pt>
                <c:pt idx="3899">
                  <c:v>2.7390099999999999</c:v>
                </c:pt>
                <c:pt idx="3900">
                  <c:v>2.8227099999999998</c:v>
                </c:pt>
                <c:pt idx="3901">
                  <c:v>3.1683500000000002</c:v>
                </c:pt>
                <c:pt idx="3902">
                  <c:v>#N/A</c:v>
                </c:pt>
                <c:pt idx="3903">
                  <c:v>2.7007099999999999</c:v>
                </c:pt>
                <c:pt idx="3904">
                  <c:v>2.6923300000000001</c:v>
                </c:pt>
                <c:pt idx="3905">
                  <c:v>2.6158399999999999</c:v>
                </c:pt>
                <c:pt idx="3906">
                  <c:v>#N/A</c:v>
                </c:pt>
                <c:pt idx="3907">
                  <c:v>3.11307</c:v>
                </c:pt>
                <c:pt idx="3908">
                  <c:v>3.1952199999999999</c:v>
                </c:pt>
                <c:pt idx="3909">
                  <c:v>#N/A</c:v>
                </c:pt>
                <c:pt idx="3910">
                  <c:v>3.08121</c:v>
                </c:pt>
                <c:pt idx="3911">
                  <c:v>2.9685800000000002</c:v>
                </c:pt>
                <c:pt idx="3912">
                  <c:v>2.5834899999999998</c:v>
                </c:pt>
                <c:pt idx="3913">
                  <c:v>#N/A</c:v>
                </c:pt>
                <c:pt idx="3914">
                  <c:v>3.3721399999999999</c:v>
                </c:pt>
                <c:pt idx="3915">
                  <c:v>2.33182</c:v>
                </c:pt>
                <c:pt idx="3916">
                  <c:v>2.4742999999999999</c:v>
                </c:pt>
                <c:pt idx="3917">
                  <c:v>#N/A</c:v>
                </c:pt>
                <c:pt idx="3918">
                  <c:v>2.59612</c:v>
                </c:pt>
                <c:pt idx="3919">
                  <c:v>2.56914</c:v>
                </c:pt>
                <c:pt idx="3920">
                  <c:v>2.9821</c:v>
                </c:pt>
                <c:pt idx="3921">
                  <c:v>#N/A</c:v>
                </c:pt>
                <c:pt idx="3922">
                  <c:v>3.2437499999999999</c:v>
                </c:pt>
                <c:pt idx="3923">
                  <c:v>3.0150600000000001</c:v>
                </c:pt>
                <c:pt idx="3924">
                  <c:v>2.4880300000000002</c:v>
                </c:pt>
                <c:pt idx="3925">
                  <c:v>#N/A</c:v>
                </c:pt>
                <c:pt idx="3926">
                  <c:v>2.8997099999999998</c:v>
                </c:pt>
                <c:pt idx="3927">
                  <c:v>2.2034699999999998</c:v>
                </c:pt>
                <c:pt idx="3928">
                  <c:v>2.3980700000000001</c:v>
                </c:pt>
                <c:pt idx="3929">
                  <c:v>#N/A</c:v>
                </c:pt>
                <c:pt idx="3930">
                  <c:v>2.46292</c:v>
                </c:pt>
                <c:pt idx="3931">
                  <c:v>3.0828500000000001</c:v>
                </c:pt>
                <c:pt idx="3932">
                  <c:v>3.2345000000000002</c:v>
                </c:pt>
                <c:pt idx="3933">
                  <c:v>#N/A</c:v>
                </c:pt>
                <c:pt idx="3934">
                  <c:v>2.94556</c:v>
                </c:pt>
                <c:pt idx="3935">
                  <c:v>3.0396200000000002</c:v>
                </c:pt>
                <c:pt idx="3936">
                  <c:v>2.5844399999999998</c:v>
                </c:pt>
                <c:pt idx="3937">
                  <c:v>#N/A</c:v>
                </c:pt>
                <c:pt idx="3938">
                  <c:v>2.5218600000000002</c:v>
                </c:pt>
                <c:pt idx="3939">
                  <c:v>2.1899500000000001</c:v>
                </c:pt>
                <c:pt idx="3940">
                  <c:v>2.2189100000000002</c:v>
                </c:pt>
                <c:pt idx="3941">
                  <c:v>#N/A</c:v>
                </c:pt>
                <c:pt idx="3942">
                  <c:v>2.9279199999999999</c:v>
                </c:pt>
                <c:pt idx="3943">
                  <c:v>3.62344</c:v>
                </c:pt>
                <c:pt idx="3944">
                  <c:v>#N/A</c:v>
                </c:pt>
                <c:pt idx="3945">
                  <c:v>3.6625700000000001</c:v>
                </c:pt>
                <c:pt idx="3946">
                  <c:v>3.48997</c:v>
                </c:pt>
                <c:pt idx="3947">
                  <c:v>2.5327099999999998</c:v>
                </c:pt>
                <c:pt idx="3948">
                  <c:v>#N/A</c:v>
                </c:pt>
                <c:pt idx="3949">
                  <c:v>1.9195599999999999</c:v>
                </c:pt>
                <c:pt idx="3950">
                  <c:v>1.8447800000000001</c:v>
                </c:pt>
                <c:pt idx="3951">
                  <c:v>2.0490400000000002</c:v>
                </c:pt>
                <c:pt idx="3952">
                  <c:v>#N/A</c:v>
                </c:pt>
                <c:pt idx="3953">
                  <c:v>2.8158799999999999</c:v>
                </c:pt>
                <c:pt idx="3954">
                  <c:v>2.6761400000000002</c:v>
                </c:pt>
                <c:pt idx="3955">
                  <c:v>3.2852299999999999</c:v>
                </c:pt>
                <c:pt idx="3956">
                  <c:v>#N/A</c:v>
                </c:pt>
                <c:pt idx="3957">
                  <c:v>2.75983</c:v>
                </c:pt>
                <c:pt idx="3958">
                  <c:v>2.0010699999999999</c:v>
                </c:pt>
                <c:pt idx="3959">
                  <c:v>1.7926299999999999</c:v>
                </c:pt>
                <c:pt idx="3960">
                  <c:v>#N/A</c:v>
                </c:pt>
                <c:pt idx="3961">
                  <c:v>2.3125300000000002</c:v>
                </c:pt>
                <c:pt idx="3962">
                  <c:v>2.4300600000000001</c:v>
                </c:pt>
                <c:pt idx="3963">
                  <c:v>2.88089</c:v>
                </c:pt>
                <c:pt idx="3964">
                  <c:v>#N/A</c:v>
                </c:pt>
                <c:pt idx="3965">
                  <c:v>3.5207600000000001</c:v>
                </c:pt>
                <c:pt idx="3966">
                  <c:v>3.1645599999999998</c:v>
                </c:pt>
                <c:pt idx="3967">
                  <c:v>3.76763</c:v>
                </c:pt>
                <c:pt idx="3968">
                  <c:v>#N/A</c:v>
                </c:pt>
                <c:pt idx="3969">
                  <c:v>3.0269499999999998</c:v>
                </c:pt>
                <c:pt idx="3970">
                  <c:v>2.6288800000000001</c:v>
                </c:pt>
                <c:pt idx="3971">
                  <c:v>2.3586999999999998</c:v>
                </c:pt>
                <c:pt idx="3972">
                  <c:v>#N/A</c:v>
                </c:pt>
                <c:pt idx="3973">
                  <c:v>3.0687899999999999</c:v>
                </c:pt>
                <c:pt idx="3974">
                  <c:v>#N/A</c:v>
                </c:pt>
                <c:pt idx="3975">
                  <c:v>2.5623100000000001</c:v>
                </c:pt>
                <c:pt idx="3976">
                  <c:v>#N/A</c:v>
                </c:pt>
                <c:pt idx="3977">
                  <c:v>2.1765300000000001</c:v>
                </c:pt>
                <c:pt idx="3978">
                  <c:v>1.7570600000000001</c:v>
                </c:pt>
                <c:pt idx="3979">
                  <c:v>#N/A</c:v>
                </c:pt>
                <c:pt idx="3980">
                  <c:v>2.34571</c:v>
                </c:pt>
                <c:pt idx="3981">
                  <c:v>2.03213</c:v>
                </c:pt>
                <c:pt idx="3982">
                  <c:v>#N/A</c:v>
                </c:pt>
                <c:pt idx="3983">
                  <c:v>2.6152099999999998</c:v>
                </c:pt>
                <c:pt idx="3984">
                  <c:v>3.0049299999999999</c:v>
                </c:pt>
                <c:pt idx="3985">
                  <c:v>2.9881199999999999</c:v>
                </c:pt>
                <c:pt idx="3986">
                  <c:v>#N/A</c:v>
                </c:pt>
                <c:pt idx="3987">
                  <c:v>3.3638499999999998</c:v>
                </c:pt>
                <c:pt idx="3988">
                  <c:v>2.9799199999999999</c:v>
                </c:pt>
                <c:pt idx="3989">
                  <c:v>2.5603199999999999</c:v>
                </c:pt>
                <c:pt idx="3990">
                  <c:v>#N/A</c:v>
                </c:pt>
                <c:pt idx="3991">
                  <c:v>2.3626200000000002</c:v>
                </c:pt>
                <c:pt idx="3992">
                  <c:v>2.8057099999999999</c:v>
                </c:pt>
                <c:pt idx="3993">
                  <c:v>3.2028400000000001</c:v>
                </c:pt>
                <c:pt idx="3994">
                  <c:v>#N/A</c:v>
                </c:pt>
                <c:pt idx="3995">
                  <c:v>2.89534</c:v>
                </c:pt>
                <c:pt idx="3996">
                  <c:v>3.07273</c:v>
                </c:pt>
                <c:pt idx="3997">
                  <c:v>2.9944799999999998</c:v>
                </c:pt>
                <c:pt idx="3998">
                  <c:v>#N/A</c:v>
                </c:pt>
                <c:pt idx="3999">
                  <c:v>2.97072</c:v>
                </c:pt>
                <c:pt idx="4000">
                  <c:v>2.0386799999999998</c:v>
                </c:pt>
                <c:pt idx="4001">
                  <c:v>2.0260799999999999</c:v>
                </c:pt>
                <c:pt idx="4002">
                  <c:v>#N/A</c:v>
                </c:pt>
                <c:pt idx="4003">
                  <c:v>2.8447300000000002</c:v>
                </c:pt>
                <c:pt idx="4004">
                  <c:v>3.4618000000000002</c:v>
                </c:pt>
                <c:pt idx="4005">
                  <c:v>3.5215800000000002</c:v>
                </c:pt>
                <c:pt idx="4006">
                  <c:v>#N/A</c:v>
                </c:pt>
                <c:pt idx="4007">
                  <c:v>3.2913700000000001</c:v>
                </c:pt>
                <c:pt idx="4008">
                  <c:v>2.9899</c:v>
                </c:pt>
                <c:pt idx="4009">
                  <c:v>2.04745</c:v>
                </c:pt>
                <c:pt idx="4010">
                  <c:v>#N/A</c:v>
                </c:pt>
                <c:pt idx="4011">
                  <c:v>2.1466099999999999</c:v>
                </c:pt>
                <c:pt idx="4012">
                  <c:v>1.9796800000000001</c:v>
                </c:pt>
                <c:pt idx="4013">
                  <c:v>#N/A</c:v>
                </c:pt>
                <c:pt idx="4014">
                  <c:v>2.1810700000000001</c:v>
                </c:pt>
                <c:pt idx="4015">
                  <c:v>2.5360499999999999</c:v>
                </c:pt>
                <c:pt idx="4016">
                  <c:v>3.3774999999999999</c:v>
                </c:pt>
                <c:pt idx="4017">
                  <c:v>#N/A</c:v>
                </c:pt>
                <c:pt idx="4018">
                  <c:v>2.95546</c:v>
                </c:pt>
                <c:pt idx="4019">
                  <c:v>2.6081400000000001</c:v>
                </c:pt>
                <c:pt idx="4020">
                  <c:v>1.79261</c:v>
                </c:pt>
                <c:pt idx="4021">
                  <c:v>#N/A</c:v>
                </c:pt>
                <c:pt idx="4022">
                  <c:v>1.7668200000000001</c:v>
                </c:pt>
                <c:pt idx="4023">
                  <c:v>2.04834</c:v>
                </c:pt>
                <c:pt idx="4024">
                  <c:v>2.0286</c:v>
                </c:pt>
                <c:pt idx="4025">
                  <c:v>#N/A</c:v>
                </c:pt>
                <c:pt idx="4026">
                  <c:v>2.8162799999999999</c:v>
                </c:pt>
                <c:pt idx="4027">
                  <c:v>3.1698400000000002</c:v>
                </c:pt>
                <c:pt idx="4028">
                  <c:v>3.68818</c:v>
                </c:pt>
                <c:pt idx="4029">
                  <c:v>#N/A</c:v>
                </c:pt>
                <c:pt idx="4030">
                  <c:v>3.4123399999999999</c:v>
                </c:pt>
                <c:pt idx="4031">
                  <c:v>2.5888599999999999</c:v>
                </c:pt>
                <c:pt idx="4032">
                  <c:v>2.13443</c:v>
                </c:pt>
                <c:pt idx="4033">
                  <c:v>#N/A</c:v>
                </c:pt>
                <c:pt idx="4034">
                  <c:v>2.21299</c:v>
                </c:pt>
                <c:pt idx="4035">
                  <c:v>2.5250300000000001</c:v>
                </c:pt>
                <c:pt idx="4036">
                  <c:v>2.53342</c:v>
                </c:pt>
                <c:pt idx="4037">
                  <c:v>#N/A</c:v>
                </c:pt>
                <c:pt idx="4038">
                  <c:v>2.31894</c:v>
                </c:pt>
                <c:pt idx="4039">
                  <c:v>2.4567600000000001</c:v>
                </c:pt>
                <c:pt idx="4040">
                  <c:v>2.4841299999999999</c:v>
                </c:pt>
                <c:pt idx="4041">
                  <c:v>#N/A</c:v>
                </c:pt>
                <c:pt idx="4042">
                  <c:v>1.95807</c:v>
                </c:pt>
                <c:pt idx="4043">
                  <c:v>1.76475</c:v>
                </c:pt>
                <c:pt idx="4044">
                  <c:v>#N/A</c:v>
                </c:pt>
                <c:pt idx="4045">
                  <c:v>1.6728499999999999</c:v>
                </c:pt>
                <c:pt idx="4046">
                  <c:v>2.0504199999999999</c:v>
                </c:pt>
                <c:pt idx="4047">
                  <c:v>3.5279799999999999</c:v>
                </c:pt>
                <c:pt idx="4048">
                  <c:v>#N/A</c:v>
                </c:pt>
                <c:pt idx="4049">
                  <c:v>2.3697300000000001</c:v>
                </c:pt>
                <c:pt idx="4050">
                  <c:v>2.7049300000000001</c:v>
                </c:pt>
                <c:pt idx="4051">
                  <c:v>#N/A</c:v>
                </c:pt>
                <c:pt idx="4052">
                  <c:v>2.63463</c:v>
                </c:pt>
                <c:pt idx="4053">
                  <c:v>2.3141099999999999</c:v>
                </c:pt>
                <c:pt idx="4054">
                  <c:v>#N/A</c:v>
                </c:pt>
                <c:pt idx="4055">
                  <c:v>2.3551799999999998</c:v>
                </c:pt>
                <c:pt idx="4056">
                  <c:v>2.8468599999999999</c:v>
                </c:pt>
                <c:pt idx="4057">
                  <c:v>3.0446200000000001</c:v>
                </c:pt>
                <c:pt idx="4058">
                  <c:v>#N/A</c:v>
                </c:pt>
                <c:pt idx="4059">
                  <c:v>2.9176500000000001</c:v>
                </c:pt>
                <c:pt idx="4060">
                  <c:v>2.2563499999999999</c:v>
                </c:pt>
                <c:pt idx="4061">
                  <c:v>#N/A</c:v>
                </c:pt>
                <c:pt idx="4062">
                  <c:v>1.3985700000000001</c:v>
                </c:pt>
                <c:pt idx="4063">
                  <c:v>1.5228600000000001</c:v>
                </c:pt>
                <c:pt idx="4064">
                  <c:v>1.9673400000000001</c:v>
                </c:pt>
                <c:pt idx="4065">
                  <c:v>#N/A</c:v>
                </c:pt>
                <c:pt idx="4066">
                  <c:v>2.3323</c:v>
                </c:pt>
                <c:pt idx="4067">
                  <c:v>3.1275300000000001</c:v>
                </c:pt>
                <c:pt idx="4068">
                  <c:v>3.6296200000000001</c:v>
                </c:pt>
                <c:pt idx="4069">
                  <c:v>#N/A</c:v>
                </c:pt>
                <c:pt idx="4070">
                  <c:v>3.0555099999999999</c:v>
                </c:pt>
                <c:pt idx="4071">
                  <c:v>2.8077399999999999</c:v>
                </c:pt>
                <c:pt idx="4072">
                  <c:v>#N/A</c:v>
                </c:pt>
                <c:pt idx="4073">
                  <c:v>2.0101499999999999</c:v>
                </c:pt>
                <c:pt idx="4074">
                  <c:v>2.14785</c:v>
                </c:pt>
                <c:pt idx="4075">
                  <c:v>2.09063</c:v>
                </c:pt>
                <c:pt idx="4076">
                  <c:v>#N/A</c:v>
                </c:pt>
                <c:pt idx="4077">
                  <c:v>2.8644599999999998</c:v>
                </c:pt>
                <c:pt idx="4078">
                  <c:v>3.2484899999999999</c:v>
                </c:pt>
                <c:pt idx="4079">
                  <c:v>2.8367800000000001</c:v>
                </c:pt>
                <c:pt idx="4080">
                  <c:v>#N/A</c:v>
                </c:pt>
                <c:pt idx="4081">
                  <c:v>3.0076299999999998</c:v>
                </c:pt>
                <c:pt idx="4082">
                  <c:v>2.2180300000000002</c:v>
                </c:pt>
                <c:pt idx="4083">
                  <c:v>2.0769099999999998</c:v>
                </c:pt>
                <c:pt idx="4084">
                  <c:v>#N/A</c:v>
                </c:pt>
                <c:pt idx="4085">
                  <c:v>1.4321600000000001</c:v>
                </c:pt>
                <c:pt idx="4086">
                  <c:v>1.6531199999999999</c:v>
                </c:pt>
                <c:pt idx="4087">
                  <c:v>2.8623599999999998</c:v>
                </c:pt>
                <c:pt idx="4088">
                  <c:v>#N/A</c:v>
                </c:pt>
                <c:pt idx="4089">
                  <c:v>3.1611099999999999</c:v>
                </c:pt>
                <c:pt idx="4090">
                  <c:v>3.9398499999999999</c:v>
                </c:pt>
                <c:pt idx="4091">
                  <c:v>3.2123400000000002</c:v>
                </c:pt>
                <c:pt idx="4092">
                  <c:v>#N/A</c:v>
                </c:pt>
                <c:pt idx="4093">
                  <c:v>2.5892499999999998</c:v>
                </c:pt>
                <c:pt idx="4094">
                  <c:v>2.3410500000000001</c:v>
                </c:pt>
                <c:pt idx="4095">
                  <c:v>2.4106800000000002</c:v>
                </c:pt>
                <c:pt idx="4096">
                  <c:v>#N/A</c:v>
                </c:pt>
                <c:pt idx="4097">
                  <c:v>2.34</c:v>
                </c:pt>
                <c:pt idx="4098">
                  <c:v>2.4322499999999998</c:v>
                </c:pt>
                <c:pt idx="4099">
                  <c:v>#N/A</c:v>
                </c:pt>
                <c:pt idx="4100">
                  <c:v>3.0403199999999999</c:v>
                </c:pt>
                <c:pt idx="4101">
                  <c:v>2.9439199999999999</c:v>
                </c:pt>
                <c:pt idx="4102">
                  <c:v>2.8422399999999999</c:v>
                </c:pt>
                <c:pt idx="4103">
                  <c:v>#N/A</c:v>
                </c:pt>
                <c:pt idx="4104">
                  <c:v>1.73197</c:v>
                </c:pt>
                <c:pt idx="4105">
                  <c:v>1.85839</c:v>
                </c:pt>
                <c:pt idx="4106">
                  <c:v>1.9003000000000001</c:v>
                </c:pt>
                <c:pt idx="4107">
                  <c:v>#N/A</c:v>
                </c:pt>
                <c:pt idx="4108">
                  <c:v>2.4287700000000001</c:v>
                </c:pt>
                <c:pt idx="4109">
                  <c:v>2.90571</c:v>
                </c:pt>
                <c:pt idx="4110">
                  <c:v>2.8732099999999998</c:v>
                </c:pt>
                <c:pt idx="4111">
                  <c:v>#N/A</c:v>
                </c:pt>
                <c:pt idx="4112">
                  <c:v>3.1785999999999999</c:v>
                </c:pt>
                <c:pt idx="4113">
                  <c:v>3.4129399999999999</c:v>
                </c:pt>
                <c:pt idx="4114">
                  <c:v>3.0122300000000002</c:v>
                </c:pt>
                <c:pt idx="4115">
                  <c:v>#N/A</c:v>
                </c:pt>
                <c:pt idx="4116">
                  <c:v>2.3863599999999998</c:v>
                </c:pt>
                <c:pt idx="4117">
                  <c:v>2.8350499999999998</c:v>
                </c:pt>
                <c:pt idx="4118">
                  <c:v>2.2912699999999999</c:v>
                </c:pt>
                <c:pt idx="4119">
                  <c:v>#N/A</c:v>
                </c:pt>
                <c:pt idx="4120">
                  <c:v>3.3048299999999999</c:v>
                </c:pt>
                <c:pt idx="4121">
                  <c:v>2.6011500000000001</c:v>
                </c:pt>
                <c:pt idx="4122">
                  <c:v>#N/A</c:v>
                </c:pt>
                <c:pt idx="4123">
                  <c:v>3.15862</c:v>
                </c:pt>
                <c:pt idx="4124">
                  <c:v>2.8387099999999998</c:v>
                </c:pt>
                <c:pt idx="4125">
                  <c:v>#N/A</c:v>
                </c:pt>
                <c:pt idx="4126">
                  <c:v>2.9472999999999998</c:v>
                </c:pt>
                <c:pt idx="4127">
                  <c:v>2.2712400000000001</c:v>
                </c:pt>
                <c:pt idx="4128">
                  <c:v>#N/A</c:v>
                </c:pt>
                <c:pt idx="4129">
                  <c:v>2.7927900000000001</c:v>
                </c:pt>
                <c:pt idx="4130">
                  <c:v>2.7422599999999999</c:v>
                </c:pt>
                <c:pt idx="4131">
                  <c:v>#N/A</c:v>
                </c:pt>
                <c:pt idx="4132">
                  <c:v>2.5731899999999999</c:v>
                </c:pt>
                <c:pt idx="4133">
                  <c:v>2.5773899999999998</c:v>
                </c:pt>
                <c:pt idx="4134">
                  <c:v>2.7645599999999999</c:v>
                </c:pt>
                <c:pt idx="4135">
                  <c:v>#N/A</c:v>
                </c:pt>
                <c:pt idx="4136">
                  <c:v>2.4666100000000002</c:v>
                </c:pt>
                <c:pt idx="4137">
                  <c:v>2.3925200000000002</c:v>
                </c:pt>
                <c:pt idx="4138">
                  <c:v>2.67821</c:v>
                </c:pt>
                <c:pt idx="4139">
                  <c:v>#N/A</c:v>
                </c:pt>
                <c:pt idx="4140">
                  <c:v>2.7949000000000002</c:v>
                </c:pt>
                <c:pt idx="4141">
                  <c:v>2.8528199999999999</c:v>
                </c:pt>
                <c:pt idx="4142">
                  <c:v>#N/A</c:v>
                </c:pt>
                <c:pt idx="4143">
                  <c:v>2.7487699999999999</c:v>
                </c:pt>
                <c:pt idx="4144">
                  <c:v>2.4961899999999999</c:v>
                </c:pt>
                <c:pt idx="4145">
                  <c:v>2.28782</c:v>
                </c:pt>
                <c:pt idx="4146">
                  <c:v>#N/A</c:v>
                </c:pt>
                <c:pt idx="4147">
                  <c:v>1.9989399999999999</c:v>
                </c:pt>
                <c:pt idx="4148">
                  <c:v>1.9513100000000001</c:v>
                </c:pt>
                <c:pt idx="4149">
                  <c:v>2.8571300000000002</c:v>
                </c:pt>
                <c:pt idx="4150">
                  <c:v>#N/A</c:v>
                </c:pt>
                <c:pt idx="4151">
                  <c:v>3.5568499999999998</c:v>
                </c:pt>
                <c:pt idx="4152">
                  <c:v>3.7000299999999999</c:v>
                </c:pt>
                <c:pt idx="4153">
                  <c:v>3.4923000000000002</c:v>
                </c:pt>
                <c:pt idx="4154">
                  <c:v>#N/A</c:v>
                </c:pt>
                <c:pt idx="4155">
                  <c:v>3.3131499999999998</c:v>
                </c:pt>
                <c:pt idx="4156">
                  <c:v>2.2652800000000002</c:v>
                </c:pt>
                <c:pt idx="4157">
                  <c:v>2.2374499999999999</c:v>
                </c:pt>
                <c:pt idx="4158">
                  <c:v>#N/A</c:v>
                </c:pt>
                <c:pt idx="4159">
                  <c:v>2.3628399999999998</c:v>
                </c:pt>
                <c:pt idx="4160">
                  <c:v>2.4617900000000001</c:v>
                </c:pt>
                <c:pt idx="4161">
                  <c:v>3.1128999999999998</c:v>
                </c:pt>
                <c:pt idx="4162">
                  <c:v>#N/A</c:v>
                </c:pt>
                <c:pt idx="4163">
                  <c:v>3.1914600000000002</c:v>
                </c:pt>
                <c:pt idx="4164">
                  <c:v>2.95838</c:v>
                </c:pt>
                <c:pt idx="4165">
                  <c:v>2.37304</c:v>
                </c:pt>
                <c:pt idx="4166">
                  <c:v>#N/A</c:v>
                </c:pt>
                <c:pt idx="4167">
                  <c:v>2.1832099999999999</c:v>
                </c:pt>
                <c:pt idx="4168">
                  <c:v>1.7134499999999999</c:v>
                </c:pt>
                <c:pt idx="4169">
                  <c:v>#N/A</c:v>
                </c:pt>
                <c:pt idx="4170">
                  <c:v>2.0793300000000001</c:v>
                </c:pt>
                <c:pt idx="4171">
                  <c:v>2.32315</c:v>
                </c:pt>
                <c:pt idx="4172">
                  <c:v>3.0169600000000001</c:v>
                </c:pt>
                <c:pt idx="4173">
                  <c:v>#N/A</c:v>
                </c:pt>
                <c:pt idx="4174">
                  <c:v>3.3437199999999998</c:v>
                </c:pt>
                <c:pt idx="4175">
                  <c:v>3.64838</c:v>
                </c:pt>
                <c:pt idx="4176">
                  <c:v>3.3862299999999999</c:v>
                </c:pt>
                <c:pt idx="4177">
                  <c:v>#N/A</c:v>
                </c:pt>
                <c:pt idx="4178">
                  <c:v>2.5330499999999998</c:v>
                </c:pt>
                <c:pt idx="4179">
                  <c:v>2.28078</c:v>
                </c:pt>
                <c:pt idx="4180">
                  <c:v>2.63836</c:v>
                </c:pt>
                <c:pt idx="4181">
                  <c:v>#N/A</c:v>
                </c:pt>
                <c:pt idx="4182">
                  <c:v>3.35778</c:v>
                </c:pt>
                <c:pt idx="4183">
                  <c:v>3.66669</c:v>
                </c:pt>
                <c:pt idx="4184">
                  <c:v>3.1625100000000002</c:v>
                </c:pt>
                <c:pt idx="4185">
                  <c:v>#N/A</c:v>
                </c:pt>
                <c:pt idx="4186">
                  <c:v>3.0497100000000001</c:v>
                </c:pt>
                <c:pt idx="4187">
                  <c:v>3.2595900000000002</c:v>
                </c:pt>
                <c:pt idx="4188">
                  <c:v>2.2919499999999999</c:v>
                </c:pt>
                <c:pt idx="4189">
                  <c:v>#N/A</c:v>
                </c:pt>
                <c:pt idx="4190">
                  <c:v>2.3757600000000001</c:v>
                </c:pt>
                <c:pt idx="4191">
                  <c:v>2.6950599999999998</c:v>
                </c:pt>
                <c:pt idx="4192">
                  <c:v>3.4968599999999999</c:v>
                </c:pt>
                <c:pt idx="4193">
                  <c:v>#N/A</c:v>
                </c:pt>
                <c:pt idx="4194">
                  <c:v>3.6810800000000001</c:v>
                </c:pt>
                <c:pt idx="4195">
                  <c:v>3.5175100000000001</c:v>
                </c:pt>
                <c:pt idx="4196">
                  <c:v>3.1648299999999998</c:v>
                </c:pt>
                <c:pt idx="4197">
                  <c:v>#N/A</c:v>
                </c:pt>
                <c:pt idx="4198">
                  <c:v>2.6488200000000002</c:v>
                </c:pt>
                <c:pt idx="4199">
                  <c:v>2.15062</c:v>
                </c:pt>
                <c:pt idx="4200">
                  <c:v>#N/A</c:v>
                </c:pt>
                <c:pt idx="4201">
                  <c:v>2.1745899999999998</c:v>
                </c:pt>
                <c:pt idx="4202">
                  <c:v>#N/A</c:v>
                </c:pt>
                <c:pt idx="4203">
                  <c:v>2.4014099999999998</c:v>
                </c:pt>
                <c:pt idx="4204">
                  <c:v>2.9191799999999999</c:v>
                </c:pt>
                <c:pt idx="4205">
                  <c:v>2.9859800000000001</c:v>
                </c:pt>
                <c:pt idx="4206">
                  <c:v>#N/A</c:v>
                </c:pt>
                <c:pt idx="4207">
                  <c:v>2.5377900000000002</c:v>
                </c:pt>
                <c:pt idx="4208">
                  <c:v>1.9981899999999999</c:v>
                </c:pt>
                <c:pt idx="4209">
                  <c:v>#N/A</c:v>
                </c:pt>
                <c:pt idx="4210">
                  <c:v>2.2284199999999998</c:v>
                </c:pt>
                <c:pt idx="4211">
                  <c:v>3.1808800000000002</c:v>
                </c:pt>
                <c:pt idx="4212">
                  <c:v>3.3555799999999998</c:v>
                </c:pt>
                <c:pt idx="4213">
                  <c:v>#N/A</c:v>
                </c:pt>
                <c:pt idx="4214">
                  <c:v>3.60209</c:v>
                </c:pt>
                <c:pt idx="4215">
                  <c:v>3.7705299999999999</c:v>
                </c:pt>
                <c:pt idx="4216">
                  <c:v>3.9822500000000001</c:v>
                </c:pt>
                <c:pt idx="4217">
                  <c:v>#N/A</c:v>
                </c:pt>
                <c:pt idx="4218">
                  <c:v>3.3007499999999999</c:v>
                </c:pt>
                <c:pt idx="4219">
                  <c:v>2.9216899999999999</c:v>
                </c:pt>
                <c:pt idx="4220">
                  <c:v>2.52895</c:v>
                </c:pt>
                <c:pt idx="4221">
                  <c:v>#N/A</c:v>
                </c:pt>
                <c:pt idx="4222">
                  <c:v>2.41852</c:v>
                </c:pt>
                <c:pt idx="4223">
                  <c:v>2.8083</c:v>
                </c:pt>
                <c:pt idx="4224">
                  <c:v>3.3659599999999998</c:v>
                </c:pt>
                <c:pt idx="4225">
                  <c:v>#N/A</c:v>
                </c:pt>
                <c:pt idx="4226">
                  <c:v>3.18899</c:v>
                </c:pt>
                <c:pt idx="4227">
                  <c:v>3.20174</c:v>
                </c:pt>
                <c:pt idx="4228">
                  <c:v>3.0722399999999999</c:v>
                </c:pt>
                <c:pt idx="4229">
                  <c:v>#N/A</c:v>
                </c:pt>
                <c:pt idx="4230">
                  <c:v>2.2862399999999998</c:v>
                </c:pt>
                <c:pt idx="4231">
                  <c:v>1.82222</c:v>
                </c:pt>
                <c:pt idx="4232">
                  <c:v>1.78423</c:v>
                </c:pt>
                <c:pt idx="4233">
                  <c:v>#N/A</c:v>
                </c:pt>
                <c:pt idx="4234">
                  <c:v>2.4748399999999999</c:v>
                </c:pt>
                <c:pt idx="4235">
                  <c:v>3.0441099999999999</c:v>
                </c:pt>
                <c:pt idx="4236">
                  <c:v>3.91296</c:v>
                </c:pt>
                <c:pt idx="4237">
                  <c:v>#N/A</c:v>
                </c:pt>
                <c:pt idx="4238">
                  <c:v>3.1170499999999999</c:v>
                </c:pt>
                <c:pt idx="4239">
                  <c:v>3.33839</c:v>
                </c:pt>
                <c:pt idx="4240">
                  <c:v>2.9194499999999999</c:v>
                </c:pt>
                <c:pt idx="4241">
                  <c:v>#N/A</c:v>
                </c:pt>
                <c:pt idx="4242">
                  <c:v>2.5941200000000002</c:v>
                </c:pt>
                <c:pt idx="4243">
                  <c:v>2.79888</c:v>
                </c:pt>
                <c:pt idx="4244">
                  <c:v>#N/A</c:v>
                </c:pt>
                <c:pt idx="4245">
                  <c:v>2.9412799999999999</c:v>
                </c:pt>
                <c:pt idx="4246">
                  <c:v>3.6329600000000002</c:v>
                </c:pt>
                <c:pt idx="4247">
                  <c:v>3.8259400000000001</c:v>
                </c:pt>
                <c:pt idx="4248">
                  <c:v>#N/A</c:v>
                </c:pt>
                <c:pt idx="4249">
                  <c:v>3.69645</c:v>
                </c:pt>
                <c:pt idx="4250">
                  <c:v>3.6311900000000001</c:v>
                </c:pt>
                <c:pt idx="4251">
                  <c:v>2.4582099999999998</c:v>
                </c:pt>
                <c:pt idx="4252">
                  <c:v>#N/A</c:v>
                </c:pt>
                <c:pt idx="4253">
                  <c:v>2.3509699999999998</c:v>
                </c:pt>
                <c:pt idx="4254">
                  <c:v>2.5231699999999999</c:v>
                </c:pt>
                <c:pt idx="4255">
                  <c:v>3.0724800000000001</c:v>
                </c:pt>
                <c:pt idx="4256">
                  <c:v>#N/A</c:v>
                </c:pt>
                <c:pt idx="4257">
                  <c:v>3.3299799999999999</c:v>
                </c:pt>
                <c:pt idx="4258">
                  <c:v>3.1508799999999999</c:v>
                </c:pt>
                <c:pt idx="4259">
                  <c:v>3.1789900000000002</c:v>
                </c:pt>
                <c:pt idx="4260">
                  <c:v>#N/A</c:v>
                </c:pt>
                <c:pt idx="4261">
                  <c:v>2.1623000000000001</c:v>
                </c:pt>
                <c:pt idx="4262">
                  <c:v>2.1898900000000001</c:v>
                </c:pt>
                <c:pt idx="4263">
                  <c:v>2.23488</c:v>
                </c:pt>
                <c:pt idx="4264">
                  <c:v>#N/A</c:v>
                </c:pt>
                <c:pt idx="4265">
                  <c:v>2.5305599999999999</c:v>
                </c:pt>
                <c:pt idx="4266">
                  <c:v>2.8439800000000002</c:v>
                </c:pt>
                <c:pt idx="4267">
                  <c:v>#N/A</c:v>
                </c:pt>
                <c:pt idx="4268">
                  <c:v>2.6684299999999999</c:v>
                </c:pt>
                <c:pt idx="4269">
                  <c:v>2.4307300000000001</c:v>
                </c:pt>
                <c:pt idx="4270">
                  <c:v>2.3953000000000002</c:v>
                </c:pt>
                <c:pt idx="4271">
                  <c:v>#N/A</c:v>
                </c:pt>
                <c:pt idx="4272">
                  <c:v>2.4592200000000002</c:v>
                </c:pt>
                <c:pt idx="4273">
                  <c:v>2.31298</c:v>
                </c:pt>
                <c:pt idx="4274">
                  <c:v>#N/A</c:v>
                </c:pt>
                <c:pt idx="4275">
                  <c:v>2.8090899999999999</c:v>
                </c:pt>
                <c:pt idx="4276">
                  <c:v>3.1707900000000002</c:v>
                </c:pt>
                <c:pt idx="4277">
                  <c:v>#N/A</c:v>
                </c:pt>
                <c:pt idx="4278">
                  <c:v>3.2173600000000002</c:v>
                </c:pt>
                <c:pt idx="4279">
                  <c:v>2.5299999999999998</c:v>
                </c:pt>
                <c:pt idx="4280">
                  <c:v>#N/A</c:v>
                </c:pt>
                <c:pt idx="4281">
                  <c:v>2.8296700000000001</c:v>
                </c:pt>
                <c:pt idx="4282">
                  <c:v>2.1756000000000002</c:v>
                </c:pt>
                <c:pt idx="4283">
                  <c:v>2.0825</c:v>
                </c:pt>
                <c:pt idx="4284">
                  <c:v>#N/A</c:v>
                </c:pt>
                <c:pt idx="4285">
                  <c:v>2.5494599999999998</c:v>
                </c:pt>
                <c:pt idx="4286">
                  <c:v>2.9028700000000001</c:v>
                </c:pt>
                <c:pt idx="4287">
                  <c:v>3.3322699999999998</c:v>
                </c:pt>
                <c:pt idx="4288">
                  <c:v>#N/A</c:v>
                </c:pt>
                <c:pt idx="4289">
                  <c:v>3.2091599999999998</c:v>
                </c:pt>
                <c:pt idx="4290">
                  <c:v>2.6558999999999999</c:v>
                </c:pt>
                <c:pt idx="4291">
                  <c:v>2.0617999999999999</c:v>
                </c:pt>
                <c:pt idx="4292">
                  <c:v>#N/A</c:v>
                </c:pt>
                <c:pt idx="4293">
                  <c:v>2.3148399999999998</c:v>
                </c:pt>
                <c:pt idx="4294">
                  <c:v>2.5269300000000001</c:v>
                </c:pt>
                <c:pt idx="4295">
                  <c:v>2.6096699999999999</c:v>
                </c:pt>
                <c:pt idx="4296">
                  <c:v>#N/A</c:v>
                </c:pt>
                <c:pt idx="4297">
                  <c:v>2.8059799999999999</c:v>
                </c:pt>
                <c:pt idx="4298">
                  <c:v>3.3628300000000002</c:v>
                </c:pt>
                <c:pt idx="4299">
                  <c:v>3.2055600000000002</c:v>
                </c:pt>
                <c:pt idx="4300">
                  <c:v>#N/A</c:v>
                </c:pt>
                <c:pt idx="4301">
                  <c:v>3.3654600000000001</c:v>
                </c:pt>
                <c:pt idx="4302">
                  <c:v>3.1136900000000001</c:v>
                </c:pt>
                <c:pt idx="4303">
                  <c:v>#N/A</c:v>
                </c:pt>
                <c:pt idx="4304">
                  <c:v>2.6179800000000002</c:v>
                </c:pt>
                <c:pt idx="4305">
                  <c:v>2.6305399999999999</c:v>
                </c:pt>
                <c:pt idx="4306">
                  <c:v>2.9435600000000002</c:v>
                </c:pt>
                <c:pt idx="4307">
                  <c:v>#N/A</c:v>
                </c:pt>
                <c:pt idx="4308">
                  <c:v>3.3736000000000002</c:v>
                </c:pt>
                <c:pt idx="4309">
                  <c:v>3.38809</c:v>
                </c:pt>
                <c:pt idx="4310">
                  <c:v>3.4911599999999998</c:v>
                </c:pt>
                <c:pt idx="4311">
                  <c:v>#N/A</c:v>
                </c:pt>
                <c:pt idx="4312">
                  <c:v>2.72268</c:v>
                </c:pt>
                <c:pt idx="4313">
                  <c:v>2.0585100000000001</c:v>
                </c:pt>
                <c:pt idx="4314">
                  <c:v>#N/A</c:v>
                </c:pt>
                <c:pt idx="4315">
                  <c:v>1.88869</c:v>
                </c:pt>
                <c:pt idx="4316">
                  <c:v>2.15828</c:v>
                </c:pt>
                <c:pt idx="4317">
                  <c:v>2.8955899999999999</c:v>
                </c:pt>
                <c:pt idx="4318">
                  <c:v>#N/A</c:v>
                </c:pt>
                <c:pt idx="4319">
                  <c:v>3.2087699999999999</c:v>
                </c:pt>
                <c:pt idx="4320">
                  <c:v>4.1648699999999996</c:v>
                </c:pt>
                <c:pt idx="4321">
                  <c:v>3.20791</c:v>
                </c:pt>
                <c:pt idx="4322">
                  <c:v>#N/A</c:v>
                </c:pt>
                <c:pt idx="4323">
                  <c:v>2.90408</c:v>
                </c:pt>
                <c:pt idx="4324">
                  <c:v>2.7058900000000001</c:v>
                </c:pt>
                <c:pt idx="4325">
                  <c:v>2.2318799999999999</c:v>
                </c:pt>
                <c:pt idx="4326">
                  <c:v>#N/A</c:v>
                </c:pt>
                <c:pt idx="4327">
                  <c:v>1.9339200000000001</c:v>
                </c:pt>
                <c:pt idx="4328">
                  <c:v>2.5538799999999999</c:v>
                </c:pt>
                <c:pt idx="4329">
                  <c:v>2.4756499999999999</c:v>
                </c:pt>
                <c:pt idx="4330">
                  <c:v>#N/A</c:v>
                </c:pt>
                <c:pt idx="4331">
                  <c:v>2.8859400000000002</c:v>
                </c:pt>
                <c:pt idx="4332">
                  <c:v>2.45783</c:v>
                </c:pt>
                <c:pt idx="4333">
                  <c:v>#N/A</c:v>
                </c:pt>
                <c:pt idx="4334">
                  <c:v>#N/A</c:v>
                </c:pt>
                <c:pt idx="4335">
                  <c:v>2.3921899999999998</c:v>
                </c:pt>
                <c:pt idx="4336">
                  <c:v>#N/A</c:v>
                </c:pt>
                <c:pt idx="4337">
                  <c:v>2.6730800000000001</c:v>
                </c:pt>
                <c:pt idx="4338">
                  <c:v>3.0331000000000001</c:v>
                </c:pt>
                <c:pt idx="4339">
                  <c:v>2.76126</c:v>
                </c:pt>
                <c:pt idx="4340">
                  <c:v>#N/A</c:v>
                </c:pt>
                <c:pt idx="4341">
                  <c:v>2.8349199999999999</c:v>
                </c:pt>
                <c:pt idx="4342">
                  <c:v>2.7949700000000002</c:v>
                </c:pt>
                <c:pt idx="4343">
                  <c:v>3.1961599999999999</c:v>
                </c:pt>
                <c:pt idx="4344">
                  <c:v>#N/A</c:v>
                </c:pt>
                <c:pt idx="4345">
                  <c:v>2.9618600000000002</c:v>
                </c:pt>
                <c:pt idx="4346">
                  <c:v>2.6011199999999999</c:v>
                </c:pt>
                <c:pt idx="4347">
                  <c:v>2.3298899999999998</c:v>
                </c:pt>
                <c:pt idx="4348">
                  <c:v>#N/A</c:v>
                </c:pt>
                <c:pt idx="4349">
                  <c:v>2.90219</c:v>
                </c:pt>
                <c:pt idx="4350">
                  <c:v>2.8209</c:v>
                </c:pt>
                <c:pt idx="4351">
                  <c:v>3.0612699999999999</c:v>
                </c:pt>
                <c:pt idx="4352">
                  <c:v>#N/A</c:v>
                </c:pt>
                <c:pt idx="4353">
                  <c:v>2.2800199999999999</c:v>
                </c:pt>
                <c:pt idx="4354">
                  <c:v>2.0453999999999999</c:v>
                </c:pt>
                <c:pt idx="4355">
                  <c:v>#N/A</c:v>
                </c:pt>
                <c:pt idx="4356">
                  <c:v>2.35588</c:v>
                </c:pt>
                <c:pt idx="4357">
                  <c:v>2.2480899999999999</c:v>
                </c:pt>
                <c:pt idx="4358">
                  <c:v>2.7248000000000001</c:v>
                </c:pt>
                <c:pt idx="4359">
                  <c:v>#N/A</c:v>
                </c:pt>
                <c:pt idx="4360">
                  <c:v>3.1394500000000001</c:v>
                </c:pt>
                <c:pt idx="4361">
                  <c:v>3.72302</c:v>
                </c:pt>
                <c:pt idx="4362">
                  <c:v>3.4257599999999999</c:v>
                </c:pt>
                <c:pt idx="4363">
                  <c:v>#N/A</c:v>
                </c:pt>
                <c:pt idx="4364">
                  <c:v>3.3559800000000002</c:v>
                </c:pt>
                <c:pt idx="4365">
                  <c:v>2.2553700000000001</c:v>
                </c:pt>
                <c:pt idx="4366">
                  <c:v>2.29</c:v>
                </c:pt>
                <c:pt idx="4367">
                  <c:v>#N/A</c:v>
                </c:pt>
                <c:pt idx="4368">
                  <c:v>2.89697</c:v>
                </c:pt>
                <c:pt idx="4369">
                  <c:v>2.90299</c:v>
                </c:pt>
                <c:pt idx="4370">
                  <c:v>3.15083</c:v>
                </c:pt>
                <c:pt idx="4371">
                  <c:v>#N/A</c:v>
                </c:pt>
                <c:pt idx="4372">
                  <c:v>3.4093399999999998</c:v>
                </c:pt>
                <c:pt idx="4373">
                  <c:v>3.31948</c:v>
                </c:pt>
                <c:pt idx="4374">
                  <c:v>2.7420100000000001</c:v>
                </c:pt>
                <c:pt idx="4375">
                  <c:v>#N/A</c:v>
                </c:pt>
                <c:pt idx="4376">
                  <c:v>2.43092</c:v>
                </c:pt>
                <c:pt idx="4377">
                  <c:v>2.1732999999999998</c:v>
                </c:pt>
                <c:pt idx="4378">
                  <c:v>2.1407799999999999</c:v>
                </c:pt>
                <c:pt idx="4379">
                  <c:v>#N/A</c:v>
                </c:pt>
                <c:pt idx="4380">
                  <c:v>2.0222600000000002</c:v>
                </c:pt>
                <c:pt idx="4381">
                  <c:v>3.24221</c:v>
                </c:pt>
                <c:pt idx="4382">
                  <c:v>2.9524400000000002</c:v>
                </c:pt>
                <c:pt idx="4383">
                  <c:v>#N/A</c:v>
                </c:pt>
                <c:pt idx="4384">
                  <c:v>3.0280200000000002</c:v>
                </c:pt>
                <c:pt idx="4385">
                  <c:v>2.9162400000000002</c:v>
                </c:pt>
                <c:pt idx="4386">
                  <c:v>#N/A</c:v>
                </c:pt>
                <c:pt idx="4387">
                  <c:v>2.7353700000000001</c:v>
                </c:pt>
                <c:pt idx="4388">
                  <c:v>1.9522999999999999</c:v>
                </c:pt>
                <c:pt idx="4389">
                  <c:v>2.1302500000000002</c:v>
                </c:pt>
                <c:pt idx="4390">
                  <c:v>#N/A</c:v>
                </c:pt>
                <c:pt idx="4391">
                  <c:v>2.6836600000000002</c:v>
                </c:pt>
                <c:pt idx="4392">
                  <c:v>3.24234</c:v>
                </c:pt>
                <c:pt idx="4393">
                  <c:v>#N/A</c:v>
                </c:pt>
                <c:pt idx="4394">
                  <c:v>3.1556999999999999</c:v>
                </c:pt>
                <c:pt idx="4395">
                  <c:v>2.3870200000000001</c:v>
                </c:pt>
                <c:pt idx="4396">
                  <c:v>2.3879600000000001</c:v>
                </c:pt>
                <c:pt idx="4397">
                  <c:v>#N/A</c:v>
                </c:pt>
                <c:pt idx="4398">
                  <c:v>2.1969400000000001</c:v>
                </c:pt>
                <c:pt idx="4399">
                  <c:v>2.5692300000000001</c:v>
                </c:pt>
                <c:pt idx="4400">
                  <c:v>2.39418</c:v>
                </c:pt>
                <c:pt idx="4401">
                  <c:v>#N/A</c:v>
                </c:pt>
                <c:pt idx="4402">
                  <c:v>2.5552800000000002</c:v>
                </c:pt>
                <c:pt idx="4403">
                  <c:v>2.9233899999999999</c:v>
                </c:pt>
                <c:pt idx="4404">
                  <c:v>3.7578399999999998</c:v>
                </c:pt>
                <c:pt idx="4405">
                  <c:v>#N/A</c:v>
                </c:pt>
                <c:pt idx="4406">
                  <c:v>3.20303</c:v>
                </c:pt>
                <c:pt idx="4407">
                  <c:v>2.4706100000000002</c:v>
                </c:pt>
                <c:pt idx="4408">
                  <c:v>2.2943899999999999</c:v>
                </c:pt>
                <c:pt idx="4409">
                  <c:v>#N/A</c:v>
                </c:pt>
                <c:pt idx="4410">
                  <c:v>2.5965799999999999</c:v>
                </c:pt>
                <c:pt idx="4411">
                  <c:v>2.2843499999999999</c:v>
                </c:pt>
                <c:pt idx="4412">
                  <c:v>2.2911899999999998</c:v>
                </c:pt>
                <c:pt idx="4413">
                  <c:v>#N/A</c:v>
                </c:pt>
                <c:pt idx="4414">
                  <c:v>2.8392499999999998</c:v>
                </c:pt>
                <c:pt idx="4415">
                  <c:v>2.9408599999999998</c:v>
                </c:pt>
                <c:pt idx="4416">
                  <c:v>2.67991</c:v>
                </c:pt>
                <c:pt idx="4417">
                  <c:v>#N/A</c:v>
                </c:pt>
                <c:pt idx="4418">
                  <c:v>2.7562899999999999</c:v>
                </c:pt>
                <c:pt idx="4419">
                  <c:v>1.9970600000000001</c:v>
                </c:pt>
                <c:pt idx="4420">
                  <c:v>#N/A</c:v>
                </c:pt>
                <c:pt idx="4421">
                  <c:v>1.9874099999999999</c:v>
                </c:pt>
                <c:pt idx="4422">
                  <c:v>2.8099500000000002</c:v>
                </c:pt>
                <c:pt idx="4423">
                  <c:v>3.95411</c:v>
                </c:pt>
                <c:pt idx="4424">
                  <c:v>#N/A</c:v>
                </c:pt>
                <c:pt idx="4425">
                  <c:v>3.7996500000000002</c:v>
                </c:pt>
                <c:pt idx="4426">
                  <c:v>#N/A</c:v>
                </c:pt>
                <c:pt idx="4427">
                  <c:v>3.08324</c:v>
                </c:pt>
                <c:pt idx="4428">
                  <c:v>2.6656499999999999</c:v>
                </c:pt>
                <c:pt idx="4429">
                  <c:v>#N/A</c:v>
                </c:pt>
                <c:pt idx="4430">
                  <c:v>2.92049</c:v>
                </c:pt>
                <c:pt idx="4431">
                  <c:v>2.9325000000000001</c:v>
                </c:pt>
                <c:pt idx="4432">
                  <c:v>3.06332</c:v>
                </c:pt>
                <c:pt idx="4433">
                  <c:v>#N/A</c:v>
                </c:pt>
                <c:pt idx="4434">
                  <c:v>3.1504599999999998</c:v>
                </c:pt>
                <c:pt idx="4435">
                  <c:v>3.0771500000000001</c:v>
                </c:pt>
                <c:pt idx="4436">
                  <c:v>3.3452799999999998</c:v>
                </c:pt>
                <c:pt idx="4437">
                  <c:v>#N/A</c:v>
                </c:pt>
                <c:pt idx="4438">
                  <c:v>2.5991599999999999</c:v>
                </c:pt>
                <c:pt idx="4439">
                  <c:v>2.0725799999999999</c:v>
                </c:pt>
                <c:pt idx="4440">
                  <c:v>1.92808</c:v>
                </c:pt>
                <c:pt idx="4441">
                  <c:v>#N/A</c:v>
                </c:pt>
                <c:pt idx="4442">
                  <c:v>2.1140300000000001</c:v>
                </c:pt>
                <c:pt idx="4443">
                  <c:v>2.8252199999999998</c:v>
                </c:pt>
                <c:pt idx="4444">
                  <c:v>3.4976400000000001</c:v>
                </c:pt>
                <c:pt idx="4445">
                  <c:v>#N/A</c:v>
                </c:pt>
                <c:pt idx="4446">
                  <c:v>3.5677400000000001</c:v>
                </c:pt>
                <c:pt idx="4447">
                  <c:v>3.1231399999999998</c:v>
                </c:pt>
                <c:pt idx="4448">
                  <c:v>3.2130299999999998</c:v>
                </c:pt>
                <c:pt idx="4449">
                  <c:v>#N/A</c:v>
                </c:pt>
                <c:pt idx="4450">
                  <c:v>2.1548099999999999</c:v>
                </c:pt>
                <c:pt idx="4451">
                  <c:v>2.44598</c:v>
                </c:pt>
                <c:pt idx="4452">
                  <c:v>2.4254799999999999</c:v>
                </c:pt>
                <c:pt idx="4453">
                  <c:v>#N/A</c:v>
                </c:pt>
                <c:pt idx="4454">
                  <c:v>3.0552600000000001</c:v>
                </c:pt>
                <c:pt idx="4455">
                  <c:v>3.1541600000000001</c:v>
                </c:pt>
                <c:pt idx="4456">
                  <c:v>3.0156999999999998</c:v>
                </c:pt>
                <c:pt idx="4457">
                  <c:v>#N/A</c:v>
                </c:pt>
                <c:pt idx="4458">
                  <c:v>2.8426200000000001</c:v>
                </c:pt>
                <c:pt idx="4459">
                  <c:v>2.70844</c:v>
                </c:pt>
                <c:pt idx="4460">
                  <c:v>#N/A</c:v>
                </c:pt>
                <c:pt idx="4461">
                  <c:v>2.3638400000000002</c:v>
                </c:pt>
                <c:pt idx="4462">
                  <c:v>1.9917800000000001</c:v>
                </c:pt>
                <c:pt idx="4463">
                  <c:v>2.0102099999999998</c:v>
                </c:pt>
                <c:pt idx="4464">
                  <c:v>#N/A</c:v>
                </c:pt>
                <c:pt idx="4465">
                  <c:v>2.5748099999999998</c:v>
                </c:pt>
                <c:pt idx="4466">
                  <c:v>3.0476899999999998</c:v>
                </c:pt>
                <c:pt idx="4467">
                  <c:v>3.2941199999999999</c:v>
                </c:pt>
                <c:pt idx="4468">
                  <c:v>#N/A</c:v>
                </c:pt>
                <c:pt idx="4469">
                  <c:v>3.2336499999999999</c:v>
                </c:pt>
                <c:pt idx="4470">
                  <c:v>2.8023199999999999</c:v>
                </c:pt>
                <c:pt idx="4471">
                  <c:v>2.4089999999999998</c:v>
                </c:pt>
                <c:pt idx="4472">
                  <c:v>#N/A</c:v>
                </c:pt>
                <c:pt idx="4473">
                  <c:v>2.2291099999999999</c:v>
                </c:pt>
                <c:pt idx="4474">
                  <c:v>2.3168000000000002</c:v>
                </c:pt>
                <c:pt idx="4475">
                  <c:v>2.6526800000000001</c:v>
                </c:pt>
                <c:pt idx="4476">
                  <c:v>#N/A</c:v>
                </c:pt>
                <c:pt idx="4477">
                  <c:v>2.73244</c:v>
                </c:pt>
                <c:pt idx="4478">
                  <c:v>2.6987700000000001</c:v>
                </c:pt>
                <c:pt idx="4479">
                  <c:v>2.4908199999999998</c:v>
                </c:pt>
                <c:pt idx="4480">
                  <c:v>#N/A</c:v>
                </c:pt>
                <c:pt idx="4481">
                  <c:v>2.1032600000000001</c:v>
                </c:pt>
                <c:pt idx="4482">
                  <c:v>1.96445</c:v>
                </c:pt>
                <c:pt idx="4483">
                  <c:v>#N/A</c:v>
                </c:pt>
                <c:pt idx="4484">
                  <c:v>2.19997</c:v>
                </c:pt>
                <c:pt idx="4485">
                  <c:v>2.5604900000000002</c:v>
                </c:pt>
                <c:pt idx="4486">
                  <c:v>2.7442799999999998</c:v>
                </c:pt>
                <c:pt idx="4487">
                  <c:v>#N/A</c:v>
                </c:pt>
                <c:pt idx="4488">
                  <c:v>2.9489399999999999</c:v>
                </c:pt>
                <c:pt idx="4489">
                  <c:v>2.5314999999999999</c:v>
                </c:pt>
                <c:pt idx="4490">
                  <c:v>3.1363300000000001</c:v>
                </c:pt>
                <c:pt idx="4491">
                  <c:v>#N/A</c:v>
                </c:pt>
                <c:pt idx="4492">
                  <c:v>2.4118400000000002</c:v>
                </c:pt>
                <c:pt idx="4493">
                  <c:v>2.2193100000000001</c:v>
                </c:pt>
                <c:pt idx="4494">
                  <c:v>2.4690500000000002</c:v>
                </c:pt>
                <c:pt idx="4495">
                  <c:v>#N/A</c:v>
                </c:pt>
                <c:pt idx="4496">
                  <c:v>2.7040899999999999</c:v>
                </c:pt>
                <c:pt idx="4497">
                  <c:v>3.43336</c:v>
                </c:pt>
                <c:pt idx="4498">
                  <c:v>3.0017999999999998</c:v>
                </c:pt>
                <c:pt idx="4499">
                  <c:v>#N/A</c:v>
                </c:pt>
                <c:pt idx="4500">
                  <c:v>2.3186900000000001</c:v>
                </c:pt>
                <c:pt idx="4501">
                  <c:v>#N/A</c:v>
                </c:pt>
                <c:pt idx="4502">
                  <c:v>1.82779</c:v>
                </c:pt>
                <c:pt idx="4503">
                  <c:v>#N/A</c:v>
                </c:pt>
                <c:pt idx="4504">
                  <c:v>2.0685600000000002</c:v>
                </c:pt>
                <c:pt idx="4505">
                  <c:v>2.45194</c:v>
                </c:pt>
                <c:pt idx="4506">
                  <c:v>2.8065500000000001</c:v>
                </c:pt>
                <c:pt idx="4507">
                  <c:v>#N/A</c:v>
                </c:pt>
                <c:pt idx="4508">
                  <c:v>3.3637000000000001</c:v>
                </c:pt>
                <c:pt idx="4509">
                  <c:v>3.1829900000000002</c:v>
                </c:pt>
                <c:pt idx="4510">
                  <c:v>2.5752799999999998</c:v>
                </c:pt>
                <c:pt idx="4511">
                  <c:v>#N/A</c:v>
                </c:pt>
                <c:pt idx="4512">
                  <c:v>2.6121699999999999</c:v>
                </c:pt>
                <c:pt idx="4513">
                  <c:v>2.2221299999999999</c:v>
                </c:pt>
                <c:pt idx="4514">
                  <c:v>#N/A</c:v>
                </c:pt>
                <c:pt idx="4515">
                  <c:v>2.2898299999999998</c:v>
                </c:pt>
                <c:pt idx="4516">
                  <c:v>3.0701900000000002</c:v>
                </c:pt>
                <c:pt idx="4517">
                  <c:v>3.0369100000000002</c:v>
                </c:pt>
                <c:pt idx="4518">
                  <c:v>#N/A</c:v>
                </c:pt>
                <c:pt idx="4519">
                  <c:v>2.9452699999999998</c:v>
                </c:pt>
                <c:pt idx="4520">
                  <c:v>3.4943</c:v>
                </c:pt>
                <c:pt idx="4521">
                  <c:v>2.8555199999999998</c:v>
                </c:pt>
                <c:pt idx="4522">
                  <c:v>#N/A</c:v>
                </c:pt>
                <c:pt idx="4523">
                  <c:v>2.3981499999999998</c:v>
                </c:pt>
                <c:pt idx="4524">
                  <c:v>1.9057500000000001</c:v>
                </c:pt>
                <c:pt idx="4525">
                  <c:v>2.9167399999999999</c:v>
                </c:pt>
                <c:pt idx="4526">
                  <c:v>#N/A</c:v>
                </c:pt>
                <c:pt idx="4527">
                  <c:v>2.83473</c:v>
                </c:pt>
                <c:pt idx="4528">
                  <c:v>3.6331099999999998</c:v>
                </c:pt>
                <c:pt idx="4529">
                  <c:v>3.3138200000000002</c:v>
                </c:pt>
                <c:pt idx="4530">
                  <c:v>#N/A</c:v>
                </c:pt>
                <c:pt idx="4531">
                  <c:v>2.8211599999999999</c:v>
                </c:pt>
                <c:pt idx="4532">
                  <c:v>2.7857699999999999</c:v>
                </c:pt>
                <c:pt idx="4533">
                  <c:v>#N/A</c:v>
                </c:pt>
                <c:pt idx="4534">
                  <c:v>2.34212</c:v>
                </c:pt>
                <c:pt idx="4535">
                  <c:v>1.9345699999999999</c:v>
                </c:pt>
                <c:pt idx="4536">
                  <c:v>2.1513599999999999</c:v>
                </c:pt>
                <c:pt idx="4537">
                  <c:v>#N/A</c:v>
                </c:pt>
                <c:pt idx="4538">
                  <c:v>2.8302700000000001</c:v>
                </c:pt>
                <c:pt idx="4539">
                  <c:v>3.7054</c:v>
                </c:pt>
                <c:pt idx="4540">
                  <c:v>3.43621</c:v>
                </c:pt>
                <c:pt idx="4541">
                  <c:v>#N/A</c:v>
                </c:pt>
                <c:pt idx="4542">
                  <c:v>2.7040899999999999</c:v>
                </c:pt>
                <c:pt idx="4543">
                  <c:v>2.0986400000000001</c:v>
                </c:pt>
                <c:pt idx="4544">
                  <c:v>2.20377</c:v>
                </c:pt>
                <c:pt idx="4545">
                  <c:v>#N/A</c:v>
                </c:pt>
                <c:pt idx="4546">
                  <c:v>2.7686199999999999</c:v>
                </c:pt>
                <c:pt idx="4547">
                  <c:v>2.9569899999999998</c:v>
                </c:pt>
                <c:pt idx="4548">
                  <c:v>3.1831800000000001</c:v>
                </c:pt>
                <c:pt idx="4549">
                  <c:v>#N/A</c:v>
                </c:pt>
                <c:pt idx="4550">
                  <c:v>3.6218900000000001</c:v>
                </c:pt>
                <c:pt idx="4551">
                  <c:v>3.8081700000000001</c:v>
                </c:pt>
                <c:pt idx="4552">
                  <c:v>#N/A</c:v>
                </c:pt>
                <c:pt idx="4553">
                  <c:v>2.9950199999999998</c:v>
                </c:pt>
                <c:pt idx="4554">
                  <c:v>2.8125</c:v>
                </c:pt>
                <c:pt idx="4555">
                  <c:v>2.3149799999999998</c:v>
                </c:pt>
                <c:pt idx="4556">
                  <c:v>#N/A</c:v>
                </c:pt>
                <c:pt idx="4557">
                  <c:v>2.6445599999999998</c:v>
                </c:pt>
                <c:pt idx="4558">
                  <c:v>3.1799900000000001</c:v>
                </c:pt>
                <c:pt idx="4559">
                  <c:v>2.3995000000000002</c:v>
                </c:pt>
                <c:pt idx="4560">
                  <c:v>#N/A</c:v>
                </c:pt>
                <c:pt idx="4561">
                  <c:v>2.9290500000000002</c:v>
                </c:pt>
                <c:pt idx="4562">
                  <c:v>2.7077499999999999</c:v>
                </c:pt>
                <c:pt idx="4563">
                  <c:v>2.9235899999999999</c:v>
                </c:pt>
                <c:pt idx="4564">
                  <c:v>#N/A</c:v>
                </c:pt>
                <c:pt idx="4565">
                  <c:v>2.3793199999999999</c:v>
                </c:pt>
                <c:pt idx="4566">
                  <c:v>1.95557</c:v>
                </c:pt>
                <c:pt idx="4567">
                  <c:v>2.4425599999999998</c:v>
                </c:pt>
                <c:pt idx="4568">
                  <c:v>#N/A</c:v>
                </c:pt>
                <c:pt idx="4569">
                  <c:v>2.5341200000000002</c:v>
                </c:pt>
                <c:pt idx="4570">
                  <c:v>3.3491499999999998</c:v>
                </c:pt>
                <c:pt idx="4571">
                  <c:v>3.10392</c:v>
                </c:pt>
                <c:pt idx="4572">
                  <c:v>#N/A</c:v>
                </c:pt>
                <c:pt idx="4573">
                  <c:v>2.8008199999999999</c:v>
                </c:pt>
                <c:pt idx="4574">
                  <c:v>2.2795299999999998</c:v>
                </c:pt>
                <c:pt idx="4575">
                  <c:v>#N/A</c:v>
                </c:pt>
                <c:pt idx="4576">
                  <c:v>2.6238100000000002</c:v>
                </c:pt>
                <c:pt idx="4577">
                  <c:v>2.2770000000000001</c:v>
                </c:pt>
                <c:pt idx="4578">
                  <c:v>2.6267800000000001</c:v>
                </c:pt>
                <c:pt idx="4579">
                  <c:v>#N/A</c:v>
                </c:pt>
                <c:pt idx="4580">
                  <c:v>2.7572399999999999</c:v>
                </c:pt>
                <c:pt idx="4581">
                  <c:v>3.0089700000000001</c:v>
                </c:pt>
                <c:pt idx="4582">
                  <c:v>2.5768300000000002</c:v>
                </c:pt>
                <c:pt idx="4583">
                  <c:v>#N/A</c:v>
                </c:pt>
                <c:pt idx="4584">
                  <c:v>2.3758599999999999</c:v>
                </c:pt>
                <c:pt idx="4585">
                  <c:v>2.0358700000000001</c:v>
                </c:pt>
                <c:pt idx="4586">
                  <c:v>#N/A</c:v>
                </c:pt>
                <c:pt idx="4587">
                  <c:v>1.92435</c:v>
                </c:pt>
                <c:pt idx="4588">
                  <c:v>2.03634</c:v>
                </c:pt>
                <c:pt idx="4589">
                  <c:v>2.6964000000000001</c:v>
                </c:pt>
                <c:pt idx="4590">
                  <c:v>#N/A</c:v>
                </c:pt>
                <c:pt idx="4591">
                  <c:v>3.3232300000000001</c:v>
                </c:pt>
                <c:pt idx="4592">
                  <c:v>3.29237</c:v>
                </c:pt>
                <c:pt idx="4593">
                  <c:v>3.29393</c:v>
                </c:pt>
                <c:pt idx="4594">
                  <c:v>#N/A</c:v>
                </c:pt>
                <c:pt idx="4595">
                  <c:v>2.9610300000000001</c:v>
                </c:pt>
                <c:pt idx="4596">
                  <c:v>2.0779399999999999</c:v>
                </c:pt>
                <c:pt idx="4597">
                  <c:v>1.7912699999999999</c:v>
                </c:pt>
                <c:pt idx="4598">
                  <c:v>#N/A</c:v>
                </c:pt>
                <c:pt idx="4599">
                  <c:v>1.90568</c:v>
                </c:pt>
                <c:pt idx="4600">
                  <c:v>2.8023099999999999</c:v>
                </c:pt>
                <c:pt idx="4601">
                  <c:v>2.9546600000000001</c:v>
                </c:pt>
                <c:pt idx="4602">
                  <c:v>#N/A</c:v>
                </c:pt>
                <c:pt idx="4603">
                  <c:v>3.0802200000000002</c:v>
                </c:pt>
                <c:pt idx="4604">
                  <c:v>3.0922200000000002</c:v>
                </c:pt>
                <c:pt idx="4605">
                  <c:v>#N/A</c:v>
                </c:pt>
                <c:pt idx="4606">
                  <c:v>2.2031100000000001</c:v>
                </c:pt>
                <c:pt idx="4607">
                  <c:v>2.42936</c:v>
                </c:pt>
                <c:pt idx="4608">
                  <c:v>1.7104900000000001</c:v>
                </c:pt>
                <c:pt idx="4609">
                  <c:v>#N/A</c:v>
                </c:pt>
                <c:pt idx="4610">
                  <c:v>2.36842</c:v>
                </c:pt>
                <c:pt idx="4611">
                  <c:v>3.0325099999999998</c:v>
                </c:pt>
                <c:pt idx="4612">
                  <c:v>3.4999699999999998</c:v>
                </c:pt>
                <c:pt idx="4613">
                  <c:v>#N/A</c:v>
                </c:pt>
                <c:pt idx="4614">
                  <c:v>3.3256399999999999</c:v>
                </c:pt>
                <c:pt idx="4615">
                  <c:v>2.5620500000000002</c:v>
                </c:pt>
                <c:pt idx="4616">
                  <c:v>#N/A</c:v>
                </c:pt>
                <c:pt idx="4617">
                  <c:v>1.99072</c:v>
                </c:pt>
                <c:pt idx="4618">
                  <c:v>2.0002200000000001</c:v>
                </c:pt>
                <c:pt idx="4619">
                  <c:v>2.2692700000000001</c:v>
                </c:pt>
                <c:pt idx="4620">
                  <c:v>#N/A</c:v>
                </c:pt>
                <c:pt idx="4621">
                  <c:v>2.5662500000000001</c:v>
                </c:pt>
                <c:pt idx="4622">
                  <c:v>2.4950899999999998</c:v>
                </c:pt>
                <c:pt idx="4623">
                  <c:v>2.7210700000000001</c:v>
                </c:pt>
                <c:pt idx="4624">
                  <c:v>#N/A</c:v>
                </c:pt>
                <c:pt idx="4625">
                  <c:v>2.6280600000000001</c:v>
                </c:pt>
                <c:pt idx="4626">
                  <c:v>2.3723800000000002</c:v>
                </c:pt>
                <c:pt idx="4627">
                  <c:v>2.0681400000000001</c:v>
                </c:pt>
                <c:pt idx="4628">
                  <c:v>#N/A</c:v>
                </c:pt>
                <c:pt idx="4629">
                  <c:v>2.1240399999999999</c:v>
                </c:pt>
                <c:pt idx="4630">
                  <c:v>2.35338</c:v>
                </c:pt>
                <c:pt idx="4631">
                  <c:v>2.6313499999999999</c:v>
                </c:pt>
                <c:pt idx="4632">
                  <c:v>#N/A</c:v>
                </c:pt>
                <c:pt idx="4633">
                  <c:v>2.7749299999999999</c:v>
                </c:pt>
                <c:pt idx="4634">
                  <c:v>2.7067299999999999</c:v>
                </c:pt>
                <c:pt idx="4635">
                  <c:v>#N/A</c:v>
                </c:pt>
                <c:pt idx="4636">
                  <c:v>3.0897600000000001</c:v>
                </c:pt>
                <c:pt idx="4637">
                  <c:v>2.6194199999999999</c:v>
                </c:pt>
                <c:pt idx="4638">
                  <c:v>2.10697</c:v>
                </c:pt>
                <c:pt idx="4639">
                  <c:v>#N/A</c:v>
                </c:pt>
                <c:pt idx="4640">
                  <c:v>2.3415699999999999</c:v>
                </c:pt>
                <c:pt idx="4641">
                  <c:v>2.2937400000000001</c:v>
                </c:pt>
                <c:pt idx="4642">
                  <c:v>2.5001799999999998</c:v>
                </c:pt>
                <c:pt idx="4643">
                  <c:v>#N/A</c:v>
                </c:pt>
                <c:pt idx="4644">
                  <c:v>2.7004899999999998</c:v>
                </c:pt>
                <c:pt idx="4645">
                  <c:v>3.0508600000000001</c:v>
                </c:pt>
                <c:pt idx="4646">
                  <c:v>2.40951</c:v>
                </c:pt>
                <c:pt idx="4647">
                  <c:v>#N/A</c:v>
                </c:pt>
                <c:pt idx="4648">
                  <c:v>1.8701000000000001</c:v>
                </c:pt>
                <c:pt idx="4649">
                  <c:v>2.0607899999999999</c:v>
                </c:pt>
                <c:pt idx="4650">
                  <c:v>2.38042</c:v>
                </c:pt>
                <c:pt idx="4651">
                  <c:v>#N/A</c:v>
                </c:pt>
                <c:pt idx="4652">
                  <c:v>2.77271</c:v>
                </c:pt>
                <c:pt idx="4653">
                  <c:v>#N/A</c:v>
                </c:pt>
                <c:pt idx="4654">
                  <c:v>3.1676700000000002</c:v>
                </c:pt>
                <c:pt idx="4655">
                  <c:v>3.4327100000000002</c:v>
                </c:pt>
                <c:pt idx="4656">
                  <c:v>#N/A</c:v>
                </c:pt>
                <c:pt idx="4657">
                  <c:v>2.7485400000000002</c:v>
                </c:pt>
                <c:pt idx="4658">
                  <c:v>2.1825299999999999</c:v>
                </c:pt>
                <c:pt idx="4659">
                  <c:v>#N/A</c:v>
                </c:pt>
                <c:pt idx="4660">
                  <c:v>1.98624</c:v>
                </c:pt>
                <c:pt idx="4661">
                  <c:v>1.9975000000000001</c:v>
                </c:pt>
                <c:pt idx="4662">
                  <c:v>2.5556899999999998</c:v>
                </c:pt>
                <c:pt idx="4663">
                  <c:v>#N/A</c:v>
                </c:pt>
                <c:pt idx="4664">
                  <c:v>2.50658</c:v>
                </c:pt>
                <c:pt idx="4665">
                  <c:v>2.9735800000000001</c:v>
                </c:pt>
                <c:pt idx="4666">
                  <c:v>3.0635400000000002</c:v>
                </c:pt>
                <c:pt idx="4667">
                  <c:v>#N/A</c:v>
                </c:pt>
                <c:pt idx="4668">
                  <c:v>3.10948</c:v>
                </c:pt>
                <c:pt idx="4669">
                  <c:v>2.01451</c:v>
                </c:pt>
                <c:pt idx="4670">
                  <c:v>1.86873</c:v>
                </c:pt>
                <c:pt idx="4671">
                  <c:v>#N/A</c:v>
                </c:pt>
                <c:pt idx="4672">
                  <c:v>2.1230699999999998</c:v>
                </c:pt>
                <c:pt idx="4673">
                  <c:v>2.8073100000000002</c:v>
                </c:pt>
                <c:pt idx="4674">
                  <c:v>3.2080700000000002</c:v>
                </c:pt>
                <c:pt idx="4675">
                  <c:v>#N/A</c:v>
                </c:pt>
                <c:pt idx="4676">
                  <c:v>3.0555699999999999</c:v>
                </c:pt>
                <c:pt idx="4677">
                  <c:v>2.2924799999999999</c:v>
                </c:pt>
                <c:pt idx="4678">
                  <c:v>2.5184600000000001</c:v>
                </c:pt>
                <c:pt idx="4679">
                  <c:v>#N/A</c:v>
                </c:pt>
                <c:pt idx="4680">
                  <c:v>2.6575099999999998</c:v>
                </c:pt>
                <c:pt idx="4681">
                  <c:v>1.89564</c:v>
                </c:pt>
                <c:pt idx="4682">
                  <c:v>2.0222500000000001</c:v>
                </c:pt>
                <c:pt idx="4683">
                  <c:v>#N/A</c:v>
                </c:pt>
                <c:pt idx="4684">
                  <c:v>2.5932400000000002</c:v>
                </c:pt>
                <c:pt idx="4685">
                  <c:v>2.6501000000000001</c:v>
                </c:pt>
                <c:pt idx="4686">
                  <c:v>2.51275</c:v>
                </c:pt>
                <c:pt idx="4687">
                  <c:v>#N/A</c:v>
                </c:pt>
                <c:pt idx="4688">
                  <c:v>2.3715199999999999</c:v>
                </c:pt>
                <c:pt idx="4689">
                  <c:v>2.47221</c:v>
                </c:pt>
                <c:pt idx="4690">
                  <c:v>#N/A</c:v>
                </c:pt>
                <c:pt idx="4691">
                  <c:v>2.2001900000000001</c:v>
                </c:pt>
                <c:pt idx="4692">
                  <c:v>2.2013500000000001</c:v>
                </c:pt>
                <c:pt idx="4693">
                  <c:v>2.2730000000000001</c:v>
                </c:pt>
                <c:pt idx="4694">
                  <c:v>#N/A</c:v>
                </c:pt>
                <c:pt idx="4695">
                  <c:v>2.6953900000000002</c:v>
                </c:pt>
                <c:pt idx="4696">
                  <c:v>3.1703600000000001</c:v>
                </c:pt>
                <c:pt idx="4697">
                  <c:v>3.5435300000000001</c:v>
                </c:pt>
                <c:pt idx="4698">
                  <c:v>#N/A</c:v>
                </c:pt>
                <c:pt idx="4699">
                  <c:v>2.8619400000000002</c:v>
                </c:pt>
                <c:pt idx="4700">
                  <c:v>2.0537999999999998</c:v>
                </c:pt>
                <c:pt idx="4701">
                  <c:v>1.93072</c:v>
                </c:pt>
                <c:pt idx="4702">
                  <c:v>#N/A</c:v>
                </c:pt>
                <c:pt idx="4703">
                  <c:v>1.75376</c:v>
                </c:pt>
                <c:pt idx="4704">
                  <c:v>2.5516800000000002</c:v>
                </c:pt>
                <c:pt idx="4705">
                  <c:v>2.67761</c:v>
                </c:pt>
                <c:pt idx="4706">
                  <c:v>#N/A</c:v>
                </c:pt>
                <c:pt idx="4707">
                  <c:v>2.51824</c:v>
                </c:pt>
                <c:pt idx="4708">
                  <c:v>2.4750100000000002</c:v>
                </c:pt>
                <c:pt idx="4709">
                  <c:v>2.95505</c:v>
                </c:pt>
                <c:pt idx="4710">
                  <c:v>#N/A</c:v>
                </c:pt>
                <c:pt idx="4711">
                  <c:v>2.3536299999999999</c:v>
                </c:pt>
                <c:pt idx="4712">
                  <c:v>1.8444100000000001</c:v>
                </c:pt>
                <c:pt idx="4713">
                  <c:v>1.9859100000000001</c:v>
                </c:pt>
                <c:pt idx="4714">
                  <c:v>#N/A</c:v>
                </c:pt>
                <c:pt idx="4715">
                  <c:v>2.0659700000000001</c:v>
                </c:pt>
                <c:pt idx="4716">
                  <c:v>3.4228700000000001</c:v>
                </c:pt>
                <c:pt idx="4717">
                  <c:v>2.8422399999999999</c:v>
                </c:pt>
                <c:pt idx="4718">
                  <c:v>#N/A</c:v>
                </c:pt>
                <c:pt idx="4719">
                  <c:v>2.8851</c:v>
                </c:pt>
                <c:pt idx="4720">
                  <c:v>3.1463199999999998</c:v>
                </c:pt>
                <c:pt idx="4721">
                  <c:v>#N/A</c:v>
                </c:pt>
                <c:pt idx="4722">
                  <c:v>2.3255499999999998</c:v>
                </c:pt>
                <c:pt idx="4723">
                  <c:v>1.80643</c:v>
                </c:pt>
                <c:pt idx="4724">
                  <c:v>1.8062499999999999</c:v>
                </c:pt>
                <c:pt idx="4725">
                  <c:v>#N/A</c:v>
                </c:pt>
                <c:pt idx="4726">
                  <c:v>3.0256500000000002</c:v>
                </c:pt>
                <c:pt idx="4727">
                  <c:v>#N/A</c:v>
                </c:pt>
                <c:pt idx="4728">
                  <c:v>3.1153400000000002</c:v>
                </c:pt>
                <c:pt idx="4729">
                  <c:v>2.5400499999999999</c:v>
                </c:pt>
                <c:pt idx="4730">
                  <c:v>#N/A</c:v>
                </c:pt>
                <c:pt idx="4731">
                  <c:v>2.0442800000000001</c:v>
                </c:pt>
                <c:pt idx="4732">
                  <c:v>2.3635999999999999</c:v>
                </c:pt>
                <c:pt idx="4733">
                  <c:v>2.4434999999999998</c:v>
                </c:pt>
                <c:pt idx="4734">
                  <c:v>#N/A</c:v>
                </c:pt>
                <c:pt idx="4735">
                  <c:v>3.1327400000000001</c:v>
                </c:pt>
                <c:pt idx="4736">
                  <c:v>3.1527500000000002</c:v>
                </c:pt>
                <c:pt idx="4737">
                  <c:v>3.8098299999999998</c:v>
                </c:pt>
                <c:pt idx="4738">
                  <c:v>#N/A</c:v>
                </c:pt>
                <c:pt idx="4739">
                  <c:v>2.9128099999999999</c:v>
                </c:pt>
                <c:pt idx="4740">
                  <c:v>3.1104400000000001</c:v>
                </c:pt>
                <c:pt idx="4741">
                  <c:v>2.4746700000000001</c:v>
                </c:pt>
                <c:pt idx="4742">
                  <c:v>#N/A</c:v>
                </c:pt>
                <c:pt idx="4743">
                  <c:v>1.7739799999999999</c:v>
                </c:pt>
                <c:pt idx="4744">
                  <c:v>2.23237</c:v>
                </c:pt>
                <c:pt idx="4745">
                  <c:v>2.3837199999999998</c:v>
                </c:pt>
                <c:pt idx="4746">
                  <c:v>#N/A</c:v>
                </c:pt>
                <c:pt idx="4747">
                  <c:v>3.1190000000000002</c:v>
                </c:pt>
                <c:pt idx="4748">
                  <c:v>2.8896500000000001</c:v>
                </c:pt>
                <c:pt idx="4749">
                  <c:v>#N/A</c:v>
                </c:pt>
                <c:pt idx="4750">
                  <c:v>3.0367700000000002</c:v>
                </c:pt>
                <c:pt idx="4751">
                  <c:v>2.5474399999999999</c:v>
                </c:pt>
                <c:pt idx="4752">
                  <c:v>2.0727099999999998</c:v>
                </c:pt>
                <c:pt idx="4753">
                  <c:v>#N/A</c:v>
                </c:pt>
                <c:pt idx="4754">
                  <c:v>2.1071599999999999</c:v>
                </c:pt>
                <c:pt idx="4755">
                  <c:v>1.6998500000000001</c:v>
                </c:pt>
                <c:pt idx="4756">
                  <c:v>2.6022099999999999</c:v>
                </c:pt>
                <c:pt idx="4757">
                  <c:v>#N/A</c:v>
                </c:pt>
                <c:pt idx="4758">
                  <c:v>3.3190300000000001</c:v>
                </c:pt>
                <c:pt idx="4759">
                  <c:v>3.6405599999999998</c:v>
                </c:pt>
                <c:pt idx="4760">
                  <c:v>3.7049799999999999</c:v>
                </c:pt>
                <c:pt idx="4761">
                  <c:v>#N/A</c:v>
                </c:pt>
                <c:pt idx="4762">
                  <c:v>3.3628300000000002</c:v>
                </c:pt>
                <c:pt idx="4763">
                  <c:v>2.8438400000000001</c:v>
                </c:pt>
                <c:pt idx="4764">
                  <c:v>2.89506</c:v>
                </c:pt>
                <c:pt idx="4765">
                  <c:v>#N/A</c:v>
                </c:pt>
                <c:pt idx="4766">
                  <c:v>2.5990099999999998</c:v>
                </c:pt>
                <c:pt idx="4767">
                  <c:v>2.2975599999999998</c:v>
                </c:pt>
                <c:pt idx="4768">
                  <c:v>2.0862699999999998</c:v>
                </c:pt>
                <c:pt idx="4769">
                  <c:v>#N/A</c:v>
                </c:pt>
                <c:pt idx="4770">
                  <c:v>2.78911</c:v>
                </c:pt>
                <c:pt idx="4771">
                  <c:v>2.9746199999999998</c:v>
                </c:pt>
                <c:pt idx="4772">
                  <c:v>3.10663</c:v>
                </c:pt>
                <c:pt idx="4773">
                  <c:v>#N/A</c:v>
                </c:pt>
                <c:pt idx="4774">
                  <c:v>2.4405399999999999</c:v>
                </c:pt>
                <c:pt idx="4775">
                  <c:v>2.1216300000000001</c:v>
                </c:pt>
                <c:pt idx="4776">
                  <c:v>2.5522200000000002</c:v>
                </c:pt>
                <c:pt idx="4777">
                  <c:v>#N/A</c:v>
                </c:pt>
                <c:pt idx="4778">
                  <c:v>2.32498</c:v>
                </c:pt>
                <c:pt idx="4779">
                  <c:v>3.2222599999999999</c:v>
                </c:pt>
                <c:pt idx="4780">
                  <c:v>#N/A</c:v>
                </c:pt>
                <c:pt idx="4781">
                  <c:v>3.6102699999999999</c:v>
                </c:pt>
                <c:pt idx="4782">
                  <c:v>3.00413</c:v>
                </c:pt>
                <c:pt idx="4783">
                  <c:v>2.8589000000000002</c:v>
                </c:pt>
                <c:pt idx="4784">
                  <c:v>#N/A</c:v>
                </c:pt>
                <c:pt idx="4785">
                  <c:v>2.2656900000000002</c:v>
                </c:pt>
                <c:pt idx="4786">
                  <c:v>2.4037999999999999</c:v>
                </c:pt>
                <c:pt idx="4787">
                  <c:v>2.42605</c:v>
                </c:pt>
                <c:pt idx="4788">
                  <c:v>#N/A</c:v>
                </c:pt>
                <c:pt idx="4789">
                  <c:v>2.9598399999999998</c:v>
                </c:pt>
                <c:pt idx="4790">
                  <c:v>3.01945</c:v>
                </c:pt>
                <c:pt idx="4791">
                  <c:v>#N/A</c:v>
                </c:pt>
                <c:pt idx="4792">
                  <c:v>2.5839799999999999</c:v>
                </c:pt>
                <c:pt idx="4793">
                  <c:v>2.58866</c:v>
                </c:pt>
                <c:pt idx="4794">
                  <c:v>2.51207</c:v>
                </c:pt>
                <c:pt idx="4795">
                  <c:v>#N/A</c:v>
                </c:pt>
                <c:pt idx="4796">
                  <c:v>2.23908</c:v>
                </c:pt>
                <c:pt idx="4797">
                  <c:v>2.2951000000000001</c:v>
                </c:pt>
                <c:pt idx="4798">
                  <c:v>2.3703599999999998</c:v>
                </c:pt>
                <c:pt idx="4799">
                  <c:v>#N/A</c:v>
                </c:pt>
                <c:pt idx="4800">
                  <c:v>3.1293899999999999</c:v>
                </c:pt>
                <c:pt idx="4801">
                  <c:v>3.5026899999999999</c:v>
                </c:pt>
                <c:pt idx="4802">
                  <c:v>#N/A</c:v>
                </c:pt>
                <c:pt idx="4803">
                  <c:v>2.7020900000000001</c:v>
                </c:pt>
                <c:pt idx="4804">
                  <c:v>2.4447000000000001</c:v>
                </c:pt>
                <c:pt idx="4805">
                  <c:v>1.9735499999999999</c:v>
                </c:pt>
                <c:pt idx="4806">
                  <c:v>#N/A</c:v>
                </c:pt>
                <c:pt idx="4807">
                  <c:v>2.7367599999999999</c:v>
                </c:pt>
                <c:pt idx="4808">
                  <c:v>2.5278</c:v>
                </c:pt>
                <c:pt idx="4809">
                  <c:v>2.8858600000000001</c:v>
                </c:pt>
                <c:pt idx="4810">
                  <c:v>#N/A</c:v>
                </c:pt>
                <c:pt idx="4811">
                  <c:v>2.7028699999999999</c:v>
                </c:pt>
                <c:pt idx="4812">
                  <c:v>2.7941099999999999</c:v>
                </c:pt>
                <c:pt idx="4813">
                  <c:v>2.5186999999999999</c:v>
                </c:pt>
                <c:pt idx="4814">
                  <c:v>#N/A</c:v>
                </c:pt>
                <c:pt idx="4815">
                  <c:v>2.1070799999999998</c:v>
                </c:pt>
                <c:pt idx="4816">
                  <c:v>2.1620699999999999</c:v>
                </c:pt>
                <c:pt idx="4817">
                  <c:v>2.24946</c:v>
                </c:pt>
                <c:pt idx="4818">
                  <c:v>#N/A</c:v>
                </c:pt>
                <c:pt idx="4819">
                  <c:v>3.1695000000000002</c:v>
                </c:pt>
                <c:pt idx="4820">
                  <c:v>3.2429100000000002</c:v>
                </c:pt>
                <c:pt idx="4821">
                  <c:v>3.6431200000000001</c:v>
                </c:pt>
                <c:pt idx="4822">
                  <c:v>#N/A</c:v>
                </c:pt>
                <c:pt idx="4823">
                  <c:v>3.75407</c:v>
                </c:pt>
                <c:pt idx="4824">
                  <c:v>2.4075299999999999</c:v>
                </c:pt>
                <c:pt idx="4825">
                  <c:v>#N/A</c:v>
                </c:pt>
                <c:pt idx="4826">
                  <c:v>1.9919800000000001</c:v>
                </c:pt>
                <c:pt idx="4827">
                  <c:v>1.61181</c:v>
                </c:pt>
                <c:pt idx="4828">
                  <c:v>1.9573799999999999</c:v>
                </c:pt>
                <c:pt idx="4829">
                  <c:v>#N/A</c:v>
                </c:pt>
                <c:pt idx="4830">
                  <c:v>2.6414300000000002</c:v>
                </c:pt>
                <c:pt idx="4831">
                  <c:v>2.6128</c:v>
                </c:pt>
                <c:pt idx="4832">
                  <c:v>2.9441899999999999</c:v>
                </c:pt>
                <c:pt idx="4833">
                  <c:v>#N/A</c:v>
                </c:pt>
                <c:pt idx="4834">
                  <c:v>2.16919</c:v>
                </c:pt>
                <c:pt idx="4835">
                  <c:v>2.0869800000000001</c:v>
                </c:pt>
                <c:pt idx="4836">
                  <c:v>1.9771099999999999</c:v>
                </c:pt>
                <c:pt idx="4837">
                  <c:v>#N/A</c:v>
                </c:pt>
                <c:pt idx="4838">
                  <c:v>1.33616</c:v>
                </c:pt>
                <c:pt idx="4839">
                  <c:v>1.5861400000000001</c:v>
                </c:pt>
                <c:pt idx="4840">
                  <c:v>#N/A</c:v>
                </c:pt>
                <c:pt idx="4841">
                  <c:v>2.17822</c:v>
                </c:pt>
                <c:pt idx="4842">
                  <c:v>2.6406499999999999</c:v>
                </c:pt>
                <c:pt idx="4843">
                  <c:v>3.06196</c:v>
                </c:pt>
                <c:pt idx="4844">
                  <c:v>#N/A</c:v>
                </c:pt>
                <c:pt idx="4845">
                  <c:v>2.9939</c:v>
                </c:pt>
                <c:pt idx="4846">
                  <c:v>3.1953399999999998</c:v>
                </c:pt>
                <c:pt idx="4847">
                  <c:v>2.5420500000000001</c:v>
                </c:pt>
                <c:pt idx="4848">
                  <c:v>#N/A</c:v>
                </c:pt>
                <c:pt idx="4849">
                  <c:v>2.27033</c:v>
                </c:pt>
                <c:pt idx="4850">
                  <c:v>2.1171000000000002</c:v>
                </c:pt>
                <c:pt idx="4851">
                  <c:v>#N/A</c:v>
                </c:pt>
                <c:pt idx="4852">
                  <c:v>2.3623599999999998</c:v>
                </c:pt>
                <c:pt idx="4853">
                  <c:v>2.6303399999999999</c:v>
                </c:pt>
                <c:pt idx="4854">
                  <c:v>3.3499400000000001</c:v>
                </c:pt>
                <c:pt idx="4855">
                  <c:v>#N/A</c:v>
                </c:pt>
                <c:pt idx="4856">
                  <c:v>3.2385000000000002</c:v>
                </c:pt>
                <c:pt idx="4857">
                  <c:v>2.6561300000000001</c:v>
                </c:pt>
                <c:pt idx="4858">
                  <c:v>2.7932999999999999</c:v>
                </c:pt>
                <c:pt idx="4859">
                  <c:v>#N/A</c:v>
                </c:pt>
                <c:pt idx="4860">
                  <c:v>2.3511799999999998</c:v>
                </c:pt>
                <c:pt idx="4861">
                  <c:v>2.6446700000000001</c:v>
                </c:pt>
                <c:pt idx="4862">
                  <c:v>3.0472199999999998</c:v>
                </c:pt>
                <c:pt idx="4863">
                  <c:v>#N/A</c:v>
                </c:pt>
                <c:pt idx="4864">
                  <c:v>2.91961</c:v>
                </c:pt>
                <c:pt idx="4865">
                  <c:v>2.5222099999999998</c:v>
                </c:pt>
                <c:pt idx="4866">
                  <c:v>2.4463900000000001</c:v>
                </c:pt>
                <c:pt idx="4867">
                  <c:v>#N/A</c:v>
                </c:pt>
                <c:pt idx="4868">
                  <c:v>2.9602900000000001</c:v>
                </c:pt>
                <c:pt idx="4869">
                  <c:v>2.3410600000000001</c:v>
                </c:pt>
                <c:pt idx="4870">
                  <c:v>2.2928899999999999</c:v>
                </c:pt>
                <c:pt idx="4871">
                  <c:v>#N/A</c:v>
                </c:pt>
                <c:pt idx="4872">
                  <c:v>2.6840299999999999</c:v>
                </c:pt>
                <c:pt idx="4873">
                  <c:v>2.3817699999999999</c:v>
                </c:pt>
                <c:pt idx="4874">
                  <c:v>2.7399900000000001</c:v>
                </c:pt>
                <c:pt idx="4875">
                  <c:v>#N/A</c:v>
                </c:pt>
                <c:pt idx="4876">
                  <c:v>2.6244900000000002</c:v>
                </c:pt>
                <c:pt idx="4877">
                  <c:v>#N/A</c:v>
                </c:pt>
                <c:pt idx="4878">
                  <c:v>2.0698400000000001</c:v>
                </c:pt>
                <c:pt idx="4879">
                  <c:v>2.2583000000000002</c:v>
                </c:pt>
                <c:pt idx="4880">
                  <c:v>#N/A</c:v>
                </c:pt>
                <c:pt idx="4881">
                  <c:v>2.5134400000000001</c:v>
                </c:pt>
                <c:pt idx="4882">
                  <c:v>2.95275</c:v>
                </c:pt>
                <c:pt idx="4883">
                  <c:v>#N/A</c:v>
                </c:pt>
                <c:pt idx="4884">
                  <c:v>3.8332999999999999</c:v>
                </c:pt>
                <c:pt idx="4885">
                  <c:v>2.8898899999999998</c:v>
                </c:pt>
                <c:pt idx="4886">
                  <c:v>#N/A</c:v>
                </c:pt>
                <c:pt idx="4887">
                  <c:v>2.3199299999999998</c:v>
                </c:pt>
                <c:pt idx="4888">
                  <c:v>1.92801</c:v>
                </c:pt>
                <c:pt idx="4889">
                  <c:v>1.9187099999999999</c:v>
                </c:pt>
                <c:pt idx="4890">
                  <c:v>#N/A</c:v>
                </c:pt>
                <c:pt idx="4891">
                  <c:v>2.21577</c:v>
                </c:pt>
                <c:pt idx="4892">
                  <c:v>2.9005299999999998</c:v>
                </c:pt>
                <c:pt idx="4893">
                  <c:v>3.0034399999999999</c:v>
                </c:pt>
                <c:pt idx="4894">
                  <c:v>#N/A</c:v>
                </c:pt>
                <c:pt idx="4895">
                  <c:v>3.15205</c:v>
                </c:pt>
                <c:pt idx="4896">
                  <c:v>3.2347800000000002</c:v>
                </c:pt>
                <c:pt idx="4897">
                  <c:v>2.1442000000000001</c:v>
                </c:pt>
                <c:pt idx="4898">
                  <c:v>#N/A</c:v>
                </c:pt>
                <c:pt idx="4899">
                  <c:v>1.79392</c:v>
                </c:pt>
                <c:pt idx="4900">
                  <c:v>1.63558</c:v>
                </c:pt>
                <c:pt idx="4901">
                  <c:v>2.4818500000000001</c:v>
                </c:pt>
                <c:pt idx="4902">
                  <c:v>#N/A</c:v>
                </c:pt>
                <c:pt idx="4903">
                  <c:v>2.7002100000000002</c:v>
                </c:pt>
                <c:pt idx="4904">
                  <c:v>3.4316499999999999</c:v>
                </c:pt>
                <c:pt idx="4905">
                  <c:v>3.3795299999999999</c:v>
                </c:pt>
                <c:pt idx="4906">
                  <c:v>#N/A</c:v>
                </c:pt>
                <c:pt idx="4907">
                  <c:v>3.9127100000000001</c:v>
                </c:pt>
                <c:pt idx="4908">
                  <c:v>3.28912</c:v>
                </c:pt>
                <c:pt idx="4909">
                  <c:v>2.6826500000000002</c:v>
                </c:pt>
                <c:pt idx="4910">
                  <c:v>#N/A</c:v>
                </c:pt>
                <c:pt idx="4911">
                  <c:v>2.1337799999999998</c:v>
                </c:pt>
                <c:pt idx="4912">
                  <c:v>1.5099199999999999</c:v>
                </c:pt>
                <c:pt idx="4913">
                  <c:v>2.1324000000000001</c:v>
                </c:pt>
                <c:pt idx="4914">
                  <c:v>#N/A</c:v>
                </c:pt>
                <c:pt idx="4915">
                  <c:v>2.5207899999999999</c:v>
                </c:pt>
                <c:pt idx="4916">
                  <c:v>2.85025</c:v>
                </c:pt>
                <c:pt idx="4917">
                  <c:v>#N/A</c:v>
                </c:pt>
                <c:pt idx="4918">
                  <c:v>2.70668</c:v>
                </c:pt>
                <c:pt idx="4919">
                  <c:v>2.5175999999999998</c:v>
                </c:pt>
                <c:pt idx="4920">
                  <c:v>2.50014</c:v>
                </c:pt>
                <c:pt idx="4921">
                  <c:v>#N/A</c:v>
                </c:pt>
                <c:pt idx="4922">
                  <c:v>2.01627</c:v>
                </c:pt>
                <c:pt idx="4923">
                  <c:v>2.3996900000000001</c:v>
                </c:pt>
                <c:pt idx="4924">
                  <c:v>2.86232</c:v>
                </c:pt>
                <c:pt idx="4925">
                  <c:v>#N/A</c:v>
                </c:pt>
                <c:pt idx="4926">
                  <c:v>3.0803400000000001</c:v>
                </c:pt>
                <c:pt idx="4927">
                  <c:v>3.3303199999999999</c:v>
                </c:pt>
                <c:pt idx="4928">
                  <c:v>3.3176199999999998</c:v>
                </c:pt>
                <c:pt idx="4929">
                  <c:v>#N/A</c:v>
                </c:pt>
                <c:pt idx="4930">
                  <c:v>3.1796600000000002</c:v>
                </c:pt>
                <c:pt idx="4931">
                  <c:v>3.0369199999999998</c:v>
                </c:pt>
                <c:pt idx="4932">
                  <c:v>#N/A</c:v>
                </c:pt>
                <c:pt idx="4933">
                  <c:v>2.5885500000000001</c:v>
                </c:pt>
                <c:pt idx="4934">
                  <c:v>2.1749499999999999</c:v>
                </c:pt>
                <c:pt idx="4935">
                  <c:v>2.3827799999999999</c:v>
                </c:pt>
                <c:pt idx="4936">
                  <c:v>#N/A</c:v>
                </c:pt>
                <c:pt idx="4937">
                  <c:v>2.66791</c:v>
                </c:pt>
                <c:pt idx="4938">
                  <c:v>2.3506100000000001</c:v>
                </c:pt>
                <c:pt idx="4939">
                  <c:v>2.3853300000000002</c:v>
                </c:pt>
                <c:pt idx="4940">
                  <c:v>#N/A</c:v>
                </c:pt>
                <c:pt idx="4941">
                  <c:v>1.6319999999999999</c:v>
                </c:pt>
                <c:pt idx="4942">
                  <c:v>3.5318099999999998E-2</c:v>
                </c:pt>
                <c:pt idx="4943">
                  <c:v>#N/A</c:v>
                </c:pt>
                <c:pt idx="4944">
                  <c:v>-0.83252700000000002</c:v>
                </c:pt>
                <c:pt idx="4945">
                  <c:v>-3.5551300000000001</c:v>
                </c:pt>
                <c:pt idx="4946">
                  <c:v>-5.34375</c:v>
                </c:pt>
                <c:pt idx="4947">
                  <c:v>#N/A</c:v>
                </c:pt>
                <c:pt idx="4948">
                  <c:v>-7.1607500000000002</c:v>
                </c:pt>
                <c:pt idx="4949">
                  <c:v>-8.4838199999999997</c:v>
                </c:pt>
                <c:pt idx="4950">
                  <c:v>-10.848100000000001</c:v>
                </c:pt>
                <c:pt idx="4951">
                  <c:v>#N/A</c:v>
                </c:pt>
                <c:pt idx="4952">
                  <c:v>-12.531700000000001</c:v>
                </c:pt>
                <c:pt idx="4953">
                  <c:v>-13.8743</c:v>
                </c:pt>
                <c:pt idx="4954">
                  <c:v>-14.8018</c:v>
                </c:pt>
                <c:pt idx="4955">
                  <c:v>#N/A</c:v>
                </c:pt>
                <c:pt idx="4956">
                  <c:v>-16.195799999999998</c:v>
                </c:pt>
                <c:pt idx="4957">
                  <c:v>-16.921099999999999</c:v>
                </c:pt>
                <c:pt idx="4958">
                  <c:v>-17.056100000000001</c:v>
                </c:pt>
                <c:pt idx="4959">
                  <c:v>#N/A</c:v>
                </c:pt>
                <c:pt idx="4960">
                  <c:v>-17.633400000000002</c:v>
                </c:pt>
                <c:pt idx="4961">
                  <c:v>-16.587199999999999</c:v>
                </c:pt>
                <c:pt idx="4962">
                  <c:v>-15.0837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0.20864199999999999</c:v>
                </c:pt>
                <c:pt idx="5035">
                  <c:v>#N/A</c:v>
                </c:pt>
                <c:pt idx="5036">
                  <c:v>9.5684900000000003E-2</c:v>
                </c:pt>
                <c:pt idx="5037">
                  <c:v>0.26019399999999998</c:v>
                </c:pt>
                <c:pt idx="5038">
                  <c:v>1.3333599999999999E-2</c:v>
                </c:pt>
                <c:pt idx="5039">
                  <c:v>#N/A</c:v>
                </c:pt>
                <c:pt idx="5040">
                  <c:v>-5.1041700000000002E-2</c:v>
                </c:pt>
                <c:pt idx="5041">
                  <c:v>-0.106798</c:v>
                </c:pt>
                <c:pt idx="5042">
                  <c:v>-5.62748E-2</c:v>
                </c:pt>
                <c:pt idx="5043">
                  <c:v>#N/A</c:v>
                </c:pt>
                <c:pt idx="5044">
                  <c:v>-0.35580800000000001</c:v>
                </c:pt>
                <c:pt idx="5045">
                  <c:v>-0.35569800000000001</c:v>
                </c:pt>
                <c:pt idx="5046">
                  <c:v>#N/A</c:v>
                </c:pt>
                <c:pt idx="5047">
                  <c:v>-0.71973799999999999</c:v>
                </c:pt>
                <c:pt idx="5048">
                  <c:v>-0.47891</c:v>
                </c:pt>
                <c:pt idx="5049">
                  <c:v>-0.74851000000000001</c:v>
                </c:pt>
                <c:pt idx="5050">
                  <c:v>#N/A</c:v>
                </c:pt>
                <c:pt idx="5051">
                  <c:v>-2.6421999999999999</c:v>
                </c:pt>
                <c:pt idx="5052">
                  <c:v>-4.109</c:v>
                </c:pt>
                <c:pt idx="5053">
                  <c:v>-5.6842600000000001</c:v>
                </c:pt>
                <c:pt idx="5054">
                  <c:v>#N/A</c:v>
                </c:pt>
                <c:pt idx="5055">
                  <c:v>-7.0939800000000002</c:v>
                </c:pt>
                <c:pt idx="5056">
                  <c:v>-8.9533900000000006</c:v>
                </c:pt>
                <c:pt idx="5057">
                  <c:v>-10.2342</c:v>
                </c:pt>
                <c:pt idx="5058">
                  <c:v>#N/A</c:v>
                </c:pt>
                <c:pt idx="5059">
                  <c:v>-11.572100000000001</c:v>
                </c:pt>
                <c:pt idx="5060">
                  <c:v>-12.935700000000001</c:v>
                </c:pt>
                <c:pt idx="5061">
                  <c:v>-14.305899999999999</c:v>
                </c:pt>
                <c:pt idx="5062">
                  <c:v>#N/A</c:v>
                </c:pt>
                <c:pt idx="5063">
                  <c:v>-16.848199999999999</c:v>
                </c:pt>
                <c:pt idx="5064">
                  <c:v>-17.470300000000002</c:v>
                </c:pt>
                <c:pt idx="5065">
                  <c:v>-18.692599999999999</c:v>
                </c:pt>
                <c:pt idx="5066">
                  <c:v>#N/A</c:v>
                </c:pt>
                <c:pt idx="5067">
                  <c:v>-18.994700000000002</c:v>
                </c:pt>
                <c:pt idx="5068">
                  <c:v>-19.515000000000001</c:v>
                </c:pt>
                <c:pt idx="5069">
                  <c:v>-19.2088</c:v>
                </c:pt>
                <c:pt idx="5070">
                  <c:v>#N/A</c:v>
                </c:pt>
                <c:pt idx="5071">
                  <c:v>-19.5623</c:v>
                </c:pt>
                <c:pt idx="5072">
                  <c:v>-19.6035</c:v>
                </c:pt>
                <c:pt idx="5073">
                  <c:v>-18.174600000000002</c:v>
                </c:pt>
                <c:pt idx="5074">
                  <c:v>#N/A</c:v>
                </c:pt>
                <c:pt idx="5075">
                  <c:v>-17.724299999999999</c:v>
                </c:pt>
                <c:pt idx="5076">
                  <c:v>-17.876100000000001</c:v>
                </c:pt>
                <c:pt idx="5077">
                  <c:v>#N/A</c:v>
                </c:pt>
                <c:pt idx="5078">
                  <c:v>-16.967700000000001</c:v>
                </c:pt>
                <c:pt idx="5079">
                  <c:v>-16.9025</c:v>
                </c:pt>
                <c:pt idx="5080">
                  <c:v>-16.780899999999999</c:v>
                </c:pt>
                <c:pt idx="5081">
                  <c:v>#N/A</c:v>
                </c:pt>
                <c:pt idx="5082">
                  <c:v>-16.308800000000002</c:v>
                </c:pt>
                <c:pt idx="5083">
                  <c:v>-15.9869</c:v>
                </c:pt>
                <c:pt idx="5084">
                  <c:v>-14.324199999999999</c:v>
                </c:pt>
                <c:pt idx="5085">
                  <c:v>#N/A</c:v>
                </c:pt>
                <c:pt idx="5086">
                  <c:v>-12.533200000000001</c:v>
                </c:pt>
                <c:pt idx="5087">
                  <c:v>-11.166399999999999</c:v>
                </c:pt>
                <c:pt idx="5088">
                  <c:v>-8.7561999999999998</c:v>
                </c:pt>
                <c:pt idx="5089">
                  <c:v>#N/A</c:v>
                </c:pt>
                <c:pt idx="5090">
                  <c:v>-6.9710599999999996</c:v>
                </c:pt>
                <c:pt idx="5091">
                  <c:v>-6.2535699999999999</c:v>
                </c:pt>
                <c:pt idx="5092">
                  <c:v>-6.0350900000000003</c:v>
                </c:pt>
                <c:pt idx="5093">
                  <c:v>#N/A</c:v>
                </c:pt>
                <c:pt idx="5094">
                  <c:v>-4.6941100000000002</c:v>
                </c:pt>
                <c:pt idx="5095">
                  <c:v>-4.1389699999999996</c:v>
                </c:pt>
                <c:pt idx="5096">
                  <c:v>#N/A</c:v>
                </c:pt>
                <c:pt idx="5097">
                  <c:v>-3.5764499999999999</c:v>
                </c:pt>
                <c:pt idx="5098">
                  <c:v>-3.1265399999999999</c:v>
                </c:pt>
                <c:pt idx="5099">
                  <c:v>-1.7401</c:v>
                </c:pt>
                <c:pt idx="5100">
                  <c:v>#N/A</c:v>
                </c:pt>
                <c:pt idx="5101">
                  <c:v>-1.08049</c:v>
                </c:pt>
                <c:pt idx="5102">
                  <c:v>-2.1719400000000002</c:v>
                </c:pt>
                <c:pt idx="5103">
                  <c:v>#N/A</c:v>
                </c:pt>
                <c:pt idx="5104">
                  <c:v>-2.1855799999999999</c:v>
                </c:pt>
                <c:pt idx="5105">
                  <c:v>#N/A</c:v>
                </c:pt>
                <c:pt idx="5106">
                  <c:v>-1.9958199999999999</c:v>
                </c:pt>
                <c:pt idx="5107">
                  <c:v>-2.1709499999999999</c:v>
                </c:pt>
                <c:pt idx="5108">
                  <c:v>#N/A</c:v>
                </c:pt>
                <c:pt idx="5109">
                  <c:v>-2.6812</c:v>
                </c:pt>
                <c:pt idx="5110">
                  <c:v>-1.73624</c:v>
                </c:pt>
                <c:pt idx="5111">
                  <c:v>-1.53634</c:v>
                </c:pt>
                <c:pt idx="5112">
                  <c:v>#N/A</c:v>
                </c:pt>
                <c:pt idx="5113">
                  <c:v>-1.4240299999999999</c:v>
                </c:pt>
                <c:pt idx="5114">
                  <c:v>-1.41849</c:v>
                </c:pt>
                <c:pt idx="5115">
                  <c:v>-2.4529000000000001</c:v>
                </c:pt>
                <c:pt idx="5116">
                  <c:v>#N/A</c:v>
                </c:pt>
                <c:pt idx="5117">
                  <c:v>-2.9390299999999998</c:v>
                </c:pt>
                <c:pt idx="5118">
                  <c:v>-2.9459200000000001</c:v>
                </c:pt>
                <c:pt idx="5119">
                  <c:v>-2.48983</c:v>
                </c:pt>
                <c:pt idx="5120">
                  <c:v>#N/A</c:v>
                </c:pt>
                <c:pt idx="5121">
                  <c:v>-2.67496</c:v>
                </c:pt>
                <c:pt idx="5122">
                  <c:v>-2.4911400000000001</c:v>
                </c:pt>
                <c:pt idx="5123">
                  <c:v>-2.9670999999999998</c:v>
                </c:pt>
                <c:pt idx="5124">
                  <c:v>#N/A</c:v>
                </c:pt>
                <c:pt idx="5125">
                  <c:v>-3.2914099999999999</c:v>
                </c:pt>
                <c:pt idx="5126">
                  <c:v>-3.2674799999999999</c:v>
                </c:pt>
                <c:pt idx="5127">
                  <c:v>#N/A</c:v>
                </c:pt>
                <c:pt idx="5128">
                  <c:v>-3.1525300000000001</c:v>
                </c:pt>
                <c:pt idx="5129">
                  <c:v>-2.8325100000000001</c:v>
                </c:pt>
                <c:pt idx="5130">
                  <c:v>-2.69353</c:v>
                </c:pt>
                <c:pt idx="5131">
                  <c:v>#N/A</c:v>
                </c:pt>
                <c:pt idx="5132">
                  <c:v>-2.1800600000000001</c:v>
                </c:pt>
                <c:pt idx="5133">
                  <c:v>-2.1006399999999998</c:v>
                </c:pt>
                <c:pt idx="5134">
                  <c:v>-2.4485899999999998</c:v>
                </c:pt>
                <c:pt idx="5135">
                  <c:v>#N/A</c:v>
                </c:pt>
                <c:pt idx="5136">
                  <c:v>-2.7277</c:v>
                </c:pt>
                <c:pt idx="5137">
                  <c:v>-2.8643200000000002</c:v>
                </c:pt>
                <c:pt idx="5138">
                  <c:v>-3.3456999999999999</c:v>
                </c:pt>
                <c:pt idx="5139">
                  <c:v>#N/A</c:v>
                </c:pt>
                <c:pt idx="5140">
                  <c:v>-3.32979</c:v>
                </c:pt>
                <c:pt idx="5141">
                  <c:v>-2.59518</c:v>
                </c:pt>
                <c:pt idx="5142">
                  <c:v>-2.0209899999999998</c:v>
                </c:pt>
                <c:pt idx="5143">
                  <c:v>#N/A</c:v>
                </c:pt>
                <c:pt idx="5144">
                  <c:v>-1.7003900000000001</c:v>
                </c:pt>
                <c:pt idx="5145">
                  <c:v>-1.93771</c:v>
                </c:pt>
                <c:pt idx="5146">
                  <c:v>-2.54704</c:v>
                </c:pt>
                <c:pt idx="5147">
                  <c:v>#N/A</c:v>
                </c:pt>
                <c:pt idx="5148">
                  <c:v>-2.8091300000000001</c:v>
                </c:pt>
                <c:pt idx="5149">
                  <c:v>-3.3386399999999998</c:v>
                </c:pt>
                <c:pt idx="5150">
                  <c:v>-2.51546</c:v>
                </c:pt>
                <c:pt idx="5151">
                  <c:v>#N/A</c:v>
                </c:pt>
                <c:pt idx="5152">
                  <c:v>-2.6576499999999998</c:v>
                </c:pt>
                <c:pt idx="5153">
                  <c:v>-2.12547</c:v>
                </c:pt>
                <c:pt idx="5154">
                  <c:v>-1.4776800000000001</c:v>
                </c:pt>
                <c:pt idx="5155">
                  <c:v>#N/A</c:v>
                </c:pt>
                <c:pt idx="5156">
                  <c:v>-1.49234</c:v>
                </c:pt>
                <c:pt idx="5157">
                  <c:v>-2.7386200000000001</c:v>
                </c:pt>
                <c:pt idx="5158">
                  <c:v>-2.7106400000000002</c:v>
                </c:pt>
                <c:pt idx="5159">
                  <c:v>#N/A</c:v>
                </c:pt>
                <c:pt idx="5160">
                  <c:v>-3.03396</c:v>
                </c:pt>
                <c:pt idx="5161">
                  <c:v>-3.3049499999999998</c:v>
                </c:pt>
                <c:pt idx="5162">
                  <c:v>-2.6247600000000002</c:v>
                </c:pt>
                <c:pt idx="5163">
                  <c:v>#N/A</c:v>
                </c:pt>
                <c:pt idx="5164">
                  <c:v>-2.4538700000000002</c:v>
                </c:pt>
                <c:pt idx="5165">
                  <c:v>-2.14879</c:v>
                </c:pt>
                <c:pt idx="5166">
                  <c:v>-2.1629399999999999</c:v>
                </c:pt>
                <c:pt idx="5167">
                  <c:v>#N/A</c:v>
                </c:pt>
                <c:pt idx="5168">
                  <c:v>-2.0415299999999998</c:v>
                </c:pt>
                <c:pt idx="5169">
                  <c:v>-2.8180200000000002</c:v>
                </c:pt>
                <c:pt idx="5170">
                  <c:v>#N/A</c:v>
                </c:pt>
                <c:pt idx="5171">
                  <c:v>-2.9838300000000002</c:v>
                </c:pt>
                <c:pt idx="5172">
                  <c:v>-2.7209099999999999</c:v>
                </c:pt>
                <c:pt idx="5173">
                  <c:v>-2.5505399999999998</c:v>
                </c:pt>
                <c:pt idx="5174">
                  <c:v>#N/A</c:v>
                </c:pt>
                <c:pt idx="5175">
                  <c:v>-2.5031400000000001</c:v>
                </c:pt>
                <c:pt idx="5176">
                  <c:v>-1.8808499999999999</c:v>
                </c:pt>
                <c:pt idx="5177">
                  <c:v>#N/A</c:v>
                </c:pt>
                <c:pt idx="5178">
                  <c:v>-2.5879300000000001</c:v>
                </c:pt>
                <c:pt idx="5179">
                  <c:v>-2.46529</c:v>
                </c:pt>
                <c:pt idx="5180">
                  <c:v>#N/A</c:v>
                </c:pt>
                <c:pt idx="5181">
                  <c:v>-2.4123800000000002</c:v>
                </c:pt>
                <c:pt idx="5182">
                  <c:v>#N/A</c:v>
                </c:pt>
                <c:pt idx="5183">
                  <c:v>-2.3791899999999999</c:v>
                </c:pt>
                <c:pt idx="5184">
                  <c:v>-2.0755400000000002</c:v>
                </c:pt>
                <c:pt idx="5185">
                  <c:v>-1.7995099999999999</c:v>
                </c:pt>
                <c:pt idx="5186">
                  <c:v>#N/A</c:v>
                </c:pt>
                <c:pt idx="5187">
                  <c:v>-2.4827400000000002</c:v>
                </c:pt>
                <c:pt idx="5188">
                  <c:v>-2.9363000000000001</c:v>
                </c:pt>
                <c:pt idx="5189">
                  <c:v>-2.8054199999999998</c:v>
                </c:pt>
                <c:pt idx="5190">
                  <c:v>#N/A</c:v>
                </c:pt>
                <c:pt idx="5191">
                  <c:v>-2.45906</c:v>
                </c:pt>
                <c:pt idx="5192">
                  <c:v>-2.0636399999999999</c:v>
                </c:pt>
                <c:pt idx="5193">
                  <c:v>-2.0977999999999999</c:v>
                </c:pt>
                <c:pt idx="5194">
                  <c:v>#N/A</c:v>
                </c:pt>
                <c:pt idx="5195">
                  <c:v>-1.7402200000000001</c:v>
                </c:pt>
                <c:pt idx="5196">
                  <c:v>-2.15706</c:v>
                </c:pt>
                <c:pt idx="5197">
                  <c:v>-2.1319499999999998</c:v>
                </c:pt>
                <c:pt idx="5198">
                  <c:v>#N/A</c:v>
                </c:pt>
                <c:pt idx="5199">
                  <c:v>-3.4458000000000002</c:v>
                </c:pt>
                <c:pt idx="5200">
                  <c:v>-3.82437</c:v>
                </c:pt>
                <c:pt idx="5201">
                  <c:v>#N/A</c:v>
                </c:pt>
                <c:pt idx="5202">
                  <c:v>-3.53112</c:v>
                </c:pt>
                <c:pt idx="5203">
                  <c:v>-2.9934799999999999</c:v>
                </c:pt>
                <c:pt idx="5204">
                  <c:v>-2.1993499999999999</c:v>
                </c:pt>
                <c:pt idx="5205">
                  <c:v>#N/A</c:v>
                </c:pt>
                <c:pt idx="5206">
                  <c:v>-1.8817200000000001</c:v>
                </c:pt>
                <c:pt idx="5207">
                  <c:v>-2.5654599999999999</c:v>
                </c:pt>
                <c:pt idx="5208">
                  <c:v>-2.6406800000000001</c:v>
                </c:pt>
                <c:pt idx="5209">
                  <c:v>#N/A</c:v>
                </c:pt>
                <c:pt idx="5210">
                  <c:v>-3.47194</c:v>
                </c:pt>
                <c:pt idx="5211">
                  <c:v>-4.2286599999999996</c:v>
                </c:pt>
                <c:pt idx="5212">
                  <c:v>#N/A</c:v>
                </c:pt>
                <c:pt idx="5213">
                  <c:v>-4.05586</c:v>
                </c:pt>
                <c:pt idx="5214">
                  <c:v>-2.7038199999999999</c:v>
                </c:pt>
                <c:pt idx="5215">
                  <c:v>-1.7582199999999999</c:v>
                </c:pt>
                <c:pt idx="5216">
                  <c:v>#N/A</c:v>
                </c:pt>
                <c:pt idx="5217">
                  <c:v>-1.4939899999999999</c:v>
                </c:pt>
                <c:pt idx="5218">
                  <c:v>-2.14907</c:v>
                </c:pt>
                <c:pt idx="5219">
                  <c:v>-2.1084000000000001</c:v>
                </c:pt>
                <c:pt idx="5220">
                  <c:v>#N/A</c:v>
                </c:pt>
                <c:pt idx="5221">
                  <c:v>-3.4276</c:v>
                </c:pt>
                <c:pt idx="5222">
                  <c:v>-3.62052</c:v>
                </c:pt>
                <c:pt idx="5223">
                  <c:v>-2.8904100000000001</c:v>
                </c:pt>
                <c:pt idx="5224">
                  <c:v>#N/A</c:v>
                </c:pt>
                <c:pt idx="5225">
                  <c:v>-2.6823199999999998</c:v>
                </c:pt>
                <c:pt idx="5226">
                  <c:v>-2.5080399999999998</c:v>
                </c:pt>
                <c:pt idx="5227">
                  <c:v>-2.12717</c:v>
                </c:pt>
                <c:pt idx="5228">
                  <c:v>#N/A</c:v>
                </c:pt>
                <c:pt idx="5229">
                  <c:v>-1.66229</c:v>
                </c:pt>
                <c:pt idx="5230">
                  <c:v>-2.64697</c:v>
                </c:pt>
                <c:pt idx="5231">
                  <c:v>-2.9331100000000001</c:v>
                </c:pt>
                <c:pt idx="5232">
                  <c:v>#N/A</c:v>
                </c:pt>
                <c:pt idx="5233">
                  <c:v>-3.6867100000000002</c:v>
                </c:pt>
                <c:pt idx="5234">
                  <c:v>-2.9135499999999999</c:v>
                </c:pt>
                <c:pt idx="5235">
                  <c:v>-2.9387099999999999</c:v>
                </c:pt>
                <c:pt idx="5236">
                  <c:v>#N/A</c:v>
                </c:pt>
                <c:pt idx="5237">
                  <c:v>-2.16635</c:v>
                </c:pt>
                <c:pt idx="5238">
                  <c:v>-1.98983</c:v>
                </c:pt>
                <c:pt idx="5239">
                  <c:v>-1.8205499999999999</c:v>
                </c:pt>
                <c:pt idx="5240">
                  <c:v>#N/A</c:v>
                </c:pt>
                <c:pt idx="5241">
                  <c:v>-1.8152600000000001</c:v>
                </c:pt>
                <c:pt idx="5242">
                  <c:v>-3.0404499999999999</c:v>
                </c:pt>
                <c:pt idx="5243">
                  <c:v>#N/A</c:v>
                </c:pt>
                <c:pt idx="5244">
                  <c:v>-3.6885500000000002</c:v>
                </c:pt>
                <c:pt idx="5245">
                  <c:v>-3.5482100000000001</c:v>
                </c:pt>
                <c:pt idx="5246">
                  <c:v>-3.1918199999999999</c:v>
                </c:pt>
                <c:pt idx="5247">
                  <c:v>#N/A</c:v>
                </c:pt>
                <c:pt idx="5248">
                  <c:v>-2.4789099999999999</c:v>
                </c:pt>
                <c:pt idx="5249">
                  <c:v>-2.64019</c:v>
                </c:pt>
                <c:pt idx="5250">
                  <c:v>-2.7618499999999999</c:v>
                </c:pt>
                <c:pt idx="5251">
                  <c:v>#N/A</c:v>
                </c:pt>
                <c:pt idx="5252">
                  <c:v>-2.6675800000000001</c:v>
                </c:pt>
                <c:pt idx="5253">
                  <c:v>#N/A</c:v>
                </c:pt>
                <c:pt idx="5254">
                  <c:v>-3.09022</c:v>
                </c:pt>
                <c:pt idx="5255">
                  <c:v>-2.6991000000000001</c:v>
                </c:pt>
                <c:pt idx="5256">
                  <c:v>#N/A</c:v>
                </c:pt>
                <c:pt idx="5257">
                  <c:v>-1.9064000000000001</c:v>
                </c:pt>
                <c:pt idx="5258">
                  <c:v>-2.0324399999999998</c:v>
                </c:pt>
                <c:pt idx="5259">
                  <c:v>#N/A</c:v>
                </c:pt>
                <c:pt idx="5260">
                  <c:v>-2.7254200000000002</c:v>
                </c:pt>
                <c:pt idx="5261">
                  <c:v>-2.6765099999999999</c:v>
                </c:pt>
                <c:pt idx="5262">
                  <c:v>-2.8522799999999999</c:v>
                </c:pt>
                <c:pt idx="5263">
                  <c:v>#N/A</c:v>
                </c:pt>
                <c:pt idx="5264">
                  <c:v>-3.3776799999999998</c:v>
                </c:pt>
                <c:pt idx="5265">
                  <c:v>-2.0835599999999999</c:v>
                </c:pt>
                <c:pt idx="5266">
                  <c:v>-2.2930199999999998</c:v>
                </c:pt>
                <c:pt idx="5267">
                  <c:v>#N/A</c:v>
                </c:pt>
                <c:pt idx="5268">
                  <c:v>-1.6991099999999999</c:v>
                </c:pt>
                <c:pt idx="5269">
                  <c:v>-2.3628200000000001</c:v>
                </c:pt>
                <c:pt idx="5270">
                  <c:v>-2.3910399999999998</c:v>
                </c:pt>
                <c:pt idx="5271">
                  <c:v>#N/A</c:v>
                </c:pt>
                <c:pt idx="5272">
                  <c:v>-3.3698999999999999</c:v>
                </c:pt>
                <c:pt idx="5273">
                  <c:v>-3.6742300000000001</c:v>
                </c:pt>
                <c:pt idx="5274">
                  <c:v>#N/A</c:v>
                </c:pt>
                <c:pt idx="5275">
                  <c:v>-3.40402</c:v>
                </c:pt>
                <c:pt idx="5276">
                  <c:v>-2.3581799999999999</c:v>
                </c:pt>
                <c:pt idx="5277">
                  <c:v>-2.0541100000000001</c:v>
                </c:pt>
                <c:pt idx="5278">
                  <c:v>#N/A</c:v>
                </c:pt>
                <c:pt idx="5279">
                  <c:v>-1.8313600000000001</c:v>
                </c:pt>
                <c:pt idx="5280">
                  <c:v>-1.5501</c:v>
                </c:pt>
                <c:pt idx="5281">
                  <c:v>-2.4237799999999998</c:v>
                </c:pt>
                <c:pt idx="5282">
                  <c:v>#N/A</c:v>
                </c:pt>
                <c:pt idx="5283">
                  <c:v>-3.05321</c:v>
                </c:pt>
                <c:pt idx="5284">
                  <c:v>-3.2320799999999998</c:v>
                </c:pt>
                <c:pt idx="5285">
                  <c:v>-3.2658999999999998</c:v>
                </c:pt>
                <c:pt idx="5286">
                  <c:v>#N/A</c:v>
                </c:pt>
                <c:pt idx="5287">
                  <c:v>-2.67902</c:v>
                </c:pt>
                <c:pt idx="5288">
                  <c:v>-2.40618</c:v>
                </c:pt>
                <c:pt idx="5289">
                  <c:v>-1.7210799999999999</c:v>
                </c:pt>
                <c:pt idx="5290">
                  <c:v>#N/A</c:v>
                </c:pt>
                <c:pt idx="5291">
                  <c:v>-2.1094400000000002</c:v>
                </c:pt>
                <c:pt idx="5292">
                  <c:v>-2.8373200000000001</c:v>
                </c:pt>
                <c:pt idx="5293">
                  <c:v>#N/A</c:v>
                </c:pt>
                <c:pt idx="5294">
                  <c:v>-2.9353500000000001</c:v>
                </c:pt>
                <c:pt idx="5295">
                  <c:v>-3.4622799999999998</c:v>
                </c:pt>
                <c:pt idx="5296">
                  <c:v>-3.1316999999999999</c:v>
                </c:pt>
                <c:pt idx="5297">
                  <c:v>#N/A</c:v>
                </c:pt>
                <c:pt idx="5298">
                  <c:v>-2.6439300000000001</c:v>
                </c:pt>
                <c:pt idx="5299">
                  <c:v>-2.1715499999999999</c:v>
                </c:pt>
                <c:pt idx="5300">
                  <c:v>-1.6187100000000001</c:v>
                </c:pt>
                <c:pt idx="5301">
                  <c:v>#N/A</c:v>
                </c:pt>
                <c:pt idx="5302">
                  <c:v>-1.46722</c:v>
                </c:pt>
                <c:pt idx="5303">
                  <c:v>-2.4137900000000001</c:v>
                </c:pt>
                <c:pt idx="5304">
                  <c:v>-2.6834199999999999</c:v>
                </c:pt>
                <c:pt idx="5305">
                  <c:v>#N/A</c:v>
                </c:pt>
                <c:pt idx="5306">
                  <c:v>-3.0518299999999998</c:v>
                </c:pt>
                <c:pt idx="5307">
                  <c:v>-3.1881699999999999</c:v>
                </c:pt>
                <c:pt idx="5308">
                  <c:v>-2.9253900000000002</c:v>
                </c:pt>
                <c:pt idx="5309">
                  <c:v>#N/A</c:v>
                </c:pt>
                <c:pt idx="5310">
                  <c:v>-2.3564699999999998</c:v>
                </c:pt>
                <c:pt idx="5311">
                  <c:v>-2.2148599999999998</c:v>
                </c:pt>
                <c:pt idx="5312">
                  <c:v>-2.1024400000000001</c:v>
                </c:pt>
                <c:pt idx="5313">
                  <c:v>#N/A</c:v>
                </c:pt>
                <c:pt idx="5314">
                  <c:v>-2.6210499999999999</c:v>
                </c:pt>
                <c:pt idx="5315">
                  <c:v>-2.72797</c:v>
                </c:pt>
                <c:pt idx="5316">
                  <c:v>-2.8867699999999998</c:v>
                </c:pt>
                <c:pt idx="5317">
                  <c:v>#N/A</c:v>
                </c:pt>
                <c:pt idx="5318">
                  <c:v>-2.9193199999999999</c:v>
                </c:pt>
                <c:pt idx="5319">
                  <c:v>-2.2437999999999998</c:v>
                </c:pt>
                <c:pt idx="5320">
                  <c:v>#N/A</c:v>
                </c:pt>
                <c:pt idx="5321">
                  <c:v>-2.3753299999999999</c:v>
                </c:pt>
                <c:pt idx="5322">
                  <c:v>-2.1802299999999999</c:v>
                </c:pt>
                <c:pt idx="5323">
                  <c:v>-2.72248</c:v>
                </c:pt>
                <c:pt idx="5324">
                  <c:v>#N/A</c:v>
                </c:pt>
                <c:pt idx="5325">
                  <c:v>-2.8427699999999998</c:v>
                </c:pt>
                <c:pt idx="5326">
                  <c:v>-2.9139599999999999</c:v>
                </c:pt>
                <c:pt idx="5327">
                  <c:v>#N/A</c:v>
                </c:pt>
                <c:pt idx="5328">
                  <c:v>-2.6753100000000001</c:v>
                </c:pt>
                <c:pt idx="5329">
                  <c:v>-2.4856600000000002</c:v>
                </c:pt>
                <c:pt idx="5330">
                  <c:v>-2.7112400000000001</c:v>
                </c:pt>
                <c:pt idx="5331">
                  <c:v>#N/A</c:v>
                </c:pt>
                <c:pt idx="5332">
                  <c:v>-2.64622</c:v>
                </c:pt>
                <c:pt idx="5333">
                  <c:v>-2.7307399999999999</c:v>
                </c:pt>
                <c:pt idx="5334">
                  <c:v>-2.3898600000000001</c:v>
                </c:pt>
                <c:pt idx="5335">
                  <c:v>#N/A</c:v>
                </c:pt>
                <c:pt idx="5336">
                  <c:v>-3.2564500000000001</c:v>
                </c:pt>
                <c:pt idx="5337">
                  <c:v>-3.18899</c:v>
                </c:pt>
                <c:pt idx="5338">
                  <c:v>-2.3472499999999998</c:v>
                </c:pt>
                <c:pt idx="5339">
                  <c:v>#N/A</c:v>
                </c:pt>
                <c:pt idx="5340">
                  <c:v>-2.3656199999999998</c:v>
                </c:pt>
                <c:pt idx="5341">
                  <c:v>-1.93374</c:v>
                </c:pt>
                <c:pt idx="5342">
                  <c:v>-2.37249</c:v>
                </c:pt>
                <c:pt idx="5343">
                  <c:v>#N/A</c:v>
                </c:pt>
                <c:pt idx="5344">
                  <c:v>-1.8327899999999999</c:v>
                </c:pt>
                <c:pt idx="5345">
                  <c:v>-2.7361900000000001</c:v>
                </c:pt>
                <c:pt idx="5346">
                  <c:v>-3.0041000000000002</c:v>
                </c:pt>
                <c:pt idx="5347">
                  <c:v>#N/A</c:v>
                </c:pt>
                <c:pt idx="5348">
                  <c:v>-3.4919099999999998</c:v>
                </c:pt>
                <c:pt idx="5349">
                  <c:v>-2.5774699999999999</c:v>
                </c:pt>
                <c:pt idx="5350">
                  <c:v>#N/A</c:v>
                </c:pt>
                <c:pt idx="5351">
                  <c:v>-2.5341800000000001</c:v>
                </c:pt>
                <c:pt idx="5352">
                  <c:v>-2.1493799999999998</c:v>
                </c:pt>
                <c:pt idx="5353">
                  <c:v>-2.22797</c:v>
                </c:pt>
                <c:pt idx="5354">
                  <c:v>#N/A</c:v>
                </c:pt>
                <c:pt idx="5355">
                  <c:v>-2.7731699999999999</c:v>
                </c:pt>
                <c:pt idx="5356">
                  <c:v>-2.9555799999999999</c:v>
                </c:pt>
                <c:pt idx="5357">
                  <c:v>-3.20343</c:v>
                </c:pt>
                <c:pt idx="5358">
                  <c:v>#N/A</c:v>
                </c:pt>
                <c:pt idx="5359">
                  <c:v>-3.0655800000000002</c:v>
                </c:pt>
                <c:pt idx="5360">
                  <c:v>-2.7151299999999998</c:v>
                </c:pt>
                <c:pt idx="5361">
                  <c:v>-1.94476</c:v>
                </c:pt>
                <c:pt idx="5362">
                  <c:v>#N/A</c:v>
                </c:pt>
                <c:pt idx="5363">
                  <c:v>-1.5658399999999999</c:v>
                </c:pt>
                <c:pt idx="5364">
                  <c:v>-2.4375</c:v>
                </c:pt>
                <c:pt idx="5365">
                  <c:v>-3.1225499999999999</c:v>
                </c:pt>
                <c:pt idx="5366">
                  <c:v>#N/A</c:v>
                </c:pt>
                <c:pt idx="5367">
                  <c:v>-3.0524</c:v>
                </c:pt>
                <c:pt idx="5368">
                  <c:v>-3.56969</c:v>
                </c:pt>
                <c:pt idx="5369">
                  <c:v>-2.5782799999999999</c:v>
                </c:pt>
                <c:pt idx="5370">
                  <c:v>#N/A</c:v>
                </c:pt>
                <c:pt idx="5371">
                  <c:v>-2.4835500000000001</c:v>
                </c:pt>
                <c:pt idx="5372">
                  <c:v>-1.694</c:v>
                </c:pt>
                <c:pt idx="5373">
                  <c:v>-1.4202600000000001</c:v>
                </c:pt>
                <c:pt idx="5374">
                  <c:v>#N/A</c:v>
                </c:pt>
                <c:pt idx="5375">
                  <c:v>-1.76064</c:v>
                </c:pt>
                <c:pt idx="5376">
                  <c:v>-2.92618</c:v>
                </c:pt>
                <c:pt idx="5377">
                  <c:v>#N/A</c:v>
                </c:pt>
                <c:pt idx="5378">
                  <c:v>-3.21583</c:v>
                </c:pt>
                <c:pt idx="5379">
                  <c:v>-3.5188600000000001</c:v>
                </c:pt>
                <c:pt idx="5380">
                  <c:v>-2.6857799999999998</c:v>
                </c:pt>
                <c:pt idx="5381">
                  <c:v>#N/A</c:v>
                </c:pt>
                <c:pt idx="5382">
                  <c:v>-2.3554300000000001</c:v>
                </c:pt>
                <c:pt idx="5383">
                  <c:v>-2.1804100000000002</c:v>
                </c:pt>
                <c:pt idx="5384">
                  <c:v>-2.4877600000000002</c:v>
                </c:pt>
                <c:pt idx="5385">
                  <c:v>#N/A</c:v>
                </c:pt>
                <c:pt idx="5386">
                  <c:v>-2.49966</c:v>
                </c:pt>
                <c:pt idx="5387">
                  <c:v>-3.0741100000000001</c:v>
                </c:pt>
                <c:pt idx="5388">
                  <c:v>#N/A</c:v>
                </c:pt>
                <c:pt idx="5389">
                  <c:v>-3.3959600000000001</c:v>
                </c:pt>
                <c:pt idx="5390">
                  <c:v>-3.30375</c:v>
                </c:pt>
                <c:pt idx="5391">
                  <c:v>-3.1102799999999999</c:v>
                </c:pt>
                <c:pt idx="5392">
                  <c:v>#N/A</c:v>
                </c:pt>
                <c:pt idx="5393">
                  <c:v>-2.7437999999999998</c:v>
                </c:pt>
                <c:pt idx="5394">
                  <c:v>-2.34795</c:v>
                </c:pt>
                <c:pt idx="5395">
                  <c:v>-2.4882</c:v>
                </c:pt>
                <c:pt idx="5396">
                  <c:v>#N/A</c:v>
                </c:pt>
                <c:pt idx="5397">
                  <c:v>-2.9792700000000001</c:v>
                </c:pt>
                <c:pt idx="5398">
                  <c:v>-2.7134</c:v>
                </c:pt>
                <c:pt idx="5399">
                  <c:v>-3.0599500000000002</c:v>
                </c:pt>
                <c:pt idx="5400">
                  <c:v>#N/A</c:v>
                </c:pt>
                <c:pt idx="5401">
                  <c:v>-2.7254100000000001</c:v>
                </c:pt>
                <c:pt idx="5402">
                  <c:v>#N/A</c:v>
                </c:pt>
                <c:pt idx="5403">
                  <c:v>-2.2487900000000001</c:v>
                </c:pt>
                <c:pt idx="5404">
                  <c:v>-2.0811799999999998</c:v>
                </c:pt>
                <c:pt idx="5405">
                  <c:v>#N/A</c:v>
                </c:pt>
                <c:pt idx="5406">
                  <c:v>-1.9485699999999999</c:v>
                </c:pt>
                <c:pt idx="5407">
                  <c:v>-2.9230800000000001</c:v>
                </c:pt>
                <c:pt idx="5408">
                  <c:v>#N/A</c:v>
                </c:pt>
                <c:pt idx="5409">
                  <c:v>-3.3768600000000002</c:v>
                </c:pt>
                <c:pt idx="5410">
                  <c:v>-2.9371900000000002</c:v>
                </c:pt>
                <c:pt idx="5411">
                  <c:v>-2.6855600000000002</c:v>
                </c:pt>
                <c:pt idx="5412">
                  <c:v>#N/A</c:v>
                </c:pt>
                <c:pt idx="5413">
                  <c:v>-2.8483100000000001</c:v>
                </c:pt>
                <c:pt idx="5414">
                  <c:v>-2.6168800000000001</c:v>
                </c:pt>
                <c:pt idx="5415">
                  <c:v>-2.6798299999999999</c:v>
                </c:pt>
                <c:pt idx="5416">
                  <c:v>#N/A</c:v>
                </c:pt>
                <c:pt idx="5417">
                  <c:v>-2.9437099999999998</c:v>
                </c:pt>
                <c:pt idx="5418">
                  <c:v>-3.2627100000000002</c:v>
                </c:pt>
                <c:pt idx="5419">
                  <c:v>#N/A</c:v>
                </c:pt>
                <c:pt idx="5420">
                  <c:v>-3.3140900000000002</c:v>
                </c:pt>
                <c:pt idx="5421">
                  <c:v>-3.3212799999999998</c:v>
                </c:pt>
                <c:pt idx="5422">
                  <c:v>-3.03085</c:v>
                </c:pt>
                <c:pt idx="5423">
                  <c:v>#N/A</c:v>
                </c:pt>
                <c:pt idx="5424">
                  <c:v>-2.4053800000000001</c:v>
                </c:pt>
                <c:pt idx="5425">
                  <c:v>-2.3143199999999999</c:v>
                </c:pt>
                <c:pt idx="5426">
                  <c:v>-2.0153400000000001</c:v>
                </c:pt>
                <c:pt idx="5427">
                  <c:v>#N/A</c:v>
                </c:pt>
                <c:pt idx="5428">
                  <c:v>-3.1093600000000001</c:v>
                </c:pt>
                <c:pt idx="5429">
                  <c:v>-3.3999700000000002</c:v>
                </c:pt>
                <c:pt idx="5430">
                  <c:v>-3.6171799999999998</c:v>
                </c:pt>
                <c:pt idx="5431">
                  <c:v>#N/A</c:v>
                </c:pt>
                <c:pt idx="5432">
                  <c:v>-3.4500999999999999</c:v>
                </c:pt>
                <c:pt idx="5433">
                  <c:v>-3.1941799999999998</c:v>
                </c:pt>
                <c:pt idx="5434">
                  <c:v>-2.1969599999999998</c:v>
                </c:pt>
                <c:pt idx="5435">
                  <c:v>#N/A</c:v>
                </c:pt>
                <c:pt idx="5436">
                  <c:v>-2.2332100000000001</c:v>
                </c:pt>
                <c:pt idx="5437">
                  <c:v>-2.6005199999999999</c:v>
                </c:pt>
                <c:pt idx="5438">
                  <c:v>#N/A</c:v>
                </c:pt>
                <c:pt idx="5439">
                  <c:v>-3.1041300000000001</c:v>
                </c:pt>
                <c:pt idx="5440">
                  <c:v>-3.7485900000000001</c:v>
                </c:pt>
                <c:pt idx="5441">
                  <c:v>-3.6694499999999999</c:v>
                </c:pt>
                <c:pt idx="5442">
                  <c:v>#N/A</c:v>
                </c:pt>
                <c:pt idx="5443">
                  <c:v>-3.21347</c:v>
                </c:pt>
                <c:pt idx="5444">
                  <c:v>-2.7727900000000001</c:v>
                </c:pt>
                <c:pt idx="5445">
                  <c:v>-2.4019900000000001</c:v>
                </c:pt>
                <c:pt idx="5446">
                  <c:v>#N/A</c:v>
                </c:pt>
                <c:pt idx="5447">
                  <c:v>-2.2684500000000001</c:v>
                </c:pt>
                <c:pt idx="5448">
                  <c:v>-2.3251599999999999</c:v>
                </c:pt>
                <c:pt idx="5449">
                  <c:v>-2.8430800000000001</c:v>
                </c:pt>
                <c:pt idx="5450">
                  <c:v>#N/A</c:v>
                </c:pt>
                <c:pt idx="5451">
                  <c:v>-2.7521100000000001</c:v>
                </c:pt>
                <c:pt idx="5452">
                  <c:v>-3.2768899999999999</c:v>
                </c:pt>
                <c:pt idx="5453">
                  <c:v>-3.30891</c:v>
                </c:pt>
                <c:pt idx="5454">
                  <c:v>#N/A</c:v>
                </c:pt>
                <c:pt idx="5455">
                  <c:v>-2.9779100000000001</c:v>
                </c:pt>
                <c:pt idx="5456">
                  <c:v>-2.6177899999999998</c:v>
                </c:pt>
                <c:pt idx="5457">
                  <c:v>#N/A</c:v>
                </c:pt>
                <c:pt idx="5458">
                  <c:v>-2.9729399999999999</c:v>
                </c:pt>
                <c:pt idx="5459">
                  <c:v>-2.4737800000000001</c:v>
                </c:pt>
                <c:pt idx="5460">
                  <c:v>-2.9365199999999998</c:v>
                </c:pt>
                <c:pt idx="5461">
                  <c:v>#N/A</c:v>
                </c:pt>
                <c:pt idx="5462">
                  <c:v>-3.4410099999999999</c:v>
                </c:pt>
                <c:pt idx="5463">
                  <c:v>-3.3133900000000001</c:v>
                </c:pt>
                <c:pt idx="5464">
                  <c:v>#N/A</c:v>
                </c:pt>
                <c:pt idx="5465">
                  <c:v>-3.1051099999999998</c:v>
                </c:pt>
                <c:pt idx="5466">
                  <c:v>-2.6425999999999998</c:v>
                </c:pt>
                <c:pt idx="5467">
                  <c:v>-2.6448900000000002</c:v>
                </c:pt>
                <c:pt idx="5468">
                  <c:v>#N/A</c:v>
                </c:pt>
                <c:pt idx="5469">
                  <c:v>-2.5129299999999999</c:v>
                </c:pt>
                <c:pt idx="5470">
                  <c:v>-3.08</c:v>
                </c:pt>
                <c:pt idx="5471">
                  <c:v>-3.0670199999999999</c:v>
                </c:pt>
                <c:pt idx="5472">
                  <c:v>#N/A</c:v>
                </c:pt>
                <c:pt idx="5473">
                  <c:v>-3.75258</c:v>
                </c:pt>
                <c:pt idx="5474">
                  <c:v>-2.9636200000000001</c:v>
                </c:pt>
                <c:pt idx="5475">
                  <c:v>-2.9363600000000001</c:v>
                </c:pt>
                <c:pt idx="5476">
                  <c:v>#N/A</c:v>
                </c:pt>
                <c:pt idx="5477">
                  <c:v>#N/A</c:v>
                </c:pt>
                <c:pt idx="5478">
                  <c:v>-2.7054499999999999</c:v>
                </c:pt>
                <c:pt idx="5479">
                  <c:v>-2.7946399999999998</c:v>
                </c:pt>
                <c:pt idx="5480">
                  <c:v>-3.39961</c:v>
                </c:pt>
                <c:pt idx="5481">
                  <c:v>#N/A</c:v>
                </c:pt>
                <c:pt idx="5482">
                  <c:v>-3.5964800000000001</c:v>
                </c:pt>
                <c:pt idx="5483">
                  <c:v>-3.17591</c:v>
                </c:pt>
                <c:pt idx="5484">
                  <c:v>-3.0382600000000002</c:v>
                </c:pt>
                <c:pt idx="5485">
                  <c:v>#N/A</c:v>
                </c:pt>
                <c:pt idx="5486">
                  <c:v>-2.4273899999999999</c:v>
                </c:pt>
                <c:pt idx="5487">
                  <c:v>-2.8050199999999998</c:v>
                </c:pt>
                <c:pt idx="5488">
                  <c:v>#N/A</c:v>
                </c:pt>
                <c:pt idx="5489">
                  <c:v>-2.1918600000000001</c:v>
                </c:pt>
                <c:pt idx="5490">
                  <c:v>-2.8397299999999999</c:v>
                </c:pt>
                <c:pt idx="5491">
                  <c:v>-3.2423799999999998</c:v>
                </c:pt>
                <c:pt idx="5492">
                  <c:v>#N/A</c:v>
                </c:pt>
                <c:pt idx="5493">
                  <c:v>-3.5506099999999998</c:v>
                </c:pt>
                <c:pt idx="5494">
                  <c:v>-3.2956799999999999</c:v>
                </c:pt>
                <c:pt idx="5495">
                  <c:v>-2.6048499999999999</c:v>
                </c:pt>
                <c:pt idx="5496">
                  <c:v>#N/A</c:v>
                </c:pt>
                <c:pt idx="5497">
                  <c:v>-2.2803399999999998</c:v>
                </c:pt>
                <c:pt idx="5498">
                  <c:v>-2.25474</c:v>
                </c:pt>
                <c:pt idx="5499">
                  <c:v>#N/A</c:v>
                </c:pt>
                <c:pt idx="5500">
                  <c:v>-2.7056200000000001</c:v>
                </c:pt>
                <c:pt idx="5501">
                  <c:v>-3.2862499999999999</c:v>
                </c:pt>
                <c:pt idx="5502">
                  <c:v>-3.6953299999999998</c:v>
                </c:pt>
                <c:pt idx="5503">
                  <c:v>#N/A</c:v>
                </c:pt>
                <c:pt idx="5504">
                  <c:v>-3.7989099999999998</c:v>
                </c:pt>
                <c:pt idx="5505">
                  <c:v>-4.0059100000000001</c:v>
                </c:pt>
                <c:pt idx="5506">
                  <c:v>-3.2044999999999999</c:v>
                </c:pt>
                <c:pt idx="5507">
                  <c:v>#N/A</c:v>
                </c:pt>
                <c:pt idx="5508">
                  <c:v>-2.6328299999999998</c:v>
                </c:pt>
                <c:pt idx="5509">
                  <c:v>-2.2615400000000001</c:v>
                </c:pt>
                <c:pt idx="5510">
                  <c:v>-3.0361500000000001</c:v>
                </c:pt>
                <c:pt idx="5511">
                  <c:v>#N/A</c:v>
                </c:pt>
                <c:pt idx="5512">
                  <c:v>-2.7770299999999999</c:v>
                </c:pt>
                <c:pt idx="5513">
                  <c:v>-3.6489400000000001</c:v>
                </c:pt>
                <c:pt idx="5514">
                  <c:v>-3.7227000000000001</c:v>
                </c:pt>
                <c:pt idx="5515">
                  <c:v>#N/A</c:v>
                </c:pt>
                <c:pt idx="5516">
                  <c:v>-3.5595400000000001</c:v>
                </c:pt>
                <c:pt idx="5517">
                  <c:v>-3.2532299999999998</c:v>
                </c:pt>
                <c:pt idx="5518">
                  <c:v>-2.5401099999999999</c:v>
                </c:pt>
                <c:pt idx="5519">
                  <c:v>#N/A</c:v>
                </c:pt>
                <c:pt idx="5520">
                  <c:v>-2.4977900000000002</c:v>
                </c:pt>
                <c:pt idx="5521">
                  <c:v>-2.4924599999999999</c:v>
                </c:pt>
                <c:pt idx="5522">
                  <c:v>-2.9323899999999998</c:v>
                </c:pt>
                <c:pt idx="5523">
                  <c:v>#N/A</c:v>
                </c:pt>
                <c:pt idx="5524">
                  <c:v>-2.88035</c:v>
                </c:pt>
                <c:pt idx="5525">
                  <c:v>-3.7283900000000001</c:v>
                </c:pt>
                <c:pt idx="5526">
                  <c:v>-3.3944299999999998</c:v>
                </c:pt>
                <c:pt idx="5527">
                  <c:v>#N/A</c:v>
                </c:pt>
                <c:pt idx="5528">
                  <c:v>-3.4140199999999998</c:v>
                </c:pt>
                <c:pt idx="5529">
                  <c:v>-2.73698</c:v>
                </c:pt>
                <c:pt idx="5530">
                  <c:v>-2.21665</c:v>
                </c:pt>
                <c:pt idx="5531">
                  <c:v>#N/A</c:v>
                </c:pt>
                <c:pt idx="5532">
                  <c:v>-2.1932399999999999</c:v>
                </c:pt>
                <c:pt idx="5533">
                  <c:v>-3.03715</c:v>
                </c:pt>
                <c:pt idx="5534">
                  <c:v>-3.4430100000000001</c:v>
                </c:pt>
                <c:pt idx="5535">
                  <c:v>#N/A</c:v>
                </c:pt>
                <c:pt idx="5536">
                  <c:v>-3.8161299999999998</c:v>
                </c:pt>
                <c:pt idx="5537">
                  <c:v>-3.3357800000000002</c:v>
                </c:pt>
                <c:pt idx="5538">
                  <c:v>#N/A</c:v>
                </c:pt>
                <c:pt idx="5539">
                  <c:v>-3.17875</c:v>
                </c:pt>
                <c:pt idx="5540">
                  <c:v>-2.8908900000000002</c:v>
                </c:pt>
                <c:pt idx="5541">
                  <c:v>-3.1201099999999999</c:v>
                </c:pt>
                <c:pt idx="5542">
                  <c:v>#N/A</c:v>
                </c:pt>
                <c:pt idx="5543">
                  <c:v>-2.78111</c:v>
                </c:pt>
                <c:pt idx="5544">
                  <c:v>-3.2311100000000001</c:v>
                </c:pt>
                <c:pt idx="5545">
                  <c:v>-3.0458799999999999</c:v>
                </c:pt>
                <c:pt idx="5546">
                  <c:v>#N/A</c:v>
                </c:pt>
                <c:pt idx="5547">
                  <c:v>-3.0433500000000002</c:v>
                </c:pt>
                <c:pt idx="5548">
                  <c:v>-2.9868100000000002</c:v>
                </c:pt>
                <c:pt idx="5549">
                  <c:v>-2.2978299999999998</c:v>
                </c:pt>
                <c:pt idx="5550">
                  <c:v>#N/A</c:v>
                </c:pt>
                <c:pt idx="5551">
                  <c:v>-2.19102</c:v>
                </c:pt>
                <c:pt idx="5552">
                  <c:v>#N/A</c:v>
                </c:pt>
                <c:pt idx="5553">
                  <c:v>-2.2713800000000002</c:v>
                </c:pt>
                <c:pt idx="5554">
                  <c:v>#N/A</c:v>
                </c:pt>
                <c:pt idx="5555">
                  <c:v>-2.9765999999999999</c:v>
                </c:pt>
                <c:pt idx="5556">
                  <c:v>-3.2080500000000001</c:v>
                </c:pt>
                <c:pt idx="5557">
                  <c:v>-2.60161</c:v>
                </c:pt>
                <c:pt idx="5558">
                  <c:v>#N/A</c:v>
                </c:pt>
                <c:pt idx="5559">
                  <c:v>-2.4513199999999999</c:v>
                </c:pt>
                <c:pt idx="5560">
                  <c:v>-2.1758700000000002</c:v>
                </c:pt>
                <c:pt idx="5561">
                  <c:v>#N/A</c:v>
                </c:pt>
                <c:pt idx="5562">
                  <c:v>-2.18005</c:v>
                </c:pt>
                <c:pt idx="5563">
                  <c:v>-2.5198800000000001</c:v>
                </c:pt>
                <c:pt idx="5564">
                  <c:v>-3.0516200000000002</c:v>
                </c:pt>
                <c:pt idx="5565">
                  <c:v>#N/A</c:v>
                </c:pt>
                <c:pt idx="5566">
                  <c:v>-3.4216000000000002</c:v>
                </c:pt>
                <c:pt idx="5567">
                  <c:v>-3.2932299999999999</c:v>
                </c:pt>
                <c:pt idx="5568">
                  <c:v>-2.7561200000000001</c:v>
                </c:pt>
                <c:pt idx="5569">
                  <c:v>#N/A</c:v>
                </c:pt>
                <c:pt idx="5570">
                  <c:v>-2.5305800000000001</c:v>
                </c:pt>
                <c:pt idx="5571">
                  <c:v>-2.0145300000000002</c:v>
                </c:pt>
                <c:pt idx="5572">
                  <c:v>-2.5886300000000002</c:v>
                </c:pt>
                <c:pt idx="5573">
                  <c:v>#N/A</c:v>
                </c:pt>
                <c:pt idx="5574">
                  <c:v>-2.4701</c:v>
                </c:pt>
                <c:pt idx="5575">
                  <c:v>-3.24566</c:v>
                </c:pt>
                <c:pt idx="5576">
                  <c:v>-3.71225</c:v>
                </c:pt>
                <c:pt idx="5577">
                  <c:v>#N/A</c:v>
                </c:pt>
                <c:pt idx="5578">
                  <c:v>-3.4138099999999998</c:v>
                </c:pt>
                <c:pt idx="5579">
                  <c:v>-2.7739799999999999</c:v>
                </c:pt>
                <c:pt idx="5580">
                  <c:v>-2.3701400000000001</c:v>
                </c:pt>
                <c:pt idx="5581">
                  <c:v>#N/A</c:v>
                </c:pt>
                <c:pt idx="5582">
                  <c:v>-2.1815099999999998</c:v>
                </c:pt>
                <c:pt idx="5583">
                  <c:v>-2.2209099999999999</c:v>
                </c:pt>
                <c:pt idx="5584">
                  <c:v>-2.9749599999999998</c:v>
                </c:pt>
                <c:pt idx="5585">
                  <c:v>#N/A</c:v>
                </c:pt>
                <c:pt idx="5586">
                  <c:v>-3.2008200000000002</c:v>
                </c:pt>
                <c:pt idx="5587">
                  <c:v>-3.7179099999999998</c:v>
                </c:pt>
                <c:pt idx="5588">
                  <c:v>#N/A</c:v>
                </c:pt>
                <c:pt idx="5589">
                  <c:v>-3.4887899999999998</c:v>
                </c:pt>
                <c:pt idx="5590">
                  <c:v>-3.1496900000000001</c:v>
                </c:pt>
                <c:pt idx="5591">
                  <c:v>-2.1243300000000001</c:v>
                </c:pt>
                <c:pt idx="5592">
                  <c:v>#N/A</c:v>
                </c:pt>
                <c:pt idx="5593">
                  <c:v>-2.0085500000000001</c:v>
                </c:pt>
                <c:pt idx="5594">
                  <c:v>-2.4372799999999999</c:v>
                </c:pt>
                <c:pt idx="5595">
                  <c:v>-2.9229599999999998</c:v>
                </c:pt>
                <c:pt idx="5596">
                  <c:v>#N/A</c:v>
                </c:pt>
                <c:pt idx="5597">
                  <c:v>-3.1760100000000002</c:v>
                </c:pt>
                <c:pt idx="5598">
                  <c:v>-2.8646600000000002</c:v>
                </c:pt>
                <c:pt idx="5599">
                  <c:v>-3.4437500000000001</c:v>
                </c:pt>
                <c:pt idx="5600">
                  <c:v>#N/A</c:v>
                </c:pt>
                <c:pt idx="5601">
                  <c:v>-2.9487299999999999</c:v>
                </c:pt>
                <c:pt idx="5602">
                  <c:v>-2.7914699999999999</c:v>
                </c:pt>
                <c:pt idx="5603">
                  <c:v>-2.4672900000000002</c:v>
                </c:pt>
                <c:pt idx="5604">
                  <c:v>#N/A</c:v>
                </c:pt>
                <c:pt idx="5605">
                  <c:v>-2.64385</c:v>
                </c:pt>
                <c:pt idx="5606">
                  <c:v>-3.3042799999999999</c:v>
                </c:pt>
                <c:pt idx="5607">
                  <c:v>-3.1585999999999999</c:v>
                </c:pt>
                <c:pt idx="5608">
                  <c:v>#N/A</c:v>
                </c:pt>
                <c:pt idx="5609">
                  <c:v>-3.5459200000000002</c:v>
                </c:pt>
                <c:pt idx="5610">
                  <c:v>-3.3748900000000002</c:v>
                </c:pt>
                <c:pt idx="5611">
                  <c:v>-2.9673699999999998</c:v>
                </c:pt>
                <c:pt idx="5612">
                  <c:v>#N/A</c:v>
                </c:pt>
                <c:pt idx="5613">
                  <c:v>-2.65116</c:v>
                </c:pt>
                <c:pt idx="5614">
                  <c:v>-2.4940099999999998</c:v>
                </c:pt>
                <c:pt idx="5615">
                  <c:v>-2.41269</c:v>
                </c:pt>
                <c:pt idx="5616">
                  <c:v>#N/A</c:v>
                </c:pt>
                <c:pt idx="5617">
                  <c:v>-2.9092899999999999</c:v>
                </c:pt>
                <c:pt idx="5618">
                  <c:v>-3.4236399999999998</c:v>
                </c:pt>
                <c:pt idx="5619">
                  <c:v>-2.9125000000000001</c:v>
                </c:pt>
                <c:pt idx="5620">
                  <c:v>#N/A</c:v>
                </c:pt>
                <c:pt idx="5621">
                  <c:v>-2.5819999999999999</c:v>
                </c:pt>
                <c:pt idx="5622">
                  <c:v>-2.8450500000000001</c:v>
                </c:pt>
                <c:pt idx="5623">
                  <c:v>#N/A</c:v>
                </c:pt>
                <c:pt idx="5624">
                  <c:v>-2.6758099999999998</c:v>
                </c:pt>
                <c:pt idx="5625">
                  <c:v>-2.7034799999999999</c:v>
                </c:pt>
                <c:pt idx="5626">
                  <c:v>-2.8410099999999998</c:v>
                </c:pt>
                <c:pt idx="5627">
                  <c:v>#N/A</c:v>
                </c:pt>
                <c:pt idx="5628">
                  <c:v>#N/A</c:v>
                </c:pt>
                <c:pt idx="5629">
                  <c:v>-3.3010299999999999</c:v>
                </c:pt>
                <c:pt idx="5630">
                  <c:v>-3.1699600000000001</c:v>
                </c:pt>
                <c:pt idx="5631">
                  <c:v>-2.6586099999999999</c:v>
                </c:pt>
                <c:pt idx="5632">
                  <c:v>#N/A</c:v>
                </c:pt>
                <c:pt idx="5633">
                  <c:v>-2.5832799999999998</c:v>
                </c:pt>
                <c:pt idx="5634">
                  <c:v>-2.5134300000000001</c:v>
                </c:pt>
                <c:pt idx="5635">
                  <c:v>-2.1740699999999999</c:v>
                </c:pt>
                <c:pt idx="5636">
                  <c:v>#N/A</c:v>
                </c:pt>
                <c:pt idx="5637">
                  <c:v>-2.40449</c:v>
                </c:pt>
                <c:pt idx="5638">
                  <c:v>-2.7172100000000001</c:v>
                </c:pt>
                <c:pt idx="5639">
                  <c:v>-3.3343799999999999</c:v>
                </c:pt>
                <c:pt idx="5640">
                  <c:v>#N/A</c:v>
                </c:pt>
                <c:pt idx="5641">
                  <c:v>-3.1272600000000002</c:v>
                </c:pt>
                <c:pt idx="5642">
                  <c:v>-2.72871</c:v>
                </c:pt>
                <c:pt idx="5643">
                  <c:v>-2.1623100000000002</c:v>
                </c:pt>
                <c:pt idx="5644">
                  <c:v>#N/A</c:v>
                </c:pt>
                <c:pt idx="5645">
                  <c:v>-2.0059300000000002</c:v>
                </c:pt>
                <c:pt idx="5646">
                  <c:v>-2.5819899999999998</c:v>
                </c:pt>
                <c:pt idx="5647">
                  <c:v>#N/A</c:v>
                </c:pt>
                <c:pt idx="5648">
                  <c:v>-2.9721700000000002</c:v>
                </c:pt>
                <c:pt idx="5649">
                  <c:v>-3.5414300000000001</c:v>
                </c:pt>
                <c:pt idx="5650">
                  <c:v>-3.6514899999999999</c:v>
                </c:pt>
                <c:pt idx="5651">
                  <c:v>#N/A</c:v>
                </c:pt>
                <c:pt idx="5652">
                  <c:v>-3.2569699999999999</c:v>
                </c:pt>
                <c:pt idx="5653">
                  <c:v>-3.0870600000000001</c:v>
                </c:pt>
                <c:pt idx="5654">
                  <c:v>-2.4319799999999998</c:v>
                </c:pt>
                <c:pt idx="5655">
                  <c:v>#N/A</c:v>
                </c:pt>
                <c:pt idx="5656">
                  <c:v>-2.0705900000000002</c:v>
                </c:pt>
                <c:pt idx="5657">
                  <c:v>-2.8934099999999998</c:v>
                </c:pt>
                <c:pt idx="5658">
                  <c:v>-3.5322100000000001</c:v>
                </c:pt>
                <c:pt idx="5659">
                  <c:v>#N/A</c:v>
                </c:pt>
                <c:pt idx="5660">
                  <c:v>-3.73536</c:v>
                </c:pt>
                <c:pt idx="5661">
                  <c:v>-3.18309</c:v>
                </c:pt>
                <c:pt idx="5662">
                  <c:v>-3.0341499999999999</c:v>
                </c:pt>
                <c:pt idx="5663">
                  <c:v>#N/A</c:v>
                </c:pt>
                <c:pt idx="5664">
                  <c:v>-2.44129</c:v>
                </c:pt>
                <c:pt idx="5665">
                  <c:v>-2.2082899999999999</c:v>
                </c:pt>
                <c:pt idx="5666">
                  <c:v>-2.3368600000000002</c:v>
                </c:pt>
                <c:pt idx="5667">
                  <c:v>#N/A</c:v>
                </c:pt>
                <c:pt idx="5668">
                  <c:v>-2.1153499999999998</c:v>
                </c:pt>
                <c:pt idx="5669">
                  <c:v>-2.7426699999999999</c:v>
                </c:pt>
                <c:pt idx="5670">
                  <c:v>-3.34199</c:v>
                </c:pt>
                <c:pt idx="5671">
                  <c:v>#N/A</c:v>
                </c:pt>
                <c:pt idx="5672">
                  <c:v>-3.0533800000000002</c:v>
                </c:pt>
                <c:pt idx="5673">
                  <c:v>-2.52955</c:v>
                </c:pt>
                <c:pt idx="5674">
                  <c:v>-2.12025</c:v>
                </c:pt>
                <c:pt idx="5675">
                  <c:v>#N/A</c:v>
                </c:pt>
                <c:pt idx="5676">
                  <c:v>-2.2380200000000001</c:v>
                </c:pt>
                <c:pt idx="5677">
                  <c:v>-2.1549</c:v>
                </c:pt>
                <c:pt idx="5678">
                  <c:v>#N/A</c:v>
                </c:pt>
                <c:pt idx="5679">
                  <c:v>-1.9488700000000001</c:v>
                </c:pt>
                <c:pt idx="5680">
                  <c:v>-2.4427500000000002</c:v>
                </c:pt>
                <c:pt idx="5681">
                  <c:v>-3.6187100000000001</c:v>
                </c:pt>
                <c:pt idx="5682">
                  <c:v>#N/A</c:v>
                </c:pt>
                <c:pt idx="5683">
                  <c:v>-3.5895299999999999</c:v>
                </c:pt>
                <c:pt idx="5684">
                  <c:v>-2.6225900000000002</c:v>
                </c:pt>
                <c:pt idx="5685">
                  <c:v>-2.1426099999999999</c:v>
                </c:pt>
                <c:pt idx="5686">
                  <c:v>#N/A</c:v>
                </c:pt>
                <c:pt idx="5687">
                  <c:v>-2.2275700000000001</c:v>
                </c:pt>
                <c:pt idx="5688">
                  <c:v>-2.8387099999999998</c:v>
                </c:pt>
                <c:pt idx="5689">
                  <c:v>-2.9197199999999999</c:v>
                </c:pt>
                <c:pt idx="5690">
                  <c:v>#N/A</c:v>
                </c:pt>
                <c:pt idx="5691">
                  <c:v>-2.8486600000000002</c:v>
                </c:pt>
                <c:pt idx="5692">
                  <c:v>-2.9290099999999999</c:v>
                </c:pt>
                <c:pt idx="5693">
                  <c:v>#N/A</c:v>
                </c:pt>
                <c:pt idx="5694">
                  <c:v>-2.8768400000000001</c:v>
                </c:pt>
                <c:pt idx="5695">
                  <c:v>-2.5118100000000001</c:v>
                </c:pt>
                <c:pt idx="5696">
                  <c:v>-2.27752</c:v>
                </c:pt>
                <c:pt idx="5697">
                  <c:v>#N/A</c:v>
                </c:pt>
                <c:pt idx="5698">
                  <c:v>-2.04697</c:v>
                </c:pt>
                <c:pt idx="5699">
                  <c:v>-2.1906500000000002</c:v>
                </c:pt>
                <c:pt idx="5700">
                  <c:v>-2.70147</c:v>
                </c:pt>
                <c:pt idx="5701">
                  <c:v>#N/A</c:v>
                </c:pt>
                <c:pt idx="5702">
                  <c:v>-2.4346000000000001</c:v>
                </c:pt>
                <c:pt idx="5703">
                  <c:v>#N/A</c:v>
                </c:pt>
                <c:pt idx="5704">
                  <c:v>-2.6913900000000002</c:v>
                </c:pt>
                <c:pt idx="5705">
                  <c:v>-2.2741600000000002</c:v>
                </c:pt>
                <c:pt idx="5706">
                  <c:v>#N/A</c:v>
                </c:pt>
                <c:pt idx="5707">
                  <c:v>-2.5072899999999998</c:v>
                </c:pt>
                <c:pt idx="5708">
                  <c:v>-1.88734</c:v>
                </c:pt>
                <c:pt idx="5709">
                  <c:v>-2.2724099999999998</c:v>
                </c:pt>
                <c:pt idx="5710">
                  <c:v>#N/A</c:v>
                </c:pt>
                <c:pt idx="5711">
                  <c:v>-2.6493500000000001</c:v>
                </c:pt>
                <c:pt idx="5712">
                  <c:v>-3.1789000000000001</c:v>
                </c:pt>
                <c:pt idx="5713">
                  <c:v>-3.2991600000000001</c:v>
                </c:pt>
                <c:pt idx="5714">
                  <c:v>#N/A</c:v>
                </c:pt>
                <c:pt idx="5715">
                  <c:v>-2.93296</c:v>
                </c:pt>
                <c:pt idx="5716">
                  <c:v>-2.89188</c:v>
                </c:pt>
                <c:pt idx="5717">
                  <c:v>-2.5600399999999999</c:v>
                </c:pt>
                <c:pt idx="5718">
                  <c:v>#N/A</c:v>
                </c:pt>
                <c:pt idx="5719">
                  <c:v>-1.83273</c:v>
                </c:pt>
                <c:pt idx="5720">
                  <c:v>-2.3008700000000002</c:v>
                </c:pt>
                <c:pt idx="5721">
                  <c:v>-3.1539600000000001</c:v>
                </c:pt>
                <c:pt idx="5722">
                  <c:v>#N/A</c:v>
                </c:pt>
                <c:pt idx="5723">
                  <c:v>-3.4025500000000002</c:v>
                </c:pt>
                <c:pt idx="5724">
                  <c:v>-3.55585</c:v>
                </c:pt>
                <c:pt idx="5725">
                  <c:v>-2.9565999999999999</c:v>
                </c:pt>
                <c:pt idx="5726">
                  <c:v>#N/A</c:v>
                </c:pt>
                <c:pt idx="5727">
                  <c:v>-1.9017900000000001</c:v>
                </c:pt>
                <c:pt idx="5728">
                  <c:v>-1.9068400000000001</c:v>
                </c:pt>
                <c:pt idx="5729">
                  <c:v>-1.9786600000000001</c:v>
                </c:pt>
                <c:pt idx="5730">
                  <c:v>#N/A</c:v>
                </c:pt>
                <c:pt idx="5731">
                  <c:v>-1.9059200000000001</c:v>
                </c:pt>
                <c:pt idx="5732">
                  <c:v>-3.02529</c:v>
                </c:pt>
                <c:pt idx="5733">
                  <c:v>-3.5558000000000001</c:v>
                </c:pt>
                <c:pt idx="5734">
                  <c:v>#N/A</c:v>
                </c:pt>
                <c:pt idx="5735">
                  <c:v>-3.7062200000000001</c:v>
                </c:pt>
                <c:pt idx="5736">
                  <c:v>-2.74681</c:v>
                </c:pt>
                <c:pt idx="5737">
                  <c:v>#N/A</c:v>
                </c:pt>
                <c:pt idx="5738">
                  <c:v>-2.12148</c:v>
                </c:pt>
                <c:pt idx="5739">
                  <c:v>-1.5043599999999999</c:v>
                </c:pt>
                <c:pt idx="5740">
                  <c:v>-2.26064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#N/A</c:v>
                </c:pt>
                <c:pt idx="5745">
                  <c:v>#N/A</c:v>
                </c:pt>
                <c:pt idx="5746">
                  <c:v>#N/A</c:v>
                </c:pt>
                <c:pt idx="5747">
                  <c:v>#N/A</c:v>
                </c:pt>
                <c:pt idx="5748">
                  <c:v>#N/A</c:v>
                </c:pt>
                <c:pt idx="5749">
                  <c:v>#N/A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#N/A</c:v>
                </c:pt>
                <c:pt idx="5754">
                  <c:v>#N/A</c:v>
                </c:pt>
                <c:pt idx="5755">
                  <c:v>#N/A</c:v>
                </c:pt>
                <c:pt idx="5756">
                  <c:v>#N/A</c:v>
                </c:pt>
                <c:pt idx="5757">
                  <c:v>#N/A</c:v>
                </c:pt>
                <c:pt idx="5758">
                  <c:v>#N/A</c:v>
                </c:pt>
                <c:pt idx="5759">
                  <c:v>#N/A</c:v>
                </c:pt>
                <c:pt idx="5760">
                  <c:v>#N/A</c:v>
                </c:pt>
                <c:pt idx="5761">
                  <c:v>#N/A</c:v>
                </c:pt>
                <c:pt idx="5762">
                  <c:v>#N/A</c:v>
                </c:pt>
                <c:pt idx="5763">
                  <c:v>-2.7823799999999999</c:v>
                </c:pt>
                <c:pt idx="5764">
                  <c:v>-3.2803399999999998</c:v>
                </c:pt>
                <c:pt idx="5765">
                  <c:v>#N/A</c:v>
                </c:pt>
                <c:pt idx="5766">
                  <c:v>-3.2106599999999998</c:v>
                </c:pt>
                <c:pt idx="5767">
                  <c:v>-2.8394599999999999</c:v>
                </c:pt>
                <c:pt idx="5768">
                  <c:v>#N/A</c:v>
                </c:pt>
                <c:pt idx="5769">
                  <c:v>-2.8325100000000001</c:v>
                </c:pt>
                <c:pt idx="5770">
                  <c:v>-2.7416100000000001</c:v>
                </c:pt>
                <c:pt idx="5771">
                  <c:v>-2.6394199999999999</c:v>
                </c:pt>
                <c:pt idx="5772">
                  <c:v>#N/A</c:v>
                </c:pt>
                <c:pt idx="5773">
                  <c:v>-3.0273699999999999</c:v>
                </c:pt>
                <c:pt idx="5774">
                  <c:v>-3.2352300000000001</c:v>
                </c:pt>
                <c:pt idx="5775">
                  <c:v>-3.1067499999999999</c:v>
                </c:pt>
                <c:pt idx="5776">
                  <c:v>#N/A</c:v>
                </c:pt>
                <c:pt idx="5777">
                  <c:v>-3.4513600000000002</c:v>
                </c:pt>
                <c:pt idx="5778">
                  <c:v>-2.99349</c:v>
                </c:pt>
                <c:pt idx="5779">
                  <c:v>#N/A</c:v>
                </c:pt>
                <c:pt idx="5780">
                  <c:v>-2.8805499999999999</c:v>
                </c:pt>
                <c:pt idx="5781">
                  <c:v>-2.36233</c:v>
                </c:pt>
                <c:pt idx="5782">
                  <c:v>-2.7269100000000002</c:v>
                </c:pt>
                <c:pt idx="5783">
                  <c:v>#N/A</c:v>
                </c:pt>
                <c:pt idx="5784">
                  <c:v>-2.8820800000000002</c:v>
                </c:pt>
                <c:pt idx="5785">
                  <c:v>-3.34476</c:v>
                </c:pt>
                <c:pt idx="5786">
                  <c:v>-2.9164400000000001</c:v>
                </c:pt>
                <c:pt idx="5787">
                  <c:v>#N/A</c:v>
                </c:pt>
                <c:pt idx="5788">
                  <c:v>-2.71617</c:v>
                </c:pt>
                <c:pt idx="5789">
                  <c:v>-2.8569900000000001</c:v>
                </c:pt>
                <c:pt idx="5790">
                  <c:v>-2.3050600000000001</c:v>
                </c:pt>
                <c:pt idx="5791">
                  <c:v>#N/A</c:v>
                </c:pt>
                <c:pt idx="5792">
                  <c:v>-1.8274699999999999</c:v>
                </c:pt>
                <c:pt idx="5793">
                  <c:v>-2.4803799999999998</c:v>
                </c:pt>
                <c:pt idx="5794">
                  <c:v>-3.0672600000000001</c:v>
                </c:pt>
                <c:pt idx="5795">
                  <c:v>#N/A</c:v>
                </c:pt>
                <c:pt idx="5796">
                  <c:v>-3.28268</c:v>
                </c:pt>
                <c:pt idx="5797">
                  <c:v>-3.3400300000000001</c:v>
                </c:pt>
                <c:pt idx="5798">
                  <c:v>-2.6738400000000002</c:v>
                </c:pt>
                <c:pt idx="5799">
                  <c:v>#N/A</c:v>
                </c:pt>
                <c:pt idx="5800">
                  <c:v>-2.1831</c:v>
                </c:pt>
                <c:pt idx="5801">
                  <c:v>-2.0585200000000001</c:v>
                </c:pt>
                <c:pt idx="5802">
                  <c:v>-2.3464800000000001</c:v>
                </c:pt>
                <c:pt idx="5803">
                  <c:v>#N/A</c:v>
                </c:pt>
                <c:pt idx="5804">
                  <c:v>-2.3428100000000001</c:v>
                </c:pt>
                <c:pt idx="5805">
                  <c:v>-2.6804100000000002</c:v>
                </c:pt>
                <c:pt idx="5806">
                  <c:v>#N/A</c:v>
                </c:pt>
                <c:pt idx="5807">
                  <c:v>-3.2384400000000002</c:v>
                </c:pt>
                <c:pt idx="5808">
                  <c:v>-3.7162899999999999</c:v>
                </c:pt>
                <c:pt idx="5809">
                  <c:v>-2.9056799999999998</c:v>
                </c:pt>
                <c:pt idx="5810">
                  <c:v>#N/A</c:v>
                </c:pt>
                <c:pt idx="5811">
                  <c:v>-2.7555700000000001</c:v>
                </c:pt>
                <c:pt idx="5812">
                  <c:v>-1.89174</c:v>
                </c:pt>
                <c:pt idx="5813">
                  <c:v>#N/A</c:v>
                </c:pt>
                <c:pt idx="5814">
                  <c:v>-2.4937</c:v>
                </c:pt>
                <c:pt idx="5815">
                  <c:v>-2.29474</c:v>
                </c:pt>
                <c:pt idx="5816">
                  <c:v>-2.5489899999999999</c:v>
                </c:pt>
                <c:pt idx="5817">
                  <c:v>#N/A</c:v>
                </c:pt>
                <c:pt idx="5818">
                  <c:v>-2.90639</c:v>
                </c:pt>
                <c:pt idx="5819">
                  <c:v>-3.2055600000000002</c:v>
                </c:pt>
                <c:pt idx="5820">
                  <c:v>-2.8222299999999998</c:v>
                </c:pt>
                <c:pt idx="5821">
                  <c:v>#N/A</c:v>
                </c:pt>
                <c:pt idx="5822">
                  <c:v>-1.57724</c:v>
                </c:pt>
                <c:pt idx="5823">
                  <c:v>-2.1288399999999998</c:v>
                </c:pt>
                <c:pt idx="5824">
                  <c:v>-1.51918</c:v>
                </c:pt>
                <c:pt idx="5825">
                  <c:v>#N/A</c:v>
                </c:pt>
                <c:pt idx="5826">
                  <c:v>-2.1447400000000001</c:v>
                </c:pt>
                <c:pt idx="5827">
                  <c:v>-2.2472699999999999</c:v>
                </c:pt>
                <c:pt idx="5828">
                  <c:v>-3.4133800000000001</c:v>
                </c:pt>
                <c:pt idx="5829">
                  <c:v>#N/A</c:v>
                </c:pt>
                <c:pt idx="5830">
                  <c:v>-2.74716</c:v>
                </c:pt>
                <c:pt idx="5831">
                  <c:v>-2.9269799999999999</c:v>
                </c:pt>
                <c:pt idx="5832">
                  <c:v>-2.4513400000000001</c:v>
                </c:pt>
                <c:pt idx="5833">
                  <c:v>#N/A</c:v>
                </c:pt>
                <c:pt idx="5834">
                  <c:v>-2.0825100000000001</c:v>
                </c:pt>
                <c:pt idx="5835">
                  <c:v>-2.8432499999999998</c:v>
                </c:pt>
                <c:pt idx="5836">
                  <c:v>-3.05165</c:v>
                </c:pt>
                <c:pt idx="5837">
                  <c:v>#N/A</c:v>
                </c:pt>
                <c:pt idx="5838">
                  <c:v>-3.7952300000000001</c:v>
                </c:pt>
                <c:pt idx="5839">
                  <c:v>-3.3321399999999999</c:v>
                </c:pt>
                <c:pt idx="5840">
                  <c:v>-3.3057099999999999</c:v>
                </c:pt>
                <c:pt idx="5841">
                  <c:v>#N/A</c:v>
                </c:pt>
                <c:pt idx="5842">
                  <c:v>-2.7775799999999999</c:v>
                </c:pt>
                <c:pt idx="5843">
                  <c:v>-2.7612899999999998</c:v>
                </c:pt>
                <c:pt idx="5844">
                  <c:v>#N/A</c:v>
                </c:pt>
                <c:pt idx="5845">
                  <c:v>-2.25962</c:v>
                </c:pt>
                <c:pt idx="5846">
                  <c:v>-2.61015</c:v>
                </c:pt>
                <c:pt idx="5847">
                  <c:v>-2.5446</c:v>
                </c:pt>
                <c:pt idx="5848">
                  <c:v>#N/A</c:v>
                </c:pt>
                <c:pt idx="5849">
                  <c:v>-3.1869900000000002</c:v>
                </c:pt>
                <c:pt idx="5850">
                  <c:v>-2.9146999999999998</c:v>
                </c:pt>
                <c:pt idx="5851">
                  <c:v>-2.8599299999999999</c:v>
                </c:pt>
                <c:pt idx="5852">
                  <c:v>#N/A</c:v>
                </c:pt>
                <c:pt idx="5853">
                  <c:v>-1.9748000000000001</c:v>
                </c:pt>
                <c:pt idx="5854">
                  <c:v>#N/A</c:v>
                </c:pt>
                <c:pt idx="5855">
                  <c:v>-1.9240699999999999</c:v>
                </c:pt>
                <c:pt idx="5856">
                  <c:v>-2.0914899999999998</c:v>
                </c:pt>
                <c:pt idx="5857">
                  <c:v>#N/A</c:v>
                </c:pt>
                <c:pt idx="5858">
                  <c:v>-2.4335499999999999</c:v>
                </c:pt>
                <c:pt idx="5859">
                  <c:v>-2.9417399999999998</c:v>
                </c:pt>
                <c:pt idx="5860">
                  <c:v>#N/A</c:v>
                </c:pt>
                <c:pt idx="5861">
                  <c:v>-2.42401</c:v>
                </c:pt>
                <c:pt idx="5862">
                  <c:v>-2.2230799999999999</c:v>
                </c:pt>
                <c:pt idx="5863">
                  <c:v>#N/A</c:v>
                </c:pt>
                <c:pt idx="5864">
                  <c:v>-1.8754500000000001</c:v>
                </c:pt>
                <c:pt idx="5865">
                  <c:v>-2.0979199999999998</c:v>
                </c:pt>
                <c:pt idx="5866">
                  <c:v>-2.26736</c:v>
                </c:pt>
                <c:pt idx="5867">
                  <c:v>#N/A</c:v>
                </c:pt>
                <c:pt idx="5868">
                  <c:v>-3.2317</c:v>
                </c:pt>
                <c:pt idx="5869">
                  <c:v>-3.69293</c:v>
                </c:pt>
                <c:pt idx="5870">
                  <c:v>-3.19157</c:v>
                </c:pt>
                <c:pt idx="5871">
                  <c:v>#N/A</c:v>
                </c:pt>
                <c:pt idx="5872">
                  <c:v>-2.9901800000000001</c:v>
                </c:pt>
                <c:pt idx="5873">
                  <c:v>-2.0167299999999999</c:v>
                </c:pt>
                <c:pt idx="5874">
                  <c:v>-2.22621</c:v>
                </c:pt>
                <c:pt idx="5875">
                  <c:v>#N/A</c:v>
                </c:pt>
                <c:pt idx="5876">
                  <c:v>-2.6575500000000001</c:v>
                </c:pt>
                <c:pt idx="5877">
                  <c:v>-2.9231600000000002</c:v>
                </c:pt>
                <c:pt idx="5878">
                  <c:v>-3.03633</c:v>
                </c:pt>
                <c:pt idx="5879">
                  <c:v>#N/A</c:v>
                </c:pt>
                <c:pt idx="5880">
                  <c:v>-3.9802499999999998</c:v>
                </c:pt>
                <c:pt idx="5881">
                  <c:v>-3.31379</c:v>
                </c:pt>
                <c:pt idx="5882">
                  <c:v>-2.49038</c:v>
                </c:pt>
                <c:pt idx="5883">
                  <c:v>#N/A</c:v>
                </c:pt>
                <c:pt idx="5884">
                  <c:v>-2.0399799999999999</c:v>
                </c:pt>
                <c:pt idx="5885">
                  <c:v>-1.6855800000000001</c:v>
                </c:pt>
                <c:pt idx="5886">
                  <c:v>#N/A</c:v>
                </c:pt>
                <c:pt idx="5887">
                  <c:v>-1.9405399999999999</c:v>
                </c:pt>
                <c:pt idx="5888">
                  <c:v>-2.4454799999999999</c:v>
                </c:pt>
                <c:pt idx="5889">
                  <c:v>-2.8773300000000002</c:v>
                </c:pt>
                <c:pt idx="5890">
                  <c:v>#N/A</c:v>
                </c:pt>
                <c:pt idx="5891">
                  <c:v>-3.3520599999999998</c:v>
                </c:pt>
                <c:pt idx="5892">
                  <c:v>-3.5355400000000001</c:v>
                </c:pt>
                <c:pt idx="5893">
                  <c:v>-3.1022699999999999</c:v>
                </c:pt>
                <c:pt idx="5894">
                  <c:v>#N/A</c:v>
                </c:pt>
                <c:pt idx="5895">
                  <c:v>-2.1647500000000002</c:v>
                </c:pt>
                <c:pt idx="5896">
                  <c:v>-1.8418099999999999</c:v>
                </c:pt>
                <c:pt idx="5897">
                  <c:v>-1.8285400000000001</c:v>
                </c:pt>
                <c:pt idx="5898">
                  <c:v>#N/A</c:v>
                </c:pt>
                <c:pt idx="5899">
                  <c:v>-2.9483700000000002</c:v>
                </c:pt>
                <c:pt idx="5900">
                  <c:v>-3.3380800000000002</c:v>
                </c:pt>
                <c:pt idx="5901">
                  <c:v>-3.4383300000000001</c:v>
                </c:pt>
                <c:pt idx="5902">
                  <c:v>#N/A</c:v>
                </c:pt>
                <c:pt idx="5903">
                  <c:v>-3.4287299999999998</c:v>
                </c:pt>
                <c:pt idx="5904">
                  <c:v>-3.0661900000000002</c:v>
                </c:pt>
                <c:pt idx="5905">
                  <c:v>-2.24254</c:v>
                </c:pt>
                <c:pt idx="5906">
                  <c:v>#N/A</c:v>
                </c:pt>
                <c:pt idx="5907">
                  <c:v>-1.7441899999999999</c:v>
                </c:pt>
                <c:pt idx="5908">
                  <c:v>-2.01512</c:v>
                </c:pt>
                <c:pt idx="5909">
                  <c:v>-2.2292800000000002</c:v>
                </c:pt>
                <c:pt idx="5910">
                  <c:v>#N/A</c:v>
                </c:pt>
                <c:pt idx="5911">
                  <c:v>-2.9548800000000002</c:v>
                </c:pt>
                <c:pt idx="5912">
                  <c:v>-2.8350300000000002</c:v>
                </c:pt>
                <c:pt idx="5913">
                  <c:v>#N/A</c:v>
                </c:pt>
                <c:pt idx="5914">
                  <c:v>-2.95879</c:v>
                </c:pt>
                <c:pt idx="5915">
                  <c:v>-2.2766099999999998</c:v>
                </c:pt>
                <c:pt idx="5916">
                  <c:v>-2.3087800000000001</c:v>
                </c:pt>
                <c:pt idx="5917">
                  <c:v>#N/A</c:v>
                </c:pt>
                <c:pt idx="5918">
                  <c:v>-2.36347</c:v>
                </c:pt>
                <c:pt idx="5919">
                  <c:v>-2.7660399999999998</c:v>
                </c:pt>
                <c:pt idx="5920">
                  <c:v>#N/A</c:v>
                </c:pt>
                <c:pt idx="5921">
                  <c:v>-2.79834</c:v>
                </c:pt>
                <c:pt idx="5922">
                  <c:v>-2.5912299999999999</c:v>
                </c:pt>
                <c:pt idx="5923">
                  <c:v>-2.8218399999999999</c:v>
                </c:pt>
                <c:pt idx="5924">
                  <c:v>#N/A</c:v>
                </c:pt>
                <c:pt idx="5925">
                  <c:v>-2.6313399999999998</c:v>
                </c:pt>
                <c:pt idx="5926">
                  <c:v>-2.2789000000000001</c:v>
                </c:pt>
                <c:pt idx="5927">
                  <c:v>#N/A</c:v>
                </c:pt>
                <c:pt idx="5928">
                  <c:v>-2.5775600000000001</c:v>
                </c:pt>
                <c:pt idx="5929">
                  <c:v>#N/A</c:v>
                </c:pt>
                <c:pt idx="5930">
                  <c:v>-2.32504</c:v>
                </c:pt>
                <c:pt idx="5931">
                  <c:v>-2.7639399999999998</c:v>
                </c:pt>
                <c:pt idx="5932">
                  <c:v>-2.5296699999999999</c:v>
                </c:pt>
                <c:pt idx="5933">
                  <c:v>#N/A</c:v>
                </c:pt>
                <c:pt idx="5934">
                  <c:v>-2.4928699999999999</c:v>
                </c:pt>
                <c:pt idx="5935">
                  <c:v>-2.1755300000000002</c:v>
                </c:pt>
                <c:pt idx="5936">
                  <c:v>#N/A</c:v>
                </c:pt>
                <c:pt idx="5937">
                  <c:v>-2.0153699999999999</c:v>
                </c:pt>
                <c:pt idx="5938">
                  <c:v>-1.7747200000000001</c:v>
                </c:pt>
                <c:pt idx="5939">
                  <c:v>-2.52536</c:v>
                </c:pt>
                <c:pt idx="5940">
                  <c:v>#N/A</c:v>
                </c:pt>
                <c:pt idx="5941">
                  <c:v>-3.42231</c:v>
                </c:pt>
                <c:pt idx="5942">
                  <c:v>-3.69482</c:v>
                </c:pt>
                <c:pt idx="5943">
                  <c:v>-3.0738099999999999</c:v>
                </c:pt>
                <c:pt idx="5944">
                  <c:v>#N/A</c:v>
                </c:pt>
                <c:pt idx="5945">
                  <c:v>-3.1108699999999998</c:v>
                </c:pt>
                <c:pt idx="5946">
                  <c:v>-1.89089</c:v>
                </c:pt>
                <c:pt idx="5947">
                  <c:v>#N/A</c:v>
                </c:pt>
                <c:pt idx="5948">
                  <c:v>-2.0388799999999998</c:v>
                </c:pt>
                <c:pt idx="5949">
                  <c:v>-1.60026</c:v>
                </c:pt>
                <c:pt idx="5950">
                  <c:v>-2.38042</c:v>
                </c:pt>
                <c:pt idx="5951">
                  <c:v>#N/A</c:v>
                </c:pt>
                <c:pt idx="5952">
                  <c:v>-2.82491</c:v>
                </c:pt>
                <c:pt idx="5953">
                  <c:v>-3.7334999999999998</c:v>
                </c:pt>
                <c:pt idx="5954">
                  <c:v>-2.9727100000000002</c:v>
                </c:pt>
                <c:pt idx="5955">
                  <c:v>#N/A</c:v>
                </c:pt>
                <c:pt idx="5956">
                  <c:v>-2.6145399999999999</c:v>
                </c:pt>
                <c:pt idx="5957">
                  <c:v>-2.04582</c:v>
                </c:pt>
                <c:pt idx="5958">
                  <c:v>#N/A</c:v>
                </c:pt>
                <c:pt idx="5959">
                  <c:v>-1.8525</c:v>
                </c:pt>
                <c:pt idx="5960">
                  <c:v>-2.6494399999999998</c:v>
                </c:pt>
                <c:pt idx="5961">
                  <c:v>-2.3325</c:v>
                </c:pt>
                <c:pt idx="5962">
                  <c:v>#N/A</c:v>
                </c:pt>
                <c:pt idx="5963">
                  <c:v>-3.1663100000000002</c:v>
                </c:pt>
                <c:pt idx="5964">
                  <c:v>-3.2873199999999998</c:v>
                </c:pt>
                <c:pt idx="5965">
                  <c:v>-3.4428000000000001</c:v>
                </c:pt>
                <c:pt idx="5966">
                  <c:v>#N/A</c:v>
                </c:pt>
                <c:pt idx="5967">
                  <c:v>-2.9798200000000001</c:v>
                </c:pt>
                <c:pt idx="5968">
                  <c:v>-2.00413</c:v>
                </c:pt>
                <c:pt idx="5969">
                  <c:v>-1.52122</c:v>
                </c:pt>
                <c:pt idx="5970">
                  <c:v>#N/A</c:v>
                </c:pt>
                <c:pt idx="5971">
                  <c:v>-1.52834</c:v>
                </c:pt>
                <c:pt idx="5972">
                  <c:v>-2.5117500000000001</c:v>
                </c:pt>
                <c:pt idx="5973">
                  <c:v>-2.7998099999999999</c:v>
                </c:pt>
                <c:pt idx="5974">
                  <c:v>#N/A</c:v>
                </c:pt>
                <c:pt idx="5975">
                  <c:v>-3.11083</c:v>
                </c:pt>
                <c:pt idx="5976">
                  <c:v>-3.2174100000000001</c:v>
                </c:pt>
                <c:pt idx="5977">
                  <c:v>-3.1902699999999999</c:v>
                </c:pt>
                <c:pt idx="5978">
                  <c:v>#N/A</c:v>
                </c:pt>
                <c:pt idx="5979">
                  <c:v>-2.37514</c:v>
                </c:pt>
                <c:pt idx="5980">
                  <c:v>-2.2023700000000002</c:v>
                </c:pt>
                <c:pt idx="5981">
                  <c:v>-2.0545</c:v>
                </c:pt>
                <c:pt idx="5982">
                  <c:v>#N/A</c:v>
                </c:pt>
                <c:pt idx="5983">
                  <c:v>-1.6367499999999999</c:v>
                </c:pt>
                <c:pt idx="5984">
                  <c:v>-2.45485</c:v>
                </c:pt>
                <c:pt idx="5985">
                  <c:v>-3.36076</c:v>
                </c:pt>
                <c:pt idx="5986">
                  <c:v>#N/A</c:v>
                </c:pt>
                <c:pt idx="5987">
                  <c:v>-2.9906000000000001</c:v>
                </c:pt>
                <c:pt idx="5988">
                  <c:v>-2.87283</c:v>
                </c:pt>
                <c:pt idx="5989">
                  <c:v>-2.2685900000000001</c:v>
                </c:pt>
                <c:pt idx="5990">
                  <c:v>#N/A</c:v>
                </c:pt>
                <c:pt idx="5991">
                  <c:v>-1.90907</c:v>
                </c:pt>
                <c:pt idx="5992">
                  <c:v>-1.7002699999999999</c:v>
                </c:pt>
                <c:pt idx="5993">
                  <c:v>#N/A</c:v>
                </c:pt>
                <c:pt idx="5994">
                  <c:v>-2.3048700000000002</c:v>
                </c:pt>
                <c:pt idx="5995">
                  <c:v>-2.8273199999999998</c:v>
                </c:pt>
                <c:pt idx="5996">
                  <c:v>-3.1273499999999999</c:v>
                </c:pt>
                <c:pt idx="5997">
                  <c:v>#N/A</c:v>
                </c:pt>
                <c:pt idx="5998">
                  <c:v>-2.6852999999999998</c:v>
                </c:pt>
                <c:pt idx="5999">
                  <c:v>-2.6048</c:v>
                </c:pt>
                <c:pt idx="6000">
                  <c:v>-2.2812100000000002</c:v>
                </c:pt>
                <c:pt idx="6001">
                  <c:v>#N/A</c:v>
                </c:pt>
                <c:pt idx="6002">
                  <c:v>-2.6433900000000001</c:v>
                </c:pt>
                <c:pt idx="6003">
                  <c:v>-2.7209599999999998</c:v>
                </c:pt>
                <c:pt idx="6004">
                  <c:v>#N/A</c:v>
                </c:pt>
                <c:pt idx="6005">
                  <c:v>-3.0401199999999999</c:v>
                </c:pt>
                <c:pt idx="6006">
                  <c:v>#N/A</c:v>
                </c:pt>
                <c:pt idx="6007">
                  <c:v>-2.9305400000000001</c:v>
                </c:pt>
                <c:pt idx="6008">
                  <c:v>-2.5787499999999999</c:v>
                </c:pt>
                <c:pt idx="6009">
                  <c:v>-2.02772</c:v>
                </c:pt>
                <c:pt idx="6010">
                  <c:v>#N/A</c:v>
                </c:pt>
                <c:pt idx="6011">
                  <c:v>-2.1964399999999999</c:v>
                </c:pt>
                <c:pt idx="6012">
                  <c:v>-2.5166400000000002</c:v>
                </c:pt>
                <c:pt idx="6013">
                  <c:v>-2.4460600000000001</c:v>
                </c:pt>
                <c:pt idx="6014">
                  <c:v>#N/A</c:v>
                </c:pt>
                <c:pt idx="6015">
                  <c:v>-3.18329</c:v>
                </c:pt>
                <c:pt idx="6016">
                  <c:v>-3.2547299999999999</c:v>
                </c:pt>
                <c:pt idx="6017">
                  <c:v>#N/A</c:v>
                </c:pt>
                <c:pt idx="6018">
                  <c:v>-3.1884700000000001</c:v>
                </c:pt>
                <c:pt idx="6019">
                  <c:v>-2.7141600000000001</c:v>
                </c:pt>
                <c:pt idx="6020">
                  <c:v>-2.41398</c:v>
                </c:pt>
                <c:pt idx="6021">
                  <c:v>#N/A</c:v>
                </c:pt>
                <c:pt idx="6022">
                  <c:v>-2.1368399999999999</c:v>
                </c:pt>
                <c:pt idx="6023">
                  <c:v>-2.8819400000000002</c:v>
                </c:pt>
                <c:pt idx="6024">
                  <c:v>-3.3506499999999999</c:v>
                </c:pt>
                <c:pt idx="6025">
                  <c:v>#N/A</c:v>
                </c:pt>
                <c:pt idx="6026">
                  <c:v>-3.2588200000000001</c:v>
                </c:pt>
                <c:pt idx="6027">
                  <c:v>-3.2002600000000001</c:v>
                </c:pt>
                <c:pt idx="6028">
                  <c:v>-2.5750099999999998</c:v>
                </c:pt>
                <c:pt idx="6029">
                  <c:v>#N/A</c:v>
                </c:pt>
                <c:pt idx="6030">
                  <c:v>-2.2340300000000002</c:v>
                </c:pt>
                <c:pt idx="6031">
                  <c:v>-1.5959000000000001</c:v>
                </c:pt>
                <c:pt idx="6032">
                  <c:v>#N/A</c:v>
                </c:pt>
                <c:pt idx="6033">
                  <c:v>-2.22837</c:v>
                </c:pt>
                <c:pt idx="6034">
                  <c:v>-2.6244800000000001</c:v>
                </c:pt>
                <c:pt idx="6035">
                  <c:v>-3.1751800000000001</c:v>
                </c:pt>
                <c:pt idx="6036">
                  <c:v>#N/A</c:v>
                </c:pt>
                <c:pt idx="6037">
                  <c:v>-3.3370299999999999</c:v>
                </c:pt>
                <c:pt idx="6038">
                  <c:v>-3.1937700000000002</c:v>
                </c:pt>
                <c:pt idx="6039">
                  <c:v>-2.9281899999999998</c:v>
                </c:pt>
                <c:pt idx="6040">
                  <c:v>#N/A</c:v>
                </c:pt>
                <c:pt idx="6041">
                  <c:v>-2.0954600000000001</c:v>
                </c:pt>
                <c:pt idx="6042">
                  <c:v>-2.0819200000000002</c:v>
                </c:pt>
                <c:pt idx="6043">
                  <c:v>-2.0015800000000001</c:v>
                </c:pt>
                <c:pt idx="6044">
                  <c:v>#N/A</c:v>
                </c:pt>
                <c:pt idx="6045">
                  <c:v>-2.4195099999999998</c:v>
                </c:pt>
                <c:pt idx="6046">
                  <c:v>-2.5876999999999999</c:v>
                </c:pt>
                <c:pt idx="6047">
                  <c:v>-3.1518799999999998</c:v>
                </c:pt>
                <c:pt idx="6048">
                  <c:v>#N/A</c:v>
                </c:pt>
                <c:pt idx="6049">
                  <c:v>-3.5305</c:v>
                </c:pt>
                <c:pt idx="6050">
                  <c:v>-3.05097</c:v>
                </c:pt>
                <c:pt idx="6051">
                  <c:v>#N/A</c:v>
                </c:pt>
                <c:pt idx="6052">
                  <c:v>-2.1224599999999998</c:v>
                </c:pt>
                <c:pt idx="6053">
                  <c:v>-1.9467099999999999</c:v>
                </c:pt>
                <c:pt idx="6054">
                  <c:v>-2.3804099999999999</c:v>
                </c:pt>
                <c:pt idx="6055">
                  <c:v>#N/A</c:v>
                </c:pt>
                <c:pt idx="6056">
                  <c:v>-2.0493600000000001</c:v>
                </c:pt>
                <c:pt idx="6057">
                  <c:v>-2.62208</c:v>
                </c:pt>
                <c:pt idx="6058">
                  <c:v>-2.9769000000000001</c:v>
                </c:pt>
                <c:pt idx="6059">
                  <c:v>#N/A</c:v>
                </c:pt>
                <c:pt idx="6060">
                  <c:v>-3.1570399999999998</c:v>
                </c:pt>
                <c:pt idx="6061">
                  <c:v>-3.1687799999999999</c:v>
                </c:pt>
                <c:pt idx="6062">
                  <c:v>-3.0315300000000001</c:v>
                </c:pt>
                <c:pt idx="6063">
                  <c:v>#N/A</c:v>
                </c:pt>
                <c:pt idx="6064">
                  <c:v>-2.7562199999999999</c:v>
                </c:pt>
                <c:pt idx="6065">
                  <c:v>-2.22126</c:v>
                </c:pt>
                <c:pt idx="6066">
                  <c:v>-2.7092499999999999</c:v>
                </c:pt>
                <c:pt idx="6067">
                  <c:v>#N/A</c:v>
                </c:pt>
                <c:pt idx="6068">
                  <c:v>-2.45404</c:v>
                </c:pt>
                <c:pt idx="6069">
                  <c:v>-2.9295300000000002</c:v>
                </c:pt>
                <c:pt idx="6070">
                  <c:v>-2.8872599999999999</c:v>
                </c:pt>
                <c:pt idx="6071">
                  <c:v>#N/A</c:v>
                </c:pt>
                <c:pt idx="6072">
                  <c:v>-2.5706799999999999</c:v>
                </c:pt>
                <c:pt idx="6073">
                  <c:v>-2.19503</c:v>
                </c:pt>
                <c:pt idx="6074">
                  <c:v>-2.1776800000000001</c:v>
                </c:pt>
                <c:pt idx="6075">
                  <c:v>#N/A</c:v>
                </c:pt>
                <c:pt idx="6076">
                  <c:v>-1.71767</c:v>
                </c:pt>
                <c:pt idx="6077">
                  <c:v>-2.9905200000000001</c:v>
                </c:pt>
                <c:pt idx="6078">
                  <c:v>-2.5326300000000002</c:v>
                </c:pt>
                <c:pt idx="6079">
                  <c:v>#N/A</c:v>
                </c:pt>
                <c:pt idx="6080">
                  <c:v>#N/A</c:v>
                </c:pt>
                <c:pt idx="6081">
                  <c:v>-2.8010999999999999</c:v>
                </c:pt>
                <c:pt idx="6082">
                  <c:v>-2.45824</c:v>
                </c:pt>
                <c:pt idx="6083">
                  <c:v>-2.2058</c:v>
                </c:pt>
                <c:pt idx="6084">
                  <c:v>#N/A</c:v>
                </c:pt>
                <c:pt idx="6085">
                  <c:v>-2.6158000000000001</c:v>
                </c:pt>
                <c:pt idx="6086">
                  <c:v>-2.7468300000000001</c:v>
                </c:pt>
                <c:pt idx="6087">
                  <c:v>-3.85765</c:v>
                </c:pt>
                <c:pt idx="6088">
                  <c:v>#N/A</c:v>
                </c:pt>
                <c:pt idx="6089">
                  <c:v>-3.9104299999999999</c:v>
                </c:pt>
                <c:pt idx="6090">
                  <c:v>-3.5129899999999998</c:v>
                </c:pt>
                <c:pt idx="6091">
                  <c:v>-2.9910399999999999</c:v>
                </c:pt>
                <c:pt idx="6092">
                  <c:v>#N/A</c:v>
                </c:pt>
                <c:pt idx="6093">
                  <c:v>-2.10534</c:v>
                </c:pt>
                <c:pt idx="6094">
                  <c:v>-2.2712599999999998</c:v>
                </c:pt>
                <c:pt idx="6095">
                  <c:v>#N/A</c:v>
                </c:pt>
                <c:pt idx="6096">
                  <c:v>-2.02569</c:v>
                </c:pt>
                <c:pt idx="6097">
                  <c:v>-2.86361</c:v>
                </c:pt>
                <c:pt idx="6098">
                  <c:v>-3.4801700000000002</c:v>
                </c:pt>
                <c:pt idx="6099">
                  <c:v>#N/A</c:v>
                </c:pt>
                <c:pt idx="6100">
                  <c:v>-3.3231600000000001</c:v>
                </c:pt>
                <c:pt idx="6101">
                  <c:v>-3.5031699999999999</c:v>
                </c:pt>
                <c:pt idx="6102">
                  <c:v>-2.4772599999999998</c:v>
                </c:pt>
                <c:pt idx="6103">
                  <c:v>#N/A</c:v>
                </c:pt>
                <c:pt idx="6104">
                  <c:v>-1.76257</c:v>
                </c:pt>
                <c:pt idx="6105">
                  <c:v>-1.9054199999999999</c:v>
                </c:pt>
                <c:pt idx="6106">
                  <c:v>-2.3992599999999999</c:v>
                </c:pt>
                <c:pt idx="6107">
                  <c:v>#N/A</c:v>
                </c:pt>
                <c:pt idx="6108">
                  <c:v>-2.7677999999999998</c:v>
                </c:pt>
                <c:pt idx="6109">
                  <c:v>-3.0712700000000002</c:v>
                </c:pt>
                <c:pt idx="6110">
                  <c:v>#N/A</c:v>
                </c:pt>
                <c:pt idx="6111">
                  <c:v>-3.4507400000000001</c:v>
                </c:pt>
                <c:pt idx="6112">
                  <c:v>-2.9713599999999998</c:v>
                </c:pt>
                <c:pt idx="6113">
                  <c:v>-2.5941100000000001</c:v>
                </c:pt>
                <c:pt idx="6114">
                  <c:v>#N/A</c:v>
                </c:pt>
                <c:pt idx="6115">
                  <c:v>-2.6519599999999999</c:v>
                </c:pt>
                <c:pt idx="6116">
                  <c:v>-1.75485</c:v>
                </c:pt>
                <c:pt idx="6117">
                  <c:v>-2.20194</c:v>
                </c:pt>
                <c:pt idx="6118">
                  <c:v>#N/A</c:v>
                </c:pt>
                <c:pt idx="6119">
                  <c:v>-3.1039400000000001</c:v>
                </c:pt>
                <c:pt idx="6120">
                  <c:v>-3.4537</c:v>
                </c:pt>
                <c:pt idx="6121">
                  <c:v>-3.0136400000000001</c:v>
                </c:pt>
                <c:pt idx="6122">
                  <c:v>#N/A</c:v>
                </c:pt>
                <c:pt idx="6123">
                  <c:v>-3.1697199999999999</c:v>
                </c:pt>
                <c:pt idx="6124">
                  <c:v>-2.88632</c:v>
                </c:pt>
                <c:pt idx="6125">
                  <c:v>-2.51999</c:v>
                </c:pt>
                <c:pt idx="6126">
                  <c:v>#N/A</c:v>
                </c:pt>
                <c:pt idx="6127">
                  <c:v>-2.5339499999999999</c:v>
                </c:pt>
                <c:pt idx="6128">
                  <c:v>-1.97821</c:v>
                </c:pt>
                <c:pt idx="6129">
                  <c:v>-2.4209200000000002</c:v>
                </c:pt>
                <c:pt idx="6130">
                  <c:v>#N/A</c:v>
                </c:pt>
                <c:pt idx="6131">
                  <c:v>-2.4744199999999998</c:v>
                </c:pt>
                <c:pt idx="6132">
                  <c:v>-2.6775799999999998</c:v>
                </c:pt>
                <c:pt idx="6133">
                  <c:v>-2.4763199999999999</c:v>
                </c:pt>
                <c:pt idx="6134">
                  <c:v>#N/A</c:v>
                </c:pt>
                <c:pt idx="6135">
                  <c:v>-2.7736100000000001</c:v>
                </c:pt>
                <c:pt idx="6136">
                  <c:v>-2.19035</c:v>
                </c:pt>
                <c:pt idx="6137">
                  <c:v>-3.1012200000000001</c:v>
                </c:pt>
                <c:pt idx="6138">
                  <c:v>#N/A</c:v>
                </c:pt>
                <c:pt idx="6139">
                  <c:v>-2.5677699999999999</c:v>
                </c:pt>
                <c:pt idx="6140">
                  <c:v>-2.7154400000000001</c:v>
                </c:pt>
                <c:pt idx="6141">
                  <c:v>#N/A</c:v>
                </c:pt>
                <c:pt idx="6142">
                  <c:v>-3.2487699999999999</c:v>
                </c:pt>
                <c:pt idx="6143">
                  <c:v>-3.2696499999999999</c:v>
                </c:pt>
                <c:pt idx="6144">
                  <c:v>-2.8110400000000002</c:v>
                </c:pt>
                <c:pt idx="6145">
                  <c:v>#N/A</c:v>
                </c:pt>
                <c:pt idx="6146">
                  <c:v>-2.8456399999999999</c:v>
                </c:pt>
                <c:pt idx="6147">
                  <c:v>-2.52793</c:v>
                </c:pt>
                <c:pt idx="6148">
                  <c:v>-3.0029300000000001</c:v>
                </c:pt>
                <c:pt idx="6149">
                  <c:v>#N/A</c:v>
                </c:pt>
                <c:pt idx="6150">
                  <c:v>-2.6558999999999999</c:v>
                </c:pt>
                <c:pt idx="6151">
                  <c:v>-2.81481</c:v>
                </c:pt>
                <c:pt idx="6152">
                  <c:v>-2.5504899999999999</c:v>
                </c:pt>
                <c:pt idx="6153">
                  <c:v>#N/A</c:v>
                </c:pt>
                <c:pt idx="6154">
                  <c:v>-2.7589000000000001</c:v>
                </c:pt>
                <c:pt idx="6155">
                  <c:v>-2.2011400000000001</c:v>
                </c:pt>
                <c:pt idx="6156">
                  <c:v>#N/A</c:v>
                </c:pt>
                <c:pt idx="6157">
                  <c:v>-2.6560299999999999</c:v>
                </c:pt>
                <c:pt idx="6158">
                  <c:v>-2.23455</c:v>
                </c:pt>
                <c:pt idx="6159">
                  <c:v>-2.7139199999999999</c:v>
                </c:pt>
                <c:pt idx="6160">
                  <c:v>#N/A</c:v>
                </c:pt>
                <c:pt idx="6161">
                  <c:v>-3.1469200000000002</c:v>
                </c:pt>
                <c:pt idx="6162">
                  <c:v>-3.16283</c:v>
                </c:pt>
                <c:pt idx="6163">
                  <c:v>-3.4236499999999999</c:v>
                </c:pt>
                <c:pt idx="6164">
                  <c:v>#N/A</c:v>
                </c:pt>
                <c:pt idx="6165">
                  <c:v>-2.5426600000000001</c:v>
                </c:pt>
                <c:pt idx="6166">
                  <c:v>-2.3484099999999999</c:v>
                </c:pt>
                <c:pt idx="6167">
                  <c:v>-2.177</c:v>
                </c:pt>
                <c:pt idx="6168">
                  <c:v>#N/A</c:v>
                </c:pt>
                <c:pt idx="6169">
                  <c:v>-1.6592199999999999</c:v>
                </c:pt>
                <c:pt idx="6170">
                  <c:v>-2.3787500000000001</c:v>
                </c:pt>
                <c:pt idx="6171">
                  <c:v>-3.2872300000000001</c:v>
                </c:pt>
                <c:pt idx="6172">
                  <c:v>#N/A</c:v>
                </c:pt>
                <c:pt idx="6173">
                  <c:v>-3.50745</c:v>
                </c:pt>
                <c:pt idx="6174">
                  <c:v>-3.4546899999999998</c:v>
                </c:pt>
                <c:pt idx="6175">
                  <c:v>-2.5230399999999999</c:v>
                </c:pt>
                <c:pt idx="6176">
                  <c:v>#N/A</c:v>
                </c:pt>
                <c:pt idx="6177">
                  <c:v>-1.7979400000000001</c:v>
                </c:pt>
                <c:pt idx="6178">
                  <c:v>-1.79836</c:v>
                </c:pt>
                <c:pt idx="6179">
                  <c:v>#N/A</c:v>
                </c:pt>
                <c:pt idx="6180">
                  <c:v>-1.6916899999999999</c:v>
                </c:pt>
                <c:pt idx="6181">
                  <c:v>-2.2132299999999998</c:v>
                </c:pt>
                <c:pt idx="6182">
                  <c:v>-2.7478099999999999</c:v>
                </c:pt>
                <c:pt idx="6183">
                  <c:v>#N/A</c:v>
                </c:pt>
                <c:pt idx="6184">
                  <c:v>-3.2307600000000001</c:v>
                </c:pt>
                <c:pt idx="6185">
                  <c:v>-3.5465599999999999</c:v>
                </c:pt>
                <c:pt idx="6186">
                  <c:v>-3.1234000000000002</c:v>
                </c:pt>
                <c:pt idx="6187">
                  <c:v>#N/A</c:v>
                </c:pt>
                <c:pt idx="6188">
                  <c:v>-2.1222400000000001</c:v>
                </c:pt>
                <c:pt idx="6189">
                  <c:v>-1.70939</c:v>
                </c:pt>
                <c:pt idx="6190">
                  <c:v>-1.93892</c:v>
                </c:pt>
                <c:pt idx="6191">
                  <c:v>#N/A</c:v>
                </c:pt>
                <c:pt idx="6192">
                  <c:v>-2.4619300000000002</c:v>
                </c:pt>
                <c:pt idx="6193">
                  <c:v>-3.1468500000000001</c:v>
                </c:pt>
                <c:pt idx="6194">
                  <c:v>-3.3376100000000002</c:v>
                </c:pt>
                <c:pt idx="6195">
                  <c:v>#N/A</c:v>
                </c:pt>
                <c:pt idx="6196">
                  <c:v>-3.2344900000000001</c:v>
                </c:pt>
                <c:pt idx="6197">
                  <c:v>-2.77182</c:v>
                </c:pt>
                <c:pt idx="6198">
                  <c:v>-2.4634999999999998</c:v>
                </c:pt>
                <c:pt idx="6199">
                  <c:v>#N/A</c:v>
                </c:pt>
                <c:pt idx="6200">
                  <c:v>-2.1405400000000001</c:v>
                </c:pt>
                <c:pt idx="6201">
                  <c:v>-2.2719299999999998</c:v>
                </c:pt>
                <c:pt idx="6202">
                  <c:v>-3.7235399999999998</c:v>
                </c:pt>
                <c:pt idx="6203">
                  <c:v>#N/A</c:v>
                </c:pt>
                <c:pt idx="6204">
                  <c:v>-3.05396</c:v>
                </c:pt>
                <c:pt idx="6205">
                  <c:v>-3.2132399999999999</c:v>
                </c:pt>
                <c:pt idx="6206">
                  <c:v>-2.9730799999999999</c:v>
                </c:pt>
                <c:pt idx="6207">
                  <c:v>#N/A</c:v>
                </c:pt>
                <c:pt idx="6208">
                  <c:v>-2.7398099999999999</c:v>
                </c:pt>
                <c:pt idx="6209">
                  <c:v>-2.4115600000000001</c:v>
                </c:pt>
                <c:pt idx="6210">
                  <c:v>#N/A</c:v>
                </c:pt>
                <c:pt idx="6211">
                  <c:v>-3.0606100000000001</c:v>
                </c:pt>
                <c:pt idx="6212">
                  <c:v>-2.8990200000000002</c:v>
                </c:pt>
                <c:pt idx="6213">
                  <c:v>-2.4145500000000002</c:v>
                </c:pt>
                <c:pt idx="6214">
                  <c:v>#N/A</c:v>
                </c:pt>
                <c:pt idx="6215">
                  <c:v>-3.1148699999999998</c:v>
                </c:pt>
                <c:pt idx="6216">
                  <c:v>-3.1017100000000002</c:v>
                </c:pt>
                <c:pt idx="6217">
                  <c:v>-2.5626500000000001</c:v>
                </c:pt>
                <c:pt idx="6218">
                  <c:v>#N/A</c:v>
                </c:pt>
                <c:pt idx="6219">
                  <c:v>-2.0448499999999998</c:v>
                </c:pt>
                <c:pt idx="6220">
                  <c:v>-2.37418</c:v>
                </c:pt>
                <c:pt idx="6221">
                  <c:v>-2.1757599999999999</c:v>
                </c:pt>
                <c:pt idx="6222">
                  <c:v>#N/A</c:v>
                </c:pt>
                <c:pt idx="6223">
                  <c:v>-2.5451000000000001</c:v>
                </c:pt>
                <c:pt idx="6224">
                  <c:v>-2.7744599999999999</c:v>
                </c:pt>
                <c:pt idx="6225">
                  <c:v>-3.2559399999999998</c:v>
                </c:pt>
                <c:pt idx="6226">
                  <c:v>#N/A</c:v>
                </c:pt>
                <c:pt idx="6227">
                  <c:v>-2.6683400000000002</c:v>
                </c:pt>
                <c:pt idx="6228">
                  <c:v>-2.5043899999999999</c:v>
                </c:pt>
                <c:pt idx="6229">
                  <c:v>#N/A</c:v>
                </c:pt>
                <c:pt idx="6230">
                  <c:v>#N/A</c:v>
                </c:pt>
                <c:pt idx="6231">
                  <c:v>-2.08386</c:v>
                </c:pt>
                <c:pt idx="6232">
                  <c:v>-2.9285700000000001</c:v>
                </c:pt>
                <c:pt idx="6233">
                  <c:v>-3.1095299999999999</c:v>
                </c:pt>
                <c:pt idx="6234">
                  <c:v>#N/A</c:v>
                </c:pt>
                <c:pt idx="6235">
                  <c:v>-3.0930599999999999</c:v>
                </c:pt>
                <c:pt idx="6236">
                  <c:v>-2.9257200000000001</c:v>
                </c:pt>
                <c:pt idx="6237">
                  <c:v>-2.4178199999999999</c:v>
                </c:pt>
                <c:pt idx="6238">
                  <c:v>#N/A</c:v>
                </c:pt>
                <c:pt idx="6239">
                  <c:v>-2.3581500000000002</c:v>
                </c:pt>
                <c:pt idx="6240">
                  <c:v>-2.2294100000000001</c:v>
                </c:pt>
                <c:pt idx="6241">
                  <c:v>#N/A</c:v>
                </c:pt>
                <c:pt idx="6242">
                  <c:v>-2.00461</c:v>
                </c:pt>
                <c:pt idx="6243">
                  <c:v>-2.3436599999999999</c:v>
                </c:pt>
                <c:pt idx="6244">
                  <c:v>-3.3351299999999999</c:v>
                </c:pt>
                <c:pt idx="6245">
                  <c:v>#N/A</c:v>
                </c:pt>
                <c:pt idx="6246">
                  <c:v>-3.6208</c:v>
                </c:pt>
                <c:pt idx="6247">
                  <c:v>-3.3775599999999999</c:v>
                </c:pt>
                <c:pt idx="6248">
                  <c:v>-2.5741000000000001</c:v>
                </c:pt>
                <c:pt idx="6249">
                  <c:v>#N/A</c:v>
                </c:pt>
                <c:pt idx="6250">
                  <c:v>-2.0835400000000002</c:v>
                </c:pt>
                <c:pt idx="6251">
                  <c:v>-1.9984500000000001</c:v>
                </c:pt>
                <c:pt idx="6252">
                  <c:v>-1.7355499999999999</c:v>
                </c:pt>
                <c:pt idx="6253">
                  <c:v>#N/A</c:v>
                </c:pt>
                <c:pt idx="6254">
                  <c:v>-2.4572099999999999</c:v>
                </c:pt>
                <c:pt idx="6255">
                  <c:v>-2.4602400000000002</c:v>
                </c:pt>
                <c:pt idx="6256">
                  <c:v>#N/A</c:v>
                </c:pt>
                <c:pt idx="6257">
                  <c:v>-3.24824</c:v>
                </c:pt>
                <c:pt idx="6258">
                  <c:v>-3.86598</c:v>
                </c:pt>
                <c:pt idx="6259">
                  <c:v>-2.8847999999999998</c:v>
                </c:pt>
                <c:pt idx="6260">
                  <c:v>#N/A</c:v>
                </c:pt>
                <c:pt idx="6261">
                  <c:v>-2.1074000000000002</c:v>
                </c:pt>
                <c:pt idx="6262">
                  <c:v>-1.3249299999999999</c:v>
                </c:pt>
                <c:pt idx="6263">
                  <c:v>-2.0585399999999998</c:v>
                </c:pt>
                <c:pt idx="6264">
                  <c:v>#N/A</c:v>
                </c:pt>
                <c:pt idx="6265">
                  <c:v>-2.3663799999999999</c:v>
                </c:pt>
                <c:pt idx="6266">
                  <c:v>-2.9158499999999998</c:v>
                </c:pt>
                <c:pt idx="6267">
                  <c:v>-3.24288</c:v>
                </c:pt>
                <c:pt idx="6268">
                  <c:v>#N/A</c:v>
                </c:pt>
                <c:pt idx="6269">
                  <c:v>-2.6749200000000002</c:v>
                </c:pt>
                <c:pt idx="6270">
                  <c:v>-2.8096199999999998</c:v>
                </c:pt>
                <c:pt idx="6271">
                  <c:v>-2.2780300000000002</c:v>
                </c:pt>
                <c:pt idx="6272">
                  <c:v>#N/A</c:v>
                </c:pt>
                <c:pt idx="6273">
                  <c:v>-1.91021</c:v>
                </c:pt>
                <c:pt idx="6274">
                  <c:v>-1.78346</c:v>
                </c:pt>
                <c:pt idx="6275">
                  <c:v>-2.9704299999999999</c:v>
                </c:pt>
                <c:pt idx="6276">
                  <c:v>#N/A</c:v>
                </c:pt>
                <c:pt idx="6277">
                  <c:v>-3.1170499999999999</c:v>
                </c:pt>
                <c:pt idx="6278">
                  <c:v>-3.5419399999999999</c:v>
                </c:pt>
                <c:pt idx="6279">
                  <c:v>#N/A</c:v>
                </c:pt>
                <c:pt idx="6280">
                  <c:v>-3.0728300000000002</c:v>
                </c:pt>
                <c:pt idx="6281">
                  <c:v>-2.5883600000000002</c:v>
                </c:pt>
                <c:pt idx="6282">
                  <c:v>-2.0357400000000001</c:v>
                </c:pt>
                <c:pt idx="6283">
                  <c:v>#N/A</c:v>
                </c:pt>
                <c:pt idx="6284">
                  <c:v>-1.6031500000000001</c:v>
                </c:pt>
                <c:pt idx="6285">
                  <c:v>-2.0398700000000001</c:v>
                </c:pt>
                <c:pt idx="6286">
                  <c:v>-2.4459499999999998</c:v>
                </c:pt>
                <c:pt idx="6287">
                  <c:v>#N/A</c:v>
                </c:pt>
                <c:pt idx="6288">
                  <c:v>-3.03104</c:v>
                </c:pt>
                <c:pt idx="6289">
                  <c:v>-2.2993299999999999</c:v>
                </c:pt>
                <c:pt idx="6290">
                  <c:v>-2.4955099999999999</c:v>
                </c:pt>
                <c:pt idx="6291">
                  <c:v>#N/A</c:v>
                </c:pt>
                <c:pt idx="6292">
                  <c:v>-1.55122</c:v>
                </c:pt>
                <c:pt idx="6293">
                  <c:v>-1.9826900000000001</c:v>
                </c:pt>
                <c:pt idx="6294">
                  <c:v>-2.49458</c:v>
                </c:pt>
                <c:pt idx="6295">
                  <c:v>#N/A</c:v>
                </c:pt>
                <c:pt idx="6296">
                  <c:v>-2.6741299999999999</c:v>
                </c:pt>
                <c:pt idx="6297">
                  <c:v>-2.9178600000000001</c:v>
                </c:pt>
                <c:pt idx="6298">
                  <c:v>-3.1045799999999999</c:v>
                </c:pt>
                <c:pt idx="6299">
                  <c:v>#N/A</c:v>
                </c:pt>
                <c:pt idx="6300">
                  <c:v>-2.6806999999999999</c:v>
                </c:pt>
                <c:pt idx="6301">
                  <c:v>-2.0602399999999998</c:v>
                </c:pt>
                <c:pt idx="6302">
                  <c:v>-1.82311</c:v>
                </c:pt>
                <c:pt idx="6303">
                  <c:v>#N/A</c:v>
                </c:pt>
                <c:pt idx="6304">
                  <c:v>-1.9817499999999999</c:v>
                </c:pt>
                <c:pt idx="6305">
                  <c:v>#N/A</c:v>
                </c:pt>
                <c:pt idx="6306">
                  <c:v>-2.5499100000000001</c:v>
                </c:pt>
                <c:pt idx="6307">
                  <c:v>#N/A</c:v>
                </c:pt>
                <c:pt idx="6308">
                  <c:v>-2.9375</c:v>
                </c:pt>
                <c:pt idx="6309">
                  <c:v>-2.9679600000000002</c:v>
                </c:pt>
                <c:pt idx="6310">
                  <c:v>#N/A</c:v>
                </c:pt>
                <c:pt idx="6311">
                  <c:v>-2.6334900000000001</c:v>
                </c:pt>
                <c:pt idx="6312">
                  <c:v>-2.3846099999999999</c:v>
                </c:pt>
                <c:pt idx="6313">
                  <c:v>-2.2736999999999998</c:v>
                </c:pt>
                <c:pt idx="6314">
                  <c:v>#N/A</c:v>
                </c:pt>
                <c:pt idx="6315">
                  <c:v>-1.9234500000000001</c:v>
                </c:pt>
                <c:pt idx="6316">
                  <c:v>-2.78383</c:v>
                </c:pt>
                <c:pt idx="6317">
                  <c:v>-3.06833</c:v>
                </c:pt>
                <c:pt idx="6318">
                  <c:v>#N/A</c:v>
                </c:pt>
                <c:pt idx="6319">
                  <c:v>-3.0377700000000001</c:v>
                </c:pt>
                <c:pt idx="6320">
                  <c:v>-3.4053399999999998</c:v>
                </c:pt>
                <c:pt idx="6321">
                  <c:v>-2.5153099999999999</c:v>
                </c:pt>
                <c:pt idx="6322">
                  <c:v>#N/A</c:v>
                </c:pt>
                <c:pt idx="6323">
                  <c:v>-2.5815899999999998</c:v>
                </c:pt>
                <c:pt idx="6324">
                  <c:v>-2.8065899999999999</c:v>
                </c:pt>
                <c:pt idx="6325">
                  <c:v>-2.4905599999999999</c:v>
                </c:pt>
                <c:pt idx="6326">
                  <c:v>#N/A</c:v>
                </c:pt>
                <c:pt idx="6327">
                  <c:v>-1.9796100000000001</c:v>
                </c:pt>
                <c:pt idx="6328">
                  <c:v>-2.5779200000000002</c:v>
                </c:pt>
                <c:pt idx="6329">
                  <c:v>-3.0444800000000001</c:v>
                </c:pt>
                <c:pt idx="6330">
                  <c:v>#N/A</c:v>
                </c:pt>
                <c:pt idx="6331">
                  <c:v>-2.98752</c:v>
                </c:pt>
                <c:pt idx="6332">
                  <c:v>-2.5981700000000001</c:v>
                </c:pt>
                <c:pt idx="6333">
                  <c:v>-2.37582</c:v>
                </c:pt>
                <c:pt idx="6334">
                  <c:v>#N/A</c:v>
                </c:pt>
                <c:pt idx="6335">
                  <c:v>-2.0241099999999999</c:v>
                </c:pt>
                <c:pt idx="6336">
                  <c:v>-2.0485600000000002</c:v>
                </c:pt>
                <c:pt idx="6337">
                  <c:v>#N/A</c:v>
                </c:pt>
                <c:pt idx="6338">
                  <c:v>-2.9558599999999999</c:v>
                </c:pt>
                <c:pt idx="6339">
                  <c:v>-2.8708800000000001</c:v>
                </c:pt>
                <c:pt idx="6340">
                  <c:v>-2.84544</c:v>
                </c:pt>
                <c:pt idx="6341">
                  <c:v>#N/A</c:v>
                </c:pt>
                <c:pt idx="6342">
                  <c:v>-3.5746799999999999</c:v>
                </c:pt>
                <c:pt idx="6343">
                  <c:v>-2.6392099999999998</c:v>
                </c:pt>
                <c:pt idx="6344">
                  <c:v>-1.70133</c:v>
                </c:pt>
                <c:pt idx="6345">
                  <c:v>#N/A</c:v>
                </c:pt>
                <c:pt idx="6346">
                  <c:v>-1.6534599999999999</c:v>
                </c:pt>
                <c:pt idx="6347">
                  <c:v>-1.5980300000000001</c:v>
                </c:pt>
                <c:pt idx="6348">
                  <c:v>-2.3044199999999999</c:v>
                </c:pt>
                <c:pt idx="6349">
                  <c:v>#N/A</c:v>
                </c:pt>
                <c:pt idx="6350">
                  <c:v>-2.72071</c:v>
                </c:pt>
                <c:pt idx="6351">
                  <c:v>-2.6666400000000001</c:v>
                </c:pt>
                <c:pt idx="6352">
                  <c:v>-2.3088099999999998</c:v>
                </c:pt>
                <c:pt idx="6353">
                  <c:v>#N/A</c:v>
                </c:pt>
                <c:pt idx="6354">
                  <c:v>-2.4052600000000002</c:v>
                </c:pt>
                <c:pt idx="6355">
                  <c:v>-1.76864</c:v>
                </c:pt>
                <c:pt idx="6356">
                  <c:v>#N/A</c:v>
                </c:pt>
                <c:pt idx="6357">
                  <c:v>-1.7342900000000001</c:v>
                </c:pt>
                <c:pt idx="6358">
                  <c:v>-1.5495099999999999</c:v>
                </c:pt>
                <c:pt idx="6359">
                  <c:v>-2.2568199999999998</c:v>
                </c:pt>
                <c:pt idx="6360">
                  <c:v>#N/A</c:v>
                </c:pt>
                <c:pt idx="6361">
                  <c:v>-2.7624499999999999</c:v>
                </c:pt>
                <c:pt idx="6362">
                  <c:v>-2.7337699999999998</c:v>
                </c:pt>
                <c:pt idx="6363">
                  <c:v>-2.1309</c:v>
                </c:pt>
                <c:pt idx="6364">
                  <c:v>#N/A</c:v>
                </c:pt>
                <c:pt idx="6365">
                  <c:v>-2.2214900000000002</c:v>
                </c:pt>
                <c:pt idx="6366">
                  <c:v>-2.0643199999999999</c:v>
                </c:pt>
                <c:pt idx="6367">
                  <c:v>-2.43066</c:v>
                </c:pt>
                <c:pt idx="6368">
                  <c:v>#N/A</c:v>
                </c:pt>
                <c:pt idx="6369">
                  <c:v>-2.0236100000000001</c:v>
                </c:pt>
                <c:pt idx="6370">
                  <c:v>-2.6625899999999998</c:v>
                </c:pt>
                <c:pt idx="6371">
                  <c:v>-2.6229800000000001</c:v>
                </c:pt>
                <c:pt idx="6372">
                  <c:v>#N/A</c:v>
                </c:pt>
                <c:pt idx="6373">
                  <c:v>-2.76892</c:v>
                </c:pt>
                <c:pt idx="6374">
                  <c:v>-2.2663600000000002</c:v>
                </c:pt>
                <c:pt idx="6375">
                  <c:v>#N/A</c:v>
                </c:pt>
                <c:pt idx="6376">
                  <c:v>-1.51593</c:v>
                </c:pt>
                <c:pt idx="6377">
                  <c:v>-1.8771500000000001</c:v>
                </c:pt>
                <c:pt idx="6378">
                  <c:v>-2.68892</c:v>
                </c:pt>
                <c:pt idx="6379">
                  <c:v>#N/A</c:v>
                </c:pt>
                <c:pt idx="6380">
                  <c:v>-2.4544000000000001</c:v>
                </c:pt>
                <c:pt idx="6381">
                  <c:v>-2.6974499999999999</c:v>
                </c:pt>
                <c:pt idx="6382">
                  <c:v>-3.10873</c:v>
                </c:pt>
                <c:pt idx="6383">
                  <c:v>#N/A</c:v>
                </c:pt>
                <c:pt idx="6384">
                  <c:v>-3.28064</c:v>
                </c:pt>
                <c:pt idx="6385">
                  <c:v>-2.8629899999999999</c:v>
                </c:pt>
                <c:pt idx="6386">
                  <c:v>-2.20147</c:v>
                </c:pt>
                <c:pt idx="6387">
                  <c:v>#N/A</c:v>
                </c:pt>
                <c:pt idx="6388">
                  <c:v>-1.98702</c:v>
                </c:pt>
                <c:pt idx="6389">
                  <c:v>-1.81752</c:v>
                </c:pt>
                <c:pt idx="6390">
                  <c:v>-2.6448100000000001</c:v>
                </c:pt>
                <c:pt idx="6391">
                  <c:v>#N/A</c:v>
                </c:pt>
                <c:pt idx="6392">
                  <c:v>-3.3113899999999998</c:v>
                </c:pt>
                <c:pt idx="6393">
                  <c:v>-2.52989</c:v>
                </c:pt>
                <c:pt idx="6394">
                  <c:v>-2.3598599999999998</c:v>
                </c:pt>
                <c:pt idx="6395">
                  <c:v>#N/A</c:v>
                </c:pt>
                <c:pt idx="6396">
                  <c:v>-1.77902</c:v>
                </c:pt>
                <c:pt idx="6397">
                  <c:v>-1.8400399999999999</c:v>
                </c:pt>
                <c:pt idx="6398">
                  <c:v>#N/A</c:v>
                </c:pt>
                <c:pt idx="6399">
                  <c:v>-1.9228400000000001</c:v>
                </c:pt>
                <c:pt idx="6400">
                  <c:v>-1.8612899999999999</c:v>
                </c:pt>
                <c:pt idx="6401">
                  <c:v>-2.4656600000000002</c:v>
                </c:pt>
                <c:pt idx="6402">
                  <c:v>#N/A</c:v>
                </c:pt>
                <c:pt idx="6403">
                  <c:v>-2.8535200000000001</c:v>
                </c:pt>
                <c:pt idx="6404">
                  <c:v>-2.8685299999999998</c:v>
                </c:pt>
                <c:pt idx="6405">
                  <c:v>-2.11903</c:v>
                </c:pt>
                <c:pt idx="6406">
                  <c:v>#N/A</c:v>
                </c:pt>
                <c:pt idx="6407">
                  <c:v>-1.7294400000000001</c:v>
                </c:pt>
                <c:pt idx="6408">
                  <c:v>-1.5570900000000001</c:v>
                </c:pt>
                <c:pt idx="6409">
                  <c:v>-1.3404499999999999</c:v>
                </c:pt>
                <c:pt idx="6410">
                  <c:v>#N/A</c:v>
                </c:pt>
                <c:pt idx="6411">
                  <c:v>-2.5333399999999999</c:v>
                </c:pt>
                <c:pt idx="6412">
                  <c:v>-2.9471500000000002</c:v>
                </c:pt>
                <c:pt idx="6413">
                  <c:v>-3.0939199999999998</c:v>
                </c:pt>
                <c:pt idx="6414">
                  <c:v>#N/A</c:v>
                </c:pt>
                <c:pt idx="6415">
                  <c:v>-2.9774699999999998</c:v>
                </c:pt>
                <c:pt idx="6416">
                  <c:v>-2.6330300000000002</c:v>
                </c:pt>
                <c:pt idx="6417">
                  <c:v>#N/A</c:v>
                </c:pt>
                <c:pt idx="6418">
                  <c:v>-1.9038299999999999</c:v>
                </c:pt>
                <c:pt idx="6419">
                  <c:v>-2.0178699999999998</c:v>
                </c:pt>
                <c:pt idx="6420">
                  <c:v>-2.4413900000000002</c:v>
                </c:pt>
                <c:pt idx="6421">
                  <c:v>#N/A</c:v>
                </c:pt>
                <c:pt idx="6422">
                  <c:v>-2.8769300000000002</c:v>
                </c:pt>
                <c:pt idx="6423">
                  <c:v>-2.88767</c:v>
                </c:pt>
                <c:pt idx="6424">
                  <c:v>-3.3748399999999998</c:v>
                </c:pt>
                <c:pt idx="6425">
                  <c:v>#N/A</c:v>
                </c:pt>
                <c:pt idx="6426">
                  <c:v>-3.43615</c:v>
                </c:pt>
                <c:pt idx="6427">
                  <c:v>-2.49356</c:v>
                </c:pt>
                <c:pt idx="6428">
                  <c:v>-2.26064</c:v>
                </c:pt>
                <c:pt idx="6429">
                  <c:v>#N/A</c:v>
                </c:pt>
                <c:pt idx="6430">
                  <c:v>-2.00529</c:v>
                </c:pt>
                <c:pt idx="6431">
                  <c:v>-2.7852199999999998</c:v>
                </c:pt>
                <c:pt idx="6432">
                  <c:v>-2.6960700000000002</c:v>
                </c:pt>
                <c:pt idx="6433">
                  <c:v>#N/A</c:v>
                </c:pt>
                <c:pt idx="6434">
                  <c:v>-3.1463000000000001</c:v>
                </c:pt>
                <c:pt idx="6435">
                  <c:v>-2.34335</c:v>
                </c:pt>
                <c:pt idx="6436">
                  <c:v>-2.5470899999999999</c:v>
                </c:pt>
                <c:pt idx="6437">
                  <c:v>#N/A</c:v>
                </c:pt>
                <c:pt idx="6438">
                  <c:v>-2.1883900000000001</c:v>
                </c:pt>
                <c:pt idx="6439">
                  <c:v>-1.8870899999999999</c:v>
                </c:pt>
                <c:pt idx="6440">
                  <c:v>-1.7725599999999999</c:v>
                </c:pt>
                <c:pt idx="6441">
                  <c:v>#N/A</c:v>
                </c:pt>
                <c:pt idx="6442">
                  <c:v>-1.7557100000000001</c:v>
                </c:pt>
                <c:pt idx="6443">
                  <c:v>-2.5606399999999998</c:v>
                </c:pt>
                <c:pt idx="6444">
                  <c:v>-2.5398999999999998</c:v>
                </c:pt>
                <c:pt idx="6445">
                  <c:v>#N/A</c:v>
                </c:pt>
                <c:pt idx="6446">
                  <c:v>-2.7109000000000001</c:v>
                </c:pt>
                <c:pt idx="6447">
                  <c:v>-1.9410099999999999</c:v>
                </c:pt>
                <c:pt idx="6448">
                  <c:v>-2.2540200000000001</c:v>
                </c:pt>
                <c:pt idx="6449">
                  <c:v>#N/A</c:v>
                </c:pt>
                <c:pt idx="6450">
                  <c:v>-1.7146999999999999</c:v>
                </c:pt>
                <c:pt idx="6451">
                  <c:v>-2.2485599999999999</c:v>
                </c:pt>
                <c:pt idx="6452">
                  <c:v>#N/A</c:v>
                </c:pt>
                <c:pt idx="6453">
                  <c:v>-2.4088099999999999</c:v>
                </c:pt>
                <c:pt idx="6454">
                  <c:v>-2.83636</c:v>
                </c:pt>
                <c:pt idx="6455">
                  <c:v>-3.1252599999999999</c:v>
                </c:pt>
                <c:pt idx="6456">
                  <c:v>#N/A</c:v>
                </c:pt>
                <c:pt idx="6457">
                  <c:v>-3.31209</c:v>
                </c:pt>
                <c:pt idx="6458">
                  <c:v>-1.9523200000000001</c:v>
                </c:pt>
                <c:pt idx="6459">
                  <c:v>-1.68425</c:v>
                </c:pt>
                <c:pt idx="6460">
                  <c:v>#N/A</c:v>
                </c:pt>
                <c:pt idx="6461">
                  <c:v>-2.2198000000000002</c:v>
                </c:pt>
                <c:pt idx="6462">
                  <c:v>-2.2875000000000001</c:v>
                </c:pt>
                <c:pt idx="6463">
                  <c:v>-2.8738999999999999</c:v>
                </c:pt>
                <c:pt idx="6464">
                  <c:v>#N/A</c:v>
                </c:pt>
                <c:pt idx="6465">
                  <c:v>-2.7693300000000001</c:v>
                </c:pt>
                <c:pt idx="6466">
                  <c:v>-3.2536700000000001</c:v>
                </c:pt>
                <c:pt idx="6467">
                  <c:v>-2.4828399999999999</c:v>
                </c:pt>
                <c:pt idx="6468">
                  <c:v>#N/A</c:v>
                </c:pt>
                <c:pt idx="6469">
                  <c:v>-2.02176</c:v>
                </c:pt>
                <c:pt idx="6470">
                  <c:v>-1.3554600000000001</c:v>
                </c:pt>
                <c:pt idx="6471">
                  <c:v>#N/A</c:v>
                </c:pt>
                <c:pt idx="6472">
                  <c:v>-1.0346500000000001</c:v>
                </c:pt>
                <c:pt idx="6473">
                  <c:v>-1.2847200000000001</c:v>
                </c:pt>
                <c:pt idx="6474">
                  <c:v>-1.91967</c:v>
                </c:pt>
                <c:pt idx="6475">
                  <c:v>#N/A</c:v>
                </c:pt>
                <c:pt idx="6476">
                  <c:v>-2.8048299999999999</c:v>
                </c:pt>
                <c:pt idx="6477">
                  <c:v>-3.2341600000000001</c:v>
                </c:pt>
                <c:pt idx="6478">
                  <c:v>-2.5640700000000001</c:v>
                </c:pt>
                <c:pt idx="6479">
                  <c:v>#N/A</c:v>
                </c:pt>
                <c:pt idx="6480">
                  <c:v>-2.25318</c:v>
                </c:pt>
                <c:pt idx="6481">
                  <c:v>-1.61911</c:v>
                </c:pt>
                <c:pt idx="6482">
                  <c:v>-1.81718</c:v>
                </c:pt>
                <c:pt idx="6483">
                  <c:v>#N/A</c:v>
                </c:pt>
                <c:pt idx="6484">
                  <c:v>-1.2749200000000001</c:v>
                </c:pt>
                <c:pt idx="6485">
                  <c:v>-2.1839400000000002</c:v>
                </c:pt>
                <c:pt idx="6486">
                  <c:v>-2.69407</c:v>
                </c:pt>
                <c:pt idx="6487">
                  <c:v>#N/A</c:v>
                </c:pt>
                <c:pt idx="6488">
                  <c:v>-3.4464800000000002</c:v>
                </c:pt>
                <c:pt idx="6489">
                  <c:v>-2.8115299999999999</c:v>
                </c:pt>
                <c:pt idx="6490">
                  <c:v>-2.4738099999999998</c:v>
                </c:pt>
                <c:pt idx="6491">
                  <c:v>#N/A</c:v>
                </c:pt>
                <c:pt idx="6492">
                  <c:v>-2.3336000000000001</c:v>
                </c:pt>
                <c:pt idx="6493">
                  <c:v>-1.70851</c:v>
                </c:pt>
                <c:pt idx="6494">
                  <c:v>#N/A</c:v>
                </c:pt>
                <c:pt idx="6495">
                  <c:v>-2.41486</c:v>
                </c:pt>
                <c:pt idx="6496">
                  <c:v>-2.1272899999999999</c:v>
                </c:pt>
                <c:pt idx="6497">
                  <c:v>-2.3702999999999999</c:v>
                </c:pt>
                <c:pt idx="6498">
                  <c:v>#N/A</c:v>
                </c:pt>
                <c:pt idx="6499">
                  <c:v>-2.4616400000000001</c:v>
                </c:pt>
                <c:pt idx="6500">
                  <c:v>-2.6304599999999998</c:v>
                </c:pt>
                <c:pt idx="6501">
                  <c:v>#N/A</c:v>
                </c:pt>
                <c:pt idx="6502">
                  <c:v>-2.3164199999999999</c:v>
                </c:pt>
                <c:pt idx="6503">
                  <c:v>-2.4475799999999999</c:v>
                </c:pt>
                <c:pt idx="6504">
                  <c:v>-2.3015099999999999</c:v>
                </c:pt>
                <c:pt idx="6505">
                  <c:v>#N/A</c:v>
                </c:pt>
                <c:pt idx="6506">
                  <c:v>-2.6734900000000001</c:v>
                </c:pt>
                <c:pt idx="6507">
                  <c:v>-2.8883399999999999</c:v>
                </c:pt>
                <c:pt idx="6508">
                  <c:v>-2.6488999999999998</c:v>
                </c:pt>
                <c:pt idx="6509">
                  <c:v>#N/A</c:v>
                </c:pt>
                <c:pt idx="6510">
                  <c:v>-2.6660599999999999</c:v>
                </c:pt>
                <c:pt idx="6511">
                  <c:v>-1.91642</c:v>
                </c:pt>
                <c:pt idx="6512">
                  <c:v>-1.73824</c:v>
                </c:pt>
                <c:pt idx="6513">
                  <c:v>#N/A</c:v>
                </c:pt>
                <c:pt idx="6514">
                  <c:v>-1.8330500000000001</c:v>
                </c:pt>
                <c:pt idx="6515">
                  <c:v>-1.6622600000000001</c:v>
                </c:pt>
                <c:pt idx="6516">
                  <c:v>-2.4318599999999999</c:v>
                </c:pt>
                <c:pt idx="6517">
                  <c:v>#N/A</c:v>
                </c:pt>
                <c:pt idx="6518">
                  <c:v>-1.97881</c:v>
                </c:pt>
                <c:pt idx="6519">
                  <c:v>-2.3730000000000002</c:v>
                </c:pt>
                <c:pt idx="6520">
                  <c:v>-1.8927</c:v>
                </c:pt>
                <c:pt idx="6521">
                  <c:v>#N/A</c:v>
                </c:pt>
                <c:pt idx="6522">
                  <c:v>-2.05782</c:v>
                </c:pt>
                <c:pt idx="6523">
                  <c:v>-1.7055100000000001</c:v>
                </c:pt>
                <c:pt idx="6524">
                  <c:v>-2.355</c:v>
                </c:pt>
                <c:pt idx="6525">
                  <c:v>#N/A</c:v>
                </c:pt>
                <c:pt idx="6526">
                  <c:v>-2.35372</c:v>
                </c:pt>
                <c:pt idx="6527">
                  <c:v>-2.18038</c:v>
                </c:pt>
                <c:pt idx="6528">
                  <c:v>#N/A</c:v>
                </c:pt>
                <c:pt idx="6529">
                  <c:v>-2.6911</c:v>
                </c:pt>
                <c:pt idx="6530">
                  <c:v>-2.56915</c:v>
                </c:pt>
                <c:pt idx="6531">
                  <c:v>#N/A</c:v>
                </c:pt>
                <c:pt idx="6532">
                  <c:v>-1.7602100000000001</c:v>
                </c:pt>
                <c:pt idx="6533">
                  <c:v>-2.1485699999999999</c:v>
                </c:pt>
                <c:pt idx="6534">
                  <c:v>#N/A</c:v>
                </c:pt>
                <c:pt idx="6535">
                  <c:v>-2.0149400000000002</c:v>
                </c:pt>
                <c:pt idx="6536">
                  <c:v>-1.6437200000000001</c:v>
                </c:pt>
                <c:pt idx="6537">
                  <c:v>-2.6897500000000001</c:v>
                </c:pt>
                <c:pt idx="6538">
                  <c:v>#N/A</c:v>
                </c:pt>
                <c:pt idx="6539">
                  <c:v>-2.9752900000000002</c:v>
                </c:pt>
                <c:pt idx="6540">
                  <c:v>-3.2469199999999998</c:v>
                </c:pt>
                <c:pt idx="6541">
                  <c:v>-2.3251900000000001</c:v>
                </c:pt>
                <c:pt idx="6542">
                  <c:v>#N/A</c:v>
                </c:pt>
                <c:pt idx="6543">
                  <c:v>-1.9760899999999999</c:v>
                </c:pt>
                <c:pt idx="6544">
                  <c:v>-1.8150900000000001</c:v>
                </c:pt>
                <c:pt idx="6545">
                  <c:v>#N/A</c:v>
                </c:pt>
                <c:pt idx="6546">
                  <c:v>-2.45295</c:v>
                </c:pt>
                <c:pt idx="6547">
                  <c:v>-2.1375600000000001</c:v>
                </c:pt>
                <c:pt idx="6548">
                  <c:v>-3.2395399999999999</c:v>
                </c:pt>
                <c:pt idx="6549">
                  <c:v>#N/A</c:v>
                </c:pt>
                <c:pt idx="6550">
                  <c:v>-2.7757800000000001</c:v>
                </c:pt>
                <c:pt idx="6551">
                  <c:v>-2.6642000000000001</c:v>
                </c:pt>
                <c:pt idx="6552">
                  <c:v>-2.2682199999999999</c:v>
                </c:pt>
                <c:pt idx="6553">
                  <c:v>#N/A</c:v>
                </c:pt>
                <c:pt idx="6554">
                  <c:v>-1.11849</c:v>
                </c:pt>
                <c:pt idx="6555">
                  <c:v>-1.1114200000000001</c:v>
                </c:pt>
                <c:pt idx="6556">
                  <c:v>-1.30741</c:v>
                </c:pt>
                <c:pt idx="6557">
                  <c:v>#N/A</c:v>
                </c:pt>
                <c:pt idx="6558">
                  <c:v>-1.94737</c:v>
                </c:pt>
                <c:pt idx="6559">
                  <c:v>-2.2725200000000001</c:v>
                </c:pt>
                <c:pt idx="6560">
                  <c:v>-2.9288400000000001</c:v>
                </c:pt>
                <c:pt idx="6561">
                  <c:v>#N/A</c:v>
                </c:pt>
                <c:pt idx="6562">
                  <c:v>-2.9249200000000002</c:v>
                </c:pt>
                <c:pt idx="6563">
                  <c:v>-2.4977</c:v>
                </c:pt>
                <c:pt idx="6564">
                  <c:v>#N/A</c:v>
                </c:pt>
                <c:pt idx="6565">
                  <c:v>-2.2285300000000001</c:v>
                </c:pt>
                <c:pt idx="6566">
                  <c:v>-1.33324</c:v>
                </c:pt>
                <c:pt idx="6567">
                  <c:v>-2.0893099999999998</c:v>
                </c:pt>
                <c:pt idx="6568">
                  <c:v>#N/A</c:v>
                </c:pt>
                <c:pt idx="6569">
                  <c:v>-2.9462899999999999</c:v>
                </c:pt>
                <c:pt idx="6570">
                  <c:v>-3.24715</c:v>
                </c:pt>
                <c:pt idx="6571">
                  <c:v>#N/A</c:v>
                </c:pt>
                <c:pt idx="6572">
                  <c:v>-2.629</c:v>
                </c:pt>
                <c:pt idx="6573">
                  <c:v>#N/A</c:v>
                </c:pt>
                <c:pt idx="6574">
                  <c:v>-1.9714799999999999</c:v>
                </c:pt>
                <c:pt idx="6575">
                  <c:v>-1.5871900000000001</c:v>
                </c:pt>
                <c:pt idx="6576">
                  <c:v>#N/A</c:v>
                </c:pt>
                <c:pt idx="6577">
                  <c:v>-2.32308</c:v>
                </c:pt>
                <c:pt idx="6578">
                  <c:v>-1.47925</c:v>
                </c:pt>
                <c:pt idx="6579">
                  <c:v>-1.76014</c:v>
                </c:pt>
                <c:pt idx="6580">
                  <c:v>#N/A</c:v>
                </c:pt>
                <c:pt idx="6581">
                  <c:v>-2.59606</c:v>
                </c:pt>
                <c:pt idx="6582">
                  <c:v>-2.8129200000000001</c:v>
                </c:pt>
                <c:pt idx="6583">
                  <c:v>#N/A</c:v>
                </c:pt>
                <c:pt idx="6584">
                  <c:v>-2.5968399999999998</c:v>
                </c:pt>
                <c:pt idx="6585">
                  <c:v>-1.89835</c:v>
                </c:pt>
                <c:pt idx="6586">
                  <c:v>-2.0868600000000002</c:v>
                </c:pt>
                <c:pt idx="6587">
                  <c:v>#N/A</c:v>
                </c:pt>
                <c:pt idx="6588">
                  <c:v>-2.2006700000000001</c:v>
                </c:pt>
                <c:pt idx="6589">
                  <c:v>-2.4187799999999999</c:v>
                </c:pt>
                <c:pt idx="6590">
                  <c:v>-2.3375499999999998</c:v>
                </c:pt>
                <c:pt idx="6591">
                  <c:v>#N/A</c:v>
                </c:pt>
                <c:pt idx="6592">
                  <c:v>-2.4900899999999999</c:v>
                </c:pt>
                <c:pt idx="6593">
                  <c:v>-2.0705300000000002</c:v>
                </c:pt>
                <c:pt idx="6594">
                  <c:v>-2.0072199999999998</c:v>
                </c:pt>
                <c:pt idx="6595">
                  <c:v>#N/A</c:v>
                </c:pt>
                <c:pt idx="6596">
                  <c:v>-1.5140800000000001</c:v>
                </c:pt>
                <c:pt idx="6597">
                  <c:v>-1.5202599999999999</c:v>
                </c:pt>
                <c:pt idx="6598">
                  <c:v>-1.7126999999999999</c:v>
                </c:pt>
                <c:pt idx="6599">
                  <c:v>#N/A</c:v>
                </c:pt>
                <c:pt idx="6600">
                  <c:v>-2.4055200000000001</c:v>
                </c:pt>
                <c:pt idx="6601">
                  <c:v>-2.83169</c:v>
                </c:pt>
                <c:pt idx="6602">
                  <c:v>-2.22722</c:v>
                </c:pt>
                <c:pt idx="6603">
                  <c:v>#N/A</c:v>
                </c:pt>
                <c:pt idx="6604">
                  <c:v>-1.93279</c:v>
                </c:pt>
                <c:pt idx="6605">
                  <c:v>-1.6813499999999999</c:v>
                </c:pt>
                <c:pt idx="6606">
                  <c:v>#N/A</c:v>
                </c:pt>
                <c:pt idx="6607">
                  <c:v>-2.0518200000000002</c:v>
                </c:pt>
                <c:pt idx="6608">
                  <c:v>-2.1269300000000002</c:v>
                </c:pt>
                <c:pt idx="6609">
                  <c:v>#N/A</c:v>
                </c:pt>
                <c:pt idx="6610">
                  <c:v>-2.4275000000000002</c:v>
                </c:pt>
                <c:pt idx="6611">
                  <c:v>-2.8536600000000001</c:v>
                </c:pt>
                <c:pt idx="6612">
                  <c:v>-3.3323100000000001</c:v>
                </c:pt>
                <c:pt idx="6613">
                  <c:v>#N/A</c:v>
                </c:pt>
                <c:pt idx="6614">
                  <c:v>-3.4570099999999999</c:v>
                </c:pt>
                <c:pt idx="6615">
                  <c:v>-1.98664</c:v>
                </c:pt>
                <c:pt idx="6616">
                  <c:v>-1.4732000000000001</c:v>
                </c:pt>
                <c:pt idx="6617">
                  <c:v>#N/A</c:v>
                </c:pt>
                <c:pt idx="6618">
                  <c:v>-1.3020799999999999</c:v>
                </c:pt>
                <c:pt idx="6619">
                  <c:v>-1.8768899999999999</c:v>
                </c:pt>
                <c:pt idx="6620">
                  <c:v>-2.2112400000000001</c:v>
                </c:pt>
                <c:pt idx="6621">
                  <c:v>#N/A</c:v>
                </c:pt>
                <c:pt idx="6622">
                  <c:v>-3.0003899999999999</c:v>
                </c:pt>
                <c:pt idx="6623">
                  <c:v>-3.2173699999999998</c:v>
                </c:pt>
                <c:pt idx="6624">
                  <c:v>-2.8089</c:v>
                </c:pt>
                <c:pt idx="6625">
                  <c:v>#N/A</c:v>
                </c:pt>
                <c:pt idx="6626">
                  <c:v>-2.2398600000000002</c:v>
                </c:pt>
                <c:pt idx="6627">
                  <c:v>-1.56002</c:v>
                </c:pt>
                <c:pt idx="6628">
                  <c:v>-1.6862900000000001</c:v>
                </c:pt>
                <c:pt idx="6629">
                  <c:v>#N/A</c:v>
                </c:pt>
                <c:pt idx="6630">
                  <c:v>-1.68781</c:v>
                </c:pt>
                <c:pt idx="6631">
                  <c:v>-1.9374</c:v>
                </c:pt>
                <c:pt idx="6632">
                  <c:v>-2.7801900000000002</c:v>
                </c:pt>
                <c:pt idx="6633">
                  <c:v>#N/A</c:v>
                </c:pt>
                <c:pt idx="6634">
                  <c:v>-2.9442699999999999</c:v>
                </c:pt>
                <c:pt idx="6635">
                  <c:v>-2.6202999999999999</c:v>
                </c:pt>
                <c:pt idx="6636">
                  <c:v>#N/A</c:v>
                </c:pt>
                <c:pt idx="6637">
                  <c:v>-2.0251100000000002</c:v>
                </c:pt>
                <c:pt idx="6638">
                  <c:v>-1.7529999999999999</c:v>
                </c:pt>
                <c:pt idx="6639">
                  <c:v>-1.29148</c:v>
                </c:pt>
                <c:pt idx="6640">
                  <c:v>#N/A</c:v>
                </c:pt>
                <c:pt idx="6641">
                  <c:v>-1.5335799999999999</c:v>
                </c:pt>
                <c:pt idx="6642">
                  <c:v>-2.5940400000000001</c:v>
                </c:pt>
                <c:pt idx="6643">
                  <c:v>-3.4472900000000002</c:v>
                </c:pt>
                <c:pt idx="6644">
                  <c:v>#N/A</c:v>
                </c:pt>
                <c:pt idx="6645">
                  <c:v>-3.3207</c:v>
                </c:pt>
                <c:pt idx="6646">
                  <c:v>-2.9729100000000002</c:v>
                </c:pt>
                <c:pt idx="6647">
                  <c:v>-2.2995399999999999</c:v>
                </c:pt>
                <c:pt idx="6648">
                  <c:v>#N/A</c:v>
                </c:pt>
                <c:pt idx="6649">
                  <c:v>-2.1354600000000001</c:v>
                </c:pt>
                <c:pt idx="6650">
                  <c:v>-2.00902</c:v>
                </c:pt>
                <c:pt idx="6651">
                  <c:v>-1.89453</c:v>
                </c:pt>
                <c:pt idx="6652">
                  <c:v>#N/A</c:v>
                </c:pt>
                <c:pt idx="6653">
                  <c:v>-2.5044400000000002</c:v>
                </c:pt>
                <c:pt idx="6654">
                  <c:v>-2.78952</c:v>
                </c:pt>
                <c:pt idx="6655">
                  <c:v>#N/A</c:v>
                </c:pt>
                <c:pt idx="6656">
                  <c:v>-2.83142</c:v>
                </c:pt>
                <c:pt idx="6657">
                  <c:v>-1.96858</c:v>
                </c:pt>
                <c:pt idx="6658">
                  <c:v>-1.6802600000000001</c:v>
                </c:pt>
                <c:pt idx="6659">
                  <c:v>#N/A</c:v>
                </c:pt>
                <c:pt idx="6660">
                  <c:v>-1.75014</c:v>
                </c:pt>
                <c:pt idx="6661">
                  <c:v>-1.59144</c:v>
                </c:pt>
                <c:pt idx="6662">
                  <c:v>-2.3078400000000001</c:v>
                </c:pt>
                <c:pt idx="6663">
                  <c:v>#N/A</c:v>
                </c:pt>
                <c:pt idx="6664">
                  <c:v>-2.0696599999999998</c:v>
                </c:pt>
                <c:pt idx="6665">
                  <c:v>-2.0531600000000001</c:v>
                </c:pt>
                <c:pt idx="6666">
                  <c:v>-2.0256599999999998</c:v>
                </c:pt>
                <c:pt idx="6667">
                  <c:v>#N/A</c:v>
                </c:pt>
                <c:pt idx="6668">
                  <c:v>-1.9570700000000001</c:v>
                </c:pt>
                <c:pt idx="6669">
                  <c:v>-1.82152</c:v>
                </c:pt>
                <c:pt idx="6670">
                  <c:v>-2.55809</c:v>
                </c:pt>
                <c:pt idx="6671">
                  <c:v>#N/A</c:v>
                </c:pt>
                <c:pt idx="6672">
                  <c:v>-2.42441</c:v>
                </c:pt>
                <c:pt idx="6673">
                  <c:v>-2.79162</c:v>
                </c:pt>
                <c:pt idx="6674">
                  <c:v>-3.1486399999999999</c:v>
                </c:pt>
                <c:pt idx="6675">
                  <c:v>#N/A</c:v>
                </c:pt>
                <c:pt idx="6676">
                  <c:v>-1.9708000000000001</c:v>
                </c:pt>
                <c:pt idx="6677">
                  <c:v>-2.0224099999999998</c:v>
                </c:pt>
                <c:pt idx="6678">
                  <c:v>-1.9934799999999999</c:v>
                </c:pt>
                <c:pt idx="6679">
                  <c:v>#N/A</c:v>
                </c:pt>
                <c:pt idx="6680">
                  <c:v>-1.5855300000000001</c:v>
                </c:pt>
                <c:pt idx="6681">
                  <c:v>-2.11409</c:v>
                </c:pt>
                <c:pt idx="6682">
                  <c:v>-2.3604500000000002</c:v>
                </c:pt>
                <c:pt idx="6683">
                  <c:v>#N/A</c:v>
                </c:pt>
                <c:pt idx="6684">
                  <c:v>-2.8987400000000001</c:v>
                </c:pt>
                <c:pt idx="6685">
                  <c:v>-3.0638100000000001</c:v>
                </c:pt>
                <c:pt idx="6686">
                  <c:v>-2.4950199999999998</c:v>
                </c:pt>
                <c:pt idx="6687">
                  <c:v>#N/A</c:v>
                </c:pt>
                <c:pt idx="6688">
                  <c:v>-1.8266800000000001</c:v>
                </c:pt>
                <c:pt idx="6689">
                  <c:v>-1.7246699999999999</c:v>
                </c:pt>
                <c:pt idx="6690">
                  <c:v>#N/A</c:v>
                </c:pt>
                <c:pt idx="6691">
                  <c:v>-1.8312200000000001</c:v>
                </c:pt>
                <c:pt idx="6692">
                  <c:v>-1.9153500000000001</c:v>
                </c:pt>
                <c:pt idx="6693">
                  <c:v>-1.9238900000000001</c:v>
                </c:pt>
                <c:pt idx="6694">
                  <c:v>#N/A</c:v>
                </c:pt>
                <c:pt idx="6695">
                  <c:v>-2.5217700000000001</c:v>
                </c:pt>
                <c:pt idx="6696">
                  <c:v>-2.7175600000000002</c:v>
                </c:pt>
                <c:pt idx="6697">
                  <c:v>-2.4695</c:v>
                </c:pt>
                <c:pt idx="6698">
                  <c:v>#N/A</c:v>
                </c:pt>
                <c:pt idx="6699">
                  <c:v>-2.3978899999999999</c:v>
                </c:pt>
                <c:pt idx="6700">
                  <c:v>-1.2262299999999999</c:v>
                </c:pt>
                <c:pt idx="6701">
                  <c:v>#N/A</c:v>
                </c:pt>
                <c:pt idx="6702">
                  <c:v>-1.3752500000000001</c:v>
                </c:pt>
                <c:pt idx="6703">
                  <c:v>-1.3886400000000001</c:v>
                </c:pt>
                <c:pt idx="6704">
                  <c:v>-2.5923500000000002</c:v>
                </c:pt>
                <c:pt idx="6705">
                  <c:v>#N/A</c:v>
                </c:pt>
                <c:pt idx="6706">
                  <c:v>-2.5432199999999998</c:v>
                </c:pt>
                <c:pt idx="6707">
                  <c:v>-2.75936</c:v>
                </c:pt>
                <c:pt idx="6708">
                  <c:v>-2.5251000000000001</c:v>
                </c:pt>
                <c:pt idx="6709">
                  <c:v>#N/A</c:v>
                </c:pt>
                <c:pt idx="6710">
                  <c:v>-2.4870000000000001</c:v>
                </c:pt>
                <c:pt idx="6711">
                  <c:v>-1.67445</c:v>
                </c:pt>
                <c:pt idx="6712">
                  <c:v>-1.25501</c:v>
                </c:pt>
                <c:pt idx="6713">
                  <c:v>#N/A</c:v>
                </c:pt>
                <c:pt idx="6714">
                  <c:v>-1.27244</c:v>
                </c:pt>
                <c:pt idx="6715">
                  <c:v>-1.93452</c:v>
                </c:pt>
                <c:pt idx="6716">
                  <c:v>-2.5082200000000001</c:v>
                </c:pt>
                <c:pt idx="6717">
                  <c:v>#N/A</c:v>
                </c:pt>
                <c:pt idx="6718">
                  <c:v>-2.9796399999999998</c:v>
                </c:pt>
                <c:pt idx="6719">
                  <c:v>-2.5604300000000002</c:v>
                </c:pt>
                <c:pt idx="6720">
                  <c:v>-2.10589</c:v>
                </c:pt>
                <c:pt idx="6721">
                  <c:v>#N/A</c:v>
                </c:pt>
                <c:pt idx="6722">
                  <c:v>-2.0149499999999998</c:v>
                </c:pt>
                <c:pt idx="6723">
                  <c:v>-1.19794</c:v>
                </c:pt>
                <c:pt idx="6724">
                  <c:v>-1.86005</c:v>
                </c:pt>
                <c:pt idx="6725">
                  <c:v>#N/A</c:v>
                </c:pt>
                <c:pt idx="6726">
                  <c:v>-2.1821100000000002</c:v>
                </c:pt>
                <c:pt idx="6727">
                  <c:v>-2.7719499999999999</c:v>
                </c:pt>
                <c:pt idx="6728">
                  <c:v>#N/A</c:v>
                </c:pt>
                <c:pt idx="6729">
                  <c:v>-2.7118000000000002</c:v>
                </c:pt>
                <c:pt idx="6730">
                  <c:v>-2.66086</c:v>
                </c:pt>
                <c:pt idx="6731">
                  <c:v>-2.2930199999999998</c:v>
                </c:pt>
                <c:pt idx="6732">
                  <c:v>#N/A</c:v>
                </c:pt>
                <c:pt idx="6733">
                  <c:v>-1.81054</c:v>
                </c:pt>
                <c:pt idx="6734">
                  <c:v>-1.78342</c:v>
                </c:pt>
                <c:pt idx="6735">
                  <c:v>-2.2016300000000002</c:v>
                </c:pt>
                <c:pt idx="6736">
                  <c:v>#N/A</c:v>
                </c:pt>
                <c:pt idx="6737">
                  <c:v>-2.3294199999999998</c:v>
                </c:pt>
                <c:pt idx="6738">
                  <c:v>-2.6181199999999998</c:v>
                </c:pt>
                <c:pt idx="6739">
                  <c:v>-2.4597000000000002</c:v>
                </c:pt>
                <c:pt idx="6740">
                  <c:v>#N/A</c:v>
                </c:pt>
                <c:pt idx="6741">
                  <c:v>-1.9300200000000001</c:v>
                </c:pt>
                <c:pt idx="6742">
                  <c:v>-1.45228</c:v>
                </c:pt>
                <c:pt idx="6743">
                  <c:v>-1.3270500000000001</c:v>
                </c:pt>
                <c:pt idx="6744">
                  <c:v>#N/A</c:v>
                </c:pt>
                <c:pt idx="6745">
                  <c:v>-1.7408399999999999</c:v>
                </c:pt>
                <c:pt idx="6746">
                  <c:v>-2.3044799999999999</c:v>
                </c:pt>
                <c:pt idx="6747">
                  <c:v>-2.3200599999999998</c:v>
                </c:pt>
                <c:pt idx="6748">
                  <c:v>#N/A</c:v>
                </c:pt>
                <c:pt idx="6749">
                  <c:v>-2.0889799999999998</c:v>
                </c:pt>
                <c:pt idx="6750">
                  <c:v>-2.30471</c:v>
                </c:pt>
                <c:pt idx="6751">
                  <c:v>-1.9915099999999999</c:v>
                </c:pt>
                <c:pt idx="6752">
                  <c:v>#N/A</c:v>
                </c:pt>
                <c:pt idx="6753">
                  <c:v>-1.7000299999999999</c:v>
                </c:pt>
                <c:pt idx="6754">
                  <c:v>#N/A</c:v>
                </c:pt>
                <c:pt idx="6755">
                  <c:v>-2.1863100000000002</c:v>
                </c:pt>
                <c:pt idx="6756">
                  <c:v>#N/A</c:v>
                </c:pt>
                <c:pt idx="6757">
                  <c:v>-2.9308800000000002</c:v>
                </c:pt>
                <c:pt idx="6758">
                  <c:v>-2.9799899999999999</c:v>
                </c:pt>
                <c:pt idx="6759">
                  <c:v>#N/A</c:v>
                </c:pt>
                <c:pt idx="6760">
                  <c:v>-2.6031900000000001</c:v>
                </c:pt>
                <c:pt idx="6761">
                  <c:v>-1.8980699999999999</c:v>
                </c:pt>
                <c:pt idx="6762">
                  <c:v>-1.67774</c:v>
                </c:pt>
                <c:pt idx="6763">
                  <c:v>#N/A</c:v>
                </c:pt>
                <c:pt idx="6764">
                  <c:v>-1.7677700000000001</c:v>
                </c:pt>
                <c:pt idx="6765">
                  <c:v>-2.13009</c:v>
                </c:pt>
                <c:pt idx="6766">
                  <c:v>-2.38713</c:v>
                </c:pt>
                <c:pt idx="6767">
                  <c:v>#N/A</c:v>
                </c:pt>
                <c:pt idx="6768">
                  <c:v>-3.0682100000000001</c:v>
                </c:pt>
                <c:pt idx="6769">
                  <c:v>-2.3753899999999999</c:v>
                </c:pt>
                <c:pt idx="6770">
                  <c:v>-2.93479</c:v>
                </c:pt>
                <c:pt idx="6771">
                  <c:v>#N/A</c:v>
                </c:pt>
                <c:pt idx="6772">
                  <c:v>-1.4933000000000001</c:v>
                </c:pt>
                <c:pt idx="6773">
                  <c:v>-1.0457399999999999</c:v>
                </c:pt>
                <c:pt idx="6774">
                  <c:v>#N/A</c:v>
                </c:pt>
                <c:pt idx="6775">
                  <c:v>-1.1746000000000001</c:v>
                </c:pt>
                <c:pt idx="6776">
                  <c:v>-1.04715</c:v>
                </c:pt>
                <c:pt idx="6777">
                  <c:v>-1.91317</c:v>
                </c:pt>
                <c:pt idx="6778">
                  <c:v>#N/A</c:v>
                </c:pt>
                <c:pt idx="6779">
                  <c:v>-2.2080299999999999</c:v>
                </c:pt>
                <c:pt idx="6780">
                  <c:v>-2.9074</c:v>
                </c:pt>
                <c:pt idx="6781">
                  <c:v>-2.22601</c:v>
                </c:pt>
                <c:pt idx="6782">
                  <c:v>#N/A</c:v>
                </c:pt>
                <c:pt idx="6783">
                  <c:v>-2.0966499999999999</c:v>
                </c:pt>
                <c:pt idx="6784">
                  <c:v>-1.9159900000000001</c:v>
                </c:pt>
                <c:pt idx="6785">
                  <c:v>-1.08141</c:v>
                </c:pt>
                <c:pt idx="6786">
                  <c:v>#N/A</c:v>
                </c:pt>
                <c:pt idx="6787">
                  <c:v>-1.24688</c:v>
                </c:pt>
                <c:pt idx="6788">
                  <c:v>-1.9547099999999999</c:v>
                </c:pt>
                <c:pt idx="6789">
                  <c:v>-2.8530799999999998</c:v>
                </c:pt>
                <c:pt idx="6790">
                  <c:v>#N/A</c:v>
                </c:pt>
                <c:pt idx="6791">
                  <c:v>-2.4978199999999999</c:v>
                </c:pt>
                <c:pt idx="6792">
                  <c:v>-3.0561699999999998</c:v>
                </c:pt>
                <c:pt idx="6793">
                  <c:v>-2.44293</c:v>
                </c:pt>
                <c:pt idx="6794">
                  <c:v>#N/A</c:v>
                </c:pt>
                <c:pt idx="6795">
                  <c:v>-1.9418200000000001</c:v>
                </c:pt>
                <c:pt idx="6796">
                  <c:v>-0.96442600000000001</c:v>
                </c:pt>
                <c:pt idx="6797">
                  <c:v>-1.10893</c:v>
                </c:pt>
                <c:pt idx="6798">
                  <c:v>#N/A</c:v>
                </c:pt>
                <c:pt idx="6799">
                  <c:v>-1.1831400000000001</c:v>
                </c:pt>
                <c:pt idx="6800">
                  <c:v>-2.32416</c:v>
                </c:pt>
                <c:pt idx="6801">
                  <c:v>-2.2435900000000002</c:v>
                </c:pt>
                <c:pt idx="6802">
                  <c:v>#N/A</c:v>
                </c:pt>
                <c:pt idx="6803">
                  <c:v>-2.0200900000000002</c:v>
                </c:pt>
                <c:pt idx="6804">
                  <c:v>-2.11835</c:v>
                </c:pt>
                <c:pt idx="6805">
                  <c:v>-1.8019400000000001</c:v>
                </c:pt>
                <c:pt idx="6806">
                  <c:v>#N/A</c:v>
                </c:pt>
                <c:pt idx="6807">
                  <c:v>-2.00339</c:v>
                </c:pt>
                <c:pt idx="6808">
                  <c:v>-2.0492900000000001</c:v>
                </c:pt>
                <c:pt idx="6809">
                  <c:v>#N/A</c:v>
                </c:pt>
                <c:pt idx="6810">
                  <c:v>-2.1723699999999999</c:v>
                </c:pt>
                <c:pt idx="6811">
                  <c:v>-2.5009100000000002</c:v>
                </c:pt>
                <c:pt idx="6812">
                  <c:v>-2.6932800000000001</c:v>
                </c:pt>
                <c:pt idx="6813">
                  <c:v>#N/A</c:v>
                </c:pt>
                <c:pt idx="6814">
                  <c:v>-2.9180700000000002</c:v>
                </c:pt>
                <c:pt idx="6815">
                  <c:v>-1.90642</c:v>
                </c:pt>
                <c:pt idx="6816">
                  <c:v>-1.8952899999999999</c:v>
                </c:pt>
                <c:pt idx="6817">
                  <c:v>#N/A</c:v>
                </c:pt>
                <c:pt idx="6818">
                  <c:v>-2.33453</c:v>
                </c:pt>
                <c:pt idx="6819">
                  <c:v>-1.97624</c:v>
                </c:pt>
                <c:pt idx="6820">
                  <c:v>-2.28633</c:v>
                </c:pt>
                <c:pt idx="6821">
                  <c:v>#N/A</c:v>
                </c:pt>
                <c:pt idx="6822">
                  <c:v>-1.9054599999999999</c:v>
                </c:pt>
                <c:pt idx="6823">
                  <c:v>-1.90185</c:v>
                </c:pt>
                <c:pt idx="6824">
                  <c:v>-1.6996</c:v>
                </c:pt>
                <c:pt idx="6825">
                  <c:v>#N/A</c:v>
                </c:pt>
                <c:pt idx="6826">
                  <c:v>-1.9534100000000001</c:v>
                </c:pt>
                <c:pt idx="6827">
                  <c:v>-1.3369500000000001</c:v>
                </c:pt>
                <c:pt idx="6828">
                  <c:v>-1.77698</c:v>
                </c:pt>
                <c:pt idx="6829">
                  <c:v>#N/A</c:v>
                </c:pt>
                <c:pt idx="6830">
                  <c:v>-2.5882999999999998</c:v>
                </c:pt>
                <c:pt idx="6831">
                  <c:v>#N/A</c:v>
                </c:pt>
                <c:pt idx="6832">
                  <c:v>-2.6494800000000001</c:v>
                </c:pt>
                <c:pt idx="6833">
                  <c:v>-2.0349900000000001</c:v>
                </c:pt>
                <c:pt idx="6834">
                  <c:v>-1.7187699999999999</c:v>
                </c:pt>
                <c:pt idx="6835">
                  <c:v>#N/A</c:v>
                </c:pt>
                <c:pt idx="6836">
                  <c:v>-1.6002400000000001</c:v>
                </c:pt>
                <c:pt idx="6837">
                  <c:v>-1.1947700000000001</c:v>
                </c:pt>
                <c:pt idx="6838">
                  <c:v>-1.79549</c:v>
                </c:pt>
                <c:pt idx="6839">
                  <c:v>#N/A</c:v>
                </c:pt>
                <c:pt idx="6840">
                  <c:v>-2.2864499999999999</c:v>
                </c:pt>
                <c:pt idx="6841">
                  <c:v>-2.71407</c:v>
                </c:pt>
                <c:pt idx="6842">
                  <c:v>#N/A</c:v>
                </c:pt>
                <c:pt idx="6843">
                  <c:v>-2.8847299999999998</c:v>
                </c:pt>
                <c:pt idx="6844">
                  <c:v>-2.3860700000000001</c:v>
                </c:pt>
                <c:pt idx="6845">
                  <c:v>-2.1680799999999998</c:v>
                </c:pt>
                <c:pt idx="6846">
                  <c:v>#N/A</c:v>
                </c:pt>
                <c:pt idx="6847">
                  <c:v>-0.89646300000000001</c:v>
                </c:pt>
                <c:pt idx="6848">
                  <c:v>-1.01685</c:v>
                </c:pt>
                <c:pt idx="6849">
                  <c:v>-1.32561</c:v>
                </c:pt>
                <c:pt idx="6850">
                  <c:v>#N/A</c:v>
                </c:pt>
                <c:pt idx="6851">
                  <c:v>-2.0470799999999998</c:v>
                </c:pt>
                <c:pt idx="6852">
                  <c:v>-2.3953899999999999</c:v>
                </c:pt>
                <c:pt idx="6853">
                  <c:v>-2.7580100000000001</c:v>
                </c:pt>
                <c:pt idx="6854">
                  <c:v>#N/A</c:v>
                </c:pt>
                <c:pt idx="6855">
                  <c:v>-2.1588500000000002</c:v>
                </c:pt>
                <c:pt idx="6856">
                  <c:v>-1.8350200000000001</c:v>
                </c:pt>
                <c:pt idx="6857">
                  <c:v>-1.8403499999999999</c:v>
                </c:pt>
                <c:pt idx="6858">
                  <c:v>#N/A</c:v>
                </c:pt>
                <c:pt idx="6859">
                  <c:v>-1.1628499999999999</c:v>
                </c:pt>
                <c:pt idx="6860">
                  <c:v>-1.5685</c:v>
                </c:pt>
                <c:pt idx="6861">
                  <c:v>-2.6358000000000001</c:v>
                </c:pt>
                <c:pt idx="6862">
                  <c:v>#N/A</c:v>
                </c:pt>
                <c:pt idx="6863">
                  <c:v>-2.9175300000000002</c:v>
                </c:pt>
                <c:pt idx="6864">
                  <c:v>-3.4535399999999998</c:v>
                </c:pt>
                <c:pt idx="6865">
                  <c:v>-3.11957</c:v>
                </c:pt>
                <c:pt idx="6866">
                  <c:v>#N/A</c:v>
                </c:pt>
                <c:pt idx="6867">
                  <c:v>-2.0632799999999998</c:v>
                </c:pt>
                <c:pt idx="6868">
                  <c:v>-1.5727199999999999</c:v>
                </c:pt>
                <c:pt idx="6869">
                  <c:v>-1.7005300000000001</c:v>
                </c:pt>
                <c:pt idx="6870">
                  <c:v>#N/A</c:v>
                </c:pt>
                <c:pt idx="6871">
                  <c:v>-2.7772399999999999</c:v>
                </c:pt>
                <c:pt idx="6872">
                  <c:v>-2.61511</c:v>
                </c:pt>
                <c:pt idx="6873">
                  <c:v>#N/A</c:v>
                </c:pt>
                <c:pt idx="6874">
                  <c:v>-2.6717599999999999</c:v>
                </c:pt>
                <c:pt idx="6875">
                  <c:v>-3.2323400000000002</c:v>
                </c:pt>
                <c:pt idx="6876">
                  <c:v>-2.9088500000000002</c:v>
                </c:pt>
                <c:pt idx="6877">
                  <c:v>#N/A</c:v>
                </c:pt>
                <c:pt idx="6878">
                  <c:v>-2.4148200000000002</c:v>
                </c:pt>
                <c:pt idx="6879">
                  <c:v>-1.9705900000000001</c:v>
                </c:pt>
                <c:pt idx="6880">
                  <c:v>-1.92117</c:v>
                </c:pt>
                <c:pt idx="6881">
                  <c:v>#N/A</c:v>
                </c:pt>
                <c:pt idx="6882">
                  <c:v>-1.9603900000000001</c:v>
                </c:pt>
                <c:pt idx="6883">
                  <c:v>-2.3161900000000002</c:v>
                </c:pt>
                <c:pt idx="6884">
                  <c:v>-2.4443100000000002</c:v>
                </c:pt>
                <c:pt idx="6885">
                  <c:v>#N/A</c:v>
                </c:pt>
                <c:pt idx="6886">
                  <c:v>-2.4693399999999999</c:v>
                </c:pt>
                <c:pt idx="6887">
                  <c:v>-2.1422300000000001</c:v>
                </c:pt>
                <c:pt idx="6888">
                  <c:v>-1.83507</c:v>
                </c:pt>
                <c:pt idx="6889">
                  <c:v>#N/A</c:v>
                </c:pt>
                <c:pt idx="6890">
                  <c:v>-2.1271100000000001</c:v>
                </c:pt>
                <c:pt idx="6891">
                  <c:v>-2.1819700000000002</c:v>
                </c:pt>
                <c:pt idx="6892">
                  <c:v>-1.93211</c:v>
                </c:pt>
                <c:pt idx="6893">
                  <c:v>#N/A</c:v>
                </c:pt>
                <c:pt idx="6894">
                  <c:v>-2.5066099999999998</c:v>
                </c:pt>
                <c:pt idx="6895">
                  <c:v>-1.89513</c:v>
                </c:pt>
                <c:pt idx="6896">
                  <c:v>-1.86415</c:v>
                </c:pt>
                <c:pt idx="6897">
                  <c:v>#N/A</c:v>
                </c:pt>
                <c:pt idx="6898">
                  <c:v>-1.7134400000000001</c:v>
                </c:pt>
                <c:pt idx="6899">
                  <c:v>-1.5633600000000001</c:v>
                </c:pt>
                <c:pt idx="6900">
                  <c:v>-1.8392999999999999</c:v>
                </c:pt>
                <c:pt idx="6901">
                  <c:v>#N/A</c:v>
                </c:pt>
                <c:pt idx="6902">
                  <c:v>-1.8584099999999999</c:v>
                </c:pt>
                <c:pt idx="6903">
                  <c:v>-2.3054399999999999</c:v>
                </c:pt>
                <c:pt idx="6904">
                  <c:v>#N/A</c:v>
                </c:pt>
                <c:pt idx="6905">
                  <c:v>-2.2700300000000002</c:v>
                </c:pt>
                <c:pt idx="6906">
                  <c:v>#N/A</c:v>
                </c:pt>
                <c:pt idx="6907">
                  <c:v>-1.40621</c:v>
                </c:pt>
                <c:pt idx="6908">
                  <c:v>-1.60697</c:v>
                </c:pt>
                <c:pt idx="6909">
                  <c:v>#N/A</c:v>
                </c:pt>
                <c:pt idx="6910">
                  <c:v>-1.8433900000000001</c:v>
                </c:pt>
                <c:pt idx="6911">
                  <c:v>-2.0528499999999998</c:v>
                </c:pt>
                <c:pt idx="6912">
                  <c:v>-1.68675</c:v>
                </c:pt>
                <c:pt idx="6913">
                  <c:v>#N/A</c:v>
                </c:pt>
                <c:pt idx="6914">
                  <c:v>-2.9068499999999999</c:v>
                </c:pt>
                <c:pt idx="6915">
                  <c:v>-3.4385300000000001</c:v>
                </c:pt>
                <c:pt idx="6916">
                  <c:v>-3.1857000000000002</c:v>
                </c:pt>
                <c:pt idx="6917">
                  <c:v>#N/A</c:v>
                </c:pt>
                <c:pt idx="6918">
                  <c:v>-2.0901000000000001</c:v>
                </c:pt>
                <c:pt idx="6919">
                  <c:v>-1.32521</c:v>
                </c:pt>
                <c:pt idx="6920">
                  <c:v>-1.2713699999999999</c:v>
                </c:pt>
                <c:pt idx="6921">
                  <c:v>#N/A</c:v>
                </c:pt>
                <c:pt idx="6922">
                  <c:v>-1.94831</c:v>
                </c:pt>
                <c:pt idx="6923">
                  <c:v>-2.0862400000000001</c:v>
                </c:pt>
                <c:pt idx="6924">
                  <c:v>-2.5608900000000001</c:v>
                </c:pt>
                <c:pt idx="6925">
                  <c:v>#N/A</c:v>
                </c:pt>
                <c:pt idx="6926">
                  <c:v>-3.2255400000000001</c:v>
                </c:pt>
                <c:pt idx="6927">
                  <c:v>-2.9518599999999999</c:v>
                </c:pt>
                <c:pt idx="6928">
                  <c:v>-2.26912</c:v>
                </c:pt>
                <c:pt idx="6929">
                  <c:v>#N/A</c:v>
                </c:pt>
                <c:pt idx="6930">
                  <c:v>-1.3365400000000001</c:v>
                </c:pt>
                <c:pt idx="6931">
                  <c:v>-1.2674000000000001</c:v>
                </c:pt>
                <c:pt idx="6932">
                  <c:v>#N/A</c:v>
                </c:pt>
                <c:pt idx="6933">
                  <c:v>-1.6911700000000001</c:v>
                </c:pt>
                <c:pt idx="6934">
                  <c:v>-2.0458799999999999</c:v>
                </c:pt>
                <c:pt idx="6935">
                  <c:v>-2.7820999999999998</c:v>
                </c:pt>
                <c:pt idx="6936">
                  <c:v>#N/A</c:v>
                </c:pt>
                <c:pt idx="6937">
                  <c:v>-2.7341500000000001</c:v>
                </c:pt>
                <c:pt idx="6938">
                  <c:v>-2.8014199999999998</c:v>
                </c:pt>
                <c:pt idx="6939">
                  <c:v>-2.8949799999999999</c:v>
                </c:pt>
                <c:pt idx="6940">
                  <c:v>#N/A</c:v>
                </c:pt>
                <c:pt idx="6941">
                  <c:v>-2.2080600000000001</c:v>
                </c:pt>
                <c:pt idx="6942">
                  <c:v>-1.95279</c:v>
                </c:pt>
                <c:pt idx="6943">
                  <c:v>-2.0621399999999999</c:v>
                </c:pt>
                <c:pt idx="6944">
                  <c:v>#N/A</c:v>
                </c:pt>
                <c:pt idx="6945">
                  <c:v>-2.8290700000000002</c:v>
                </c:pt>
                <c:pt idx="6946">
                  <c:v>-3.1268699999999998</c:v>
                </c:pt>
                <c:pt idx="6947">
                  <c:v>-3.2855400000000001</c:v>
                </c:pt>
                <c:pt idx="6948">
                  <c:v>#N/A</c:v>
                </c:pt>
                <c:pt idx="6949">
                  <c:v>-3.0588600000000001</c:v>
                </c:pt>
                <c:pt idx="6950">
                  <c:v>-2.43031</c:v>
                </c:pt>
                <c:pt idx="6951">
                  <c:v>-2.2100499999999998</c:v>
                </c:pt>
                <c:pt idx="6952">
                  <c:v>#N/A</c:v>
                </c:pt>
                <c:pt idx="6953">
                  <c:v>-1.56073</c:v>
                </c:pt>
                <c:pt idx="6954">
                  <c:v>-1.60432</c:v>
                </c:pt>
                <c:pt idx="6955">
                  <c:v>-1.6441699999999999</c:v>
                </c:pt>
                <c:pt idx="6956">
                  <c:v>#N/A</c:v>
                </c:pt>
                <c:pt idx="6957">
                  <c:v>-2.4103500000000002</c:v>
                </c:pt>
                <c:pt idx="6958">
                  <c:v>-2.3009300000000001</c:v>
                </c:pt>
                <c:pt idx="6959">
                  <c:v>-1.6920200000000001</c:v>
                </c:pt>
                <c:pt idx="6960">
                  <c:v>#N/A</c:v>
                </c:pt>
                <c:pt idx="6961">
                  <c:v>-1.50912</c:v>
                </c:pt>
                <c:pt idx="6962">
                  <c:v>-1.7625999999999999</c:v>
                </c:pt>
                <c:pt idx="6963">
                  <c:v>#N/A</c:v>
                </c:pt>
                <c:pt idx="6964">
                  <c:v>-2.26918</c:v>
                </c:pt>
                <c:pt idx="6965">
                  <c:v>-2.12818</c:v>
                </c:pt>
                <c:pt idx="6966">
                  <c:v>-2.5822099999999999</c:v>
                </c:pt>
                <c:pt idx="6967">
                  <c:v>#N/A</c:v>
                </c:pt>
                <c:pt idx="6968">
                  <c:v>-2.4651900000000002</c:v>
                </c:pt>
                <c:pt idx="6969">
                  <c:v>-2.91838</c:v>
                </c:pt>
                <c:pt idx="6970">
                  <c:v>-2.5722200000000002</c:v>
                </c:pt>
                <c:pt idx="6971">
                  <c:v>#N/A</c:v>
                </c:pt>
                <c:pt idx="6972">
                  <c:v>-2.0652699999999999</c:v>
                </c:pt>
                <c:pt idx="6973">
                  <c:v>-2.0173399999999999</c:v>
                </c:pt>
                <c:pt idx="6974">
                  <c:v>#N/A</c:v>
                </c:pt>
                <c:pt idx="6975">
                  <c:v>-2.5691099999999998</c:v>
                </c:pt>
                <c:pt idx="6976">
                  <c:v>-2.96136</c:v>
                </c:pt>
                <c:pt idx="6977">
                  <c:v>-3.14438</c:v>
                </c:pt>
                <c:pt idx="6978">
                  <c:v>#N/A</c:v>
                </c:pt>
                <c:pt idx="6979">
                  <c:v>-3.18283</c:v>
                </c:pt>
                <c:pt idx="6980">
                  <c:v>-2.2893300000000001</c:v>
                </c:pt>
                <c:pt idx="6981">
                  <c:v>#N/A</c:v>
                </c:pt>
                <c:pt idx="6982">
                  <c:v>-1.8680399999999999</c:v>
                </c:pt>
                <c:pt idx="6983">
                  <c:v>#N/A</c:v>
                </c:pt>
                <c:pt idx="6984">
                  <c:v>-2.1110799999999998</c:v>
                </c:pt>
                <c:pt idx="6985">
                  <c:v>-2.5173000000000001</c:v>
                </c:pt>
                <c:pt idx="6986">
                  <c:v>-3.3560300000000001</c:v>
                </c:pt>
                <c:pt idx="6987">
                  <c:v>#N/A</c:v>
                </c:pt>
                <c:pt idx="6988">
                  <c:v>-3.2499400000000001</c:v>
                </c:pt>
                <c:pt idx="6989">
                  <c:v>-3.21835</c:v>
                </c:pt>
                <c:pt idx="6990">
                  <c:v>-2.4420600000000001</c:v>
                </c:pt>
                <c:pt idx="6991">
                  <c:v>#N/A</c:v>
                </c:pt>
                <c:pt idx="6992">
                  <c:v>-2.5071599999999998</c:v>
                </c:pt>
                <c:pt idx="6993">
                  <c:v>-2.4451900000000002</c:v>
                </c:pt>
                <c:pt idx="6994">
                  <c:v>#N/A</c:v>
                </c:pt>
                <c:pt idx="6995">
                  <c:v>-2.4223300000000001</c:v>
                </c:pt>
                <c:pt idx="6996">
                  <c:v>-2.9399299999999999</c:v>
                </c:pt>
                <c:pt idx="6997">
                  <c:v>-2.7330999999999999</c:v>
                </c:pt>
                <c:pt idx="6998">
                  <c:v>#N/A</c:v>
                </c:pt>
                <c:pt idx="6999">
                  <c:v>-3.5321799999999999</c:v>
                </c:pt>
                <c:pt idx="7000">
                  <c:v>-3.36259</c:v>
                </c:pt>
                <c:pt idx="7001">
                  <c:v>-2.51559</c:v>
                </c:pt>
                <c:pt idx="7002">
                  <c:v>#N/A</c:v>
                </c:pt>
                <c:pt idx="7003">
                  <c:v>-2.4459200000000001</c:v>
                </c:pt>
                <c:pt idx="7004">
                  <c:v>-1.6522399999999999</c:v>
                </c:pt>
                <c:pt idx="7005">
                  <c:v>-2.2568899999999998</c:v>
                </c:pt>
                <c:pt idx="7006">
                  <c:v>#N/A</c:v>
                </c:pt>
                <c:pt idx="7007">
                  <c:v>-2.4620500000000001</c:v>
                </c:pt>
                <c:pt idx="7008">
                  <c:v>-3.5832099999999998</c:v>
                </c:pt>
                <c:pt idx="7009">
                  <c:v>#N/A</c:v>
                </c:pt>
                <c:pt idx="7010">
                  <c:v>-3.5105300000000002</c:v>
                </c:pt>
                <c:pt idx="7011">
                  <c:v>-3.8003200000000001</c:v>
                </c:pt>
                <c:pt idx="7012">
                  <c:v>-3.25563</c:v>
                </c:pt>
                <c:pt idx="7013">
                  <c:v>#N/A</c:v>
                </c:pt>
                <c:pt idx="7014">
                  <c:v>-2.59334</c:v>
                </c:pt>
                <c:pt idx="7015">
                  <c:v>-2.2228300000000001</c:v>
                </c:pt>
                <c:pt idx="7016">
                  <c:v>-1.96174</c:v>
                </c:pt>
                <c:pt idx="7017">
                  <c:v>#N/A</c:v>
                </c:pt>
                <c:pt idx="7018">
                  <c:v>-2.5434399999999999</c:v>
                </c:pt>
                <c:pt idx="7019">
                  <c:v>-3.13489</c:v>
                </c:pt>
                <c:pt idx="7020">
                  <c:v>-3.2860499999999999</c:v>
                </c:pt>
                <c:pt idx="7021">
                  <c:v>#N/A</c:v>
                </c:pt>
                <c:pt idx="7022">
                  <c:v>-2.49403</c:v>
                </c:pt>
                <c:pt idx="7023">
                  <c:v>-2.7443499999999998</c:v>
                </c:pt>
                <c:pt idx="7024">
                  <c:v>-2.18798</c:v>
                </c:pt>
                <c:pt idx="7025">
                  <c:v>#N/A</c:v>
                </c:pt>
                <c:pt idx="7026">
                  <c:v>-2.1998099999999998</c:v>
                </c:pt>
                <c:pt idx="7027">
                  <c:v>-1.9336</c:v>
                </c:pt>
                <c:pt idx="7028">
                  <c:v>-1.8798900000000001</c:v>
                </c:pt>
                <c:pt idx="7029">
                  <c:v>#N/A</c:v>
                </c:pt>
                <c:pt idx="7030">
                  <c:v>-2.9598100000000001</c:v>
                </c:pt>
                <c:pt idx="7031">
                  <c:v>-3.01302</c:v>
                </c:pt>
                <c:pt idx="7032">
                  <c:v>#N/A</c:v>
                </c:pt>
                <c:pt idx="7033">
                  <c:v>-2.08047</c:v>
                </c:pt>
                <c:pt idx="7034">
                  <c:v>-2.28301</c:v>
                </c:pt>
                <c:pt idx="7035">
                  <c:v>-2.1023499999999999</c:v>
                </c:pt>
                <c:pt idx="7036">
                  <c:v>#N/A</c:v>
                </c:pt>
                <c:pt idx="7037">
                  <c:v>-2.7654200000000002</c:v>
                </c:pt>
                <c:pt idx="7038">
                  <c:v>-2.7509800000000002</c:v>
                </c:pt>
                <c:pt idx="7039">
                  <c:v>-3.0272000000000001</c:v>
                </c:pt>
                <c:pt idx="7040">
                  <c:v>#N/A</c:v>
                </c:pt>
                <c:pt idx="7041">
                  <c:v>-2.2920400000000001</c:v>
                </c:pt>
                <c:pt idx="7042">
                  <c:v>-2.8003399999999998</c:v>
                </c:pt>
                <c:pt idx="7043">
                  <c:v>-2.4957600000000002</c:v>
                </c:pt>
                <c:pt idx="7044">
                  <c:v>#N/A</c:v>
                </c:pt>
                <c:pt idx="7045">
                  <c:v>-1.9165399999999999</c:v>
                </c:pt>
                <c:pt idx="7046">
                  <c:v>-2.7426300000000001</c:v>
                </c:pt>
                <c:pt idx="7047">
                  <c:v>#N/A</c:v>
                </c:pt>
                <c:pt idx="7048">
                  <c:v>-3.1255000000000002</c:v>
                </c:pt>
                <c:pt idx="7049">
                  <c:v>-3.3495499999999998</c:v>
                </c:pt>
                <c:pt idx="7050">
                  <c:v>-3.0516700000000001</c:v>
                </c:pt>
                <c:pt idx="7051">
                  <c:v>#N/A</c:v>
                </c:pt>
                <c:pt idx="7052">
                  <c:v>-3.3711500000000001</c:v>
                </c:pt>
                <c:pt idx="7053">
                  <c:v>-3.1133199999999999</c:v>
                </c:pt>
                <c:pt idx="7054">
                  <c:v>-2.0828500000000001</c:v>
                </c:pt>
                <c:pt idx="7055">
                  <c:v>#N/A</c:v>
                </c:pt>
                <c:pt idx="7056">
                  <c:v>-2.1773600000000002</c:v>
                </c:pt>
                <c:pt idx="7057">
                  <c:v>#N/A</c:v>
                </c:pt>
                <c:pt idx="7058">
                  <c:v>-2.4471599999999998</c:v>
                </c:pt>
                <c:pt idx="7059">
                  <c:v>-2.4576099999999999</c:v>
                </c:pt>
                <c:pt idx="7060">
                  <c:v>-3.0569999999999999</c:v>
                </c:pt>
                <c:pt idx="7061">
                  <c:v>#N/A</c:v>
                </c:pt>
                <c:pt idx="7062">
                  <c:v>-3.12012</c:v>
                </c:pt>
                <c:pt idx="7063">
                  <c:v>-2.50935</c:v>
                </c:pt>
                <c:pt idx="7064">
                  <c:v>-2.4575999999999998</c:v>
                </c:pt>
                <c:pt idx="7065">
                  <c:v>#N/A</c:v>
                </c:pt>
                <c:pt idx="7066">
                  <c:v>-1.5746</c:v>
                </c:pt>
                <c:pt idx="7067">
                  <c:v>-1.83548</c:v>
                </c:pt>
                <c:pt idx="7068">
                  <c:v>-2.24342</c:v>
                </c:pt>
                <c:pt idx="7069">
                  <c:v>#N/A</c:v>
                </c:pt>
                <c:pt idx="7070">
                  <c:v>-2.8230300000000002</c:v>
                </c:pt>
                <c:pt idx="7071">
                  <c:v>-2.3718400000000002</c:v>
                </c:pt>
                <c:pt idx="7072">
                  <c:v>-2.7952900000000001</c:v>
                </c:pt>
                <c:pt idx="7073">
                  <c:v>#N/A</c:v>
                </c:pt>
                <c:pt idx="7074">
                  <c:v>-2.9890099999999999</c:v>
                </c:pt>
                <c:pt idx="7075">
                  <c:v>-2.4676399999999998</c:v>
                </c:pt>
                <c:pt idx="7076">
                  <c:v>-1.91381</c:v>
                </c:pt>
                <c:pt idx="7077">
                  <c:v>#N/A</c:v>
                </c:pt>
                <c:pt idx="7078">
                  <c:v>-1.4629000000000001</c:v>
                </c:pt>
                <c:pt idx="7079">
                  <c:v>-1.7287300000000001</c:v>
                </c:pt>
                <c:pt idx="7080">
                  <c:v>-2.3880499999999998</c:v>
                </c:pt>
                <c:pt idx="7081">
                  <c:v>#N/A</c:v>
                </c:pt>
                <c:pt idx="7082">
                  <c:v>-2.9911799999999999</c:v>
                </c:pt>
                <c:pt idx="7083">
                  <c:v>-2.8065099999999998</c:v>
                </c:pt>
                <c:pt idx="7084">
                  <c:v>#N/A</c:v>
                </c:pt>
                <c:pt idx="7085">
                  <c:v>-2.2988900000000001</c:v>
                </c:pt>
                <c:pt idx="7086">
                  <c:v>-2.4416600000000002</c:v>
                </c:pt>
                <c:pt idx="7087">
                  <c:v>-2.1649500000000002</c:v>
                </c:pt>
                <c:pt idx="7088">
                  <c:v>#N/A</c:v>
                </c:pt>
                <c:pt idx="7089">
                  <c:v>-1.90401</c:v>
                </c:pt>
                <c:pt idx="7090">
                  <c:v>-2.16222</c:v>
                </c:pt>
                <c:pt idx="7091">
                  <c:v>-2.4870299999999999</c:v>
                </c:pt>
                <c:pt idx="7092">
                  <c:v>#N/A</c:v>
                </c:pt>
                <c:pt idx="7093">
                  <c:v>-3.1346599999999998</c:v>
                </c:pt>
                <c:pt idx="7094">
                  <c:v>-3.2067899999999998</c:v>
                </c:pt>
                <c:pt idx="7095">
                  <c:v>-2.9012699999999998</c:v>
                </c:pt>
                <c:pt idx="7096">
                  <c:v>#N/A</c:v>
                </c:pt>
                <c:pt idx="7097">
                  <c:v>-1.8772599999999999</c:v>
                </c:pt>
                <c:pt idx="7098">
                  <c:v>-1.8792</c:v>
                </c:pt>
                <c:pt idx="7099">
                  <c:v>-2.33927</c:v>
                </c:pt>
                <c:pt idx="7100">
                  <c:v>#N/A</c:v>
                </c:pt>
                <c:pt idx="7101">
                  <c:v>-2.0177999999999998</c:v>
                </c:pt>
                <c:pt idx="7102">
                  <c:v>-3.2720400000000001</c:v>
                </c:pt>
                <c:pt idx="7103">
                  <c:v>-3.11124</c:v>
                </c:pt>
                <c:pt idx="7104">
                  <c:v>#N/A</c:v>
                </c:pt>
                <c:pt idx="7105">
                  <c:v>-3.1521300000000001</c:v>
                </c:pt>
                <c:pt idx="7106">
                  <c:v>-2.3272400000000002</c:v>
                </c:pt>
                <c:pt idx="7107">
                  <c:v>-2.2026599999999998</c:v>
                </c:pt>
                <c:pt idx="7108">
                  <c:v>#N/A</c:v>
                </c:pt>
                <c:pt idx="7109">
                  <c:v>-2.2519300000000002</c:v>
                </c:pt>
                <c:pt idx="7110">
                  <c:v>-2.4769299999999999</c:v>
                </c:pt>
                <c:pt idx="7111">
                  <c:v>-2.14324</c:v>
                </c:pt>
                <c:pt idx="7112">
                  <c:v>#N/A</c:v>
                </c:pt>
                <c:pt idx="7113">
                  <c:v>-2.7237900000000002</c:v>
                </c:pt>
                <c:pt idx="7114">
                  <c:v>-2.5108000000000001</c:v>
                </c:pt>
                <c:pt idx="7115">
                  <c:v>#N/A</c:v>
                </c:pt>
                <c:pt idx="7116">
                  <c:v>-2.7286800000000002</c:v>
                </c:pt>
                <c:pt idx="7117">
                  <c:v>-2.2718799999999999</c:v>
                </c:pt>
                <c:pt idx="7118">
                  <c:v>-2.1836700000000002</c:v>
                </c:pt>
                <c:pt idx="7119">
                  <c:v>#N/A</c:v>
                </c:pt>
                <c:pt idx="7120">
                  <c:v>-1.84823</c:v>
                </c:pt>
                <c:pt idx="7121">
                  <c:v>-1.9199200000000001</c:v>
                </c:pt>
                <c:pt idx="7122">
                  <c:v>-2.2593700000000001</c:v>
                </c:pt>
                <c:pt idx="7123">
                  <c:v>#N/A</c:v>
                </c:pt>
                <c:pt idx="7124">
                  <c:v>-2.4847199999999998</c:v>
                </c:pt>
                <c:pt idx="7125">
                  <c:v>-2.36693</c:v>
                </c:pt>
                <c:pt idx="7126">
                  <c:v>-2.2249699999999999</c:v>
                </c:pt>
                <c:pt idx="7127">
                  <c:v>#N/A</c:v>
                </c:pt>
                <c:pt idx="7128">
                  <c:v>-2.2971900000000001</c:v>
                </c:pt>
                <c:pt idx="7129">
                  <c:v>-1.74359</c:v>
                </c:pt>
                <c:pt idx="7130">
                  <c:v>#N/A</c:v>
                </c:pt>
                <c:pt idx="7131">
                  <c:v>-2.1412399999999998</c:v>
                </c:pt>
                <c:pt idx="7132">
                  <c:v>#N/A</c:v>
                </c:pt>
                <c:pt idx="7133">
                  <c:v>-2.6353900000000001</c:v>
                </c:pt>
                <c:pt idx="7134">
                  <c:v>-2.8550499999999999</c:v>
                </c:pt>
                <c:pt idx="7135">
                  <c:v>-3.4304800000000002</c:v>
                </c:pt>
                <c:pt idx="7136">
                  <c:v>#N/A</c:v>
                </c:pt>
                <c:pt idx="7137">
                  <c:v>-2.6501100000000002</c:v>
                </c:pt>
                <c:pt idx="7138">
                  <c:v>-1.5926199999999999</c:v>
                </c:pt>
                <c:pt idx="7139">
                  <c:v>-1.82534</c:v>
                </c:pt>
                <c:pt idx="7140">
                  <c:v>#N/A</c:v>
                </c:pt>
                <c:pt idx="7141">
                  <c:v>-1.3473299999999999</c:v>
                </c:pt>
                <c:pt idx="7142">
                  <c:v>-2.3902299999999999</c:v>
                </c:pt>
                <c:pt idx="7143">
                  <c:v>#N/A</c:v>
                </c:pt>
                <c:pt idx="7144">
                  <c:v>-2.39676</c:v>
                </c:pt>
                <c:pt idx="7145">
                  <c:v>-2.7839299999999998</c:v>
                </c:pt>
                <c:pt idx="7146">
                  <c:v>-2.5717599999999998</c:v>
                </c:pt>
                <c:pt idx="7147">
                  <c:v>#N/A</c:v>
                </c:pt>
                <c:pt idx="7148">
                  <c:v>-2.2115999999999998</c:v>
                </c:pt>
                <c:pt idx="7149">
                  <c:v>-1.7826500000000001</c:v>
                </c:pt>
                <c:pt idx="7150">
                  <c:v>-1.24027</c:v>
                </c:pt>
                <c:pt idx="7151">
                  <c:v>#N/A</c:v>
                </c:pt>
                <c:pt idx="7152">
                  <c:v>-2.2673000000000001</c:v>
                </c:pt>
                <c:pt idx="7153">
                  <c:v>-2.0658599999999998</c:v>
                </c:pt>
                <c:pt idx="7154">
                  <c:v>-2.3742899999999998</c:v>
                </c:pt>
                <c:pt idx="7155">
                  <c:v>#N/A</c:v>
                </c:pt>
                <c:pt idx="7156">
                  <c:v>-2.7209300000000001</c:v>
                </c:pt>
                <c:pt idx="7157">
                  <c:v>-3.21048</c:v>
                </c:pt>
                <c:pt idx="7158">
                  <c:v>-2.3443999999999998</c:v>
                </c:pt>
                <c:pt idx="7159">
                  <c:v>#N/A</c:v>
                </c:pt>
                <c:pt idx="7160">
                  <c:v>-2.1074700000000002</c:v>
                </c:pt>
                <c:pt idx="7161">
                  <c:v>-1.76857</c:v>
                </c:pt>
                <c:pt idx="7162">
                  <c:v>-2.5698099999999999</c:v>
                </c:pt>
                <c:pt idx="7163">
                  <c:v>#N/A</c:v>
                </c:pt>
                <c:pt idx="7164">
                  <c:v>-2.6963699999999999</c:v>
                </c:pt>
                <c:pt idx="7165">
                  <c:v>-2.5722999999999998</c:v>
                </c:pt>
                <c:pt idx="7166">
                  <c:v>-2.4451999999999998</c:v>
                </c:pt>
                <c:pt idx="7167">
                  <c:v>#N/A</c:v>
                </c:pt>
                <c:pt idx="7168">
                  <c:v>-2.8429700000000002</c:v>
                </c:pt>
                <c:pt idx="7169">
                  <c:v>-2.5165500000000001</c:v>
                </c:pt>
                <c:pt idx="7170">
                  <c:v>#N/A</c:v>
                </c:pt>
                <c:pt idx="7171">
                  <c:v>-2.28539</c:v>
                </c:pt>
                <c:pt idx="7172">
                  <c:v>-2.0504699999999998</c:v>
                </c:pt>
                <c:pt idx="7173">
                  <c:v>-1.60677</c:v>
                </c:pt>
                <c:pt idx="7174">
                  <c:v>#N/A</c:v>
                </c:pt>
                <c:pt idx="7175">
                  <c:v>-1.9484999999999999</c:v>
                </c:pt>
                <c:pt idx="7176">
                  <c:v>-2.9631599999999998</c:v>
                </c:pt>
                <c:pt idx="7177">
                  <c:v>-2.65618</c:v>
                </c:pt>
                <c:pt idx="7178">
                  <c:v>#N/A</c:v>
                </c:pt>
                <c:pt idx="7179">
                  <c:v>-2.3079999999999998</c:v>
                </c:pt>
                <c:pt idx="7180">
                  <c:v>-2.54169</c:v>
                </c:pt>
                <c:pt idx="7181">
                  <c:v>-2.1352099999999998</c:v>
                </c:pt>
                <c:pt idx="7182">
                  <c:v>#N/A</c:v>
                </c:pt>
                <c:pt idx="7183">
                  <c:v>-1.6614</c:v>
                </c:pt>
                <c:pt idx="7184">
                  <c:v>-1.52651</c:v>
                </c:pt>
                <c:pt idx="7185">
                  <c:v>-2.2654700000000001</c:v>
                </c:pt>
                <c:pt idx="7186">
                  <c:v>#N/A</c:v>
                </c:pt>
                <c:pt idx="7187">
                  <c:v>-2.4267400000000001</c:v>
                </c:pt>
                <c:pt idx="7188">
                  <c:v>-3.3197299999999998</c:v>
                </c:pt>
                <c:pt idx="7189">
                  <c:v>-2.4729299999999999</c:v>
                </c:pt>
                <c:pt idx="7190">
                  <c:v>#N/A</c:v>
                </c:pt>
                <c:pt idx="7191">
                  <c:v>-2.66656</c:v>
                </c:pt>
                <c:pt idx="7192">
                  <c:v>-1.6255599999999999</c:v>
                </c:pt>
                <c:pt idx="7193">
                  <c:v>-2.8046600000000002</c:v>
                </c:pt>
                <c:pt idx="7194">
                  <c:v>#N/A</c:v>
                </c:pt>
                <c:pt idx="7195">
                  <c:v>-2.4450599999999998</c:v>
                </c:pt>
                <c:pt idx="7196">
                  <c:v>-2.2438899999999999</c:v>
                </c:pt>
                <c:pt idx="7197">
                  <c:v>-2.93235</c:v>
                </c:pt>
                <c:pt idx="7198">
                  <c:v>#N/A</c:v>
                </c:pt>
                <c:pt idx="7199">
                  <c:v>-2.1552899999999999</c:v>
                </c:pt>
                <c:pt idx="7200">
                  <c:v>-2.3753099999999998</c:v>
                </c:pt>
                <c:pt idx="7201">
                  <c:v>-1.69337</c:v>
                </c:pt>
                <c:pt idx="7202">
                  <c:v>#N/A</c:v>
                </c:pt>
                <c:pt idx="7203">
                  <c:v>-2.0492499999999998</c:v>
                </c:pt>
                <c:pt idx="7204">
                  <c:v>-2.47465</c:v>
                </c:pt>
                <c:pt idx="7205">
                  <c:v>#N/A</c:v>
                </c:pt>
                <c:pt idx="7206">
                  <c:v>-2.7956799999999999</c:v>
                </c:pt>
                <c:pt idx="7207">
                  <c:v>#N/A</c:v>
                </c:pt>
                <c:pt idx="7208">
                  <c:v>-2.8734000000000002</c:v>
                </c:pt>
                <c:pt idx="7209">
                  <c:v>-2.7795700000000001</c:v>
                </c:pt>
                <c:pt idx="7210">
                  <c:v>#N/A</c:v>
                </c:pt>
                <c:pt idx="7211">
                  <c:v>-1.8033300000000001</c:v>
                </c:pt>
                <c:pt idx="7212">
                  <c:v>-1.5831200000000001</c:v>
                </c:pt>
                <c:pt idx="7213">
                  <c:v>-1.9583699999999999</c:v>
                </c:pt>
                <c:pt idx="7214">
                  <c:v>#N/A</c:v>
                </c:pt>
                <c:pt idx="7215">
                  <c:v>-2.2688100000000002</c:v>
                </c:pt>
                <c:pt idx="7216">
                  <c:v>-2.4384800000000002</c:v>
                </c:pt>
                <c:pt idx="7217">
                  <c:v>#N/A</c:v>
                </c:pt>
                <c:pt idx="7218">
                  <c:v>-3.15585</c:v>
                </c:pt>
                <c:pt idx="7219">
                  <c:v>-3.1680299999999999</c:v>
                </c:pt>
                <c:pt idx="7220">
                  <c:v>-2.3493499999999998</c:v>
                </c:pt>
                <c:pt idx="7221">
                  <c:v>#N/A</c:v>
                </c:pt>
                <c:pt idx="7222">
                  <c:v>-1.98102</c:v>
                </c:pt>
                <c:pt idx="7223">
                  <c:v>-1.99166</c:v>
                </c:pt>
                <c:pt idx="7224">
                  <c:v>-1.99522</c:v>
                </c:pt>
                <c:pt idx="7225">
                  <c:v>#N/A</c:v>
                </c:pt>
                <c:pt idx="7226">
                  <c:v>-1.84534</c:v>
                </c:pt>
                <c:pt idx="7227">
                  <c:v>-2.2827899999999999</c:v>
                </c:pt>
                <c:pt idx="7228">
                  <c:v>-2.68601</c:v>
                </c:pt>
                <c:pt idx="7229">
                  <c:v>#N/A</c:v>
                </c:pt>
                <c:pt idx="7230">
                  <c:v>-2.6600100000000002</c:v>
                </c:pt>
                <c:pt idx="7231">
                  <c:v>-2.6629499999999999</c:v>
                </c:pt>
                <c:pt idx="7232">
                  <c:v>#N/A</c:v>
                </c:pt>
                <c:pt idx="7233">
                  <c:v>-1.8035099999999999</c:v>
                </c:pt>
                <c:pt idx="7234">
                  <c:v>-1.6858299999999999</c:v>
                </c:pt>
                <c:pt idx="7235">
                  <c:v>#N/A</c:v>
                </c:pt>
                <c:pt idx="7236">
                  <c:v>-2.0788000000000002</c:v>
                </c:pt>
                <c:pt idx="7237">
                  <c:v>-2.2392599999999998</c:v>
                </c:pt>
                <c:pt idx="7238">
                  <c:v>-2.6398000000000001</c:v>
                </c:pt>
                <c:pt idx="7239">
                  <c:v>#N/A</c:v>
                </c:pt>
                <c:pt idx="7240">
                  <c:v>-2.9935</c:v>
                </c:pt>
                <c:pt idx="7241">
                  <c:v>-2.9329800000000001</c:v>
                </c:pt>
                <c:pt idx="7242">
                  <c:v>-2.42469</c:v>
                </c:pt>
                <c:pt idx="7243">
                  <c:v>#N/A</c:v>
                </c:pt>
                <c:pt idx="7244">
                  <c:v>-2.1158100000000002</c:v>
                </c:pt>
                <c:pt idx="7245">
                  <c:v>-1.5402199999999999</c:v>
                </c:pt>
                <c:pt idx="7246">
                  <c:v>#N/A</c:v>
                </c:pt>
                <c:pt idx="7247">
                  <c:v>-1.47045</c:v>
                </c:pt>
                <c:pt idx="7248">
                  <c:v>-2.2742</c:v>
                </c:pt>
                <c:pt idx="7249">
                  <c:v>-2.7716599999999998</c:v>
                </c:pt>
                <c:pt idx="7250">
                  <c:v>#N/A</c:v>
                </c:pt>
                <c:pt idx="7251">
                  <c:v>-2.2077599999999999</c:v>
                </c:pt>
                <c:pt idx="7252">
                  <c:v>-2.7102599999999999</c:v>
                </c:pt>
                <c:pt idx="7253">
                  <c:v>#N/A</c:v>
                </c:pt>
                <c:pt idx="7254">
                  <c:v>-2.0895000000000001</c:v>
                </c:pt>
                <c:pt idx="7255">
                  <c:v>-2.0921799999999999</c:v>
                </c:pt>
                <c:pt idx="7256">
                  <c:v>-1.8797200000000001</c:v>
                </c:pt>
                <c:pt idx="7257">
                  <c:v>#N/A</c:v>
                </c:pt>
                <c:pt idx="7258">
                  <c:v>-2.1129899999999999</c:v>
                </c:pt>
                <c:pt idx="7259">
                  <c:v>-2.3430300000000002</c:v>
                </c:pt>
                <c:pt idx="7260">
                  <c:v>-2.5078499999999999</c:v>
                </c:pt>
                <c:pt idx="7261">
                  <c:v>#N/A</c:v>
                </c:pt>
                <c:pt idx="7262">
                  <c:v>-2.72058</c:v>
                </c:pt>
                <c:pt idx="7263">
                  <c:v>-2.09124</c:v>
                </c:pt>
                <c:pt idx="7264">
                  <c:v>-1.8325</c:v>
                </c:pt>
                <c:pt idx="7265">
                  <c:v>#N/A</c:v>
                </c:pt>
                <c:pt idx="7266">
                  <c:v>-1.4508000000000001</c:v>
                </c:pt>
                <c:pt idx="7267">
                  <c:v>-2.1868699999999999</c:v>
                </c:pt>
                <c:pt idx="7268">
                  <c:v>-2.1531699999999998</c:v>
                </c:pt>
                <c:pt idx="7269">
                  <c:v>#N/A</c:v>
                </c:pt>
                <c:pt idx="7270">
                  <c:v>-2.96991</c:v>
                </c:pt>
                <c:pt idx="7271">
                  <c:v>-2.2613599999999998</c:v>
                </c:pt>
                <c:pt idx="7272">
                  <c:v>-2.62148</c:v>
                </c:pt>
                <c:pt idx="7273">
                  <c:v>#N/A</c:v>
                </c:pt>
                <c:pt idx="7274">
                  <c:v>-2.4654099999999999</c:v>
                </c:pt>
                <c:pt idx="7275">
                  <c:v>-1.6989300000000001</c:v>
                </c:pt>
                <c:pt idx="7276">
                  <c:v>-1.9799800000000001</c:v>
                </c:pt>
                <c:pt idx="7277">
                  <c:v>#N/A</c:v>
                </c:pt>
                <c:pt idx="7278">
                  <c:v>-2.4026700000000001</c:v>
                </c:pt>
                <c:pt idx="7279">
                  <c:v>-2.35168</c:v>
                </c:pt>
                <c:pt idx="7280">
                  <c:v>-2.9829699999999999</c:v>
                </c:pt>
                <c:pt idx="7281">
                  <c:v>#N/A</c:v>
                </c:pt>
                <c:pt idx="7282">
                  <c:v>-3.14378</c:v>
                </c:pt>
                <c:pt idx="7283">
                  <c:v>#N/A</c:v>
                </c:pt>
                <c:pt idx="7284">
                  <c:v>-2.5567199999999999</c:v>
                </c:pt>
                <c:pt idx="7285">
                  <c:v>-2.5122800000000001</c:v>
                </c:pt>
                <c:pt idx="7286">
                  <c:v>-1.6720299999999999</c:v>
                </c:pt>
                <c:pt idx="7287">
                  <c:v>#N/A</c:v>
                </c:pt>
                <c:pt idx="7288">
                  <c:v>-1.6291800000000001</c:v>
                </c:pt>
                <c:pt idx="7289">
                  <c:v>-1.98522</c:v>
                </c:pt>
                <c:pt idx="7290">
                  <c:v>-2.4284699999999999</c:v>
                </c:pt>
                <c:pt idx="7291">
                  <c:v>#N/A</c:v>
                </c:pt>
                <c:pt idx="7292">
                  <c:v>-3.2756500000000002</c:v>
                </c:pt>
                <c:pt idx="7293">
                  <c:v>-2.8423699999999998</c:v>
                </c:pt>
                <c:pt idx="7294">
                  <c:v>-2.48848</c:v>
                </c:pt>
                <c:pt idx="7295">
                  <c:v>#N/A</c:v>
                </c:pt>
                <c:pt idx="7296">
                  <c:v>-1.4133800000000001</c:v>
                </c:pt>
                <c:pt idx="7297">
                  <c:v>-1.12005</c:v>
                </c:pt>
                <c:pt idx="7298">
                  <c:v>-1.9632499999999999</c:v>
                </c:pt>
                <c:pt idx="7299">
                  <c:v>#N/A</c:v>
                </c:pt>
                <c:pt idx="7300">
                  <c:v>-2.4056899999999999</c:v>
                </c:pt>
                <c:pt idx="7301">
                  <c:v>-2.5324</c:v>
                </c:pt>
                <c:pt idx="7302">
                  <c:v>#N/A</c:v>
                </c:pt>
                <c:pt idx="7303">
                  <c:v>-3.2365599999999999</c:v>
                </c:pt>
                <c:pt idx="7304">
                  <c:v>-2.7463500000000001</c:v>
                </c:pt>
                <c:pt idx="7305">
                  <c:v>-2.2195900000000002</c:v>
                </c:pt>
                <c:pt idx="7306">
                  <c:v>#N/A</c:v>
                </c:pt>
                <c:pt idx="7307">
                  <c:v>-1.76969</c:v>
                </c:pt>
                <c:pt idx="7308">
                  <c:v>-1.53247</c:v>
                </c:pt>
                <c:pt idx="7309">
                  <c:v>#N/A</c:v>
                </c:pt>
                <c:pt idx="7310">
                  <c:v>-1.6552800000000001</c:v>
                </c:pt>
                <c:pt idx="7311">
                  <c:v>-2.3158099999999999</c:v>
                </c:pt>
                <c:pt idx="7312">
                  <c:v>-3.0130499999999998</c:v>
                </c:pt>
                <c:pt idx="7313">
                  <c:v>#N/A</c:v>
                </c:pt>
                <c:pt idx="7314">
                  <c:v>-3.0919400000000001</c:v>
                </c:pt>
                <c:pt idx="7315">
                  <c:v>-2.49613</c:v>
                </c:pt>
                <c:pt idx="7316">
                  <c:v>#N/A</c:v>
                </c:pt>
                <c:pt idx="7317">
                  <c:v>-1.9147799999999999</c:v>
                </c:pt>
                <c:pt idx="7318">
                  <c:v>#N/A</c:v>
                </c:pt>
                <c:pt idx="7319">
                  <c:v>-2.2698999999999998</c:v>
                </c:pt>
                <c:pt idx="7320">
                  <c:v>#N/A</c:v>
                </c:pt>
                <c:pt idx="7321">
                  <c:v>-2.4642900000000001</c:v>
                </c:pt>
                <c:pt idx="7322">
                  <c:v>-2.6205599999999998</c:v>
                </c:pt>
                <c:pt idx="7323">
                  <c:v>-2.9033000000000002</c:v>
                </c:pt>
                <c:pt idx="7324">
                  <c:v>#N/A</c:v>
                </c:pt>
                <c:pt idx="7325">
                  <c:v>-2.9560599999999999</c:v>
                </c:pt>
                <c:pt idx="7326">
                  <c:v>-2.5525500000000001</c:v>
                </c:pt>
                <c:pt idx="7327">
                  <c:v>-2.1150099999999998</c:v>
                </c:pt>
                <c:pt idx="7328">
                  <c:v>#N/A</c:v>
                </c:pt>
                <c:pt idx="7329">
                  <c:v>-1.94303</c:v>
                </c:pt>
                <c:pt idx="7330">
                  <c:v>-1.9344399999999999</c:v>
                </c:pt>
                <c:pt idx="7331">
                  <c:v>-1.77597</c:v>
                </c:pt>
                <c:pt idx="7332">
                  <c:v>#N/A</c:v>
                </c:pt>
                <c:pt idx="7333">
                  <c:v>-2.3329900000000001</c:v>
                </c:pt>
                <c:pt idx="7334">
                  <c:v>-2.19509</c:v>
                </c:pt>
                <c:pt idx="7335">
                  <c:v>-2.2603900000000001</c:v>
                </c:pt>
                <c:pt idx="7336">
                  <c:v>#N/A</c:v>
                </c:pt>
                <c:pt idx="7337">
                  <c:v>-2.38273</c:v>
                </c:pt>
                <c:pt idx="7338">
                  <c:v>-2.2061700000000002</c:v>
                </c:pt>
                <c:pt idx="7339">
                  <c:v>-2.3661099999999999</c:v>
                </c:pt>
                <c:pt idx="7340">
                  <c:v>#N/A</c:v>
                </c:pt>
                <c:pt idx="7341">
                  <c:v>-2.35921</c:v>
                </c:pt>
                <c:pt idx="7342">
                  <c:v>-2.6698300000000001</c:v>
                </c:pt>
                <c:pt idx="7343">
                  <c:v>#N/A</c:v>
                </c:pt>
                <c:pt idx="7344">
                  <c:v>-3.1257199999999998</c:v>
                </c:pt>
                <c:pt idx="7345">
                  <c:v>-3.6295799999999998</c:v>
                </c:pt>
                <c:pt idx="7346">
                  <c:v>-2.9254500000000001</c:v>
                </c:pt>
                <c:pt idx="7347">
                  <c:v>#N/A</c:v>
                </c:pt>
                <c:pt idx="7348">
                  <c:v>-2.23536</c:v>
                </c:pt>
                <c:pt idx="7349">
                  <c:v>-2.2292800000000002</c:v>
                </c:pt>
                <c:pt idx="7350">
                  <c:v>-2.7920799999999999</c:v>
                </c:pt>
                <c:pt idx="7351">
                  <c:v>#N/A</c:v>
                </c:pt>
                <c:pt idx="7352">
                  <c:v>-2.5803699999999998</c:v>
                </c:pt>
                <c:pt idx="7353">
                  <c:v>-2.6745999999999999</c:v>
                </c:pt>
                <c:pt idx="7354">
                  <c:v>-3.0512199999999998</c:v>
                </c:pt>
                <c:pt idx="7355">
                  <c:v>#N/A</c:v>
                </c:pt>
                <c:pt idx="7356">
                  <c:v>-2.89194</c:v>
                </c:pt>
                <c:pt idx="7357">
                  <c:v>-2.2823600000000002</c:v>
                </c:pt>
                <c:pt idx="7358">
                  <c:v>#N/A</c:v>
                </c:pt>
                <c:pt idx="7359">
                  <c:v>-2.1354500000000001</c:v>
                </c:pt>
                <c:pt idx="7360">
                  <c:v>-2.1155599999999999</c:v>
                </c:pt>
                <c:pt idx="7361">
                  <c:v>#N/A</c:v>
                </c:pt>
                <c:pt idx="7362">
                  <c:v>-2.9679000000000002</c:v>
                </c:pt>
                <c:pt idx="7363">
                  <c:v>-3.66649</c:v>
                </c:pt>
                <c:pt idx="7364">
                  <c:v>-3.53416</c:v>
                </c:pt>
                <c:pt idx="7365">
                  <c:v>#N/A</c:v>
                </c:pt>
                <c:pt idx="7366">
                  <c:v>-4.0757000000000003</c:v>
                </c:pt>
                <c:pt idx="7367">
                  <c:v>-2.9198400000000002</c:v>
                </c:pt>
                <c:pt idx="7368">
                  <c:v>-2.62094</c:v>
                </c:pt>
                <c:pt idx="7369">
                  <c:v>#N/A</c:v>
                </c:pt>
                <c:pt idx="7370">
                  <c:v>-2.6714199999999999</c:v>
                </c:pt>
                <c:pt idx="7371">
                  <c:v>-2.9240599999999999</c:v>
                </c:pt>
                <c:pt idx="7372">
                  <c:v>-2.7367499999999998</c:v>
                </c:pt>
                <c:pt idx="7373">
                  <c:v>#N/A</c:v>
                </c:pt>
                <c:pt idx="7374">
                  <c:v>-3.27121</c:v>
                </c:pt>
                <c:pt idx="7375">
                  <c:v>-4.3120399999999997</c:v>
                </c:pt>
                <c:pt idx="7376">
                  <c:v>-3.9426899999999998</c:v>
                </c:pt>
                <c:pt idx="7377">
                  <c:v>#N/A</c:v>
                </c:pt>
                <c:pt idx="7378">
                  <c:v>-3.4203700000000001</c:v>
                </c:pt>
                <c:pt idx="7379">
                  <c:v>-2.7943099999999998</c:v>
                </c:pt>
                <c:pt idx="7380">
                  <c:v>-2.5939199999999998</c:v>
                </c:pt>
                <c:pt idx="7381">
                  <c:v>#N/A</c:v>
                </c:pt>
                <c:pt idx="7382">
                  <c:v>-2.3627799999999999</c:v>
                </c:pt>
                <c:pt idx="7383">
                  <c:v>-3.2747799999999998</c:v>
                </c:pt>
                <c:pt idx="7384">
                  <c:v>-3.6353800000000001</c:v>
                </c:pt>
                <c:pt idx="7385">
                  <c:v>#N/A</c:v>
                </c:pt>
                <c:pt idx="7386">
                  <c:v>-4.6739600000000001</c:v>
                </c:pt>
                <c:pt idx="7387">
                  <c:v>-4.6411300000000004</c:v>
                </c:pt>
                <c:pt idx="7388">
                  <c:v>#N/A</c:v>
                </c:pt>
                <c:pt idx="7389">
                  <c:v>-3.7537500000000001</c:v>
                </c:pt>
                <c:pt idx="7390">
                  <c:v>-2.8029299999999999</c:v>
                </c:pt>
                <c:pt idx="7391">
                  <c:v>-2.1514099999999998</c:v>
                </c:pt>
                <c:pt idx="7392">
                  <c:v>#N/A</c:v>
                </c:pt>
                <c:pt idx="7393">
                  <c:v>-2.46339</c:v>
                </c:pt>
                <c:pt idx="7394">
                  <c:v>-3.5407299999999999</c:v>
                </c:pt>
                <c:pt idx="7395">
                  <c:v>-3.5993300000000001</c:v>
                </c:pt>
                <c:pt idx="7396">
                  <c:v>#N/A</c:v>
                </c:pt>
                <c:pt idx="7397">
                  <c:v>-3.9324400000000002</c:v>
                </c:pt>
                <c:pt idx="7398">
                  <c:v>-3.84971</c:v>
                </c:pt>
                <c:pt idx="7399">
                  <c:v>-3.0388500000000001</c:v>
                </c:pt>
                <c:pt idx="7400">
                  <c:v>#N/A</c:v>
                </c:pt>
                <c:pt idx="7401">
                  <c:v>-3.05193</c:v>
                </c:pt>
                <c:pt idx="7402">
                  <c:v>-3.0686200000000001</c:v>
                </c:pt>
                <c:pt idx="7403">
                  <c:v>-3.04223</c:v>
                </c:pt>
                <c:pt idx="7404">
                  <c:v>#N/A</c:v>
                </c:pt>
                <c:pt idx="7405">
                  <c:v>-3.2748699999999999</c:v>
                </c:pt>
                <c:pt idx="7406">
                  <c:v>-4.5131699999999997</c:v>
                </c:pt>
                <c:pt idx="7407">
                  <c:v>-4.0869299999999997</c:v>
                </c:pt>
                <c:pt idx="7408">
                  <c:v>#N/A</c:v>
                </c:pt>
                <c:pt idx="7409">
                  <c:v>-3.59727</c:v>
                </c:pt>
                <c:pt idx="7410">
                  <c:v>-2.7501600000000002</c:v>
                </c:pt>
                <c:pt idx="7411">
                  <c:v>#N/A</c:v>
                </c:pt>
                <c:pt idx="7412">
                  <c:v>-3.2032500000000002</c:v>
                </c:pt>
                <c:pt idx="7413">
                  <c:v>-3.1772499999999999</c:v>
                </c:pt>
                <c:pt idx="7414">
                  <c:v>-3.0214599999999998</c:v>
                </c:pt>
                <c:pt idx="7415">
                  <c:v>#N/A</c:v>
                </c:pt>
                <c:pt idx="7416">
                  <c:v>-3.9898600000000002</c:v>
                </c:pt>
                <c:pt idx="7417">
                  <c:v>-3.9223699999999999</c:v>
                </c:pt>
                <c:pt idx="7418">
                  <c:v>-3.9346800000000002</c:v>
                </c:pt>
                <c:pt idx="7419">
                  <c:v>#N/A</c:v>
                </c:pt>
                <c:pt idx="7420">
                  <c:v>-2.97464</c:v>
                </c:pt>
                <c:pt idx="7421">
                  <c:v>-2.6589999999999998</c:v>
                </c:pt>
                <c:pt idx="7422">
                  <c:v>-2.7286199999999998</c:v>
                </c:pt>
                <c:pt idx="7423">
                  <c:v>#N/A</c:v>
                </c:pt>
                <c:pt idx="7424">
                  <c:v>-3.59226</c:v>
                </c:pt>
                <c:pt idx="7425">
                  <c:v>-3.6306600000000002</c:v>
                </c:pt>
                <c:pt idx="7426">
                  <c:v>-3.7140300000000002</c:v>
                </c:pt>
                <c:pt idx="7427">
                  <c:v>#N/A</c:v>
                </c:pt>
                <c:pt idx="7428">
                  <c:v>-3.67672</c:v>
                </c:pt>
                <c:pt idx="7429">
                  <c:v>-3.3250799999999998</c:v>
                </c:pt>
                <c:pt idx="7430">
                  <c:v>#N/A</c:v>
                </c:pt>
                <c:pt idx="7431">
                  <c:v>-2.5401500000000001</c:v>
                </c:pt>
                <c:pt idx="7432">
                  <c:v>-2.5635400000000002</c:v>
                </c:pt>
                <c:pt idx="7433">
                  <c:v>#N/A</c:v>
                </c:pt>
                <c:pt idx="7434">
                  <c:v>-3.2398699999999998</c:v>
                </c:pt>
                <c:pt idx="7435">
                  <c:v>-3.5437699999999999</c:v>
                </c:pt>
                <c:pt idx="7436">
                  <c:v>#N/A</c:v>
                </c:pt>
                <c:pt idx="7437">
                  <c:v>-3.3822199999999998</c:v>
                </c:pt>
                <c:pt idx="7438">
                  <c:v>-3.7410899999999998</c:v>
                </c:pt>
                <c:pt idx="7439">
                  <c:v>#N/A</c:v>
                </c:pt>
                <c:pt idx="7440">
                  <c:v>-3.57186</c:v>
                </c:pt>
                <c:pt idx="7441">
                  <c:v>-2.8546200000000002</c:v>
                </c:pt>
                <c:pt idx="7442">
                  <c:v>-2.2831199999999998</c:v>
                </c:pt>
                <c:pt idx="7443">
                  <c:v>#N/A</c:v>
                </c:pt>
                <c:pt idx="7444">
                  <c:v>-2.4177900000000001</c:v>
                </c:pt>
                <c:pt idx="7445">
                  <c:v>-2.7586499999999998</c:v>
                </c:pt>
                <c:pt idx="7446">
                  <c:v>-3.4525700000000001</c:v>
                </c:pt>
                <c:pt idx="7447">
                  <c:v>#N/A</c:v>
                </c:pt>
                <c:pt idx="7448">
                  <c:v>-3.81108</c:v>
                </c:pt>
                <c:pt idx="7449">
                  <c:v>-3.68832</c:v>
                </c:pt>
                <c:pt idx="7450">
                  <c:v>-3.1070899999999999</c:v>
                </c:pt>
                <c:pt idx="7451">
                  <c:v>#N/A</c:v>
                </c:pt>
                <c:pt idx="7452">
                  <c:v>-2.7628900000000001</c:v>
                </c:pt>
                <c:pt idx="7453">
                  <c:v>-2.6956500000000001</c:v>
                </c:pt>
                <c:pt idx="7454">
                  <c:v>-1.9650300000000001</c:v>
                </c:pt>
                <c:pt idx="7455">
                  <c:v>#N/A</c:v>
                </c:pt>
                <c:pt idx="7456">
                  <c:v>-2.1218400000000002</c:v>
                </c:pt>
                <c:pt idx="7457">
                  <c:v>-3.1538300000000001</c:v>
                </c:pt>
                <c:pt idx="7458">
                  <c:v>-3.4475600000000002</c:v>
                </c:pt>
                <c:pt idx="7459">
                  <c:v>#N/A</c:v>
                </c:pt>
                <c:pt idx="7460">
                  <c:v>-3.6199499999999998</c:v>
                </c:pt>
                <c:pt idx="7461">
                  <c:v>-3.1295600000000001</c:v>
                </c:pt>
                <c:pt idx="7462">
                  <c:v>-2.7687499999999998</c:v>
                </c:pt>
                <c:pt idx="7463">
                  <c:v>#N/A</c:v>
                </c:pt>
                <c:pt idx="7464">
                  <c:v>-2.4610799999999999</c:v>
                </c:pt>
                <c:pt idx="7465">
                  <c:v>-2.47655</c:v>
                </c:pt>
                <c:pt idx="7466">
                  <c:v>#N/A</c:v>
                </c:pt>
                <c:pt idx="7467">
                  <c:v>-3.85493</c:v>
                </c:pt>
                <c:pt idx="7468">
                  <c:v>-3.8506</c:v>
                </c:pt>
                <c:pt idx="7469">
                  <c:v>-3.8197100000000002</c:v>
                </c:pt>
                <c:pt idx="7470">
                  <c:v>#N/A</c:v>
                </c:pt>
                <c:pt idx="7471">
                  <c:v>-4.4216199999999999</c:v>
                </c:pt>
                <c:pt idx="7472">
                  <c:v>-3.4338500000000001</c:v>
                </c:pt>
                <c:pt idx="7473">
                  <c:v>-2.93852</c:v>
                </c:pt>
                <c:pt idx="7474">
                  <c:v>#N/A</c:v>
                </c:pt>
                <c:pt idx="7475">
                  <c:v>-2.2578900000000002</c:v>
                </c:pt>
                <c:pt idx="7476">
                  <c:v>-1.91428</c:v>
                </c:pt>
                <c:pt idx="7477">
                  <c:v>#N/A</c:v>
                </c:pt>
                <c:pt idx="7478">
                  <c:v>-2.8769399999999998</c:v>
                </c:pt>
                <c:pt idx="7479">
                  <c:v>-3.10989</c:v>
                </c:pt>
                <c:pt idx="7480">
                  <c:v>-3.2628200000000001</c:v>
                </c:pt>
                <c:pt idx="7481">
                  <c:v>#N/A</c:v>
                </c:pt>
                <c:pt idx="7482">
                  <c:v>-3.0655000000000001</c:v>
                </c:pt>
                <c:pt idx="7483">
                  <c:v>-2.97214</c:v>
                </c:pt>
                <c:pt idx="7484">
                  <c:v>-2.5930300000000002</c:v>
                </c:pt>
                <c:pt idx="7485">
                  <c:v>#N/A</c:v>
                </c:pt>
                <c:pt idx="7486">
                  <c:v>-2.79705</c:v>
                </c:pt>
                <c:pt idx="7487">
                  <c:v>-2.8366199999999999</c:v>
                </c:pt>
                <c:pt idx="7488">
                  <c:v>#N/A</c:v>
                </c:pt>
                <c:pt idx="7489">
                  <c:v>-3.1988400000000001</c:v>
                </c:pt>
                <c:pt idx="7490">
                  <c:v>-3.6238800000000002</c:v>
                </c:pt>
                <c:pt idx="7491">
                  <c:v>-3.42232</c:v>
                </c:pt>
                <c:pt idx="7492">
                  <c:v>#N/A</c:v>
                </c:pt>
                <c:pt idx="7493">
                  <c:v>-2.9924200000000001</c:v>
                </c:pt>
                <c:pt idx="7494">
                  <c:v>-3.0245899999999999</c:v>
                </c:pt>
                <c:pt idx="7495">
                  <c:v>-2.6890900000000002</c:v>
                </c:pt>
                <c:pt idx="7496">
                  <c:v>#N/A</c:v>
                </c:pt>
                <c:pt idx="7497">
                  <c:v>-2.78972</c:v>
                </c:pt>
                <c:pt idx="7498">
                  <c:v>-3.0583200000000001</c:v>
                </c:pt>
                <c:pt idx="7499">
                  <c:v>-3.7294200000000002</c:v>
                </c:pt>
                <c:pt idx="7500">
                  <c:v>#N/A</c:v>
                </c:pt>
                <c:pt idx="7501">
                  <c:v>-3.9199299999999999</c:v>
                </c:pt>
                <c:pt idx="7502">
                  <c:v>-3.7439</c:v>
                </c:pt>
                <c:pt idx="7503">
                  <c:v>-2.85303</c:v>
                </c:pt>
                <c:pt idx="7504">
                  <c:v>#N/A</c:v>
                </c:pt>
                <c:pt idx="7505">
                  <c:v>-2.6103399999999999</c:v>
                </c:pt>
                <c:pt idx="7506">
                  <c:v>-2.5840999999999998</c:v>
                </c:pt>
                <c:pt idx="7507">
                  <c:v>#N/A</c:v>
                </c:pt>
                <c:pt idx="7508">
                  <c:v>-3.3440799999999999</c:v>
                </c:pt>
                <c:pt idx="7509">
                  <c:v>#N/A</c:v>
                </c:pt>
                <c:pt idx="7510">
                  <c:v>-3.22628</c:v>
                </c:pt>
                <c:pt idx="7511">
                  <c:v>-3.5156499999999999</c:v>
                </c:pt>
                <c:pt idx="7512">
                  <c:v>-3.1347499999999999</c:v>
                </c:pt>
                <c:pt idx="7513">
                  <c:v>#N/A</c:v>
                </c:pt>
                <c:pt idx="7514">
                  <c:v>-3.0164800000000001</c:v>
                </c:pt>
                <c:pt idx="7515">
                  <c:v>-1.9395500000000001</c:v>
                </c:pt>
                <c:pt idx="7516">
                  <c:v>-2.5109300000000001</c:v>
                </c:pt>
                <c:pt idx="7517">
                  <c:v>#N/A</c:v>
                </c:pt>
                <c:pt idx="7518">
                  <c:v>-2.6137000000000001</c:v>
                </c:pt>
                <c:pt idx="7519">
                  <c:v>-3.0107699999999999</c:v>
                </c:pt>
                <c:pt idx="7520">
                  <c:v>#N/A</c:v>
                </c:pt>
                <c:pt idx="7521">
                  <c:v>-3.3292000000000002</c:v>
                </c:pt>
                <c:pt idx="7522">
                  <c:v>-3.5813600000000001</c:v>
                </c:pt>
                <c:pt idx="7523">
                  <c:v>-3.3807999999999998</c:v>
                </c:pt>
                <c:pt idx="7524">
                  <c:v>#N/A</c:v>
                </c:pt>
                <c:pt idx="7525">
                  <c:v>-3.4043199999999998</c:v>
                </c:pt>
                <c:pt idx="7526">
                  <c:v>-2.6137000000000001</c:v>
                </c:pt>
                <c:pt idx="7527">
                  <c:v>-2.6223100000000001</c:v>
                </c:pt>
                <c:pt idx="7528">
                  <c:v>#N/A</c:v>
                </c:pt>
                <c:pt idx="7529">
                  <c:v>-2.91614</c:v>
                </c:pt>
                <c:pt idx="7530">
                  <c:v>-3.2747000000000002</c:v>
                </c:pt>
                <c:pt idx="7531">
                  <c:v>-3.9662799999999998</c:v>
                </c:pt>
                <c:pt idx="7532">
                  <c:v>#N/A</c:v>
                </c:pt>
                <c:pt idx="7533">
                  <c:v>-3.89052</c:v>
                </c:pt>
                <c:pt idx="7534">
                  <c:v>-2.9414600000000002</c:v>
                </c:pt>
                <c:pt idx="7535">
                  <c:v>-2.8086199999999999</c:v>
                </c:pt>
                <c:pt idx="7536">
                  <c:v>#N/A</c:v>
                </c:pt>
                <c:pt idx="7537">
                  <c:v>-2.52982</c:v>
                </c:pt>
                <c:pt idx="7538">
                  <c:v>-2.0306299999999999</c:v>
                </c:pt>
                <c:pt idx="7539">
                  <c:v>-1.8707</c:v>
                </c:pt>
                <c:pt idx="7540">
                  <c:v>#N/A</c:v>
                </c:pt>
                <c:pt idx="7541">
                  <c:v>-2.3472599999999999</c:v>
                </c:pt>
                <c:pt idx="7542">
                  <c:v>-3.0933899999999999</c:v>
                </c:pt>
                <c:pt idx="7543">
                  <c:v>-3.2405900000000001</c:v>
                </c:pt>
                <c:pt idx="7544">
                  <c:v>#N/A</c:v>
                </c:pt>
                <c:pt idx="7545">
                  <c:v>-2.8073999999999999</c:v>
                </c:pt>
                <c:pt idx="7546">
                  <c:v>-2.8915500000000001</c:v>
                </c:pt>
                <c:pt idx="7547">
                  <c:v>-2.41221</c:v>
                </c:pt>
                <c:pt idx="7548">
                  <c:v>#N/A</c:v>
                </c:pt>
                <c:pt idx="7549">
                  <c:v>-2.3540899999999998</c:v>
                </c:pt>
                <c:pt idx="7550">
                  <c:v>-2.14194</c:v>
                </c:pt>
                <c:pt idx="7551">
                  <c:v>-2.8466300000000002</c:v>
                </c:pt>
                <c:pt idx="7552">
                  <c:v>#N/A</c:v>
                </c:pt>
                <c:pt idx="7553">
                  <c:v>-3.0898599999999998</c:v>
                </c:pt>
                <c:pt idx="7554">
                  <c:v>-3.1862900000000001</c:v>
                </c:pt>
                <c:pt idx="7555">
                  <c:v>-3.0378599999999998</c:v>
                </c:pt>
                <c:pt idx="7556">
                  <c:v>#N/A</c:v>
                </c:pt>
                <c:pt idx="7557">
                  <c:v>-2.66235</c:v>
                </c:pt>
                <c:pt idx="7558">
                  <c:v>-2.7141500000000001</c:v>
                </c:pt>
                <c:pt idx="7559">
                  <c:v>-2.87616</c:v>
                </c:pt>
                <c:pt idx="7560">
                  <c:v>#N/A</c:v>
                </c:pt>
                <c:pt idx="7561">
                  <c:v>-2.6663700000000001</c:v>
                </c:pt>
                <c:pt idx="7562">
                  <c:v>-3.0348999999999999</c:v>
                </c:pt>
                <c:pt idx="7563">
                  <c:v>#N/A</c:v>
                </c:pt>
                <c:pt idx="7564">
                  <c:v>-2.8446400000000001</c:v>
                </c:pt>
                <c:pt idx="7565">
                  <c:v>-3.3203299999999998</c:v>
                </c:pt>
                <c:pt idx="7566">
                  <c:v>-2.7978399999999999</c:v>
                </c:pt>
                <c:pt idx="7567">
                  <c:v>#N/A</c:v>
                </c:pt>
                <c:pt idx="7568">
                  <c:v>-2.3011699999999999</c:v>
                </c:pt>
                <c:pt idx="7569">
                  <c:v>-2.1074099999999998</c:v>
                </c:pt>
                <c:pt idx="7570">
                  <c:v>-2.8198300000000001</c:v>
                </c:pt>
                <c:pt idx="7571">
                  <c:v>#N/A</c:v>
                </c:pt>
                <c:pt idx="7572">
                  <c:v>-2.9478</c:v>
                </c:pt>
                <c:pt idx="7573">
                  <c:v>-3.71245</c:v>
                </c:pt>
                <c:pt idx="7574">
                  <c:v>-3.3753199999999999</c:v>
                </c:pt>
                <c:pt idx="7575">
                  <c:v>#N/A</c:v>
                </c:pt>
                <c:pt idx="7576">
                  <c:v>-2.8525100000000001</c:v>
                </c:pt>
                <c:pt idx="7577">
                  <c:v>-2.8821599999999998</c:v>
                </c:pt>
                <c:pt idx="7578">
                  <c:v>-2.1388199999999999</c:v>
                </c:pt>
                <c:pt idx="7579">
                  <c:v>#N/A</c:v>
                </c:pt>
                <c:pt idx="7580">
                  <c:v>-2.7039800000000001</c:v>
                </c:pt>
                <c:pt idx="7581">
                  <c:v>-3.1633599999999999</c:v>
                </c:pt>
                <c:pt idx="7582">
                  <c:v>#N/A</c:v>
                </c:pt>
                <c:pt idx="7583">
                  <c:v>-3.7406199999999998</c:v>
                </c:pt>
                <c:pt idx="7584">
                  <c:v>-3.9843000000000002</c:v>
                </c:pt>
                <c:pt idx="7585">
                  <c:v>#N/A</c:v>
                </c:pt>
                <c:pt idx="7586">
                  <c:v>-3.7215099999999999</c:v>
                </c:pt>
                <c:pt idx="7587">
                  <c:v>-3.2600899999999999</c:v>
                </c:pt>
                <c:pt idx="7588">
                  <c:v>-2.7624499999999999</c:v>
                </c:pt>
                <c:pt idx="7589">
                  <c:v>#N/A</c:v>
                </c:pt>
                <c:pt idx="7590">
                  <c:v>-2.7338</c:v>
                </c:pt>
                <c:pt idx="7591">
                  <c:v>-2.8003399999999998</c:v>
                </c:pt>
                <c:pt idx="7592">
                  <c:v>-3.3455400000000002</c:v>
                </c:pt>
                <c:pt idx="7593">
                  <c:v>#N/A</c:v>
                </c:pt>
                <c:pt idx="7594">
                  <c:v>-3.8044199999999999</c:v>
                </c:pt>
                <c:pt idx="7595">
                  <c:v>-4.6728699999999996</c:v>
                </c:pt>
                <c:pt idx="7596">
                  <c:v>-3.64629</c:v>
                </c:pt>
                <c:pt idx="7597">
                  <c:v>#N/A</c:v>
                </c:pt>
                <c:pt idx="7598">
                  <c:v>-3.1128399999999998</c:v>
                </c:pt>
                <c:pt idx="7599">
                  <c:v>-1.9967600000000001</c:v>
                </c:pt>
                <c:pt idx="7600">
                  <c:v>#N/A</c:v>
                </c:pt>
                <c:pt idx="7601">
                  <c:v>-2.1399300000000001</c:v>
                </c:pt>
                <c:pt idx="7602">
                  <c:v>-2.3287599999999999</c:v>
                </c:pt>
                <c:pt idx="7603">
                  <c:v>#N/A</c:v>
                </c:pt>
                <c:pt idx="7604">
                  <c:v>-3.4571800000000001</c:v>
                </c:pt>
                <c:pt idx="7605">
                  <c:v>-3.6685400000000001</c:v>
                </c:pt>
                <c:pt idx="7606">
                  <c:v>-3.5281500000000001</c:v>
                </c:pt>
                <c:pt idx="7607">
                  <c:v>#N/A</c:v>
                </c:pt>
                <c:pt idx="7608">
                  <c:v>-3.0861000000000001</c:v>
                </c:pt>
                <c:pt idx="7609">
                  <c:v>-3.1668799999999999</c:v>
                </c:pt>
                <c:pt idx="7610">
                  <c:v>-2.7850299999999999</c:v>
                </c:pt>
                <c:pt idx="7611">
                  <c:v>#N/A</c:v>
                </c:pt>
                <c:pt idx="7612">
                  <c:v>-2.6996600000000002</c:v>
                </c:pt>
                <c:pt idx="7613">
                  <c:v>-2.5541</c:v>
                </c:pt>
                <c:pt idx="7614">
                  <c:v>-3.0792099999999998</c:v>
                </c:pt>
                <c:pt idx="7615">
                  <c:v>#N/A</c:v>
                </c:pt>
                <c:pt idx="7616">
                  <c:v>-3.78633</c:v>
                </c:pt>
                <c:pt idx="7617">
                  <c:v>-3.93431</c:v>
                </c:pt>
                <c:pt idx="7618">
                  <c:v>#N/A</c:v>
                </c:pt>
                <c:pt idx="7619">
                  <c:v>-3.6071800000000001</c:v>
                </c:pt>
                <c:pt idx="7620">
                  <c:v>-2.6052900000000001</c:v>
                </c:pt>
                <c:pt idx="7621">
                  <c:v>-2.55139</c:v>
                </c:pt>
                <c:pt idx="7622">
                  <c:v>#N/A</c:v>
                </c:pt>
                <c:pt idx="7623">
                  <c:v>-2.68866</c:v>
                </c:pt>
                <c:pt idx="7624">
                  <c:v>-2.7959700000000001</c:v>
                </c:pt>
                <c:pt idx="7625">
                  <c:v>-3.2685900000000001</c:v>
                </c:pt>
                <c:pt idx="7626">
                  <c:v>#N/A</c:v>
                </c:pt>
                <c:pt idx="7627">
                  <c:v>-2.7267700000000001</c:v>
                </c:pt>
                <c:pt idx="7628">
                  <c:v>-3.27738</c:v>
                </c:pt>
                <c:pt idx="7629">
                  <c:v>-2.7701500000000001</c:v>
                </c:pt>
                <c:pt idx="7630">
                  <c:v>#N/A</c:v>
                </c:pt>
                <c:pt idx="7631">
                  <c:v>-3.1070000000000002</c:v>
                </c:pt>
                <c:pt idx="7632">
                  <c:v>-2.6758600000000001</c:v>
                </c:pt>
                <c:pt idx="7633">
                  <c:v>#N/A</c:v>
                </c:pt>
                <c:pt idx="7634">
                  <c:v>-2.8961199999999998</c:v>
                </c:pt>
                <c:pt idx="7635">
                  <c:v>-3.36714</c:v>
                </c:pt>
                <c:pt idx="7636">
                  <c:v>-2.9851999999999999</c:v>
                </c:pt>
                <c:pt idx="7637">
                  <c:v>#N/A</c:v>
                </c:pt>
                <c:pt idx="7638">
                  <c:v>-3.2096200000000001</c:v>
                </c:pt>
                <c:pt idx="7639">
                  <c:v>-2.8438099999999999</c:v>
                </c:pt>
                <c:pt idx="7640">
                  <c:v>-2.6426799999999999</c:v>
                </c:pt>
                <c:pt idx="7641">
                  <c:v>#N/A</c:v>
                </c:pt>
                <c:pt idx="7642">
                  <c:v>-2.9523299999999999</c:v>
                </c:pt>
                <c:pt idx="7643">
                  <c:v>-3.0593400000000002</c:v>
                </c:pt>
                <c:pt idx="7644">
                  <c:v>-2.6612100000000001</c:v>
                </c:pt>
                <c:pt idx="7645">
                  <c:v>#N/A</c:v>
                </c:pt>
                <c:pt idx="7646">
                  <c:v>-3.1963900000000001</c:v>
                </c:pt>
                <c:pt idx="7647">
                  <c:v>-3.4266299999999998</c:v>
                </c:pt>
                <c:pt idx="7648">
                  <c:v>-3.19834</c:v>
                </c:pt>
                <c:pt idx="7649">
                  <c:v>#N/A</c:v>
                </c:pt>
                <c:pt idx="7650">
                  <c:v>-2.9950000000000001</c:v>
                </c:pt>
                <c:pt idx="7651">
                  <c:v>-1.97818</c:v>
                </c:pt>
                <c:pt idx="7652">
                  <c:v>-2.0600999999999998</c:v>
                </c:pt>
                <c:pt idx="7653">
                  <c:v>#N/A</c:v>
                </c:pt>
                <c:pt idx="7654">
                  <c:v>-2.87202</c:v>
                </c:pt>
                <c:pt idx="7655">
                  <c:v>-3.1128499999999999</c:v>
                </c:pt>
                <c:pt idx="7656">
                  <c:v>-3.6343200000000002</c:v>
                </c:pt>
                <c:pt idx="7657">
                  <c:v>#N/A</c:v>
                </c:pt>
                <c:pt idx="7658">
                  <c:v>-3.4199000000000002</c:v>
                </c:pt>
                <c:pt idx="7659">
                  <c:v>#N/A</c:v>
                </c:pt>
                <c:pt idx="7660">
                  <c:v>-3.2626900000000001</c:v>
                </c:pt>
                <c:pt idx="7661">
                  <c:v>-3.2067399999999999</c:v>
                </c:pt>
                <c:pt idx="7662">
                  <c:v>#N/A</c:v>
                </c:pt>
                <c:pt idx="7663">
                  <c:v>-2.3637800000000002</c:v>
                </c:pt>
                <c:pt idx="7664">
                  <c:v>-3.1539100000000002</c:v>
                </c:pt>
                <c:pt idx="7665">
                  <c:v>#N/A</c:v>
                </c:pt>
                <c:pt idx="7666">
                  <c:v>-3.4081600000000001</c:v>
                </c:pt>
                <c:pt idx="7667">
                  <c:v>-3.15848</c:v>
                </c:pt>
                <c:pt idx="7668">
                  <c:v>-3.3876499999999998</c:v>
                </c:pt>
                <c:pt idx="7669">
                  <c:v>#N/A</c:v>
                </c:pt>
                <c:pt idx="7670">
                  <c:v>-2.9325299999999999</c:v>
                </c:pt>
                <c:pt idx="7671">
                  <c:v>-2.1505299999999998</c:v>
                </c:pt>
                <c:pt idx="7672">
                  <c:v>-1.6137699999999999</c:v>
                </c:pt>
                <c:pt idx="7673">
                  <c:v>#N/A</c:v>
                </c:pt>
                <c:pt idx="7674">
                  <c:v>-1.8976299999999999</c:v>
                </c:pt>
                <c:pt idx="7675">
                  <c:v>-2.1809099999999999</c:v>
                </c:pt>
                <c:pt idx="7676">
                  <c:v>-2.8382999999999998</c:v>
                </c:pt>
                <c:pt idx="7677">
                  <c:v>#N/A</c:v>
                </c:pt>
                <c:pt idx="7678">
                  <c:v>-3.5834000000000001</c:v>
                </c:pt>
                <c:pt idx="7679">
                  <c:v>-3.0527099999999998</c:v>
                </c:pt>
                <c:pt idx="7680">
                  <c:v>-2.9257200000000001</c:v>
                </c:pt>
                <c:pt idx="7681">
                  <c:v>#N/A</c:v>
                </c:pt>
                <c:pt idx="7682">
                  <c:v>-2.1514899999999999</c:v>
                </c:pt>
                <c:pt idx="7683">
                  <c:v>-1.8111699999999999</c:v>
                </c:pt>
                <c:pt idx="7684">
                  <c:v>-1.51373</c:v>
                </c:pt>
                <c:pt idx="7685">
                  <c:v>#N/A</c:v>
                </c:pt>
                <c:pt idx="7686">
                  <c:v>-2.04643</c:v>
                </c:pt>
                <c:pt idx="7687">
                  <c:v>-2.6348600000000002</c:v>
                </c:pt>
                <c:pt idx="7688">
                  <c:v>-3.1451899999999999</c:v>
                </c:pt>
                <c:pt idx="7689">
                  <c:v>#N/A</c:v>
                </c:pt>
                <c:pt idx="7690">
                  <c:v>-3.4245800000000002</c:v>
                </c:pt>
                <c:pt idx="7691">
                  <c:v>-2.4912200000000002</c:v>
                </c:pt>
                <c:pt idx="7692">
                  <c:v>#N/A</c:v>
                </c:pt>
                <c:pt idx="7693">
                  <c:v>-2.6011000000000002</c:v>
                </c:pt>
                <c:pt idx="7694">
                  <c:v>-2.07402</c:v>
                </c:pt>
                <c:pt idx="7695">
                  <c:v>-2.44651</c:v>
                </c:pt>
                <c:pt idx="7696">
                  <c:v>#N/A</c:v>
                </c:pt>
                <c:pt idx="7697">
                  <c:v>-2.2400600000000002</c:v>
                </c:pt>
                <c:pt idx="7698">
                  <c:v>-3.0974300000000001</c:v>
                </c:pt>
                <c:pt idx="7699">
                  <c:v>-2.8668999999999998</c:v>
                </c:pt>
                <c:pt idx="7700">
                  <c:v>#N/A</c:v>
                </c:pt>
                <c:pt idx="7701">
                  <c:v>-3.2567499999999998</c:v>
                </c:pt>
                <c:pt idx="7702">
                  <c:v>-3.0999099999999999</c:v>
                </c:pt>
                <c:pt idx="7703">
                  <c:v>-2.5763400000000001</c:v>
                </c:pt>
                <c:pt idx="7704">
                  <c:v>#N/A</c:v>
                </c:pt>
                <c:pt idx="7705">
                  <c:v>-1.98417</c:v>
                </c:pt>
                <c:pt idx="7706">
                  <c:v>-2.2286700000000002</c:v>
                </c:pt>
                <c:pt idx="7707">
                  <c:v>-2.92679</c:v>
                </c:pt>
                <c:pt idx="7708">
                  <c:v>#N/A</c:v>
                </c:pt>
                <c:pt idx="7709">
                  <c:v>-3.0106199999999999</c:v>
                </c:pt>
                <c:pt idx="7710">
                  <c:v>-2.9046799999999999</c:v>
                </c:pt>
                <c:pt idx="7711">
                  <c:v>-2.9310100000000001</c:v>
                </c:pt>
                <c:pt idx="7712">
                  <c:v>#N/A</c:v>
                </c:pt>
                <c:pt idx="7713">
                  <c:v>-3.1278000000000001</c:v>
                </c:pt>
                <c:pt idx="7714">
                  <c:v>-3.0663100000000001</c:v>
                </c:pt>
                <c:pt idx="7715">
                  <c:v>#N/A</c:v>
                </c:pt>
                <c:pt idx="7716">
                  <c:v>-2.7259799999999998</c:v>
                </c:pt>
                <c:pt idx="7717">
                  <c:v>-2.8294700000000002</c:v>
                </c:pt>
                <c:pt idx="7718">
                  <c:v>-2.70438</c:v>
                </c:pt>
                <c:pt idx="7719">
                  <c:v>#N/A</c:v>
                </c:pt>
                <c:pt idx="7720">
                  <c:v>-3.1799499999999998</c:v>
                </c:pt>
                <c:pt idx="7721">
                  <c:v>-3.3618199999999998</c:v>
                </c:pt>
                <c:pt idx="7722">
                  <c:v>-3.3108300000000002</c:v>
                </c:pt>
                <c:pt idx="7723">
                  <c:v>#N/A</c:v>
                </c:pt>
                <c:pt idx="7724">
                  <c:v>-2.94387</c:v>
                </c:pt>
                <c:pt idx="7725">
                  <c:v>-2.61809</c:v>
                </c:pt>
                <c:pt idx="7726">
                  <c:v>-3.0437799999999999</c:v>
                </c:pt>
                <c:pt idx="7727">
                  <c:v>#N/A</c:v>
                </c:pt>
                <c:pt idx="7728">
                  <c:v>-2.3622100000000001</c:v>
                </c:pt>
                <c:pt idx="7729">
                  <c:v>-2.8212600000000001</c:v>
                </c:pt>
                <c:pt idx="7730">
                  <c:v>#N/A</c:v>
                </c:pt>
                <c:pt idx="7731">
                  <c:v>-2.8914</c:v>
                </c:pt>
                <c:pt idx="7732">
                  <c:v>-2.6775000000000002</c:v>
                </c:pt>
                <c:pt idx="7733">
                  <c:v>#N/A</c:v>
                </c:pt>
                <c:pt idx="7734">
                  <c:v>-2.71468</c:v>
                </c:pt>
                <c:pt idx="7735">
                  <c:v>-2.4146700000000001</c:v>
                </c:pt>
                <c:pt idx="7736">
                  <c:v>#N/A</c:v>
                </c:pt>
                <c:pt idx="7737">
                  <c:v>-2.33053</c:v>
                </c:pt>
                <c:pt idx="7738">
                  <c:v>-2.3086700000000002</c:v>
                </c:pt>
                <c:pt idx="7739">
                  <c:v>-3.1436099999999998</c:v>
                </c:pt>
                <c:pt idx="7740">
                  <c:v>#N/A</c:v>
                </c:pt>
                <c:pt idx="7741">
                  <c:v>-3.4541900000000001</c:v>
                </c:pt>
                <c:pt idx="7742">
                  <c:v>-3.1715100000000001</c:v>
                </c:pt>
                <c:pt idx="7743">
                  <c:v>-2.7920099999999999</c:v>
                </c:pt>
                <c:pt idx="7744">
                  <c:v>#N/A</c:v>
                </c:pt>
                <c:pt idx="7745">
                  <c:v>-2.0437400000000001</c:v>
                </c:pt>
                <c:pt idx="7746">
                  <c:v>-2.1120899999999998</c:v>
                </c:pt>
                <c:pt idx="7747">
                  <c:v>#N/A</c:v>
                </c:pt>
                <c:pt idx="7748">
                  <c:v>-2.4051200000000001</c:v>
                </c:pt>
                <c:pt idx="7749">
                  <c:v>-2.5239600000000002</c:v>
                </c:pt>
                <c:pt idx="7750">
                  <c:v>-3.5800700000000001</c:v>
                </c:pt>
                <c:pt idx="7751">
                  <c:v>#N/A</c:v>
                </c:pt>
                <c:pt idx="7752">
                  <c:v>-3.7193100000000001</c:v>
                </c:pt>
                <c:pt idx="7753">
                  <c:v>-4.0627199999999997</c:v>
                </c:pt>
                <c:pt idx="7754">
                  <c:v>-3.2105600000000001</c:v>
                </c:pt>
                <c:pt idx="7755">
                  <c:v>#N/A</c:v>
                </c:pt>
                <c:pt idx="7756">
                  <c:v>-2.4636800000000001</c:v>
                </c:pt>
                <c:pt idx="7757">
                  <c:v>-2.0067200000000001</c:v>
                </c:pt>
                <c:pt idx="7758">
                  <c:v>-2.5239199999999999</c:v>
                </c:pt>
                <c:pt idx="7759">
                  <c:v>#N/A</c:v>
                </c:pt>
                <c:pt idx="7760">
                  <c:v>-2.9272100000000001</c:v>
                </c:pt>
                <c:pt idx="7761">
                  <c:v>-3.19652</c:v>
                </c:pt>
                <c:pt idx="7762">
                  <c:v>-3.4198400000000002</c:v>
                </c:pt>
                <c:pt idx="7763">
                  <c:v>#N/A</c:v>
                </c:pt>
                <c:pt idx="7764">
                  <c:v>-3.7275800000000001</c:v>
                </c:pt>
                <c:pt idx="7765">
                  <c:v>-3.21366</c:v>
                </c:pt>
                <c:pt idx="7766">
                  <c:v>-2.3749099999999999</c:v>
                </c:pt>
                <c:pt idx="7767">
                  <c:v>#N/A</c:v>
                </c:pt>
                <c:pt idx="7768">
                  <c:v>-1.9443299999999999</c:v>
                </c:pt>
                <c:pt idx="7769">
                  <c:v>-2.2114600000000002</c:v>
                </c:pt>
                <c:pt idx="7770">
                  <c:v>-2.2757800000000001</c:v>
                </c:pt>
                <c:pt idx="7771">
                  <c:v>#N/A</c:v>
                </c:pt>
                <c:pt idx="7772">
                  <c:v>-2.9224899999999998</c:v>
                </c:pt>
                <c:pt idx="7773">
                  <c:v>-3.0929799999999998</c:v>
                </c:pt>
                <c:pt idx="7774">
                  <c:v>-3.3684400000000001</c:v>
                </c:pt>
                <c:pt idx="7775">
                  <c:v>#N/A</c:v>
                </c:pt>
                <c:pt idx="7776">
                  <c:v>-3.7455400000000001</c:v>
                </c:pt>
                <c:pt idx="7777">
                  <c:v>-2.7226599999999999</c:v>
                </c:pt>
                <c:pt idx="7778">
                  <c:v>#N/A</c:v>
                </c:pt>
                <c:pt idx="7779">
                  <c:v>-2.5926200000000001</c:v>
                </c:pt>
                <c:pt idx="7780">
                  <c:v>-2.2793000000000001</c:v>
                </c:pt>
                <c:pt idx="7781">
                  <c:v>-2.9192</c:v>
                </c:pt>
                <c:pt idx="7782">
                  <c:v>#N/A</c:v>
                </c:pt>
                <c:pt idx="7783">
                  <c:v>-2.7850700000000002</c:v>
                </c:pt>
                <c:pt idx="7784">
                  <c:v>-2.9526500000000002</c:v>
                </c:pt>
                <c:pt idx="7785">
                  <c:v>#N/A</c:v>
                </c:pt>
                <c:pt idx="7786">
                  <c:v>-2.3115100000000002</c:v>
                </c:pt>
                <c:pt idx="7787">
                  <c:v>-2.4415200000000001</c:v>
                </c:pt>
                <c:pt idx="7788">
                  <c:v>-2.5191499999999998</c:v>
                </c:pt>
                <c:pt idx="7789">
                  <c:v>#N/A</c:v>
                </c:pt>
                <c:pt idx="7790">
                  <c:v>-2.8461400000000001</c:v>
                </c:pt>
                <c:pt idx="7791">
                  <c:v>-2.7830599999999999</c:v>
                </c:pt>
                <c:pt idx="7792">
                  <c:v>-2.6871299999999998</c:v>
                </c:pt>
                <c:pt idx="7793">
                  <c:v>#N/A</c:v>
                </c:pt>
                <c:pt idx="7794">
                  <c:v>-2.3447499999999999</c:v>
                </c:pt>
                <c:pt idx="7795">
                  <c:v>-2.3787799999999999</c:v>
                </c:pt>
                <c:pt idx="7796">
                  <c:v>-2.4037700000000002</c:v>
                </c:pt>
                <c:pt idx="7797">
                  <c:v>#N/A</c:v>
                </c:pt>
                <c:pt idx="7798">
                  <c:v>-1.6508400000000001</c:v>
                </c:pt>
                <c:pt idx="7799">
                  <c:v>-2.2590300000000001</c:v>
                </c:pt>
                <c:pt idx="7800">
                  <c:v>-2.6299899999999998</c:v>
                </c:pt>
                <c:pt idx="7801">
                  <c:v>#N/A</c:v>
                </c:pt>
                <c:pt idx="7802">
                  <c:v>-2.7092299999999998</c:v>
                </c:pt>
                <c:pt idx="7803">
                  <c:v>-3.0711200000000001</c:v>
                </c:pt>
                <c:pt idx="7804">
                  <c:v>-2.6458900000000001</c:v>
                </c:pt>
                <c:pt idx="7805">
                  <c:v>#N/A</c:v>
                </c:pt>
                <c:pt idx="7806">
                  <c:v>-2.1583100000000002</c:v>
                </c:pt>
                <c:pt idx="7807">
                  <c:v>-2.2551299999999999</c:v>
                </c:pt>
                <c:pt idx="7808">
                  <c:v>#N/A</c:v>
                </c:pt>
                <c:pt idx="7809">
                  <c:v>-1.4863999999999999</c:v>
                </c:pt>
                <c:pt idx="7810">
                  <c:v>#N/A</c:v>
                </c:pt>
                <c:pt idx="7811">
                  <c:v>-2.1001599999999998</c:v>
                </c:pt>
                <c:pt idx="7812">
                  <c:v>-2.7155100000000001</c:v>
                </c:pt>
                <c:pt idx="7813">
                  <c:v>-3.1487799999999999</c:v>
                </c:pt>
                <c:pt idx="7814">
                  <c:v>#N/A</c:v>
                </c:pt>
                <c:pt idx="7815">
                  <c:v>-3.0773700000000002</c:v>
                </c:pt>
                <c:pt idx="7816">
                  <c:v>-2.8778899999999998</c:v>
                </c:pt>
                <c:pt idx="7817">
                  <c:v>-2.6862300000000001</c:v>
                </c:pt>
                <c:pt idx="7818">
                  <c:v>#N/A</c:v>
                </c:pt>
                <c:pt idx="7819">
                  <c:v>-1.40117</c:v>
                </c:pt>
                <c:pt idx="7820">
                  <c:v>-2.07063</c:v>
                </c:pt>
                <c:pt idx="7821">
                  <c:v>-1.62096</c:v>
                </c:pt>
                <c:pt idx="7822">
                  <c:v>#N/A</c:v>
                </c:pt>
                <c:pt idx="7823">
                  <c:v>-2.07585</c:v>
                </c:pt>
                <c:pt idx="7824">
                  <c:v>-2.9756100000000001</c:v>
                </c:pt>
                <c:pt idx="7825">
                  <c:v>-3.5298699999999998</c:v>
                </c:pt>
                <c:pt idx="7826">
                  <c:v>#N/A</c:v>
                </c:pt>
                <c:pt idx="7827">
                  <c:v>-2.6607099999999999</c:v>
                </c:pt>
                <c:pt idx="7828">
                  <c:v>-2.8910100000000001</c:v>
                </c:pt>
                <c:pt idx="7829">
                  <c:v>-1.99461</c:v>
                </c:pt>
                <c:pt idx="7830">
                  <c:v>#N/A</c:v>
                </c:pt>
                <c:pt idx="7831">
                  <c:v>-1.1669799999999999</c:v>
                </c:pt>
                <c:pt idx="7832">
                  <c:v>-1.50688</c:v>
                </c:pt>
                <c:pt idx="7833">
                  <c:v>-1.9100200000000001</c:v>
                </c:pt>
                <c:pt idx="7834">
                  <c:v>#N/A</c:v>
                </c:pt>
                <c:pt idx="7835">
                  <c:v>-2.3975499999999998</c:v>
                </c:pt>
                <c:pt idx="7836">
                  <c:v>-3.0149599999999999</c:v>
                </c:pt>
                <c:pt idx="7837">
                  <c:v>#N/A</c:v>
                </c:pt>
                <c:pt idx="7838">
                  <c:v>-2.9727000000000001</c:v>
                </c:pt>
                <c:pt idx="7839">
                  <c:v>-2.4564699999999999</c:v>
                </c:pt>
                <c:pt idx="7840">
                  <c:v>-2.46739</c:v>
                </c:pt>
                <c:pt idx="7841">
                  <c:v>#N/A</c:v>
                </c:pt>
                <c:pt idx="7842">
                  <c:v>-2.25082</c:v>
                </c:pt>
                <c:pt idx="7843">
                  <c:v>-1.94059</c:v>
                </c:pt>
                <c:pt idx="7844">
                  <c:v>-2.1265399999999999</c:v>
                </c:pt>
                <c:pt idx="7845">
                  <c:v>#N/A</c:v>
                </c:pt>
                <c:pt idx="7846">
                  <c:v>-2.20892</c:v>
                </c:pt>
                <c:pt idx="7847">
                  <c:v>-2.68445</c:v>
                </c:pt>
                <c:pt idx="7848">
                  <c:v>-2.5832099999999998</c:v>
                </c:pt>
                <c:pt idx="7849">
                  <c:v>#N/A</c:v>
                </c:pt>
                <c:pt idx="7850">
                  <c:v>-2.3496299999999999</c:v>
                </c:pt>
                <c:pt idx="7851">
                  <c:v>-2.1989100000000001</c:v>
                </c:pt>
                <c:pt idx="7852">
                  <c:v>#N/A</c:v>
                </c:pt>
                <c:pt idx="7853">
                  <c:v>-2.1683300000000001</c:v>
                </c:pt>
                <c:pt idx="7854">
                  <c:v>-2.8549899999999999</c:v>
                </c:pt>
                <c:pt idx="7855">
                  <c:v>-2.5854599999999999</c:v>
                </c:pt>
                <c:pt idx="7856">
                  <c:v>#N/A</c:v>
                </c:pt>
                <c:pt idx="7857">
                  <c:v>-2.4354499999999999</c:v>
                </c:pt>
                <c:pt idx="7858">
                  <c:v>-2.4181499999999998</c:v>
                </c:pt>
                <c:pt idx="7859">
                  <c:v>-2.3989600000000002</c:v>
                </c:pt>
                <c:pt idx="7860">
                  <c:v>#N/A</c:v>
                </c:pt>
                <c:pt idx="7861">
                  <c:v>-2.2271200000000002</c:v>
                </c:pt>
                <c:pt idx="7862">
                  <c:v>-2.4314399999999998</c:v>
                </c:pt>
                <c:pt idx="7863">
                  <c:v>-2.3052100000000002</c:v>
                </c:pt>
                <c:pt idx="7864">
                  <c:v>#N/A</c:v>
                </c:pt>
                <c:pt idx="7865">
                  <c:v>-3.1631399999999998</c:v>
                </c:pt>
                <c:pt idx="7866">
                  <c:v>-2.71461</c:v>
                </c:pt>
                <c:pt idx="7867">
                  <c:v>-2.3170500000000001</c:v>
                </c:pt>
                <c:pt idx="7868">
                  <c:v>#N/A</c:v>
                </c:pt>
                <c:pt idx="7869">
                  <c:v>-1.9119299999999999</c:v>
                </c:pt>
                <c:pt idx="7870">
                  <c:v>-1.7386299999999999</c:v>
                </c:pt>
                <c:pt idx="7871">
                  <c:v>-1.6485099999999999</c:v>
                </c:pt>
                <c:pt idx="7872">
                  <c:v>#N/A</c:v>
                </c:pt>
                <c:pt idx="7873">
                  <c:v>-2.1168900000000002</c:v>
                </c:pt>
                <c:pt idx="7874">
                  <c:v>-2.2882400000000001</c:v>
                </c:pt>
                <c:pt idx="7875">
                  <c:v>-2.8756400000000002</c:v>
                </c:pt>
                <c:pt idx="7876">
                  <c:v>#N/A</c:v>
                </c:pt>
                <c:pt idx="7877">
                  <c:v>-3.29312</c:v>
                </c:pt>
                <c:pt idx="7878">
                  <c:v>-2.8034599999999998</c:v>
                </c:pt>
                <c:pt idx="7879">
                  <c:v>-2.1142799999999999</c:v>
                </c:pt>
                <c:pt idx="7880">
                  <c:v>#N/A</c:v>
                </c:pt>
                <c:pt idx="7881">
                  <c:v>-2.2048000000000001</c:v>
                </c:pt>
                <c:pt idx="7882">
                  <c:v>-1.62697</c:v>
                </c:pt>
                <c:pt idx="7883">
                  <c:v>#N/A</c:v>
                </c:pt>
                <c:pt idx="7884">
                  <c:v>-2.05348</c:v>
                </c:pt>
                <c:pt idx="7885">
                  <c:v>#N/A</c:v>
                </c:pt>
                <c:pt idx="7886">
                  <c:v>-2.9346000000000001</c:v>
                </c:pt>
                <c:pt idx="7887">
                  <c:v>-3.4426299999999999</c:v>
                </c:pt>
                <c:pt idx="7888">
                  <c:v>#N/A</c:v>
                </c:pt>
                <c:pt idx="7889">
                  <c:v>-3.0645500000000001</c:v>
                </c:pt>
                <c:pt idx="7890">
                  <c:v>-2.6109200000000001</c:v>
                </c:pt>
                <c:pt idx="7891">
                  <c:v>-2.1941899999999999</c:v>
                </c:pt>
                <c:pt idx="7892">
                  <c:v>#N/A</c:v>
                </c:pt>
                <c:pt idx="7893">
                  <c:v>-1.4055</c:v>
                </c:pt>
                <c:pt idx="7894">
                  <c:v>-1.6932499999999999</c:v>
                </c:pt>
                <c:pt idx="7895">
                  <c:v>-1.9978</c:v>
                </c:pt>
                <c:pt idx="7896">
                  <c:v>#N/A</c:v>
                </c:pt>
                <c:pt idx="7897">
                  <c:v>-2.2870499999999998</c:v>
                </c:pt>
                <c:pt idx="7898">
                  <c:v>-3.0627200000000001</c:v>
                </c:pt>
                <c:pt idx="7899">
                  <c:v>-3.2845399999999998</c:v>
                </c:pt>
                <c:pt idx="7900">
                  <c:v>#N/A</c:v>
                </c:pt>
                <c:pt idx="7901">
                  <c:v>-2.7933300000000001</c:v>
                </c:pt>
                <c:pt idx="7902">
                  <c:v>-2.4478499999999999</c:v>
                </c:pt>
                <c:pt idx="7903">
                  <c:v>-1.83535</c:v>
                </c:pt>
                <c:pt idx="7904">
                  <c:v>#N/A</c:v>
                </c:pt>
                <c:pt idx="7905">
                  <c:v>-2.0308199999999998</c:v>
                </c:pt>
                <c:pt idx="7906">
                  <c:v>-2.0750500000000001</c:v>
                </c:pt>
                <c:pt idx="7907">
                  <c:v>#N/A</c:v>
                </c:pt>
                <c:pt idx="7908">
                  <c:v>-2.6631499999999999</c:v>
                </c:pt>
                <c:pt idx="7909">
                  <c:v>-3.3138800000000002</c:v>
                </c:pt>
                <c:pt idx="7910">
                  <c:v>-2.88097</c:v>
                </c:pt>
                <c:pt idx="7911">
                  <c:v>#N/A</c:v>
                </c:pt>
                <c:pt idx="7912">
                  <c:v>-2.6942699999999999</c:v>
                </c:pt>
                <c:pt idx="7913">
                  <c:v>-2.1464300000000001</c:v>
                </c:pt>
                <c:pt idx="7914">
                  <c:v>-1.7730999999999999</c:v>
                </c:pt>
                <c:pt idx="7915">
                  <c:v>#N/A</c:v>
                </c:pt>
                <c:pt idx="7916">
                  <c:v>-1.45105</c:v>
                </c:pt>
                <c:pt idx="7917">
                  <c:v>-2.18377</c:v>
                </c:pt>
                <c:pt idx="7918">
                  <c:v>-2.4384899999999998</c:v>
                </c:pt>
                <c:pt idx="7919">
                  <c:v>#N/A</c:v>
                </c:pt>
                <c:pt idx="7920">
                  <c:v>-2.4471799999999999</c:v>
                </c:pt>
                <c:pt idx="7921">
                  <c:v>-2.4843299999999999</c:v>
                </c:pt>
                <c:pt idx="7922">
                  <c:v>-2.5228999999999999</c:v>
                </c:pt>
                <c:pt idx="7923">
                  <c:v>#N/A</c:v>
                </c:pt>
                <c:pt idx="7924">
                  <c:v>-1.88957</c:v>
                </c:pt>
                <c:pt idx="7925">
                  <c:v>-2.2757100000000001</c:v>
                </c:pt>
                <c:pt idx="7926">
                  <c:v>-1.9406000000000001</c:v>
                </c:pt>
                <c:pt idx="7927">
                  <c:v>#N/A</c:v>
                </c:pt>
                <c:pt idx="7928">
                  <c:v>-2.3351099999999998</c:v>
                </c:pt>
                <c:pt idx="7929">
                  <c:v>-2.6752600000000002</c:v>
                </c:pt>
                <c:pt idx="7930">
                  <c:v>#N/A</c:v>
                </c:pt>
                <c:pt idx="7931">
                  <c:v>-2.8776000000000002</c:v>
                </c:pt>
                <c:pt idx="7932">
                  <c:v>-1.94638</c:v>
                </c:pt>
                <c:pt idx="7933">
                  <c:v>-2.2275900000000002</c:v>
                </c:pt>
                <c:pt idx="7934">
                  <c:v>#N/A</c:v>
                </c:pt>
                <c:pt idx="7935">
                  <c:v>-2.2014399999999998</c:v>
                </c:pt>
                <c:pt idx="7936">
                  <c:v>-2.2177099999999998</c:v>
                </c:pt>
                <c:pt idx="7937">
                  <c:v>-2.7618499999999999</c:v>
                </c:pt>
                <c:pt idx="7938">
                  <c:v>#N/A</c:v>
                </c:pt>
                <c:pt idx="7939">
                  <c:v>-2.6824499999999998</c:v>
                </c:pt>
                <c:pt idx="7940">
                  <c:v>-3.1626599999999998</c:v>
                </c:pt>
                <c:pt idx="7941">
                  <c:v>-2.6775099999999998</c:v>
                </c:pt>
                <c:pt idx="7942">
                  <c:v>#N/A</c:v>
                </c:pt>
                <c:pt idx="7943">
                  <c:v>-2.25664</c:v>
                </c:pt>
                <c:pt idx="7944">
                  <c:v>-1.8726100000000001</c:v>
                </c:pt>
                <c:pt idx="7945">
                  <c:v>-1.6874</c:v>
                </c:pt>
                <c:pt idx="7946">
                  <c:v>#N/A</c:v>
                </c:pt>
                <c:pt idx="7947">
                  <c:v>-2.6206</c:v>
                </c:pt>
                <c:pt idx="7948">
                  <c:v>-3.2364299999999999</c:v>
                </c:pt>
                <c:pt idx="7949">
                  <c:v>-2.6781299999999999</c:v>
                </c:pt>
                <c:pt idx="7950">
                  <c:v>#N/A</c:v>
                </c:pt>
                <c:pt idx="7951">
                  <c:v>-3.0154299999999998</c:v>
                </c:pt>
                <c:pt idx="7952">
                  <c:v>-2.7487699999999999</c:v>
                </c:pt>
                <c:pt idx="7953">
                  <c:v>-1.60788</c:v>
                </c:pt>
                <c:pt idx="7954">
                  <c:v>#N/A</c:v>
                </c:pt>
                <c:pt idx="7955">
                  <c:v>-1.3060799999999999</c:v>
                </c:pt>
                <c:pt idx="7956">
                  <c:v>-1.3717900000000001</c:v>
                </c:pt>
                <c:pt idx="7957">
                  <c:v>-1.6190100000000001</c:v>
                </c:pt>
                <c:pt idx="7958">
                  <c:v>#N/A</c:v>
                </c:pt>
                <c:pt idx="7959">
                  <c:v>-3.0000599999999999</c:v>
                </c:pt>
                <c:pt idx="7960">
                  <c:v>#N/A</c:v>
                </c:pt>
                <c:pt idx="7961">
                  <c:v>-3.0887500000000001</c:v>
                </c:pt>
                <c:pt idx="7962">
                  <c:v>-3.3455599999999999</c:v>
                </c:pt>
                <c:pt idx="7963">
                  <c:v>#N/A</c:v>
                </c:pt>
                <c:pt idx="7964">
                  <c:v>-2.46305</c:v>
                </c:pt>
                <c:pt idx="7965">
                  <c:v>-1.9066799999999999</c:v>
                </c:pt>
                <c:pt idx="7966">
                  <c:v>-1.7708299999999999</c:v>
                </c:pt>
                <c:pt idx="7967">
                  <c:v>#N/A</c:v>
                </c:pt>
                <c:pt idx="7968">
                  <c:v>-2.5928</c:v>
                </c:pt>
                <c:pt idx="7969">
                  <c:v>-3.1721200000000001</c:v>
                </c:pt>
                <c:pt idx="7970">
                  <c:v>-3.1401500000000002</c:v>
                </c:pt>
                <c:pt idx="7971">
                  <c:v>#N/A</c:v>
                </c:pt>
                <c:pt idx="7972">
                  <c:v>-3.0494599999999998</c:v>
                </c:pt>
                <c:pt idx="7973">
                  <c:v>-2.6692399999999998</c:v>
                </c:pt>
                <c:pt idx="7974">
                  <c:v>-2.1408999999999998</c:v>
                </c:pt>
                <c:pt idx="7975">
                  <c:v>#N/A</c:v>
                </c:pt>
                <c:pt idx="7976">
                  <c:v>-2.0068000000000001</c:v>
                </c:pt>
                <c:pt idx="7977">
                  <c:v>-1.7390300000000001</c:v>
                </c:pt>
                <c:pt idx="7978">
                  <c:v>-1.5634699999999999</c:v>
                </c:pt>
                <c:pt idx="7979">
                  <c:v>#N/A</c:v>
                </c:pt>
                <c:pt idx="7980">
                  <c:v>-2.1587000000000001</c:v>
                </c:pt>
                <c:pt idx="7981">
                  <c:v>-2.4542799999999998</c:v>
                </c:pt>
                <c:pt idx="7982">
                  <c:v>#N/A</c:v>
                </c:pt>
                <c:pt idx="7983">
                  <c:v>-3.11741</c:v>
                </c:pt>
                <c:pt idx="7984">
                  <c:v>-2.5556199999999998</c:v>
                </c:pt>
                <c:pt idx="7985">
                  <c:v>-2.3751899999999999</c:v>
                </c:pt>
                <c:pt idx="7986">
                  <c:v>#N/A</c:v>
                </c:pt>
                <c:pt idx="7987">
                  <c:v>-2.07809</c:v>
                </c:pt>
                <c:pt idx="7988">
                  <c:v>-1.58693</c:v>
                </c:pt>
                <c:pt idx="7989">
                  <c:v>-1.93682</c:v>
                </c:pt>
                <c:pt idx="7990">
                  <c:v>#N/A</c:v>
                </c:pt>
                <c:pt idx="7991">
                  <c:v>-2.0298799999999999</c:v>
                </c:pt>
                <c:pt idx="7992">
                  <c:v>-2.6682800000000002</c:v>
                </c:pt>
                <c:pt idx="7993">
                  <c:v>#N/A</c:v>
                </c:pt>
                <c:pt idx="7994">
                  <c:v>-2.92719</c:v>
                </c:pt>
                <c:pt idx="7995">
                  <c:v>-2.6175199999999998</c:v>
                </c:pt>
                <c:pt idx="7996">
                  <c:v>-2.0666099999999998</c:v>
                </c:pt>
                <c:pt idx="7997">
                  <c:v>#N/A</c:v>
                </c:pt>
                <c:pt idx="7998">
                  <c:v>-2.5232600000000001</c:v>
                </c:pt>
                <c:pt idx="7999">
                  <c:v>#N/A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#N/A</c:v>
                </c:pt>
                <c:pt idx="8013">
                  <c:v>#N/A</c:v>
                </c:pt>
                <c:pt idx="8014">
                  <c:v>#N/A</c:v>
                </c:pt>
                <c:pt idx="8015">
                  <c:v>#N/A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#N/A</c:v>
                </c:pt>
                <c:pt idx="8020">
                  <c:v>#N/A</c:v>
                </c:pt>
                <c:pt idx="8021">
                  <c:v>#N/A</c:v>
                </c:pt>
                <c:pt idx="8022">
                  <c:v>#N/A</c:v>
                </c:pt>
                <c:pt idx="8023">
                  <c:v>-3.0283199999999999</c:v>
                </c:pt>
                <c:pt idx="8024">
                  <c:v>#N/A</c:v>
                </c:pt>
                <c:pt idx="8025">
                  <c:v>-3.0238</c:v>
                </c:pt>
                <c:pt idx="8026">
                  <c:v>-2.5818599999999998</c:v>
                </c:pt>
                <c:pt idx="8027">
                  <c:v>-1.9697899999999999</c:v>
                </c:pt>
                <c:pt idx="8028">
                  <c:v>#N/A</c:v>
                </c:pt>
                <c:pt idx="8029">
                  <c:v>-1.98776</c:v>
                </c:pt>
                <c:pt idx="8030">
                  <c:v>-2.13781</c:v>
                </c:pt>
                <c:pt idx="8031">
                  <c:v>-2.3714400000000002</c:v>
                </c:pt>
                <c:pt idx="8032">
                  <c:v>#N/A</c:v>
                </c:pt>
                <c:pt idx="8033">
                  <c:v>-2.7892100000000002</c:v>
                </c:pt>
                <c:pt idx="8034">
                  <c:v>#N/A</c:v>
                </c:pt>
                <c:pt idx="8035">
                  <c:v>-3.1676000000000002</c:v>
                </c:pt>
                <c:pt idx="8036">
                  <c:v>-2.80322</c:v>
                </c:pt>
                <c:pt idx="8037">
                  <c:v>#N/A</c:v>
                </c:pt>
                <c:pt idx="8038">
                  <c:v>-2.1361400000000001</c:v>
                </c:pt>
                <c:pt idx="8039">
                  <c:v>-2.0537100000000001</c:v>
                </c:pt>
                <c:pt idx="8040">
                  <c:v>-2.4861599999999999</c:v>
                </c:pt>
                <c:pt idx="8041">
                  <c:v>#N/A</c:v>
                </c:pt>
                <c:pt idx="8042">
                  <c:v>-2.4337599999999999</c:v>
                </c:pt>
                <c:pt idx="8043">
                  <c:v>-2.5401199999999999</c:v>
                </c:pt>
                <c:pt idx="8044">
                  <c:v>#N/A</c:v>
                </c:pt>
                <c:pt idx="8045">
                  <c:v>-2.5434700000000001</c:v>
                </c:pt>
                <c:pt idx="8046">
                  <c:v>-2.4903</c:v>
                </c:pt>
                <c:pt idx="8047">
                  <c:v>-2.4556300000000002</c:v>
                </c:pt>
                <c:pt idx="8048">
                  <c:v>#N/A</c:v>
                </c:pt>
                <c:pt idx="8049">
                  <c:v>-2.0796299999999999</c:v>
                </c:pt>
                <c:pt idx="8050">
                  <c:v>-1.6228</c:v>
                </c:pt>
                <c:pt idx="8051">
                  <c:v>#N/A</c:v>
                </c:pt>
                <c:pt idx="8052">
                  <c:v>-1.86107</c:v>
                </c:pt>
                <c:pt idx="8053">
                  <c:v>-2.4131399999999998</c:v>
                </c:pt>
                <c:pt idx="8054">
                  <c:v>-2.9476499999999999</c:v>
                </c:pt>
                <c:pt idx="8055">
                  <c:v>#N/A</c:v>
                </c:pt>
                <c:pt idx="8056">
                  <c:v>-3.47234</c:v>
                </c:pt>
                <c:pt idx="8057">
                  <c:v>-2.8059599999999998</c:v>
                </c:pt>
                <c:pt idx="8058">
                  <c:v>-2.4217200000000001</c:v>
                </c:pt>
                <c:pt idx="8059">
                  <c:v>#N/A</c:v>
                </c:pt>
                <c:pt idx="8060">
                  <c:v>-2.2807900000000001</c:v>
                </c:pt>
                <c:pt idx="8061">
                  <c:v>-2.21095</c:v>
                </c:pt>
                <c:pt idx="8062">
                  <c:v>-2.0289700000000002</c:v>
                </c:pt>
                <c:pt idx="8063">
                  <c:v>#N/A</c:v>
                </c:pt>
                <c:pt idx="8064">
                  <c:v>-2.7163900000000001</c:v>
                </c:pt>
                <c:pt idx="8065">
                  <c:v>-2.9999099999999999</c:v>
                </c:pt>
                <c:pt idx="8066">
                  <c:v>#N/A</c:v>
                </c:pt>
                <c:pt idx="8067">
                  <c:v>-3.4351400000000001</c:v>
                </c:pt>
                <c:pt idx="8068">
                  <c:v>-2.8896999999999999</c:v>
                </c:pt>
                <c:pt idx="8069">
                  <c:v>-2.7721</c:v>
                </c:pt>
                <c:pt idx="8070">
                  <c:v>#N/A</c:v>
                </c:pt>
                <c:pt idx="8071">
                  <c:v>-1.57917</c:v>
                </c:pt>
                <c:pt idx="8072">
                  <c:v>-2.4751400000000001</c:v>
                </c:pt>
                <c:pt idx="8073">
                  <c:v>-2.5066600000000001</c:v>
                </c:pt>
                <c:pt idx="8074">
                  <c:v>#N/A</c:v>
                </c:pt>
                <c:pt idx="8075">
                  <c:v>-2.7242999999999999</c:v>
                </c:pt>
                <c:pt idx="8076">
                  <c:v>-2.7812700000000001</c:v>
                </c:pt>
                <c:pt idx="8077">
                  <c:v>-2.60846</c:v>
                </c:pt>
                <c:pt idx="8078">
                  <c:v>#N/A</c:v>
                </c:pt>
                <c:pt idx="8079">
                  <c:v>-2.8138899999999998</c:v>
                </c:pt>
                <c:pt idx="8080">
                  <c:v>-2.6585299999999998</c:v>
                </c:pt>
                <c:pt idx="8081">
                  <c:v>-2.2983699999999998</c:v>
                </c:pt>
                <c:pt idx="8082">
                  <c:v>#N/A</c:v>
                </c:pt>
                <c:pt idx="8083">
                  <c:v>-2.31541</c:v>
                </c:pt>
                <c:pt idx="8084">
                  <c:v>-2.64134</c:v>
                </c:pt>
                <c:pt idx="8085">
                  <c:v>-3.2127699999999999</c:v>
                </c:pt>
                <c:pt idx="8086">
                  <c:v>#N/A</c:v>
                </c:pt>
                <c:pt idx="8087">
                  <c:v>-2.7267299999999999</c:v>
                </c:pt>
                <c:pt idx="8088">
                  <c:v>-2.7841399999999998</c:v>
                </c:pt>
                <c:pt idx="8089">
                  <c:v>#N/A</c:v>
                </c:pt>
                <c:pt idx="8090">
                  <c:v>-2.7342599999999999</c:v>
                </c:pt>
                <c:pt idx="8091">
                  <c:v>-2.43031</c:v>
                </c:pt>
                <c:pt idx="8092">
                  <c:v>-2.2727900000000001</c:v>
                </c:pt>
                <c:pt idx="8093">
                  <c:v>#N/A</c:v>
                </c:pt>
                <c:pt idx="8094">
                  <c:v>-2.3469500000000001</c:v>
                </c:pt>
                <c:pt idx="8095">
                  <c:v>-2.7300499999999999</c:v>
                </c:pt>
                <c:pt idx="8096">
                  <c:v>-2.8161499999999999</c:v>
                </c:pt>
                <c:pt idx="8097">
                  <c:v>#N/A</c:v>
                </c:pt>
                <c:pt idx="8098">
                  <c:v>-2.8904800000000002</c:v>
                </c:pt>
                <c:pt idx="8099">
                  <c:v>-2.1425999999999998</c:v>
                </c:pt>
                <c:pt idx="8100">
                  <c:v>-1.9735100000000001</c:v>
                </c:pt>
                <c:pt idx="8101">
                  <c:v>#N/A</c:v>
                </c:pt>
                <c:pt idx="8102">
                  <c:v>-1.75813</c:v>
                </c:pt>
                <c:pt idx="8103">
                  <c:v>-2.5334099999999999</c:v>
                </c:pt>
                <c:pt idx="8104">
                  <c:v>-2.0765699999999998</c:v>
                </c:pt>
                <c:pt idx="8105">
                  <c:v>#N/A</c:v>
                </c:pt>
                <c:pt idx="8106">
                  <c:v>-2.4293900000000002</c:v>
                </c:pt>
                <c:pt idx="8107">
                  <c:v>-3.04061</c:v>
                </c:pt>
                <c:pt idx="8108">
                  <c:v>#N/A</c:v>
                </c:pt>
                <c:pt idx="8109">
                  <c:v>-2.9066200000000002</c:v>
                </c:pt>
                <c:pt idx="8110">
                  <c:v>-2.1256499999999998</c:v>
                </c:pt>
                <c:pt idx="8111">
                  <c:v>#N/A</c:v>
                </c:pt>
                <c:pt idx="8112">
                  <c:v>-1.63489</c:v>
                </c:pt>
                <c:pt idx="8113">
                  <c:v>-1.67113</c:v>
                </c:pt>
                <c:pt idx="8114">
                  <c:v>-1.7801499999999999</c:v>
                </c:pt>
                <c:pt idx="8115">
                  <c:v>#N/A</c:v>
                </c:pt>
                <c:pt idx="8116">
                  <c:v>-2.8024399999999998</c:v>
                </c:pt>
                <c:pt idx="8117">
                  <c:v>-2.8690099999999998</c:v>
                </c:pt>
                <c:pt idx="8118">
                  <c:v>-3.0718000000000001</c:v>
                </c:pt>
                <c:pt idx="8119">
                  <c:v>#N/A</c:v>
                </c:pt>
                <c:pt idx="8120">
                  <c:v>-2.4068999999999998</c:v>
                </c:pt>
                <c:pt idx="8121">
                  <c:v>-2.1490200000000002</c:v>
                </c:pt>
                <c:pt idx="8122">
                  <c:v>#N/A</c:v>
                </c:pt>
                <c:pt idx="8123">
                  <c:v>-1.77091</c:v>
                </c:pt>
                <c:pt idx="8124">
                  <c:v>-1.87113</c:v>
                </c:pt>
                <c:pt idx="8125">
                  <c:v>-1.54705</c:v>
                </c:pt>
                <c:pt idx="8126">
                  <c:v>#N/A</c:v>
                </c:pt>
                <c:pt idx="8127">
                  <c:v>-2.3696899999999999</c:v>
                </c:pt>
                <c:pt idx="8128">
                  <c:v>-2.8258299999999998</c:v>
                </c:pt>
                <c:pt idx="8129">
                  <c:v>-3.16195</c:v>
                </c:pt>
                <c:pt idx="8130">
                  <c:v>#N/A</c:v>
                </c:pt>
                <c:pt idx="8131">
                  <c:v>-2.1451600000000002</c:v>
                </c:pt>
                <c:pt idx="8132">
                  <c:v>-1.88307</c:v>
                </c:pt>
                <c:pt idx="8133">
                  <c:v>-1.5965499999999999</c:v>
                </c:pt>
                <c:pt idx="8134">
                  <c:v>#N/A</c:v>
                </c:pt>
                <c:pt idx="8135">
                  <c:v>-1.8344</c:v>
                </c:pt>
                <c:pt idx="8136">
                  <c:v>-2.3071299999999999</c:v>
                </c:pt>
                <c:pt idx="8137">
                  <c:v>-2.3897200000000001</c:v>
                </c:pt>
                <c:pt idx="8138">
                  <c:v>#N/A</c:v>
                </c:pt>
                <c:pt idx="8139">
                  <c:v>-3.0763099999999999</c:v>
                </c:pt>
                <c:pt idx="8140">
                  <c:v>-2.6544699999999999</c:v>
                </c:pt>
                <c:pt idx="8141">
                  <c:v>#N/A</c:v>
                </c:pt>
                <c:pt idx="8142">
                  <c:v>-2.4507400000000001</c:v>
                </c:pt>
                <c:pt idx="8143">
                  <c:v>-1.9719899999999999</c:v>
                </c:pt>
                <c:pt idx="8144">
                  <c:v>-1.63808</c:v>
                </c:pt>
                <c:pt idx="8145">
                  <c:v>#N/A</c:v>
                </c:pt>
                <c:pt idx="8146">
                  <c:v>-1.8317399999999999</c:v>
                </c:pt>
                <c:pt idx="8147">
                  <c:v>-2.9738199999999999</c:v>
                </c:pt>
                <c:pt idx="8148">
                  <c:v>#N/A</c:v>
                </c:pt>
                <c:pt idx="8149">
                  <c:v>-3.4803600000000001</c:v>
                </c:pt>
                <c:pt idx="8150">
                  <c:v>-3.0341100000000001</c:v>
                </c:pt>
                <c:pt idx="8151">
                  <c:v>-2.5475400000000001</c:v>
                </c:pt>
                <c:pt idx="8152">
                  <c:v>#N/A</c:v>
                </c:pt>
                <c:pt idx="8153">
                  <c:v>-2.2484600000000001</c:v>
                </c:pt>
                <c:pt idx="8154">
                  <c:v>-2.5186299999999999</c:v>
                </c:pt>
                <c:pt idx="8155">
                  <c:v>-2.8783599999999998</c:v>
                </c:pt>
                <c:pt idx="8156">
                  <c:v>#N/A</c:v>
                </c:pt>
                <c:pt idx="8157">
                  <c:v>-2.74871</c:v>
                </c:pt>
                <c:pt idx="8158">
                  <c:v>-2.5929700000000002</c:v>
                </c:pt>
                <c:pt idx="8159">
                  <c:v>-2.9752900000000002</c:v>
                </c:pt>
                <c:pt idx="8160">
                  <c:v>#N/A</c:v>
                </c:pt>
                <c:pt idx="8161">
                  <c:v>-3.0312000000000001</c:v>
                </c:pt>
                <c:pt idx="8162">
                  <c:v>-2.22661</c:v>
                </c:pt>
                <c:pt idx="8163">
                  <c:v>-2.25143</c:v>
                </c:pt>
                <c:pt idx="8164">
                  <c:v>#N/A</c:v>
                </c:pt>
                <c:pt idx="8165">
                  <c:v>-2.2883900000000001</c:v>
                </c:pt>
                <c:pt idx="8166">
                  <c:v>-2.46455</c:v>
                </c:pt>
                <c:pt idx="8167">
                  <c:v>#N/A</c:v>
                </c:pt>
                <c:pt idx="8168">
                  <c:v>-2.2475299999999998</c:v>
                </c:pt>
                <c:pt idx="8169">
                  <c:v>-2.1941299999999999</c:v>
                </c:pt>
                <c:pt idx="8170">
                  <c:v>-2.4199099999999998</c:v>
                </c:pt>
                <c:pt idx="8171">
                  <c:v>#N/A</c:v>
                </c:pt>
                <c:pt idx="8172">
                  <c:v>-2.5967099999999999</c:v>
                </c:pt>
                <c:pt idx="8173">
                  <c:v>-2.9206099999999999</c:v>
                </c:pt>
                <c:pt idx="8174">
                  <c:v>-2.0553699999999999</c:v>
                </c:pt>
                <c:pt idx="8175">
                  <c:v>#N/A</c:v>
                </c:pt>
                <c:pt idx="8176">
                  <c:v>-2.46875</c:v>
                </c:pt>
                <c:pt idx="8177">
                  <c:v>-2.6493600000000002</c:v>
                </c:pt>
                <c:pt idx="8178">
                  <c:v>-3.0084900000000001</c:v>
                </c:pt>
                <c:pt idx="8179">
                  <c:v>#N/A</c:v>
                </c:pt>
                <c:pt idx="8180">
                  <c:v>-3.0559400000000001</c:v>
                </c:pt>
                <c:pt idx="8181">
                  <c:v>-3.25895</c:v>
                </c:pt>
                <c:pt idx="8182">
                  <c:v>#N/A</c:v>
                </c:pt>
                <c:pt idx="8183">
                  <c:v>-2.3403700000000001</c:v>
                </c:pt>
                <c:pt idx="8184">
                  <c:v>#N/A</c:v>
                </c:pt>
                <c:pt idx="8185">
                  <c:v>-2.30403</c:v>
                </c:pt>
                <c:pt idx="8186">
                  <c:v>#N/A</c:v>
                </c:pt>
                <c:pt idx="8187">
                  <c:v>-2.2721200000000001</c:v>
                </c:pt>
                <c:pt idx="8188">
                  <c:v>-2.2967599999999999</c:v>
                </c:pt>
                <c:pt idx="8189">
                  <c:v>-3.1242999999999999</c:v>
                </c:pt>
                <c:pt idx="8190">
                  <c:v>#N/A</c:v>
                </c:pt>
                <c:pt idx="8191">
                  <c:v>-3.8129900000000001</c:v>
                </c:pt>
                <c:pt idx="8192">
                  <c:v>-3.4211299999999998</c:v>
                </c:pt>
                <c:pt idx="8193">
                  <c:v>-2.5704199999999999</c:v>
                </c:pt>
                <c:pt idx="8194">
                  <c:v>#N/A</c:v>
                </c:pt>
                <c:pt idx="8195">
                  <c:v>-2.6211000000000002</c:v>
                </c:pt>
                <c:pt idx="8196">
                  <c:v>-2.01031</c:v>
                </c:pt>
                <c:pt idx="8197">
                  <c:v>-2.1549900000000002</c:v>
                </c:pt>
                <c:pt idx="8198">
                  <c:v>#N/A</c:v>
                </c:pt>
                <c:pt idx="8199">
                  <c:v>-2.3805999999999998</c:v>
                </c:pt>
                <c:pt idx="8200">
                  <c:v>-2.6264699999999999</c:v>
                </c:pt>
                <c:pt idx="8201">
                  <c:v>-3.4432800000000001</c:v>
                </c:pt>
                <c:pt idx="8202">
                  <c:v>#N/A</c:v>
                </c:pt>
                <c:pt idx="8203">
                  <c:v>-3.2519399999999998</c:v>
                </c:pt>
                <c:pt idx="8204">
                  <c:v>-2.7627899999999999</c:v>
                </c:pt>
                <c:pt idx="8205">
                  <c:v>#N/A</c:v>
                </c:pt>
                <c:pt idx="8206">
                  <c:v>-2.0321099999999999</c:v>
                </c:pt>
                <c:pt idx="8207">
                  <c:v>-1.95723</c:v>
                </c:pt>
                <c:pt idx="8208">
                  <c:v>-2.0601799999999999</c:v>
                </c:pt>
                <c:pt idx="8209">
                  <c:v>#N/A</c:v>
                </c:pt>
                <c:pt idx="8210">
                  <c:v>-2.8761700000000001</c:v>
                </c:pt>
                <c:pt idx="8211">
                  <c:v>-3.1671</c:v>
                </c:pt>
                <c:pt idx="8212">
                  <c:v>-3.6249600000000002</c:v>
                </c:pt>
                <c:pt idx="8213">
                  <c:v>#N/A</c:v>
                </c:pt>
                <c:pt idx="8214">
                  <c:v>-2.9860000000000002</c:v>
                </c:pt>
                <c:pt idx="8215">
                  <c:v>-2.92414</c:v>
                </c:pt>
                <c:pt idx="8216">
                  <c:v>-2.33405</c:v>
                </c:pt>
                <c:pt idx="8217">
                  <c:v>#N/A</c:v>
                </c:pt>
                <c:pt idx="8218">
                  <c:v>-1.7808299999999999</c:v>
                </c:pt>
                <c:pt idx="8219">
                  <c:v>-1.9368300000000001</c:v>
                </c:pt>
                <c:pt idx="8220">
                  <c:v>-2.4893900000000002</c:v>
                </c:pt>
                <c:pt idx="8221">
                  <c:v>#N/A</c:v>
                </c:pt>
                <c:pt idx="8222">
                  <c:v>-2.9219900000000001</c:v>
                </c:pt>
                <c:pt idx="8223">
                  <c:v>-3.0584799999999999</c:v>
                </c:pt>
                <c:pt idx="8224">
                  <c:v>#N/A</c:v>
                </c:pt>
                <c:pt idx="8225">
                  <c:v>-2.3639999999999999</c:v>
                </c:pt>
                <c:pt idx="8226">
                  <c:v>-2.5156999999999998</c:v>
                </c:pt>
                <c:pt idx="8227">
                  <c:v>-2.2086899999999998</c:v>
                </c:pt>
                <c:pt idx="8228">
                  <c:v>#N/A</c:v>
                </c:pt>
                <c:pt idx="8229">
                  <c:v>-1.9973399999999999</c:v>
                </c:pt>
                <c:pt idx="8230">
                  <c:v>-1.83951</c:v>
                </c:pt>
                <c:pt idx="8231">
                  <c:v>-2.45879</c:v>
                </c:pt>
                <c:pt idx="8232">
                  <c:v>#N/A</c:v>
                </c:pt>
                <c:pt idx="8233">
                  <c:v>-2.7841300000000002</c:v>
                </c:pt>
                <c:pt idx="8234">
                  <c:v>-2.7298900000000001</c:v>
                </c:pt>
                <c:pt idx="8235">
                  <c:v>-2.6293000000000002</c:v>
                </c:pt>
                <c:pt idx="8236">
                  <c:v>#N/A</c:v>
                </c:pt>
                <c:pt idx="8237">
                  <c:v>-2.0637599999999998</c:v>
                </c:pt>
                <c:pt idx="8238">
                  <c:v>-2.08744</c:v>
                </c:pt>
                <c:pt idx="8239">
                  <c:v>-2.9735200000000002</c:v>
                </c:pt>
                <c:pt idx="8240">
                  <c:v>#N/A</c:v>
                </c:pt>
                <c:pt idx="8241">
                  <c:v>-2.6427900000000002</c:v>
                </c:pt>
                <c:pt idx="8242">
                  <c:v>-3.0188199999999998</c:v>
                </c:pt>
                <c:pt idx="8243">
                  <c:v>-3.2435200000000002</c:v>
                </c:pt>
                <c:pt idx="8244">
                  <c:v>#N/A</c:v>
                </c:pt>
                <c:pt idx="8245">
                  <c:v>-2.2180499999999999</c:v>
                </c:pt>
                <c:pt idx="8246">
                  <c:v>-2.2413799999999999</c:v>
                </c:pt>
                <c:pt idx="8247">
                  <c:v>-1.5039400000000001</c:v>
                </c:pt>
                <c:pt idx="8248">
                  <c:v>#N/A</c:v>
                </c:pt>
                <c:pt idx="8249">
                  <c:v>-1.82917</c:v>
                </c:pt>
                <c:pt idx="8250">
                  <c:v>-2.1759599999999999</c:v>
                </c:pt>
                <c:pt idx="8251">
                  <c:v>-3.1052599999999999</c:v>
                </c:pt>
                <c:pt idx="8252">
                  <c:v>#N/A</c:v>
                </c:pt>
                <c:pt idx="8253">
                  <c:v>-3.0861299999999998</c:v>
                </c:pt>
                <c:pt idx="8254">
                  <c:v>-2.2840400000000001</c:v>
                </c:pt>
                <c:pt idx="8255">
                  <c:v>#N/A</c:v>
                </c:pt>
                <c:pt idx="8256">
                  <c:v>-2.0446399999999998</c:v>
                </c:pt>
                <c:pt idx="8257">
                  <c:v>-1.7206699999999999</c:v>
                </c:pt>
                <c:pt idx="8258">
                  <c:v>-1.42249</c:v>
                </c:pt>
                <c:pt idx="8259">
                  <c:v>#N/A</c:v>
                </c:pt>
                <c:pt idx="8260">
                  <c:v>-2.1568499999999999</c:v>
                </c:pt>
                <c:pt idx="8261">
                  <c:v>#N/A</c:v>
                </c:pt>
                <c:pt idx="8262">
                  <c:v>-2.8019699999999998</c:v>
                </c:pt>
                <c:pt idx="8263">
                  <c:v>-3.1049699999999998</c:v>
                </c:pt>
                <c:pt idx="8264">
                  <c:v>-3.3086099999999998</c:v>
                </c:pt>
                <c:pt idx="8265">
                  <c:v>#N/A</c:v>
                </c:pt>
                <c:pt idx="8266">
                  <c:v>-2.5750799999999998</c:v>
                </c:pt>
                <c:pt idx="8267">
                  <c:v>-2.2920199999999999</c:v>
                </c:pt>
                <c:pt idx="8268">
                  <c:v>-2.5557799999999999</c:v>
                </c:pt>
                <c:pt idx="8269">
                  <c:v>#N/A</c:v>
                </c:pt>
                <c:pt idx="8270">
                  <c:v>-2.5829800000000001</c:v>
                </c:pt>
                <c:pt idx="8271">
                  <c:v>-2.1186500000000001</c:v>
                </c:pt>
                <c:pt idx="8272">
                  <c:v>#N/A</c:v>
                </c:pt>
                <c:pt idx="8273">
                  <c:v>-3.1769799999999999</c:v>
                </c:pt>
                <c:pt idx="8274">
                  <c:v>-3.0464899999999999</c:v>
                </c:pt>
                <c:pt idx="8275">
                  <c:v>-3.3010299999999999</c:v>
                </c:pt>
                <c:pt idx="8276">
                  <c:v>#N/A</c:v>
                </c:pt>
                <c:pt idx="8277">
                  <c:v>-2.0922900000000002</c:v>
                </c:pt>
                <c:pt idx="8278">
                  <c:v>-2.1512099999999998</c:v>
                </c:pt>
                <c:pt idx="8279">
                  <c:v>#N/A</c:v>
                </c:pt>
                <c:pt idx="8280">
                  <c:v>-1.49983</c:v>
                </c:pt>
                <c:pt idx="8281">
                  <c:v>-1.55315</c:v>
                </c:pt>
                <c:pt idx="8282">
                  <c:v>-2.51037</c:v>
                </c:pt>
                <c:pt idx="8283">
                  <c:v>#N/A</c:v>
                </c:pt>
                <c:pt idx="8284">
                  <c:v>-2.91676</c:v>
                </c:pt>
                <c:pt idx="8285">
                  <c:v>-3.0268799999999998</c:v>
                </c:pt>
                <c:pt idx="8286">
                  <c:v>-2.6620599999999999</c:v>
                </c:pt>
                <c:pt idx="8287">
                  <c:v>#N/A</c:v>
                </c:pt>
                <c:pt idx="8288">
                  <c:v>-2.6348099999999999</c:v>
                </c:pt>
                <c:pt idx="8289">
                  <c:v>-1.8823799999999999</c:v>
                </c:pt>
                <c:pt idx="8290">
                  <c:v>-1.5023299999999999</c:v>
                </c:pt>
                <c:pt idx="8291">
                  <c:v>#N/A</c:v>
                </c:pt>
                <c:pt idx="8292">
                  <c:v>-1.0997600000000001</c:v>
                </c:pt>
                <c:pt idx="8293">
                  <c:v>-1.5962499999999999</c:v>
                </c:pt>
                <c:pt idx="8294">
                  <c:v>#N/A</c:v>
                </c:pt>
                <c:pt idx="8295">
                  <c:v>-2.7582599999999999</c:v>
                </c:pt>
                <c:pt idx="8296">
                  <c:v>-3.09944</c:v>
                </c:pt>
                <c:pt idx="8297">
                  <c:v>-2.8448699999999998</c:v>
                </c:pt>
                <c:pt idx="8298">
                  <c:v>#N/A</c:v>
                </c:pt>
                <c:pt idx="8299">
                  <c:v>-2.6079500000000002</c:v>
                </c:pt>
                <c:pt idx="8300">
                  <c:v>-2.7047400000000001</c:v>
                </c:pt>
                <c:pt idx="8301">
                  <c:v>-2.71143</c:v>
                </c:pt>
                <c:pt idx="8302">
                  <c:v>#N/A</c:v>
                </c:pt>
                <c:pt idx="8303">
                  <c:v>-2.6562399999999999</c:v>
                </c:pt>
                <c:pt idx="8304">
                  <c:v>-2.36015</c:v>
                </c:pt>
                <c:pt idx="8305">
                  <c:v>-2.4646599999999999</c:v>
                </c:pt>
                <c:pt idx="8306">
                  <c:v>#N/A</c:v>
                </c:pt>
                <c:pt idx="8307">
                  <c:v>-2.7132900000000002</c:v>
                </c:pt>
                <c:pt idx="8308">
                  <c:v>-2.3384999999999998</c:v>
                </c:pt>
                <c:pt idx="8309">
                  <c:v>-2.0070100000000002</c:v>
                </c:pt>
                <c:pt idx="8310">
                  <c:v>#N/A</c:v>
                </c:pt>
                <c:pt idx="8311">
                  <c:v>-2.20926</c:v>
                </c:pt>
                <c:pt idx="8312">
                  <c:v>-3.6017399999999999</c:v>
                </c:pt>
                <c:pt idx="8313">
                  <c:v>#N/A</c:v>
                </c:pt>
                <c:pt idx="8314">
                  <c:v>-2.9317500000000001</c:v>
                </c:pt>
                <c:pt idx="8315">
                  <c:v>-3.1656</c:v>
                </c:pt>
                <c:pt idx="8316">
                  <c:v>-2.9710299999999998</c:v>
                </c:pt>
                <c:pt idx="8317">
                  <c:v>#N/A</c:v>
                </c:pt>
                <c:pt idx="8318">
                  <c:v>-2.1222099999999999</c:v>
                </c:pt>
                <c:pt idx="8319">
                  <c:v>-2.0697700000000001</c:v>
                </c:pt>
                <c:pt idx="8320">
                  <c:v>-1.8752899999999999</c:v>
                </c:pt>
                <c:pt idx="8321">
                  <c:v>#N/A</c:v>
                </c:pt>
                <c:pt idx="8322">
                  <c:v>-2.04155</c:v>
                </c:pt>
                <c:pt idx="8323">
                  <c:v>-2.6276299999999999</c:v>
                </c:pt>
                <c:pt idx="8324">
                  <c:v>-2.9788600000000001</c:v>
                </c:pt>
                <c:pt idx="8325">
                  <c:v>#N/A</c:v>
                </c:pt>
                <c:pt idx="8326">
                  <c:v>-3.2298200000000001</c:v>
                </c:pt>
                <c:pt idx="8327">
                  <c:v>-3.0735600000000001</c:v>
                </c:pt>
                <c:pt idx="8328">
                  <c:v>-2.4367999999999999</c:v>
                </c:pt>
                <c:pt idx="8329">
                  <c:v>#N/A</c:v>
                </c:pt>
                <c:pt idx="8330">
                  <c:v>-2.1479300000000001</c:v>
                </c:pt>
                <c:pt idx="8331">
                  <c:v>-2.45614</c:v>
                </c:pt>
                <c:pt idx="8332">
                  <c:v>#N/A</c:v>
                </c:pt>
                <c:pt idx="8333">
                  <c:v>-1.74533</c:v>
                </c:pt>
                <c:pt idx="8334">
                  <c:v>-2.9774400000000001</c:v>
                </c:pt>
                <c:pt idx="8335">
                  <c:v>#N/A</c:v>
                </c:pt>
                <c:pt idx="8336">
                  <c:v>-3.3716499999999998</c:v>
                </c:pt>
                <c:pt idx="8337">
                  <c:v>-3.2835200000000002</c:v>
                </c:pt>
                <c:pt idx="8338">
                  <c:v>#N/A</c:v>
                </c:pt>
                <c:pt idx="8339">
                  <c:v>-2.6335899999999999</c:v>
                </c:pt>
                <c:pt idx="8340">
                  <c:v>-2.2268500000000002</c:v>
                </c:pt>
                <c:pt idx="8341">
                  <c:v>#N/A</c:v>
                </c:pt>
                <c:pt idx="8342">
                  <c:v>-1.74366</c:v>
                </c:pt>
                <c:pt idx="8343">
                  <c:v>-1.66858</c:v>
                </c:pt>
                <c:pt idx="8344">
                  <c:v>-2.4099300000000001</c:v>
                </c:pt>
                <c:pt idx="8345">
                  <c:v>#N/A</c:v>
                </c:pt>
                <c:pt idx="8346">
                  <c:v>-3.0689899999999999</c:v>
                </c:pt>
                <c:pt idx="8347">
                  <c:v>-2.67577</c:v>
                </c:pt>
                <c:pt idx="8348">
                  <c:v>#N/A</c:v>
                </c:pt>
                <c:pt idx="8349">
                  <c:v>-3.8759800000000002</c:v>
                </c:pt>
                <c:pt idx="8350">
                  <c:v>-2.55721</c:v>
                </c:pt>
                <c:pt idx="8351">
                  <c:v>-1.98343</c:v>
                </c:pt>
                <c:pt idx="8352">
                  <c:v>#N/A</c:v>
                </c:pt>
                <c:pt idx="8353">
                  <c:v>-1.8878999999999999</c:v>
                </c:pt>
                <c:pt idx="8354">
                  <c:v>-1.2746200000000001</c:v>
                </c:pt>
                <c:pt idx="8355">
                  <c:v>-2.0539499999999999</c:v>
                </c:pt>
                <c:pt idx="8356">
                  <c:v>#N/A</c:v>
                </c:pt>
                <c:pt idx="8357">
                  <c:v>-2.3231299999999999</c:v>
                </c:pt>
                <c:pt idx="8358">
                  <c:v>-2.8709600000000002</c:v>
                </c:pt>
                <c:pt idx="8359">
                  <c:v>-2.8476900000000001</c:v>
                </c:pt>
                <c:pt idx="8360">
                  <c:v>#N/A</c:v>
                </c:pt>
                <c:pt idx="8361">
                  <c:v>-2.47837</c:v>
                </c:pt>
                <c:pt idx="8362">
                  <c:v>-1.71811</c:v>
                </c:pt>
                <c:pt idx="8363">
                  <c:v>#N/A</c:v>
                </c:pt>
                <c:pt idx="8364">
                  <c:v>-1.90326</c:v>
                </c:pt>
                <c:pt idx="8365">
                  <c:v>-2.1373700000000002</c:v>
                </c:pt>
                <c:pt idx="8366">
                  <c:v>-2.51294</c:v>
                </c:pt>
                <c:pt idx="8367">
                  <c:v>#N/A</c:v>
                </c:pt>
                <c:pt idx="8368">
                  <c:v>-2.8069999999999999</c:v>
                </c:pt>
                <c:pt idx="8369">
                  <c:v>-2.8875600000000001</c:v>
                </c:pt>
                <c:pt idx="8370">
                  <c:v>-2.8550200000000001</c:v>
                </c:pt>
                <c:pt idx="8371">
                  <c:v>#N/A</c:v>
                </c:pt>
                <c:pt idx="8372">
                  <c:v>-2.5911900000000001</c:v>
                </c:pt>
                <c:pt idx="8373">
                  <c:v>-2.3189299999999999</c:v>
                </c:pt>
                <c:pt idx="8374">
                  <c:v>-2.45418</c:v>
                </c:pt>
                <c:pt idx="8375">
                  <c:v>#N/A</c:v>
                </c:pt>
                <c:pt idx="8376">
                  <c:v>-1.94184</c:v>
                </c:pt>
                <c:pt idx="8377">
                  <c:v>-2.23265</c:v>
                </c:pt>
                <c:pt idx="8378">
                  <c:v>-2.2473999999999998</c:v>
                </c:pt>
                <c:pt idx="8379">
                  <c:v>#N/A</c:v>
                </c:pt>
                <c:pt idx="8380">
                  <c:v>-2.52372</c:v>
                </c:pt>
                <c:pt idx="8381">
                  <c:v>-2.26153</c:v>
                </c:pt>
                <c:pt idx="8382">
                  <c:v>-2.0618300000000001</c:v>
                </c:pt>
                <c:pt idx="8383">
                  <c:v>#N/A</c:v>
                </c:pt>
                <c:pt idx="8384">
                  <c:v>-1.8658300000000001</c:v>
                </c:pt>
                <c:pt idx="8385">
                  <c:v>-2.6762000000000001</c:v>
                </c:pt>
                <c:pt idx="8386">
                  <c:v>#N/A</c:v>
                </c:pt>
                <c:pt idx="8387">
                  <c:v>-2.4588999999999999</c:v>
                </c:pt>
                <c:pt idx="8388">
                  <c:v>-2.7607200000000001</c:v>
                </c:pt>
                <c:pt idx="8389">
                  <c:v>-2.8946399999999999</c:v>
                </c:pt>
                <c:pt idx="8390">
                  <c:v>#N/A</c:v>
                </c:pt>
                <c:pt idx="8391">
                  <c:v>-3.0076000000000001</c:v>
                </c:pt>
                <c:pt idx="8392">
                  <c:v>-3.0690499999999998</c:v>
                </c:pt>
                <c:pt idx="8393">
                  <c:v>-2.1415999999999999</c:v>
                </c:pt>
                <c:pt idx="8394">
                  <c:v>#N/A</c:v>
                </c:pt>
                <c:pt idx="8395">
                  <c:v>-2.3681700000000001</c:v>
                </c:pt>
                <c:pt idx="8396">
                  <c:v>-2.47621</c:v>
                </c:pt>
                <c:pt idx="8397">
                  <c:v>-2.9078900000000001</c:v>
                </c:pt>
                <c:pt idx="8398">
                  <c:v>#N/A</c:v>
                </c:pt>
                <c:pt idx="8399">
                  <c:v>-3.1047899999999999</c:v>
                </c:pt>
                <c:pt idx="8400">
                  <c:v>-3.6356899999999999</c:v>
                </c:pt>
                <c:pt idx="8401">
                  <c:v>-2.30382</c:v>
                </c:pt>
                <c:pt idx="8402">
                  <c:v>#N/A</c:v>
                </c:pt>
                <c:pt idx="8403">
                  <c:v>-1.9675499999999999</c:v>
                </c:pt>
                <c:pt idx="8404">
                  <c:v>-1.3687100000000001</c:v>
                </c:pt>
                <c:pt idx="8405">
                  <c:v>-1.7117800000000001</c:v>
                </c:pt>
                <c:pt idx="8406">
                  <c:v>#N/A</c:v>
                </c:pt>
                <c:pt idx="8407">
                  <c:v>-2.26674</c:v>
                </c:pt>
                <c:pt idx="8408">
                  <c:v>-2.5443500000000001</c:v>
                </c:pt>
                <c:pt idx="8409">
                  <c:v>-3.4956100000000001</c:v>
                </c:pt>
                <c:pt idx="8410">
                  <c:v>#N/A</c:v>
                </c:pt>
                <c:pt idx="8411">
                  <c:v>-3.1474799999999998</c:v>
                </c:pt>
                <c:pt idx="8412">
                  <c:v>#N/A</c:v>
                </c:pt>
                <c:pt idx="8413">
                  <c:v>-2.2361300000000002</c:v>
                </c:pt>
                <c:pt idx="8414">
                  <c:v>-1.7278500000000001</c:v>
                </c:pt>
                <c:pt idx="8415">
                  <c:v>-1.2231099999999999</c:v>
                </c:pt>
                <c:pt idx="8416">
                  <c:v>#N/A</c:v>
                </c:pt>
                <c:pt idx="8417">
                  <c:v>-2.42774</c:v>
                </c:pt>
                <c:pt idx="8418">
                  <c:v>-1.96774</c:v>
                </c:pt>
                <c:pt idx="8419">
                  <c:v>-2.83555</c:v>
                </c:pt>
                <c:pt idx="8420">
                  <c:v>#N/A</c:v>
                </c:pt>
                <c:pt idx="8421">
                  <c:v>-3.1023100000000001</c:v>
                </c:pt>
                <c:pt idx="8422">
                  <c:v>-3.14263</c:v>
                </c:pt>
                <c:pt idx="8423">
                  <c:v>-2.76579</c:v>
                </c:pt>
                <c:pt idx="8424">
                  <c:v>#N/A</c:v>
                </c:pt>
                <c:pt idx="8425">
                  <c:v>-1.7351700000000001</c:v>
                </c:pt>
                <c:pt idx="8426">
                  <c:v>-1.8409599999999999</c:v>
                </c:pt>
                <c:pt idx="8427">
                  <c:v>-1.7902199999999999</c:v>
                </c:pt>
                <c:pt idx="8428">
                  <c:v>#N/A</c:v>
                </c:pt>
                <c:pt idx="8429">
                  <c:v>-2.8477199999999998</c:v>
                </c:pt>
                <c:pt idx="8430">
                  <c:v>-2.99871</c:v>
                </c:pt>
                <c:pt idx="8431">
                  <c:v>#N/A</c:v>
                </c:pt>
                <c:pt idx="8432">
                  <c:v>-3.0573700000000001</c:v>
                </c:pt>
                <c:pt idx="8433">
                  <c:v>-2.8644500000000002</c:v>
                </c:pt>
                <c:pt idx="8434">
                  <c:v>-2.6758600000000001</c:v>
                </c:pt>
                <c:pt idx="8435">
                  <c:v>#N/A</c:v>
                </c:pt>
                <c:pt idx="8436">
                  <c:v>-2.4043399999999999</c:v>
                </c:pt>
                <c:pt idx="8437">
                  <c:v>-1.9359</c:v>
                </c:pt>
                <c:pt idx="8438">
                  <c:v>-1.85788</c:v>
                </c:pt>
                <c:pt idx="8439">
                  <c:v>#N/A</c:v>
                </c:pt>
                <c:pt idx="8440">
                  <c:v>-1.8563799999999999</c:v>
                </c:pt>
                <c:pt idx="8441">
                  <c:v>-2.6947299999999998</c:v>
                </c:pt>
                <c:pt idx="8442">
                  <c:v>-3.0504500000000001</c:v>
                </c:pt>
                <c:pt idx="8443">
                  <c:v>#N/A</c:v>
                </c:pt>
                <c:pt idx="8444">
                  <c:v>-2.4861</c:v>
                </c:pt>
                <c:pt idx="8445">
                  <c:v>-1.94476</c:v>
                </c:pt>
                <c:pt idx="8446">
                  <c:v>-2.5359699999999998</c:v>
                </c:pt>
                <c:pt idx="8447">
                  <c:v>#N/A</c:v>
                </c:pt>
                <c:pt idx="8448">
                  <c:v>-1.7110000000000001</c:v>
                </c:pt>
                <c:pt idx="8449">
                  <c:v>-2.0930399999999998</c:v>
                </c:pt>
                <c:pt idx="8450">
                  <c:v>-2.44936</c:v>
                </c:pt>
                <c:pt idx="8451">
                  <c:v>#N/A</c:v>
                </c:pt>
                <c:pt idx="8452">
                  <c:v>-2.9448599999999998</c:v>
                </c:pt>
                <c:pt idx="8453">
                  <c:v>-3.1306500000000002</c:v>
                </c:pt>
                <c:pt idx="8454">
                  <c:v>-2.3276400000000002</c:v>
                </c:pt>
                <c:pt idx="8455">
                  <c:v>#N/A</c:v>
                </c:pt>
                <c:pt idx="8456">
                  <c:v>-2.3897300000000001</c:v>
                </c:pt>
                <c:pt idx="8457">
                  <c:v>-1.5602400000000001</c:v>
                </c:pt>
                <c:pt idx="8458">
                  <c:v>-1.8678600000000001</c:v>
                </c:pt>
                <c:pt idx="8459">
                  <c:v>#N/A</c:v>
                </c:pt>
                <c:pt idx="8460">
                  <c:v>-2.0891799999999998</c:v>
                </c:pt>
                <c:pt idx="8461">
                  <c:v>-2.2570600000000001</c:v>
                </c:pt>
                <c:pt idx="8462">
                  <c:v>#N/A</c:v>
                </c:pt>
                <c:pt idx="8463">
                  <c:v>-2.7282299999999999</c:v>
                </c:pt>
                <c:pt idx="8464">
                  <c:v>-2.49444</c:v>
                </c:pt>
                <c:pt idx="8465">
                  <c:v>-2.37934</c:v>
                </c:pt>
                <c:pt idx="8466">
                  <c:v>#N/A</c:v>
                </c:pt>
                <c:pt idx="8467">
                  <c:v>-1.95722</c:v>
                </c:pt>
                <c:pt idx="8468">
                  <c:v>-1.8895999999999999</c:v>
                </c:pt>
                <c:pt idx="8469">
                  <c:v>-2.3447399999999998</c:v>
                </c:pt>
                <c:pt idx="8470">
                  <c:v>#N/A</c:v>
                </c:pt>
                <c:pt idx="8471">
                  <c:v>-2.30247</c:v>
                </c:pt>
                <c:pt idx="8472">
                  <c:v>-2.7930100000000002</c:v>
                </c:pt>
                <c:pt idx="8473">
                  <c:v>-2.3982299999999999</c:v>
                </c:pt>
                <c:pt idx="8474">
                  <c:v>#N/A</c:v>
                </c:pt>
                <c:pt idx="8475">
                  <c:v>-2.0358100000000001</c:v>
                </c:pt>
                <c:pt idx="8476">
                  <c:v>-1.4328399999999999</c:v>
                </c:pt>
                <c:pt idx="8477">
                  <c:v>-0.98709100000000005</c:v>
                </c:pt>
                <c:pt idx="8478">
                  <c:v>#N/A</c:v>
                </c:pt>
                <c:pt idx="8479">
                  <c:v>-1.48315</c:v>
                </c:pt>
                <c:pt idx="8480">
                  <c:v>-1.5074000000000001</c:v>
                </c:pt>
                <c:pt idx="8481">
                  <c:v>#N/A</c:v>
                </c:pt>
                <c:pt idx="8482">
                  <c:v>-2.7659400000000001</c:v>
                </c:pt>
                <c:pt idx="8483">
                  <c:v>-2.8575599999999999</c:v>
                </c:pt>
                <c:pt idx="8484">
                  <c:v>-2.9495200000000001</c:v>
                </c:pt>
                <c:pt idx="8485">
                  <c:v>#N/A</c:v>
                </c:pt>
                <c:pt idx="8486">
                  <c:v>-2.4140600000000001</c:v>
                </c:pt>
                <c:pt idx="8487">
                  <c:v>#N/A</c:v>
                </c:pt>
                <c:pt idx="8488">
                  <c:v>-1.1799500000000001</c:v>
                </c:pt>
                <c:pt idx="8489">
                  <c:v>-1.3404700000000001</c:v>
                </c:pt>
                <c:pt idx="8490">
                  <c:v>#N/A</c:v>
                </c:pt>
                <c:pt idx="8491">
                  <c:v>-2.08277</c:v>
                </c:pt>
                <c:pt idx="8492">
                  <c:v>-2.7673299999999998</c:v>
                </c:pt>
                <c:pt idx="8493">
                  <c:v>#N/A</c:v>
                </c:pt>
                <c:pt idx="8494">
                  <c:v>-2.7747700000000002</c:v>
                </c:pt>
                <c:pt idx="8495">
                  <c:v>-3.5136799999999999</c:v>
                </c:pt>
                <c:pt idx="8496">
                  <c:v>-2.39398</c:v>
                </c:pt>
                <c:pt idx="8497">
                  <c:v>#N/A</c:v>
                </c:pt>
                <c:pt idx="8498">
                  <c:v>-1.24152</c:v>
                </c:pt>
                <c:pt idx="8499">
                  <c:v>-1.2512399999999999</c:v>
                </c:pt>
                <c:pt idx="8500">
                  <c:v>#N/A</c:v>
                </c:pt>
                <c:pt idx="8501">
                  <c:v>-1.3235600000000001</c:v>
                </c:pt>
                <c:pt idx="8502">
                  <c:v>-1.84598</c:v>
                </c:pt>
                <c:pt idx="8503">
                  <c:v>-2.2187100000000002</c:v>
                </c:pt>
                <c:pt idx="8504">
                  <c:v>#N/A</c:v>
                </c:pt>
                <c:pt idx="8505">
                  <c:v>-2.9855299999999998</c:v>
                </c:pt>
                <c:pt idx="8506">
                  <c:v>-2.8260800000000001</c:v>
                </c:pt>
                <c:pt idx="8507">
                  <c:v>-2.4196300000000002</c:v>
                </c:pt>
                <c:pt idx="8508">
                  <c:v>#N/A</c:v>
                </c:pt>
                <c:pt idx="8509">
                  <c:v>-1.65635</c:v>
                </c:pt>
                <c:pt idx="8510">
                  <c:v>-1.3634500000000001</c:v>
                </c:pt>
                <c:pt idx="8511">
                  <c:v>-1.09243</c:v>
                </c:pt>
                <c:pt idx="8512">
                  <c:v>#N/A</c:v>
                </c:pt>
                <c:pt idx="8513">
                  <c:v>-2.43499</c:v>
                </c:pt>
                <c:pt idx="8514">
                  <c:v>-3.03694</c:v>
                </c:pt>
                <c:pt idx="8515">
                  <c:v>-2.6654200000000001</c:v>
                </c:pt>
                <c:pt idx="8516">
                  <c:v>#N/A</c:v>
                </c:pt>
                <c:pt idx="8517">
                  <c:v>-3.0449999999999999</c:v>
                </c:pt>
                <c:pt idx="8518">
                  <c:v>-2.4394999999999998</c:v>
                </c:pt>
                <c:pt idx="8519">
                  <c:v>-2.3855900000000001</c:v>
                </c:pt>
                <c:pt idx="8520">
                  <c:v>#N/A</c:v>
                </c:pt>
                <c:pt idx="8521">
                  <c:v>-2.1691500000000001</c:v>
                </c:pt>
                <c:pt idx="8522">
                  <c:v>-2.1005199999999999</c:v>
                </c:pt>
                <c:pt idx="8523">
                  <c:v>-2.4762599999999999</c:v>
                </c:pt>
                <c:pt idx="8524">
                  <c:v>#N/A</c:v>
                </c:pt>
                <c:pt idx="8525">
                  <c:v>-2.2187700000000001</c:v>
                </c:pt>
                <c:pt idx="8526">
                  <c:v>-2.3858100000000002</c:v>
                </c:pt>
                <c:pt idx="8527">
                  <c:v>-2.4118499999999998</c:v>
                </c:pt>
                <c:pt idx="8528">
                  <c:v>#N/A</c:v>
                </c:pt>
                <c:pt idx="8529">
                  <c:v>-2.0128900000000001</c:v>
                </c:pt>
                <c:pt idx="8530">
                  <c:v>-1.70167</c:v>
                </c:pt>
                <c:pt idx="8531">
                  <c:v>-1.92039</c:v>
                </c:pt>
                <c:pt idx="8532">
                  <c:v>#N/A</c:v>
                </c:pt>
                <c:pt idx="8533">
                  <c:v>-1.35758</c:v>
                </c:pt>
                <c:pt idx="8534">
                  <c:v>-2.1741199999999998</c:v>
                </c:pt>
                <c:pt idx="8535">
                  <c:v>-1.98366</c:v>
                </c:pt>
                <c:pt idx="8536">
                  <c:v>#N/A</c:v>
                </c:pt>
                <c:pt idx="8537">
                  <c:v>-1.48638</c:v>
                </c:pt>
                <c:pt idx="8538">
                  <c:v>-1.4669700000000001</c:v>
                </c:pt>
                <c:pt idx="8539">
                  <c:v>-1.6713800000000001</c:v>
                </c:pt>
                <c:pt idx="8540">
                  <c:v>#N/A</c:v>
                </c:pt>
                <c:pt idx="8541">
                  <c:v>-1.33125</c:v>
                </c:pt>
                <c:pt idx="8542">
                  <c:v>-2.0595400000000001</c:v>
                </c:pt>
                <c:pt idx="8543">
                  <c:v>#N/A</c:v>
                </c:pt>
                <c:pt idx="8544">
                  <c:v>-1.7422200000000001</c:v>
                </c:pt>
                <c:pt idx="8545">
                  <c:v>-2.3109999999999999</c:v>
                </c:pt>
                <c:pt idx="8546">
                  <c:v>-2.4654500000000001</c:v>
                </c:pt>
                <c:pt idx="8547">
                  <c:v>#N/A</c:v>
                </c:pt>
                <c:pt idx="8548">
                  <c:v>-2.8548</c:v>
                </c:pt>
                <c:pt idx="8549">
                  <c:v>-1.87785</c:v>
                </c:pt>
                <c:pt idx="8550">
                  <c:v>-1.6002799999999999</c:v>
                </c:pt>
                <c:pt idx="8551">
                  <c:v>#N/A</c:v>
                </c:pt>
                <c:pt idx="8552">
                  <c:v>-1.7909900000000001</c:v>
                </c:pt>
                <c:pt idx="8553">
                  <c:v>-2.2432699999999999</c:v>
                </c:pt>
                <c:pt idx="8554">
                  <c:v>-2.0342099999999999</c:v>
                </c:pt>
                <c:pt idx="8555">
                  <c:v>#N/A</c:v>
                </c:pt>
                <c:pt idx="8556">
                  <c:v>-3.1709900000000002</c:v>
                </c:pt>
                <c:pt idx="8557">
                  <c:v>-2.9443199999999998</c:v>
                </c:pt>
                <c:pt idx="8558">
                  <c:v>-2.2715100000000001</c:v>
                </c:pt>
                <c:pt idx="8559">
                  <c:v>#N/A</c:v>
                </c:pt>
                <c:pt idx="8560">
                  <c:v>-1.99699</c:v>
                </c:pt>
                <c:pt idx="8561">
                  <c:v>-1.11208</c:v>
                </c:pt>
                <c:pt idx="8562">
                  <c:v>-0.84394400000000003</c:v>
                </c:pt>
                <c:pt idx="8563">
                  <c:v>#N/A</c:v>
                </c:pt>
                <c:pt idx="8564">
                  <c:v>-1.19346</c:v>
                </c:pt>
                <c:pt idx="8565">
                  <c:v>-2.3700600000000001</c:v>
                </c:pt>
                <c:pt idx="8566">
                  <c:v>#N/A</c:v>
                </c:pt>
                <c:pt idx="8567">
                  <c:v>-2.7937400000000001</c:v>
                </c:pt>
                <c:pt idx="8568">
                  <c:v>-2.59171</c:v>
                </c:pt>
                <c:pt idx="8569">
                  <c:v>-1.9406600000000001</c:v>
                </c:pt>
                <c:pt idx="8570">
                  <c:v>#N/A</c:v>
                </c:pt>
                <c:pt idx="8571">
                  <c:v>-1.94218</c:v>
                </c:pt>
                <c:pt idx="8572">
                  <c:v>-0.940141</c:v>
                </c:pt>
                <c:pt idx="8573">
                  <c:v>-1.43946</c:v>
                </c:pt>
                <c:pt idx="8574">
                  <c:v>#N/A</c:v>
                </c:pt>
                <c:pt idx="8575">
                  <c:v>-2.1575799999999998</c:v>
                </c:pt>
                <c:pt idx="8576">
                  <c:v>-2.6080899999999998</c:v>
                </c:pt>
                <c:pt idx="8577">
                  <c:v>-3.0520399999999999</c:v>
                </c:pt>
                <c:pt idx="8578">
                  <c:v>#N/A</c:v>
                </c:pt>
                <c:pt idx="8579">
                  <c:v>-2.7757200000000002</c:v>
                </c:pt>
                <c:pt idx="8580">
                  <c:v>-2.5112299999999999</c:v>
                </c:pt>
                <c:pt idx="8581">
                  <c:v>-2.0606200000000001</c:v>
                </c:pt>
                <c:pt idx="8582">
                  <c:v>#N/A</c:v>
                </c:pt>
                <c:pt idx="8583">
                  <c:v>-0.947434</c:v>
                </c:pt>
                <c:pt idx="8584">
                  <c:v>-1.36788</c:v>
                </c:pt>
                <c:pt idx="8585">
                  <c:v>-1.17519</c:v>
                </c:pt>
                <c:pt idx="8586">
                  <c:v>#N/A</c:v>
                </c:pt>
                <c:pt idx="8587">
                  <c:v>-2.4847000000000001</c:v>
                </c:pt>
                <c:pt idx="8588">
                  <c:v>-3.0159799999999999</c:v>
                </c:pt>
                <c:pt idx="8589">
                  <c:v>-2.65381</c:v>
                </c:pt>
                <c:pt idx="8590">
                  <c:v>#N/A</c:v>
                </c:pt>
                <c:pt idx="8591">
                  <c:v>-2.0162399999999998</c:v>
                </c:pt>
                <c:pt idx="8592">
                  <c:v>-2.48915</c:v>
                </c:pt>
                <c:pt idx="8593">
                  <c:v>-1.1943299999999999</c:v>
                </c:pt>
                <c:pt idx="8594">
                  <c:v>#N/A</c:v>
                </c:pt>
                <c:pt idx="8595">
                  <c:v>-1.7864500000000001</c:v>
                </c:pt>
                <c:pt idx="8596">
                  <c:v>-1.70624</c:v>
                </c:pt>
                <c:pt idx="8597">
                  <c:v>#N/A</c:v>
                </c:pt>
                <c:pt idx="8598">
                  <c:v>-1.3906499999999999</c:v>
                </c:pt>
                <c:pt idx="8599">
                  <c:v>-2.65097</c:v>
                </c:pt>
                <c:pt idx="8600">
                  <c:v>-2.4006400000000001</c:v>
                </c:pt>
                <c:pt idx="8601">
                  <c:v>#N/A</c:v>
                </c:pt>
                <c:pt idx="8602">
                  <c:v>-1.5417400000000001</c:v>
                </c:pt>
                <c:pt idx="8603">
                  <c:v>-1.21919</c:v>
                </c:pt>
                <c:pt idx="8604">
                  <c:v>-1.4591700000000001</c:v>
                </c:pt>
                <c:pt idx="8605">
                  <c:v>#N/A</c:v>
                </c:pt>
                <c:pt idx="8606">
                  <c:v>-1.36121</c:v>
                </c:pt>
                <c:pt idx="8607">
                  <c:v>-2.1242000000000001</c:v>
                </c:pt>
                <c:pt idx="8608">
                  <c:v>#N/A</c:v>
                </c:pt>
                <c:pt idx="8609">
                  <c:v>-2.3143400000000001</c:v>
                </c:pt>
                <c:pt idx="8610">
                  <c:v>-1.7310099999999999</c:v>
                </c:pt>
                <c:pt idx="8611">
                  <c:v>-1.88161</c:v>
                </c:pt>
                <c:pt idx="8612">
                  <c:v>#N/A</c:v>
                </c:pt>
                <c:pt idx="8613">
                  <c:v>-1.72814</c:v>
                </c:pt>
                <c:pt idx="8614">
                  <c:v>-1.9807900000000001</c:v>
                </c:pt>
                <c:pt idx="8615">
                  <c:v>-2.50501</c:v>
                </c:pt>
                <c:pt idx="8616">
                  <c:v>#N/A</c:v>
                </c:pt>
                <c:pt idx="8617">
                  <c:v>-3.3052199999999998</c:v>
                </c:pt>
                <c:pt idx="8618">
                  <c:v>-2.7925</c:v>
                </c:pt>
                <c:pt idx="8619">
                  <c:v>-3.0241099999999999</c:v>
                </c:pt>
                <c:pt idx="8620">
                  <c:v>#N/A</c:v>
                </c:pt>
                <c:pt idx="8621">
                  <c:v>-2.6488100000000001</c:v>
                </c:pt>
                <c:pt idx="8622">
                  <c:v>-1.62981</c:v>
                </c:pt>
                <c:pt idx="8623">
                  <c:v>-1.5748200000000001</c:v>
                </c:pt>
                <c:pt idx="8624">
                  <c:v>#N/A</c:v>
                </c:pt>
                <c:pt idx="8625">
                  <c:v>-1.06853</c:v>
                </c:pt>
                <c:pt idx="8626">
                  <c:v>-1.64293</c:v>
                </c:pt>
                <c:pt idx="8627">
                  <c:v>#N/A</c:v>
                </c:pt>
                <c:pt idx="8628">
                  <c:v>-1.80175</c:v>
                </c:pt>
                <c:pt idx="8629">
                  <c:v>-2.7841499999999999</c:v>
                </c:pt>
                <c:pt idx="8630">
                  <c:v>-2.66953</c:v>
                </c:pt>
                <c:pt idx="8631">
                  <c:v>#N/A</c:v>
                </c:pt>
                <c:pt idx="8632">
                  <c:v>-2.0122599999999999</c:v>
                </c:pt>
                <c:pt idx="8633">
                  <c:v>-1.7317100000000001</c:v>
                </c:pt>
                <c:pt idx="8634">
                  <c:v>-1.0928</c:v>
                </c:pt>
                <c:pt idx="8635">
                  <c:v>#N/A</c:v>
                </c:pt>
                <c:pt idx="8636">
                  <c:v>-1.7596000000000001</c:v>
                </c:pt>
                <c:pt idx="8637">
                  <c:v>-2.02068</c:v>
                </c:pt>
                <c:pt idx="8638">
                  <c:v>-2.5088300000000001</c:v>
                </c:pt>
                <c:pt idx="8639">
                  <c:v>#N/A</c:v>
                </c:pt>
                <c:pt idx="8640">
                  <c:v>-2.1738</c:v>
                </c:pt>
                <c:pt idx="8641">
                  <c:v>-2.86802</c:v>
                </c:pt>
                <c:pt idx="8642">
                  <c:v>-2.2067600000000001</c:v>
                </c:pt>
                <c:pt idx="8643">
                  <c:v>#N/A</c:v>
                </c:pt>
                <c:pt idx="8644">
                  <c:v>-1.7486299999999999</c:v>
                </c:pt>
                <c:pt idx="8645">
                  <c:v>-1.2956700000000001</c:v>
                </c:pt>
                <c:pt idx="8646">
                  <c:v>-1.5653699999999999</c:v>
                </c:pt>
                <c:pt idx="8647">
                  <c:v>#N/A</c:v>
                </c:pt>
                <c:pt idx="8648">
                  <c:v>-1.6486499999999999</c:v>
                </c:pt>
                <c:pt idx="8649">
                  <c:v>-2.44048</c:v>
                </c:pt>
                <c:pt idx="8650">
                  <c:v>#N/A</c:v>
                </c:pt>
                <c:pt idx="8651">
                  <c:v>-2.78633</c:v>
                </c:pt>
                <c:pt idx="8652">
                  <c:v>-2.9940000000000002</c:v>
                </c:pt>
                <c:pt idx="8653">
                  <c:v>-2.5419800000000001</c:v>
                </c:pt>
                <c:pt idx="8654">
                  <c:v>#N/A</c:v>
                </c:pt>
                <c:pt idx="8655">
                  <c:v>-1.7812699999999999</c:v>
                </c:pt>
                <c:pt idx="8656">
                  <c:v>-1.54315</c:v>
                </c:pt>
                <c:pt idx="8657">
                  <c:v>-0.95814600000000005</c:v>
                </c:pt>
                <c:pt idx="8658">
                  <c:v>#N/A</c:v>
                </c:pt>
                <c:pt idx="8659">
                  <c:v>-1.1552</c:v>
                </c:pt>
                <c:pt idx="8660">
                  <c:v>-2.4332699999999998</c:v>
                </c:pt>
                <c:pt idx="8661">
                  <c:v>-2.5225499999999998</c:v>
                </c:pt>
                <c:pt idx="8662">
                  <c:v>#N/A</c:v>
                </c:pt>
                <c:pt idx="8663">
                  <c:v>-2.8299099999999999</c:v>
                </c:pt>
                <c:pt idx="8664">
                  <c:v>-2.0474000000000001</c:v>
                </c:pt>
                <c:pt idx="8665">
                  <c:v>-1.13476</c:v>
                </c:pt>
                <c:pt idx="8666">
                  <c:v>#N/A</c:v>
                </c:pt>
                <c:pt idx="8667">
                  <c:v>-1.1540999999999999</c:v>
                </c:pt>
                <c:pt idx="8668">
                  <c:v>-1.72878</c:v>
                </c:pt>
                <c:pt idx="8669">
                  <c:v>-2.0598999999999998</c:v>
                </c:pt>
                <c:pt idx="8670">
                  <c:v>#N/A</c:v>
                </c:pt>
                <c:pt idx="8671">
                  <c:v>-2.30498</c:v>
                </c:pt>
                <c:pt idx="8672">
                  <c:v>-2.1658400000000002</c:v>
                </c:pt>
                <c:pt idx="8673">
                  <c:v>#N/A</c:v>
                </c:pt>
                <c:pt idx="8674">
                  <c:v>-2.0212300000000001</c:v>
                </c:pt>
                <c:pt idx="8675">
                  <c:v>-1.92038</c:v>
                </c:pt>
                <c:pt idx="8676">
                  <c:v>-1.4177299999999999</c:v>
                </c:pt>
                <c:pt idx="8677">
                  <c:v>#N/A</c:v>
                </c:pt>
                <c:pt idx="8678">
                  <c:v>-2.06304</c:v>
                </c:pt>
                <c:pt idx="8679">
                  <c:v>-2.3097099999999999</c:v>
                </c:pt>
                <c:pt idx="8680">
                  <c:v>-2.3529399999999998</c:v>
                </c:pt>
                <c:pt idx="8681">
                  <c:v>#N/A</c:v>
                </c:pt>
                <c:pt idx="8682">
                  <c:v>-2.51363</c:v>
                </c:pt>
                <c:pt idx="8683">
                  <c:v>-2.1664699999999999</c:v>
                </c:pt>
                <c:pt idx="8684">
                  <c:v>-1.5943700000000001</c:v>
                </c:pt>
                <c:pt idx="8685">
                  <c:v>#N/A</c:v>
                </c:pt>
                <c:pt idx="8686">
                  <c:v>-2.0465900000000001</c:v>
                </c:pt>
                <c:pt idx="8687">
                  <c:v>-1.5713299999999999</c:v>
                </c:pt>
                <c:pt idx="8688">
                  <c:v>-1.6713100000000001</c:v>
                </c:pt>
                <c:pt idx="8689">
                  <c:v>#N/A</c:v>
                </c:pt>
                <c:pt idx="8690">
                  <c:v>-2.3851300000000002</c:v>
                </c:pt>
                <c:pt idx="8691">
                  <c:v>-2.1108099999999999</c:v>
                </c:pt>
                <c:pt idx="8692">
                  <c:v>-2.4792900000000002</c:v>
                </c:pt>
                <c:pt idx="8693">
                  <c:v>#N/A</c:v>
                </c:pt>
                <c:pt idx="8694">
                  <c:v>-2.0709499999999998</c:v>
                </c:pt>
                <c:pt idx="8695">
                  <c:v>-2.1865100000000002</c:v>
                </c:pt>
                <c:pt idx="8696">
                  <c:v>-1.9379299999999999</c:v>
                </c:pt>
                <c:pt idx="8697">
                  <c:v>#N/A</c:v>
                </c:pt>
                <c:pt idx="8698">
                  <c:v>-1.9344699999999999</c:v>
                </c:pt>
                <c:pt idx="8699">
                  <c:v>-2.17144</c:v>
                </c:pt>
                <c:pt idx="8700">
                  <c:v>-2.4141900000000001</c:v>
                </c:pt>
                <c:pt idx="8701">
                  <c:v>#N/A</c:v>
                </c:pt>
                <c:pt idx="8702">
                  <c:v>-2.2548900000000001</c:v>
                </c:pt>
                <c:pt idx="8703">
                  <c:v>-2.5276800000000001</c:v>
                </c:pt>
                <c:pt idx="8704">
                  <c:v>#N/A</c:v>
                </c:pt>
                <c:pt idx="8705">
                  <c:v>-2.1936</c:v>
                </c:pt>
                <c:pt idx="8706">
                  <c:v>-1.9332499999999999</c:v>
                </c:pt>
                <c:pt idx="8707">
                  <c:v>-1.04881</c:v>
                </c:pt>
                <c:pt idx="8708">
                  <c:v>#N/A</c:v>
                </c:pt>
                <c:pt idx="8709">
                  <c:v>-1.84948</c:v>
                </c:pt>
                <c:pt idx="8710">
                  <c:v>-2.3270900000000001</c:v>
                </c:pt>
                <c:pt idx="8711">
                  <c:v>#N/A</c:v>
                </c:pt>
                <c:pt idx="8712">
                  <c:v>#N/A</c:v>
                </c:pt>
                <c:pt idx="8713">
                  <c:v>-2.8131200000000001</c:v>
                </c:pt>
                <c:pt idx="8714">
                  <c:v>-2.8736000000000002</c:v>
                </c:pt>
                <c:pt idx="8715">
                  <c:v>-2.36557</c:v>
                </c:pt>
                <c:pt idx="8716">
                  <c:v>#N/A</c:v>
                </c:pt>
                <c:pt idx="8717">
                  <c:v>-1.9686600000000001</c:v>
                </c:pt>
                <c:pt idx="8718">
                  <c:v>-1.46837</c:v>
                </c:pt>
                <c:pt idx="8719">
                  <c:v>#N/A</c:v>
                </c:pt>
                <c:pt idx="8720">
                  <c:v>-0.92074500000000004</c:v>
                </c:pt>
                <c:pt idx="8721">
                  <c:v>-1.5824400000000001</c:v>
                </c:pt>
                <c:pt idx="8722">
                  <c:v>-2.4136099999999998</c:v>
                </c:pt>
                <c:pt idx="8723">
                  <c:v>#N/A</c:v>
                </c:pt>
                <c:pt idx="8724">
                  <c:v>-2.4243399999999999</c:v>
                </c:pt>
                <c:pt idx="8725">
                  <c:v>-3.0992500000000001</c:v>
                </c:pt>
                <c:pt idx="8726">
                  <c:v>-2.3534999999999999</c:v>
                </c:pt>
                <c:pt idx="8727">
                  <c:v>#N/A</c:v>
                </c:pt>
                <c:pt idx="8728">
                  <c:v>-1.57741</c:v>
                </c:pt>
                <c:pt idx="8729">
                  <c:v>-1.6701600000000001</c:v>
                </c:pt>
                <c:pt idx="8730">
                  <c:v>-1.41442</c:v>
                </c:pt>
                <c:pt idx="8731">
                  <c:v>#N/A</c:v>
                </c:pt>
                <c:pt idx="8732">
                  <c:v>-1.04637</c:v>
                </c:pt>
                <c:pt idx="8733">
                  <c:v>-1.79392</c:v>
                </c:pt>
                <c:pt idx="8734">
                  <c:v>-3.1776300000000002</c:v>
                </c:pt>
                <c:pt idx="8735">
                  <c:v>#N/A</c:v>
                </c:pt>
                <c:pt idx="8736">
                  <c:v>-2.77244</c:v>
                </c:pt>
                <c:pt idx="8737">
                  <c:v>-2.1424300000000001</c:v>
                </c:pt>
                <c:pt idx="8738">
                  <c:v>-1.83819</c:v>
                </c:pt>
                <c:pt idx="8739">
                  <c:v>#N/A</c:v>
                </c:pt>
                <c:pt idx="8740">
                  <c:v>-1.89899</c:v>
                </c:pt>
                <c:pt idx="8741">
                  <c:v>-1.95974</c:v>
                </c:pt>
                <c:pt idx="8742">
                  <c:v>#N/A</c:v>
                </c:pt>
                <c:pt idx="8743">
                  <c:v>-2.0561400000000001</c:v>
                </c:pt>
                <c:pt idx="8744">
                  <c:v>-2.2001300000000001</c:v>
                </c:pt>
                <c:pt idx="8745">
                  <c:v>-2.43737</c:v>
                </c:pt>
                <c:pt idx="8746">
                  <c:v>#N/A</c:v>
                </c:pt>
                <c:pt idx="8747">
                  <c:v>-2.7433900000000002</c:v>
                </c:pt>
                <c:pt idx="8748">
                  <c:v>-2.4468399999999999</c:v>
                </c:pt>
                <c:pt idx="8749">
                  <c:v>-2.16526</c:v>
                </c:pt>
                <c:pt idx="8750">
                  <c:v>#N/A</c:v>
                </c:pt>
                <c:pt idx="8751">
                  <c:v>-1.8306899999999999</c:v>
                </c:pt>
                <c:pt idx="8752">
                  <c:v>-1.9188499999999999</c:v>
                </c:pt>
                <c:pt idx="8753">
                  <c:v>-2.2052900000000002</c:v>
                </c:pt>
                <c:pt idx="8754">
                  <c:v>#N/A</c:v>
                </c:pt>
                <c:pt idx="8755">
                  <c:v>-2.19157</c:v>
                </c:pt>
                <c:pt idx="8756">
                  <c:v>-2.38043</c:v>
                </c:pt>
                <c:pt idx="8757">
                  <c:v>-2.4278900000000001</c:v>
                </c:pt>
                <c:pt idx="8758">
                  <c:v>#N/A</c:v>
                </c:pt>
                <c:pt idx="8759">
                  <c:v>-2.5834700000000002</c:v>
                </c:pt>
                <c:pt idx="8760">
                  <c:v>-1.6928399999999999</c:v>
                </c:pt>
                <c:pt idx="8761">
                  <c:v>-1.9413400000000001</c:v>
                </c:pt>
                <c:pt idx="8762">
                  <c:v>#N/A</c:v>
                </c:pt>
                <c:pt idx="8763">
                  <c:v>-1.46675</c:v>
                </c:pt>
                <c:pt idx="8764">
                  <c:v>-2.2544499999999998</c:v>
                </c:pt>
                <c:pt idx="8765">
                  <c:v>-2.5783700000000001</c:v>
                </c:pt>
                <c:pt idx="8766">
                  <c:v>#N/A</c:v>
                </c:pt>
                <c:pt idx="8767">
                  <c:v>-2.9243299999999999</c:v>
                </c:pt>
                <c:pt idx="8768">
                  <c:v>-1.62097</c:v>
                </c:pt>
                <c:pt idx="8769">
                  <c:v>-1.8180799999999999</c:v>
                </c:pt>
                <c:pt idx="8770">
                  <c:v>#N/A</c:v>
                </c:pt>
                <c:pt idx="8771">
                  <c:v>-1.35057</c:v>
                </c:pt>
                <c:pt idx="8772">
                  <c:v>-1.89009</c:v>
                </c:pt>
                <c:pt idx="8773">
                  <c:v>#N/A</c:v>
                </c:pt>
                <c:pt idx="8774">
                  <c:v>-2.0703999999999998</c:v>
                </c:pt>
                <c:pt idx="8775">
                  <c:v>-2.58108</c:v>
                </c:pt>
                <c:pt idx="8776">
                  <c:v>-2.6243400000000001</c:v>
                </c:pt>
                <c:pt idx="8777">
                  <c:v>#N/A</c:v>
                </c:pt>
                <c:pt idx="8778">
                  <c:v>-2.5434800000000002</c:v>
                </c:pt>
                <c:pt idx="8779">
                  <c:v>-1.9236899999999999</c:v>
                </c:pt>
                <c:pt idx="8780">
                  <c:v>-1.17805</c:v>
                </c:pt>
                <c:pt idx="8781">
                  <c:v>#N/A</c:v>
                </c:pt>
                <c:pt idx="8782">
                  <c:v>-1.2028099999999999</c:v>
                </c:pt>
                <c:pt idx="8783">
                  <c:v>-1.8214600000000001</c:v>
                </c:pt>
                <c:pt idx="8784">
                  <c:v>#N/A</c:v>
                </c:pt>
                <c:pt idx="8785">
                  <c:v>-2.13964</c:v>
                </c:pt>
                <c:pt idx="8786">
                  <c:v>-2.9434800000000001</c:v>
                </c:pt>
                <c:pt idx="8787">
                  <c:v>#N/A</c:v>
                </c:pt>
                <c:pt idx="8788">
                  <c:v>-2.4268700000000001</c:v>
                </c:pt>
                <c:pt idx="8789">
                  <c:v>#N/A</c:v>
                </c:pt>
                <c:pt idx="8790">
                  <c:v>-2.2193999999999998</c:v>
                </c:pt>
                <c:pt idx="8791">
                  <c:v>-1.1032500000000001</c:v>
                </c:pt>
                <c:pt idx="8792">
                  <c:v>-1.1090500000000001</c:v>
                </c:pt>
                <c:pt idx="8793">
                  <c:v>#N/A</c:v>
                </c:pt>
                <c:pt idx="8794">
                  <c:v>-0.86218499999999998</c:v>
                </c:pt>
                <c:pt idx="8795">
                  <c:v>-2.2824</c:v>
                </c:pt>
                <c:pt idx="8796">
                  <c:v>#N/A</c:v>
                </c:pt>
                <c:pt idx="8797">
                  <c:v>-2.5868099999999998</c:v>
                </c:pt>
                <c:pt idx="8798">
                  <c:v>-2.8694000000000002</c:v>
                </c:pt>
                <c:pt idx="8799">
                  <c:v>-2.54583</c:v>
                </c:pt>
                <c:pt idx="8800">
                  <c:v>#N/A</c:v>
                </c:pt>
                <c:pt idx="8801">
                  <c:v>-2.3986499999999999</c:v>
                </c:pt>
                <c:pt idx="8802">
                  <c:v>-1.9321299999999999</c:v>
                </c:pt>
                <c:pt idx="8803">
                  <c:v>-1.69882</c:v>
                </c:pt>
                <c:pt idx="8804">
                  <c:v>#N/A</c:v>
                </c:pt>
                <c:pt idx="8805">
                  <c:v>-1.4833499999999999</c:v>
                </c:pt>
                <c:pt idx="8806">
                  <c:v>-1.4991000000000001</c:v>
                </c:pt>
                <c:pt idx="8807">
                  <c:v>-2.7429000000000001</c:v>
                </c:pt>
                <c:pt idx="8808">
                  <c:v>#N/A</c:v>
                </c:pt>
                <c:pt idx="8809">
                  <c:v>-2.1661000000000001</c:v>
                </c:pt>
                <c:pt idx="8810">
                  <c:v>#N/A</c:v>
                </c:pt>
                <c:pt idx="8811">
                  <c:v>#N/A</c:v>
                </c:pt>
                <c:pt idx="8812">
                  <c:v>-2.1903999999999999</c:v>
                </c:pt>
                <c:pt idx="8813">
                  <c:v>-1.62625</c:v>
                </c:pt>
                <c:pt idx="8814">
                  <c:v>-1.7241599999999999</c:v>
                </c:pt>
                <c:pt idx="8815">
                  <c:v>#N/A</c:v>
                </c:pt>
                <c:pt idx="8816">
                  <c:v>-1.71556</c:v>
                </c:pt>
                <c:pt idx="8817">
                  <c:v>-2.16439</c:v>
                </c:pt>
                <c:pt idx="8818">
                  <c:v>-2.4725199999999998</c:v>
                </c:pt>
                <c:pt idx="8819">
                  <c:v>#N/A</c:v>
                </c:pt>
                <c:pt idx="8820">
                  <c:v>-2.65123</c:v>
                </c:pt>
                <c:pt idx="8821">
                  <c:v>-2.5193699999999999</c:v>
                </c:pt>
                <c:pt idx="8822">
                  <c:v>-2.30789</c:v>
                </c:pt>
                <c:pt idx="8823">
                  <c:v>#N/A</c:v>
                </c:pt>
                <c:pt idx="8824">
                  <c:v>-1.66008</c:v>
                </c:pt>
                <c:pt idx="8825">
                  <c:v>-2.0935299999999999</c:v>
                </c:pt>
                <c:pt idx="8826">
                  <c:v>-1.9839500000000001</c:v>
                </c:pt>
                <c:pt idx="8827">
                  <c:v>#N/A</c:v>
                </c:pt>
                <c:pt idx="8828">
                  <c:v>-1.9337</c:v>
                </c:pt>
                <c:pt idx="8829">
                  <c:v>-2.2545999999999999</c:v>
                </c:pt>
                <c:pt idx="8830">
                  <c:v>-1.8785000000000001</c:v>
                </c:pt>
                <c:pt idx="8831">
                  <c:v>#N/A</c:v>
                </c:pt>
                <c:pt idx="8832">
                  <c:v>-1.8065</c:v>
                </c:pt>
                <c:pt idx="8833">
                  <c:v>-1.4649700000000001</c:v>
                </c:pt>
                <c:pt idx="8834">
                  <c:v>-1.4406000000000001</c:v>
                </c:pt>
                <c:pt idx="8835">
                  <c:v>#N/A</c:v>
                </c:pt>
                <c:pt idx="8836">
                  <c:v>-1.5665100000000001</c:v>
                </c:pt>
                <c:pt idx="8837">
                  <c:v>-2.82193</c:v>
                </c:pt>
                <c:pt idx="8838">
                  <c:v>-2.8740800000000002</c:v>
                </c:pt>
                <c:pt idx="8839">
                  <c:v>#N/A</c:v>
                </c:pt>
                <c:pt idx="8840">
                  <c:v>-2.3933200000000001</c:v>
                </c:pt>
                <c:pt idx="8841">
                  <c:v>-1.74115</c:v>
                </c:pt>
                <c:pt idx="8842">
                  <c:v>#N/A</c:v>
                </c:pt>
                <c:pt idx="8843">
                  <c:v>-1.60659</c:v>
                </c:pt>
                <c:pt idx="8844">
                  <c:v>-1.2448300000000001</c:v>
                </c:pt>
                <c:pt idx="8845">
                  <c:v>-1.94425</c:v>
                </c:pt>
                <c:pt idx="8846">
                  <c:v>#N/A</c:v>
                </c:pt>
                <c:pt idx="8847">
                  <c:v>-2.5239500000000001</c:v>
                </c:pt>
                <c:pt idx="8848">
                  <c:v>-2.7995999999999999</c:v>
                </c:pt>
                <c:pt idx="8849">
                  <c:v>-3.23394</c:v>
                </c:pt>
                <c:pt idx="8850">
                  <c:v>#N/A</c:v>
                </c:pt>
                <c:pt idx="8851">
                  <c:v>-2.8062800000000001</c:v>
                </c:pt>
                <c:pt idx="8852">
                  <c:v>-1.6697200000000001</c:v>
                </c:pt>
                <c:pt idx="8853">
                  <c:v>-1.0090699999999999</c:v>
                </c:pt>
                <c:pt idx="8854">
                  <c:v>#N/A</c:v>
                </c:pt>
                <c:pt idx="8855">
                  <c:v>-1.0382100000000001</c:v>
                </c:pt>
                <c:pt idx="8856">
                  <c:v>-1.5205900000000001</c:v>
                </c:pt>
                <c:pt idx="8857">
                  <c:v>-2.0599599999999998</c:v>
                </c:pt>
                <c:pt idx="8858">
                  <c:v>#N/A</c:v>
                </c:pt>
                <c:pt idx="8859">
                  <c:v>-3.1591999999999998</c:v>
                </c:pt>
                <c:pt idx="8860">
                  <c:v>#N/A</c:v>
                </c:pt>
                <c:pt idx="8861">
                  <c:v>-3.1412100000000001</c:v>
                </c:pt>
                <c:pt idx="8862">
                  <c:v>-2.4459200000000001</c:v>
                </c:pt>
                <c:pt idx="8863">
                  <c:v>#N/A</c:v>
                </c:pt>
                <c:pt idx="8864">
                  <c:v>-1.8067200000000001</c:v>
                </c:pt>
                <c:pt idx="8865">
                  <c:v>-1.1282099999999999</c:v>
                </c:pt>
                <c:pt idx="8866">
                  <c:v>-1.55297</c:v>
                </c:pt>
                <c:pt idx="8867">
                  <c:v>#N/A</c:v>
                </c:pt>
                <c:pt idx="8868">
                  <c:v>-1.8071200000000001</c:v>
                </c:pt>
                <c:pt idx="8869">
                  <c:v>-2.46306</c:v>
                </c:pt>
                <c:pt idx="8870">
                  <c:v>#N/A</c:v>
                </c:pt>
                <c:pt idx="8871">
                  <c:v>-2.82612</c:v>
                </c:pt>
                <c:pt idx="8872">
                  <c:v>-2.9323600000000001</c:v>
                </c:pt>
                <c:pt idx="8873">
                  <c:v>-2.5210900000000001</c:v>
                </c:pt>
                <c:pt idx="8874">
                  <c:v>#N/A</c:v>
                </c:pt>
                <c:pt idx="8875">
                  <c:v>-1.74956</c:v>
                </c:pt>
                <c:pt idx="8876">
                  <c:v>-2.20234</c:v>
                </c:pt>
                <c:pt idx="8877">
                  <c:v>-2.72309</c:v>
                </c:pt>
                <c:pt idx="8878">
                  <c:v>#N/A</c:v>
                </c:pt>
                <c:pt idx="8879">
                  <c:v>-3.09456</c:v>
                </c:pt>
                <c:pt idx="8880">
                  <c:v>-2.5497399999999999</c:v>
                </c:pt>
                <c:pt idx="8881">
                  <c:v>-2.6095000000000002</c:v>
                </c:pt>
                <c:pt idx="8882">
                  <c:v>#N/A</c:v>
                </c:pt>
                <c:pt idx="8883">
                  <c:v>-2.1023499999999999</c:v>
                </c:pt>
                <c:pt idx="8884">
                  <c:v>-1.81199</c:v>
                </c:pt>
                <c:pt idx="8885">
                  <c:v>#N/A</c:v>
                </c:pt>
                <c:pt idx="8886">
                  <c:v>-0.98488100000000001</c:v>
                </c:pt>
                <c:pt idx="8887">
                  <c:v>-1.22041</c:v>
                </c:pt>
                <c:pt idx="8888">
                  <c:v>-1.2899799999999999</c:v>
                </c:pt>
                <c:pt idx="8889">
                  <c:v>#N/A</c:v>
                </c:pt>
                <c:pt idx="8890">
                  <c:v>-1.54416</c:v>
                </c:pt>
                <c:pt idx="8891">
                  <c:v>-1.7461</c:v>
                </c:pt>
                <c:pt idx="8892">
                  <c:v>-2.1664699999999999</c:v>
                </c:pt>
                <c:pt idx="8893">
                  <c:v>#N/A</c:v>
                </c:pt>
                <c:pt idx="8894">
                  <c:v>-1.54312</c:v>
                </c:pt>
                <c:pt idx="8895">
                  <c:v>-1.79918</c:v>
                </c:pt>
                <c:pt idx="8896">
                  <c:v>-1.77159</c:v>
                </c:pt>
                <c:pt idx="8897">
                  <c:v>#N/A</c:v>
                </c:pt>
                <c:pt idx="8898">
                  <c:v>-1.9481200000000001</c:v>
                </c:pt>
                <c:pt idx="8899">
                  <c:v>-2.0556000000000001</c:v>
                </c:pt>
                <c:pt idx="8900">
                  <c:v>-2.2467299999999999</c:v>
                </c:pt>
                <c:pt idx="8901">
                  <c:v>#N/A</c:v>
                </c:pt>
                <c:pt idx="8902">
                  <c:v>-2.4739100000000001</c:v>
                </c:pt>
                <c:pt idx="8903">
                  <c:v>-2.4167800000000002</c:v>
                </c:pt>
                <c:pt idx="8904">
                  <c:v>#N/A</c:v>
                </c:pt>
                <c:pt idx="8905">
                  <c:v>-2.1875100000000001</c:v>
                </c:pt>
                <c:pt idx="8906">
                  <c:v>-2.0354800000000002</c:v>
                </c:pt>
                <c:pt idx="8907">
                  <c:v>-2.2477399999999998</c:v>
                </c:pt>
                <c:pt idx="8908">
                  <c:v>#N/A</c:v>
                </c:pt>
                <c:pt idx="8909">
                  <c:v>-2.4245700000000001</c:v>
                </c:pt>
                <c:pt idx="8910">
                  <c:v>-1.95563</c:v>
                </c:pt>
                <c:pt idx="8911">
                  <c:v>-1.99573</c:v>
                </c:pt>
                <c:pt idx="8912">
                  <c:v>#N/A</c:v>
                </c:pt>
                <c:pt idx="8913">
                  <c:v>-1.7221599999999999</c:v>
                </c:pt>
                <c:pt idx="8914">
                  <c:v>-1.5257400000000001</c:v>
                </c:pt>
                <c:pt idx="8915">
                  <c:v>#N/A</c:v>
                </c:pt>
                <c:pt idx="8916">
                  <c:v>-1.3365100000000001</c:v>
                </c:pt>
                <c:pt idx="8917">
                  <c:v>-1.31934</c:v>
                </c:pt>
                <c:pt idx="8918">
                  <c:v>-1.3859900000000001</c:v>
                </c:pt>
                <c:pt idx="8919">
                  <c:v>#N/A</c:v>
                </c:pt>
                <c:pt idx="8920">
                  <c:v>-1.80308</c:v>
                </c:pt>
                <c:pt idx="8921">
                  <c:v>-2.6305800000000001</c:v>
                </c:pt>
                <c:pt idx="8922">
                  <c:v>-2.82498</c:v>
                </c:pt>
                <c:pt idx="8923">
                  <c:v>#N/A</c:v>
                </c:pt>
                <c:pt idx="8924">
                  <c:v>-2.4250099999999999</c:v>
                </c:pt>
                <c:pt idx="8925">
                  <c:v>-2.06623</c:v>
                </c:pt>
                <c:pt idx="8926">
                  <c:v>-2.4509599999999998</c:v>
                </c:pt>
                <c:pt idx="8927">
                  <c:v>#N/A</c:v>
                </c:pt>
                <c:pt idx="8928">
                  <c:v>-1.9865299999999999</c:v>
                </c:pt>
                <c:pt idx="8929">
                  <c:v>-2.2314400000000001</c:v>
                </c:pt>
                <c:pt idx="8930">
                  <c:v>-1.98193</c:v>
                </c:pt>
                <c:pt idx="8931">
                  <c:v>#N/A</c:v>
                </c:pt>
                <c:pt idx="8932">
                  <c:v>-2.4407999999999999</c:v>
                </c:pt>
                <c:pt idx="8933">
                  <c:v>-3.1120700000000001</c:v>
                </c:pt>
                <c:pt idx="8934">
                  <c:v>-2.9145699999999999</c:v>
                </c:pt>
                <c:pt idx="8935">
                  <c:v>#N/A</c:v>
                </c:pt>
                <c:pt idx="8936">
                  <c:v>-2.1189399999999998</c:v>
                </c:pt>
                <c:pt idx="8937">
                  <c:v>-0.78523399999999999</c:v>
                </c:pt>
                <c:pt idx="8938">
                  <c:v>#N/A</c:v>
                </c:pt>
                <c:pt idx="8939">
                  <c:v>-0.58707500000000001</c:v>
                </c:pt>
                <c:pt idx="8940">
                  <c:v>-1.0731299999999999</c:v>
                </c:pt>
                <c:pt idx="8941">
                  <c:v>-1.9762</c:v>
                </c:pt>
                <c:pt idx="8942">
                  <c:v>#N/A</c:v>
                </c:pt>
                <c:pt idx="8943">
                  <c:v>-2.9308100000000001</c:v>
                </c:pt>
                <c:pt idx="8944">
                  <c:v>-2.9297900000000001</c:v>
                </c:pt>
                <c:pt idx="8945">
                  <c:v>-2.5902599999999998</c:v>
                </c:pt>
                <c:pt idx="8946">
                  <c:v>#N/A</c:v>
                </c:pt>
                <c:pt idx="8947">
                  <c:v>-2.3245900000000002</c:v>
                </c:pt>
                <c:pt idx="8948">
                  <c:v>-1.77115</c:v>
                </c:pt>
                <c:pt idx="8949">
                  <c:v>-1.0873999999999999</c:v>
                </c:pt>
                <c:pt idx="8950">
                  <c:v>#N/A</c:v>
                </c:pt>
                <c:pt idx="8951">
                  <c:v>-1.5089300000000001</c:v>
                </c:pt>
                <c:pt idx="8952">
                  <c:v>-2.5517599999999998</c:v>
                </c:pt>
                <c:pt idx="8953">
                  <c:v>-2.8487399999999998</c:v>
                </c:pt>
                <c:pt idx="8954">
                  <c:v>#N/A</c:v>
                </c:pt>
                <c:pt idx="8955">
                  <c:v>-2.73929</c:v>
                </c:pt>
                <c:pt idx="8956">
                  <c:v>-2.5381200000000002</c:v>
                </c:pt>
                <c:pt idx="8957">
                  <c:v>-2.5861499999999999</c:v>
                </c:pt>
                <c:pt idx="8958">
                  <c:v>#N/A</c:v>
                </c:pt>
                <c:pt idx="8959">
                  <c:v>-2.0259299999999998</c:v>
                </c:pt>
                <c:pt idx="8960">
                  <c:v>-1.9149499999999999</c:v>
                </c:pt>
                <c:pt idx="8961">
                  <c:v>-1.7386900000000001</c:v>
                </c:pt>
                <c:pt idx="8962">
                  <c:v>#N/A</c:v>
                </c:pt>
                <c:pt idx="8963">
                  <c:v>-1.9275</c:v>
                </c:pt>
                <c:pt idx="8964">
                  <c:v>-2.1169099999999998</c:v>
                </c:pt>
                <c:pt idx="8965">
                  <c:v>-2.6475399999999998</c:v>
                </c:pt>
                <c:pt idx="8966">
                  <c:v>#N/A</c:v>
                </c:pt>
                <c:pt idx="8967">
                  <c:v>-2.1041799999999999</c:v>
                </c:pt>
                <c:pt idx="8968">
                  <c:v>-2.3633899999999999</c:v>
                </c:pt>
                <c:pt idx="8969">
                  <c:v>#N/A</c:v>
                </c:pt>
                <c:pt idx="8970">
                  <c:v>-1.9535100000000001</c:v>
                </c:pt>
                <c:pt idx="8971">
                  <c:v>-2.1123500000000002</c:v>
                </c:pt>
                <c:pt idx="8972">
                  <c:v>-2.1436099999999998</c:v>
                </c:pt>
                <c:pt idx="8973">
                  <c:v>#N/A</c:v>
                </c:pt>
                <c:pt idx="8974">
                  <c:v>-1.6676</c:v>
                </c:pt>
                <c:pt idx="8975">
                  <c:v>-2.2811599999999999</c:v>
                </c:pt>
                <c:pt idx="8976">
                  <c:v>-2.1434600000000001</c:v>
                </c:pt>
                <c:pt idx="8977">
                  <c:v>#N/A</c:v>
                </c:pt>
                <c:pt idx="8978">
                  <c:v>-2.0447799999999998</c:v>
                </c:pt>
                <c:pt idx="8979">
                  <c:v>-1.97082</c:v>
                </c:pt>
                <c:pt idx="8980">
                  <c:v>-1.8765000000000001</c:v>
                </c:pt>
                <c:pt idx="8981">
                  <c:v>#N/A</c:v>
                </c:pt>
                <c:pt idx="8982">
                  <c:v>-2.44652</c:v>
                </c:pt>
                <c:pt idx="8983">
                  <c:v>-2.62479</c:v>
                </c:pt>
                <c:pt idx="8984">
                  <c:v>-2.49715</c:v>
                </c:pt>
                <c:pt idx="8985">
                  <c:v>#N/A</c:v>
                </c:pt>
                <c:pt idx="8986">
                  <c:v>-2.0663399999999998</c:v>
                </c:pt>
                <c:pt idx="8987">
                  <c:v>-2.2543000000000002</c:v>
                </c:pt>
                <c:pt idx="8988">
                  <c:v>-2.33921</c:v>
                </c:pt>
                <c:pt idx="8989">
                  <c:v>#N/A</c:v>
                </c:pt>
                <c:pt idx="8990">
                  <c:v>-1.9521299999999999</c:v>
                </c:pt>
                <c:pt idx="8991">
                  <c:v>-1.89483</c:v>
                </c:pt>
                <c:pt idx="8992">
                  <c:v>-2.2157499999999999</c:v>
                </c:pt>
                <c:pt idx="8993">
                  <c:v>#N/A</c:v>
                </c:pt>
                <c:pt idx="8994">
                  <c:v>-2.5146799999999998</c:v>
                </c:pt>
                <c:pt idx="8995">
                  <c:v>-2.7383500000000001</c:v>
                </c:pt>
                <c:pt idx="8996">
                  <c:v>#N/A</c:v>
                </c:pt>
                <c:pt idx="8997">
                  <c:v>-2.9765000000000001</c:v>
                </c:pt>
                <c:pt idx="8998">
                  <c:v>-1.6058300000000001</c:v>
                </c:pt>
                <c:pt idx="8999">
                  <c:v>-1.60991</c:v>
                </c:pt>
                <c:pt idx="9000">
                  <c:v>#N/A</c:v>
                </c:pt>
                <c:pt idx="9001">
                  <c:v>-1.27711</c:v>
                </c:pt>
                <c:pt idx="9002">
                  <c:v>-1.46631</c:v>
                </c:pt>
                <c:pt idx="9003">
                  <c:v>-1.68123</c:v>
                </c:pt>
                <c:pt idx="9004">
                  <c:v>#N/A</c:v>
                </c:pt>
                <c:pt idx="9005">
                  <c:v>-2.49973</c:v>
                </c:pt>
                <c:pt idx="9006">
                  <c:v>-2.8219400000000001</c:v>
                </c:pt>
                <c:pt idx="9007">
                  <c:v>-2.5191400000000002</c:v>
                </c:pt>
                <c:pt idx="9008">
                  <c:v>#N/A</c:v>
                </c:pt>
                <c:pt idx="9009">
                  <c:v>-2.4525000000000001</c:v>
                </c:pt>
                <c:pt idx="9010">
                  <c:v>#N/A</c:v>
                </c:pt>
                <c:pt idx="9011">
                  <c:v>-1.12843</c:v>
                </c:pt>
                <c:pt idx="9012">
                  <c:v>#N/A</c:v>
                </c:pt>
                <c:pt idx="9013">
                  <c:v>-1.62544</c:v>
                </c:pt>
                <c:pt idx="9014">
                  <c:v>-2.58175</c:v>
                </c:pt>
                <c:pt idx="9015">
                  <c:v>#N/A</c:v>
                </c:pt>
                <c:pt idx="9016">
                  <c:v>-2.8155000000000001</c:v>
                </c:pt>
                <c:pt idx="9017">
                  <c:v>-3.5096699999999998</c:v>
                </c:pt>
                <c:pt idx="9018">
                  <c:v>-3.1956500000000001</c:v>
                </c:pt>
                <c:pt idx="9019">
                  <c:v>#N/A</c:v>
                </c:pt>
                <c:pt idx="9020">
                  <c:v>-2.6491799999999999</c:v>
                </c:pt>
                <c:pt idx="9021">
                  <c:v>-1.73333</c:v>
                </c:pt>
                <c:pt idx="9022">
                  <c:v>-1.19052</c:v>
                </c:pt>
                <c:pt idx="9023">
                  <c:v>#N/A</c:v>
                </c:pt>
                <c:pt idx="9024">
                  <c:v>-1.6246799999999999</c:v>
                </c:pt>
                <c:pt idx="9025">
                  <c:v>-1.5692200000000001</c:v>
                </c:pt>
                <c:pt idx="9026">
                  <c:v>-2.2993899999999998</c:v>
                </c:pt>
                <c:pt idx="9027">
                  <c:v>#N/A</c:v>
                </c:pt>
                <c:pt idx="9028">
                  <c:v>-2.0167899999999999</c:v>
                </c:pt>
                <c:pt idx="9029">
                  <c:v>-2.4028299999999998</c:v>
                </c:pt>
                <c:pt idx="9030">
                  <c:v>-2.5079400000000001</c:v>
                </c:pt>
                <c:pt idx="9031">
                  <c:v>#N/A</c:v>
                </c:pt>
                <c:pt idx="9032">
                  <c:v>-1.98299</c:v>
                </c:pt>
                <c:pt idx="9033">
                  <c:v>-1.6734599999999999</c:v>
                </c:pt>
                <c:pt idx="9034">
                  <c:v>-1.85544</c:v>
                </c:pt>
                <c:pt idx="9035">
                  <c:v>#N/A</c:v>
                </c:pt>
                <c:pt idx="9036">
                  <c:v>-2.18031</c:v>
                </c:pt>
                <c:pt idx="9037">
                  <c:v>-2.11741</c:v>
                </c:pt>
                <c:pt idx="9038">
                  <c:v>-2.7698299999999998</c:v>
                </c:pt>
                <c:pt idx="9039">
                  <c:v>#N/A</c:v>
                </c:pt>
                <c:pt idx="9040">
                  <c:v>-2.1815699999999998</c:v>
                </c:pt>
                <c:pt idx="9041">
                  <c:v>-2.3230499999999998</c:v>
                </c:pt>
                <c:pt idx="9042">
                  <c:v>-2.5257000000000001</c:v>
                </c:pt>
                <c:pt idx="9043">
                  <c:v>#N/A</c:v>
                </c:pt>
                <c:pt idx="9044">
                  <c:v>-2.0462699999999998</c:v>
                </c:pt>
                <c:pt idx="9045">
                  <c:v>-1.8993</c:v>
                </c:pt>
                <c:pt idx="9046">
                  <c:v>#N/A</c:v>
                </c:pt>
                <c:pt idx="9047">
                  <c:v>-2.3111999999999999</c:v>
                </c:pt>
                <c:pt idx="9048">
                  <c:v>-3.7835100000000002</c:v>
                </c:pt>
                <c:pt idx="9049">
                  <c:v>-3.3348300000000002</c:v>
                </c:pt>
                <c:pt idx="9050">
                  <c:v>#N/A</c:v>
                </c:pt>
                <c:pt idx="9051">
                  <c:v>-2.4240400000000002</c:v>
                </c:pt>
                <c:pt idx="9052">
                  <c:v>-2.0239500000000001</c:v>
                </c:pt>
                <c:pt idx="9053">
                  <c:v>-2.4100899999999998</c:v>
                </c:pt>
                <c:pt idx="9054">
                  <c:v>#N/A</c:v>
                </c:pt>
                <c:pt idx="9055">
                  <c:v>-3.0674199999999998</c:v>
                </c:pt>
                <c:pt idx="9056">
                  <c:v>-2.44556</c:v>
                </c:pt>
                <c:pt idx="9057">
                  <c:v>-2.5833900000000001</c:v>
                </c:pt>
                <c:pt idx="9058">
                  <c:v>#N/A</c:v>
                </c:pt>
                <c:pt idx="9059">
                  <c:v>-2.55965</c:v>
                </c:pt>
                <c:pt idx="9060">
                  <c:v>-2.06515</c:v>
                </c:pt>
                <c:pt idx="9061">
                  <c:v>#N/A</c:v>
                </c:pt>
                <c:pt idx="9062">
                  <c:v>-2.3157999999999999</c:v>
                </c:pt>
                <c:pt idx="9063">
                  <c:v>-2.11808</c:v>
                </c:pt>
                <c:pt idx="9064">
                  <c:v>-1.3207899999999999</c:v>
                </c:pt>
                <c:pt idx="9065">
                  <c:v>#N/A</c:v>
                </c:pt>
                <c:pt idx="9066">
                  <c:v>-2.0055399999999999</c:v>
                </c:pt>
                <c:pt idx="9067">
                  <c:v>-2.5455199999999998</c:v>
                </c:pt>
                <c:pt idx="9068">
                  <c:v>-2.5800200000000002</c:v>
                </c:pt>
                <c:pt idx="9069">
                  <c:v>#N/A</c:v>
                </c:pt>
                <c:pt idx="9070">
                  <c:v>-2.2613699999999999</c:v>
                </c:pt>
                <c:pt idx="9071">
                  <c:v>-2.11755</c:v>
                </c:pt>
                <c:pt idx="9072">
                  <c:v>-1.7965</c:v>
                </c:pt>
                <c:pt idx="9073">
                  <c:v>#N/A</c:v>
                </c:pt>
                <c:pt idx="9074">
                  <c:v>-2.2386499999999998</c:v>
                </c:pt>
                <c:pt idx="9075">
                  <c:v>-1.9679500000000001</c:v>
                </c:pt>
                <c:pt idx="9076">
                  <c:v>-2.1760700000000002</c:v>
                </c:pt>
                <c:pt idx="9077">
                  <c:v>#N/A</c:v>
                </c:pt>
                <c:pt idx="9078">
                  <c:v>-3.3873600000000001</c:v>
                </c:pt>
                <c:pt idx="9079">
                  <c:v>-3.3958200000000001</c:v>
                </c:pt>
                <c:pt idx="9080">
                  <c:v>-3.2482799999999998</c:v>
                </c:pt>
                <c:pt idx="9081">
                  <c:v>#N/A</c:v>
                </c:pt>
                <c:pt idx="9082">
                  <c:v>-2.6437499999999998</c:v>
                </c:pt>
                <c:pt idx="9083">
                  <c:v>-2.32891</c:v>
                </c:pt>
                <c:pt idx="9084">
                  <c:v>#N/A</c:v>
                </c:pt>
                <c:pt idx="9085">
                  <c:v>-1.8535299999999999</c:v>
                </c:pt>
                <c:pt idx="9086">
                  <c:v>-2.3211400000000002</c:v>
                </c:pt>
                <c:pt idx="9087">
                  <c:v>-2.1558600000000001</c:v>
                </c:pt>
                <c:pt idx="9088">
                  <c:v>#N/A</c:v>
                </c:pt>
                <c:pt idx="9089">
                  <c:v>-3.0140899999999999</c:v>
                </c:pt>
                <c:pt idx="9090">
                  <c:v>-3.5351699999999999</c:v>
                </c:pt>
                <c:pt idx="9091">
                  <c:v>-3.5326399999999998</c:v>
                </c:pt>
                <c:pt idx="9092">
                  <c:v>#N/A</c:v>
                </c:pt>
                <c:pt idx="9093">
                  <c:v>-2.6393300000000002</c:v>
                </c:pt>
                <c:pt idx="9094">
                  <c:v>-2.30131</c:v>
                </c:pt>
                <c:pt idx="9095">
                  <c:v>-1.9605900000000001</c:v>
                </c:pt>
                <c:pt idx="9096">
                  <c:v>#N/A</c:v>
                </c:pt>
                <c:pt idx="9097">
                  <c:v>-2.5160100000000001</c:v>
                </c:pt>
                <c:pt idx="9098">
                  <c:v>-2.93364</c:v>
                </c:pt>
                <c:pt idx="9099">
                  <c:v>-2.9955500000000002</c:v>
                </c:pt>
                <c:pt idx="9100">
                  <c:v>#N/A</c:v>
                </c:pt>
                <c:pt idx="9101">
                  <c:v>-3.2922099999999999</c:v>
                </c:pt>
                <c:pt idx="9102">
                  <c:v>-3.3426499999999999</c:v>
                </c:pt>
                <c:pt idx="9103">
                  <c:v>#N/A</c:v>
                </c:pt>
                <c:pt idx="9104">
                  <c:v>-2.8533200000000001</c:v>
                </c:pt>
                <c:pt idx="9105">
                  <c:v>-2.7282600000000001</c:v>
                </c:pt>
                <c:pt idx="9106">
                  <c:v>-2.35121</c:v>
                </c:pt>
                <c:pt idx="9107">
                  <c:v>#N/A</c:v>
                </c:pt>
                <c:pt idx="9108">
                  <c:v>-2.2242000000000002</c:v>
                </c:pt>
                <c:pt idx="9109">
                  <c:v>-3.4256799999999998</c:v>
                </c:pt>
                <c:pt idx="9110">
                  <c:v>-3.6735099999999998</c:v>
                </c:pt>
                <c:pt idx="9111">
                  <c:v>#N/A</c:v>
                </c:pt>
                <c:pt idx="9112">
                  <c:v>-3.07335</c:v>
                </c:pt>
                <c:pt idx="9113">
                  <c:v>-2.33955</c:v>
                </c:pt>
                <c:pt idx="9114">
                  <c:v>-2.4901300000000002</c:v>
                </c:pt>
                <c:pt idx="9115">
                  <c:v>#N/A</c:v>
                </c:pt>
                <c:pt idx="9116">
                  <c:v>-2.1387100000000001</c:v>
                </c:pt>
                <c:pt idx="9117">
                  <c:v>-2.2756500000000002</c:v>
                </c:pt>
                <c:pt idx="9118">
                  <c:v>-2.3175599999999998</c:v>
                </c:pt>
                <c:pt idx="9119">
                  <c:v>#N/A</c:v>
                </c:pt>
                <c:pt idx="9120">
                  <c:v>-2.4641899999999999</c:v>
                </c:pt>
                <c:pt idx="9121">
                  <c:v>-2.94746</c:v>
                </c:pt>
                <c:pt idx="9122">
                  <c:v>#N/A</c:v>
                </c:pt>
                <c:pt idx="9123">
                  <c:v>-3.2167400000000002</c:v>
                </c:pt>
                <c:pt idx="9124">
                  <c:v>-2.7624599999999999</c:v>
                </c:pt>
                <c:pt idx="9125">
                  <c:v>-2.4504899999999998</c:v>
                </c:pt>
                <c:pt idx="9126">
                  <c:v>#N/A</c:v>
                </c:pt>
                <c:pt idx="9127">
                  <c:v>-2.35548</c:v>
                </c:pt>
                <c:pt idx="9128">
                  <c:v>-3.0214699999999999</c:v>
                </c:pt>
                <c:pt idx="9129">
                  <c:v>-3.00481</c:v>
                </c:pt>
                <c:pt idx="9130">
                  <c:v>#N/A</c:v>
                </c:pt>
                <c:pt idx="9131">
                  <c:v>-3.45817</c:v>
                </c:pt>
                <c:pt idx="9132">
                  <c:v>-2.98881</c:v>
                </c:pt>
                <c:pt idx="9133">
                  <c:v>-2.8285499999999999</c:v>
                </c:pt>
                <c:pt idx="9134">
                  <c:v>#N/A</c:v>
                </c:pt>
                <c:pt idx="9135">
                  <c:v>-2.8316699999999999</c:v>
                </c:pt>
                <c:pt idx="9136">
                  <c:v>-2.53295</c:v>
                </c:pt>
                <c:pt idx="9137">
                  <c:v>-2.6957800000000001</c:v>
                </c:pt>
                <c:pt idx="9138">
                  <c:v>#N/A</c:v>
                </c:pt>
                <c:pt idx="9139">
                  <c:v>-3.0689099999999998</c:v>
                </c:pt>
                <c:pt idx="9140">
                  <c:v>-2.7529300000000001</c:v>
                </c:pt>
                <c:pt idx="9141">
                  <c:v>-2.75102</c:v>
                </c:pt>
                <c:pt idx="9142">
                  <c:v>#N/A</c:v>
                </c:pt>
                <c:pt idx="9143">
                  <c:v>-2.9296700000000002</c:v>
                </c:pt>
                <c:pt idx="9144">
                  <c:v>-2.6784699999999999</c:v>
                </c:pt>
                <c:pt idx="9145">
                  <c:v>-2.3004899999999999</c:v>
                </c:pt>
                <c:pt idx="9146">
                  <c:v>#N/A</c:v>
                </c:pt>
                <c:pt idx="9147">
                  <c:v>-2.1899799999999998</c:v>
                </c:pt>
                <c:pt idx="9148">
                  <c:v>-1.76745</c:v>
                </c:pt>
                <c:pt idx="9149">
                  <c:v>#N/A</c:v>
                </c:pt>
                <c:pt idx="9150">
                  <c:v>-1.9746300000000001</c:v>
                </c:pt>
                <c:pt idx="9151">
                  <c:v>-3.1974999999999998</c:v>
                </c:pt>
                <c:pt idx="9152">
                  <c:v>-3.38266</c:v>
                </c:pt>
                <c:pt idx="9153">
                  <c:v>#N/A</c:v>
                </c:pt>
                <c:pt idx="9154">
                  <c:v>-3.5030999999999999</c:v>
                </c:pt>
                <c:pt idx="9155">
                  <c:v>-3.0878299999999999</c:v>
                </c:pt>
                <c:pt idx="9156">
                  <c:v>-2.6564899999999998</c:v>
                </c:pt>
                <c:pt idx="9157">
                  <c:v>#N/A</c:v>
                </c:pt>
                <c:pt idx="9158">
                  <c:v>-2.34741</c:v>
                </c:pt>
                <c:pt idx="9159">
                  <c:v>-2.7301899999999999</c:v>
                </c:pt>
                <c:pt idx="9160">
                  <c:v>#N/A</c:v>
                </c:pt>
                <c:pt idx="9161">
                  <c:v>-3.7892899999999998</c:v>
                </c:pt>
                <c:pt idx="9162">
                  <c:v>#N/A</c:v>
                </c:pt>
                <c:pt idx="9163">
                  <c:v>-4.1597400000000002</c:v>
                </c:pt>
                <c:pt idx="9164">
                  <c:v>-4.1253799999999998</c:v>
                </c:pt>
                <c:pt idx="9165">
                  <c:v>-3.5297000000000001</c:v>
                </c:pt>
                <c:pt idx="9166">
                  <c:v>#N/A</c:v>
                </c:pt>
                <c:pt idx="9167">
                  <c:v>-3.2154600000000002</c:v>
                </c:pt>
                <c:pt idx="9168">
                  <c:v>-2.3172700000000002</c:v>
                </c:pt>
                <c:pt idx="9169">
                  <c:v>-2.5076999999999998</c:v>
                </c:pt>
                <c:pt idx="9170">
                  <c:v>#N/A</c:v>
                </c:pt>
                <c:pt idx="9171">
                  <c:v>-3.2072099999999999</c:v>
                </c:pt>
                <c:pt idx="9172">
                  <c:v>-3.71529</c:v>
                </c:pt>
                <c:pt idx="9173">
                  <c:v>-4.1336199999999996</c:v>
                </c:pt>
                <c:pt idx="9174">
                  <c:v>#N/A</c:v>
                </c:pt>
                <c:pt idx="9175">
                  <c:v>-4.5310899999999998</c:v>
                </c:pt>
                <c:pt idx="9176">
                  <c:v>-3.5748199999999999</c:v>
                </c:pt>
                <c:pt idx="9177">
                  <c:v>#N/A</c:v>
                </c:pt>
                <c:pt idx="9178">
                  <c:v>-3.7599399999999998</c:v>
                </c:pt>
                <c:pt idx="9179">
                  <c:v>-2.8917700000000002</c:v>
                </c:pt>
                <c:pt idx="9180">
                  <c:v>-3.3742899999999998</c:v>
                </c:pt>
                <c:pt idx="9181">
                  <c:v>#N/A</c:v>
                </c:pt>
                <c:pt idx="9182">
                  <c:v>-3.3486400000000001</c:v>
                </c:pt>
                <c:pt idx="9183">
                  <c:v>-3.9177</c:v>
                </c:pt>
                <c:pt idx="9184">
                  <c:v>-4.0509300000000001</c:v>
                </c:pt>
                <c:pt idx="9185">
                  <c:v>#N/A</c:v>
                </c:pt>
                <c:pt idx="9186">
                  <c:v>-4.0939300000000003</c:v>
                </c:pt>
                <c:pt idx="9187">
                  <c:v>-4.0098399999999996</c:v>
                </c:pt>
                <c:pt idx="9188">
                  <c:v>-3.5037400000000001</c:v>
                </c:pt>
                <c:pt idx="9189">
                  <c:v>#N/A</c:v>
                </c:pt>
                <c:pt idx="9190">
                  <c:v>-3.0973700000000002</c:v>
                </c:pt>
                <c:pt idx="9191">
                  <c:v>-3.1237499999999998</c:v>
                </c:pt>
                <c:pt idx="9192">
                  <c:v>-3.7162199999999999</c:v>
                </c:pt>
                <c:pt idx="9193">
                  <c:v>#N/A</c:v>
                </c:pt>
                <c:pt idx="9194">
                  <c:v>-3.47926</c:v>
                </c:pt>
                <c:pt idx="9195">
                  <c:v>-4.2427099999999998</c:v>
                </c:pt>
                <c:pt idx="9196">
                  <c:v>-4.1808899999999998</c:v>
                </c:pt>
                <c:pt idx="9197">
                  <c:v>#N/A</c:v>
                </c:pt>
                <c:pt idx="9198">
                  <c:v>-3.7839800000000001</c:v>
                </c:pt>
                <c:pt idx="9199">
                  <c:v>-3.69706</c:v>
                </c:pt>
                <c:pt idx="9200">
                  <c:v>-3.7281300000000002</c:v>
                </c:pt>
                <c:pt idx="9201">
                  <c:v>#N/A</c:v>
                </c:pt>
                <c:pt idx="9202">
                  <c:v>-3.80626</c:v>
                </c:pt>
                <c:pt idx="9203">
                  <c:v>-3.99133</c:v>
                </c:pt>
                <c:pt idx="9204">
                  <c:v>-3.7975099999999999</c:v>
                </c:pt>
                <c:pt idx="9205">
                  <c:v>#N/A</c:v>
                </c:pt>
                <c:pt idx="9206">
                  <c:v>-4.2850000000000001</c:v>
                </c:pt>
                <c:pt idx="9207">
                  <c:v>-3.5809299999999999</c:v>
                </c:pt>
                <c:pt idx="9208">
                  <c:v>#N/A</c:v>
                </c:pt>
                <c:pt idx="9209">
                  <c:v>-3.8682099999999999</c:v>
                </c:pt>
                <c:pt idx="9210">
                  <c:v>-3.79305</c:v>
                </c:pt>
                <c:pt idx="9211">
                  <c:v>-3.5911400000000002</c:v>
                </c:pt>
                <c:pt idx="9212">
                  <c:v>#N/A</c:v>
                </c:pt>
                <c:pt idx="9213">
                  <c:v>-3.6669</c:v>
                </c:pt>
                <c:pt idx="9214">
                  <c:v>-4.2465099999999998</c:v>
                </c:pt>
                <c:pt idx="9215">
                  <c:v>-4.3282299999999996</c:v>
                </c:pt>
                <c:pt idx="9216">
                  <c:v>#N/A</c:v>
                </c:pt>
                <c:pt idx="9217">
                  <c:v>-4.3227399999999996</c:v>
                </c:pt>
                <c:pt idx="9218">
                  <c:v>-3.66717</c:v>
                </c:pt>
                <c:pt idx="9219">
                  <c:v>#N/A</c:v>
                </c:pt>
                <c:pt idx="9220">
                  <c:v>-3.45573</c:v>
                </c:pt>
                <c:pt idx="9221">
                  <c:v>-3.15029</c:v>
                </c:pt>
                <c:pt idx="9222">
                  <c:v>-4.0379699999999996</c:v>
                </c:pt>
                <c:pt idx="9223">
                  <c:v>#N/A</c:v>
                </c:pt>
                <c:pt idx="9224">
                  <c:v>-3.7090299999999998</c:v>
                </c:pt>
                <c:pt idx="9225">
                  <c:v>-4.8009199999999996</c:v>
                </c:pt>
                <c:pt idx="9226">
                  <c:v>-4.8425799999999999</c:v>
                </c:pt>
                <c:pt idx="9227">
                  <c:v>#N/A</c:v>
                </c:pt>
                <c:pt idx="9228">
                  <c:v>-4.4472899999999997</c:v>
                </c:pt>
                <c:pt idx="9229">
                  <c:v>-3.9728400000000001</c:v>
                </c:pt>
                <c:pt idx="9230">
                  <c:v>-2.98278</c:v>
                </c:pt>
                <c:pt idx="9231">
                  <c:v>#N/A</c:v>
                </c:pt>
                <c:pt idx="9232">
                  <c:v>-3.4683299999999999</c:v>
                </c:pt>
                <c:pt idx="9233">
                  <c:v>-3.25928</c:v>
                </c:pt>
                <c:pt idx="9234">
                  <c:v>#N/A</c:v>
                </c:pt>
                <c:pt idx="9235">
                  <c:v>-4.7974899999999998</c:v>
                </c:pt>
                <c:pt idx="9236">
                  <c:v>-5.6464100000000004</c:v>
                </c:pt>
                <c:pt idx="9237">
                  <c:v>#N/A</c:v>
                </c:pt>
                <c:pt idx="9238">
                  <c:v>-4.8246099999999998</c:v>
                </c:pt>
                <c:pt idx="9239">
                  <c:v>-4.4551800000000004</c:v>
                </c:pt>
                <c:pt idx="9240">
                  <c:v>#N/A</c:v>
                </c:pt>
                <c:pt idx="9241">
                  <c:v>-4.04948</c:v>
                </c:pt>
                <c:pt idx="9242">
                  <c:v>-3.23305</c:v>
                </c:pt>
                <c:pt idx="9243">
                  <c:v>-3.7115</c:v>
                </c:pt>
                <c:pt idx="9244">
                  <c:v>#N/A</c:v>
                </c:pt>
                <c:pt idx="9245">
                  <c:v>-3.6991299999999998</c:v>
                </c:pt>
                <c:pt idx="9246">
                  <c:v>-4.3917999999999999</c:v>
                </c:pt>
                <c:pt idx="9247">
                  <c:v>-4.3019800000000004</c:v>
                </c:pt>
                <c:pt idx="9248">
                  <c:v>#N/A</c:v>
                </c:pt>
                <c:pt idx="9249">
                  <c:v>-4.8746700000000001</c:v>
                </c:pt>
                <c:pt idx="9250">
                  <c:v>-4.3588399999999998</c:v>
                </c:pt>
                <c:pt idx="9251">
                  <c:v>-3.55897</c:v>
                </c:pt>
                <c:pt idx="9252">
                  <c:v>#N/A</c:v>
                </c:pt>
                <c:pt idx="9253">
                  <c:v>-3.67699</c:v>
                </c:pt>
                <c:pt idx="9254">
                  <c:v>-3.4194800000000001</c:v>
                </c:pt>
                <c:pt idx="9255">
                  <c:v>-3.8050099999999998</c:v>
                </c:pt>
                <c:pt idx="9256">
                  <c:v>#N/A</c:v>
                </c:pt>
                <c:pt idx="9257">
                  <c:v>-4.2758200000000004</c:v>
                </c:pt>
                <c:pt idx="9258">
                  <c:v>-4.5114200000000002</c:v>
                </c:pt>
                <c:pt idx="9259">
                  <c:v>-4.0456399999999997</c:v>
                </c:pt>
                <c:pt idx="9260">
                  <c:v>#N/A</c:v>
                </c:pt>
                <c:pt idx="9261">
                  <c:v>-4.6138399999999997</c:v>
                </c:pt>
                <c:pt idx="9262">
                  <c:v>-4.5406700000000004</c:v>
                </c:pt>
                <c:pt idx="9263">
                  <c:v>-4.4070900000000002</c:v>
                </c:pt>
                <c:pt idx="9264">
                  <c:v>#N/A</c:v>
                </c:pt>
                <c:pt idx="9265">
                  <c:v>-3.7699199999999999</c:v>
                </c:pt>
                <c:pt idx="9266">
                  <c:v>-4.0986799999999999</c:v>
                </c:pt>
                <c:pt idx="9267">
                  <c:v>#N/A</c:v>
                </c:pt>
                <c:pt idx="9268">
                  <c:v>-4.3660899999999998</c:v>
                </c:pt>
                <c:pt idx="9269">
                  <c:v>-3.9811200000000002</c:v>
                </c:pt>
                <c:pt idx="9270">
                  <c:v>-3.5645500000000001</c:v>
                </c:pt>
                <c:pt idx="9271">
                  <c:v>#N/A</c:v>
                </c:pt>
                <c:pt idx="9272">
                  <c:v>-3.50088</c:v>
                </c:pt>
                <c:pt idx="9273">
                  <c:v>-3.5549300000000001</c:v>
                </c:pt>
                <c:pt idx="9274">
                  <c:v>-3.6291899999999999</c:v>
                </c:pt>
                <c:pt idx="9275">
                  <c:v>#N/A</c:v>
                </c:pt>
                <c:pt idx="9276">
                  <c:v>-4.2388000000000003</c:v>
                </c:pt>
                <c:pt idx="9277">
                  <c:v>-4.0912699999999997</c:v>
                </c:pt>
                <c:pt idx="9278">
                  <c:v>-3.6319400000000002</c:v>
                </c:pt>
                <c:pt idx="9279">
                  <c:v>#N/A</c:v>
                </c:pt>
                <c:pt idx="9280">
                  <c:v>-3.7427299999999999</c:v>
                </c:pt>
                <c:pt idx="9281">
                  <c:v>-3.3452799999999998</c:v>
                </c:pt>
                <c:pt idx="9282">
                  <c:v>-3.4909500000000002</c:v>
                </c:pt>
                <c:pt idx="9283">
                  <c:v>#N/A</c:v>
                </c:pt>
                <c:pt idx="9284">
                  <c:v>-3.12256</c:v>
                </c:pt>
                <c:pt idx="9285">
                  <c:v>-3.9084500000000002</c:v>
                </c:pt>
                <c:pt idx="9286">
                  <c:v>-4.3525</c:v>
                </c:pt>
                <c:pt idx="9287">
                  <c:v>#N/A</c:v>
                </c:pt>
                <c:pt idx="9288">
                  <c:v>-4.6815899999999999</c:v>
                </c:pt>
                <c:pt idx="9289">
                  <c:v>-4.6957500000000003</c:v>
                </c:pt>
                <c:pt idx="9290">
                  <c:v>#N/A</c:v>
                </c:pt>
                <c:pt idx="9291">
                  <c:v>-3.4959600000000002</c:v>
                </c:pt>
                <c:pt idx="9292">
                  <c:v>-3.9405199999999998</c:v>
                </c:pt>
                <c:pt idx="9293">
                  <c:v>-2.9552700000000001</c:v>
                </c:pt>
                <c:pt idx="9294">
                  <c:v>#N/A</c:v>
                </c:pt>
                <c:pt idx="9295">
                  <c:v>-2.98306</c:v>
                </c:pt>
                <c:pt idx="9296">
                  <c:v>-2.9977</c:v>
                </c:pt>
                <c:pt idx="9297">
                  <c:v>-3.5696400000000001</c:v>
                </c:pt>
                <c:pt idx="9298">
                  <c:v>#N/A</c:v>
                </c:pt>
                <c:pt idx="9299">
                  <c:v>-4.1357699999999999</c:v>
                </c:pt>
                <c:pt idx="9300">
                  <c:v>-4.0478100000000001</c:v>
                </c:pt>
                <c:pt idx="9301">
                  <c:v>#N/A</c:v>
                </c:pt>
                <c:pt idx="9302">
                  <c:v>-3.5187300000000001</c:v>
                </c:pt>
                <c:pt idx="9303">
                  <c:v>-2.6229100000000001</c:v>
                </c:pt>
                <c:pt idx="9304">
                  <c:v>-2.40707</c:v>
                </c:pt>
                <c:pt idx="9305">
                  <c:v>#N/A</c:v>
                </c:pt>
                <c:pt idx="9306">
                  <c:v>-2.8147000000000002</c:v>
                </c:pt>
                <c:pt idx="9307">
                  <c:v>-3.00034</c:v>
                </c:pt>
                <c:pt idx="9308">
                  <c:v>-3.33386</c:v>
                </c:pt>
                <c:pt idx="9309">
                  <c:v>#N/A</c:v>
                </c:pt>
                <c:pt idx="9310">
                  <c:v>-3.7236699999999998</c:v>
                </c:pt>
                <c:pt idx="9311">
                  <c:v>#N/A</c:v>
                </c:pt>
                <c:pt idx="9312">
                  <c:v>-3.4979499999999999</c:v>
                </c:pt>
                <c:pt idx="9313">
                  <c:v>#N/A</c:v>
                </c:pt>
                <c:pt idx="9314">
                  <c:v>-2.9341400000000002</c:v>
                </c:pt>
                <c:pt idx="9315">
                  <c:v>-2.68276</c:v>
                </c:pt>
                <c:pt idx="9316">
                  <c:v>-3.1025100000000001</c:v>
                </c:pt>
                <c:pt idx="9317">
                  <c:v>#N/A</c:v>
                </c:pt>
                <c:pt idx="9318">
                  <c:v>-3.32484</c:v>
                </c:pt>
                <c:pt idx="9319">
                  <c:v>-3.20058</c:v>
                </c:pt>
                <c:pt idx="9320">
                  <c:v>-3.26749</c:v>
                </c:pt>
                <c:pt idx="9321">
                  <c:v>#N/A</c:v>
                </c:pt>
                <c:pt idx="9322">
                  <c:v>-3.6266699999999998</c:v>
                </c:pt>
                <c:pt idx="9323">
                  <c:v>-3.3247</c:v>
                </c:pt>
                <c:pt idx="9324">
                  <c:v>-2.5228700000000002</c:v>
                </c:pt>
                <c:pt idx="9325">
                  <c:v>#N/A</c:v>
                </c:pt>
                <c:pt idx="9326">
                  <c:v>-2.3677700000000002</c:v>
                </c:pt>
                <c:pt idx="9327">
                  <c:v>-2.6414300000000002</c:v>
                </c:pt>
                <c:pt idx="9328">
                  <c:v>-2.8768699999999998</c:v>
                </c:pt>
                <c:pt idx="9329">
                  <c:v>#N/A</c:v>
                </c:pt>
                <c:pt idx="9330">
                  <c:v>-3.1969099999999999</c:v>
                </c:pt>
                <c:pt idx="9331">
                  <c:v>-3.1511200000000001</c:v>
                </c:pt>
                <c:pt idx="9332">
                  <c:v>-2.9620899999999999</c:v>
                </c:pt>
                <c:pt idx="9333">
                  <c:v>#N/A</c:v>
                </c:pt>
                <c:pt idx="9334">
                  <c:v>-2.2252800000000001</c:v>
                </c:pt>
                <c:pt idx="9335">
                  <c:v>-1.9145799999999999</c:v>
                </c:pt>
                <c:pt idx="9336">
                  <c:v>#N/A</c:v>
                </c:pt>
                <c:pt idx="9337">
                  <c:v>-2.2790900000000001</c:v>
                </c:pt>
                <c:pt idx="9338">
                  <c:v>-2.4348299999999998</c:v>
                </c:pt>
                <c:pt idx="9339">
                  <c:v>-2.9193099999999998</c:v>
                </c:pt>
                <c:pt idx="9340">
                  <c:v>#N/A</c:v>
                </c:pt>
                <c:pt idx="9341">
                  <c:v>-3.3045399999999998</c:v>
                </c:pt>
                <c:pt idx="9342">
                  <c:v>-2.7101999999999999</c:v>
                </c:pt>
                <c:pt idx="9343">
                  <c:v>-2.1370900000000002</c:v>
                </c:pt>
                <c:pt idx="9344">
                  <c:v>#N/A</c:v>
                </c:pt>
                <c:pt idx="9345">
                  <c:v>-2.11957</c:v>
                </c:pt>
                <c:pt idx="9346">
                  <c:v>-2.0975700000000002</c:v>
                </c:pt>
                <c:pt idx="9347">
                  <c:v>-3.37723</c:v>
                </c:pt>
                <c:pt idx="9348">
                  <c:v>#N/A</c:v>
                </c:pt>
                <c:pt idx="9349">
                  <c:v>-2.9513400000000001</c:v>
                </c:pt>
                <c:pt idx="9350">
                  <c:v>-3.2687400000000002</c:v>
                </c:pt>
                <c:pt idx="9351">
                  <c:v>-3.6482399999999999</c:v>
                </c:pt>
                <c:pt idx="9352">
                  <c:v>#N/A</c:v>
                </c:pt>
                <c:pt idx="9353">
                  <c:v>-3.5828199999999999</c:v>
                </c:pt>
                <c:pt idx="9354">
                  <c:v>-2.9654600000000002</c:v>
                </c:pt>
                <c:pt idx="9355">
                  <c:v>-2.42828</c:v>
                </c:pt>
                <c:pt idx="9356">
                  <c:v>#N/A</c:v>
                </c:pt>
                <c:pt idx="9357">
                  <c:v>-2.1598700000000002</c:v>
                </c:pt>
                <c:pt idx="9358">
                  <c:v>-2.6632500000000001</c:v>
                </c:pt>
                <c:pt idx="9359">
                  <c:v>#N/A</c:v>
                </c:pt>
                <c:pt idx="9360">
                  <c:v>-2.6669200000000002</c:v>
                </c:pt>
                <c:pt idx="9361">
                  <c:v>-3.1729500000000002</c:v>
                </c:pt>
                <c:pt idx="9362">
                  <c:v>-2.6194799999999998</c:v>
                </c:pt>
                <c:pt idx="9363">
                  <c:v>#N/A</c:v>
                </c:pt>
                <c:pt idx="9364">
                  <c:v>-3.0812599999999999</c:v>
                </c:pt>
                <c:pt idx="9365">
                  <c:v>-2.9396200000000001</c:v>
                </c:pt>
                <c:pt idx="9366">
                  <c:v>-2.2211500000000002</c:v>
                </c:pt>
                <c:pt idx="9367">
                  <c:v>#N/A</c:v>
                </c:pt>
                <c:pt idx="9368">
                  <c:v>-1.7876300000000001</c:v>
                </c:pt>
                <c:pt idx="9369">
                  <c:v>-2.2304900000000001</c:v>
                </c:pt>
                <c:pt idx="9370">
                  <c:v>-2.6490900000000002</c:v>
                </c:pt>
                <c:pt idx="9371">
                  <c:v>#N/A</c:v>
                </c:pt>
                <c:pt idx="9372">
                  <c:v>-2.9190499999999999</c:v>
                </c:pt>
                <c:pt idx="9373">
                  <c:v>-3.2924699999999998</c:v>
                </c:pt>
                <c:pt idx="9374">
                  <c:v>#N/A</c:v>
                </c:pt>
                <c:pt idx="9375">
                  <c:v>-3.1813099999999999</c:v>
                </c:pt>
                <c:pt idx="9376">
                  <c:v>-2.7297799999999999</c:v>
                </c:pt>
                <c:pt idx="9377">
                  <c:v>-2.50176</c:v>
                </c:pt>
                <c:pt idx="9378">
                  <c:v>#N/A</c:v>
                </c:pt>
                <c:pt idx="9379">
                  <c:v>-2.2787999999999999</c:v>
                </c:pt>
                <c:pt idx="9380">
                  <c:v>-2.4387300000000001</c:v>
                </c:pt>
                <c:pt idx="9381">
                  <c:v>-2.9157700000000002</c:v>
                </c:pt>
                <c:pt idx="9382">
                  <c:v>#N/A</c:v>
                </c:pt>
                <c:pt idx="9383">
                  <c:v>-3.73061</c:v>
                </c:pt>
                <c:pt idx="9384">
                  <c:v>-3.3199900000000002</c:v>
                </c:pt>
                <c:pt idx="9385">
                  <c:v>#N/A</c:v>
                </c:pt>
                <c:pt idx="9386">
                  <c:v>-2.8443299999999998</c:v>
                </c:pt>
                <c:pt idx="9387">
                  <c:v>-2.3435100000000002</c:v>
                </c:pt>
                <c:pt idx="9388">
                  <c:v>#N/A</c:v>
                </c:pt>
                <c:pt idx="9389">
                  <c:v>-2.5324</c:v>
                </c:pt>
                <c:pt idx="9390">
                  <c:v>-2.9783400000000002</c:v>
                </c:pt>
                <c:pt idx="9391">
                  <c:v>#N/A</c:v>
                </c:pt>
                <c:pt idx="9392">
                  <c:v>-3.14438</c:v>
                </c:pt>
                <c:pt idx="9393">
                  <c:v>-3.5882800000000001</c:v>
                </c:pt>
                <c:pt idx="9394">
                  <c:v>-3.83466</c:v>
                </c:pt>
                <c:pt idx="9395">
                  <c:v>#N/A</c:v>
                </c:pt>
                <c:pt idx="9396">
                  <c:v>-3.0167099999999998</c:v>
                </c:pt>
                <c:pt idx="9397">
                  <c:v>-2.51044</c:v>
                </c:pt>
                <c:pt idx="9398">
                  <c:v>-2.21705</c:v>
                </c:pt>
                <c:pt idx="9399">
                  <c:v>#N/A</c:v>
                </c:pt>
                <c:pt idx="9400">
                  <c:v>-2.8976199999999999</c:v>
                </c:pt>
                <c:pt idx="9401">
                  <c:v>-2.75698</c:v>
                </c:pt>
                <c:pt idx="9402">
                  <c:v>-3.9740500000000001</c:v>
                </c:pt>
                <c:pt idx="9403">
                  <c:v>#N/A</c:v>
                </c:pt>
                <c:pt idx="9404">
                  <c:v>-4.1045400000000001</c:v>
                </c:pt>
                <c:pt idx="9405">
                  <c:v>-4.0035100000000003</c:v>
                </c:pt>
                <c:pt idx="9406">
                  <c:v>-3.4219300000000001</c:v>
                </c:pt>
                <c:pt idx="9407">
                  <c:v>#N/A</c:v>
                </c:pt>
                <c:pt idx="9408">
                  <c:v>-2.3908999999999998</c:v>
                </c:pt>
                <c:pt idx="9409">
                  <c:v>-2.68207</c:v>
                </c:pt>
                <c:pt idx="9410">
                  <c:v>#N/A</c:v>
                </c:pt>
                <c:pt idx="9411">
                  <c:v>-2.7356199999999999</c:v>
                </c:pt>
                <c:pt idx="9412">
                  <c:v>-3.3597999999999999</c:v>
                </c:pt>
                <c:pt idx="9413">
                  <c:v>-4.5734899999999996</c:v>
                </c:pt>
                <c:pt idx="9414">
                  <c:v>#N/A</c:v>
                </c:pt>
                <c:pt idx="9415">
                  <c:v>-4.1159299999999996</c:v>
                </c:pt>
                <c:pt idx="9416">
                  <c:v>-3.62683</c:v>
                </c:pt>
                <c:pt idx="9417">
                  <c:v>-3.32233</c:v>
                </c:pt>
                <c:pt idx="9418">
                  <c:v>#N/A</c:v>
                </c:pt>
                <c:pt idx="9419">
                  <c:v>-2.7423799999999998</c:v>
                </c:pt>
                <c:pt idx="9420">
                  <c:v>-2.5731199999999999</c:v>
                </c:pt>
                <c:pt idx="9421">
                  <c:v>-2.5115400000000001</c:v>
                </c:pt>
                <c:pt idx="9422">
                  <c:v>#N/A</c:v>
                </c:pt>
                <c:pt idx="9423">
                  <c:v>-3.06969</c:v>
                </c:pt>
                <c:pt idx="9424">
                  <c:v>-3.2043900000000001</c:v>
                </c:pt>
                <c:pt idx="9425">
                  <c:v>-3.5743200000000002</c:v>
                </c:pt>
                <c:pt idx="9426">
                  <c:v>#N/A</c:v>
                </c:pt>
                <c:pt idx="9427">
                  <c:v>-3.2448000000000001</c:v>
                </c:pt>
                <c:pt idx="9428">
                  <c:v>-2.7565200000000001</c:v>
                </c:pt>
                <c:pt idx="9429">
                  <c:v>-2.7962899999999999</c:v>
                </c:pt>
                <c:pt idx="9430">
                  <c:v>#N/A</c:v>
                </c:pt>
                <c:pt idx="9431">
                  <c:v>-3.1071499999999999</c:v>
                </c:pt>
                <c:pt idx="9432">
                  <c:v>-2.9479799999999998</c:v>
                </c:pt>
                <c:pt idx="9433">
                  <c:v>#N/A</c:v>
                </c:pt>
                <c:pt idx="9434">
                  <c:v>-2.9558499999999999</c:v>
                </c:pt>
                <c:pt idx="9435">
                  <c:v>-3.5408300000000001</c:v>
                </c:pt>
                <c:pt idx="9436">
                  <c:v>-3.3645299999999998</c:v>
                </c:pt>
                <c:pt idx="9437">
                  <c:v>#N/A</c:v>
                </c:pt>
                <c:pt idx="9438">
                  <c:v>-2.4653700000000001</c:v>
                </c:pt>
                <c:pt idx="9439">
                  <c:v>-2.3444099999999999</c:v>
                </c:pt>
                <c:pt idx="9440">
                  <c:v>-2.3018100000000001</c:v>
                </c:pt>
                <c:pt idx="9441">
                  <c:v>#N/A</c:v>
                </c:pt>
                <c:pt idx="9442">
                  <c:v>-2.7561100000000001</c:v>
                </c:pt>
                <c:pt idx="9443">
                  <c:v>-3.3531599999999999</c:v>
                </c:pt>
                <c:pt idx="9444">
                  <c:v>-3.7854999999999999</c:v>
                </c:pt>
                <c:pt idx="9445">
                  <c:v>#N/A</c:v>
                </c:pt>
                <c:pt idx="9446">
                  <c:v>-2.9893999999999998</c:v>
                </c:pt>
                <c:pt idx="9447">
                  <c:v>-2.7579199999999999</c:v>
                </c:pt>
                <c:pt idx="9448">
                  <c:v>-2.4289900000000002</c:v>
                </c:pt>
                <c:pt idx="9449">
                  <c:v>#N/A</c:v>
                </c:pt>
                <c:pt idx="9450">
                  <c:v>-1.82517</c:v>
                </c:pt>
                <c:pt idx="9451">
                  <c:v>-1.9028099999999999</c:v>
                </c:pt>
                <c:pt idx="9452">
                  <c:v>-2.4901300000000002</c:v>
                </c:pt>
                <c:pt idx="9453">
                  <c:v>#N/A</c:v>
                </c:pt>
                <c:pt idx="9454">
                  <c:v>-3.2029100000000001</c:v>
                </c:pt>
                <c:pt idx="9455">
                  <c:v>-3.0181</c:v>
                </c:pt>
                <c:pt idx="9456">
                  <c:v>-3.9308399999999999</c:v>
                </c:pt>
                <c:pt idx="9457">
                  <c:v>#N/A</c:v>
                </c:pt>
                <c:pt idx="9458">
                  <c:v>-3.3100499999999999</c:v>
                </c:pt>
                <c:pt idx="9459">
                  <c:v>-2.1220300000000001</c:v>
                </c:pt>
                <c:pt idx="9460">
                  <c:v>#N/A</c:v>
                </c:pt>
                <c:pt idx="9461">
                  <c:v>-2.2332000000000001</c:v>
                </c:pt>
                <c:pt idx="9462">
                  <c:v>#N/A</c:v>
                </c:pt>
                <c:pt idx="9463">
                  <c:v>-1.6745699999999999</c:v>
                </c:pt>
                <c:pt idx="9464">
                  <c:v>-2.8644400000000001</c:v>
                </c:pt>
                <c:pt idx="9465">
                  <c:v>#N/A</c:v>
                </c:pt>
                <c:pt idx="9466">
                  <c:v>-3.6322000000000001</c:v>
                </c:pt>
                <c:pt idx="9467">
                  <c:v>-3.8573900000000001</c:v>
                </c:pt>
                <c:pt idx="9468">
                  <c:v>-3.29359</c:v>
                </c:pt>
                <c:pt idx="9469">
                  <c:v>#N/A</c:v>
                </c:pt>
                <c:pt idx="9470">
                  <c:v>-3.3469000000000002</c:v>
                </c:pt>
                <c:pt idx="9471">
                  <c:v>-2.8166000000000002</c:v>
                </c:pt>
                <c:pt idx="9472">
                  <c:v>#N/A</c:v>
                </c:pt>
                <c:pt idx="9473">
                  <c:v>-2.27135</c:v>
                </c:pt>
                <c:pt idx="9474">
                  <c:v>-2.2724500000000001</c:v>
                </c:pt>
                <c:pt idx="9475">
                  <c:v>-2.76302</c:v>
                </c:pt>
                <c:pt idx="9476">
                  <c:v>#N/A</c:v>
                </c:pt>
                <c:pt idx="9477">
                  <c:v>-3.1506699999999999</c:v>
                </c:pt>
                <c:pt idx="9478">
                  <c:v>-3.75048</c:v>
                </c:pt>
                <c:pt idx="9479">
                  <c:v>-3.5922100000000001</c:v>
                </c:pt>
                <c:pt idx="9480">
                  <c:v>#N/A</c:v>
                </c:pt>
                <c:pt idx="9481">
                  <c:v>-2.6929699999999999</c:v>
                </c:pt>
                <c:pt idx="9482">
                  <c:v>-2.5117500000000001</c:v>
                </c:pt>
                <c:pt idx="9483">
                  <c:v>#N/A</c:v>
                </c:pt>
                <c:pt idx="9484">
                  <c:v>-3.1078100000000002</c:v>
                </c:pt>
                <c:pt idx="9485">
                  <c:v>-3.5043600000000001</c:v>
                </c:pt>
                <c:pt idx="9486">
                  <c:v>-3.7047500000000002</c:v>
                </c:pt>
                <c:pt idx="9487">
                  <c:v>#N/A</c:v>
                </c:pt>
                <c:pt idx="9488">
                  <c:v>-3.6608100000000001</c:v>
                </c:pt>
                <c:pt idx="9489">
                  <c:v>-3.2147800000000002</c:v>
                </c:pt>
                <c:pt idx="9490">
                  <c:v>-3.2056</c:v>
                </c:pt>
                <c:pt idx="9491">
                  <c:v>#N/A</c:v>
                </c:pt>
                <c:pt idx="9492">
                  <c:v>-2.9742000000000002</c:v>
                </c:pt>
                <c:pt idx="9493">
                  <c:v>-2.2077</c:v>
                </c:pt>
                <c:pt idx="9494">
                  <c:v>-2.3979400000000002</c:v>
                </c:pt>
                <c:pt idx="9495">
                  <c:v>#N/A</c:v>
                </c:pt>
                <c:pt idx="9496">
                  <c:v>-2.8790499999999999</c:v>
                </c:pt>
                <c:pt idx="9497">
                  <c:v>-2.4449100000000001</c:v>
                </c:pt>
                <c:pt idx="9498">
                  <c:v>-2.6715599999999999</c:v>
                </c:pt>
                <c:pt idx="9499">
                  <c:v>#N/A</c:v>
                </c:pt>
                <c:pt idx="9500">
                  <c:v>-2.14663</c:v>
                </c:pt>
                <c:pt idx="9501">
                  <c:v>-1.92127</c:v>
                </c:pt>
                <c:pt idx="9502">
                  <c:v>-1.7778400000000001</c:v>
                </c:pt>
                <c:pt idx="9503">
                  <c:v>#N/A</c:v>
                </c:pt>
                <c:pt idx="9504">
                  <c:v>-1.9988600000000001</c:v>
                </c:pt>
                <c:pt idx="9505">
                  <c:v>-2.7095500000000001</c:v>
                </c:pt>
                <c:pt idx="9506">
                  <c:v>-2.8349000000000002</c:v>
                </c:pt>
                <c:pt idx="9507">
                  <c:v>#N/A</c:v>
                </c:pt>
                <c:pt idx="9508">
                  <c:v>-3.3227899999999999</c:v>
                </c:pt>
                <c:pt idx="9509">
                  <c:v>-2.8741099999999999</c:v>
                </c:pt>
                <c:pt idx="9510">
                  <c:v>-2.5367700000000002</c:v>
                </c:pt>
                <c:pt idx="9511">
                  <c:v>#N/A</c:v>
                </c:pt>
                <c:pt idx="9512">
                  <c:v>-2.13666</c:v>
                </c:pt>
                <c:pt idx="9513">
                  <c:v>-2.2751100000000002</c:v>
                </c:pt>
                <c:pt idx="9514">
                  <c:v>#N/A</c:v>
                </c:pt>
                <c:pt idx="9515">
                  <c:v>-2.24519</c:v>
                </c:pt>
                <c:pt idx="9516">
                  <c:v>-3.0556800000000002</c:v>
                </c:pt>
                <c:pt idx="9517">
                  <c:v>-3.3290500000000001</c:v>
                </c:pt>
                <c:pt idx="9518">
                  <c:v>#N/A</c:v>
                </c:pt>
                <c:pt idx="9519">
                  <c:v>-3.4396300000000002</c:v>
                </c:pt>
                <c:pt idx="9520">
                  <c:v>-3.0062099999999998</c:v>
                </c:pt>
                <c:pt idx="9521">
                  <c:v>-2.3957099999999998</c:v>
                </c:pt>
                <c:pt idx="9522">
                  <c:v>#N/A</c:v>
                </c:pt>
                <c:pt idx="9523">
                  <c:v>-1.5176499999999999</c:v>
                </c:pt>
                <c:pt idx="9524">
                  <c:v>-1.2651399999999999</c:v>
                </c:pt>
                <c:pt idx="9525">
                  <c:v>-2.1749800000000001</c:v>
                </c:pt>
                <c:pt idx="9526">
                  <c:v>#N/A</c:v>
                </c:pt>
                <c:pt idx="9527">
                  <c:v>-2.6729400000000001</c:v>
                </c:pt>
                <c:pt idx="9528">
                  <c:v>-2.8451900000000001</c:v>
                </c:pt>
                <c:pt idx="9529">
                  <c:v>-2.9896500000000001</c:v>
                </c:pt>
                <c:pt idx="9530">
                  <c:v>#N/A</c:v>
                </c:pt>
                <c:pt idx="9531">
                  <c:v>-3.0519799999999999</c:v>
                </c:pt>
                <c:pt idx="9532">
                  <c:v>-2.7353800000000001</c:v>
                </c:pt>
                <c:pt idx="9533">
                  <c:v>-1.8910100000000001</c:v>
                </c:pt>
                <c:pt idx="9534">
                  <c:v>#N/A</c:v>
                </c:pt>
                <c:pt idx="9535">
                  <c:v>-1.67252</c:v>
                </c:pt>
                <c:pt idx="9536">
                  <c:v>-2.1796000000000002</c:v>
                </c:pt>
                <c:pt idx="9537">
                  <c:v>#N/A</c:v>
                </c:pt>
                <c:pt idx="9538">
                  <c:v>-2.42435</c:v>
                </c:pt>
                <c:pt idx="9539">
                  <c:v>-2.89269</c:v>
                </c:pt>
                <c:pt idx="9540">
                  <c:v>-3.1309</c:v>
                </c:pt>
                <c:pt idx="9541">
                  <c:v>#N/A</c:v>
                </c:pt>
                <c:pt idx="9542">
                  <c:v>-2.62066</c:v>
                </c:pt>
                <c:pt idx="9543">
                  <c:v>-2.37846</c:v>
                </c:pt>
                <c:pt idx="9544">
                  <c:v>#N/A</c:v>
                </c:pt>
                <c:pt idx="9545">
                  <c:v>-2.39927</c:v>
                </c:pt>
                <c:pt idx="9546">
                  <c:v>-1.9335899999999999</c:v>
                </c:pt>
                <c:pt idx="9547">
                  <c:v>-2.1760600000000001</c:v>
                </c:pt>
                <c:pt idx="9548">
                  <c:v>#N/A</c:v>
                </c:pt>
                <c:pt idx="9549">
                  <c:v>-3.0351699999999999</c:v>
                </c:pt>
                <c:pt idx="9550">
                  <c:v>-2.8843399999999999</c:v>
                </c:pt>
                <c:pt idx="9551">
                  <c:v>-3.2246899999999998</c:v>
                </c:pt>
                <c:pt idx="9552">
                  <c:v>#N/A</c:v>
                </c:pt>
                <c:pt idx="9553">
                  <c:v>-2.9719199999999999</c:v>
                </c:pt>
                <c:pt idx="9554">
                  <c:v>-2.1098499999999998</c:v>
                </c:pt>
                <c:pt idx="9555">
                  <c:v>-2.0121699999999998</c:v>
                </c:pt>
                <c:pt idx="9556">
                  <c:v>#N/A</c:v>
                </c:pt>
                <c:pt idx="9557">
                  <c:v>-2.23935</c:v>
                </c:pt>
                <c:pt idx="9558">
                  <c:v>-2.2593899999999998</c:v>
                </c:pt>
                <c:pt idx="9559">
                  <c:v>#N/A</c:v>
                </c:pt>
                <c:pt idx="9560">
                  <c:v>-2.8988299999999998</c:v>
                </c:pt>
                <c:pt idx="9561">
                  <c:v>-2.75325</c:v>
                </c:pt>
                <c:pt idx="9562">
                  <c:v>#N/A</c:v>
                </c:pt>
                <c:pt idx="9563">
                  <c:v>-2.4554499999999999</c:v>
                </c:pt>
                <c:pt idx="9564">
                  <c:v>-2.3446099999999999</c:v>
                </c:pt>
                <c:pt idx="9565">
                  <c:v>-2.0261100000000001</c:v>
                </c:pt>
                <c:pt idx="9566">
                  <c:v>#N/A</c:v>
                </c:pt>
                <c:pt idx="9567">
                  <c:v>-1.8076000000000001</c:v>
                </c:pt>
                <c:pt idx="9568">
                  <c:v>-1.7587299999999999</c:v>
                </c:pt>
                <c:pt idx="9569">
                  <c:v>-2.47722</c:v>
                </c:pt>
                <c:pt idx="9570">
                  <c:v>#N/A</c:v>
                </c:pt>
                <c:pt idx="9571">
                  <c:v>-2.34551</c:v>
                </c:pt>
                <c:pt idx="9572">
                  <c:v>-2.3107099999999998</c:v>
                </c:pt>
                <c:pt idx="9573">
                  <c:v>-1.87934</c:v>
                </c:pt>
                <c:pt idx="9574">
                  <c:v>#N/A</c:v>
                </c:pt>
                <c:pt idx="9575">
                  <c:v>-2.5073300000000001</c:v>
                </c:pt>
                <c:pt idx="9576">
                  <c:v>-1.8710599999999999</c:v>
                </c:pt>
                <c:pt idx="9577">
                  <c:v>-3.1605300000000001</c:v>
                </c:pt>
                <c:pt idx="9578">
                  <c:v>#N/A</c:v>
                </c:pt>
                <c:pt idx="9579">
                  <c:v>-2.5067200000000001</c:v>
                </c:pt>
                <c:pt idx="9580">
                  <c:v>-2.1514500000000001</c:v>
                </c:pt>
                <c:pt idx="9581">
                  <c:v>-2.5714199999999998</c:v>
                </c:pt>
                <c:pt idx="9582">
                  <c:v>#N/A</c:v>
                </c:pt>
                <c:pt idx="9583">
                  <c:v>-2.5318999999999998</c:v>
                </c:pt>
                <c:pt idx="9584">
                  <c:v>-2.2966600000000001</c:v>
                </c:pt>
                <c:pt idx="9585">
                  <c:v>-1.5292699999999999</c:v>
                </c:pt>
                <c:pt idx="9586">
                  <c:v>#N/A</c:v>
                </c:pt>
                <c:pt idx="9587">
                  <c:v>-1.94234</c:v>
                </c:pt>
                <c:pt idx="9588">
                  <c:v>-2.3065099999999998</c:v>
                </c:pt>
                <c:pt idx="9589">
                  <c:v>-2.9834499999999999</c:v>
                </c:pt>
                <c:pt idx="9590">
                  <c:v>#N/A</c:v>
                </c:pt>
                <c:pt idx="9591">
                  <c:v>-2.5946500000000001</c:v>
                </c:pt>
                <c:pt idx="9592">
                  <c:v>-3.2402799999999998</c:v>
                </c:pt>
                <c:pt idx="9593">
                  <c:v>#N/A</c:v>
                </c:pt>
                <c:pt idx="9594">
                  <c:v>-2.2403400000000002</c:v>
                </c:pt>
                <c:pt idx="9595">
                  <c:v>-2.1810800000000001</c:v>
                </c:pt>
                <c:pt idx="9596">
                  <c:v>-1.4458800000000001</c:v>
                </c:pt>
                <c:pt idx="9597">
                  <c:v>#N/A</c:v>
                </c:pt>
                <c:pt idx="9598">
                  <c:v>-1.6879999999999999</c:v>
                </c:pt>
                <c:pt idx="9599">
                  <c:v>-1.8273900000000001</c:v>
                </c:pt>
                <c:pt idx="9600">
                  <c:v>-2.7783600000000002</c:v>
                </c:pt>
                <c:pt idx="9601">
                  <c:v>#N/A</c:v>
                </c:pt>
                <c:pt idx="9602">
                  <c:v>-3.1199599999999998</c:v>
                </c:pt>
                <c:pt idx="9603">
                  <c:v>-2.8727499999999999</c:v>
                </c:pt>
                <c:pt idx="9604">
                  <c:v>-2.4094799999999998</c:v>
                </c:pt>
                <c:pt idx="9605">
                  <c:v>#N/A</c:v>
                </c:pt>
                <c:pt idx="9606">
                  <c:v>-2.1454200000000001</c:v>
                </c:pt>
                <c:pt idx="9607">
                  <c:v>-2.28498</c:v>
                </c:pt>
                <c:pt idx="9608">
                  <c:v>-2.2133699999999998</c:v>
                </c:pt>
                <c:pt idx="9609">
                  <c:v>#N/A</c:v>
                </c:pt>
                <c:pt idx="9610">
                  <c:v>#N/A</c:v>
                </c:pt>
                <c:pt idx="9611">
                  <c:v>-2.0731299999999999</c:v>
                </c:pt>
                <c:pt idx="9612">
                  <c:v>-3.32924</c:v>
                </c:pt>
                <c:pt idx="9613">
                  <c:v>#N/A</c:v>
                </c:pt>
                <c:pt idx="9614">
                  <c:v>-3.2913199999999998</c:v>
                </c:pt>
                <c:pt idx="9615">
                  <c:v>-2.70181</c:v>
                </c:pt>
                <c:pt idx="9616">
                  <c:v>#N/A</c:v>
                </c:pt>
                <c:pt idx="9617">
                  <c:v>-2.3896999999999999</c:v>
                </c:pt>
                <c:pt idx="9618">
                  <c:v>-1.8493599999999999</c:v>
                </c:pt>
                <c:pt idx="9619">
                  <c:v>-1.7318899999999999</c:v>
                </c:pt>
                <c:pt idx="9620">
                  <c:v>#N/A</c:v>
                </c:pt>
                <c:pt idx="9621">
                  <c:v>-2.4118900000000001</c:v>
                </c:pt>
                <c:pt idx="9622">
                  <c:v>-2.7065100000000002</c:v>
                </c:pt>
                <c:pt idx="9623">
                  <c:v>-3.1275200000000001</c:v>
                </c:pt>
                <c:pt idx="9624">
                  <c:v>#N/A</c:v>
                </c:pt>
                <c:pt idx="9625">
                  <c:v>-2.9679199999999999</c:v>
                </c:pt>
                <c:pt idx="9626">
                  <c:v>-2.7002899999999999</c:v>
                </c:pt>
                <c:pt idx="9627">
                  <c:v>-1.9434</c:v>
                </c:pt>
                <c:pt idx="9628">
                  <c:v>#N/A</c:v>
                </c:pt>
                <c:pt idx="9629">
                  <c:v>-1.8615600000000001</c:v>
                </c:pt>
                <c:pt idx="9630">
                  <c:v>-1.9086700000000001</c:v>
                </c:pt>
                <c:pt idx="9631">
                  <c:v>-1.6854100000000001</c:v>
                </c:pt>
                <c:pt idx="9632">
                  <c:v>#N/A</c:v>
                </c:pt>
                <c:pt idx="9633">
                  <c:v>-2.2597100000000001</c:v>
                </c:pt>
                <c:pt idx="9634">
                  <c:v>-2.5767099999999998</c:v>
                </c:pt>
                <c:pt idx="9635">
                  <c:v>-2.4649999999999999</c:v>
                </c:pt>
                <c:pt idx="9636">
                  <c:v>#N/A</c:v>
                </c:pt>
                <c:pt idx="9637">
                  <c:v>-2.5722200000000002</c:v>
                </c:pt>
                <c:pt idx="9638">
                  <c:v>-2.26709</c:v>
                </c:pt>
                <c:pt idx="9639">
                  <c:v>-2.15713</c:v>
                </c:pt>
                <c:pt idx="9640">
                  <c:v>#N/A</c:v>
                </c:pt>
                <c:pt idx="9641">
                  <c:v>-2.1034600000000001</c:v>
                </c:pt>
                <c:pt idx="9642">
                  <c:v>-2.6421700000000001</c:v>
                </c:pt>
                <c:pt idx="9643">
                  <c:v>-2.5028899999999998</c:v>
                </c:pt>
                <c:pt idx="9644">
                  <c:v>#N/A</c:v>
                </c:pt>
                <c:pt idx="9645">
                  <c:v>-2.7407599999999999</c:v>
                </c:pt>
                <c:pt idx="9646">
                  <c:v>-2.2822900000000002</c:v>
                </c:pt>
                <c:pt idx="9647">
                  <c:v>#N/A</c:v>
                </c:pt>
                <c:pt idx="9648">
                  <c:v>-2.3799800000000002</c:v>
                </c:pt>
                <c:pt idx="9649">
                  <c:v>-2.1926299999999999</c:v>
                </c:pt>
                <c:pt idx="9650">
                  <c:v>-2.0881599999999998</c:v>
                </c:pt>
                <c:pt idx="9651">
                  <c:v>#N/A</c:v>
                </c:pt>
                <c:pt idx="9652">
                  <c:v>-2.2128700000000001</c:v>
                </c:pt>
                <c:pt idx="9653">
                  <c:v>-2.3068599999999999</c:v>
                </c:pt>
                <c:pt idx="9654">
                  <c:v>-2.6326800000000001</c:v>
                </c:pt>
                <c:pt idx="9655">
                  <c:v>#N/A</c:v>
                </c:pt>
                <c:pt idx="9656">
                  <c:v>-2.1565300000000001</c:v>
                </c:pt>
                <c:pt idx="9657">
                  <c:v>-2.0586500000000001</c:v>
                </c:pt>
                <c:pt idx="9658">
                  <c:v>-2.1358199999999998</c:v>
                </c:pt>
                <c:pt idx="9659">
                  <c:v>#N/A</c:v>
                </c:pt>
                <c:pt idx="9660">
                  <c:v>-1.9692400000000001</c:v>
                </c:pt>
                <c:pt idx="9661">
                  <c:v>-1.7070099999999999</c:v>
                </c:pt>
                <c:pt idx="9662">
                  <c:v>-2.6084000000000001</c:v>
                </c:pt>
                <c:pt idx="9663">
                  <c:v>#N/A</c:v>
                </c:pt>
                <c:pt idx="9664">
                  <c:v>-2.968</c:v>
                </c:pt>
                <c:pt idx="9665">
                  <c:v>-3.3922500000000002</c:v>
                </c:pt>
                <c:pt idx="9666">
                  <c:v>-3.2393800000000001</c:v>
                </c:pt>
                <c:pt idx="9667">
                  <c:v>#N/A</c:v>
                </c:pt>
                <c:pt idx="9668">
                  <c:v>-3.0686499999999999</c:v>
                </c:pt>
                <c:pt idx="9669">
                  <c:v>-2.21793</c:v>
                </c:pt>
                <c:pt idx="9670">
                  <c:v>#N/A</c:v>
                </c:pt>
                <c:pt idx="9671">
                  <c:v>-1.6977899999999999</c:v>
                </c:pt>
                <c:pt idx="9672">
                  <c:v>-2.48231</c:v>
                </c:pt>
                <c:pt idx="9673">
                  <c:v>-2.5070199999999998</c:v>
                </c:pt>
                <c:pt idx="9674">
                  <c:v>#N/A</c:v>
                </c:pt>
                <c:pt idx="9675">
                  <c:v>-2.7766700000000002</c:v>
                </c:pt>
                <c:pt idx="9676">
                  <c:v>-2.8240799999999999</c:v>
                </c:pt>
                <c:pt idx="9677">
                  <c:v>-1.9711700000000001</c:v>
                </c:pt>
                <c:pt idx="9678">
                  <c:v>#N/A</c:v>
                </c:pt>
                <c:pt idx="9679">
                  <c:v>-1.7169700000000001</c:v>
                </c:pt>
                <c:pt idx="9680">
                  <c:v>-1.7019</c:v>
                </c:pt>
                <c:pt idx="9681">
                  <c:v>-1.74488</c:v>
                </c:pt>
                <c:pt idx="9682">
                  <c:v>#N/A</c:v>
                </c:pt>
                <c:pt idx="9683">
                  <c:v>-1.6178999999999999</c:v>
                </c:pt>
                <c:pt idx="9684">
                  <c:v>-2.2137600000000002</c:v>
                </c:pt>
                <c:pt idx="9685">
                  <c:v>#N/A</c:v>
                </c:pt>
                <c:pt idx="9686">
                  <c:v>-2.9771100000000001</c:v>
                </c:pt>
                <c:pt idx="9687">
                  <c:v>#N/A</c:v>
                </c:pt>
                <c:pt idx="9688">
                  <c:v>-2.4509699999999999</c:v>
                </c:pt>
                <c:pt idx="9689">
                  <c:v>-2.29392</c:v>
                </c:pt>
                <c:pt idx="9690">
                  <c:v>#N/A</c:v>
                </c:pt>
                <c:pt idx="9691">
                  <c:v>-1.52955</c:v>
                </c:pt>
                <c:pt idx="9692">
                  <c:v>-1.47102</c:v>
                </c:pt>
                <c:pt idx="9693">
                  <c:v>-1.54308</c:v>
                </c:pt>
                <c:pt idx="9694">
                  <c:v>#N/A</c:v>
                </c:pt>
                <c:pt idx="9695">
                  <c:v>-2.5438000000000001</c:v>
                </c:pt>
                <c:pt idx="9696">
                  <c:v>-3.16276</c:v>
                </c:pt>
                <c:pt idx="9697">
                  <c:v>#N/A</c:v>
                </c:pt>
                <c:pt idx="9698">
                  <c:v>-3.3136899999999998</c:v>
                </c:pt>
                <c:pt idx="9699">
                  <c:v>-2.7646999999999999</c:v>
                </c:pt>
                <c:pt idx="9700">
                  <c:v>-1.8312200000000001</c:v>
                </c:pt>
                <c:pt idx="9701">
                  <c:v>#N/A</c:v>
                </c:pt>
                <c:pt idx="9702">
                  <c:v>-1.70157</c:v>
                </c:pt>
                <c:pt idx="9703">
                  <c:v>-2.1011600000000001</c:v>
                </c:pt>
                <c:pt idx="9704">
                  <c:v>-2.12358</c:v>
                </c:pt>
                <c:pt idx="9705">
                  <c:v>#N/A</c:v>
                </c:pt>
                <c:pt idx="9706">
                  <c:v>-2.7121</c:v>
                </c:pt>
                <c:pt idx="9707">
                  <c:v>-2.4569100000000001</c:v>
                </c:pt>
                <c:pt idx="9708">
                  <c:v>-2.6796700000000002</c:v>
                </c:pt>
                <c:pt idx="9709">
                  <c:v>#N/A</c:v>
                </c:pt>
                <c:pt idx="9710">
                  <c:v>-2.00935</c:v>
                </c:pt>
                <c:pt idx="9711">
                  <c:v>-2.08555</c:v>
                </c:pt>
                <c:pt idx="9712">
                  <c:v>-1.9577599999999999</c:v>
                </c:pt>
                <c:pt idx="9713">
                  <c:v>#N/A</c:v>
                </c:pt>
                <c:pt idx="9714">
                  <c:v>-2.2523300000000002</c:v>
                </c:pt>
                <c:pt idx="9715">
                  <c:v>-2.28695</c:v>
                </c:pt>
                <c:pt idx="9716">
                  <c:v>#N/A</c:v>
                </c:pt>
                <c:pt idx="9717">
                  <c:v>-2.4155199999999999</c:v>
                </c:pt>
                <c:pt idx="9718">
                  <c:v>-2.2345999999999999</c:v>
                </c:pt>
                <c:pt idx="9719">
                  <c:v>-2.4300199999999998</c:v>
                </c:pt>
                <c:pt idx="9720">
                  <c:v>#N/A</c:v>
                </c:pt>
                <c:pt idx="9721">
                  <c:v>-2.4608599999999998</c:v>
                </c:pt>
                <c:pt idx="9722">
                  <c:v>-2.3075199999999998</c:v>
                </c:pt>
                <c:pt idx="9723">
                  <c:v>-2.1473100000000001</c:v>
                </c:pt>
                <c:pt idx="9724">
                  <c:v>#N/A</c:v>
                </c:pt>
                <c:pt idx="9725">
                  <c:v>-2.2098800000000001</c:v>
                </c:pt>
                <c:pt idx="9726">
                  <c:v>-2.2680400000000001</c:v>
                </c:pt>
                <c:pt idx="9727">
                  <c:v>-2.6525099999999999</c:v>
                </c:pt>
                <c:pt idx="9728">
                  <c:v>#N/A</c:v>
                </c:pt>
                <c:pt idx="9729">
                  <c:v>-2.95512</c:v>
                </c:pt>
                <c:pt idx="9730">
                  <c:v>-2.7229199999999998</c:v>
                </c:pt>
                <c:pt idx="9731">
                  <c:v>-1.92143</c:v>
                </c:pt>
                <c:pt idx="9732">
                  <c:v>#N/A</c:v>
                </c:pt>
                <c:pt idx="9733">
                  <c:v>-2.15584</c:v>
                </c:pt>
                <c:pt idx="9734">
                  <c:v>-2.5485699999999998</c:v>
                </c:pt>
                <c:pt idx="9735">
                  <c:v>-1.9504699999999999</c:v>
                </c:pt>
                <c:pt idx="9736">
                  <c:v>#N/A</c:v>
                </c:pt>
                <c:pt idx="9737">
                  <c:v>-2.8253900000000001</c:v>
                </c:pt>
                <c:pt idx="9738">
                  <c:v>-2.7238199999999999</c:v>
                </c:pt>
                <c:pt idx="9739">
                  <c:v>-2.7774399999999999</c:v>
                </c:pt>
                <c:pt idx="9740">
                  <c:v>#N/A</c:v>
                </c:pt>
                <c:pt idx="9741">
                  <c:v>-2.19834</c:v>
                </c:pt>
                <c:pt idx="9742">
                  <c:v>-1.9752799999999999</c:v>
                </c:pt>
                <c:pt idx="9743">
                  <c:v>-1.8643700000000001</c:v>
                </c:pt>
                <c:pt idx="9744">
                  <c:v>#N/A</c:v>
                </c:pt>
                <c:pt idx="9745">
                  <c:v>-1.91568</c:v>
                </c:pt>
                <c:pt idx="9746">
                  <c:v>-2.4577</c:v>
                </c:pt>
                <c:pt idx="9747">
                  <c:v>#N/A</c:v>
                </c:pt>
                <c:pt idx="9748">
                  <c:v>-2.89167</c:v>
                </c:pt>
                <c:pt idx="9749">
                  <c:v>-2.5205500000000001</c:v>
                </c:pt>
                <c:pt idx="9750">
                  <c:v>-2.1452</c:v>
                </c:pt>
                <c:pt idx="9751">
                  <c:v>#N/A</c:v>
                </c:pt>
                <c:pt idx="9752">
                  <c:v>-1.93092</c:v>
                </c:pt>
                <c:pt idx="9753">
                  <c:v>-1.8898600000000001</c:v>
                </c:pt>
                <c:pt idx="9754">
                  <c:v>-1.5418700000000001</c:v>
                </c:pt>
                <c:pt idx="9755">
                  <c:v>#N/A</c:v>
                </c:pt>
                <c:pt idx="9756">
                  <c:v>-1.68194</c:v>
                </c:pt>
                <c:pt idx="9757">
                  <c:v>-2.5021599999999999</c:v>
                </c:pt>
                <c:pt idx="9758">
                  <c:v>#N/A</c:v>
                </c:pt>
                <c:pt idx="9759">
                  <c:v>-3.1601699999999999</c:v>
                </c:pt>
                <c:pt idx="9760">
                  <c:v>#N/A</c:v>
                </c:pt>
                <c:pt idx="9761">
                  <c:v>-2.9844900000000001</c:v>
                </c:pt>
                <c:pt idx="9762">
                  <c:v>-2.4449000000000001</c:v>
                </c:pt>
                <c:pt idx="9763">
                  <c:v>-1.9430499999999999</c:v>
                </c:pt>
                <c:pt idx="9764">
                  <c:v>#N/A</c:v>
                </c:pt>
                <c:pt idx="9765">
                  <c:v>-1.57195</c:v>
                </c:pt>
                <c:pt idx="9766">
                  <c:v>-1.86429</c:v>
                </c:pt>
                <c:pt idx="9767">
                  <c:v>-1.96576</c:v>
                </c:pt>
                <c:pt idx="9768">
                  <c:v>#N/A</c:v>
                </c:pt>
                <c:pt idx="9769">
                  <c:v>-2.9729999999999999</c:v>
                </c:pt>
                <c:pt idx="9770">
                  <c:v>-3.0301900000000002</c:v>
                </c:pt>
                <c:pt idx="9771">
                  <c:v>-3.1642700000000001</c:v>
                </c:pt>
                <c:pt idx="9772">
                  <c:v>#N/A</c:v>
                </c:pt>
                <c:pt idx="9773">
                  <c:v>-2.31725</c:v>
                </c:pt>
                <c:pt idx="9774">
                  <c:v>-2.0790099999999998</c:v>
                </c:pt>
                <c:pt idx="9775">
                  <c:v>-1.56748</c:v>
                </c:pt>
                <c:pt idx="9776">
                  <c:v>#N/A</c:v>
                </c:pt>
                <c:pt idx="9777">
                  <c:v>-1.3343799999999999</c:v>
                </c:pt>
                <c:pt idx="9778">
                  <c:v>-2.5187599999999999</c:v>
                </c:pt>
                <c:pt idx="9779">
                  <c:v>-2.77278</c:v>
                </c:pt>
                <c:pt idx="9780">
                  <c:v>#N/A</c:v>
                </c:pt>
                <c:pt idx="9781">
                  <c:v>-2.5860599999999998</c:v>
                </c:pt>
                <c:pt idx="9782">
                  <c:v>-2.3115700000000001</c:v>
                </c:pt>
                <c:pt idx="9783">
                  <c:v>-2.1990500000000002</c:v>
                </c:pt>
                <c:pt idx="9784">
                  <c:v>#N/A</c:v>
                </c:pt>
                <c:pt idx="9785">
                  <c:v>-1.8964099999999999</c:v>
                </c:pt>
                <c:pt idx="9786">
                  <c:v>-2.1006</c:v>
                </c:pt>
                <c:pt idx="9787">
                  <c:v>#N/A</c:v>
                </c:pt>
                <c:pt idx="9788">
                  <c:v>-2.36896</c:v>
                </c:pt>
                <c:pt idx="9789">
                  <c:v>-2.64513</c:v>
                </c:pt>
                <c:pt idx="9790">
                  <c:v>-3.72919</c:v>
                </c:pt>
                <c:pt idx="9791">
                  <c:v>#N/A</c:v>
                </c:pt>
                <c:pt idx="9792">
                  <c:v>-3.3450700000000002</c:v>
                </c:pt>
                <c:pt idx="9793">
                  <c:v>-2.8097300000000001</c:v>
                </c:pt>
                <c:pt idx="9794">
                  <c:v>-2.33297</c:v>
                </c:pt>
                <c:pt idx="9795">
                  <c:v>#N/A</c:v>
                </c:pt>
                <c:pt idx="9796">
                  <c:v>-2.1398199999999998</c:v>
                </c:pt>
                <c:pt idx="9797">
                  <c:v>-2.3878699999999999</c:v>
                </c:pt>
                <c:pt idx="9798">
                  <c:v>-2.5340500000000001</c:v>
                </c:pt>
                <c:pt idx="9799">
                  <c:v>#N/A</c:v>
                </c:pt>
                <c:pt idx="9800">
                  <c:v>-2.3762699999999999</c:v>
                </c:pt>
                <c:pt idx="9801">
                  <c:v>-2.3712900000000001</c:v>
                </c:pt>
                <c:pt idx="9802">
                  <c:v>-2.4052699999999998</c:v>
                </c:pt>
                <c:pt idx="9803">
                  <c:v>#N/A</c:v>
                </c:pt>
                <c:pt idx="9804">
                  <c:v>-2.2805900000000001</c:v>
                </c:pt>
                <c:pt idx="9805">
                  <c:v>-2.17624</c:v>
                </c:pt>
                <c:pt idx="9806">
                  <c:v>-2.1335199999999999</c:v>
                </c:pt>
                <c:pt idx="9807">
                  <c:v>#N/A</c:v>
                </c:pt>
                <c:pt idx="9808">
                  <c:v>-2.7303000000000002</c:v>
                </c:pt>
                <c:pt idx="9809">
                  <c:v>-2.5733700000000002</c:v>
                </c:pt>
                <c:pt idx="9810">
                  <c:v>#N/A</c:v>
                </c:pt>
                <c:pt idx="9811">
                  <c:v>-2.6987299999999999</c:v>
                </c:pt>
                <c:pt idx="9812">
                  <c:v>-2.5035699999999999</c:v>
                </c:pt>
                <c:pt idx="9813">
                  <c:v>-1.93872</c:v>
                </c:pt>
                <c:pt idx="9814">
                  <c:v>#N/A</c:v>
                </c:pt>
                <c:pt idx="9815">
                  <c:v>-1.99763</c:v>
                </c:pt>
                <c:pt idx="9816">
                  <c:v>-1.31738</c:v>
                </c:pt>
                <c:pt idx="9817">
                  <c:v>-2.0231400000000002</c:v>
                </c:pt>
                <c:pt idx="9818">
                  <c:v>#N/A</c:v>
                </c:pt>
                <c:pt idx="9819">
                  <c:v>-2.2458999999999998</c:v>
                </c:pt>
                <c:pt idx="9820">
                  <c:v>-3.0133800000000002</c:v>
                </c:pt>
                <c:pt idx="9821">
                  <c:v>-2.9729399999999999</c:v>
                </c:pt>
                <c:pt idx="9822">
                  <c:v>#N/A</c:v>
                </c:pt>
                <c:pt idx="9823">
                  <c:v>-3.3268300000000002</c:v>
                </c:pt>
                <c:pt idx="9824">
                  <c:v>-2.1006100000000001</c:v>
                </c:pt>
                <c:pt idx="9825">
                  <c:v>-1.9761200000000001</c:v>
                </c:pt>
                <c:pt idx="9826">
                  <c:v>#N/A</c:v>
                </c:pt>
                <c:pt idx="9827">
                  <c:v>-1.90489</c:v>
                </c:pt>
                <c:pt idx="9828">
                  <c:v>-2.0898599999999998</c:v>
                </c:pt>
                <c:pt idx="9829">
                  <c:v>-2.2541199999999999</c:v>
                </c:pt>
                <c:pt idx="9830">
                  <c:v>#N/A</c:v>
                </c:pt>
                <c:pt idx="9831">
                  <c:v>-2.6770700000000001</c:v>
                </c:pt>
                <c:pt idx="9832">
                  <c:v>-3.1124499999999999</c:v>
                </c:pt>
                <c:pt idx="9833">
                  <c:v>-3.2091500000000002</c:v>
                </c:pt>
                <c:pt idx="9834">
                  <c:v>#N/A</c:v>
                </c:pt>
                <c:pt idx="9835">
                  <c:v>-2.1354000000000002</c:v>
                </c:pt>
                <c:pt idx="9836">
                  <c:v>#N/A</c:v>
                </c:pt>
                <c:pt idx="9837">
                  <c:v>-1.8003199999999999</c:v>
                </c:pt>
                <c:pt idx="9838">
                  <c:v>#N/A</c:v>
                </c:pt>
                <c:pt idx="9839">
                  <c:v>-2.3791099999999998</c:v>
                </c:pt>
                <c:pt idx="9840">
                  <c:v>-2.5762100000000001</c:v>
                </c:pt>
                <c:pt idx="9841">
                  <c:v>#N/A</c:v>
                </c:pt>
                <c:pt idx="9842">
                  <c:v>-2.84619</c:v>
                </c:pt>
                <c:pt idx="9843">
                  <c:v>-2.9676399999999998</c:v>
                </c:pt>
                <c:pt idx="9844">
                  <c:v>-3.3105199999999999</c:v>
                </c:pt>
                <c:pt idx="9845">
                  <c:v>#N/A</c:v>
                </c:pt>
                <c:pt idx="9846">
                  <c:v>-2.87541</c:v>
                </c:pt>
                <c:pt idx="9847">
                  <c:v>-2.09795</c:v>
                </c:pt>
                <c:pt idx="9848">
                  <c:v>-1.8579000000000001</c:v>
                </c:pt>
                <c:pt idx="9849">
                  <c:v>#N/A</c:v>
                </c:pt>
                <c:pt idx="9850">
                  <c:v>-2.1886700000000001</c:v>
                </c:pt>
                <c:pt idx="9851">
                  <c:v>-3.5730200000000001</c:v>
                </c:pt>
                <c:pt idx="9852">
                  <c:v>-3.4879699999999998</c:v>
                </c:pt>
                <c:pt idx="9853">
                  <c:v>#N/A</c:v>
                </c:pt>
                <c:pt idx="9854">
                  <c:v>-3.2028099999999999</c:v>
                </c:pt>
                <c:pt idx="9855">
                  <c:v>-2.9191799999999999</c:v>
                </c:pt>
                <c:pt idx="9856">
                  <c:v>-2.7176100000000001</c:v>
                </c:pt>
                <c:pt idx="9857">
                  <c:v>#N/A</c:v>
                </c:pt>
                <c:pt idx="9858">
                  <c:v>-2.0548999999999999</c:v>
                </c:pt>
                <c:pt idx="9859">
                  <c:v>-1.91598</c:v>
                </c:pt>
                <c:pt idx="9860">
                  <c:v>-1.91472</c:v>
                </c:pt>
                <c:pt idx="9861">
                  <c:v>#N/A</c:v>
                </c:pt>
                <c:pt idx="9862">
                  <c:v>-2.76098</c:v>
                </c:pt>
                <c:pt idx="9863">
                  <c:v>-3.2033700000000001</c:v>
                </c:pt>
                <c:pt idx="9864">
                  <c:v>#N/A</c:v>
                </c:pt>
                <c:pt idx="9865">
                  <c:v>-3.05186</c:v>
                </c:pt>
                <c:pt idx="9866">
                  <c:v>-2.9670299999999998</c:v>
                </c:pt>
                <c:pt idx="9867">
                  <c:v>-2.2506400000000002</c:v>
                </c:pt>
                <c:pt idx="9868">
                  <c:v>#N/A</c:v>
                </c:pt>
                <c:pt idx="9869">
                  <c:v>-2.1271399999999998</c:v>
                </c:pt>
                <c:pt idx="9870">
                  <c:v>-1.9315500000000001</c:v>
                </c:pt>
                <c:pt idx="9871">
                  <c:v>-2.11232</c:v>
                </c:pt>
                <c:pt idx="9872">
                  <c:v>#N/A</c:v>
                </c:pt>
                <c:pt idx="9873">
                  <c:v>-2.5631300000000001</c:v>
                </c:pt>
                <c:pt idx="9874">
                  <c:v>-2.4733200000000002</c:v>
                </c:pt>
                <c:pt idx="9875">
                  <c:v>#N/A</c:v>
                </c:pt>
                <c:pt idx="9876">
                  <c:v>-2.7981500000000001</c:v>
                </c:pt>
                <c:pt idx="9877">
                  <c:v>-1.9812000000000001</c:v>
                </c:pt>
                <c:pt idx="9878">
                  <c:v>-1.6313800000000001</c:v>
                </c:pt>
                <c:pt idx="9879">
                  <c:v>#N/A</c:v>
                </c:pt>
                <c:pt idx="9880">
                  <c:v>-1.68598</c:v>
                </c:pt>
                <c:pt idx="9881">
                  <c:v>-3.0089800000000002</c:v>
                </c:pt>
                <c:pt idx="9882">
                  <c:v>-2.7433299999999998</c:v>
                </c:pt>
                <c:pt idx="9883">
                  <c:v>#N/A</c:v>
                </c:pt>
                <c:pt idx="9884">
                  <c:v>-2.7528800000000002</c:v>
                </c:pt>
                <c:pt idx="9885">
                  <c:v>-2.6064500000000002</c:v>
                </c:pt>
                <c:pt idx="9886">
                  <c:v>-2.6167799999999999</c:v>
                </c:pt>
                <c:pt idx="9887">
                  <c:v>#N/A</c:v>
                </c:pt>
                <c:pt idx="9888">
                  <c:v>-1.84033</c:v>
                </c:pt>
                <c:pt idx="9889">
                  <c:v>-2.1786500000000002</c:v>
                </c:pt>
                <c:pt idx="9890">
                  <c:v>-2.0788099999999998</c:v>
                </c:pt>
                <c:pt idx="9891">
                  <c:v>#N/A</c:v>
                </c:pt>
                <c:pt idx="9892">
                  <c:v>-2.32206</c:v>
                </c:pt>
                <c:pt idx="9893">
                  <c:v>-2.8393600000000001</c:v>
                </c:pt>
                <c:pt idx="9894">
                  <c:v>-2.8254600000000001</c:v>
                </c:pt>
                <c:pt idx="9895">
                  <c:v>#N/A</c:v>
                </c:pt>
                <c:pt idx="9896">
                  <c:v>-2.52651</c:v>
                </c:pt>
                <c:pt idx="9897">
                  <c:v>-2.5773600000000001</c:v>
                </c:pt>
                <c:pt idx="9898">
                  <c:v>-1.5210999999999999</c:v>
                </c:pt>
                <c:pt idx="9899">
                  <c:v>#N/A</c:v>
                </c:pt>
                <c:pt idx="9900">
                  <c:v>-1.7901499999999999</c:v>
                </c:pt>
                <c:pt idx="9901">
                  <c:v>-1.7901</c:v>
                </c:pt>
                <c:pt idx="9902">
                  <c:v>-1.5626800000000001</c:v>
                </c:pt>
                <c:pt idx="9903">
                  <c:v>#N/A</c:v>
                </c:pt>
                <c:pt idx="9904">
                  <c:v>-2.3706100000000001</c:v>
                </c:pt>
                <c:pt idx="9905">
                  <c:v>-3.3504700000000001</c:v>
                </c:pt>
                <c:pt idx="9906">
                  <c:v>#N/A</c:v>
                </c:pt>
                <c:pt idx="9907">
                  <c:v>-3.2230400000000001</c:v>
                </c:pt>
                <c:pt idx="9908">
                  <c:v>-2.44238</c:v>
                </c:pt>
                <c:pt idx="9909">
                  <c:v>-2.0364399999999998</c:v>
                </c:pt>
                <c:pt idx="9910">
                  <c:v>#N/A</c:v>
                </c:pt>
                <c:pt idx="9911">
                  <c:v>-2.3297099999999999</c:v>
                </c:pt>
                <c:pt idx="9912">
                  <c:v>-3.1466400000000001</c:v>
                </c:pt>
                <c:pt idx="9913">
                  <c:v>-2.7626900000000001</c:v>
                </c:pt>
                <c:pt idx="9914">
                  <c:v>#N/A</c:v>
                </c:pt>
                <c:pt idx="9915">
                  <c:v>-3.4624799999999998</c:v>
                </c:pt>
                <c:pt idx="9916">
                  <c:v>-3.5314999999999999</c:v>
                </c:pt>
                <c:pt idx="9917">
                  <c:v>-3.3938899999999999</c:v>
                </c:pt>
                <c:pt idx="9918">
                  <c:v>#N/A</c:v>
                </c:pt>
                <c:pt idx="9919">
                  <c:v>-2.8886099999999999</c:v>
                </c:pt>
                <c:pt idx="9920">
                  <c:v>-2.0897899999999998</c:v>
                </c:pt>
                <c:pt idx="9921">
                  <c:v>-1.7586900000000001</c:v>
                </c:pt>
                <c:pt idx="9922">
                  <c:v>#N/A</c:v>
                </c:pt>
                <c:pt idx="9923">
                  <c:v>-2.0735000000000001</c:v>
                </c:pt>
                <c:pt idx="9924">
                  <c:v>-2.8697400000000002</c:v>
                </c:pt>
                <c:pt idx="9925">
                  <c:v>-3.27671</c:v>
                </c:pt>
                <c:pt idx="9926">
                  <c:v>#N/A</c:v>
                </c:pt>
                <c:pt idx="9927">
                  <c:v>-2.7864300000000002</c:v>
                </c:pt>
                <c:pt idx="9928">
                  <c:v>-3.00684</c:v>
                </c:pt>
                <c:pt idx="9929">
                  <c:v>-2.8407</c:v>
                </c:pt>
                <c:pt idx="9930">
                  <c:v>#N/A</c:v>
                </c:pt>
                <c:pt idx="9931">
                  <c:v>-2.0977100000000002</c:v>
                </c:pt>
                <c:pt idx="9932">
                  <c:v>-1.87856</c:v>
                </c:pt>
                <c:pt idx="9933">
                  <c:v>-1.8441399999999999</c:v>
                </c:pt>
                <c:pt idx="9934">
                  <c:v>#N/A</c:v>
                </c:pt>
                <c:pt idx="9935">
                  <c:v>-2.34836</c:v>
                </c:pt>
                <c:pt idx="9936">
                  <c:v>-2.8827199999999999</c:v>
                </c:pt>
                <c:pt idx="9937">
                  <c:v>#N/A</c:v>
                </c:pt>
                <c:pt idx="9938">
                  <c:v>-2.4181499999999998</c:v>
                </c:pt>
                <c:pt idx="9939">
                  <c:v>-2.1401500000000002</c:v>
                </c:pt>
                <c:pt idx="9940">
                  <c:v>-2.44103</c:v>
                </c:pt>
                <c:pt idx="9941">
                  <c:v>#N/A</c:v>
                </c:pt>
                <c:pt idx="9942">
                  <c:v>-2.1477499999999998</c:v>
                </c:pt>
                <c:pt idx="9943">
                  <c:v>-2.0415999999999999</c:v>
                </c:pt>
                <c:pt idx="9944">
                  <c:v>-1.5410299999999999</c:v>
                </c:pt>
                <c:pt idx="9945">
                  <c:v>#N/A</c:v>
                </c:pt>
                <c:pt idx="9946">
                  <c:v>-2.0363000000000002</c:v>
                </c:pt>
                <c:pt idx="9947">
                  <c:v>-2.3879700000000001</c:v>
                </c:pt>
                <c:pt idx="9948">
                  <c:v>-2.9683700000000002</c:v>
                </c:pt>
                <c:pt idx="9949">
                  <c:v>#N/A</c:v>
                </c:pt>
                <c:pt idx="9950">
                  <c:v>-2.6004499999999999</c:v>
                </c:pt>
                <c:pt idx="9951">
                  <c:v>-2.0393400000000002</c:v>
                </c:pt>
                <c:pt idx="9952">
                  <c:v>-2.0855100000000002</c:v>
                </c:pt>
                <c:pt idx="9953">
                  <c:v>#N/A</c:v>
                </c:pt>
                <c:pt idx="9954">
                  <c:v>-2.6221700000000001</c:v>
                </c:pt>
                <c:pt idx="9955">
                  <c:v>-2.5461999999999998</c:v>
                </c:pt>
                <c:pt idx="9956">
                  <c:v>#N/A</c:v>
                </c:pt>
                <c:pt idx="9957">
                  <c:v>-2.4216899999999999</c:v>
                </c:pt>
                <c:pt idx="9958">
                  <c:v>-2.9575499999999999</c:v>
                </c:pt>
                <c:pt idx="9959">
                  <c:v>-2.38917</c:v>
                </c:pt>
                <c:pt idx="9960">
                  <c:v>#N/A</c:v>
                </c:pt>
                <c:pt idx="9961">
                  <c:v>-2.3630100000000001</c:v>
                </c:pt>
                <c:pt idx="9962">
                  <c:v>-1.6300600000000001</c:v>
                </c:pt>
                <c:pt idx="9963">
                  <c:v>-1.69668</c:v>
                </c:pt>
                <c:pt idx="9964">
                  <c:v>#N/A</c:v>
                </c:pt>
                <c:pt idx="9965">
                  <c:v>-2.03573</c:v>
                </c:pt>
                <c:pt idx="9966">
                  <c:v>-2.85507</c:v>
                </c:pt>
                <c:pt idx="9967">
                  <c:v>-2.6481400000000002</c:v>
                </c:pt>
                <c:pt idx="9968">
                  <c:v>#N/A</c:v>
                </c:pt>
                <c:pt idx="9969">
                  <c:v>-2.9395199999999999</c:v>
                </c:pt>
                <c:pt idx="9970">
                  <c:v>-2.2511100000000002</c:v>
                </c:pt>
                <c:pt idx="9971">
                  <c:v>-2.36496</c:v>
                </c:pt>
                <c:pt idx="9972">
                  <c:v>#N/A</c:v>
                </c:pt>
                <c:pt idx="9973">
                  <c:v>-2.0311400000000002</c:v>
                </c:pt>
                <c:pt idx="9974">
                  <c:v>-1.7305699999999999</c:v>
                </c:pt>
                <c:pt idx="9975">
                  <c:v>-2.3268800000000001</c:v>
                </c:pt>
                <c:pt idx="9976">
                  <c:v>#N/A</c:v>
                </c:pt>
                <c:pt idx="9977">
                  <c:v>-2.6411199999999999</c:v>
                </c:pt>
                <c:pt idx="9978">
                  <c:v>-2.27718</c:v>
                </c:pt>
                <c:pt idx="9979">
                  <c:v>-0.73669799999999996</c:v>
                </c:pt>
                <c:pt idx="9980">
                  <c:v>#N/A</c:v>
                </c:pt>
                <c:pt idx="9981">
                  <c:v>1.3657699999999999</c:v>
                </c:pt>
                <c:pt idx="9982">
                  <c:v>4.31562</c:v>
                </c:pt>
                <c:pt idx="9983">
                  <c:v>6.9329499999999999</c:v>
                </c:pt>
                <c:pt idx="9984">
                  <c:v>#N/A</c:v>
                </c:pt>
                <c:pt idx="9985">
                  <c:v>9.1225400000000008</c:v>
                </c:pt>
                <c:pt idx="9986">
                  <c:v>10.4291</c:v>
                </c:pt>
                <c:pt idx="9987">
                  <c:v>10.7926</c:v>
                </c:pt>
                <c:pt idx="9988">
                  <c:v>#N/A</c:v>
                </c:pt>
                <c:pt idx="9989">
                  <c:v>11.7776</c:v>
                </c:pt>
                <c:pt idx="9990">
                  <c:v>12.694800000000001</c:v>
                </c:pt>
                <c:pt idx="9991">
                  <c:v>13.6646</c:v>
                </c:pt>
                <c:pt idx="9992">
                  <c:v>#N/A</c:v>
                </c:pt>
                <c:pt idx="9993">
                  <c:v>14.4298</c:v>
                </c:pt>
                <c:pt idx="9994">
                  <c:v>16.073699999999999</c:v>
                </c:pt>
                <c:pt idx="9995">
                  <c:v>16.937799999999999</c:v>
                </c:pt>
                <c:pt idx="9996">
                  <c:v>#N/A</c:v>
                </c:pt>
                <c:pt idx="9997">
                  <c:v>17.629899999999999</c:v>
                </c:pt>
                <c:pt idx="9998">
                  <c:v>17.119499999999999</c:v>
                </c:pt>
                <c:pt idx="9999">
                  <c:v>15.3607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0D5-4B4A-903E-ACD09385A3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600018703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v>xaxis</c:v>
                </c:tx>
                <c:spPr>
                  <a:ln w="0">
                    <a:solidFill>
                      <a:schemeClr val="tx1"/>
                    </a:solidFill>
                  </a:ln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Data!$C$3:$C$10002</c15:sqref>
                        </c15:formulaRef>
                      </c:ext>
                    </c:extLst>
                    <c:numCache>
                      <c:formatCode>General</c:formatCode>
                      <c:ptCount val="1000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0</c:v>
                      </c:pt>
                      <c:pt idx="1151">
                        <c:v>0</c:v>
                      </c:pt>
                      <c:pt idx="1152">
                        <c:v>0</c:v>
                      </c:pt>
                      <c:pt idx="1153">
                        <c:v>0</c:v>
                      </c:pt>
                      <c:pt idx="1154">
                        <c:v>0</c:v>
                      </c:pt>
                      <c:pt idx="1155">
                        <c:v>0</c:v>
                      </c:pt>
                      <c:pt idx="1156">
                        <c:v>0</c:v>
                      </c:pt>
                      <c:pt idx="1157">
                        <c:v>0</c:v>
                      </c:pt>
                      <c:pt idx="1158">
                        <c:v>0</c:v>
                      </c:pt>
                      <c:pt idx="1159">
                        <c:v>0</c:v>
                      </c:pt>
                      <c:pt idx="1160">
                        <c:v>0</c:v>
                      </c:pt>
                      <c:pt idx="1161">
                        <c:v>0</c:v>
                      </c:pt>
                      <c:pt idx="1162">
                        <c:v>0</c:v>
                      </c:pt>
                      <c:pt idx="1163">
                        <c:v>0</c:v>
                      </c:pt>
                      <c:pt idx="1164">
                        <c:v>0</c:v>
                      </c:pt>
                      <c:pt idx="1165">
                        <c:v>0</c:v>
                      </c:pt>
                      <c:pt idx="1166">
                        <c:v>0</c:v>
                      </c:pt>
                      <c:pt idx="1167">
                        <c:v>0</c:v>
                      </c:pt>
                      <c:pt idx="1168">
                        <c:v>0</c:v>
                      </c:pt>
                      <c:pt idx="1169">
                        <c:v>0</c:v>
                      </c:pt>
                      <c:pt idx="1170">
                        <c:v>0</c:v>
                      </c:pt>
                      <c:pt idx="1171">
                        <c:v>0</c:v>
                      </c:pt>
                      <c:pt idx="1172">
                        <c:v>0</c:v>
                      </c:pt>
                      <c:pt idx="1173">
                        <c:v>0</c:v>
                      </c:pt>
                      <c:pt idx="1174">
                        <c:v>0</c:v>
                      </c:pt>
                      <c:pt idx="1175">
                        <c:v>0</c:v>
                      </c:pt>
                      <c:pt idx="1176">
                        <c:v>0</c:v>
                      </c:pt>
                      <c:pt idx="1177">
                        <c:v>0</c:v>
                      </c:pt>
                      <c:pt idx="1178">
                        <c:v>0</c:v>
                      </c:pt>
                      <c:pt idx="1179">
                        <c:v>0</c:v>
                      </c:pt>
                      <c:pt idx="1180">
                        <c:v>0</c:v>
                      </c:pt>
                      <c:pt idx="1181">
                        <c:v>0</c:v>
                      </c:pt>
                      <c:pt idx="1182">
                        <c:v>0</c:v>
                      </c:pt>
                      <c:pt idx="1183">
                        <c:v>0</c:v>
                      </c:pt>
                      <c:pt idx="1184">
                        <c:v>0</c:v>
                      </c:pt>
                      <c:pt idx="1185">
                        <c:v>0</c:v>
                      </c:pt>
                      <c:pt idx="1186">
                        <c:v>0</c:v>
                      </c:pt>
                      <c:pt idx="1187">
                        <c:v>0</c:v>
                      </c:pt>
                      <c:pt idx="1188">
                        <c:v>0</c:v>
                      </c:pt>
                      <c:pt idx="1189">
                        <c:v>0</c:v>
                      </c:pt>
                      <c:pt idx="1190">
                        <c:v>0</c:v>
                      </c:pt>
                      <c:pt idx="1191">
                        <c:v>0</c:v>
                      </c:pt>
                      <c:pt idx="1192">
                        <c:v>0</c:v>
                      </c:pt>
                      <c:pt idx="1193">
                        <c:v>0</c:v>
                      </c:pt>
                      <c:pt idx="1194">
                        <c:v>0</c:v>
                      </c:pt>
                      <c:pt idx="1195">
                        <c:v>0</c:v>
                      </c:pt>
                      <c:pt idx="1196">
                        <c:v>0</c:v>
                      </c:pt>
                      <c:pt idx="1197">
                        <c:v>0</c:v>
                      </c:pt>
                      <c:pt idx="1198">
                        <c:v>0</c:v>
                      </c:pt>
                      <c:pt idx="1199">
                        <c:v>0</c:v>
                      </c:pt>
                      <c:pt idx="1200">
                        <c:v>0</c:v>
                      </c:pt>
                      <c:pt idx="1201">
                        <c:v>0</c:v>
                      </c:pt>
                      <c:pt idx="1202">
                        <c:v>0</c:v>
                      </c:pt>
                      <c:pt idx="1203">
                        <c:v>0</c:v>
                      </c:pt>
                      <c:pt idx="1204">
                        <c:v>0</c:v>
                      </c:pt>
                      <c:pt idx="1205">
                        <c:v>0</c:v>
                      </c:pt>
                      <c:pt idx="1206">
                        <c:v>0</c:v>
                      </c:pt>
                      <c:pt idx="1207">
                        <c:v>0</c:v>
                      </c:pt>
                      <c:pt idx="1208">
                        <c:v>0</c:v>
                      </c:pt>
                      <c:pt idx="1209">
                        <c:v>0</c:v>
                      </c:pt>
                      <c:pt idx="1210">
                        <c:v>0</c:v>
                      </c:pt>
                      <c:pt idx="1211">
                        <c:v>0</c:v>
                      </c:pt>
                      <c:pt idx="1212">
                        <c:v>0</c:v>
                      </c:pt>
                      <c:pt idx="1213">
                        <c:v>0</c:v>
                      </c:pt>
                      <c:pt idx="1214">
                        <c:v>0</c:v>
                      </c:pt>
                      <c:pt idx="1215">
                        <c:v>0</c:v>
                      </c:pt>
                      <c:pt idx="1216">
                        <c:v>0</c:v>
                      </c:pt>
                      <c:pt idx="1217">
                        <c:v>0</c:v>
                      </c:pt>
                      <c:pt idx="1218">
                        <c:v>0</c:v>
                      </c:pt>
                      <c:pt idx="1219">
                        <c:v>0</c:v>
                      </c:pt>
                      <c:pt idx="1220">
                        <c:v>0</c:v>
                      </c:pt>
                      <c:pt idx="1221">
                        <c:v>0</c:v>
                      </c:pt>
                      <c:pt idx="1222">
                        <c:v>0</c:v>
                      </c:pt>
                      <c:pt idx="1223">
                        <c:v>0</c:v>
                      </c:pt>
                      <c:pt idx="1224">
                        <c:v>0</c:v>
                      </c:pt>
                      <c:pt idx="1225">
                        <c:v>0</c:v>
                      </c:pt>
                      <c:pt idx="1226">
                        <c:v>0</c:v>
                      </c:pt>
                      <c:pt idx="1227">
                        <c:v>0</c:v>
                      </c:pt>
                      <c:pt idx="1228">
                        <c:v>0</c:v>
                      </c:pt>
                      <c:pt idx="1229">
                        <c:v>0</c:v>
                      </c:pt>
                      <c:pt idx="1230">
                        <c:v>0</c:v>
                      </c:pt>
                      <c:pt idx="1231">
                        <c:v>0</c:v>
                      </c:pt>
                      <c:pt idx="1232">
                        <c:v>0</c:v>
                      </c:pt>
                      <c:pt idx="1233">
                        <c:v>0</c:v>
                      </c:pt>
                      <c:pt idx="1234">
                        <c:v>0</c:v>
                      </c:pt>
                      <c:pt idx="1235">
                        <c:v>0</c:v>
                      </c:pt>
                      <c:pt idx="1236">
                        <c:v>0</c:v>
                      </c:pt>
                      <c:pt idx="1237">
                        <c:v>0</c:v>
                      </c:pt>
                      <c:pt idx="1238">
                        <c:v>0</c:v>
                      </c:pt>
                      <c:pt idx="1239">
                        <c:v>0</c:v>
                      </c:pt>
                      <c:pt idx="1240">
                        <c:v>0</c:v>
                      </c:pt>
                      <c:pt idx="1241">
                        <c:v>0</c:v>
                      </c:pt>
                      <c:pt idx="1242">
                        <c:v>0</c:v>
                      </c:pt>
                      <c:pt idx="1243">
                        <c:v>0</c:v>
                      </c:pt>
                      <c:pt idx="1244">
                        <c:v>0</c:v>
                      </c:pt>
                      <c:pt idx="1245">
                        <c:v>0</c:v>
                      </c:pt>
                      <c:pt idx="1246">
                        <c:v>0</c:v>
                      </c:pt>
                      <c:pt idx="1247">
                        <c:v>0</c:v>
                      </c:pt>
                      <c:pt idx="1248">
                        <c:v>0</c:v>
                      </c:pt>
                      <c:pt idx="1249">
                        <c:v>0</c:v>
                      </c:pt>
                      <c:pt idx="1250">
                        <c:v>0</c:v>
                      </c:pt>
                      <c:pt idx="1251">
                        <c:v>0</c:v>
                      </c:pt>
                      <c:pt idx="1252">
                        <c:v>0</c:v>
                      </c:pt>
                      <c:pt idx="1253">
                        <c:v>0</c:v>
                      </c:pt>
                      <c:pt idx="1254">
                        <c:v>0</c:v>
                      </c:pt>
                      <c:pt idx="1255">
                        <c:v>0</c:v>
                      </c:pt>
                      <c:pt idx="1256">
                        <c:v>0</c:v>
                      </c:pt>
                      <c:pt idx="1257">
                        <c:v>0</c:v>
                      </c:pt>
                      <c:pt idx="1258">
                        <c:v>0</c:v>
                      </c:pt>
                      <c:pt idx="1259">
                        <c:v>0</c:v>
                      </c:pt>
                      <c:pt idx="1260">
                        <c:v>0</c:v>
                      </c:pt>
                      <c:pt idx="1261">
                        <c:v>0</c:v>
                      </c:pt>
                      <c:pt idx="1262">
                        <c:v>0</c:v>
                      </c:pt>
                      <c:pt idx="1263">
                        <c:v>0</c:v>
                      </c:pt>
                      <c:pt idx="1264">
                        <c:v>0</c:v>
                      </c:pt>
                      <c:pt idx="1265">
                        <c:v>0</c:v>
                      </c:pt>
                      <c:pt idx="1266">
                        <c:v>0</c:v>
                      </c:pt>
                      <c:pt idx="1267">
                        <c:v>0</c:v>
                      </c:pt>
                      <c:pt idx="1268">
                        <c:v>0</c:v>
                      </c:pt>
                      <c:pt idx="1269">
                        <c:v>0</c:v>
                      </c:pt>
                      <c:pt idx="1270">
                        <c:v>0</c:v>
                      </c:pt>
                      <c:pt idx="1271">
                        <c:v>0</c:v>
                      </c:pt>
                      <c:pt idx="1272">
                        <c:v>0</c:v>
                      </c:pt>
                      <c:pt idx="1273">
                        <c:v>0</c:v>
                      </c:pt>
                      <c:pt idx="1274">
                        <c:v>0</c:v>
                      </c:pt>
                      <c:pt idx="1275">
                        <c:v>0</c:v>
                      </c:pt>
                      <c:pt idx="1276">
                        <c:v>0</c:v>
                      </c:pt>
                      <c:pt idx="1277">
                        <c:v>0</c:v>
                      </c:pt>
                      <c:pt idx="1278">
                        <c:v>0</c:v>
                      </c:pt>
                      <c:pt idx="1279">
                        <c:v>0</c:v>
                      </c:pt>
                      <c:pt idx="1280">
                        <c:v>0</c:v>
                      </c:pt>
                      <c:pt idx="1281">
                        <c:v>0</c:v>
                      </c:pt>
                      <c:pt idx="1282">
                        <c:v>0</c:v>
                      </c:pt>
                      <c:pt idx="1283">
                        <c:v>0</c:v>
                      </c:pt>
                      <c:pt idx="1284">
                        <c:v>0</c:v>
                      </c:pt>
                      <c:pt idx="1285">
                        <c:v>0</c:v>
                      </c:pt>
                      <c:pt idx="1286">
                        <c:v>0</c:v>
                      </c:pt>
                      <c:pt idx="1287">
                        <c:v>0</c:v>
                      </c:pt>
                      <c:pt idx="1288">
                        <c:v>0</c:v>
                      </c:pt>
                      <c:pt idx="1289">
                        <c:v>0</c:v>
                      </c:pt>
                      <c:pt idx="1290">
                        <c:v>0</c:v>
                      </c:pt>
                      <c:pt idx="1291">
                        <c:v>0</c:v>
                      </c:pt>
                      <c:pt idx="1292">
                        <c:v>0</c:v>
                      </c:pt>
                      <c:pt idx="1293">
                        <c:v>0</c:v>
                      </c:pt>
                      <c:pt idx="1294">
                        <c:v>0</c:v>
                      </c:pt>
                      <c:pt idx="1295">
                        <c:v>0</c:v>
                      </c:pt>
                      <c:pt idx="1296">
                        <c:v>0</c:v>
                      </c:pt>
                      <c:pt idx="1297">
                        <c:v>0</c:v>
                      </c:pt>
                      <c:pt idx="1298">
                        <c:v>0</c:v>
                      </c:pt>
                      <c:pt idx="1299">
                        <c:v>0</c:v>
                      </c:pt>
                      <c:pt idx="1300">
                        <c:v>0</c:v>
                      </c:pt>
                      <c:pt idx="1301">
                        <c:v>0</c:v>
                      </c:pt>
                      <c:pt idx="1302">
                        <c:v>0</c:v>
                      </c:pt>
                      <c:pt idx="1303">
                        <c:v>0</c:v>
                      </c:pt>
                      <c:pt idx="1304">
                        <c:v>0</c:v>
                      </c:pt>
                      <c:pt idx="1305">
                        <c:v>0</c:v>
                      </c:pt>
                      <c:pt idx="1306">
                        <c:v>0</c:v>
                      </c:pt>
                      <c:pt idx="1307">
                        <c:v>0</c:v>
                      </c:pt>
                      <c:pt idx="1308">
                        <c:v>0</c:v>
                      </c:pt>
                      <c:pt idx="1309">
                        <c:v>0</c:v>
                      </c:pt>
                      <c:pt idx="1310">
                        <c:v>0</c:v>
                      </c:pt>
                      <c:pt idx="1311">
                        <c:v>0</c:v>
                      </c:pt>
                      <c:pt idx="1312">
                        <c:v>0</c:v>
                      </c:pt>
                      <c:pt idx="1313">
                        <c:v>0</c:v>
                      </c:pt>
                      <c:pt idx="1314">
                        <c:v>0</c:v>
                      </c:pt>
                      <c:pt idx="1315">
                        <c:v>0</c:v>
                      </c:pt>
                      <c:pt idx="1316">
                        <c:v>0</c:v>
                      </c:pt>
                      <c:pt idx="1317">
                        <c:v>0</c:v>
                      </c:pt>
                      <c:pt idx="1318">
                        <c:v>0</c:v>
                      </c:pt>
                      <c:pt idx="1319">
                        <c:v>0</c:v>
                      </c:pt>
                      <c:pt idx="1320">
                        <c:v>0</c:v>
                      </c:pt>
                      <c:pt idx="1321">
                        <c:v>0</c:v>
                      </c:pt>
                      <c:pt idx="1322">
                        <c:v>0</c:v>
                      </c:pt>
                      <c:pt idx="1323">
                        <c:v>0</c:v>
                      </c:pt>
                      <c:pt idx="1324">
                        <c:v>0</c:v>
                      </c:pt>
                      <c:pt idx="1325">
                        <c:v>0</c:v>
                      </c:pt>
                      <c:pt idx="1326">
                        <c:v>0</c:v>
                      </c:pt>
                      <c:pt idx="1327">
                        <c:v>0</c:v>
                      </c:pt>
                      <c:pt idx="1328">
                        <c:v>0</c:v>
                      </c:pt>
                      <c:pt idx="1329">
                        <c:v>0</c:v>
                      </c:pt>
                      <c:pt idx="1330">
                        <c:v>0</c:v>
                      </c:pt>
                      <c:pt idx="1331">
                        <c:v>0</c:v>
                      </c:pt>
                      <c:pt idx="1332">
                        <c:v>0</c:v>
                      </c:pt>
                      <c:pt idx="1333">
                        <c:v>0</c:v>
                      </c:pt>
                      <c:pt idx="1334">
                        <c:v>0</c:v>
                      </c:pt>
                      <c:pt idx="1335">
                        <c:v>0</c:v>
                      </c:pt>
                      <c:pt idx="1336">
                        <c:v>0</c:v>
                      </c:pt>
                      <c:pt idx="1337">
                        <c:v>0</c:v>
                      </c:pt>
                      <c:pt idx="1338">
                        <c:v>0</c:v>
                      </c:pt>
                      <c:pt idx="1339">
                        <c:v>0</c:v>
                      </c:pt>
                      <c:pt idx="1340">
                        <c:v>0</c:v>
                      </c:pt>
                      <c:pt idx="1341">
                        <c:v>0</c:v>
                      </c:pt>
                      <c:pt idx="1342">
                        <c:v>0</c:v>
                      </c:pt>
                      <c:pt idx="1343">
                        <c:v>0</c:v>
                      </c:pt>
                      <c:pt idx="1344">
                        <c:v>0</c:v>
                      </c:pt>
                      <c:pt idx="1345">
                        <c:v>0</c:v>
                      </c:pt>
                      <c:pt idx="1346">
                        <c:v>0</c:v>
                      </c:pt>
                      <c:pt idx="1347">
                        <c:v>0</c:v>
                      </c:pt>
                      <c:pt idx="1348">
                        <c:v>0</c:v>
                      </c:pt>
                      <c:pt idx="1349">
                        <c:v>0</c:v>
                      </c:pt>
                      <c:pt idx="1350">
                        <c:v>0</c:v>
                      </c:pt>
                      <c:pt idx="1351">
                        <c:v>0</c:v>
                      </c:pt>
                      <c:pt idx="1352">
                        <c:v>0</c:v>
                      </c:pt>
                      <c:pt idx="1353">
                        <c:v>0</c:v>
                      </c:pt>
                      <c:pt idx="1354">
                        <c:v>0</c:v>
                      </c:pt>
                      <c:pt idx="1355">
                        <c:v>0</c:v>
                      </c:pt>
                      <c:pt idx="1356">
                        <c:v>0</c:v>
                      </c:pt>
                      <c:pt idx="1357">
                        <c:v>0</c:v>
                      </c:pt>
                      <c:pt idx="1358">
                        <c:v>0</c:v>
                      </c:pt>
                      <c:pt idx="1359">
                        <c:v>0</c:v>
                      </c:pt>
                      <c:pt idx="1360">
                        <c:v>0</c:v>
                      </c:pt>
                      <c:pt idx="1361">
                        <c:v>0</c:v>
                      </c:pt>
                      <c:pt idx="1362">
                        <c:v>0</c:v>
                      </c:pt>
                      <c:pt idx="1363">
                        <c:v>0</c:v>
                      </c:pt>
                      <c:pt idx="1364">
                        <c:v>0</c:v>
                      </c:pt>
                      <c:pt idx="1365">
                        <c:v>0</c:v>
                      </c:pt>
                      <c:pt idx="1366">
                        <c:v>0</c:v>
                      </c:pt>
                      <c:pt idx="1367">
                        <c:v>0</c:v>
                      </c:pt>
                      <c:pt idx="1368">
                        <c:v>0</c:v>
                      </c:pt>
                      <c:pt idx="1369">
                        <c:v>0</c:v>
                      </c:pt>
                      <c:pt idx="1370">
                        <c:v>0</c:v>
                      </c:pt>
                      <c:pt idx="1371">
                        <c:v>0</c:v>
                      </c:pt>
                      <c:pt idx="1372">
                        <c:v>0</c:v>
                      </c:pt>
                      <c:pt idx="1373">
                        <c:v>0</c:v>
                      </c:pt>
                      <c:pt idx="1374">
                        <c:v>0</c:v>
                      </c:pt>
                      <c:pt idx="1375">
                        <c:v>0</c:v>
                      </c:pt>
                      <c:pt idx="1376">
                        <c:v>0</c:v>
                      </c:pt>
                      <c:pt idx="1377">
                        <c:v>0</c:v>
                      </c:pt>
                      <c:pt idx="1378">
                        <c:v>0</c:v>
                      </c:pt>
                      <c:pt idx="1379">
                        <c:v>0</c:v>
                      </c:pt>
                      <c:pt idx="1380">
                        <c:v>0</c:v>
                      </c:pt>
                      <c:pt idx="1381">
                        <c:v>0</c:v>
                      </c:pt>
                      <c:pt idx="1382">
                        <c:v>0</c:v>
                      </c:pt>
                      <c:pt idx="1383">
                        <c:v>0</c:v>
                      </c:pt>
                      <c:pt idx="1384">
                        <c:v>0</c:v>
                      </c:pt>
                      <c:pt idx="1385">
                        <c:v>0</c:v>
                      </c:pt>
                      <c:pt idx="1386">
                        <c:v>0</c:v>
                      </c:pt>
                      <c:pt idx="1387">
                        <c:v>0</c:v>
                      </c:pt>
                      <c:pt idx="1388">
                        <c:v>0</c:v>
                      </c:pt>
                      <c:pt idx="1389">
                        <c:v>0</c:v>
                      </c:pt>
                      <c:pt idx="1390">
                        <c:v>0</c:v>
                      </c:pt>
                      <c:pt idx="1391">
                        <c:v>0</c:v>
                      </c:pt>
                      <c:pt idx="1392">
                        <c:v>0</c:v>
                      </c:pt>
                      <c:pt idx="1393">
                        <c:v>0</c:v>
                      </c:pt>
                      <c:pt idx="1394">
                        <c:v>0</c:v>
                      </c:pt>
                      <c:pt idx="1395">
                        <c:v>0</c:v>
                      </c:pt>
                      <c:pt idx="1396">
                        <c:v>0</c:v>
                      </c:pt>
                      <c:pt idx="1397">
                        <c:v>0</c:v>
                      </c:pt>
                      <c:pt idx="1398">
                        <c:v>0</c:v>
                      </c:pt>
                      <c:pt idx="1399">
                        <c:v>0</c:v>
                      </c:pt>
                      <c:pt idx="1400">
                        <c:v>0</c:v>
                      </c:pt>
                      <c:pt idx="1401">
                        <c:v>0</c:v>
                      </c:pt>
                      <c:pt idx="1402">
                        <c:v>0</c:v>
                      </c:pt>
                      <c:pt idx="1403">
                        <c:v>0</c:v>
                      </c:pt>
                      <c:pt idx="1404">
                        <c:v>0</c:v>
                      </c:pt>
                      <c:pt idx="1405">
                        <c:v>0</c:v>
                      </c:pt>
                      <c:pt idx="1406">
                        <c:v>0</c:v>
                      </c:pt>
                      <c:pt idx="1407">
                        <c:v>0</c:v>
                      </c:pt>
                      <c:pt idx="1408">
                        <c:v>0</c:v>
                      </c:pt>
                      <c:pt idx="1409">
                        <c:v>0</c:v>
                      </c:pt>
                      <c:pt idx="1410">
                        <c:v>0</c:v>
                      </c:pt>
                      <c:pt idx="1411">
                        <c:v>0</c:v>
                      </c:pt>
                      <c:pt idx="1412">
                        <c:v>0</c:v>
                      </c:pt>
                      <c:pt idx="1413">
                        <c:v>0</c:v>
                      </c:pt>
                      <c:pt idx="1414">
                        <c:v>0</c:v>
                      </c:pt>
                      <c:pt idx="1415">
                        <c:v>0</c:v>
                      </c:pt>
                      <c:pt idx="1416">
                        <c:v>0</c:v>
                      </c:pt>
                      <c:pt idx="1417">
                        <c:v>0</c:v>
                      </c:pt>
                      <c:pt idx="1418">
                        <c:v>0</c:v>
                      </c:pt>
                      <c:pt idx="1419">
                        <c:v>0</c:v>
                      </c:pt>
                      <c:pt idx="1420">
                        <c:v>0</c:v>
                      </c:pt>
                      <c:pt idx="1421">
                        <c:v>0</c:v>
                      </c:pt>
                      <c:pt idx="1422">
                        <c:v>0</c:v>
                      </c:pt>
                      <c:pt idx="1423">
                        <c:v>0</c:v>
                      </c:pt>
                      <c:pt idx="1424">
                        <c:v>0</c:v>
                      </c:pt>
                      <c:pt idx="1425">
                        <c:v>0</c:v>
                      </c:pt>
                      <c:pt idx="1426">
                        <c:v>0</c:v>
                      </c:pt>
                      <c:pt idx="1427">
                        <c:v>0</c:v>
                      </c:pt>
                      <c:pt idx="1428">
                        <c:v>0</c:v>
                      </c:pt>
                      <c:pt idx="1429">
                        <c:v>0</c:v>
                      </c:pt>
                      <c:pt idx="1430">
                        <c:v>0</c:v>
                      </c:pt>
                      <c:pt idx="1431">
                        <c:v>0</c:v>
                      </c:pt>
                      <c:pt idx="1432">
                        <c:v>0</c:v>
                      </c:pt>
                      <c:pt idx="1433">
                        <c:v>0</c:v>
                      </c:pt>
                      <c:pt idx="1434">
                        <c:v>0</c:v>
                      </c:pt>
                      <c:pt idx="1435">
                        <c:v>0</c:v>
                      </c:pt>
                      <c:pt idx="1436">
                        <c:v>0</c:v>
                      </c:pt>
                      <c:pt idx="1437">
                        <c:v>0</c:v>
                      </c:pt>
                      <c:pt idx="1438">
                        <c:v>0</c:v>
                      </c:pt>
                      <c:pt idx="1439">
                        <c:v>0</c:v>
                      </c:pt>
                      <c:pt idx="1440">
                        <c:v>0</c:v>
                      </c:pt>
                      <c:pt idx="1441">
                        <c:v>0</c:v>
                      </c:pt>
                      <c:pt idx="1442">
                        <c:v>0</c:v>
                      </c:pt>
                      <c:pt idx="1443">
                        <c:v>0</c:v>
                      </c:pt>
                      <c:pt idx="1444">
                        <c:v>0</c:v>
                      </c:pt>
                      <c:pt idx="1445">
                        <c:v>0</c:v>
                      </c:pt>
                      <c:pt idx="1446">
                        <c:v>0</c:v>
                      </c:pt>
                      <c:pt idx="1447">
                        <c:v>0</c:v>
                      </c:pt>
                      <c:pt idx="1448">
                        <c:v>0</c:v>
                      </c:pt>
                      <c:pt idx="1449">
                        <c:v>0</c:v>
                      </c:pt>
                      <c:pt idx="1450">
                        <c:v>0</c:v>
                      </c:pt>
                      <c:pt idx="1451">
                        <c:v>0</c:v>
                      </c:pt>
                      <c:pt idx="1452">
                        <c:v>0</c:v>
                      </c:pt>
                      <c:pt idx="1453">
                        <c:v>0</c:v>
                      </c:pt>
                      <c:pt idx="1454">
                        <c:v>0</c:v>
                      </c:pt>
                      <c:pt idx="1455">
                        <c:v>0</c:v>
                      </c:pt>
                      <c:pt idx="1456">
                        <c:v>0</c:v>
                      </c:pt>
                      <c:pt idx="1457">
                        <c:v>0</c:v>
                      </c:pt>
                      <c:pt idx="1458">
                        <c:v>0</c:v>
                      </c:pt>
                      <c:pt idx="1459">
                        <c:v>0</c:v>
                      </c:pt>
                      <c:pt idx="1460">
                        <c:v>0</c:v>
                      </c:pt>
                      <c:pt idx="1461">
                        <c:v>0</c:v>
                      </c:pt>
                      <c:pt idx="1462">
                        <c:v>0</c:v>
                      </c:pt>
                      <c:pt idx="1463">
                        <c:v>0</c:v>
                      </c:pt>
                      <c:pt idx="1464">
                        <c:v>0</c:v>
                      </c:pt>
                      <c:pt idx="1465">
                        <c:v>0</c:v>
                      </c:pt>
                      <c:pt idx="1466">
                        <c:v>0</c:v>
                      </c:pt>
                      <c:pt idx="1467">
                        <c:v>0</c:v>
                      </c:pt>
                      <c:pt idx="1468">
                        <c:v>0</c:v>
                      </c:pt>
                      <c:pt idx="1469">
                        <c:v>0</c:v>
                      </c:pt>
                      <c:pt idx="1470">
                        <c:v>0</c:v>
                      </c:pt>
                      <c:pt idx="1471">
                        <c:v>0</c:v>
                      </c:pt>
                      <c:pt idx="1472">
                        <c:v>0</c:v>
                      </c:pt>
                      <c:pt idx="1473">
                        <c:v>0</c:v>
                      </c:pt>
                      <c:pt idx="1474">
                        <c:v>0</c:v>
                      </c:pt>
                      <c:pt idx="1475">
                        <c:v>0</c:v>
                      </c:pt>
                      <c:pt idx="1476">
                        <c:v>0</c:v>
                      </c:pt>
                      <c:pt idx="1477">
                        <c:v>0</c:v>
                      </c:pt>
                      <c:pt idx="1478">
                        <c:v>0</c:v>
                      </c:pt>
                      <c:pt idx="1479">
                        <c:v>0</c:v>
                      </c:pt>
                      <c:pt idx="1480">
                        <c:v>0</c:v>
                      </c:pt>
                      <c:pt idx="1481">
                        <c:v>0</c:v>
                      </c:pt>
                      <c:pt idx="1482">
                        <c:v>0</c:v>
                      </c:pt>
                      <c:pt idx="1483">
                        <c:v>0</c:v>
                      </c:pt>
                      <c:pt idx="1484">
                        <c:v>0</c:v>
                      </c:pt>
                      <c:pt idx="1485">
                        <c:v>0</c:v>
                      </c:pt>
                      <c:pt idx="1486">
                        <c:v>0</c:v>
                      </c:pt>
                      <c:pt idx="1487">
                        <c:v>0</c:v>
                      </c:pt>
                      <c:pt idx="1488">
                        <c:v>0</c:v>
                      </c:pt>
                      <c:pt idx="1489">
                        <c:v>0</c:v>
                      </c:pt>
                      <c:pt idx="1490">
                        <c:v>0</c:v>
                      </c:pt>
                      <c:pt idx="1491">
                        <c:v>0</c:v>
                      </c:pt>
                      <c:pt idx="1492">
                        <c:v>0</c:v>
                      </c:pt>
                      <c:pt idx="1493">
                        <c:v>0</c:v>
                      </c:pt>
                      <c:pt idx="1494">
                        <c:v>0</c:v>
                      </c:pt>
                      <c:pt idx="1495">
                        <c:v>0</c:v>
                      </c:pt>
                      <c:pt idx="1496">
                        <c:v>0</c:v>
                      </c:pt>
                      <c:pt idx="1497">
                        <c:v>0</c:v>
                      </c:pt>
                      <c:pt idx="1498">
                        <c:v>0</c:v>
                      </c:pt>
                      <c:pt idx="1499">
                        <c:v>0</c:v>
                      </c:pt>
                      <c:pt idx="1500">
                        <c:v>0</c:v>
                      </c:pt>
                      <c:pt idx="1501">
                        <c:v>0</c:v>
                      </c:pt>
                      <c:pt idx="1502">
                        <c:v>0</c:v>
                      </c:pt>
                      <c:pt idx="1503">
                        <c:v>0</c:v>
                      </c:pt>
                      <c:pt idx="1504">
                        <c:v>0</c:v>
                      </c:pt>
                      <c:pt idx="1505">
                        <c:v>0</c:v>
                      </c:pt>
                      <c:pt idx="1506">
                        <c:v>0</c:v>
                      </c:pt>
                      <c:pt idx="1507">
                        <c:v>0</c:v>
                      </c:pt>
                      <c:pt idx="1508">
                        <c:v>0</c:v>
                      </c:pt>
                      <c:pt idx="1509">
                        <c:v>0</c:v>
                      </c:pt>
                      <c:pt idx="1510">
                        <c:v>0</c:v>
                      </c:pt>
                      <c:pt idx="1511">
                        <c:v>0</c:v>
                      </c:pt>
                      <c:pt idx="1512">
                        <c:v>0</c:v>
                      </c:pt>
                      <c:pt idx="1513">
                        <c:v>0</c:v>
                      </c:pt>
                      <c:pt idx="1514">
                        <c:v>0</c:v>
                      </c:pt>
                      <c:pt idx="1515">
                        <c:v>0</c:v>
                      </c:pt>
                      <c:pt idx="1516">
                        <c:v>0</c:v>
                      </c:pt>
                      <c:pt idx="1517">
                        <c:v>0</c:v>
                      </c:pt>
                      <c:pt idx="1518">
                        <c:v>0</c:v>
                      </c:pt>
                      <c:pt idx="1519">
                        <c:v>0</c:v>
                      </c:pt>
                      <c:pt idx="1520">
                        <c:v>0</c:v>
                      </c:pt>
                      <c:pt idx="1521">
                        <c:v>0</c:v>
                      </c:pt>
                      <c:pt idx="1522">
                        <c:v>0</c:v>
                      </c:pt>
                      <c:pt idx="1523">
                        <c:v>0</c:v>
                      </c:pt>
                      <c:pt idx="1524">
                        <c:v>0</c:v>
                      </c:pt>
                      <c:pt idx="1525">
                        <c:v>0</c:v>
                      </c:pt>
                      <c:pt idx="1526">
                        <c:v>0</c:v>
                      </c:pt>
                      <c:pt idx="1527">
                        <c:v>0</c:v>
                      </c:pt>
                      <c:pt idx="1528">
                        <c:v>0</c:v>
                      </c:pt>
                      <c:pt idx="1529">
                        <c:v>0</c:v>
                      </c:pt>
                      <c:pt idx="1530">
                        <c:v>0</c:v>
                      </c:pt>
                      <c:pt idx="1531">
                        <c:v>0</c:v>
                      </c:pt>
                      <c:pt idx="1532">
                        <c:v>0</c:v>
                      </c:pt>
                      <c:pt idx="1533">
                        <c:v>0</c:v>
                      </c:pt>
                      <c:pt idx="1534">
                        <c:v>0</c:v>
                      </c:pt>
                      <c:pt idx="1535">
                        <c:v>0</c:v>
                      </c:pt>
                      <c:pt idx="1536">
                        <c:v>0</c:v>
                      </c:pt>
                      <c:pt idx="1537">
                        <c:v>0</c:v>
                      </c:pt>
                      <c:pt idx="1538">
                        <c:v>0</c:v>
                      </c:pt>
                      <c:pt idx="1539">
                        <c:v>0</c:v>
                      </c:pt>
                      <c:pt idx="1540">
                        <c:v>0</c:v>
                      </c:pt>
                      <c:pt idx="1541">
                        <c:v>0</c:v>
                      </c:pt>
                      <c:pt idx="1542">
                        <c:v>0</c:v>
                      </c:pt>
                      <c:pt idx="1543">
                        <c:v>0</c:v>
                      </c:pt>
                      <c:pt idx="1544">
                        <c:v>0</c:v>
                      </c:pt>
                      <c:pt idx="1545">
                        <c:v>0</c:v>
                      </c:pt>
                      <c:pt idx="1546">
                        <c:v>0</c:v>
                      </c:pt>
                      <c:pt idx="1547">
                        <c:v>0</c:v>
                      </c:pt>
                      <c:pt idx="1548">
                        <c:v>0</c:v>
                      </c:pt>
                      <c:pt idx="1549">
                        <c:v>0</c:v>
                      </c:pt>
                      <c:pt idx="1550">
                        <c:v>0</c:v>
                      </c:pt>
                      <c:pt idx="1551">
                        <c:v>0</c:v>
                      </c:pt>
                      <c:pt idx="1552">
                        <c:v>0</c:v>
                      </c:pt>
                      <c:pt idx="1553">
                        <c:v>0</c:v>
                      </c:pt>
                      <c:pt idx="1554">
                        <c:v>0</c:v>
                      </c:pt>
                      <c:pt idx="1555">
                        <c:v>0</c:v>
                      </c:pt>
                      <c:pt idx="1556">
                        <c:v>0</c:v>
                      </c:pt>
                      <c:pt idx="1557">
                        <c:v>0</c:v>
                      </c:pt>
                      <c:pt idx="1558">
                        <c:v>0</c:v>
                      </c:pt>
                      <c:pt idx="1559">
                        <c:v>0</c:v>
                      </c:pt>
                      <c:pt idx="1560">
                        <c:v>0</c:v>
                      </c:pt>
                      <c:pt idx="1561">
                        <c:v>0</c:v>
                      </c:pt>
                      <c:pt idx="1562">
                        <c:v>0</c:v>
                      </c:pt>
                      <c:pt idx="1563">
                        <c:v>0</c:v>
                      </c:pt>
                      <c:pt idx="1564">
                        <c:v>0</c:v>
                      </c:pt>
                      <c:pt idx="1565">
                        <c:v>0</c:v>
                      </c:pt>
                      <c:pt idx="1566">
                        <c:v>0</c:v>
                      </c:pt>
                      <c:pt idx="1567">
                        <c:v>0</c:v>
                      </c:pt>
                      <c:pt idx="1568">
                        <c:v>0</c:v>
                      </c:pt>
                      <c:pt idx="1569">
                        <c:v>0</c:v>
                      </c:pt>
                      <c:pt idx="1570">
                        <c:v>0</c:v>
                      </c:pt>
                      <c:pt idx="1571">
                        <c:v>0</c:v>
                      </c:pt>
                      <c:pt idx="1572">
                        <c:v>0</c:v>
                      </c:pt>
                      <c:pt idx="1573">
                        <c:v>0</c:v>
                      </c:pt>
                      <c:pt idx="1574">
                        <c:v>0</c:v>
                      </c:pt>
                      <c:pt idx="1575">
                        <c:v>0</c:v>
                      </c:pt>
                      <c:pt idx="1576">
                        <c:v>0</c:v>
                      </c:pt>
                      <c:pt idx="1577">
                        <c:v>0</c:v>
                      </c:pt>
                      <c:pt idx="1578">
                        <c:v>0</c:v>
                      </c:pt>
                      <c:pt idx="1579">
                        <c:v>0</c:v>
                      </c:pt>
                      <c:pt idx="1580">
                        <c:v>0</c:v>
                      </c:pt>
                      <c:pt idx="1581">
                        <c:v>0</c:v>
                      </c:pt>
                      <c:pt idx="1582">
                        <c:v>0</c:v>
                      </c:pt>
                      <c:pt idx="1583">
                        <c:v>0</c:v>
                      </c:pt>
                      <c:pt idx="1584">
                        <c:v>0</c:v>
                      </c:pt>
                      <c:pt idx="1585">
                        <c:v>0</c:v>
                      </c:pt>
                      <c:pt idx="1586">
                        <c:v>0</c:v>
                      </c:pt>
                      <c:pt idx="1587">
                        <c:v>0</c:v>
                      </c:pt>
                      <c:pt idx="1588">
                        <c:v>0</c:v>
                      </c:pt>
                      <c:pt idx="1589">
                        <c:v>0</c:v>
                      </c:pt>
                      <c:pt idx="1590">
                        <c:v>0</c:v>
                      </c:pt>
                      <c:pt idx="1591">
                        <c:v>0</c:v>
                      </c:pt>
                      <c:pt idx="1592">
                        <c:v>0</c:v>
                      </c:pt>
                      <c:pt idx="1593">
                        <c:v>0</c:v>
                      </c:pt>
                      <c:pt idx="1594">
                        <c:v>0</c:v>
                      </c:pt>
                      <c:pt idx="1595">
                        <c:v>0</c:v>
                      </c:pt>
                      <c:pt idx="1596">
                        <c:v>0</c:v>
                      </c:pt>
                      <c:pt idx="1597">
                        <c:v>0</c:v>
                      </c:pt>
                      <c:pt idx="1598">
                        <c:v>0</c:v>
                      </c:pt>
                      <c:pt idx="1599">
                        <c:v>0</c:v>
                      </c:pt>
                      <c:pt idx="1600">
                        <c:v>0</c:v>
                      </c:pt>
                      <c:pt idx="1601">
                        <c:v>0</c:v>
                      </c:pt>
                      <c:pt idx="1602">
                        <c:v>0</c:v>
                      </c:pt>
                      <c:pt idx="1603">
                        <c:v>0</c:v>
                      </c:pt>
                      <c:pt idx="1604">
                        <c:v>0</c:v>
                      </c:pt>
                      <c:pt idx="1605">
                        <c:v>0</c:v>
                      </c:pt>
                      <c:pt idx="1606">
                        <c:v>0</c:v>
                      </c:pt>
                      <c:pt idx="1607">
                        <c:v>0</c:v>
                      </c:pt>
                      <c:pt idx="1608">
                        <c:v>0</c:v>
                      </c:pt>
                      <c:pt idx="1609">
                        <c:v>0</c:v>
                      </c:pt>
                      <c:pt idx="1610">
                        <c:v>0</c:v>
                      </c:pt>
                      <c:pt idx="1611">
                        <c:v>0</c:v>
                      </c:pt>
                      <c:pt idx="1612">
                        <c:v>0</c:v>
                      </c:pt>
                      <c:pt idx="1613">
                        <c:v>0</c:v>
                      </c:pt>
                      <c:pt idx="1614">
                        <c:v>0</c:v>
                      </c:pt>
                      <c:pt idx="1615">
                        <c:v>0</c:v>
                      </c:pt>
                      <c:pt idx="1616">
                        <c:v>0</c:v>
                      </c:pt>
                      <c:pt idx="1617">
                        <c:v>0</c:v>
                      </c:pt>
                      <c:pt idx="1618">
                        <c:v>0</c:v>
                      </c:pt>
                      <c:pt idx="1619">
                        <c:v>0</c:v>
                      </c:pt>
                      <c:pt idx="1620">
                        <c:v>0</c:v>
                      </c:pt>
                      <c:pt idx="1621">
                        <c:v>0</c:v>
                      </c:pt>
                      <c:pt idx="1622">
                        <c:v>0</c:v>
                      </c:pt>
                      <c:pt idx="1623">
                        <c:v>0</c:v>
                      </c:pt>
                      <c:pt idx="1624">
                        <c:v>0</c:v>
                      </c:pt>
                      <c:pt idx="1625">
                        <c:v>0</c:v>
                      </c:pt>
                      <c:pt idx="1626">
                        <c:v>0</c:v>
                      </c:pt>
                      <c:pt idx="1627">
                        <c:v>0</c:v>
                      </c:pt>
                      <c:pt idx="1628">
                        <c:v>0</c:v>
                      </c:pt>
                      <c:pt idx="1629">
                        <c:v>0</c:v>
                      </c:pt>
                      <c:pt idx="1630">
                        <c:v>0</c:v>
                      </c:pt>
                      <c:pt idx="1631">
                        <c:v>0</c:v>
                      </c:pt>
                      <c:pt idx="1632">
                        <c:v>0</c:v>
                      </c:pt>
                      <c:pt idx="1633">
                        <c:v>0</c:v>
                      </c:pt>
                      <c:pt idx="1634">
                        <c:v>0</c:v>
                      </c:pt>
                      <c:pt idx="1635">
                        <c:v>0</c:v>
                      </c:pt>
                      <c:pt idx="1636">
                        <c:v>0</c:v>
                      </c:pt>
                      <c:pt idx="1637">
                        <c:v>0</c:v>
                      </c:pt>
                      <c:pt idx="1638">
                        <c:v>0</c:v>
                      </c:pt>
                      <c:pt idx="1639">
                        <c:v>0</c:v>
                      </c:pt>
                      <c:pt idx="1640">
                        <c:v>0</c:v>
                      </c:pt>
                      <c:pt idx="1641">
                        <c:v>0</c:v>
                      </c:pt>
                      <c:pt idx="1642">
                        <c:v>0</c:v>
                      </c:pt>
                      <c:pt idx="1643">
                        <c:v>0</c:v>
                      </c:pt>
                      <c:pt idx="1644">
                        <c:v>0</c:v>
                      </c:pt>
                      <c:pt idx="1645">
                        <c:v>0</c:v>
                      </c:pt>
                      <c:pt idx="1646">
                        <c:v>0</c:v>
                      </c:pt>
                      <c:pt idx="1647">
                        <c:v>0</c:v>
                      </c:pt>
                      <c:pt idx="1648">
                        <c:v>0</c:v>
                      </c:pt>
                      <c:pt idx="1649">
                        <c:v>0</c:v>
                      </c:pt>
                      <c:pt idx="1650">
                        <c:v>0</c:v>
                      </c:pt>
                      <c:pt idx="1651">
                        <c:v>0</c:v>
                      </c:pt>
                      <c:pt idx="1652">
                        <c:v>0</c:v>
                      </c:pt>
                      <c:pt idx="1653">
                        <c:v>0</c:v>
                      </c:pt>
                      <c:pt idx="1654">
                        <c:v>0</c:v>
                      </c:pt>
                      <c:pt idx="1655">
                        <c:v>0</c:v>
                      </c:pt>
                      <c:pt idx="1656">
                        <c:v>0</c:v>
                      </c:pt>
                      <c:pt idx="1657">
                        <c:v>0</c:v>
                      </c:pt>
                      <c:pt idx="1658">
                        <c:v>0</c:v>
                      </c:pt>
                      <c:pt idx="1659">
                        <c:v>0</c:v>
                      </c:pt>
                      <c:pt idx="1660">
                        <c:v>0</c:v>
                      </c:pt>
                      <c:pt idx="1661">
                        <c:v>0</c:v>
                      </c:pt>
                      <c:pt idx="1662">
                        <c:v>0</c:v>
                      </c:pt>
                      <c:pt idx="1663">
                        <c:v>0</c:v>
                      </c:pt>
                      <c:pt idx="1664">
                        <c:v>0</c:v>
                      </c:pt>
                      <c:pt idx="1665">
                        <c:v>0</c:v>
                      </c:pt>
                      <c:pt idx="1666">
                        <c:v>0</c:v>
                      </c:pt>
                      <c:pt idx="1667">
                        <c:v>0</c:v>
                      </c:pt>
                      <c:pt idx="1668">
                        <c:v>0</c:v>
                      </c:pt>
                      <c:pt idx="1669">
                        <c:v>0</c:v>
                      </c:pt>
                      <c:pt idx="1670">
                        <c:v>0</c:v>
                      </c:pt>
                      <c:pt idx="1671">
                        <c:v>0</c:v>
                      </c:pt>
                      <c:pt idx="1672">
                        <c:v>0</c:v>
                      </c:pt>
                      <c:pt idx="1673">
                        <c:v>0</c:v>
                      </c:pt>
                      <c:pt idx="1674">
                        <c:v>0</c:v>
                      </c:pt>
                      <c:pt idx="1675">
                        <c:v>0</c:v>
                      </c:pt>
                      <c:pt idx="1676">
                        <c:v>0</c:v>
                      </c:pt>
                      <c:pt idx="1677">
                        <c:v>0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0</c:v>
                      </c:pt>
                      <c:pt idx="1717">
                        <c:v>0</c:v>
                      </c:pt>
                      <c:pt idx="1718">
                        <c:v>0</c:v>
                      </c:pt>
                      <c:pt idx="1719">
                        <c:v>0</c:v>
                      </c:pt>
                      <c:pt idx="1720">
                        <c:v>0</c:v>
                      </c:pt>
                      <c:pt idx="1721">
                        <c:v>0</c:v>
                      </c:pt>
                      <c:pt idx="1722">
                        <c:v>0</c:v>
                      </c:pt>
                      <c:pt idx="1723">
                        <c:v>0</c:v>
                      </c:pt>
                      <c:pt idx="1724">
                        <c:v>0</c:v>
                      </c:pt>
                      <c:pt idx="1725">
                        <c:v>0</c:v>
                      </c:pt>
                      <c:pt idx="1726">
                        <c:v>0</c:v>
                      </c:pt>
                      <c:pt idx="1727">
                        <c:v>0</c:v>
                      </c:pt>
                      <c:pt idx="1728">
                        <c:v>0</c:v>
                      </c:pt>
                      <c:pt idx="1729">
                        <c:v>0</c:v>
                      </c:pt>
                      <c:pt idx="1730">
                        <c:v>0</c:v>
                      </c:pt>
                      <c:pt idx="1731">
                        <c:v>0</c:v>
                      </c:pt>
                      <c:pt idx="1732">
                        <c:v>0</c:v>
                      </c:pt>
                      <c:pt idx="1733">
                        <c:v>0</c:v>
                      </c:pt>
                      <c:pt idx="1734">
                        <c:v>0</c:v>
                      </c:pt>
                      <c:pt idx="1735">
                        <c:v>0</c:v>
                      </c:pt>
                      <c:pt idx="1736">
                        <c:v>0</c:v>
                      </c:pt>
                      <c:pt idx="1737">
                        <c:v>0</c:v>
                      </c:pt>
                      <c:pt idx="1738">
                        <c:v>0</c:v>
                      </c:pt>
                      <c:pt idx="1739">
                        <c:v>0</c:v>
                      </c:pt>
                      <c:pt idx="1740">
                        <c:v>0</c:v>
                      </c:pt>
                      <c:pt idx="1741">
                        <c:v>0</c:v>
                      </c:pt>
                      <c:pt idx="1742">
                        <c:v>0</c:v>
                      </c:pt>
                      <c:pt idx="1743">
                        <c:v>0</c:v>
                      </c:pt>
                      <c:pt idx="1744">
                        <c:v>0</c:v>
                      </c:pt>
                      <c:pt idx="1745">
                        <c:v>0</c:v>
                      </c:pt>
                      <c:pt idx="1746">
                        <c:v>0</c:v>
                      </c:pt>
                      <c:pt idx="1747">
                        <c:v>0</c:v>
                      </c:pt>
                      <c:pt idx="1748">
                        <c:v>0</c:v>
                      </c:pt>
                      <c:pt idx="1749">
                        <c:v>0</c:v>
                      </c:pt>
                      <c:pt idx="1750">
                        <c:v>0</c:v>
                      </c:pt>
                      <c:pt idx="1751">
                        <c:v>0</c:v>
                      </c:pt>
                      <c:pt idx="1752">
                        <c:v>0</c:v>
                      </c:pt>
                      <c:pt idx="1753">
                        <c:v>0</c:v>
                      </c:pt>
                      <c:pt idx="1754">
                        <c:v>0</c:v>
                      </c:pt>
                      <c:pt idx="1755">
                        <c:v>0</c:v>
                      </c:pt>
                      <c:pt idx="1756">
                        <c:v>0</c:v>
                      </c:pt>
                      <c:pt idx="1757">
                        <c:v>0</c:v>
                      </c:pt>
                      <c:pt idx="1758">
                        <c:v>0</c:v>
                      </c:pt>
                      <c:pt idx="1759">
                        <c:v>0</c:v>
                      </c:pt>
                      <c:pt idx="1760">
                        <c:v>0</c:v>
                      </c:pt>
                      <c:pt idx="1761">
                        <c:v>0</c:v>
                      </c:pt>
                      <c:pt idx="1762">
                        <c:v>0</c:v>
                      </c:pt>
                      <c:pt idx="1763">
                        <c:v>0</c:v>
                      </c:pt>
                      <c:pt idx="1764">
                        <c:v>0</c:v>
                      </c:pt>
                      <c:pt idx="1765">
                        <c:v>0</c:v>
                      </c:pt>
                      <c:pt idx="1766">
                        <c:v>0</c:v>
                      </c:pt>
                      <c:pt idx="1767">
                        <c:v>0</c:v>
                      </c:pt>
                      <c:pt idx="1768">
                        <c:v>0</c:v>
                      </c:pt>
                      <c:pt idx="1769">
                        <c:v>0</c:v>
                      </c:pt>
                      <c:pt idx="1770">
                        <c:v>0</c:v>
                      </c:pt>
                      <c:pt idx="1771">
                        <c:v>0</c:v>
                      </c:pt>
                      <c:pt idx="1772">
                        <c:v>0</c:v>
                      </c:pt>
                      <c:pt idx="1773">
                        <c:v>0</c:v>
                      </c:pt>
                      <c:pt idx="1774">
                        <c:v>0</c:v>
                      </c:pt>
                      <c:pt idx="1775">
                        <c:v>0</c:v>
                      </c:pt>
                      <c:pt idx="1776">
                        <c:v>0</c:v>
                      </c:pt>
                      <c:pt idx="1777">
                        <c:v>0</c:v>
                      </c:pt>
                      <c:pt idx="1778">
                        <c:v>0</c:v>
                      </c:pt>
                      <c:pt idx="1779">
                        <c:v>0</c:v>
                      </c:pt>
                      <c:pt idx="1780">
                        <c:v>0</c:v>
                      </c:pt>
                      <c:pt idx="1781">
                        <c:v>0</c:v>
                      </c:pt>
                      <c:pt idx="1782">
                        <c:v>0</c:v>
                      </c:pt>
                      <c:pt idx="1783">
                        <c:v>0</c:v>
                      </c:pt>
                      <c:pt idx="1784">
                        <c:v>0</c:v>
                      </c:pt>
                      <c:pt idx="1785">
                        <c:v>0</c:v>
                      </c:pt>
                      <c:pt idx="1786">
                        <c:v>0</c:v>
                      </c:pt>
                      <c:pt idx="1787">
                        <c:v>0</c:v>
                      </c:pt>
                      <c:pt idx="1788">
                        <c:v>0</c:v>
                      </c:pt>
                      <c:pt idx="1789">
                        <c:v>0</c:v>
                      </c:pt>
                      <c:pt idx="1790">
                        <c:v>0</c:v>
                      </c:pt>
                      <c:pt idx="1791">
                        <c:v>0</c:v>
                      </c:pt>
                      <c:pt idx="1792">
                        <c:v>0</c:v>
                      </c:pt>
                      <c:pt idx="1793">
                        <c:v>0</c:v>
                      </c:pt>
                      <c:pt idx="1794">
                        <c:v>0</c:v>
                      </c:pt>
                      <c:pt idx="1795">
                        <c:v>0</c:v>
                      </c:pt>
                      <c:pt idx="1796">
                        <c:v>0</c:v>
                      </c:pt>
                      <c:pt idx="1797">
                        <c:v>0</c:v>
                      </c:pt>
                      <c:pt idx="1798">
                        <c:v>0</c:v>
                      </c:pt>
                      <c:pt idx="1799">
                        <c:v>0</c:v>
                      </c:pt>
                      <c:pt idx="1800">
                        <c:v>0</c:v>
                      </c:pt>
                      <c:pt idx="1801">
                        <c:v>0</c:v>
                      </c:pt>
                      <c:pt idx="1802">
                        <c:v>0</c:v>
                      </c:pt>
                      <c:pt idx="1803">
                        <c:v>0</c:v>
                      </c:pt>
                      <c:pt idx="1804">
                        <c:v>0</c:v>
                      </c:pt>
                      <c:pt idx="1805">
                        <c:v>0</c:v>
                      </c:pt>
                      <c:pt idx="1806">
                        <c:v>0</c:v>
                      </c:pt>
                      <c:pt idx="1807">
                        <c:v>0</c:v>
                      </c:pt>
                      <c:pt idx="1808">
                        <c:v>0</c:v>
                      </c:pt>
                      <c:pt idx="1809">
                        <c:v>0</c:v>
                      </c:pt>
                      <c:pt idx="1810">
                        <c:v>0</c:v>
                      </c:pt>
                      <c:pt idx="1811">
                        <c:v>0</c:v>
                      </c:pt>
                      <c:pt idx="1812">
                        <c:v>0</c:v>
                      </c:pt>
                      <c:pt idx="1813">
                        <c:v>0</c:v>
                      </c:pt>
                      <c:pt idx="1814">
                        <c:v>0</c:v>
                      </c:pt>
                      <c:pt idx="1815">
                        <c:v>0</c:v>
                      </c:pt>
                      <c:pt idx="1816">
                        <c:v>0</c:v>
                      </c:pt>
                      <c:pt idx="1817">
                        <c:v>0</c:v>
                      </c:pt>
                      <c:pt idx="1818">
                        <c:v>0</c:v>
                      </c:pt>
                      <c:pt idx="1819">
                        <c:v>0</c:v>
                      </c:pt>
                      <c:pt idx="1820">
                        <c:v>0</c:v>
                      </c:pt>
                      <c:pt idx="1821">
                        <c:v>0</c:v>
                      </c:pt>
                      <c:pt idx="1822">
                        <c:v>0</c:v>
                      </c:pt>
                      <c:pt idx="1823">
                        <c:v>0</c:v>
                      </c:pt>
                      <c:pt idx="1824">
                        <c:v>0</c:v>
                      </c:pt>
                      <c:pt idx="1825">
                        <c:v>0</c:v>
                      </c:pt>
                      <c:pt idx="1826">
                        <c:v>0</c:v>
                      </c:pt>
                      <c:pt idx="1827">
                        <c:v>0</c:v>
                      </c:pt>
                      <c:pt idx="1828">
                        <c:v>0</c:v>
                      </c:pt>
                      <c:pt idx="1829">
                        <c:v>0</c:v>
                      </c:pt>
                      <c:pt idx="1830">
                        <c:v>0</c:v>
                      </c:pt>
                      <c:pt idx="1831">
                        <c:v>0</c:v>
                      </c:pt>
                      <c:pt idx="1832">
                        <c:v>0</c:v>
                      </c:pt>
                      <c:pt idx="1833">
                        <c:v>0</c:v>
                      </c:pt>
                      <c:pt idx="1834">
                        <c:v>0</c:v>
                      </c:pt>
                      <c:pt idx="1835">
                        <c:v>0</c:v>
                      </c:pt>
                      <c:pt idx="1836">
                        <c:v>0</c:v>
                      </c:pt>
                      <c:pt idx="1837">
                        <c:v>0</c:v>
                      </c:pt>
                      <c:pt idx="1838">
                        <c:v>0</c:v>
                      </c:pt>
                      <c:pt idx="1839">
                        <c:v>0</c:v>
                      </c:pt>
                      <c:pt idx="1840">
                        <c:v>0</c:v>
                      </c:pt>
                      <c:pt idx="1841">
                        <c:v>0</c:v>
                      </c:pt>
                      <c:pt idx="1842">
                        <c:v>0</c:v>
                      </c:pt>
                      <c:pt idx="1843">
                        <c:v>0</c:v>
                      </c:pt>
                      <c:pt idx="1844">
                        <c:v>0</c:v>
                      </c:pt>
                      <c:pt idx="1845">
                        <c:v>0</c:v>
                      </c:pt>
                      <c:pt idx="1846">
                        <c:v>0</c:v>
                      </c:pt>
                      <c:pt idx="1847">
                        <c:v>0</c:v>
                      </c:pt>
                      <c:pt idx="1848">
                        <c:v>0</c:v>
                      </c:pt>
                      <c:pt idx="1849">
                        <c:v>0</c:v>
                      </c:pt>
                      <c:pt idx="1850">
                        <c:v>0</c:v>
                      </c:pt>
                      <c:pt idx="1851">
                        <c:v>0</c:v>
                      </c:pt>
                      <c:pt idx="1852">
                        <c:v>0</c:v>
                      </c:pt>
                      <c:pt idx="1853">
                        <c:v>0</c:v>
                      </c:pt>
                      <c:pt idx="1854">
                        <c:v>0</c:v>
                      </c:pt>
                      <c:pt idx="1855">
                        <c:v>0</c:v>
                      </c:pt>
                      <c:pt idx="1856">
                        <c:v>0</c:v>
                      </c:pt>
                      <c:pt idx="1857">
                        <c:v>0</c:v>
                      </c:pt>
                      <c:pt idx="1858">
                        <c:v>0</c:v>
                      </c:pt>
                      <c:pt idx="1859">
                        <c:v>0</c:v>
                      </c:pt>
                      <c:pt idx="1860">
                        <c:v>0</c:v>
                      </c:pt>
                      <c:pt idx="1861">
                        <c:v>0</c:v>
                      </c:pt>
                      <c:pt idx="1862">
                        <c:v>0</c:v>
                      </c:pt>
                      <c:pt idx="1863">
                        <c:v>0</c:v>
                      </c:pt>
                      <c:pt idx="1864">
                        <c:v>0</c:v>
                      </c:pt>
                      <c:pt idx="1865">
                        <c:v>0</c:v>
                      </c:pt>
                      <c:pt idx="1866">
                        <c:v>0</c:v>
                      </c:pt>
                      <c:pt idx="1867">
                        <c:v>0</c:v>
                      </c:pt>
                      <c:pt idx="1868">
                        <c:v>0</c:v>
                      </c:pt>
                      <c:pt idx="1869">
                        <c:v>0</c:v>
                      </c:pt>
                      <c:pt idx="1870">
                        <c:v>0</c:v>
                      </c:pt>
                      <c:pt idx="1871">
                        <c:v>0</c:v>
                      </c:pt>
                      <c:pt idx="1872">
                        <c:v>0</c:v>
                      </c:pt>
                      <c:pt idx="1873">
                        <c:v>0</c:v>
                      </c:pt>
                      <c:pt idx="1874">
                        <c:v>0</c:v>
                      </c:pt>
                      <c:pt idx="1875">
                        <c:v>0</c:v>
                      </c:pt>
                      <c:pt idx="1876">
                        <c:v>0</c:v>
                      </c:pt>
                      <c:pt idx="1877">
                        <c:v>0</c:v>
                      </c:pt>
                      <c:pt idx="1878">
                        <c:v>0</c:v>
                      </c:pt>
                      <c:pt idx="1879">
                        <c:v>0</c:v>
                      </c:pt>
                      <c:pt idx="1880">
                        <c:v>0</c:v>
                      </c:pt>
                      <c:pt idx="1881">
                        <c:v>0</c:v>
                      </c:pt>
                      <c:pt idx="1882">
                        <c:v>0</c:v>
                      </c:pt>
                      <c:pt idx="1883">
                        <c:v>0</c:v>
                      </c:pt>
                      <c:pt idx="1884">
                        <c:v>0</c:v>
                      </c:pt>
                      <c:pt idx="1885">
                        <c:v>0</c:v>
                      </c:pt>
                      <c:pt idx="1886">
                        <c:v>0</c:v>
                      </c:pt>
                      <c:pt idx="1887">
                        <c:v>0</c:v>
                      </c:pt>
                      <c:pt idx="1888">
                        <c:v>0</c:v>
                      </c:pt>
                      <c:pt idx="1889">
                        <c:v>0</c:v>
                      </c:pt>
                      <c:pt idx="1890">
                        <c:v>0</c:v>
                      </c:pt>
                      <c:pt idx="1891">
                        <c:v>0</c:v>
                      </c:pt>
                      <c:pt idx="1892">
                        <c:v>0</c:v>
                      </c:pt>
                      <c:pt idx="1893">
                        <c:v>0</c:v>
                      </c:pt>
                      <c:pt idx="1894">
                        <c:v>0</c:v>
                      </c:pt>
                      <c:pt idx="1895">
                        <c:v>0</c:v>
                      </c:pt>
                      <c:pt idx="1896">
                        <c:v>0</c:v>
                      </c:pt>
                      <c:pt idx="1897">
                        <c:v>0</c:v>
                      </c:pt>
                      <c:pt idx="1898">
                        <c:v>0</c:v>
                      </c:pt>
                      <c:pt idx="1899">
                        <c:v>0</c:v>
                      </c:pt>
                      <c:pt idx="1900">
                        <c:v>0</c:v>
                      </c:pt>
                      <c:pt idx="1901">
                        <c:v>0</c:v>
                      </c:pt>
                      <c:pt idx="1902">
                        <c:v>0</c:v>
                      </c:pt>
                      <c:pt idx="1903">
                        <c:v>0</c:v>
                      </c:pt>
                      <c:pt idx="1904">
                        <c:v>0</c:v>
                      </c:pt>
                      <c:pt idx="1905">
                        <c:v>0</c:v>
                      </c:pt>
                      <c:pt idx="1906">
                        <c:v>0</c:v>
                      </c:pt>
                      <c:pt idx="1907">
                        <c:v>0</c:v>
                      </c:pt>
                      <c:pt idx="1908">
                        <c:v>0</c:v>
                      </c:pt>
                      <c:pt idx="1909">
                        <c:v>0</c:v>
                      </c:pt>
                      <c:pt idx="1910">
                        <c:v>0</c:v>
                      </c:pt>
                      <c:pt idx="1911">
                        <c:v>0</c:v>
                      </c:pt>
                      <c:pt idx="1912">
                        <c:v>0</c:v>
                      </c:pt>
                      <c:pt idx="1913">
                        <c:v>0</c:v>
                      </c:pt>
                      <c:pt idx="1914">
                        <c:v>0</c:v>
                      </c:pt>
                      <c:pt idx="1915">
                        <c:v>0</c:v>
                      </c:pt>
                      <c:pt idx="1916">
                        <c:v>0</c:v>
                      </c:pt>
                      <c:pt idx="1917">
                        <c:v>0</c:v>
                      </c:pt>
                      <c:pt idx="1918">
                        <c:v>0</c:v>
                      </c:pt>
                      <c:pt idx="1919">
                        <c:v>0</c:v>
                      </c:pt>
                      <c:pt idx="1920">
                        <c:v>0</c:v>
                      </c:pt>
                      <c:pt idx="1921">
                        <c:v>0</c:v>
                      </c:pt>
                      <c:pt idx="1922">
                        <c:v>0</c:v>
                      </c:pt>
                      <c:pt idx="1923">
                        <c:v>0</c:v>
                      </c:pt>
                      <c:pt idx="1924">
                        <c:v>0</c:v>
                      </c:pt>
                      <c:pt idx="1925">
                        <c:v>0</c:v>
                      </c:pt>
                      <c:pt idx="1926">
                        <c:v>0</c:v>
                      </c:pt>
                      <c:pt idx="1927">
                        <c:v>0</c:v>
                      </c:pt>
                      <c:pt idx="1928">
                        <c:v>0</c:v>
                      </c:pt>
                      <c:pt idx="1929">
                        <c:v>0</c:v>
                      </c:pt>
                      <c:pt idx="1930">
                        <c:v>0</c:v>
                      </c:pt>
                      <c:pt idx="1931">
                        <c:v>0</c:v>
                      </c:pt>
                      <c:pt idx="1932">
                        <c:v>0</c:v>
                      </c:pt>
                      <c:pt idx="1933">
                        <c:v>0</c:v>
                      </c:pt>
                      <c:pt idx="1934">
                        <c:v>0</c:v>
                      </c:pt>
                      <c:pt idx="1935">
                        <c:v>0</c:v>
                      </c:pt>
                      <c:pt idx="1936">
                        <c:v>0</c:v>
                      </c:pt>
                      <c:pt idx="1937">
                        <c:v>0</c:v>
                      </c:pt>
                      <c:pt idx="1938">
                        <c:v>0</c:v>
                      </c:pt>
                      <c:pt idx="1939">
                        <c:v>0</c:v>
                      </c:pt>
                      <c:pt idx="1940">
                        <c:v>0</c:v>
                      </c:pt>
                      <c:pt idx="1941">
                        <c:v>0</c:v>
                      </c:pt>
                      <c:pt idx="1942">
                        <c:v>0</c:v>
                      </c:pt>
                      <c:pt idx="1943">
                        <c:v>0</c:v>
                      </c:pt>
                      <c:pt idx="1944">
                        <c:v>0</c:v>
                      </c:pt>
                      <c:pt idx="1945">
                        <c:v>0</c:v>
                      </c:pt>
                      <c:pt idx="1946">
                        <c:v>0</c:v>
                      </c:pt>
                      <c:pt idx="1947">
                        <c:v>0</c:v>
                      </c:pt>
                      <c:pt idx="1948">
                        <c:v>0</c:v>
                      </c:pt>
                      <c:pt idx="1949">
                        <c:v>0</c:v>
                      </c:pt>
                      <c:pt idx="1950">
                        <c:v>0</c:v>
                      </c:pt>
                      <c:pt idx="1951">
                        <c:v>0</c:v>
                      </c:pt>
                      <c:pt idx="1952">
                        <c:v>0</c:v>
                      </c:pt>
                      <c:pt idx="1953">
                        <c:v>0</c:v>
                      </c:pt>
                      <c:pt idx="1954">
                        <c:v>0</c:v>
                      </c:pt>
                      <c:pt idx="1955">
                        <c:v>0</c:v>
                      </c:pt>
                      <c:pt idx="1956">
                        <c:v>0</c:v>
                      </c:pt>
                      <c:pt idx="1957">
                        <c:v>0</c:v>
                      </c:pt>
                      <c:pt idx="1958">
                        <c:v>0</c:v>
                      </c:pt>
                      <c:pt idx="1959">
                        <c:v>0</c:v>
                      </c:pt>
                      <c:pt idx="1960">
                        <c:v>0</c:v>
                      </c:pt>
                      <c:pt idx="1961">
                        <c:v>0</c:v>
                      </c:pt>
                      <c:pt idx="1962">
                        <c:v>0</c:v>
                      </c:pt>
                      <c:pt idx="1963">
                        <c:v>0</c:v>
                      </c:pt>
                      <c:pt idx="1964">
                        <c:v>0</c:v>
                      </c:pt>
                      <c:pt idx="1965">
                        <c:v>0</c:v>
                      </c:pt>
                      <c:pt idx="1966">
                        <c:v>0</c:v>
                      </c:pt>
                      <c:pt idx="1967">
                        <c:v>0</c:v>
                      </c:pt>
                      <c:pt idx="1968">
                        <c:v>0</c:v>
                      </c:pt>
                      <c:pt idx="1969">
                        <c:v>0</c:v>
                      </c:pt>
                      <c:pt idx="1970">
                        <c:v>0</c:v>
                      </c:pt>
                      <c:pt idx="1971">
                        <c:v>0</c:v>
                      </c:pt>
                      <c:pt idx="1972">
                        <c:v>0</c:v>
                      </c:pt>
                      <c:pt idx="1973">
                        <c:v>0</c:v>
                      </c:pt>
                      <c:pt idx="1974">
                        <c:v>0</c:v>
                      </c:pt>
                      <c:pt idx="1975">
                        <c:v>0</c:v>
                      </c:pt>
                      <c:pt idx="1976">
                        <c:v>0</c:v>
                      </c:pt>
                      <c:pt idx="1977">
                        <c:v>0</c:v>
                      </c:pt>
                      <c:pt idx="1978">
                        <c:v>0</c:v>
                      </c:pt>
                      <c:pt idx="1979">
                        <c:v>0</c:v>
                      </c:pt>
                      <c:pt idx="1980">
                        <c:v>0</c:v>
                      </c:pt>
                      <c:pt idx="1981">
                        <c:v>0</c:v>
                      </c:pt>
                      <c:pt idx="1982">
                        <c:v>0</c:v>
                      </c:pt>
                      <c:pt idx="1983">
                        <c:v>0</c:v>
                      </c:pt>
                      <c:pt idx="1984">
                        <c:v>0</c:v>
                      </c:pt>
                      <c:pt idx="1985">
                        <c:v>0</c:v>
                      </c:pt>
                      <c:pt idx="1986">
                        <c:v>0</c:v>
                      </c:pt>
                      <c:pt idx="1987">
                        <c:v>0</c:v>
                      </c:pt>
                      <c:pt idx="1988">
                        <c:v>0</c:v>
                      </c:pt>
                      <c:pt idx="1989">
                        <c:v>0</c:v>
                      </c:pt>
                      <c:pt idx="1990">
                        <c:v>0</c:v>
                      </c:pt>
                      <c:pt idx="1991">
                        <c:v>0</c:v>
                      </c:pt>
                      <c:pt idx="1992">
                        <c:v>0</c:v>
                      </c:pt>
                      <c:pt idx="1993">
                        <c:v>0</c:v>
                      </c:pt>
                      <c:pt idx="1994">
                        <c:v>0</c:v>
                      </c:pt>
                      <c:pt idx="1995">
                        <c:v>0</c:v>
                      </c:pt>
                      <c:pt idx="1996">
                        <c:v>0</c:v>
                      </c:pt>
                      <c:pt idx="1997">
                        <c:v>0</c:v>
                      </c:pt>
                      <c:pt idx="1998">
                        <c:v>0</c:v>
                      </c:pt>
                      <c:pt idx="1999">
                        <c:v>0</c:v>
                      </c:pt>
                      <c:pt idx="2000">
                        <c:v>0</c:v>
                      </c:pt>
                      <c:pt idx="2001">
                        <c:v>0</c:v>
                      </c:pt>
                      <c:pt idx="2002">
                        <c:v>0</c:v>
                      </c:pt>
                      <c:pt idx="2003">
                        <c:v>0</c:v>
                      </c:pt>
                      <c:pt idx="2004">
                        <c:v>0</c:v>
                      </c:pt>
                      <c:pt idx="2005">
                        <c:v>0</c:v>
                      </c:pt>
                      <c:pt idx="2006">
                        <c:v>0</c:v>
                      </c:pt>
                      <c:pt idx="2007">
                        <c:v>0</c:v>
                      </c:pt>
                      <c:pt idx="2008">
                        <c:v>0</c:v>
                      </c:pt>
                      <c:pt idx="2009">
                        <c:v>0</c:v>
                      </c:pt>
                      <c:pt idx="2010">
                        <c:v>0</c:v>
                      </c:pt>
                      <c:pt idx="2011">
                        <c:v>0</c:v>
                      </c:pt>
                      <c:pt idx="2012">
                        <c:v>0</c:v>
                      </c:pt>
                      <c:pt idx="2013">
                        <c:v>0</c:v>
                      </c:pt>
                      <c:pt idx="2014">
                        <c:v>0</c:v>
                      </c:pt>
                      <c:pt idx="2015">
                        <c:v>0</c:v>
                      </c:pt>
                      <c:pt idx="2016">
                        <c:v>0</c:v>
                      </c:pt>
                      <c:pt idx="2017">
                        <c:v>0</c:v>
                      </c:pt>
                      <c:pt idx="2018">
                        <c:v>0</c:v>
                      </c:pt>
                      <c:pt idx="2019">
                        <c:v>0</c:v>
                      </c:pt>
                      <c:pt idx="2020">
                        <c:v>0</c:v>
                      </c:pt>
                      <c:pt idx="2021">
                        <c:v>0</c:v>
                      </c:pt>
                      <c:pt idx="2022">
                        <c:v>0</c:v>
                      </c:pt>
                      <c:pt idx="2023">
                        <c:v>0</c:v>
                      </c:pt>
                      <c:pt idx="2024">
                        <c:v>0</c:v>
                      </c:pt>
                      <c:pt idx="2025">
                        <c:v>0</c:v>
                      </c:pt>
                      <c:pt idx="2026">
                        <c:v>0</c:v>
                      </c:pt>
                      <c:pt idx="2027">
                        <c:v>0</c:v>
                      </c:pt>
                      <c:pt idx="2028">
                        <c:v>0</c:v>
                      </c:pt>
                      <c:pt idx="2029">
                        <c:v>0</c:v>
                      </c:pt>
                      <c:pt idx="2030">
                        <c:v>0</c:v>
                      </c:pt>
                      <c:pt idx="2031">
                        <c:v>0</c:v>
                      </c:pt>
                      <c:pt idx="2032">
                        <c:v>0</c:v>
                      </c:pt>
                      <c:pt idx="2033">
                        <c:v>0</c:v>
                      </c:pt>
                      <c:pt idx="2034">
                        <c:v>0</c:v>
                      </c:pt>
                      <c:pt idx="2035">
                        <c:v>0</c:v>
                      </c:pt>
                      <c:pt idx="2036">
                        <c:v>0</c:v>
                      </c:pt>
                      <c:pt idx="2037">
                        <c:v>0</c:v>
                      </c:pt>
                      <c:pt idx="2038">
                        <c:v>0</c:v>
                      </c:pt>
                      <c:pt idx="2039">
                        <c:v>0</c:v>
                      </c:pt>
                      <c:pt idx="2040">
                        <c:v>0</c:v>
                      </c:pt>
                      <c:pt idx="2041">
                        <c:v>0</c:v>
                      </c:pt>
                      <c:pt idx="2042">
                        <c:v>0</c:v>
                      </c:pt>
                      <c:pt idx="2043">
                        <c:v>0</c:v>
                      </c:pt>
                      <c:pt idx="2044">
                        <c:v>0</c:v>
                      </c:pt>
                      <c:pt idx="2045">
                        <c:v>0</c:v>
                      </c:pt>
                      <c:pt idx="2046">
                        <c:v>0</c:v>
                      </c:pt>
                      <c:pt idx="2047">
                        <c:v>0</c:v>
                      </c:pt>
                      <c:pt idx="2048">
                        <c:v>0</c:v>
                      </c:pt>
                      <c:pt idx="2049">
                        <c:v>0</c:v>
                      </c:pt>
                      <c:pt idx="2050">
                        <c:v>0</c:v>
                      </c:pt>
                      <c:pt idx="2051">
                        <c:v>0</c:v>
                      </c:pt>
                      <c:pt idx="2052">
                        <c:v>0</c:v>
                      </c:pt>
                      <c:pt idx="2053">
                        <c:v>0</c:v>
                      </c:pt>
                      <c:pt idx="2054">
                        <c:v>0</c:v>
                      </c:pt>
                      <c:pt idx="2055">
                        <c:v>0</c:v>
                      </c:pt>
                      <c:pt idx="2056">
                        <c:v>0</c:v>
                      </c:pt>
                      <c:pt idx="2057">
                        <c:v>0</c:v>
                      </c:pt>
                      <c:pt idx="2058">
                        <c:v>0</c:v>
                      </c:pt>
                      <c:pt idx="2059">
                        <c:v>0</c:v>
                      </c:pt>
                      <c:pt idx="2060">
                        <c:v>0</c:v>
                      </c:pt>
                      <c:pt idx="2061">
                        <c:v>0</c:v>
                      </c:pt>
                      <c:pt idx="2062">
                        <c:v>0</c:v>
                      </c:pt>
                      <c:pt idx="2063">
                        <c:v>0</c:v>
                      </c:pt>
                      <c:pt idx="2064">
                        <c:v>0</c:v>
                      </c:pt>
                      <c:pt idx="2065">
                        <c:v>0</c:v>
                      </c:pt>
                      <c:pt idx="2066">
                        <c:v>0</c:v>
                      </c:pt>
                      <c:pt idx="2067">
                        <c:v>0</c:v>
                      </c:pt>
                      <c:pt idx="2068">
                        <c:v>0</c:v>
                      </c:pt>
                      <c:pt idx="2069">
                        <c:v>0</c:v>
                      </c:pt>
                      <c:pt idx="2070">
                        <c:v>0</c:v>
                      </c:pt>
                      <c:pt idx="2071">
                        <c:v>0</c:v>
                      </c:pt>
                      <c:pt idx="2072">
                        <c:v>0</c:v>
                      </c:pt>
                      <c:pt idx="2073">
                        <c:v>0</c:v>
                      </c:pt>
                      <c:pt idx="2074">
                        <c:v>0</c:v>
                      </c:pt>
                      <c:pt idx="2075">
                        <c:v>0</c:v>
                      </c:pt>
                      <c:pt idx="2076">
                        <c:v>0</c:v>
                      </c:pt>
                      <c:pt idx="2077">
                        <c:v>0</c:v>
                      </c:pt>
                      <c:pt idx="2078">
                        <c:v>0</c:v>
                      </c:pt>
                      <c:pt idx="2079">
                        <c:v>0</c:v>
                      </c:pt>
                      <c:pt idx="2080">
                        <c:v>0</c:v>
                      </c:pt>
                      <c:pt idx="2081">
                        <c:v>0</c:v>
                      </c:pt>
                      <c:pt idx="2082">
                        <c:v>0</c:v>
                      </c:pt>
                      <c:pt idx="2083">
                        <c:v>0</c:v>
                      </c:pt>
                      <c:pt idx="2084">
                        <c:v>0</c:v>
                      </c:pt>
                      <c:pt idx="2085">
                        <c:v>0</c:v>
                      </c:pt>
                      <c:pt idx="2086">
                        <c:v>0</c:v>
                      </c:pt>
                      <c:pt idx="2087">
                        <c:v>0</c:v>
                      </c:pt>
                      <c:pt idx="2088">
                        <c:v>0</c:v>
                      </c:pt>
                      <c:pt idx="2089">
                        <c:v>0</c:v>
                      </c:pt>
                      <c:pt idx="2090">
                        <c:v>0</c:v>
                      </c:pt>
                      <c:pt idx="2091">
                        <c:v>0</c:v>
                      </c:pt>
                      <c:pt idx="2092">
                        <c:v>0</c:v>
                      </c:pt>
                      <c:pt idx="2093">
                        <c:v>0</c:v>
                      </c:pt>
                      <c:pt idx="2094">
                        <c:v>0</c:v>
                      </c:pt>
                      <c:pt idx="2095">
                        <c:v>0</c:v>
                      </c:pt>
                      <c:pt idx="2096">
                        <c:v>0</c:v>
                      </c:pt>
                      <c:pt idx="2097">
                        <c:v>0</c:v>
                      </c:pt>
                      <c:pt idx="2098">
                        <c:v>0</c:v>
                      </c:pt>
                      <c:pt idx="2099">
                        <c:v>0</c:v>
                      </c:pt>
                      <c:pt idx="2100">
                        <c:v>0</c:v>
                      </c:pt>
                      <c:pt idx="2101">
                        <c:v>0</c:v>
                      </c:pt>
                      <c:pt idx="2102">
                        <c:v>0</c:v>
                      </c:pt>
                      <c:pt idx="2103">
                        <c:v>0</c:v>
                      </c:pt>
                      <c:pt idx="2104">
                        <c:v>0</c:v>
                      </c:pt>
                      <c:pt idx="2105">
                        <c:v>0</c:v>
                      </c:pt>
                      <c:pt idx="2106">
                        <c:v>0</c:v>
                      </c:pt>
                      <c:pt idx="2107">
                        <c:v>0</c:v>
                      </c:pt>
                      <c:pt idx="2108">
                        <c:v>0</c:v>
                      </c:pt>
                      <c:pt idx="2109">
                        <c:v>0</c:v>
                      </c:pt>
                      <c:pt idx="2110">
                        <c:v>0</c:v>
                      </c:pt>
                      <c:pt idx="2111">
                        <c:v>0</c:v>
                      </c:pt>
                      <c:pt idx="2112">
                        <c:v>0</c:v>
                      </c:pt>
                      <c:pt idx="2113">
                        <c:v>0</c:v>
                      </c:pt>
                      <c:pt idx="2114">
                        <c:v>0</c:v>
                      </c:pt>
                      <c:pt idx="2115">
                        <c:v>0</c:v>
                      </c:pt>
                      <c:pt idx="2116">
                        <c:v>0</c:v>
                      </c:pt>
                      <c:pt idx="2117">
                        <c:v>0</c:v>
                      </c:pt>
                      <c:pt idx="2118">
                        <c:v>0</c:v>
                      </c:pt>
                      <c:pt idx="2119">
                        <c:v>0</c:v>
                      </c:pt>
                      <c:pt idx="2120">
                        <c:v>0</c:v>
                      </c:pt>
                      <c:pt idx="2121">
                        <c:v>0</c:v>
                      </c:pt>
                      <c:pt idx="2122">
                        <c:v>0</c:v>
                      </c:pt>
                      <c:pt idx="2123">
                        <c:v>0</c:v>
                      </c:pt>
                      <c:pt idx="2124">
                        <c:v>0</c:v>
                      </c:pt>
                      <c:pt idx="2125">
                        <c:v>0</c:v>
                      </c:pt>
                      <c:pt idx="2126">
                        <c:v>0</c:v>
                      </c:pt>
                      <c:pt idx="2127">
                        <c:v>0</c:v>
                      </c:pt>
                      <c:pt idx="2128">
                        <c:v>0</c:v>
                      </c:pt>
                      <c:pt idx="2129">
                        <c:v>0</c:v>
                      </c:pt>
                      <c:pt idx="2130">
                        <c:v>0</c:v>
                      </c:pt>
                      <c:pt idx="2131">
                        <c:v>0</c:v>
                      </c:pt>
                      <c:pt idx="2132">
                        <c:v>0</c:v>
                      </c:pt>
                      <c:pt idx="2133">
                        <c:v>0</c:v>
                      </c:pt>
                      <c:pt idx="2134">
                        <c:v>0</c:v>
                      </c:pt>
                      <c:pt idx="2135">
                        <c:v>0</c:v>
                      </c:pt>
                      <c:pt idx="2136">
                        <c:v>0</c:v>
                      </c:pt>
                      <c:pt idx="2137">
                        <c:v>0</c:v>
                      </c:pt>
                      <c:pt idx="2138">
                        <c:v>0</c:v>
                      </c:pt>
                      <c:pt idx="2139">
                        <c:v>0</c:v>
                      </c:pt>
                      <c:pt idx="2140">
                        <c:v>0</c:v>
                      </c:pt>
                      <c:pt idx="2141">
                        <c:v>0</c:v>
                      </c:pt>
                      <c:pt idx="2142">
                        <c:v>0</c:v>
                      </c:pt>
                      <c:pt idx="2143">
                        <c:v>0</c:v>
                      </c:pt>
                      <c:pt idx="2144">
                        <c:v>0</c:v>
                      </c:pt>
                      <c:pt idx="2145">
                        <c:v>0</c:v>
                      </c:pt>
                      <c:pt idx="2146">
                        <c:v>0</c:v>
                      </c:pt>
                      <c:pt idx="2147">
                        <c:v>0</c:v>
                      </c:pt>
                      <c:pt idx="2148">
                        <c:v>0</c:v>
                      </c:pt>
                      <c:pt idx="2149">
                        <c:v>0</c:v>
                      </c:pt>
                      <c:pt idx="2150">
                        <c:v>0</c:v>
                      </c:pt>
                      <c:pt idx="2151">
                        <c:v>0</c:v>
                      </c:pt>
                      <c:pt idx="2152">
                        <c:v>0</c:v>
                      </c:pt>
                      <c:pt idx="2153">
                        <c:v>0</c:v>
                      </c:pt>
                      <c:pt idx="2154">
                        <c:v>0</c:v>
                      </c:pt>
                      <c:pt idx="2155">
                        <c:v>0</c:v>
                      </c:pt>
                      <c:pt idx="2156">
                        <c:v>0</c:v>
                      </c:pt>
                      <c:pt idx="2157">
                        <c:v>0</c:v>
                      </c:pt>
                      <c:pt idx="2158">
                        <c:v>0</c:v>
                      </c:pt>
                      <c:pt idx="2159">
                        <c:v>0</c:v>
                      </c:pt>
                      <c:pt idx="2160">
                        <c:v>0</c:v>
                      </c:pt>
                      <c:pt idx="2161">
                        <c:v>0</c:v>
                      </c:pt>
                      <c:pt idx="2162">
                        <c:v>0</c:v>
                      </c:pt>
                      <c:pt idx="2163">
                        <c:v>0</c:v>
                      </c:pt>
                      <c:pt idx="2164">
                        <c:v>0</c:v>
                      </c:pt>
                      <c:pt idx="2165">
                        <c:v>0</c:v>
                      </c:pt>
                      <c:pt idx="2166">
                        <c:v>0</c:v>
                      </c:pt>
                      <c:pt idx="2167">
                        <c:v>0</c:v>
                      </c:pt>
                      <c:pt idx="2168">
                        <c:v>0</c:v>
                      </c:pt>
                      <c:pt idx="2169">
                        <c:v>0</c:v>
                      </c:pt>
                      <c:pt idx="2170">
                        <c:v>0</c:v>
                      </c:pt>
                      <c:pt idx="2171">
                        <c:v>0</c:v>
                      </c:pt>
                      <c:pt idx="2172">
                        <c:v>0</c:v>
                      </c:pt>
                      <c:pt idx="2173">
                        <c:v>0</c:v>
                      </c:pt>
                      <c:pt idx="2174">
                        <c:v>0</c:v>
                      </c:pt>
                      <c:pt idx="2175">
                        <c:v>0</c:v>
                      </c:pt>
                      <c:pt idx="2176">
                        <c:v>0</c:v>
                      </c:pt>
                      <c:pt idx="2177">
                        <c:v>0</c:v>
                      </c:pt>
                      <c:pt idx="2178">
                        <c:v>0</c:v>
                      </c:pt>
                      <c:pt idx="2179">
                        <c:v>0</c:v>
                      </c:pt>
                      <c:pt idx="2180">
                        <c:v>0</c:v>
                      </c:pt>
                      <c:pt idx="2181">
                        <c:v>0</c:v>
                      </c:pt>
                      <c:pt idx="2182">
                        <c:v>0</c:v>
                      </c:pt>
                      <c:pt idx="2183">
                        <c:v>0</c:v>
                      </c:pt>
                      <c:pt idx="2184">
                        <c:v>0</c:v>
                      </c:pt>
                      <c:pt idx="2185">
                        <c:v>0</c:v>
                      </c:pt>
                      <c:pt idx="2186">
                        <c:v>0</c:v>
                      </c:pt>
                      <c:pt idx="2187">
                        <c:v>0</c:v>
                      </c:pt>
                      <c:pt idx="2188">
                        <c:v>0</c:v>
                      </c:pt>
                      <c:pt idx="2189">
                        <c:v>0</c:v>
                      </c:pt>
                      <c:pt idx="2190">
                        <c:v>0</c:v>
                      </c:pt>
                      <c:pt idx="2191">
                        <c:v>0</c:v>
                      </c:pt>
                      <c:pt idx="2192">
                        <c:v>0</c:v>
                      </c:pt>
                      <c:pt idx="2193">
                        <c:v>0</c:v>
                      </c:pt>
                      <c:pt idx="2194">
                        <c:v>0</c:v>
                      </c:pt>
                      <c:pt idx="2195">
                        <c:v>0</c:v>
                      </c:pt>
                      <c:pt idx="2196">
                        <c:v>0</c:v>
                      </c:pt>
                      <c:pt idx="2197">
                        <c:v>0</c:v>
                      </c:pt>
                      <c:pt idx="2198">
                        <c:v>0</c:v>
                      </c:pt>
                      <c:pt idx="2199">
                        <c:v>0</c:v>
                      </c:pt>
                      <c:pt idx="2200">
                        <c:v>0</c:v>
                      </c:pt>
                      <c:pt idx="2201">
                        <c:v>0</c:v>
                      </c:pt>
                      <c:pt idx="2202">
                        <c:v>0</c:v>
                      </c:pt>
                      <c:pt idx="2203">
                        <c:v>0</c:v>
                      </c:pt>
                      <c:pt idx="2204">
                        <c:v>0</c:v>
                      </c:pt>
                      <c:pt idx="2205">
                        <c:v>0</c:v>
                      </c:pt>
                      <c:pt idx="2206">
                        <c:v>0</c:v>
                      </c:pt>
                      <c:pt idx="2207">
                        <c:v>0</c:v>
                      </c:pt>
                      <c:pt idx="2208">
                        <c:v>0</c:v>
                      </c:pt>
                      <c:pt idx="2209">
                        <c:v>0</c:v>
                      </c:pt>
                      <c:pt idx="2210">
                        <c:v>0</c:v>
                      </c:pt>
                      <c:pt idx="2211">
                        <c:v>0</c:v>
                      </c:pt>
                      <c:pt idx="2212">
                        <c:v>0</c:v>
                      </c:pt>
                      <c:pt idx="2213">
                        <c:v>0</c:v>
                      </c:pt>
                      <c:pt idx="2214">
                        <c:v>0</c:v>
                      </c:pt>
                      <c:pt idx="2215">
                        <c:v>0</c:v>
                      </c:pt>
                      <c:pt idx="2216">
                        <c:v>0</c:v>
                      </c:pt>
                      <c:pt idx="2217">
                        <c:v>0</c:v>
                      </c:pt>
                      <c:pt idx="2218">
                        <c:v>0</c:v>
                      </c:pt>
                      <c:pt idx="2219">
                        <c:v>0</c:v>
                      </c:pt>
                      <c:pt idx="2220">
                        <c:v>0</c:v>
                      </c:pt>
                      <c:pt idx="2221">
                        <c:v>0</c:v>
                      </c:pt>
                      <c:pt idx="2222">
                        <c:v>0</c:v>
                      </c:pt>
                      <c:pt idx="2223">
                        <c:v>0</c:v>
                      </c:pt>
                      <c:pt idx="2224">
                        <c:v>0</c:v>
                      </c:pt>
                      <c:pt idx="2225">
                        <c:v>0</c:v>
                      </c:pt>
                      <c:pt idx="2226">
                        <c:v>0</c:v>
                      </c:pt>
                      <c:pt idx="2227">
                        <c:v>0</c:v>
                      </c:pt>
                      <c:pt idx="2228">
                        <c:v>0</c:v>
                      </c:pt>
                      <c:pt idx="2229">
                        <c:v>0</c:v>
                      </c:pt>
                      <c:pt idx="2230">
                        <c:v>0</c:v>
                      </c:pt>
                      <c:pt idx="2231">
                        <c:v>0</c:v>
                      </c:pt>
                      <c:pt idx="2232">
                        <c:v>0</c:v>
                      </c:pt>
                      <c:pt idx="2233">
                        <c:v>0</c:v>
                      </c:pt>
                      <c:pt idx="2234">
                        <c:v>0</c:v>
                      </c:pt>
                      <c:pt idx="2235">
                        <c:v>0</c:v>
                      </c:pt>
                      <c:pt idx="2236">
                        <c:v>0</c:v>
                      </c:pt>
                      <c:pt idx="2237">
                        <c:v>0</c:v>
                      </c:pt>
                      <c:pt idx="2238">
                        <c:v>0</c:v>
                      </c:pt>
                      <c:pt idx="2239">
                        <c:v>0</c:v>
                      </c:pt>
                      <c:pt idx="2240">
                        <c:v>0</c:v>
                      </c:pt>
                      <c:pt idx="2241">
                        <c:v>0</c:v>
                      </c:pt>
                      <c:pt idx="2242">
                        <c:v>0</c:v>
                      </c:pt>
                      <c:pt idx="2243">
                        <c:v>0</c:v>
                      </c:pt>
                      <c:pt idx="2244">
                        <c:v>0</c:v>
                      </c:pt>
                      <c:pt idx="2245">
                        <c:v>0</c:v>
                      </c:pt>
                      <c:pt idx="2246">
                        <c:v>0</c:v>
                      </c:pt>
                      <c:pt idx="2247">
                        <c:v>0</c:v>
                      </c:pt>
                      <c:pt idx="2248">
                        <c:v>0</c:v>
                      </c:pt>
                      <c:pt idx="2249">
                        <c:v>0</c:v>
                      </c:pt>
                      <c:pt idx="2250">
                        <c:v>0</c:v>
                      </c:pt>
                      <c:pt idx="2251">
                        <c:v>0</c:v>
                      </c:pt>
                      <c:pt idx="2252">
                        <c:v>0</c:v>
                      </c:pt>
                      <c:pt idx="2253">
                        <c:v>0</c:v>
                      </c:pt>
                      <c:pt idx="2254">
                        <c:v>0</c:v>
                      </c:pt>
                      <c:pt idx="2255">
                        <c:v>0</c:v>
                      </c:pt>
                      <c:pt idx="2256">
                        <c:v>0</c:v>
                      </c:pt>
                      <c:pt idx="2257">
                        <c:v>0</c:v>
                      </c:pt>
                      <c:pt idx="2258">
                        <c:v>0</c:v>
                      </c:pt>
                      <c:pt idx="2259">
                        <c:v>0</c:v>
                      </c:pt>
                      <c:pt idx="2260">
                        <c:v>0</c:v>
                      </c:pt>
                      <c:pt idx="2261">
                        <c:v>0</c:v>
                      </c:pt>
                      <c:pt idx="2262">
                        <c:v>0</c:v>
                      </c:pt>
                      <c:pt idx="2263">
                        <c:v>0</c:v>
                      </c:pt>
                      <c:pt idx="2264">
                        <c:v>0</c:v>
                      </c:pt>
                      <c:pt idx="2265">
                        <c:v>0</c:v>
                      </c:pt>
                      <c:pt idx="2266">
                        <c:v>0</c:v>
                      </c:pt>
                      <c:pt idx="2267">
                        <c:v>0</c:v>
                      </c:pt>
                      <c:pt idx="2268">
                        <c:v>0</c:v>
                      </c:pt>
                      <c:pt idx="2269">
                        <c:v>0</c:v>
                      </c:pt>
                      <c:pt idx="2270">
                        <c:v>0</c:v>
                      </c:pt>
                      <c:pt idx="2271">
                        <c:v>0</c:v>
                      </c:pt>
                      <c:pt idx="2272">
                        <c:v>0</c:v>
                      </c:pt>
                      <c:pt idx="2273">
                        <c:v>0</c:v>
                      </c:pt>
                      <c:pt idx="2274">
                        <c:v>0</c:v>
                      </c:pt>
                      <c:pt idx="2275">
                        <c:v>0</c:v>
                      </c:pt>
                      <c:pt idx="2276">
                        <c:v>0</c:v>
                      </c:pt>
                      <c:pt idx="2277">
                        <c:v>0</c:v>
                      </c:pt>
                      <c:pt idx="2278">
                        <c:v>0</c:v>
                      </c:pt>
                      <c:pt idx="2279">
                        <c:v>0</c:v>
                      </c:pt>
                      <c:pt idx="2280">
                        <c:v>0</c:v>
                      </c:pt>
                      <c:pt idx="2281">
                        <c:v>0</c:v>
                      </c:pt>
                      <c:pt idx="2282">
                        <c:v>0</c:v>
                      </c:pt>
                      <c:pt idx="2283">
                        <c:v>0</c:v>
                      </c:pt>
                      <c:pt idx="2284">
                        <c:v>0</c:v>
                      </c:pt>
                      <c:pt idx="2285">
                        <c:v>0</c:v>
                      </c:pt>
                      <c:pt idx="2286">
                        <c:v>0</c:v>
                      </c:pt>
                      <c:pt idx="2287">
                        <c:v>0</c:v>
                      </c:pt>
                      <c:pt idx="2288">
                        <c:v>0</c:v>
                      </c:pt>
                      <c:pt idx="2289">
                        <c:v>0</c:v>
                      </c:pt>
                      <c:pt idx="2290">
                        <c:v>0</c:v>
                      </c:pt>
                      <c:pt idx="2291">
                        <c:v>0</c:v>
                      </c:pt>
                      <c:pt idx="2292">
                        <c:v>0</c:v>
                      </c:pt>
                      <c:pt idx="2293">
                        <c:v>0</c:v>
                      </c:pt>
                      <c:pt idx="2294">
                        <c:v>0</c:v>
                      </c:pt>
                      <c:pt idx="2295">
                        <c:v>0</c:v>
                      </c:pt>
                      <c:pt idx="2296">
                        <c:v>0</c:v>
                      </c:pt>
                      <c:pt idx="2297">
                        <c:v>0</c:v>
                      </c:pt>
                      <c:pt idx="2298">
                        <c:v>0</c:v>
                      </c:pt>
                      <c:pt idx="2299">
                        <c:v>0</c:v>
                      </c:pt>
                      <c:pt idx="2300">
                        <c:v>0</c:v>
                      </c:pt>
                      <c:pt idx="2301">
                        <c:v>0</c:v>
                      </c:pt>
                      <c:pt idx="2302">
                        <c:v>0</c:v>
                      </c:pt>
                      <c:pt idx="2303">
                        <c:v>0</c:v>
                      </c:pt>
                      <c:pt idx="2304">
                        <c:v>0</c:v>
                      </c:pt>
                      <c:pt idx="2305">
                        <c:v>0</c:v>
                      </c:pt>
                      <c:pt idx="2306">
                        <c:v>0</c:v>
                      </c:pt>
                      <c:pt idx="2307">
                        <c:v>0</c:v>
                      </c:pt>
                      <c:pt idx="2308">
                        <c:v>0</c:v>
                      </c:pt>
                      <c:pt idx="2309">
                        <c:v>0</c:v>
                      </c:pt>
                      <c:pt idx="2310">
                        <c:v>0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0</c:v>
                      </c:pt>
                      <c:pt idx="2336">
                        <c:v>0</c:v>
                      </c:pt>
                      <c:pt idx="2337">
                        <c:v>0</c:v>
                      </c:pt>
                      <c:pt idx="2338">
                        <c:v>0</c:v>
                      </c:pt>
                      <c:pt idx="2339">
                        <c:v>0</c:v>
                      </c:pt>
                      <c:pt idx="2340">
                        <c:v>0</c:v>
                      </c:pt>
                      <c:pt idx="2341">
                        <c:v>0</c:v>
                      </c:pt>
                      <c:pt idx="2342">
                        <c:v>0</c:v>
                      </c:pt>
                      <c:pt idx="2343">
                        <c:v>0</c:v>
                      </c:pt>
                      <c:pt idx="2344">
                        <c:v>0</c:v>
                      </c:pt>
                      <c:pt idx="2345">
                        <c:v>0</c:v>
                      </c:pt>
                      <c:pt idx="2346">
                        <c:v>0</c:v>
                      </c:pt>
                      <c:pt idx="2347">
                        <c:v>0</c:v>
                      </c:pt>
                      <c:pt idx="2348">
                        <c:v>0</c:v>
                      </c:pt>
                      <c:pt idx="2349">
                        <c:v>0</c:v>
                      </c:pt>
                      <c:pt idx="2350">
                        <c:v>0</c:v>
                      </c:pt>
                      <c:pt idx="2351">
                        <c:v>0</c:v>
                      </c:pt>
                      <c:pt idx="2352">
                        <c:v>0</c:v>
                      </c:pt>
                      <c:pt idx="2353">
                        <c:v>0</c:v>
                      </c:pt>
                      <c:pt idx="2354">
                        <c:v>0</c:v>
                      </c:pt>
                      <c:pt idx="2355">
                        <c:v>0</c:v>
                      </c:pt>
                      <c:pt idx="2356">
                        <c:v>0</c:v>
                      </c:pt>
                      <c:pt idx="2357">
                        <c:v>0</c:v>
                      </c:pt>
                      <c:pt idx="2358">
                        <c:v>0</c:v>
                      </c:pt>
                      <c:pt idx="2359">
                        <c:v>0</c:v>
                      </c:pt>
                      <c:pt idx="2360">
                        <c:v>0</c:v>
                      </c:pt>
                      <c:pt idx="2361">
                        <c:v>0</c:v>
                      </c:pt>
                      <c:pt idx="2362">
                        <c:v>0</c:v>
                      </c:pt>
                      <c:pt idx="2363">
                        <c:v>0</c:v>
                      </c:pt>
                      <c:pt idx="2364">
                        <c:v>0</c:v>
                      </c:pt>
                      <c:pt idx="2365">
                        <c:v>0</c:v>
                      </c:pt>
                      <c:pt idx="2366">
                        <c:v>0</c:v>
                      </c:pt>
                      <c:pt idx="2367">
                        <c:v>0</c:v>
                      </c:pt>
                      <c:pt idx="2368">
                        <c:v>0</c:v>
                      </c:pt>
                      <c:pt idx="2369">
                        <c:v>0</c:v>
                      </c:pt>
                      <c:pt idx="2370">
                        <c:v>0</c:v>
                      </c:pt>
                      <c:pt idx="2371">
                        <c:v>0</c:v>
                      </c:pt>
                      <c:pt idx="2372">
                        <c:v>0</c:v>
                      </c:pt>
                      <c:pt idx="2373">
                        <c:v>0</c:v>
                      </c:pt>
                      <c:pt idx="2374">
                        <c:v>0</c:v>
                      </c:pt>
                      <c:pt idx="2375">
                        <c:v>0</c:v>
                      </c:pt>
                      <c:pt idx="2376">
                        <c:v>0</c:v>
                      </c:pt>
                      <c:pt idx="2377">
                        <c:v>0</c:v>
                      </c:pt>
                      <c:pt idx="2378">
                        <c:v>0</c:v>
                      </c:pt>
                      <c:pt idx="2379">
                        <c:v>0</c:v>
                      </c:pt>
                      <c:pt idx="2380">
                        <c:v>0</c:v>
                      </c:pt>
                      <c:pt idx="2381">
                        <c:v>0</c:v>
                      </c:pt>
                      <c:pt idx="2382">
                        <c:v>0</c:v>
                      </c:pt>
                      <c:pt idx="2383">
                        <c:v>0</c:v>
                      </c:pt>
                      <c:pt idx="2384">
                        <c:v>0</c:v>
                      </c:pt>
                      <c:pt idx="2385">
                        <c:v>0</c:v>
                      </c:pt>
                      <c:pt idx="2386">
                        <c:v>0</c:v>
                      </c:pt>
                      <c:pt idx="2387">
                        <c:v>0</c:v>
                      </c:pt>
                      <c:pt idx="2388">
                        <c:v>0</c:v>
                      </c:pt>
                      <c:pt idx="2389">
                        <c:v>0</c:v>
                      </c:pt>
                      <c:pt idx="2390">
                        <c:v>0</c:v>
                      </c:pt>
                      <c:pt idx="2391">
                        <c:v>0</c:v>
                      </c:pt>
                      <c:pt idx="2392">
                        <c:v>0</c:v>
                      </c:pt>
                      <c:pt idx="2393">
                        <c:v>0</c:v>
                      </c:pt>
                      <c:pt idx="2394">
                        <c:v>0</c:v>
                      </c:pt>
                      <c:pt idx="2395">
                        <c:v>0</c:v>
                      </c:pt>
                      <c:pt idx="2396">
                        <c:v>0</c:v>
                      </c:pt>
                      <c:pt idx="2397">
                        <c:v>0</c:v>
                      </c:pt>
                      <c:pt idx="2398">
                        <c:v>0</c:v>
                      </c:pt>
                      <c:pt idx="2399">
                        <c:v>0</c:v>
                      </c:pt>
                      <c:pt idx="2400">
                        <c:v>0</c:v>
                      </c:pt>
                      <c:pt idx="2401">
                        <c:v>0</c:v>
                      </c:pt>
                      <c:pt idx="2402">
                        <c:v>0</c:v>
                      </c:pt>
                      <c:pt idx="2403">
                        <c:v>0</c:v>
                      </c:pt>
                      <c:pt idx="2404">
                        <c:v>0</c:v>
                      </c:pt>
                      <c:pt idx="2405">
                        <c:v>0</c:v>
                      </c:pt>
                      <c:pt idx="2406">
                        <c:v>0</c:v>
                      </c:pt>
                      <c:pt idx="2407">
                        <c:v>0</c:v>
                      </c:pt>
                      <c:pt idx="2408">
                        <c:v>0</c:v>
                      </c:pt>
                      <c:pt idx="2409">
                        <c:v>0</c:v>
                      </c:pt>
                      <c:pt idx="2410">
                        <c:v>0</c:v>
                      </c:pt>
                      <c:pt idx="2411">
                        <c:v>0</c:v>
                      </c:pt>
                      <c:pt idx="2412">
                        <c:v>0</c:v>
                      </c:pt>
                      <c:pt idx="2413">
                        <c:v>0</c:v>
                      </c:pt>
                      <c:pt idx="2414">
                        <c:v>0</c:v>
                      </c:pt>
                      <c:pt idx="2415">
                        <c:v>0</c:v>
                      </c:pt>
                      <c:pt idx="2416">
                        <c:v>0</c:v>
                      </c:pt>
                      <c:pt idx="2417">
                        <c:v>0</c:v>
                      </c:pt>
                      <c:pt idx="2418">
                        <c:v>0</c:v>
                      </c:pt>
                      <c:pt idx="2419">
                        <c:v>0</c:v>
                      </c:pt>
                      <c:pt idx="2420">
                        <c:v>0</c:v>
                      </c:pt>
                      <c:pt idx="2421">
                        <c:v>0</c:v>
                      </c:pt>
                      <c:pt idx="2422">
                        <c:v>0</c:v>
                      </c:pt>
                      <c:pt idx="2423">
                        <c:v>0</c:v>
                      </c:pt>
                      <c:pt idx="2424">
                        <c:v>0</c:v>
                      </c:pt>
                      <c:pt idx="2425">
                        <c:v>0</c:v>
                      </c:pt>
                      <c:pt idx="2426">
                        <c:v>0</c:v>
                      </c:pt>
                      <c:pt idx="2427">
                        <c:v>0</c:v>
                      </c:pt>
                      <c:pt idx="2428">
                        <c:v>0</c:v>
                      </c:pt>
                      <c:pt idx="2429">
                        <c:v>0</c:v>
                      </c:pt>
                      <c:pt idx="2430">
                        <c:v>0</c:v>
                      </c:pt>
                      <c:pt idx="2431">
                        <c:v>0</c:v>
                      </c:pt>
                      <c:pt idx="2432">
                        <c:v>0</c:v>
                      </c:pt>
                      <c:pt idx="2433">
                        <c:v>0</c:v>
                      </c:pt>
                      <c:pt idx="2434">
                        <c:v>0</c:v>
                      </c:pt>
                      <c:pt idx="2435">
                        <c:v>0</c:v>
                      </c:pt>
                      <c:pt idx="2436">
                        <c:v>0</c:v>
                      </c:pt>
                      <c:pt idx="2437">
                        <c:v>0</c:v>
                      </c:pt>
                      <c:pt idx="2438">
                        <c:v>0</c:v>
                      </c:pt>
                      <c:pt idx="2439">
                        <c:v>0</c:v>
                      </c:pt>
                      <c:pt idx="2440">
                        <c:v>0</c:v>
                      </c:pt>
                      <c:pt idx="2441">
                        <c:v>0</c:v>
                      </c:pt>
                      <c:pt idx="2442">
                        <c:v>0</c:v>
                      </c:pt>
                      <c:pt idx="2443">
                        <c:v>0</c:v>
                      </c:pt>
                      <c:pt idx="2444">
                        <c:v>0</c:v>
                      </c:pt>
                      <c:pt idx="2445">
                        <c:v>0</c:v>
                      </c:pt>
                      <c:pt idx="2446">
                        <c:v>0</c:v>
                      </c:pt>
                      <c:pt idx="2447">
                        <c:v>0</c:v>
                      </c:pt>
                      <c:pt idx="2448">
                        <c:v>0</c:v>
                      </c:pt>
                      <c:pt idx="2449">
                        <c:v>0</c:v>
                      </c:pt>
                      <c:pt idx="2450">
                        <c:v>0</c:v>
                      </c:pt>
                      <c:pt idx="2451">
                        <c:v>0</c:v>
                      </c:pt>
                      <c:pt idx="2452">
                        <c:v>0</c:v>
                      </c:pt>
                      <c:pt idx="2453">
                        <c:v>0</c:v>
                      </c:pt>
                      <c:pt idx="2454">
                        <c:v>0</c:v>
                      </c:pt>
                      <c:pt idx="2455">
                        <c:v>0</c:v>
                      </c:pt>
                      <c:pt idx="2456">
                        <c:v>0</c:v>
                      </c:pt>
                      <c:pt idx="2457">
                        <c:v>0</c:v>
                      </c:pt>
                      <c:pt idx="2458">
                        <c:v>0</c:v>
                      </c:pt>
                      <c:pt idx="2459">
                        <c:v>0</c:v>
                      </c:pt>
                      <c:pt idx="2460">
                        <c:v>0</c:v>
                      </c:pt>
                      <c:pt idx="2461">
                        <c:v>0</c:v>
                      </c:pt>
                      <c:pt idx="2462">
                        <c:v>0</c:v>
                      </c:pt>
                      <c:pt idx="2463">
                        <c:v>0</c:v>
                      </c:pt>
                      <c:pt idx="2464">
                        <c:v>0</c:v>
                      </c:pt>
                      <c:pt idx="2465">
                        <c:v>0</c:v>
                      </c:pt>
                      <c:pt idx="2466">
                        <c:v>0</c:v>
                      </c:pt>
                      <c:pt idx="2467">
                        <c:v>0</c:v>
                      </c:pt>
                      <c:pt idx="2468">
                        <c:v>0</c:v>
                      </c:pt>
                      <c:pt idx="2469">
                        <c:v>0</c:v>
                      </c:pt>
                      <c:pt idx="2470">
                        <c:v>0</c:v>
                      </c:pt>
                      <c:pt idx="2471">
                        <c:v>0</c:v>
                      </c:pt>
                      <c:pt idx="2472">
                        <c:v>0</c:v>
                      </c:pt>
                      <c:pt idx="2473">
                        <c:v>0</c:v>
                      </c:pt>
                      <c:pt idx="2474">
                        <c:v>0</c:v>
                      </c:pt>
                      <c:pt idx="2475">
                        <c:v>0</c:v>
                      </c:pt>
                      <c:pt idx="2476">
                        <c:v>0</c:v>
                      </c:pt>
                      <c:pt idx="2477">
                        <c:v>0</c:v>
                      </c:pt>
                      <c:pt idx="2478">
                        <c:v>0</c:v>
                      </c:pt>
                      <c:pt idx="2479">
                        <c:v>0</c:v>
                      </c:pt>
                      <c:pt idx="2480">
                        <c:v>0</c:v>
                      </c:pt>
                      <c:pt idx="2481">
                        <c:v>0</c:v>
                      </c:pt>
                      <c:pt idx="2482">
                        <c:v>0</c:v>
                      </c:pt>
                      <c:pt idx="2483">
                        <c:v>0</c:v>
                      </c:pt>
                      <c:pt idx="2484">
                        <c:v>0</c:v>
                      </c:pt>
                      <c:pt idx="2485">
                        <c:v>0</c:v>
                      </c:pt>
                      <c:pt idx="2486">
                        <c:v>0</c:v>
                      </c:pt>
                      <c:pt idx="2487">
                        <c:v>0</c:v>
                      </c:pt>
                      <c:pt idx="2488">
                        <c:v>0</c:v>
                      </c:pt>
                      <c:pt idx="2489">
                        <c:v>0</c:v>
                      </c:pt>
                      <c:pt idx="2490">
                        <c:v>0</c:v>
                      </c:pt>
                      <c:pt idx="2491">
                        <c:v>0</c:v>
                      </c:pt>
                      <c:pt idx="2492">
                        <c:v>0</c:v>
                      </c:pt>
                      <c:pt idx="2493">
                        <c:v>0</c:v>
                      </c:pt>
                      <c:pt idx="2494">
                        <c:v>0</c:v>
                      </c:pt>
                      <c:pt idx="2495">
                        <c:v>0</c:v>
                      </c:pt>
                      <c:pt idx="2496">
                        <c:v>0</c:v>
                      </c:pt>
                      <c:pt idx="2497">
                        <c:v>0</c:v>
                      </c:pt>
                      <c:pt idx="2498">
                        <c:v>0</c:v>
                      </c:pt>
                      <c:pt idx="2499">
                        <c:v>0</c:v>
                      </c:pt>
                      <c:pt idx="2500">
                        <c:v>0</c:v>
                      </c:pt>
                      <c:pt idx="2501">
                        <c:v>0</c:v>
                      </c:pt>
                      <c:pt idx="2502">
                        <c:v>0</c:v>
                      </c:pt>
                      <c:pt idx="2503">
                        <c:v>0</c:v>
                      </c:pt>
                      <c:pt idx="2504">
                        <c:v>0</c:v>
                      </c:pt>
                      <c:pt idx="2505">
                        <c:v>0</c:v>
                      </c:pt>
                      <c:pt idx="2506">
                        <c:v>0</c:v>
                      </c:pt>
                      <c:pt idx="2507">
                        <c:v>0</c:v>
                      </c:pt>
                      <c:pt idx="2508">
                        <c:v>0</c:v>
                      </c:pt>
                      <c:pt idx="2509">
                        <c:v>0</c:v>
                      </c:pt>
                      <c:pt idx="2510">
                        <c:v>0</c:v>
                      </c:pt>
                      <c:pt idx="2511">
                        <c:v>0</c:v>
                      </c:pt>
                      <c:pt idx="2512">
                        <c:v>0</c:v>
                      </c:pt>
                      <c:pt idx="2513">
                        <c:v>0</c:v>
                      </c:pt>
                      <c:pt idx="2514">
                        <c:v>0</c:v>
                      </c:pt>
                      <c:pt idx="2515">
                        <c:v>0</c:v>
                      </c:pt>
                      <c:pt idx="2516">
                        <c:v>0</c:v>
                      </c:pt>
                      <c:pt idx="2517">
                        <c:v>0</c:v>
                      </c:pt>
                      <c:pt idx="2518">
                        <c:v>0</c:v>
                      </c:pt>
                      <c:pt idx="2519">
                        <c:v>0</c:v>
                      </c:pt>
                      <c:pt idx="2520">
                        <c:v>0</c:v>
                      </c:pt>
                      <c:pt idx="2521">
                        <c:v>0</c:v>
                      </c:pt>
                      <c:pt idx="2522">
                        <c:v>0</c:v>
                      </c:pt>
                      <c:pt idx="2523">
                        <c:v>0</c:v>
                      </c:pt>
                      <c:pt idx="2524">
                        <c:v>0</c:v>
                      </c:pt>
                      <c:pt idx="2525">
                        <c:v>0</c:v>
                      </c:pt>
                      <c:pt idx="2526">
                        <c:v>0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0</c:v>
                      </c:pt>
                      <c:pt idx="2535">
                        <c:v>0</c:v>
                      </c:pt>
                      <c:pt idx="2536">
                        <c:v>0</c:v>
                      </c:pt>
                      <c:pt idx="2537">
                        <c:v>0</c:v>
                      </c:pt>
                      <c:pt idx="2538">
                        <c:v>0</c:v>
                      </c:pt>
                      <c:pt idx="2539">
                        <c:v>0</c:v>
                      </c:pt>
                      <c:pt idx="2540">
                        <c:v>0</c:v>
                      </c:pt>
                      <c:pt idx="2541">
                        <c:v>0</c:v>
                      </c:pt>
                      <c:pt idx="2542">
                        <c:v>0</c:v>
                      </c:pt>
                      <c:pt idx="2543">
                        <c:v>0</c:v>
                      </c:pt>
                      <c:pt idx="2544">
                        <c:v>0</c:v>
                      </c:pt>
                      <c:pt idx="2545">
                        <c:v>0</c:v>
                      </c:pt>
                      <c:pt idx="2546">
                        <c:v>0</c:v>
                      </c:pt>
                      <c:pt idx="2547">
                        <c:v>0</c:v>
                      </c:pt>
                      <c:pt idx="2548">
                        <c:v>0</c:v>
                      </c:pt>
                      <c:pt idx="2549">
                        <c:v>0</c:v>
                      </c:pt>
                      <c:pt idx="2550">
                        <c:v>0</c:v>
                      </c:pt>
                      <c:pt idx="2551">
                        <c:v>0</c:v>
                      </c:pt>
                      <c:pt idx="2552">
                        <c:v>0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0</c:v>
                      </c:pt>
                      <c:pt idx="2559">
                        <c:v>0</c:v>
                      </c:pt>
                      <c:pt idx="2560">
                        <c:v>0</c:v>
                      </c:pt>
                      <c:pt idx="2561">
                        <c:v>0</c:v>
                      </c:pt>
                      <c:pt idx="2562">
                        <c:v>0</c:v>
                      </c:pt>
                      <c:pt idx="2563">
                        <c:v>0</c:v>
                      </c:pt>
                      <c:pt idx="2564">
                        <c:v>0</c:v>
                      </c:pt>
                      <c:pt idx="2565">
                        <c:v>0</c:v>
                      </c:pt>
                      <c:pt idx="2566">
                        <c:v>0</c:v>
                      </c:pt>
                      <c:pt idx="2567">
                        <c:v>0</c:v>
                      </c:pt>
                      <c:pt idx="2568">
                        <c:v>0</c:v>
                      </c:pt>
                      <c:pt idx="2569">
                        <c:v>0</c:v>
                      </c:pt>
                      <c:pt idx="2570">
                        <c:v>0</c:v>
                      </c:pt>
                      <c:pt idx="2571">
                        <c:v>0</c:v>
                      </c:pt>
                      <c:pt idx="2572">
                        <c:v>0</c:v>
                      </c:pt>
                      <c:pt idx="2573">
                        <c:v>0</c:v>
                      </c:pt>
                      <c:pt idx="2574">
                        <c:v>0</c:v>
                      </c:pt>
                      <c:pt idx="2575">
                        <c:v>0</c:v>
                      </c:pt>
                      <c:pt idx="2576">
                        <c:v>0</c:v>
                      </c:pt>
                      <c:pt idx="2577">
                        <c:v>0</c:v>
                      </c:pt>
                      <c:pt idx="2578">
                        <c:v>0</c:v>
                      </c:pt>
                      <c:pt idx="2579">
                        <c:v>0</c:v>
                      </c:pt>
                      <c:pt idx="2580">
                        <c:v>0</c:v>
                      </c:pt>
                      <c:pt idx="2581">
                        <c:v>0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0</c:v>
                      </c:pt>
                      <c:pt idx="2591">
                        <c:v>0</c:v>
                      </c:pt>
                      <c:pt idx="2592">
                        <c:v>0</c:v>
                      </c:pt>
                      <c:pt idx="2593">
                        <c:v>0</c:v>
                      </c:pt>
                      <c:pt idx="2594">
                        <c:v>0</c:v>
                      </c:pt>
                      <c:pt idx="2595">
                        <c:v>0</c:v>
                      </c:pt>
                      <c:pt idx="2596">
                        <c:v>0</c:v>
                      </c:pt>
                      <c:pt idx="2597">
                        <c:v>0</c:v>
                      </c:pt>
                      <c:pt idx="2598">
                        <c:v>0</c:v>
                      </c:pt>
                      <c:pt idx="2599">
                        <c:v>0</c:v>
                      </c:pt>
                      <c:pt idx="2600">
                        <c:v>0</c:v>
                      </c:pt>
                      <c:pt idx="2601">
                        <c:v>0</c:v>
                      </c:pt>
                      <c:pt idx="2602">
                        <c:v>0</c:v>
                      </c:pt>
                      <c:pt idx="2603">
                        <c:v>0</c:v>
                      </c:pt>
                      <c:pt idx="2604">
                        <c:v>0</c:v>
                      </c:pt>
                      <c:pt idx="2605">
                        <c:v>0</c:v>
                      </c:pt>
                      <c:pt idx="2606">
                        <c:v>0</c:v>
                      </c:pt>
                      <c:pt idx="2607">
                        <c:v>0</c:v>
                      </c:pt>
                      <c:pt idx="2608">
                        <c:v>0</c:v>
                      </c:pt>
                      <c:pt idx="2609">
                        <c:v>0</c:v>
                      </c:pt>
                      <c:pt idx="2610">
                        <c:v>0</c:v>
                      </c:pt>
                      <c:pt idx="2611">
                        <c:v>0</c:v>
                      </c:pt>
                      <c:pt idx="2612">
                        <c:v>0</c:v>
                      </c:pt>
                      <c:pt idx="2613">
                        <c:v>0</c:v>
                      </c:pt>
                      <c:pt idx="2614">
                        <c:v>0</c:v>
                      </c:pt>
                      <c:pt idx="2615">
                        <c:v>0</c:v>
                      </c:pt>
                      <c:pt idx="2616">
                        <c:v>0</c:v>
                      </c:pt>
                      <c:pt idx="2617">
                        <c:v>0</c:v>
                      </c:pt>
                      <c:pt idx="2618">
                        <c:v>0</c:v>
                      </c:pt>
                      <c:pt idx="2619">
                        <c:v>0</c:v>
                      </c:pt>
                      <c:pt idx="2620">
                        <c:v>0</c:v>
                      </c:pt>
                      <c:pt idx="2621">
                        <c:v>0</c:v>
                      </c:pt>
                      <c:pt idx="2622">
                        <c:v>0</c:v>
                      </c:pt>
                      <c:pt idx="2623">
                        <c:v>0</c:v>
                      </c:pt>
                      <c:pt idx="2624">
                        <c:v>0</c:v>
                      </c:pt>
                      <c:pt idx="2625">
                        <c:v>0</c:v>
                      </c:pt>
                      <c:pt idx="2626">
                        <c:v>0</c:v>
                      </c:pt>
                      <c:pt idx="2627">
                        <c:v>0</c:v>
                      </c:pt>
                      <c:pt idx="2628">
                        <c:v>0</c:v>
                      </c:pt>
                      <c:pt idx="2629">
                        <c:v>0</c:v>
                      </c:pt>
                      <c:pt idx="2630">
                        <c:v>0</c:v>
                      </c:pt>
                      <c:pt idx="2631">
                        <c:v>0</c:v>
                      </c:pt>
                      <c:pt idx="2632">
                        <c:v>0</c:v>
                      </c:pt>
                      <c:pt idx="2633">
                        <c:v>0</c:v>
                      </c:pt>
                      <c:pt idx="2634">
                        <c:v>0</c:v>
                      </c:pt>
                      <c:pt idx="2635">
                        <c:v>0</c:v>
                      </c:pt>
                      <c:pt idx="2636">
                        <c:v>0</c:v>
                      </c:pt>
                      <c:pt idx="2637">
                        <c:v>0</c:v>
                      </c:pt>
                      <c:pt idx="2638">
                        <c:v>0</c:v>
                      </c:pt>
                      <c:pt idx="2639">
                        <c:v>0</c:v>
                      </c:pt>
                      <c:pt idx="2640">
                        <c:v>0</c:v>
                      </c:pt>
                      <c:pt idx="2641">
                        <c:v>0</c:v>
                      </c:pt>
                      <c:pt idx="2642">
                        <c:v>0</c:v>
                      </c:pt>
                      <c:pt idx="2643">
                        <c:v>0</c:v>
                      </c:pt>
                      <c:pt idx="2644">
                        <c:v>0</c:v>
                      </c:pt>
                      <c:pt idx="2645">
                        <c:v>0</c:v>
                      </c:pt>
                      <c:pt idx="2646">
                        <c:v>0</c:v>
                      </c:pt>
                      <c:pt idx="2647">
                        <c:v>0</c:v>
                      </c:pt>
                      <c:pt idx="2648">
                        <c:v>0</c:v>
                      </c:pt>
                      <c:pt idx="2649">
                        <c:v>0</c:v>
                      </c:pt>
                      <c:pt idx="2650">
                        <c:v>0</c:v>
                      </c:pt>
                      <c:pt idx="2651">
                        <c:v>0</c:v>
                      </c:pt>
                      <c:pt idx="2652">
                        <c:v>0</c:v>
                      </c:pt>
                      <c:pt idx="2653">
                        <c:v>0</c:v>
                      </c:pt>
                      <c:pt idx="2654">
                        <c:v>0</c:v>
                      </c:pt>
                      <c:pt idx="2655">
                        <c:v>0</c:v>
                      </c:pt>
                      <c:pt idx="2656">
                        <c:v>0</c:v>
                      </c:pt>
                      <c:pt idx="2657">
                        <c:v>0</c:v>
                      </c:pt>
                      <c:pt idx="2658">
                        <c:v>0</c:v>
                      </c:pt>
                      <c:pt idx="2659">
                        <c:v>0</c:v>
                      </c:pt>
                      <c:pt idx="2660">
                        <c:v>0</c:v>
                      </c:pt>
                      <c:pt idx="2661">
                        <c:v>0</c:v>
                      </c:pt>
                      <c:pt idx="2662">
                        <c:v>0</c:v>
                      </c:pt>
                      <c:pt idx="2663">
                        <c:v>0</c:v>
                      </c:pt>
                      <c:pt idx="2664">
                        <c:v>0</c:v>
                      </c:pt>
                      <c:pt idx="2665">
                        <c:v>0</c:v>
                      </c:pt>
                      <c:pt idx="2666">
                        <c:v>0</c:v>
                      </c:pt>
                      <c:pt idx="2667">
                        <c:v>0</c:v>
                      </c:pt>
                      <c:pt idx="2668">
                        <c:v>0</c:v>
                      </c:pt>
                      <c:pt idx="2669">
                        <c:v>0</c:v>
                      </c:pt>
                      <c:pt idx="2670">
                        <c:v>0</c:v>
                      </c:pt>
                      <c:pt idx="2671">
                        <c:v>0</c:v>
                      </c:pt>
                      <c:pt idx="2672">
                        <c:v>0</c:v>
                      </c:pt>
                      <c:pt idx="2673">
                        <c:v>0</c:v>
                      </c:pt>
                      <c:pt idx="2674">
                        <c:v>0</c:v>
                      </c:pt>
                      <c:pt idx="2675">
                        <c:v>0</c:v>
                      </c:pt>
                      <c:pt idx="2676">
                        <c:v>0</c:v>
                      </c:pt>
                      <c:pt idx="2677">
                        <c:v>0</c:v>
                      </c:pt>
                      <c:pt idx="2678">
                        <c:v>0</c:v>
                      </c:pt>
                      <c:pt idx="2679">
                        <c:v>0</c:v>
                      </c:pt>
                      <c:pt idx="2680">
                        <c:v>0</c:v>
                      </c:pt>
                      <c:pt idx="2681">
                        <c:v>0</c:v>
                      </c:pt>
                      <c:pt idx="2682">
                        <c:v>0</c:v>
                      </c:pt>
                      <c:pt idx="2683">
                        <c:v>0</c:v>
                      </c:pt>
                      <c:pt idx="2684">
                        <c:v>0</c:v>
                      </c:pt>
                      <c:pt idx="2685">
                        <c:v>0</c:v>
                      </c:pt>
                      <c:pt idx="2686">
                        <c:v>0</c:v>
                      </c:pt>
                      <c:pt idx="2687">
                        <c:v>0</c:v>
                      </c:pt>
                      <c:pt idx="2688">
                        <c:v>0</c:v>
                      </c:pt>
                      <c:pt idx="2689">
                        <c:v>0</c:v>
                      </c:pt>
                      <c:pt idx="2690">
                        <c:v>0</c:v>
                      </c:pt>
                      <c:pt idx="2691">
                        <c:v>0</c:v>
                      </c:pt>
                      <c:pt idx="2692">
                        <c:v>0</c:v>
                      </c:pt>
                      <c:pt idx="2693">
                        <c:v>0</c:v>
                      </c:pt>
                      <c:pt idx="2694">
                        <c:v>0</c:v>
                      </c:pt>
                      <c:pt idx="2695">
                        <c:v>0</c:v>
                      </c:pt>
                      <c:pt idx="2696">
                        <c:v>0</c:v>
                      </c:pt>
                      <c:pt idx="2697">
                        <c:v>0</c:v>
                      </c:pt>
                      <c:pt idx="2698">
                        <c:v>0</c:v>
                      </c:pt>
                      <c:pt idx="2699">
                        <c:v>0</c:v>
                      </c:pt>
                      <c:pt idx="2700">
                        <c:v>0</c:v>
                      </c:pt>
                      <c:pt idx="2701">
                        <c:v>0</c:v>
                      </c:pt>
                      <c:pt idx="2702">
                        <c:v>0</c:v>
                      </c:pt>
                      <c:pt idx="2703">
                        <c:v>0</c:v>
                      </c:pt>
                      <c:pt idx="2704">
                        <c:v>0</c:v>
                      </c:pt>
                      <c:pt idx="2705">
                        <c:v>0</c:v>
                      </c:pt>
                      <c:pt idx="2706">
                        <c:v>0</c:v>
                      </c:pt>
                      <c:pt idx="2707">
                        <c:v>0</c:v>
                      </c:pt>
                      <c:pt idx="2708">
                        <c:v>0</c:v>
                      </c:pt>
                      <c:pt idx="2709">
                        <c:v>0</c:v>
                      </c:pt>
                      <c:pt idx="2710">
                        <c:v>0</c:v>
                      </c:pt>
                      <c:pt idx="2711">
                        <c:v>0</c:v>
                      </c:pt>
                      <c:pt idx="2712">
                        <c:v>0</c:v>
                      </c:pt>
                      <c:pt idx="2713">
                        <c:v>0</c:v>
                      </c:pt>
                      <c:pt idx="2714">
                        <c:v>0</c:v>
                      </c:pt>
                      <c:pt idx="2715">
                        <c:v>0</c:v>
                      </c:pt>
                      <c:pt idx="2716">
                        <c:v>0</c:v>
                      </c:pt>
                      <c:pt idx="2717">
                        <c:v>0</c:v>
                      </c:pt>
                      <c:pt idx="2718">
                        <c:v>0</c:v>
                      </c:pt>
                      <c:pt idx="2719">
                        <c:v>0</c:v>
                      </c:pt>
                      <c:pt idx="2720">
                        <c:v>0</c:v>
                      </c:pt>
                      <c:pt idx="2721">
                        <c:v>0</c:v>
                      </c:pt>
                      <c:pt idx="2722">
                        <c:v>0</c:v>
                      </c:pt>
                      <c:pt idx="2723">
                        <c:v>0</c:v>
                      </c:pt>
                      <c:pt idx="2724">
                        <c:v>0</c:v>
                      </c:pt>
                      <c:pt idx="2725">
                        <c:v>0</c:v>
                      </c:pt>
                      <c:pt idx="2726">
                        <c:v>0</c:v>
                      </c:pt>
                      <c:pt idx="2727">
                        <c:v>0</c:v>
                      </c:pt>
                      <c:pt idx="2728">
                        <c:v>0</c:v>
                      </c:pt>
                      <c:pt idx="2729">
                        <c:v>0</c:v>
                      </c:pt>
                      <c:pt idx="2730">
                        <c:v>0</c:v>
                      </c:pt>
                      <c:pt idx="2731">
                        <c:v>0</c:v>
                      </c:pt>
                      <c:pt idx="2732">
                        <c:v>0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</c:v>
                      </c:pt>
                      <c:pt idx="2743">
                        <c:v>0</c:v>
                      </c:pt>
                      <c:pt idx="2744">
                        <c:v>0</c:v>
                      </c:pt>
                      <c:pt idx="2745">
                        <c:v>0</c:v>
                      </c:pt>
                      <c:pt idx="2746">
                        <c:v>0</c:v>
                      </c:pt>
                      <c:pt idx="2747">
                        <c:v>0</c:v>
                      </c:pt>
                      <c:pt idx="2748">
                        <c:v>0</c:v>
                      </c:pt>
                      <c:pt idx="2749">
                        <c:v>0</c:v>
                      </c:pt>
                      <c:pt idx="2750">
                        <c:v>0</c:v>
                      </c:pt>
                      <c:pt idx="2751">
                        <c:v>0</c:v>
                      </c:pt>
                      <c:pt idx="2752">
                        <c:v>0</c:v>
                      </c:pt>
                      <c:pt idx="2753">
                        <c:v>0</c:v>
                      </c:pt>
                      <c:pt idx="2754">
                        <c:v>0</c:v>
                      </c:pt>
                      <c:pt idx="2755">
                        <c:v>0</c:v>
                      </c:pt>
                      <c:pt idx="2756">
                        <c:v>0</c:v>
                      </c:pt>
                      <c:pt idx="2757">
                        <c:v>0</c:v>
                      </c:pt>
                      <c:pt idx="2758">
                        <c:v>0</c:v>
                      </c:pt>
                      <c:pt idx="2759">
                        <c:v>0</c:v>
                      </c:pt>
                      <c:pt idx="2760">
                        <c:v>0</c:v>
                      </c:pt>
                      <c:pt idx="2761">
                        <c:v>0</c:v>
                      </c:pt>
                      <c:pt idx="2762">
                        <c:v>0</c:v>
                      </c:pt>
                      <c:pt idx="2763">
                        <c:v>0</c:v>
                      </c:pt>
                      <c:pt idx="2764">
                        <c:v>0</c:v>
                      </c:pt>
                      <c:pt idx="2765">
                        <c:v>0</c:v>
                      </c:pt>
                      <c:pt idx="2766">
                        <c:v>0</c:v>
                      </c:pt>
                      <c:pt idx="2767">
                        <c:v>0</c:v>
                      </c:pt>
                      <c:pt idx="2768">
                        <c:v>0</c:v>
                      </c:pt>
                      <c:pt idx="2769">
                        <c:v>0</c:v>
                      </c:pt>
                      <c:pt idx="2770">
                        <c:v>0</c:v>
                      </c:pt>
                      <c:pt idx="2771">
                        <c:v>0</c:v>
                      </c:pt>
                      <c:pt idx="2772">
                        <c:v>0</c:v>
                      </c:pt>
                      <c:pt idx="2773">
                        <c:v>0</c:v>
                      </c:pt>
                      <c:pt idx="2774">
                        <c:v>0</c:v>
                      </c:pt>
                      <c:pt idx="2775">
                        <c:v>0</c:v>
                      </c:pt>
                      <c:pt idx="2776">
                        <c:v>0</c:v>
                      </c:pt>
                      <c:pt idx="2777">
                        <c:v>0</c:v>
                      </c:pt>
                      <c:pt idx="2778">
                        <c:v>0</c:v>
                      </c:pt>
                      <c:pt idx="2779">
                        <c:v>0</c:v>
                      </c:pt>
                      <c:pt idx="2780">
                        <c:v>0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0</c:v>
                      </c:pt>
                      <c:pt idx="2791">
                        <c:v>0</c:v>
                      </c:pt>
                      <c:pt idx="2792">
                        <c:v>0</c:v>
                      </c:pt>
                      <c:pt idx="2793">
                        <c:v>0</c:v>
                      </c:pt>
                      <c:pt idx="2794">
                        <c:v>0</c:v>
                      </c:pt>
                      <c:pt idx="2795">
                        <c:v>0</c:v>
                      </c:pt>
                      <c:pt idx="2796">
                        <c:v>0</c:v>
                      </c:pt>
                      <c:pt idx="2797">
                        <c:v>0</c:v>
                      </c:pt>
                      <c:pt idx="2798">
                        <c:v>0</c:v>
                      </c:pt>
                      <c:pt idx="2799">
                        <c:v>0</c:v>
                      </c:pt>
                      <c:pt idx="2800">
                        <c:v>0</c:v>
                      </c:pt>
                      <c:pt idx="2801">
                        <c:v>0</c:v>
                      </c:pt>
                      <c:pt idx="2802">
                        <c:v>0</c:v>
                      </c:pt>
                      <c:pt idx="2803">
                        <c:v>0</c:v>
                      </c:pt>
                      <c:pt idx="2804">
                        <c:v>0</c:v>
                      </c:pt>
                      <c:pt idx="2805">
                        <c:v>0</c:v>
                      </c:pt>
                      <c:pt idx="2806">
                        <c:v>0</c:v>
                      </c:pt>
                      <c:pt idx="2807">
                        <c:v>0</c:v>
                      </c:pt>
                      <c:pt idx="2808">
                        <c:v>0</c:v>
                      </c:pt>
                      <c:pt idx="2809">
                        <c:v>0</c:v>
                      </c:pt>
                      <c:pt idx="2810">
                        <c:v>0</c:v>
                      </c:pt>
                      <c:pt idx="2811">
                        <c:v>0</c:v>
                      </c:pt>
                      <c:pt idx="2812">
                        <c:v>0</c:v>
                      </c:pt>
                      <c:pt idx="2813">
                        <c:v>0</c:v>
                      </c:pt>
                      <c:pt idx="2814">
                        <c:v>0</c:v>
                      </c:pt>
                      <c:pt idx="2815">
                        <c:v>0</c:v>
                      </c:pt>
                      <c:pt idx="2816">
                        <c:v>0</c:v>
                      </c:pt>
                      <c:pt idx="2817">
                        <c:v>0</c:v>
                      </c:pt>
                      <c:pt idx="2818">
                        <c:v>0</c:v>
                      </c:pt>
                      <c:pt idx="2819">
                        <c:v>0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</c:v>
                      </c:pt>
                      <c:pt idx="2826">
                        <c:v>0</c:v>
                      </c:pt>
                      <c:pt idx="2827">
                        <c:v>0</c:v>
                      </c:pt>
                      <c:pt idx="2828">
                        <c:v>0</c:v>
                      </c:pt>
                      <c:pt idx="2829">
                        <c:v>0</c:v>
                      </c:pt>
                      <c:pt idx="2830">
                        <c:v>0</c:v>
                      </c:pt>
                      <c:pt idx="2831">
                        <c:v>0</c:v>
                      </c:pt>
                      <c:pt idx="2832">
                        <c:v>0</c:v>
                      </c:pt>
                      <c:pt idx="2833">
                        <c:v>0</c:v>
                      </c:pt>
                      <c:pt idx="2834">
                        <c:v>0</c:v>
                      </c:pt>
                      <c:pt idx="2835">
                        <c:v>0</c:v>
                      </c:pt>
                      <c:pt idx="2836">
                        <c:v>0</c:v>
                      </c:pt>
                      <c:pt idx="2837">
                        <c:v>0</c:v>
                      </c:pt>
                      <c:pt idx="2838">
                        <c:v>0</c:v>
                      </c:pt>
                      <c:pt idx="2839">
                        <c:v>0</c:v>
                      </c:pt>
                      <c:pt idx="2840">
                        <c:v>0</c:v>
                      </c:pt>
                      <c:pt idx="2841">
                        <c:v>0</c:v>
                      </c:pt>
                      <c:pt idx="2842">
                        <c:v>0</c:v>
                      </c:pt>
                      <c:pt idx="2843">
                        <c:v>0</c:v>
                      </c:pt>
                      <c:pt idx="2844">
                        <c:v>0</c:v>
                      </c:pt>
                      <c:pt idx="2845">
                        <c:v>0</c:v>
                      </c:pt>
                      <c:pt idx="2846">
                        <c:v>0</c:v>
                      </c:pt>
                      <c:pt idx="2847">
                        <c:v>0</c:v>
                      </c:pt>
                      <c:pt idx="2848">
                        <c:v>0</c:v>
                      </c:pt>
                      <c:pt idx="2849">
                        <c:v>0</c:v>
                      </c:pt>
                      <c:pt idx="2850">
                        <c:v>0</c:v>
                      </c:pt>
                      <c:pt idx="2851">
                        <c:v>0</c:v>
                      </c:pt>
                      <c:pt idx="2852">
                        <c:v>0</c:v>
                      </c:pt>
                      <c:pt idx="2853">
                        <c:v>0</c:v>
                      </c:pt>
                      <c:pt idx="2854">
                        <c:v>0</c:v>
                      </c:pt>
                      <c:pt idx="2855">
                        <c:v>0</c:v>
                      </c:pt>
                      <c:pt idx="2856">
                        <c:v>0</c:v>
                      </c:pt>
                      <c:pt idx="2857">
                        <c:v>0</c:v>
                      </c:pt>
                      <c:pt idx="2858">
                        <c:v>0</c:v>
                      </c:pt>
                      <c:pt idx="2859">
                        <c:v>0</c:v>
                      </c:pt>
                      <c:pt idx="2860">
                        <c:v>0</c:v>
                      </c:pt>
                      <c:pt idx="2861">
                        <c:v>0</c:v>
                      </c:pt>
                      <c:pt idx="2862">
                        <c:v>0</c:v>
                      </c:pt>
                      <c:pt idx="2863">
                        <c:v>0</c:v>
                      </c:pt>
                      <c:pt idx="2864">
                        <c:v>0</c:v>
                      </c:pt>
                      <c:pt idx="2865">
                        <c:v>0</c:v>
                      </c:pt>
                      <c:pt idx="2866">
                        <c:v>0</c:v>
                      </c:pt>
                      <c:pt idx="2867">
                        <c:v>0</c:v>
                      </c:pt>
                      <c:pt idx="2868">
                        <c:v>0</c:v>
                      </c:pt>
                      <c:pt idx="2869">
                        <c:v>0</c:v>
                      </c:pt>
                      <c:pt idx="2870">
                        <c:v>0</c:v>
                      </c:pt>
                      <c:pt idx="2871">
                        <c:v>0</c:v>
                      </c:pt>
                      <c:pt idx="2872">
                        <c:v>0</c:v>
                      </c:pt>
                      <c:pt idx="2873">
                        <c:v>0</c:v>
                      </c:pt>
                      <c:pt idx="2874">
                        <c:v>0</c:v>
                      </c:pt>
                      <c:pt idx="2875">
                        <c:v>0</c:v>
                      </c:pt>
                      <c:pt idx="2876">
                        <c:v>0</c:v>
                      </c:pt>
                      <c:pt idx="2877">
                        <c:v>0</c:v>
                      </c:pt>
                      <c:pt idx="2878">
                        <c:v>0</c:v>
                      </c:pt>
                      <c:pt idx="2879">
                        <c:v>0</c:v>
                      </c:pt>
                      <c:pt idx="2880">
                        <c:v>0</c:v>
                      </c:pt>
                      <c:pt idx="2881">
                        <c:v>0</c:v>
                      </c:pt>
                      <c:pt idx="2882">
                        <c:v>0</c:v>
                      </c:pt>
                      <c:pt idx="2883">
                        <c:v>0</c:v>
                      </c:pt>
                      <c:pt idx="2884">
                        <c:v>0</c:v>
                      </c:pt>
                      <c:pt idx="2885">
                        <c:v>0</c:v>
                      </c:pt>
                      <c:pt idx="2886">
                        <c:v>0</c:v>
                      </c:pt>
                      <c:pt idx="2887">
                        <c:v>0</c:v>
                      </c:pt>
                      <c:pt idx="2888">
                        <c:v>0</c:v>
                      </c:pt>
                      <c:pt idx="2889">
                        <c:v>0</c:v>
                      </c:pt>
                      <c:pt idx="2890">
                        <c:v>0</c:v>
                      </c:pt>
                      <c:pt idx="2891">
                        <c:v>0</c:v>
                      </c:pt>
                      <c:pt idx="2892">
                        <c:v>0</c:v>
                      </c:pt>
                      <c:pt idx="2893">
                        <c:v>0</c:v>
                      </c:pt>
                      <c:pt idx="2894">
                        <c:v>0</c:v>
                      </c:pt>
                      <c:pt idx="2895">
                        <c:v>0</c:v>
                      </c:pt>
                      <c:pt idx="2896">
                        <c:v>0</c:v>
                      </c:pt>
                      <c:pt idx="2897">
                        <c:v>0</c:v>
                      </c:pt>
                      <c:pt idx="2898">
                        <c:v>0</c:v>
                      </c:pt>
                      <c:pt idx="2899">
                        <c:v>0</c:v>
                      </c:pt>
                      <c:pt idx="2900">
                        <c:v>0</c:v>
                      </c:pt>
                      <c:pt idx="2901">
                        <c:v>0</c:v>
                      </c:pt>
                      <c:pt idx="2902">
                        <c:v>0</c:v>
                      </c:pt>
                      <c:pt idx="2903">
                        <c:v>0</c:v>
                      </c:pt>
                      <c:pt idx="2904">
                        <c:v>0</c:v>
                      </c:pt>
                      <c:pt idx="2905">
                        <c:v>0</c:v>
                      </c:pt>
                      <c:pt idx="2906">
                        <c:v>0</c:v>
                      </c:pt>
                      <c:pt idx="2907">
                        <c:v>0</c:v>
                      </c:pt>
                      <c:pt idx="2908">
                        <c:v>0</c:v>
                      </c:pt>
                      <c:pt idx="2909">
                        <c:v>0</c:v>
                      </c:pt>
                      <c:pt idx="2910">
                        <c:v>0</c:v>
                      </c:pt>
                      <c:pt idx="2911">
                        <c:v>0</c:v>
                      </c:pt>
                      <c:pt idx="2912">
                        <c:v>0</c:v>
                      </c:pt>
                      <c:pt idx="2913">
                        <c:v>0</c:v>
                      </c:pt>
                      <c:pt idx="2914">
                        <c:v>0</c:v>
                      </c:pt>
                      <c:pt idx="2915">
                        <c:v>0</c:v>
                      </c:pt>
                      <c:pt idx="2916">
                        <c:v>0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</c:v>
                      </c:pt>
                      <c:pt idx="2927">
                        <c:v>0</c:v>
                      </c:pt>
                      <c:pt idx="2928">
                        <c:v>0</c:v>
                      </c:pt>
                      <c:pt idx="2929">
                        <c:v>0</c:v>
                      </c:pt>
                      <c:pt idx="2930">
                        <c:v>0</c:v>
                      </c:pt>
                      <c:pt idx="2931">
                        <c:v>0</c:v>
                      </c:pt>
                      <c:pt idx="2932">
                        <c:v>0</c:v>
                      </c:pt>
                      <c:pt idx="2933">
                        <c:v>0</c:v>
                      </c:pt>
                      <c:pt idx="2934">
                        <c:v>0</c:v>
                      </c:pt>
                      <c:pt idx="2935">
                        <c:v>0</c:v>
                      </c:pt>
                      <c:pt idx="2936">
                        <c:v>0</c:v>
                      </c:pt>
                      <c:pt idx="2937">
                        <c:v>0</c:v>
                      </c:pt>
                      <c:pt idx="2938">
                        <c:v>0</c:v>
                      </c:pt>
                      <c:pt idx="2939">
                        <c:v>0</c:v>
                      </c:pt>
                      <c:pt idx="2940">
                        <c:v>0</c:v>
                      </c:pt>
                      <c:pt idx="2941">
                        <c:v>0</c:v>
                      </c:pt>
                      <c:pt idx="2942">
                        <c:v>0</c:v>
                      </c:pt>
                      <c:pt idx="2943">
                        <c:v>0</c:v>
                      </c:pt>
                      <c:pt idx="2944">
                        <c:v>0</c:v>
                      </c:pt>
                      <c:pt idx="2945">
                        <c:v>0</c:v>
                      </c:pt>
                      <c:pt idx="2946">
                        <c:v>0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</c:v>
                      </c:pt>
                      <c:pt idx="2952">
                        <c:v>0</c:v>
                      </c:pt>
                      <c:pt idx="2953">
                        <c:v>0</c:v>
                      </c:pt>
                      <c:pt idx="2954">
                        <c:v>0</c:v>
                      </c:pt>
                      <c:pt idx="2955">
                        <c:v>0</c:v>
                      </c:pt>
                      <c:pt idx="2956">
                        <c:v>0</c:v>
                      </c:pt>
                      <c:pt idx="2957">
                        <c:v>0</c:v>
                      </c:pt>
                      <c:pt idx="2958">
                        <c:v>0</c:v>
                      </c:pt>
                      <c:pt idx="2959">
                        <c:v>0</c:v>
                      </c:pt>
                      <c:pt idx="2960">
                        <c:v>0</c:v>
                      </c:pt>
                      <c:pt idx="2961">
                        <c:v>0</c:v>
                      </c:pt>
                      <c:pt idx="2962">
                        <c:v>0</c:v>
                      </c:pt>
                      <c:pt idx="2963">
                        <c:v>0</c:v>
                      </c:pt>
                      <c:pt idx="2964">
                        <c:v>0</c:v>
                      </c:pt>
                      <c:pt idx="2965">
                        <c:v>0</c:v>
                      </c:pt>
                      <c:pt idx="2966">
                        <c:v>0</c:v>
                      </c:pt>
                      <c:pt idx="2967">
                        <c:v>0</c:v>
                      </c:pt>
                      <c:pt idx="2968">
                        <c:v>0</c:v>
                      </c:pt>
                      <c:pt idx="2969">
                        <c:v>0</c:v>
                      </c:pt>
                      <c:pt idx="2970">
                        <c:v>0</c:v>
                      </c:pt>
                      <c:pt idx="2971">
                        <c:v>0</c:v>
                      </c:pt>
                      <c:pt idx="2972">
                        <c:v>0</c:v>
                      </c:pt>
                      <c:pt idx="2973">
                        <c:v>0</c:v>
                      </c:pt>
                      <c:pt idx="2974">
                        <c:v>0</c:v>
                      </c:pt>
                      <c:pt idx="2975">
                        <c:v>0</c:v>
                      </c:pt>
                      <c:pt idx="2976">
                        <c:v>0</c:v>
                      </c:pt>
                      <c:pt idx="2977">
                        <c:v>0</c:v>
                      </c:pt>
                      <c:pt idx="2978">
                        <c:v>0</c:v>
                      </c:pt>
                      <c:pt idx="2979">
                        <c:v>0</c:v>
                      </c:pt>
                      <c:pt idx="2980">
                        <c:v>0</c:v>
                      </c:pt>
                      <c:pt idx="2981">
                        <c:v>0</c:v>
                      </c:pt>
                      <c:pt idx="2982">
                        <c:v>0</c:v>
                      </c:pt>
                      <c:pt idx="2983">
                        <c:v>0</c:v>
                      </c:pt>
                      <c:pt idx="2984">
                        <c:v>0</c:v>
                      </c:pt>
                      <c:pt idx="2985">
                        <c:v>0</c:v>
                      </c:pt>
                      <c:pt idx="2986">
                        <c:v>0</c:v>
                      </c:pt>
                      <c:pt idx="2987">
                        <c:v>0</c:v>
                      </c:pt>
                      <c:pt idx="2988">
                        <c:v>0</c:v>
                      </c:pt>
                      <c:pt idx="2989">
                        <c:v>0</c:v>
                      </c:pt>
                      <c:pt idx="2990">
                        <c:v>0</c:v>
                      </c:pt>
                      <c:pt idx="2991">
                        <c:v>0</c:v>
                      </c:pt>
                      <c:pt idx="2992">
                        <c:v>0</c:v>
                      </c:pt>
                      <c:pt idx="2993">
                        <c:v>0</c:v>
                      </c:pt>
                      <c:pt idx="2994">
                        <c:v>0</c:v>
                      </c:pt>
                      <c:pt idx="2995">
                        <c:v>0</c:v>
                      </c:pt>
                      <c:pt idx="2996">
                        <c:v>0</c:v>
                      </c:pt>
                      <c:pt idx="2997">
                        <c:v>0</c:v>
                      </c:pt>
                      <c:pt idx="2998">
                        <c:v>0</c:v>
                      </c:pt>
                      <c:pt idx="2999">
                        <c:v>0</c:v>
                      </c:pt>
                      <c:pt idx="3000">
                        <c:v>0</c:v>
                      </c:pt>
                      <c:pt idx="3001">
                        <c:v>0</c:v>
                      </c:pt>
                      <c:pt idx="3002">
                        <c:v>0</c:v>
                      </c:pt>
                      <c:pt idx="3003">
                        <c:v>0</c:v>
                      </c:pt>
                      <c:pt idx="3004">
                        <c:v>0</c:v>
                      </c:pt>
                      <c:pt idx="3005">
                        <c:v>0</c:v>
                      </c:pt>
                      <c:pt idx="3006">
                        <c:v>0</c:v>
                      </c:pt>
                      <c:pt idx="3007">
                        <c:v>0</c:v>
                      </c:pt>
                      <c:pt idx="3008">
                        <c:v>0</c:v>
                      </c:pt>
                      <c:pt idx="3009">
                        <c:v>0</c:v>
                      </c:pt>
                      <c:pt idx="3010">
                        <c:v>0</c:v>
                      </c:pt>
                      <c:pt idx="3011">
                        <c:v>0</c:v>
                      </c:pt>
                      <c:pt idx="3012">
                        <c:v>0</c:v>
                      </c:pt>
                      <c:pt idx="3013">
                        <c:v>0</c:v>
                      </c:pt>
                      <c:pt idx="3014">
                        <c:v>0</c:v>
                      </c:pt>
                      <c:pt idx="3015">
                        <c:v>0</c:v>
                      </c:pt>
                      <c:pt idx="3016">
                        <c:v>0</c:v>
                      </c:pt>
                      <c:pt idx="3017">
                        <c:v>0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0</c:v>
                      </c:pt>
                      <c:pt idx="3026">
                        <c:v>0</c:v>
                      </c:pt>
                      <c:pt idx="3027">
                        <c:v>0</c:v>
                      </c:pt>
                      <c:pt idx="3028">
                        <c:v>0</c:v>
                      </c:pt>
                      <c:pt idx="3029">
                        <c:v>0</c:v>
                      </c:pt>
                      <c:pt idx="3030">
                        <c:v>0</c:v>
                      </c:pt>
                      <c:pt idx="3031">
                        <c:v>0</c:v>
                      </c:pt>
                      <c:pt idx="3032">
                        <c:v>0</c:v>
                      </c:pt>
                      <c:pt idx="3033">
                        <c:v>0</c:v>
                      </c:pt>
                      <c:pt idx="3034">
                        <c:v>0</c:v>
                      </c:pt>
                      <c:pt idx="3035">
                        <c:v>0</c:v>
                      </c:pt>
                      <c:pt idx="3036">
                        <c:v>0</c:v>
                      </c:pt>
                      <c:pt idx="3037">
                        <c:v>0</c:v>
                      </c:pt>
                      <c:pt idx="3038">
                        <c:v>0</c:v>
                      </c:pt>
                      <c:pt idx="3039">
                        <c:v>0</c:v>
                      </c:pt>
                      <c:pt idx="3040">
                        <c:v>0</c:v>
                      </c:pt>
                      <c:pt idx="3041">
                        <c:v>0</c:v>
                      </c:pt>
                      <c:pt idx="3042">
                        <c:v>0</c:v>
                      </c:pt>
                      <c:pt idx="3043">
                        <c:v>0</c:v>
                      </c:pt>
                      <c:pt idx="3044">
                        <c:v>0</c:v>
                      </c:pt>
                      <c:pt idx="3045">
                        <c:v>0</c:v>
                      </c:pt>
                      <c:pt idx="3046">
                        <c:v>0</c:v>
                      </c:pt>
                      <c:pt idx="3047">
                        <c:v>0</c:v>
                      </c:pt>
                      <c:pt idx="3048">
                        <c:v>0</c:v>
                      </c:pt>
                      <c:pt idx="3049">
                        <c:v>0</c:v>
                      </c:pt>
                      <c:pt idx="3050">
                        <c:v>0</c:v>
                      </c:pt>
                      <c:pt idx="3051">
                        <c:v>0</c:v>
                      </c:pt>
                      <c:pt idx="3052">
                        <c:v>0</c:v>
                      </c:pt>
                      <c:pt idx="3053">
                        <c:v>0</c:v>
                      </c:pt>
                      <c:pt idx="3054">
                        <c:v>0</c:v>
                      </c:pt>
                      <c:pt idx="3055">
                        <c:v>0</c:v>
                      </c:pt>
                      <c:pt idx="3056">
                        <c:v>0</c:v>
                      </c:pt>
                      <c:pt idx="3057">
                        <c:v>0</c:v>
                      </c:pt>
                      <c:pt idx="3058">
                        <c:v>0</c:v>
                      </c:pt>
                      <c:pt idx="3059">
                        <c:v>0</c:v>
                      </c:pt>
                      <c:pt idx="3060">
                        <c:v>0</c:v>
                      </c:pt>
                      <c:pt idx="3061">
                        <c:v>0</c:v>
                      </c:pt>
                      <c:pt idx="3062">
                        <c:v>0</c:v>
                      </c:pt>
                      <c:pt idx="3063">
                        <c:v>0</c:v>
                      </c:pt>
                      <c:pt idx="3064">
                        <c:v>0</c:v>
                      </c:pt>
                      <c:pt idx="3065">
                        <c:v>0</c:v>
                      </c:pt>
                      <c:pt idx="3066">
                        <c:v>0</c:v>
                      </c:pt>
                      <c:pt idx="3067">
                        <c:v>0</c:v>
                      </c:pt>
                      <c:pt idx="3068">
                        <c:v>0</c:v>
                      </c:pt>
                      <c:pt idx="3069">
                        <c:v>0</c:v>
                      </c:pt>
                      <c:pt idx="3070">
                        <c:v>0</c:v>
                      </c:pt>
                      <c:pt idx="3071">
                        <c:v>0</c:v>
                      </c:pt>
                      <c:pt idx="3072">
                        <c:v>0</c:v>
                      </c:pt>
                      <c:pt idx="3073">
                        <c:v>0</c:v>
                      </c:pt>
                      <c:pt idx="3074">
                        <c:v>0</c:v>
                      </c:pt>
                      <c:pt idx="3075">
                        <c:v>0</c:v>
                      </c:pt>
                      <c:pt idx="3076">
                        <c:v>0</c:v>
                      </c:pt>
                      <c:pt idx="3077">
                        <c:v>0</c:v>
                      </c:pt>
                      <c:pt idx="3078">
                        <c:v>0</c:v>
                      </c:pt>
                      <c:pt idx="3079">
                        <c:v>0</c:v>
                      </c:pt>
                      <c:pt idx="3080">
                        <c:v>0</c:v>
                      </c:pt>
                      <c:pt idx="3081">
                        <c:v>0</c:v>
                      </c:pt>
                      <c:pt idx="3082">
                        <c:v>0</c:v>
                      </c:pt>
                      <c:pt idx="3083">
                        <c:v>0</c:v>
                      </c:pt>
                      <c:pt idx="3084">
                        <c:v>0</c:v>
                      </c:pt>
                      <c:pt idx="3085">
                        <c:v>0</c:v>
                      </c:pt>
                      <c:pt idx="3086">
                        <c:v>0</c:v>
                      </c:pt>
                      <c:pt idx="3087">
                        <c:v>0</c:v>
                      </c:pt>
                      <c:pt idx="3088">
                        <c:v>0</c:v>
                      </c:pt>
                      <c:pt idx="3089">
                        <c:v>0</c:v>
                      </c:pt>
                      <c:pt idx="3090">
                        <c:v>0</c:v>
                      </c:pt>
                      <c:pt idx="3091">
                        <c:v>0</c:v>
                      </c:pt>
                      <c:pt idx="3092">
                        <c:v>0</c:v>
                      </c:pt>
                      <c:pt idx="3093">
                        <c:v>0</c:v>
                      </c:pt>
                      <c:pt idx="3094">
                        <c:v>0</c:v>
                      </c:pt>
                      <c:pt idx="3095">
                        <c:v>0</c:v>
                      </c:pt>
                      <c:pt idx="3096">
                        <c:v>0</c:v>
                      </c:pt>
                      <c:pt idx="3097">
                        <c:v>0</c:v>
                      </c:pt>
                      <c:pt idx="3098">
                        <c:v>0</c:v>
                      </c:pt>
                      <c:pt idx="3099">
                        <c:v>0</c:v>
                      </c:pt>
                      <c:pt idx="3100">
                        <c:v>0</c:v>
                      </c:pt>
                      <c:pt idx="3101">
                        <c:v>0</c:v>
                      </c:pt>
                      <c:pt idx="3102">
                        <c:v>0</c:v>
                      </c:pt>
                      <c:pt idx="3103">
                        <c:v>0</c:v>
                      </c:pt>
                      <c:pt idx="3104">
                        <c:v>0</c:v>
                      </c:pt>
                      <c:pt idx="3105">
                        <c:v>0</c:v>
                      </c:pt>
                      <c:pt idx="3106">
                        <c:v>0</c:v>
                      </c:pt>
                      <c:pt idx="3107">
                        <c:v>0</c:v>
                      </c:pt>
                      <c:pt idx="3108">
                        <c:v>0</c:v>
                      </c:pt>
                      <c:pt idx="3109">
                        <c:v>0</c:v>
                      </c:pt>
                      <c:pt idx="3110">
                        <c:v>0</c:v>
                      </c:pt>
                      <c:pt idx="3111">
                        <c:v>0</c:v>
                      </c:pt>
                      <c:pt idx="3112">
                        <c:v>0</c:v>
                      </c:pt>
                      <c:pt idx="3113">
                        <c:v>0</c:v>
                      </c:pt>
                      <c:pt idx="3114">
                        <c:v>0</c:v>
                      </c:pt>
                      <c:pt idx="3115">
                        <c:v>0</c:v>
                      </c:pt>
                      <c:pt idx="3116">
                        <c:v>0</c:v>
                      </c:pt>
                      <c:pt idx="3117">
                        <c:v>0</c:v>
                      </c:pt>
                      <c:pt idx="3118">
                        <c:v>0</c:v>
                      </c:pt>
                      <c:pt idx="3119">
                        <c:v>0</c:v>
                      </c:pt>
                      <c:pt idx="3120">
                        <c:v>0</c:v>
                      </c:pt>
                      <c:pt idx="3121">
                        <c:v>0</c:v>
                      </c:pt>
                      <c:pt idx="3122">
                        <c:v>0</c:v>
                      </c:pt>
                      <c:pt idx="3123">
                        <c:v>0</c:v>
                      </c:pt>
                      <c:pt idx="3124">
                        <c:v>0</c:v>
                      </c:pt>
                      <c:pt idx="3125">
                        <c:v>0</c:v>
                      </c:pt>
                      <c:pt idx="3126">
                        <c:v>0</c:v>
                      </c:pt>
                      <c:pt idx="3127">
                        <c:v>0</c:v>
                      </c:pt>
                      <c:pt idx="3128">
                        <c:v>0</c:v>
                      </c:pt>
                      <c:pt idx="3129">
                        <c:v>0</c:v>
                      </c:pt>
                      <c:pt idx="3130">
                        <c:v>0</c:v>
                      </c:pt>
                      <c:pt idx="3131">
                        <c:v>0</c:v>
                      </c:pt>
                      <c:pt idx="3132">
                        <c:v>0</c:v>
                      </c:pt>
                      <c:pt idx="3133">
                        <c:v>0</c:v>
                      </c:pt>
                      <c:pt idx="3134">
                        <c:v>0</c:v>
                      </c:pt>
                      <c:pt idx="3135">
                        <c:v>0</c:v>
                      </c:pt>
                      <c:pt idx="3136">
                        <c:v>0</c:v>
                      </c:pt>
                      <c:pt idx="3137">
                        <c:v>0</c:v>
                      </c:pt>
                      <c:pt idx="3138">
                        <c:v>0</c:v>
                      </c:pt>
                      <c:pt idx="3139">
                        <c:v>0</c:v>
                      </c:pt>
                      <c:pt idx="3140">
                        <c:v>0</c:v>
                      </c:pt>
                      <c:pt idx="3141">
                        <c:v>0</c:v>
                      </c:pt>
                      <c:pt idx="3142">
                        <c:v>0</c:v>
                      </c:pt>
                      <c:pt idx="3143">
                        <c:v>0</c:v>
                      </c:pt>
                      <c:pt idx="3144">
                        <c:v>0</c:v>
                      </c:pt>
                      <c:pt idx="3145">
                        <c:v>0</c:v>
                      </c:pt>
                      <c:pt idx="3146">
                        <c:v>0</c:v>
                      </c:pt>
                      <c:pt idx="3147">
                        <c:v>0</c:v>
                      </c:pt>
                      <c:pt idx="3148">
                        <c:v>0</c:v>
                      </c:pt>
                      <c:pt idx="3149">
                        <c:v>0</c:v>
                      </c:pt>
                      <c:pt idx="3150">
                        <c:v>0</c:v>
                      </c:pt>
                      <c:pt idx="3151">
                        <c:v>0</c:v>
                      </c:pt>
                      <c:pt idx="3152">
                        <c:v>0</c:v>
                      </c:pt>
                      <c:pt idx="3153">
                        <c:v>0</c:v>
                      </c:pt>
                      <c:pt idx="3154">
                        <c:v>0</c:v>
                      </c:pt>
                      <c:pt idx="3155">
                        <c:v>0</c:v>
                      </c:pt>
                      <c:pt idx="3156">
                        <c:v>0</c:v>
                      </c:pt>
                      <c:pt idx="3157">
                        <c:v>0</c:v>
                      </c:pt>
                      <c:pt idx="3158">
                        <c:v>0</c:v>
                      </c:pt>
                      <c:pt idx="3159">
                        <c:v>0</c:v>
                      </c:pt>
                      <c:pt idx="3160">
                        <c:v>0</c:v>
                      </c:pt>
                      <c:pt idx="3161">
                        <c:v>0</c:v>
                      </c:pt>
                      <c:pt idx="3162">
                        <c:v>0</c:v>
                      </c:pt>
                      <c:pt idx="3163">
                        <c:v>0</c:v>
                      </c:pt>
                      <c:pt idx="3164">
                        <c:v>0</c:v>
                      </c:pt>
                      <c:pt idx="3165">
                        <c:v>0</c:v>
                      </c:pt>
                      <c:pt idx="3166">
                        <c:v>0</c:v>
                      </c:pt>
                      <c:pt idx="3167">
                        <c:v>0</c:v>
                      </c:pt>
                      <c:pt idx="3168">
                        <c:v>0</c:v>
                      </c:pt>
                      <c:pt idx="3169">
                        <c:v>0</c:v>
                      </c:pt>
                      <c:pt idx="3170">
                        <c:v>0</c:v>
                      </c:pt>
                      <c:pt idx="3171">
                        <c:v>0</c:v>
                      </c:pt>
                      <c:pt idx="3172">
                        <c:v>0</c:v>
                      </c:pt>
                      <c:pt idx="3173">
                        <c:v>0</c:v>
                      </c:pt>
                      <c:pt idx="3174">
                        <c:v>0</c:v>
                      </c:pt>
                      <c:pt idx="3175">
                        <c:v>0</c:v>
                      </c:pt>
                      <c:pt idx="3176">
                        <c:v>0</c:v>
                      </c:pt>
                      <c:pt idx="3177">
                        <c:v>0</c:v>
                      </c:pt>
                      <c:pt idx="3178">
                        <c:v>0</c:v>
                      </c:pt>
                      <c:pt idx="3179">
                        <c:v>0</c:v>
                      </c:pt>
                      <c:pt idx="3180">
                        <c:v>0</c:v>
                      </c:pt>
                      <c:pt idx="3181">
                        <c:v>0</c:v>
                      </c:pt>
                      <c:pt idx="3182">
                        <c:v>0</c:v>
                      </c:pt>
                      <c:pt idx="3183">
                        <c:v>0</c:v>
                      </c:pt>
                      <c:pt idx="3184">
                        <c:v>0</c:v>
                      </c:pt>
                      <c:pt idx="3185">
                        <c:v>0</c:v>
                      </c:pt>
                      <c:pt idx="3186">
                        <c:v>0</c:v>
                      </c:pt>
                      <c:pt idx="3187">
                        <c:v>0</c:v>
                      </c:pt>
                      <c:pt idx="3188">
                        <c:v>0</c:v>
                      </c:pt>
                      <c:pt idx="3189">
                        <c:v>0</c:v>
                      </c:pt>
                      <c:pt idx="3190">
                        <c:v>0</c:v>
                      </c:pt>
                      <c:pt idx="3191">
                        <c:v>0</c:v>
                      </c:pt>
                      <c:pt idx="3192">
                        <c:v>0</c:v>
                      </c:pt>
                      <c:pt idx="3193">
                        <c:v>0</c:v>
                      </c:pt>
                      <c:pt idx="3194">
                        <c:v>0</c:v>
                      </c:pt>
                      <c:pt idx="3195">
                        <c:v>0</c:v>
                      </c:pt>
                      <c:pt idx="3196">
                        <c:v>0</c:v>
                      </c:pt>
                      <c:pt idx="3197">
                        <c:v>0</c:v>
                      </c:pt>
                      <c:pt idx="3198">
                        <c:v>0</c:v>
                      </c:pt>
                      <c:pt idx="3199">
                        <c:v>0</c:v>
                      </c:pt>
                      <c:pt idx="3200">
                        <c:v>0</c:v>
                      </c:pt>
                      <c:pt idx="3201">
                        <c:v>0</c:v>
                      </c:pt>
                      <c:pt idx="3202">
                        <c:v>0</c:v>
                      </c:pt>
                      <c:pt idx="3203">
                        <c:v>0</c:v>
                      </c:pt>
                      <c:pt idx="3204">
                        <c:v>0</c:v>
                      </c:pt>
                      <c:pt idx="3205">
                        <c:v>0</c:v>
                      </c:pt>
                      <c:pt idx="3206">
                        <c:v>0</c:v>
                      </c:pt>
                      <c:pt idx="3207">
                        <c:v>0</c:v>
                      </c:pt>
                      <c:pt idx="3208">
                        <c:v>0</c:v>
                      </c:pt>
                      <c:pt idx="3209">
                        <c:v>0</c:v>
                      </c:pt>
                      <c:pt idx="3210">
                        <c:v>0</c:v>
                      </c:pt>
                      <c:pt idx="3211">
                        <c:v>0</c:v>
                      </c:pt>
                      <c:pt idx="3212">
                        <c:v>0</c:v>
                      </c:pt>
                      <c:pt idx="3213">
                        <c:v>0</c:v>
                      </c:pt>
                      <c:pt idx="3214">
                        <c:v>0</c:v>
                      </c:pt>
                      <c:pt idx="3215">
                        <c:v>0</c:v>
                      </c:pt>
                      <c:pt idx="3216">
                        <c:v>0</c:v>
                      </c:pt>
                      <c:pt idx="3217">
                        <c:v>0</c:v>
                      </c:pt>
                      <c:pt idx="3218">
                        <c:v>0</c:v>
                      </c:pt>
                      <c:pt idx="3219">
                        <c:v>0</c:v>
                      </c:pt>
                      <c:pt idx="3220">
                        <c:v>0</c:v>
                      </c:pt>
                      <c:pt idx="3221">
                        <c:v>0</c:v>
                      </c:pt>
                      <c:pt idx="3222">
                        <c:v>0</c:v>
                      </c:pt>
                      <c:pt idx="3223">
                        <c:v>0</c:v>
                      </c:pt>
                      <c:pt idx="3224">
                        <c:v>0</c:v>
                      </c:pt>
                      <c:pt idx="3225">
                        <c:v>0</c:v>
                      </c:pt>
                      <c:pt idx="3226">
                        <c:v>0</c:v>
                      </c:pt>
                      <c:pt idx="3227">
                        <c:v>0</c:v>
                      </c:pt>
                      <c:pt idx="3228">
                        <c:v>0</c:v>
                      </c:pt>
                      <c:pt idx="3229">
                        <c:v>0</c:v>
                      </c:pt>
                      <c:pt idx="3230">
                        <c:v>0</c:v>
                      </c:pt>
                      <c:pt idx="3231">
                        <c:v>0</c:v>
                      </c:pt>
                      <c:pt idx="3232">
                        <c:v>0</c:v>
                      </c:pt>
                      <c:pt idx="3233">
                        <c:v>0</c:v>
                      </c:pt>
                      <c:pt idx="3234">
                        <c:v>0</c:v>
                      </c:pt>
                      <c:pt idx="3235">
                        <c:v>0</c:v>
                      </c:pt>
                      <c:pt idx="3236">
                        <c:v>0</c:v>
                      </c:pt>
                      <c:pt idx="3237">
                        <c:v>0</c:v>
                      </c:pt>
                      <c:pt idx="3238">
                        <c:v>0</c:v>
                      </c:pt>
                      <c:pt idx="3239">
                        <c:v>0</c:v>
                      </c:pt>
                      <c:pt idx="3240">
                        <c:v>0</c:v>
                      </c:pt>
                      <c:pt idx="3241">
                        <c:v>0</c:v>
                      </c:pt>
                      <c:pt idx="3242">
                        <c:v>0</c:v>
                      </c:pt>
                      <c:pt idx="3243">
                        <c:v>0</c:v>
                      </c:pt>
                      <c:pt idx="3244">
                        <c:v>0</c:v>
                      </c:pt>
                      <c:pt idx="3245">
                        <c:v>0</c:v>
                      </c:pt>
                      <c:pt idx="3246">
                        <c:v>0</c:v>
                      </c:pt>
                      <c:pt idx="3247">
                        <c:v>0</c:v>
                      </c:pt>
                      <c:pt idx="3248">
                        <c:v>0</c:v>
                      </c:pt>
                      <c:pt idx="3249">
                        <c:v>0</c:v>
                      </c:pt>
                      <c:pt idx="3250">
                        <c:v>0</c:v>
                      </c:pt>
                      <c:pt idx="3251">
                        <c:v>0</c:v>
                      </c:pt>
                      <c:pt idx="3252">
                        <c:v>0</c:v>
                      </c:pt>
                      <c:pt idx="3253">
                        <c:v>0</c:v>
                      </c:pt>
                      <c:pt idx="3254">
                        <c:v>0</c:v>
                      </c:pt>
                      <c:pt idx="3255">
                        <c:v>0</c:v>
                      </c:pt>
                      <c:pt idx="3256">
                        <c:v>0</c:v>
                      </c:pt>
                      <c:pt idx="3257">
                        <c:v>0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</c:v>
                      </c:pt>
                      <c:pt idx="3265">
                        <c:v>0</c:v>
                      </c:pt>
                      <c:pt idx="3266">
                        <c:v>0</c:v>
                      </c:pt>
                      <c:pt idx="3267">
                        <c:v>0</c:v>
                      </c:pt>
                      <c:pt idx="3268">
                        <c:v>0</c:v>
                      </c:pt>
                      <c:pt idx="3269">
                        <c:v>0</c:v>
                      </c:pt>
                      <c:pt idx="3270">
                        <c:v>0</c:v>
                      </c:pt>
                      <c:pt idx="3271">
                        <c:v>0</c:v>
                      </c:pt>
                      <c:pt idx="3272">
                        <c:v>0</c:v>
                      </c:pt>
                      <c:pt idx="3273">
                        <c:v>0</c:v>
                      </c:pt>
                      <c:pt idx="3274">
                        <c:v>0</c:v>
                      </c:pt>
                      <c:pt idx="3275">
                        <c:v>0</c:v>
                      </c:pt>
                      <c:pt idx="3276">
                        <c:v>0</c:v>
                      </c:pt>
                      <c:pt idx="3277">
                        <c:v>0</c:v>
                      </c:pt>
                      <c:pt idx="3278">
                        <c:v>0</c:v>
                      </c:pt>
                      <c:pt idx="3279">
                        <c:v>0</c:v>
                      </c:pt>
                      <c:pt idx="3280">
                        <c:v>0</c:v>
                      </c:pt>
                      <c:pt idx="3281">
                        <c:v>0</c:v>
                      </c:pt>
                      <c:pt idx="3282">
                        <c:v>0</c:v>
                      </c:pt>
                      <c:pt idx="3283">
                        <c:v>0</c:v>
                      </c:pt>
                      <c:pt idx="3284">
                        <c:v>0</c:v>
                      </c:pt>
                      <c:pt idx="3285">
                        <c:v>0</c:v>
                      </c:pt>
                      <c:pt idx="3286">
                        <c:v>0</c:v>
                      </c:pt>
                      <c:pt idx="3287">
                        <c:v>0</c:v>
                      </c:pt>
                      <c:pt idx="3288">
                        <c:v>0</c:v>
                      </c:pt>
                      <c:pt idx="3289">
                        <c:v>0</c:v>
                      </c:pt>
                      <c:pt idx="3290">
                        <c:v>0</c:v>
                      </c:pt>
                      <c:pt idx="3291">
                        <c:v>0</c:v>
                      </c:pt>
                      <c:pt idx="3292">
                        <c:v>0</c:v>
                      </c:pt>
                      <c:pt idx="3293">
                        <c:v>0</c:v>
                      </c:pt>
                      <c:pt idx="3294">
                        <c:v>0</c:v>
                      </c:pt>
                      <c:pt idx="3295">
                        <c:v>0</c:v>
                      </c:pt>
                      <c:pt idx="3296">
                        <c:v>0</c:v>
                      </c:pt>
                      <c:pt idx="3297">
                        <c:v>0</c:v>
                      </c:pt>
                      <c:pt idx="3298">
                        <c:v>0</c:v>
                      </c:pt>
                      <c:pt idx="3299">
                        <c:v>0</c:v>
                      </c:pt>
                      <c:pt idx="3300">
                        <c:v>0</c:v>
                      </c:pt>
                      <c:pt idx="3301">
                        <c:v>0</c:v>
                      </c:pt>
                      <c:pt idx="3302">
                        <c:v>0</c:v>
                      </c:pt>
                      <c:pt idx="3303">
                        <c:v>0</c:v>
                      </c:pt>
                      <c:pt idx="3304">
                        <c:v>0</c:v>
                      </c:pt>
                      <c:pt idx="3305">
                        <c:v>0</c:v>
                      </c:pt>
                      <c:pt idx="3306">
                        <c:v>0</c:v>
                      </c:pt>
                      <c:pt idx="3307">
                        <c:v>0</c:v>
                      </c:pt>
                      <c:pt idx="3308">
                        <c:v>0</c:v>
                      </c:pt>
                      <c:pt idx="3309">
                        <c:v>0</c:v>
                      </c:pt>
                      <c:pt idx="3310">
                        <c:v>0</c:v>
                      </c:pt>
                      <c:pt idx="3311">
                        <c:v>0</c:v>
                      </c:pt>
                      <c:pt idx="3312">
                        <c:v>0</c:v>
                      </c:pt>
                      <c:pt idx="3313">
                        <c:v>0</c:v>
                      </c:pt>
                      <c:pt idx="3314">
                        <c:v>0</c:v>
                      </c:pt>
                      <c:pt idx="3315">
                        <c:v>0</c:v>
                      </c:pt>
                      <c:pt idx="3316">
                        <c:v>0</c:v>
                      </c:pt>
                      <c:pt idx="3317">
                        <c:v>0</c:v>
                      </c:pt>
                      <c:pt idx="3318">
                        <c:v>0</c:v>
                      </c:pt>
                      <c:pt idx="3319">
                        <c:v>0</c:v>
                      </c:pt>
                      <c:pt idx="3320">
                        <c:v>0</c:v>
                      </c:pt>
                      <c:pt idx="3321">
                        <c:v>0</c:v>
                      </c:pt>
                      <c:pt idx="3322">
                        <c:v>0</c:v>
                      </c:pt>
                      <c:pt idx="3323">
                        <c:v>0</c:v>
                      </c:pt>
                      <c:pt idx="3324">
                        <c:v>0</c:v>
                      </c:pt>
                      <c:pt idx="3325">
                        <c:v>0</c:v>
                      </c:pt>
                      <c:pt idx="3326">
                        <c:v>0</c:v>
                      </c:pt>
                      <c:pt idx="3327">
                        <c:v>0</c:v>
                      </c:pt>
                      <c:pt idx="3328">
                        <c:v>0</c:v>
                      </c:pt>
                      <c:pt idx="3329">
                        <c:v>0</c:v>
                      </c:pt>
                      <c:pt idx="3330">
                        <c:v>0</c:v>
                      </c:pt>
                      <c:pt idx="3331">
                        <c:v>0</c:v>
                      </c:pt>
                      <c:pt idx="3332">
                        <c:v>0</c:v>
                      </c:pt>
                      <c:pt idx="3333">
                        <c:v>0</c:v>
                      </c:pt>
                      <c:pt idx="3334">
                        <c:v>0</c:v>
                      </c:pt>
                      <c:pt idx="3335">
                        <c:v>0</c:v>
                      </c:pt>
                      <c:pt idx="3336">
                        <c:v>0</c:v>
                      </c:pt>
                      <c:pt idx="3337">
                        <c:v>0</c:v>
                      </c:pt>
                      <c:pt idx="3338">
                        <c:v>0</c:v>
                      </c:pt>
                      <c:pt idx="3339">
                        <c:v>0</c:v>
                      </c:pt>
                      <c:pt idx="3340">
                        <c:v>0</c:v>
                      </c:pt>
                      <c:pt idx="3341">
                        <c:v>0</c:v>
                      </c:pt>
                      <c:pt idx="3342">
                        <c:v>0</c:v>
                      </c:pt>
                      <c:pt idx="3343">
                        <c:v>0</c:v>
                      </c:pt>
                      <c:pt idx="3344">
                        <c:v>0</c:v>
                      </c:pt>
                      <c:pt idx="3345">
                        <c:v>0</c:v>
                      </c:pt>
                      <c:pt idx="3346">
                        <c:v>0</c:v>
                      </c:pt>
                      <c:pt idx="3347">
                        <c:v>0</c:v>
                      </c:pt>
                      <c:pt idx="3348">
                        <c:v>0</c:v>
                      </c:pt>
                      <c:pt idx="3349">
                        <c:v>0</c:v>
                      </c:pt>
                      <c:pt idx="3350">
                        <c:v>0</c:v>
                      </c:pt>
                      <c:pt idx="3351">
                        <c:v>0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</c:v>
                      </c:pt>
                      <c:pt idx="3357">
                        <c:v>0</c:v>
                      </c:pt>
                      <c:pt idx="3358">
                        <c:v>0</c:v>
                      </c:pt>
                      <c:pt idx="3359">
                        <c:v>0</c:v>
                      </c:pt>
                      <c:pt idx="3360">
                        <c:v>0</c:v>
                      </c:pt>
                      <c:pt idx="3361">
                        <c:v>0</c:v>
                      </c:pt>
                      <c:pt idx="3362">
                        <c:v>0</c:v>
                      </c:pt>
                      <c:pt idx="3363">
                        <c:v>0</c:v>
                      </c:pt>
                      <c:pt idx="3364">
                        <c:v>0</c:v>
                      </c:pt>
                      <c:pt idx="3365">
                        <c:v>0</c:v>
                      </c:pt>
                      <c:pt idx="3366">
                        <c:v>0</c:v>
                      </c:pt>
                      <c:pt idx="3367">
                        <c:v>0</c:v>
                      </c:pt>
                      <c:pt idx="3368">
                        <c:v>0</c:v>
                      </c:pt>
                      <c:pt idx="3369">
                        <c:v>0</c:v>
                      </c:pt>
                      <c:pt idx="3370">
                        <c:v>0</c:v>
                      </c:pt>
                      <c:pt idx="3371">
                        <c:v>0</c:v>
                      </c:pt>
                      <c:pt idx="3372">
                        <c:v>0</c:v>
                      </c:pt>
                      <c:pt idx="3373">
                        <c:v>0</c:v>
                      </c:pt>
                      <c:pt idx="3374">
                        <c:v>0</c:v>
                      </c:pt>
                      <c:pt idx="3375">
                        <c:v>0</c:v>
                      </c:pt>
                      <c:pt idx="3376">
                        <c:v>0</c:v>
                      </c:pt>
                      <c:pt idx="3377">
                        <c:v>0</c:v>
                      </c:pt>
                      <c:pt idx="3378">
                        <c:v>0</c:v>
                      </c:pt>
                      <c:pt idx="3379">
                        <c:v>0</c:v>
                      </c:pt>
                      <c:pt idx="3380">
                        <c:v>0</c:v>
                      </c:pt>
                      <c:pt idx="3381">
                        <c:v>0</c:v>
                      </c:pt>
                      <c:pt idx="3382">
                        <c:v>0</c:v>
                      </c:pt>
                      <c:pt idx="3383">
                        <c:v>0</c:v>
                      </c:pt>
                      <c:pt idx="3384">
                        <c:v>0</c:v>
                      </c:pt>
                      <c:pt idx="3385">
                        <c:v>0</c:v>
                      </c:pt>
                      <c:pt idx="3386">
                        <c:v>0</c:v>
                      </c:pt>
                      <c:pt idx="3387">
                        <c:v>0</c:v>
                      </c:pt>
                      <c:pt idx="3388">
                        <c:v>0</c:v>
                      </c:pt>
                      <c:pt idx="3389">
                        <c:v>0</c:v>
                      </c:pt>
                      <c:pt idx="3390">
                        <c:v>0</c:v>
                      </c:pt>
                      <c:pt idx="3391">
                        <c:v>0</c:v>
                      </c:pt>
                      <c:pt idx="3392">
                        <c:v>0</c:v>
                      </c:pt>
                      <c:pt idx="3393">
                        <c:v>0</c:v>
                      </c:pt>
                      <c:pt idx="3394">
                        <c:v>0</c:v>
                      </c:pt>
                      <c:pt idx="3395">
                        <c:v>0</c:v>
                      </c:pt>
                      <c:pt idx="3396">
                        <c:v>0</c:v>
                      </c:pt>
                      <c:pt idx="3397">
                        <c:v>0</c:v>
                      </c:pt>
                      <c:pt idx="3398">
                        <c:v>0</c:v>
                      </c:pt>
                      <c:pt idx="3399">
                        <c:v>0</c:v>
                      </c:pt>
                      <c:pt idx="3400">
                        <c:v>0</c:v>
                      </c:pt>
                      <c:pt idx="3401">
                        <c:v>0</c:v>
                      </c:pt>
                      <c:pt idx="3402">
                        <c:v>0</c:v>
                      </c:pt>
                      <c:pt idx="3403">
                        <c:v>0</c:v>
                      </c:pt>
                      <c:pt idx="3404">
                        <c:v>0</c:v>
                      </c:pt>
                      <c:pt idx="3405">
                        <c:v>0</c:v>
                      </c:pt>
                      <c:pt idx="3406">
                        <c:v>0</c:v>
                      </c:pt>
                      <c:pt idx="3407">
                        <c:v>0</c:v>
                      </c:pt>
                      <c:pt idx="3408">
                        <c:v>0</c:v>
                      </c:pt>
                      <c:pt idx="3409">
                        <c:v>0</c:v>
                      </c:pt>
                      <c:pt idx="3410">
                        <c:v>0</c:v>
                      </c:pt>
                      <c:pt idx="3411">
                        <c:v>0</c:v>
                      </c:pt>
                      <c:pt idx="3412">
                        <c:v>0</c:v>
                      </c:pt>
                      <c:pt idx="3413">
                        <c:v>0</c:v>
                      </c:pt>
                      <c:pt idx="3414">
                        <c:v>0</c:v>
                      </c:pt>
                      <c:pt idx="3415">
                        <c:v>0</c:v>
                      </c:pt>
                      <c:pt idx="3416">
                        <c:v>0</c:v>
                      </c:pt>
                      <c:pt idx="3417">
                        <c:v>0</c:v>
                      </c:pt>
                      <c:pt idx="3418">
                        <c:v>0</c:v>
                      </c:pt>
                      <c:pt idx="3419">
                        <c:v>0</c:v>
                      </c:pt>
                      <c:pt idx="3420">
                        <c:v>0</c:v>
                      </c:pt>
                      <c:pt idx="3421">
                        <c:v>0</c:v>
                      </c:pt>
                      <c:pt idx="3422">
                        <c:v>0</c:v>
                      </c:pt>
                      <c:pt idx="3423">
                        <c:v>0</c:v>
                      </c:pt>
                      <c:pt idx="3424">
                        <c:v>0</c:v>
                      </c:pt>
                      <c:pt idx="3425">
                        <c:v>0</c:v>
                      </c:pt>
                      <c:pt idx="3426">
                        <c:v>0</c:v>
                      </c:pt>
                      <c:pt idx="3427">
                        <c:v>0</c:v>
                      </c:pt>
                      <c:pt idx="3428">
                        <c:v>0</c:v>
                      </c:pt>
                      <c:pt idx="3429">
                        <c:v>0</c:v>
                      </c:pt>
                      <c:pt idx="3430">
                        <c:v>0</c:v>
                      </c:pt>
                      <c:pt idx="3431">
                        <c:v>0</c:v>
                      </c:pt>
                      <c:pt idx="3432">
                        <c:v>0</c:v>
                      </c:pt>
                      <c:pt idx="3433">
                        <c:v>0</c:v>
                      </c:pt>
                      <c:pt idx="3434">
                        <c:v>0</c:v>
                      </c:pt>
                      <c:pt idx="3435">
                        <c:v>0</c:v>
                      </c:pt>
                      <c:pt idx="3436">
                        <c:v>0</c:v>
                      </c:pt>
                      <c:pt idx="3437">
                        <c:v>0</c:v>
                      </c:pt>
                      <c:pt idx="3438">
                        <c:v>0</c:v>
                      </c:pt>
                      <c:pt idx="3439">
                        <c:v>0</c:v>
                      </c:pt>
                      <c:pt idx="3440">
                        <c:v>0</c:v>
                      </c:pt>
                      <c:pt idx="3441">
                        <c:v>0</c:v>
                      </c:pt>
                      <c:pt idx="3442">
                        <c:v>0</c:v>
                      </c:pt>
                      <c:pt idx="3443">
                        <c:v>0</c:v>
                      </c:pt>
                      <c:pt idx="3444">
                        <c:v>0</c:v>
                      </c:pt>
                      <c:pt idx="3445">
                        <c:v>0</c:v>
                      </c:pt>
                      <c:pt idx="3446">
                        <c:v>0</c:v>
                      </c:pt>
                      <c:pt idx="3447">
                        <c:v>0</c:v>
                      </c:pt>
                      <c:pt idx="3448">
                        <c:v>0</c:v>
                      </c:pt>
                      <c:pt idx="3449">
                        <c:v>0</c:v>
                      </c:pt>
                      <c:pt idx="3450">
                        <c:v>0</c:v>
                      </c:pt>
                      <c:pt idx="3451">
                        <c:v>0</c:v>
                      </c:pt>
                      <c:pt idx="3452">
                        <c:v>0</c:v>
                      </c:pt>
                      <c:pt idx="3453">
                        <c:v>0</c:v>
                      </c:pt>
                      <c:pt idx="3454">
                        <c:v>0</c:v>
                      </c:pt>
                      <c:pt idx="3455">
                        <c:v>0</c:v>
                      </c:pt>
                      <c:pt idx="3456">
                        <c:v>0</c:v>
                      </c:pt>
                      <c:pt idx="3457">
                        <c:v>0</c:v>
                      </c:pt>
                      <c:pt idx="3458">
                        <c:v>0</c:v>
                      </c:pt>
                      <c:pt idx="3459">
                        <c:v>0</c:v>
                      </c:pt>
                      <c:pt idx="3460">
                        <c:v>0</c:v>
                      </c:pt>
                      <c:pt idx="3461">
                        <c:v>0</c:v>
                      </c:pt>
                      <c:pt idx="3462">
                        <c:v>0</c:v>
                      </c:pt>
                      <c:pt idx="3463">
                        <c:v>0</c:v>
                      </c:pt>
                      <c:pt idx="3464">
                        <c:v>0</c:v>
                      </c:pt>
                      <c:pt idx="3465">
                        <c:v>0</c:v>
                      </c:pt>
                      <c:pt idx="3466">
                        <c:v>0</c:v>
                      </c:pt>
                      <c:pt idx="3467">
                        <c:v>0</c:v>
                      </c:pt>
                      <c:pt idx="3468">
                        <c:v>0</c:v>
                      </c:pt>
                      <c:pt idx="3469">
                        <c:v>0</c:v>
                      </c:pt>
                      <c:pt idx="3470">
                        <c:v>0</c:v>
                      </c:pt>
                      <c:pt idx="3471">
                        <c:v>0</c:v>
                      </c:pt>
                      <c:pt idx="3472">
                        <c:v>0</c:v>
                      </c:pt>
                      <c:pt idx="3473">
                        <c:v>0</c:v>
                      </c:pt>
                      <c:pt idx="3474">
                        <c:v>0</c:v>
                      </c:pt>
                      <c:pt idx="3475">
                        <c:v>0</c:v>
                      </c:pt>
                      <c:pt idx="3476">
                        <c:v>0</c:v>
                      </c:pt>
                      <c:pt idx="3477">
                        <c:v>0</c:v>
                      </c:pt>
                      <c:pt idx="3478">
                        <c:v>0</c:v>
                      </c:pt>
                      <c:pt idx="3479">
                        <c:v>0</c:v>
                      </c:pt>
                      <c:pt idx="3480">
                        <c:v>0</c:v>
                      </c:pt>
                      <c:pt idx="3481">
                        <c:v>0</c:v>
                      </c:pt>
                      <c:pt idx="3482">
                        <c:v>0</c:v>
                      </c:pt>
                      <c:pt idx="3483">
                        <c:v>0</c:v>
                      </c:pt>
                      <c:pt idx="3484">
                        <c:v>0</c:v>
                      </c:pt>
                      <c:pt idx="3485">
                        <c:v>0</c:v>
                      </c:pt>
                      <c:pt idx="3486">
                        <c:v>0</c:v>
                      </c:pt>
                      <c:pt idx="3487">
                        <c:v>0</c:v>
                      </c:pt>
                      <c:pt idx="3488">
                        <c:v>0</c:v>
                      </c:pt>
                      <c:pt idx="3489">
                        <c:v>0</c:v>
                      </c:pt>
                      <c:pt idx="3490">
                        <c:v>0</c:v>
                      </c:pt>
                      <c:pt idx="3491">
                        <c:v>0</c:v>
                      </c:pt>
                      <c:pt idx="3492">
                        <c:v>0</c:v>
                      </c:pt>
                      <c:pt idx="3493">
                        <c:v>0</c:v>
                      </c:pt>
                      <c:pt idx="3494">
                        <c:v>0</c:v>
                      </c:pt>
                      <c:pt idx="3495">
                        <c:v>0</c:v>
                      </c:pt>
                      <c:pt idx="3496">
                        <c:v>0</c:v>
                      </c:pt>
                      <c:pt idx="3497">
                        <c:v>0</c:v>
                      </c:pt>
                      <c:pt idx="3498">
                        <c:v>0</c:v>
                      </c:pt>
                      <c:pt idx="3499">
                        <c:v>0</c:v>
                      </c:pt>
                      <c:pt idx="3500">
                        <c:v>0</c:v>
                      </c:pt>
                      <c:pt idx="3501">
                        <c:v>0</c:v>
                      </c:pt>
                      <c:pt idx="3502">
                        <c:v>0</c:v>
                      </c:pt>
                      <c:pt idx="3503">
                        <c:v>0</c:v>
                      </c:pt>
                      <c:pt idx="3504">
                        <c:v>0</c:v>
                      </c:pt>
                      <c:pt idx="3505">
                        <c:v>0</c:v>
                      </c:pt>
                      <c:pt idx="3506">
                        <c:v>0</c:v>
                      </c:pt>
                      <c:pt idx="3507">
                        <c:v>0</c:v>
                      </c:pt>
                      <c:pt idx="3508">
                        <c:v>0</c:v>
                      </c:pt>
                      <c:pt idx="3509">
                        <c:v>0</c:v>
                      </c:pt>
                      <c:pt idx="3510">
                        <c:v>0</c:v>
                      </c:pt>
                      <c:pt idx="3511">
                        <c:v>0</c:v>
                      </c:pt>
                      <c:pt idx="3512">
                        <c:v>0</c:v>
                      </c:pt>
                      <c:pt idx="3513">
                        <c:v>0</c:v>
                      </c:pt>
                      <c:pt idx="3514">
                        <c:v>0</c:v>
                      </c:pt>
                      <c:pt idx="3515">
                        <c:v>0</c:v>
                      </c:pt>
                      <c:pt idx="3516">
                        <c:v>0</c:v>
                      </c:pt>
                      <c:pt idx="3517">
                        <c:v>0</c:v>
                      </c:pt>
                      <c:pt idx="3518">
                        <c:v>0</c:v>
                      </c:pt>
                      <c:pt idx="3519">
                        <c:v>0</c:v>
                      </c:pt>
                      <c:pt idx="3520">
                        <c:v>0</c:v>
                      </c:pt>
                      <c:pt idx="3521">
                        <c:v>0</c:v>
                      </c:pt>
                      <c:pt idx="3522">
                        <c:v>0</c:v>
                      </c:pt>
                      <c:pt idx="3523">
                        <c:v>0</c:v>
                      </c:pt>
                      <c:pt idx="3524">
                        <c:v>0</c:v>
                      </c:pt>
                      <c:pt idx="3525">
                        <c:v>0</c:v>
                      </c:pt>
                      <c:pt idx="3526">
                        <c:v>0</c:v>
                      </c:pt>
                      <c:pt idx="3527">
                        <c:v>0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0</c:v>
                      </c:pt>
                      <c:pt idx="3533">
                        <c:v>0</c:v>
                      </c:pt>
                      <c:pt idx="3534">
                        <c:v>0</c:v>
                      </c:pt>
                      <c:pt idx="3535">
                        <c:v>0</c:v>
                      </c:pt>
                      <c:pt idx="3536">
                        <c:v>0</c:v>
                      </c:pt>
                      <c:pt idx="3537">
                        <c:v>0</c:v>
                      </c:pt>
                      <c:pt idx="3538">
                        <c:v>0</c:v>
                      </c:pt>
                      <c:pt idx="3539">
                        <c:v>0</c:v>
                      </c:pt>
                      <c:pt idx="3540">
                        <c:v>0</c:v>
                      </c:pt>
                      <c:pt idx="3541">
                        <c:v>0</c:v>
                      </c:pt>
                      <c:pt idx="3542">
                        <c:v>0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</c:v>
                      </c:pt>
                      <c:pt idx="3550">
                        <c:v>0</c:v>
                      </c:pt>
                      <c:pt idx="3551">
                        <c:v>0</c:v>
                      </c:pt>
                      <c:pt idx="3552">
                        <c:v>0</c:v>
                      </c:pt>
                      <c:pt idx="3553">
                        <c:v>0</c:v>
                      </c:pt>
                      <c:pt idx="3554">
                        <c:v>0</c:v>
                      </c:pt>
                      <c:pt idx="3555">
                        <c:v>0</c:v>
                      </c:pt>
                      <c:pt idx="3556">
                        <c:v>0</c:v>
                      </c:pt>
                      <c:pt idx="3557">
                        <c:v>0</c:v>
                      </c:pt>
                      <c:pt idx="3558">
                        <c:v>0</c:v>
                      </c:pt>
                      <c:pt idx="3559">
                        <c:v>0</c:v>
                      </c:pt>
                      <c:pt idx="3560">
                        <c:v>0</c:v>
                      </c:pt>
                      <c:pt idx="3561">
                        <c:v>0</c:v>
                      </c:pt>
                      <c:pt idx="3562">
                        <c:v>0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0</c:v>
                      </c:pt>
                      <c:pt idx="3568">
                        <c:v>0</c:v>
                      </c:pt>
                      <c:pt idx="3569">
                        <c:v>0</c:v>
                      </c:pt>
                      <c:pt idx="3570">
                        <c:v>0</c:v>
                      </c:pt>
                      <c:pt idx="3571">
                        <c:v>0</c:v>
                      </c:pt>
                      <c:pt idx="3572">
                        <c:v>0</c:v>
                      </c:pt>
                      <c:pt idx="3573">
                        <c:v>0</c:v>
                      </c:pt>
                      <c:pt idx="3574">
                        <c:v>0</c:v>
                      </c:pt>
                      <c:pt idx="3575">
                        <c:v>0</c:v>
                      </c:pt>
                      <c:pt idx="3576">
                        <c:v>0</c:v>
                      </c:pt>
                      <c:pt idx="3577">
                        <c:v>0</c:v>
                      </c:pt>
                      <c:pt idx="3578">
                        <c:v>0</c:v>
                      </c:pt>
                      <c:pt idx="3579">
                        <c:v>0</c:v>
                      </c:pt>
                      <c:pt idx="3580">
                        <c:v>0</c:v>
                      </c:pt>
                      <c:pt idx="3581">
                        <c:v>0</c:v>
                      </c:pt>
                      <c:pt idx="3582">
                        <c:v>0</c:v>
                      </c:pt>
                      <c:pt idx="3583">
                        <c:v>0</c:v>
                      </c:pt>
                      <c:pt idx="3584">
                        <c:v>0</c:v>
                      </c:pt>
                      <c:pt idx="3585">
                        <c:v>0</c:v>
                      </c:pt>
                      <c:pt idx="3586">
                        <c:v>0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</c:v>
                      </c:pt>
                      <c:pt idx="3594">
                        <c:v>0</c:v>
                      </c:pt>
                      <c:pt idx="3595">
                        <c:v>0</c:v>
                      </c:pt>
                      <c:pt idx="3596">
                        <c:v>0</c:v>
                      </c:pt>
                      <c:pt idx="3597">
                        <c:v>0</c:v>
                      </c:pt>
                      <c:pt idx="3598">
                        <c:v>0</c:v>
                      </c:pt>
                      <c:pt idx="3599">
                        <c:v>0</c:v>
                      </c:pt>
                      <c:pt idx="3600">
                        <c:v>0</c:v>
                      </c:pt>
                      <c:pt idx="3601">
                        <c:v>0</c:v>
                      </c:pt>
                      <c:pt idx="3602">
                        <c:v>0</c:v>
                      </c:pt>
                      <c:pt idx="3603">
                        <c:v>0</c:v>
                      </c:pt>
                      <c:pt idx="3604">
                        <c:v>0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</c:v>
                      </c:pt>
                      <c:pt idx="3619">
                        <c:v>0</c:v>
                      </c:pt>
                      <c:pt idx="3620">
                        <c:v>0</c:v>
                      </c:pt>
                      <c:pt idx="3621">
                        <c:v>0</c:v>
                      </c:pt>
                      <c:pt idx="3622">
                        <c:v>0</c:v>
                      </c:pt>
                      <c:pt idx="3623">
                        <c:v>0</c:v>
                      </c:pt>
                      <c:pt idx="3624">
                        <c:v>0</c:v>
                      </c:pt>
                      <c:pt idx="3625">
                        <c:v>0</c:v>
                      </c:pt>
                      <c:pt idx="3626">
                        <c:v>0</c:v>
                      </c:pt>
                      <c:pt idx="3627">
                        <c:v>0</c:v>
                      </c:pt>
                      <c:pt idx="3628">
                        <c:v>0</c:v>
                      </c:pt>
                      <c:pt idx="3629">
                        <c:v>0</c:v>
                      </c:pt>
                      <c:pt idx="3630">
                        <c:v>0</c:v>
                      </c:pt>
                      <c:pt idx="3631">
                        <c:v>0</c:v>
                      </c:pt>
                      <c:pt idx="3632">
                        <c:v>0</c:v>
                      </c:pt>
                      <c:pt idx="3633">
                        <c:v>0</c:v>
                      </c:pt>
                      <c:pt idx="3634">
                        <c:v>0</c:v>
                      </c:pt>
                      <c:pt idx="3635">
                        <c:v>0</c:v>
                      </c:pt>
                      <c:pt idx="3636">
                        <c:v>0</c:v>
                      </c:pt>
                      <c:pt idx="3637">
                        <c:v>0</c:v>
                      </c:pt>
                      <c:pt idx="3638">
                        <c:v>0</c:v>
                      </c:pt>
                      <c:pt idx="3639">
                        <c:v>0</c:v>
                      </c:pt>
                      <c:pt idx="3640">
                        <c:v>0</c:v>
                      </c:pt>
                      <c:pt idx="3641">
                        <c:v>0</c:v>
                      </c:pt>
                      <c:pt idx="3642">
                        <c:v>0</c:v>
                      </c:pt>
                      <c:pt idx="3643">
                        <c:v>0</c:v>
                      </c:pt>
                      <c:pt idx="3644">
                        <c:v>0</c:v>
                      </c:pt>
                      <c:pt idx="3645">
                        <c:v>0</c:v>
                      </c:pt>
                      <c:pt idx="3646">
                        <c:v>0</c:v>
                      </c:pt>
                      <c:pt idx="3647">
                        <c:v>0</c:v>
                      </c:pt>
                      <c:pt idx="3648">
                        <c:v>0</c:v>
                      </c:pt>
                      <c:pt idx="3649">
                        <c:v>0</c:v>
                      </c:pt>
                      <c:pt idx="3650">
                        <c:v>0</c:v>
                      </c:pt>
                      <c:pt idx="3651">
                        <c:v>0</c:v>
                      </c:pt>
                      <c:pt idx="3652">
                        <c:v>0</c:v>
                      </c:pt>
                      <c:pt idx="3653">
                        <c:v>0</c:v>
                      </c:pt>
                      <c:pt idx="3654">
                        <c:v>0</c:v>
                      </c:pt>
                      <c:pt idx="3655">
                        <c:v>0</c:v>
                      </c:pt>
                      <c:pt idx="3656">
                        <c:v>0</c:v>
                      </c:pt>
                      <c:pt idx="3657">
                        <c:v>0</c:v>
                      </c:pt>
                      <c:pt idx="3658">
                        <c:v>0</c:v>
                      </c:pt>
                      <c:pt idx="3659">
                        <c:v>0</c:v>
                      </c:pt>
                      <c:pt idx="3660">
                        <c:v>0</c:v>
                      </c:pt>
                      <c:pt idx="3661">
                        <c:v>0</c:v>
                      </c:pt>
                      <c:pt idx="3662">
                        <c:v>0</c:v>
                      </c:pt>
                      <c:pt idx="3663">
                        <c:v>0</c:v>
                      </c:pt>
                      <c:pt idx="3664">
                        <c:v>0</c:v>
                      </c:pt>
                      <c:pt idx="3665">
                        <c:v>0</c:v>
                      </c:pt>
                      <c:pt idx="3666">
                        <c:v>0</c:v>
                      </c:pt>
                      <c:pt idx="3667">
                        <c:v>0</c:v>
                      </c:pt>
                      <c:pt idx="3668">
                        <c:v>0</c:v>
                      </c:pt>
                      <c:pt idx="3669">
                        <c:v>0</c:v>
                      </c:pt>
                      <c:pt idx="3670">
                        <c:v>0</c:v>
                      </c:pt>
                      <c:pt idx="3671">
                        <c:v>0</c:v>
                      </c:pt>
                      <c:pt idx="3672">
                        <c:v>0</c:v>
                      </c:pt>
                      <c:pt idx="3673">
                        <c:v>0</c:v>
                      </c:pt>
                      <c:pt idx="3674">
                        <c:v>0</c:v>
                      </c:pt>
                      <c:pt idx="3675">
                        <c:v>0</c:v>
                      </c:pt>
                      <c:pt idx="3676">
                        <c:v>0</c:v>
                      </c:pt>
                      <c:pt idx="3677">
                        <c:v>0</c:v>
                      </c:pt>
                      <c:pt idx="3678">
                        <c:v>0</c:v>
                      </c:pt>
                      <c:pt idx="3679">
                        <c:v>0</c:v>
                      </c:pt>
                      <c:pt idx="3680">
                        <c:v>0</c:v>
                      </c:pt>
                      <c:pt idx="3681">
                        <c:v>0</c:v>
                      </c:pt>
                      <c:pt idx="3682">
                        <c:v>0</c:v>
                      </c:pt>
                      <c:pt idx="3683">
                        <c:v>0</c:v>
                      </c:pt>
                      <c:pt idx="3684">
                        <c:v>0</c:v>
                      </c:pt>
                      <c:pt idx="3685">
                        <c:v>0</c:v>
                      </c:pt>
                      <c:pt idx="3686">
                        <c:v>0</c:v>
                      </c:pt>
                      <c:pt idx="3687">
                        <c:v>0</c:v>
                      </c:pt>
                      <c:pt idx="3688">
                        <c:v>0</c:v>
                      </c:pt>
                      <c:pt idx="3689">
                        <c:v>0</c:v>
                      </c:pt>
                      <c:pt idx="3690">
                        <c:v>0</c:v>
                      </c:pt>
                      <c:pt idx="3691">
                        <c:v>0</c:v>
                      </c:pt>
                      <c:pt idx="3692">
                        <c:v>0</c:v>
                      </c:pt>
                      <c:pt idx="3693">
                        <c:v>0</c:v>
                      </c:pt>
                      <c:pt idx="3694">
                        <c:v>0</c:v>
                      </c:pt>
                      <c:pt idx="3695">
                        <c:v>0</c:v>
                      </c:pt>
                      <c:pt idx="3696">
                        <c:v>0</c:v>
                      </c:pt>
                      <c:pt idx="3697">
                        <c:v>0</c:v>
                      </c:pt>
                      <c:pt idx="3698">
                        <c:v>0</c:v>
                      </c:pt>
                      <c:pt idx="3699">
                        <c:v>0</c:v>
                      </c:pt>
                      <c:pt idx="3700">
                        <c:v>0</c:v>
                      </c:pt>
                      <c:pt idx="3701">
                        <c:v>0</c:v>
                      </c:pt>
                      <c:pt idx="3702">
                        <c:v>0</c:v>
                      </c:pt>
                      <c:pt idx="3703">
                        <c:v>0</c:v>
                      </c:pt>
                      <c:pt idx="3704">
                        <c:v>0</c:v>
                      </c:pt>
                      <c:pt idx="3705">
                        <c:v>0</c:v>
                      </c:pt>
                      <c:pt idx="3706">
                        <c:v>0</c:v>
                      </c:pt>
                      <c:pt idx="3707">
                        <c:v>0</c:v>
                      </c:pt>
                      <c:pt idx="3708">
                        <c:v>0</c:v>
                      </c:pt>
                      <c:pt idx="3709">
                        <c:v>0</c:v>
                      </c:pt>
                      <c:pt idx="3710">
                        <c:v>0</c:v>
                      </c:pt>
                      <c:pt idx="3711">
                        <c:v>0</c:v>
                      </c:pt>
                      <c:pt idx="3712">
                        <c:v>0</c:v>
                      </c:pt>
                      <c:pt idx="3713">
                        <c:v>0</c:v>
                      </c:pt>
                      <c:pt idx="3714">
                        <c:v>0</c:v>
                      </c:pt>
                      <c:pt idx="3715">
                        <c:v>0</c:v>
                      </c:pt>
                      <c:pt idx="3716">
                        <c:v>0</c:v>
                      </c:pt>
                      <c:pt idx="3717">
                        <c:v>0</c:v>
                      </c:pt>
                      <c:pt idx="3718">
                        <c:v>0</c:v>
                      </c:pt>
                      <c:pt idx="3719">
                        <c:v>0</c:v>
                      </c:pt>
                      <c:pt idx="3720">
                        <c:v>0</c:v>
                      </c:pt>
                      <c:pt idx="3721">
                        <c:v>0</c:v>
                      </c:pt>
                      <c:pt idx="3722">
                        <c:v>0</c:v>
                      </c:pt>
                      <c:pt idx="3723">
                        <c:v>0</c:v>
                      </c:pt>
                      <c:pt idx="3724">
                        <c:v>0</c:v>
                      </c:pt>
                      <c:pt idx="3725">
                        <c:v>0</c:v>
                      </c:pt>
                      <c:pt idx="3726">
                        <c:v>0</c:v>
                      </c:pt>
                      <c:pt idx="3727">
                        <c:v>0</c:v>
                      </c:pt>
                      <c:pt idx="3728">
                        <c:v>0</c:v>
                      </c:pt>
                      <c:pt idx="3729">
                        <c:v>0</c:v>
                      </c:pt>
                      <c:pt idx="3730">
                        <c:v>0</c:v>
                      </c:pt>
                      <c:pt idx="3731">
                        <c:v>0</c:v>
                      </c:pt>
                      <c:pt idx="3732">
                        <c:v>0</c:v>
                      </c:pt>
                      <c:pt idx="3733">
                        <c:v>0</c:v>
                      </c:pt>
                      <c:pt idx="3734">
                        <c:v>0</c:v>
                      </c:pt>
                      <c:pt idx="3735">
                        <c:v>0</c:v>
                      </c:pt>
                      <c:pt idx="3736">
                        <c:v>0</c:v>
                      </c:pt>
                      <c:pt idx="3737">
                        <c:v>0</c:v>
                      </c:pt>
                      <c:pt idx="3738">
                        <c:v>0</c:v>
                      </c:pt>
                      <c:pt idx="3739">
                        <c:v>0</c:v>
                      </c:pt>
                      <c:pt idx="3740">
                        <c:v>0</c:v>
                      </c:pt>
                      <c:pt idx="3741">
                        <c:v>0</c:v>
                      </c:pt>
                      <c:pt idx="3742">
                        <c:v>0</c:v>
                      </c:pt>
                      <c:pt idx="3743">
                        <c:v>0</c:v>
                      </c:pt>
                      <c:pt idx="3744">
                        <c:v>0</c:v>
                      </c:pt>
                      <c:pt idx="3745">
                        <c:v>0</c:v>
                      </c:pt>
                      <c:pt idx="3746">
                        <c:v>0</c:v>
                      </c:pt>
                      <c:pt idx="3747">
                        <c:v>0</c:v>
                      </c:pt>
                      <c:pt idx="3748">
                        <c:v>0</c:v>
                      </c:pt>
                      <c:pt idx="3749">
                        <c:v>0</c:v>
                      </c:pt>
                      <c:pt idx="3750">
                        <c:v>0</c:v>
                      </c:pt>
                      <c:pt idx="3751">
                        <c:v>0</c:v>
                      </c:pt>
                      <c:pt idx="3752">
                        <c:v>0</c:v>
                      </c:pt>
                      <c:pt idx="3753">
                        <c:v>0</c:v>
                      </c:pt>
                      <c:pt idx="3754">
                        <c:v>0</c:v>
                      </c:pt>
                      <c:pt idx="3755">
                        <c:v>0</c:v>
                      </c:pt>
                      <c:pt idx="3756">
                        <c:v>0</c:v>
                      </c:pt>
                      <c:pt idx="3757">
                        <c:v>0</c:v>
                      </c:pt>
                      <c:pt idx="3758">
                        <c:v>0</c:v>
                      </c:pt>
                      <c:pt idx="3759">
                        <c:v>0</c:v>
                      </c:pt>
                      <c:pt idx="3760">
                        <c:v>0</c:v>
                      </c:pt>
                      <c:pt idx="3761">
                        <c:v>0</c:v>
                      </c:pt>
                      <c:pt idx="3762">
                        <c:v>0</c:v>
                      </c:pt>
                      <c:pt idx="3763">
                        <c:v>0</c:v>
                      </c:pt>
                      <c:pt idx="3764">
                        <c:v>0</c:v>
                      </c:pt>
                      <c:pt idx="3765">
                        <c:v>0</c:v>
                      </c:pt>
                      <c:pt idx="3766">
                        <c:v>0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</c:v>
                      </c:pt>
                      <c:pt idx="3774">
                        <c:v>0</c:v>
                      </c:pt>
                      <c:pt idx="3775">
                        <c:v>0</c:v>
                      </c:pt>
                      <c:pt idx="3776">
                        <c:v>0</c:v>
                      </c:pt>
                      <c:pt idx="3777">
                        <c:v>0</c:v>
                      </c:pt>
                      <c:pt idx="3778">
                        <c:v>0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0</c:v>
                      </c:pt>
                      <c:pt idx="3783">
                        <c:v>0</c:v>
                      </c:pt>
                      <c:pt idx="3784">
                        <c:v>0</c:v>
                      </c:pt>
                      <c:pt idx="3785">
                        <c:v>0</c:v>
                      </c:pt>
                      <c:pt idx="3786">
                        <c:v>0</c:v>
                      </c:pt>
                      <c:pt idx="3787">
                        <c:v>0</c:v>
                      </c:pt>
                      <c:pt idx="3788">
                        <c:v>0</c:v>
                      </c:pt>
                      <c:pt idx="3789">
                        <c:v>0</c:v>
                      </c:pt>
                      <c:pt idx="3790">
                        <c:v>0</c:v>
                      </c:pt>
                      <c:pt idx="3791">
                        <c:v>0</c:v>
                      </c:pt>
                      <c:pt idx="3792">
                        <c:v>0</c:v>
                      </c:pt>
                      <c:pt idx="3793">
                        <c:v>0</c:v>
                      </c:pt>
                      <c:pt idx="3794">
                        <c:v>0</c:v>
                      </c:pt>
                      <c:pt idx="3795">
                        <c:v>0</c:v>
                      </c:pt>
                      <c:pt idx="3796">
                        <c:v>0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0</c:v>
                      </c:pt>
                      <c:pt idx="3807">
                        <c:v>0</c:v>
                      </c:pt>
                      <c:pt idx="3808">
                        <c:v>0</c:v>
                      </c:pt>
                      <c:pt idx="3809">
                        <c:v>0</c:v>
                      </c:pt>
                      <c:pt idx="3810">
                        <c:v>0</c:v>
                      </c:pt>
                      <c:pt idx="3811">
                        <c:v>0</c:v>
                      </c:pt>
                      <c:pt idx="3812">
                        <c:v>0</c:v>
                      </c:pt>
                      <c:pt idx="3813">
                        <c:v>0</c:v>
                      </c:pt>
                      <c:pt idx="3814">
                        <c:v>0</c:v>
                      </c:pt>
                      <c:pt idx="3815">
                        <c:v>0</c:v>
                      </c:pt>
                      <c:pt idx="3816">
                        <c:v>0</c:v>
                      </c:pt>
                      <c:pt idx="3817">
                        <c:v>0</c:v>
                      </c:pt>
                      <c:pt idx="3818">
                        <c:v>0</c:v>
                      </c:pt>
                      <c:pt idx="3819">
                        <c:v>0</c:v>
                      </c:pt>
                      <c:pt idx="3820">
                        <c:v>0</c:v>
                      </c:pt>
                      <c:pt idx="3821">
                        <c:v>0</c:v>
                      </c:pt>
                      <c:pt idx="3822">
                        <c:v>0</c:v>
                      </c:pt>
                      <c:pt idx="3823">
                        <c:v>0</c:v>
                      </c:pt>
                      <c:pt idx="3824">
                        <c:v>0</c:v>
                      </c:pt>
                      <c:pt idx="3825">
                        <c:v>0</c:v>
                      </c:pt>
                      <c:pt idx="3826">
                        <c:v>0</c:v>
                      </c:pt>
                      <c:pt idx="3827">
                        <c:v>0</c:v>
                      </c:pt>
                      <c:pt idx="3828">
                        <c:v>0</c:v>
                      </c:pt>
                      <c:pt idx="3829">
                        <c:v>0</c:v>
                      </c:pt>
                      <c:pt idx="3830">
                        <c:v>0</c:v>
                      </c:pt>
                      <c:pt idx="3831">
                        <c:v>0</c:v>
                      </c:pt>
                      <c:pt idx="3832">
                        <c:v>0</c:v>
                      </c:pt>
                      <c:pt idx="3833">
                        <c:v>0</c:v>
                      </c:pt>
                      <c:pt idx="3834">
                        <c:v>0</c:v>
                      </c:pt>
                      <c:pt idx="3835">
                        <c:v>0</c:v>
                      </c:pt>
                      <c:pt idx="3836">
                        <c:v>0</c:v>
                      </c:pt>
                      <c:pt idx="3837">
                        <c:v>0</c:v>
                      </c:pt>
                      <c:pt idx="3838">
                        <c:v>0</c:v>
                      </c:pt>
                      <c:pt idx="3839">
                        <c:v>0</c:v>
                      </c:pt>
                      <c:pt idx="3840">
                        <c:v>0</c:v>
                      </c:pt>
                      <c:pt idx="3841">
                        <c:v>0</c:v>
                      </c:pt>
                      <c:pt idx="3842">
                        <c:v>0</c:v>
                      </c:pt>
                      <c:pt idx="3843">
                        <c:v>0</c:v>
                      </c:pt>
                      <c:pt idx="3844">
                        <c:v>0</c:v>
                      </c:pt>
                      <c:pt idx="3845">
                        <c:v>0</c:v>
                      </c:pt>
                      <c:pt idx="3846">
                        <c:v>0</c:v>
                      </c:pt>
                      <c:pt idx="3847">
                        <c:v>0</c:v>
                      </c:pt>
                      <c:pt idx="3848">
                        <c:v>0</c:v>
                      </c:pt>
                      <c:pt idx="3849">
                        <c:v>0</c:v>
                      </c:pt>
                      <c:pt idx="3850">
                        <c:v>0</c:v>
                      </c:pt>
                      <c:pt idx="3851">
                        <c:v>0</c:v>
                      </c:pt>
                      <c:pt idx="3852">
                        <c:v>0</c:v>
                      </c:pt>
                      <c:pt idx="3853">
                        <c:v>0</c:v>
                      </c:pt>
                      <c:pt idx="3854">
                        <c:v>0</c:v>
                      </c:pt>
                      <c:pt idx="3855">
                        <c:v>0</c:v>
                      </c:pt>
                      <c:pt idx="3856">
                        <c:v>0</c:v>
                      </c:pt>
                      <c:pt idx="3857">
                        <c:v>0</c:v>
                      </c:pt>
                      <c:pt idx="3858">
                        <c:v>0</c:v>
                      </c:pt>
                      <c:pt idx="3859">
                        <c:v>0</c:v>
                      </c:pt>
                      <c:pt idx="3860">
                        <c:v>0</c:v>
                      </c:pt>
                      <c:pt idx="3861">
                        <c:v>0</c:v>
                      </c:pt>
                      <c:pt idx="3862">
                        <c:v>0</c:v>
                      </c:pt>
                      <c:pt idx="3863">
                        <c:v>0</c:v>
                      </c:pt>
                      <c:pt idx="3864">
                        <c:v>0</c:v>
                      </c:pt>
                      <c:pt idx="3865">
                        <c:v>0</c:v>
                      </c:pt>
                      <c:pt idx="3866">
                        <c:v>0</c:v>
                      </c:pt>
                      <c:pt idx="3867">
                        <c:v>0</c:v>
                      </c:pt>
                      <c:pt idx="3868">
                        <c:v>0</c:v>
                      </c:pt>
                      <c:pt idx="3869">
                        <c:v>0</c:v>
                      </c:pt>
                      <c:pt idx="3870">
                        <c:v>0</c:v>
                      </c:pt>
                      <c:pt idx="3871">
                        <c:v>0</c:v>
                      </c:pt>
                      <c:pt idx="3872">
                        <c:v>0</c:v>
                      </c:pt>
                      <c:pt idx="3873">
                        <c:v>0</c:v>
                      </c:pt>
                      <c:pt idx="3874">
                        <c:v>0</c:v>
                      </c:pt>
                      <c:pt idx="3875">
                        <c:v>0</c:v>
                      </c:pt>
                      <c:pt idx="3876">
                        <c:v>0</c:v>
                      </c:pt>
                      <c:pt idx="3877">
                        <c:v>0</c:v>
                      </c:pt>
                      <c:pt idx="3878">
                        <c:v>0</c:v>
                      </c:pt>
                      <c:pt idx="3879">
                        <c:v>0</c:v>
                      </c:pt>
                      <c:pt idx="3880">
                        <c:v>0</c:v>
                      </c:pt>
                      <c:pt idx="3881">
                        <c:v>0</c:v>
                      </c:pt>
                      <c:pt idx="3882">
                        <c:v>0</c:v>
                      </c:pt>
                      <c:pt idx="3883">
                        <c:v>0</c:v>
                      </c:pt>
                      <c:pt idx="3884">
                        <c:v>0</c:v>
                      </c:pt>
                      <c:pt idx="3885">
                        <c:v>0</c:v>
                      </c:pt>
                      <c:pt idx="3886">
                        <c:v>0</c:v>
                      </c:pt>
                      <c:pt idx="3887">
                        <c:v>0</c:v>
                      </c:pt>
                      <c:pt idx="3888">
                        <c:v>0</c:v>
                      </c:pt>
                      <c:pt idx="3889">
                        <c:v>0</c:v>
                      </c:pt>
                      <c:pt idx="3890">
                        <c:v>0</c:v>
                      </c:pt>
                      <c:pt idx="3891">
                        <c:v>0</c:v>
                      </c:pt>
                      <c:pt idx="3892">
                        <c:v>0</c:v>
                      </c:pt>
                      <c:pt idx="3893">
                        <c:v>0</c:v>
                      </c:pt>
                      <c:pt idx="3894">
                        <c:v>0</c:v>
                      </c:pt>
                      <c:pt idx="3895">
                        <c:v>0</c:v>
                      </c:pt>
                      <c:pt idx="3896">
                        <c:v>0</c:v>
                      </c:pt>
                      <c:pt idx="3897">
                        <c:v>0</c:v>
                      </c:pt>
                      <c:pt idx="3898">
                        <c:v>0</c:v>
                      </c:pt>
                      <c:pt idx="3899">
                        <c:v>0</c:v>
                      </c:pt>
                      <c:pt idx="3900">
                        <c:v>0</c:v>
                      </c:pt>
                      <c:pt idx="3901">
                        <c:v>0</c:v>
                      </c:pt>
                      <c:pt idx="3902">
                        <c:v>0</c:v>
                      </c:pt>
                      <c:pt idx="3903">
                        <c:v>0</c:v>
                      </c:pt>
                      <c:pt idx="3904">
                        <c:v>0</c:v>
                      </c:pt>
                      <c:pt idx="3905">
                        <c:v>0</c:v>
                      </c:pt>
                      <c:pt idx="3906">
                        <c:v>0</c:v>
                      </c:pt>
                      <c:pt idx="3907">
                        <c:v>0</c:v>
                      </c:pt>
                      <c:pt idx="3908">
                        <c:v>0</c:v>
                      </c:pt>
                      <c:pt idx="3909">
                        <c:v>0</c:v>
                      </c:pt>
                      <c:pt idx="3910">
                        <c:v>0</c:v>
                      </c:pt>
                      <c:pt idx="3911">
                        <c:v>0</c:v>
                      </c:pt>
                      <c:pt idx="3912">
                        <c:v>0</c:v>
                      </c:pt>
                      <c:pt idx="3913">
                        <c:v>0</c:v>
                      </c:pt>
                      <c:pt idx="3914">
                        <c:v>0</c:v>
                      </c:pt>
                      <c:pt idx="3915">
                        <c:v>0</c:v>
                      </c:pt>
                      <c:pt idx="3916">
                        <c:v>0</c:v>
                      </c:pt>
                      <c:pt idx="3917">
                        <c:v>0</c:v>
                      </c:pt>
                      <c:pt idx="3918">
                        <c:v>0</c:v>
                      </c:pt>
                      <c:pt idx="3919">
                        <c:v>0</c:v>
                      </c:pt>
                      <c:pt idx="3920">
                        <c:v>0</c:v>
                      </c:pt>
                      <c:pt idx="3921">
                        <c:v>0</c:v>
                      </c:pt>
                      <c:pt idx="3922">
                        <c:v>0</c:v>
                      </c:pt>
                      <c:pt idx="3923">
                        <c:v>0</c:v>
                      </c:pt>
                      <c:pt idx="3924">
                        <c:v>0</c:v>
                      </c:pt>
                      <c:pt idx="3925">
                        <c:v>0</c:v>
                      </c:pt>
                      <c:pt idx="3926">
                        <c:v>0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0</c:v>
                      </c:pt>
                      <c:pt idx="3931">
                        <c:v>0</c:v>
                      </c:pt>
                      <c:pt idx="3932">
                        <c:v>0</c:v>
                      </c:pt>
                      <c:pt idx="3933">
                        <c:v>0</c:v>
                      </c:pt>
                      <c:pt idx="3934">
                        <c:v>0</c:v>
                      </c:pt>
                      <c:pt idx="3935">
                        <c:v>0</c:v>
                      </c:pt>
                      <c:pt idx="3936">
                        <c:v>0</c:v>
                      </c:pt>
                      <c:pt idx="3937">
                        <c:v>0</c:v>
                      </c:pt>
                      <c:pt idx="3938">
                        <c:v>0</c:v>
                      </c:pt>
                      <c:pt idx="3939">
                        <c:v>0</c:v>
                      </c:pt>
                      <c:pt idx="3940">
                        <c:v>0</c:v>
                      </c:pt>
                      <c:pt idx="3941">
                        <c:v>0</c:v>
                      </c:pt>
                      <c:pt idx="3942">
                        <c:v>0</c:v>
                      </c:pt>
                      <c:pt idx="3943">
                        <c:v>0</c:v>
                      </c:pt>
                      <c:pt idx="3944">
                        <c:v>0</c:v>
                      </c:pt>
                      <c:pt idx="3945">
                        <c:v>0</c:v>
                      </c:pt>
                      <c:pt idx="3946">
                        <c:v>0</c:v>
                      </c:pt>
                      <c:pt idx="3947">
                        <c:v>0</c:v>
                      </c:pt>
                      <c:pt idx="3948">
                        <c:v>0</c:v>
                      </c:pt>
                      <c:pt idx="3949">
                        <c:v>0</c:v>
                      </c:pt>
                      <c:pt idx="3950">
                        <c:v>0</c:v>
                      </c:pt>
                      <c:pt idx="3951">
                        <c:v>0</c:v>
                      </c:pt>
                      <c:pt idx="3952">
                        <c:v>0</c:v>
                      </c:pt>
                      <c:pt idx="3953">
                        <c:v>0</c:v>
                      </c:pt>
                      <c:pt idx="3954">
                        <c:v>0</c:v>
                      </c:pt>
                      <c:pt idx="3955">
                        <c:v>0</c:v>
                      </c:pt>
                      <c:pt idx="3956">
                        <c:v>0</c:v>
                      </c:pt>
                      <c:pt idx="3957">
                        <c:v>0</c:v>
                      </c:pt>
                      <c:pt idx="3958">
                        <c:v>0</c:v>
                      </c:pt>
                      <c:pt idx="3959">
                        <c:v>0</c:v>
                      </c:pt>
                      <c:pt idx="3960">
                        <c:v>0</c:v>
                      </c:pt>
                      <c:pt idx="3961">
                        <c:v>0</c:v>
                      </c:pt>
                      <c:pt idx="3962">
                        <c:v>0</c:v>
                      </c:pt>
                      <c:pt idx="3963">
                        <c:v>0</c:v>
                      </c:pt>
                      <c:pt idx="3964">
                        <c:v>0</c:v>
                      </c:pt>
                      <c:pt idx="3965">
                        <c:v>0</c:v>
                      </c:pt>
                      <c:pt idx="3966">
                        <c:v>0</c:v>
                      </c:pt>
                      <c:pt idx="3967">
                        <c:v>0</c:v>
                      </c:pt>
                      <c:pt idx="3968">
                        <c:v>0</c:v>
                      </c:pt>
                      <c:pt idx="3969">
                        <c:v>0</c:v>
                      </c:pt>
                      <c:pt idx="3970">
                        <c:v>0</c:v>
                      </c:pt>
                      <c:pt idx="3971">
                        <c:v>0</c:v>
                      </c:pt>
                      <c:pt idx="3972">
                        <c:v>0</c:v>
                      </c:pt>
                      <c:pt idx="3973">
                        <c:v>0</c:v>
                      </c:pt>
                      <c:pt idx="3974">
                        <c:v>0</c:v>
                      </c:pt>
                      <c:pt idx="3975">
                        <c:v>0</c:v>
                      </c:pt>
                      <c:pt idx="3976">
                        <c:v>0</c:v>
                      </c:pt>
                      <c:pt idx="3977">
                        <c:v>0</c:v>
                      </c:pt>
                      <c:pt idx="3978">
                        <c:v>0</c:v>
                      </c:pt>
                      <c:pt idx="3979">
                        <c:v>0</c:v>
                      </c:pt>
                      <c:pt idx="3980">
                        <c:v>0</c:v>
                      </c:pt>
                      <c:pt idx="3981">
                        <c:v>0</c:v>
                      </c:pt>
                      <c:pt idx="3982">
                        <c:v>0</c:v>
                      </c:pt>
                      <c:pt idx="3983">
                        <c:v>0</c:v>
                      </c:pt>
                      <c:pt idx="3984">
                        <c:v>0</c:v>
                      </c:pt>
                      <c:pt idx="3985">
                        <c:v>0</c:v>
                      </c:pt>
                      <c:pt idx="3986">
                        <c:v>0</c:v>
                      </c:pt>
                      <c:pt idx="3987">
                        <c:v>0</c:v>
                      </c:pt>
                      <c:pt idx="3988">
                        <c:v>0</c:v>
                      </c:pt>
                      <c:pt idx="3989">
                        <c:v>0</c:v>
                      </c:pt>
                      <c:pt idx="3990">
                        <c:v>0</c:v>
                      </c:pt>
                      <c:pt idx="3991">
                        <c:v>0</c:v>
                      </c:pt>
                      <c:pt idx="3992">
                        <c:v>0</c:v>
                      </c:pt>
                      <c:pt idx="3993">
                        <c:v>0</c:v>
                      </c:pt>
                      <c:pt idx="3994">
                        <c:v>0</c:v>
                      </c:pt>
                      <c:pt idx="3995">
                        <c:v>0</c:v>
                      </c:pt>
                      <c:pt idx="3996">
                        <c:v>0</c:v>
                      </c:pt>
                      <c:pt idx="3997">
                        <c:v>0</c:v>
                      </c:pt>
                      <c:pt idx="3998">
                        <c:v>0</c:v>
                      </c:pt>
                      <c:pt idx="3999">
                        <c:v>0</c:v>
                      </c:pt>
                      <c:pt idx="4000">
                        <c:v>0</c:v>
                      </c:pt>
                      <c:pt idx="4001">
                        <c:v>0</c:v>
                      </c:pt>
                      <c:pt idx="4002">
                        <c:v>0</c:v>
                      </c:pt>
                      <c:pt idx="4003">
                        <c:v>0</c:v>
                      </c:pt>
                      <c:pt idx="4004">
                        <c:v>0</c:v>
                      </c:pt>
                      <c:pt idx="4005">
                        <c:v>0</c:v>
                      </c:pt>
                      <c:pt idx="4006">
                        <c:v>0</c:v>
                      </c:pt>
                      <c:pt idx="4007">
                        <c:v>0</c:v>
                      </c:pt>
                      <c:pt idx="4008">
                        <c:v>0</c:v>
                      </c:pt>
                      <c:pt idx="4009">
                        <c:v>0</c:v>
                      </c:pt>
                      <c:pt idx="4010">
                        <c:v>0</c:v>
                      </c:pt>
                      <c:pt idx="4011">
                        <c:v>0</c:v>
                      </c:pt>
                      <c:pt idx="4012">
                        <c:v>0</c:v>
                      </c:pt>
                      <c:pt idx="4013">
                        <c:v>0</c:v>
                      </c:pt>
                      <c:pt idx="4014">
                        <c:v>0</c:v>
                      </c:pt>
                      <c:pt idx="4015">
                        <c:v>0</c:v>
                      </c:pt>
                      <c:pt idx="4016">
                        <c:v>0</c:v>
                      </c:pt>
                      <c:pt idx="4017">
                        <c:v>0</c:v>
                      </c:pt>
                      <c:pt idx="4018">
                        <c:v>0</c:v>
                      </c:pt>
                      <c:pt idx="4019">
                        <c:v>0</c:v>
                      </c:pt>
                      <c:pt idx="4020">
                        <c:v>0</c:v>
                      </c:pt>
                      <c:pt idx="4021">
                        <c:v>0</c:v>
                      </c:pt>
                      <c:pt idx="4022">
                        <c:v>0</c:v>
                      </c:pt>
                      <c:pt idx="4023">
                        <c:v>0</c:v>
                      </c:pt>
                      <c:pt idx="4024">
                        <c:v>0</c:v>
                      </c:pt>
                      <c:pt idx="4025">
                        <c:v>0</c:v>
                      </c:pt>
                      <c:pt idx="4026">
                        <c:v>0</c:v>
                      </c:pt>
                      <c:pt idx="4027">
                        <c:v>0</c:v>
                      </c:pt>
                      <c:pt idx="4028">
                        <c:v>0</c:v>
                      </c:pt>
                      <c:pt idx="4029">
                        <c:v>0</c:v>
                      </c:pt>
                      <c:pt idx="4030">
                        <c:v>0</c:v>
                      </c:pt>
                      <c:pt idx="4031">
                        <c:v>0</c:v>
                      </c:pt>
                      <c:pt idx="4032">
                        <c:v>0</c:v>
                      </c:pt>
                      <c:pt idx="4033">
                        <c:v>0</c:v>
                      </c:pt>
                      <c:pt idx="4034">
                        <c:v>0</c:v>
                      </c:pt>
                      <c:pt idx="4035">
                        <c:v>0</c:v>
                      </c:pt>
                      <c:pt idx="4036">
                        <c:v>0</c:v>
                      </c:pt>
                      <c:pt idx="4037">
                        <c:v>0</c:v>
                      </c:pt>
                      <c:pt idx="4038">
                        <c:v>0</c:v>
                      </c:pt>
                      <c:pt idx="4039">
                        <c:v>0</c:v>
                      </c:pt>
                      <c:pt idx="4040">
                        <c:v>0</c:v>
                      </c:pt>
                      <c:pt idx="4041">
                        <c:v>0</c:v>
                      </c:pt>
                      <c:pt idx="4042">
                        <c:v>0</c:v>
                      </c:pt>
                      <c:pt idx="4043">
                        <c:v>0</c:v>
                      </c:pt>
                      <c:pt idx="4044">
                        <c:v>0</c:v>
                      </c:pt>
                      <c:pt idx="4045">
                        <c:v>0</c:v>
                      </c:pt>
                      <c:pt idx="4046">
                        <c:v>0</c:v>
                      </c:pt>
                      <c:pt idx="4047">
                        <c:v>0</c:v>
                      </c:pt>
                      <c:pt idx="4048">
                        <c:v>0</c:v>
                      </c:pt>
                      <c:pt idx="4049">
                        <c:v>0</c:v>
                      </c:pt>
                      <c:pt idx="4050">
                        <c:v>0</c:v>
                      </c:pt>
                      <c:pt idx="4051">
                        <c:v>0</c:v>
                      </c:pt>
                      <c:pt idx="4052">
                        <c:v>0</c:v>
                      </c:pt>
                      <c:pt idx="4053">
                        <c:v>0</c:v>
                      </c:pt>
                      <c:pt idx="4054">
                        <c:v>0</c:v>
                      </c:pt>
                      <c:pt idx="4055">
                        <c:v>0</c:v>
                      </c:pt>
                      <c:pt idx="4056">
                        <c:v>0</c:v>
                      </c:pt>
                      <c:pt idx="4057">
                        <c:v>0</c:v>
                      </c:pt>
                      <c:pt idx="4058">
                        <c:v>0</c:v>
                      </c:pt>
                      <c:pt idx="4059">
                        <c:v>0</c:v>
                      </c:pt>
                      <c:pt idx="4060">
                        <c:v>0</c:v>
                      </c:pt>
                      <c:pt idx="4061">
                        <c:v>0</c:v>
                      </c:pt>
                      <c:pt idx="4062">
                        <c:v>0</c:v>
                      </c:pt>
                      <c:pt idx="4063">
                        <c:v>0</c:v>
                      </c:pt>
                      <c:pt idx="4064">
                        <c:v>0</c:v>
                      </c:pt>
                      <c:pt idx="4065">
                        <c:v>0</c:v>
                      </c:pt>
                      <c:pt idx="4066">
                        <c:v>0</c:v>
                      </c:pt>
                      <c:pt idx="4067">
                        <c:v>0</c:v>
                      </c:pt>
                      <c:pt idx="4068">
                        <c:v>0</c:v>
                      </c:pt>
                      <c:pt idx="4069">
                        <c:v>0</c:v>
                      </c:pt>
                      <c:pt idx="4070">
                        <c:v>0</c:v>
                      </c:pt>
                      <c:pt idx="4071">
                        <c:v>0</c:v>
                      </c:pt>
                      <c:pt idx="4072">
                        <c:v>0</c:v>
                      </c:pt>
                      <c:pt idx="4073">
                        <c:v>0</c:v>
                      </c:pt>
                      <c:pt idx="4074">
                        <c:v>0</c:v>
                      </c:pt>
                      <c:pt idx="4075">
                        <c:v>0</c:v>
                      </c:pt>
                      <c:pt idx="4076">
                        <c:v>0</c:v>
                      </c:pt>
                      <c:pt idx="4077">
                        <c:v>0</c:v>
                      </c:pt>
                      <c:pt idx="4078">
                        <c:v>0</c:v>
                      </c:pt>
                      <c:pt idx="4079">
                        <c:v>0</c:v>
                      </c:pt>
                      <c:pt idx="4080">
                        <c:v>0</c:v>
                      </c:pt>
                      <c:pt idx="4081">
                        <c:v>0</c:v>
                      </c:pt>
                      <c:pt idx="4082">
                        <c:v>0</c:v>
                      </c:pt>
                      <c:pt idx="4083">
                        <c:v>0</c:v>
                      </c:pt>
                      <c:pt idx="4084">
                        <c:v>0</c:v>
                      </c:pt>
                      <c:pt idx="4085">
                        <c:v>0</c:v>
                      </c:pt>
                      <c:pt idx="4086">
                        <c:v>0</c:v>
                      </c:pt>
                      <c:pt idx="4087">
                        <c:v>0</c:v>
                      </c:pt>
                      <c:pt idx="4088">
                        <c:v>0</c:v>
                      </c:pt>
                      <c:pt idx="4089">
                        <c:v>0</c:v>
                      </c:pt>
                      <c:pt idx="4090">
                        <c:v>0</c:v>
                      </c:pt>
                      <c:pt idx="4091">
                        <c:v>0</c:v>
                      </c:pt>
                      <c:pt idx="4092">
                        <c:v>0</c:v>
                      </c:pt>
                      <c:pt idx="4093">
                        <c:v>0</c:v>
                      </c:pt>
                      <c:pt idx="4094">
                        <c:v>0</c:v>
                      </c:pt>
                      <c:pt idx="4095">
                        <c:v>0</c:v>
                      </c:pt>
                      <c:pt idx="4096">
                        <c:v>0</c:v>
                      </c:pt>
                      <c:pt idx="4097">
                        <c:v>0</c:v>
                      </c:pt>
                      <c:pt idx="4098">
                        <c:v>0</c:v>
                      </c:pt>
                      <c:pt idx="4099">
                        <c:v>0</c:v>
                      </c:pt>
                      <c:pt idx="4100">
                        <c:v>0</c:v>
                      </c:pt>
                      <c:pt idx="4101">
                        <c:v>0</c:v>
                      </c:pt>
                      <c:pt idx="4102">
                        <c:v>0</c:v>
                      </c:pt>
                      <c:pt idx="4103">
                        <c:v>0</c:v>
                      </c:pt>
                      <c:pt idx="4104">
                        <c:v>0</c:v>
                      </c:pt>
                      <c:pt idx="4105">
                        <c:v>0</c:v>
                      </c:pt>
                      <c:pt idx="4106">
                        <c:v>0</c:v>
                      </c:pt>
                      <c:pt idx="4107">
                        <c:v>0</c:v>
                      </c:pt>
                      <c:pt idx="4108">
                        <c:v>0</c:v>
                      </c:pt>
                      <c:pt idx="4109">
                        <c:v>0</c:v>
                      </c:pt>
                      <c:pt idx="4110">
                        <c:v>0</c:v>
                      </c:pt>
                      <c:pt idx="4111">
                        <c:v>0</c:v>
                      </c:pt>
                      <c:pt idx="4112">
                        <c:v>0</c:v>
                      </c:pt>
                      <c:pt idx="4113">
                        <c:v>0</c:v>
                      </c:pt>
                      <c:pt idx="4114">
                        <c:v>0</c:v>
                      </c:pt>
                      <c:pt idx="4115">
                        <c:v>0</c:v>
                      </c:pt>
                      <c:pt idx="4116">
                        <c:v>0</c:v>
                      </c:pt>
                      <c:pt idx="4117">
                        <c:v>0</c:v>
                      </c:pt>
                      <c:pt idx="4118">
                        <c:v>0</c:v>
                      </c:pt>
                      <c:pt idx="4119">
                        <c:v>0</c:v>
                      </c:pt>
                      <c:pt idx="4120">
                        <c:v>0</c:v>
                      </c:pt>
                      <c:pt idx="4121">
                        <c:v>0</c:v>
                      </c:pt>
                      <c:pt idx="4122">
                        <c:v>0</c:v>
                      </c:pt>
                      <c:pt idx="4123">
                        <c:v>0</c:v>
                      </c:pt>
                      <c:pt idx="4124">
                        <c:v>0</c:v>
                      </c:pt>
                      <c:pt idx="4125">
                        <c:v>0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0</c:v>
                      </c:pt>
                      <c:pt idx="4132">
                        <c:v>0</c:v>
                      </c:pt>
                      <c:pt idx="4133">
                        <c:v>0</c:v>
                      </c:pt>
                      <c:pt idx="4134">
                        <c:v>0</c:v>
                      </c:pt>
                      <c:pt idx="4135">
                        <c:v>0</c:v>
                      </c:pt>
                      <c:pt idx="4136">
                        <c:v>0</c:v>
                      </c:pt>
                      <c:pt idx="4137">
                        <c:v>0</c:v>
                      </c:pt>
                      <c:pt idx="4138">
                        <c:v>0</c:v>
                      </c:pt>
                      <c:pt idx="4139">
                        <c:v>0</c:v>
                      </c:pt>
                      <c:pt idx="4140">
                        <c:v>0</c:v>
                      </c:pt>
                      <c:pt idx="4141">
                        <c:v>0</c:v>
                      </c:pt>
                      <c:pt idx="4142">
                        <c:v>0</c:v>
                      </c:pt>
                      <c:pt idx="4143">
                        <c:v>0</c:v>
                      </c:pt>
                      <c:pt idx="4144">
                        <c:v>0</c:v>
                      </c:pt>
                      <c:pt idx="4145">
                        <c:v>0</c:v>
                      </c:pt>
                      <c:pt idx="4146">
                        <c:v>0</c:v>
                      </c:pt>
                      <c:pt idx="4147">
                        <c:v>0</c:v>
                      </c:pt>
                      <c:pt idx="4148">
                        <c:v>0</c:v>
                      </c:pt>
                      <c:pt idx="4149">
                        <c:v>0</c:v>
                      </c:pt>
                      <c:pt idx="4150">
                        <c:v>0</c:v>
                      </c:pt>
                      <c:pt idx="4151">
                        <c:v>0</c:v>
                      </c:pt>
                      <c:pt idx="4152">
                        <c:v>0</c:v>
                      </c:pt>
                      <c:pt idx="4153">
                        <c:v>0</c:v>
                      </c:pt>
                      <c:pt idx="4154">
                        <c:v>0</c:v>
                      </c:pt>
                      <c:pt idx="4155">
                        <c:v>0</c:v>
                      </c:pt>
                      <c:pt idx="4156">
                        <c:v>0</c:v>
                      </c:pt>
                      <c:pt idx="4157">
                        <c:v>0</c:v>
                      </c:pt>
                      <c:pt idx="4158">
                        <c:v>0</c:v>
                      </c:pt>
                      <c:pt idx="4159">
                        <c:v>0</c:v>
                      </c:pt>
                      <c:pt idx="4160">
                        <c:v>0</c:v>
                      </c:pt>
                      <c:pt idx="4161">
                        <c:v>0</c:v>
                      </c:pt>
                      <c:pt idx="4162">
                        <c:v>0</c:v>
                      </c:pt>
                      <c:pt idx="4163">
                        <c:v>0</c:v>
                      </c:pt>
                      <c:pt idx="4164">
                        <c:v>0</c:v>
                      </c:pt>
                      <c:pt idx="4165">
                        <c:v>0</c:v>
                      </c:pt>
                      <c:pt idx="4166">
                        <c:v>0</c:v>
                      </c:pt>
                      <c:pt idx="4167">
                        <c:v>0</c:v>
                      </c:pt>
                      <c:pt idx="4168">
                        <c:v>0</c:v>
                      </c:pt>
                      <c:pt idx="4169">
                        <c:v>0</c:v>
                      </c:pt>
                      <c:pt idx="4170">
                        <c:v>0</c:v>
                      </c:pt>
                      <c:pt idx="4171">
                        <c:v>0</c:v>
                      </c:pt>
                      <c:pt idx="4172">
                        <c:v>0</c:v>
                      </c:pt>
                      <c:pt idx="4173">
                        <c:v>0</c:v>
                      </c:pt>
                      <c:pt idx="4174">
                        <c:v>0</c:v>
                      </c:pt>
                      <c:pt idx="4175">
                        <c:v>0</c:v>
                      </c:pt>
                      <c:pt idx="4176">
                        <c:v>0</c:v>
                      </c:pt>
                      <c:pt idx="4177">
                        <c:v>0</c:v>
                      </c:pt>
                      <c:pt idx="4178">
                        <c:v>0</c:v>
                      </c:pt>
                      <c:pt idx="4179">
                        <c:v>0</c:v>
                      </c:pt>
                      <c:pt idx="4180">
                        <c:v>0</c:v>
                      </c:pt>
                      <c:pt idx="4181">
                        <c:v>0</c:v>
                      </c:pt>
                      <c:pt idx="4182">
                        <c:v>0</c:v>
                      </c:pt>
                      <c:pt idx="4183">
                        <c:v>0</c:v>
                      </c:pt>
                      <c:pt idx="4184">
                        <c:v>0</c:v>
                      </c:pt>
                      <c:pt idx="4185">
                        <c:v>0</c:v>
                      </c:pt>
                      <c:pt idx="4186">
                        <c:v>0</c:v>
                      </c:pt>
                      <c:pt idx="4187">
                        <c:v>0</c:v>
                      </c:pt>
                      <c:pt idx="4188">
                        <c:v>0</c:v>
                      </c:pt>
                      <c:pt idx="4189">
                        <c:v>0</c:v>
                      </c:pt>
                      <c:pt idx="4190">
                        <c:v>0</c:v>
                      </c:pt>
                      <c:pt idx="4191">
                        <c:v>0</c:v>
                      </c:pt>
                      <c:pt idx="4192">
                        <c:v>0</c:v>
                      </c:pt>
                      <c:pt idx="4193">
                        <c:v>0</c:v>
                      </c:pt>
                      <c:pt idx="4194">
                        <c:v>0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</c:v>
                      </c:pt>
                      <c:pt idx="4203">
                        <c:v>0</c:v>
                      </c:pt>
                      <c:pt idx="4204">
                        <c:v>0</c:v>
                      </c:pt>
                      <c:pt idx="4205">
                        <c:v>0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0</c:v>
                      </c:pt>
                      <c:pt idx="5193">
                        <c:v>0</c:v>
                      </c:pt>
                      <c:pt idx="5194">
                        <c:v>0</c:v>
                      </c:pt>
                      <c:pt idx="5195">
                        <c:v>0</c:v>
                      </c:pt>
                      <c:pt idx="5196">
                        <c:v>0</c:v>
                      </c:pt>
                      <c:pt idx="5197">
                        <c:v>0</c:v>
                      </c:pt>
                      <c:pt idx="5198">
                        <c:v>0</c:v>
                      </c:pt>
                      <c:pt idx="5199">
                        <c:v>0</c:v>
                      </c:pt>
                      <c:pt idx="5200">
                        <c:v>0</c:v>
                      </c:pt>
                      <c:pt idx="5201">
                        <c:v>0</c:v>
                      </c:pt>
                      <c:pt idx="5202">
                        <c:v>0</c:v>
                      </c:pt>
                      <c:pt idx="5203">
                        <c:v>0</c:v>
                      </c:pt>
                      <c:pt idx="5204">
                        <c:v>0</c:v>
                      </c:pt>
                      <c:pt idx="5205">
                        <c:v>0</c:v>
                      </c:pt>
                      <c:pt idx="5206">
                        <c:v>0</c:v>
                      </c:pt>
                      <c:pt idx="5207">
                        <c:v>0</c:v>
                      </c:pt>
                      <c:pt idx="5208">
                        <c:v>0</c:v>
                      </c:pt>
                      <c:pt idx="5209">
                        <c:v>0</c:v>
                      </c:pt>
                      <c:pt idx="5210">
                        <c:v>0</c:v>
                      </c:pt>
                      <c:pt idx="5211">
                        <c:v>0</c:v>
                      </c:pt>
                      <c:pt idx="5212">
                        <c:v>0</c:v>
                      </c:pt>
                      <c:pt idx="5213">
                        <c:v>0</c:v>
                      </c:pt>
                      <c:pt idx="5214">
                        <c:v>0</c:v>
                      </c:pt>
                      <c:pt idx="5215">
                        <c:v>0</c:v>
                      </c:pt>
                      <c:pt idx="5216">
                        <c:v>0</c:v>
                      </c:pt>
                      <c:pt idx="5217">
                        <c:v>0</c:v>
                      </c:pt>
                      <c:pt idx="5218">
                        <c:v>0</c:v>
                      </c:pt>
                      <c:pt idx="5219">
                        <c:v>0</c:v>
                      </c:pt>
                      <c:pt idx="5220">
                        <c:v>0</c:v>
                      </c:pt>
                      <c:pt idx="5221">
                        <c:v>0</c:v>
                      </c:pt>
                      <c:pt idx="5222">
                        <c:v>0</c:v>
                      </c:pt>
                      <c:pt idx="5223">
                        <c:v>0</c:v>
                      </c:pt>
                      <c:pt idx="5224">
                        <c:v>0</c:v>
                      </c:pt>
                      <c:pt idx="5225">
                        <c:v>0</c:v>
                      </c:pt>
                      <c:pt idx="5226">
                        <c:v>0</c:v>
                      </c:pt>
                      <c:pt idx="5227">
                        <c:v>0</c:v>
                      </c:pt>
                      <c:pt idx="5228">
                        <c:v>0</c:v>
                      </c:pt>
                      <c:pt idx="5229">
                        <c:v>0</c:v>
                      </c:pt>
                      <c:pt idx="5230">
                        <c:v>0</c:v>
                      </c:pt>
                      <c:pt idx="5231">
                        <c:v>0</c:v>
                      </c:pt>
                      <c:pt idx="5232">
                        <c:v>0</c:v>
                      </c:pt>
                      <c:pt idx="5233">
                        <c:v>0</c:v>
                      </c:pt>
                      <c:pt idx="5234">
                        <c:v>0</c:v>
                      </c:pt>
                      <c:pt idx="5235">
                        <c:v>0</c:v>
                      </c:pt>
                      <c:pt idx="5236">
                        <c:v>0</c:v>
                      </c:pt>
                      <c:pt idx="5237">
                        <c:v>0</c:v>
                      </c:pt>
                      <c:pt idx="5238">
                        <c:v>0</c:v>
                      </c:pt>
                      <c:pt idx="5239">
                        <c:v>0</c:v>
                      </c:pt>
                      <c:pt idx="5240">
                        <c:v>0</c:v>
                      </c:pt>
                      <c:pt idx="5241">
                        <c:v>0</c:v>
                      </c:pt>
                      <c:pt idx="5242">
                        <c:v>0</c:v>
                      </c:pt>
                      <c:pt idx="5243">
                        <c:v>0</c:v>
                      </c:pt>
                      <c:pt idx="5244">
                        <c:v>0</c:v>
                      </c:pt>
                      <c:pt idx="5245">
                        <c:v>0</c:v>
                      </c:pt>
                      <c:pt idx="5246">
                        <c:v>0</c:v>
                      </c:pt>
                      <c:pt idx="5247">
                        <c:v>0</c:v>
                      </c:pt>
                      <c:pt idx="5248">
                        <c:v>0</c:v>
                      </c:pt>
                      <c:pt idx="5249">
                        <c:v>0</c:v>
                      </c:pt>
                      <c:pt idx="5250">
                        <c:v>0</c:v>
                      </c:pt>
                      <c:pt idx="5251">
                        <c:v>0</c:v>
                      </c:pt>
                      <c:pt idx="5252">
                        <c:v>0</c:v>
                      </c:pt>
                      <c:pt idx="5253">
                        <c:v>0</c:v>
                      </c:pt>
                      <c:pt idx="5254">
                        <c:v>0</c:v>
                      </c:pt>
                      <c:pt idx="5255">
                        <c:v>0</c:v>
                      </c:pt>
                      <c:pt idx="5256">
                        <c:v>0</c:v>
                      </c:pt>
                      <c:pt idx="5257">
                        <c:v>0</c:v>
                      </c:pt>
                      <c:pt idx="5258">
                        <c:v>0</c:v>
                      </c:pt>
                      <c:pt idx="5259">
                        <c:v>0</c:v>
                      </c:pt>
                      <c:pt idx="5260">
                        <c:v>0</c:v>
                      </c:pt>
                      <c:pt idx="5261">
                        <c:v>0</c:v>
                      </c:pt>
                      <c:pt idx="5262">
                        <c:v>0</c:v>
                      </c:pt>
                      <c:pt idx="5263">
                        <c:v>0</c:v>
                      </c:pt>
                      <c:pt idx="5264">
                        <c:v>0</c:v>
                      </c:pt>
                      <c:pt idx="5265">
                        <c:v>0</c:v>
                      </c:pt>
                      <c:pt idx="5266">
                        <c:v>0</c:v>
                      </c:pt>
                      <c:pt idx="5267">
                        <c:v>0</c:v>
                      </c:pt>
                      <c:pt idx="5268">
                        <c:v>0</c:v>
                      </c:pt>
                      <c:pt idx="5269">
                        <c:v>0</c:v>
                      </c:pt>
                      <c:pt idx="5270">
                        <c:v>0</c:v>
                      </c:pt>
                      <c:pt idx="5271">
                        <c:v>0</c:v>
                      </c:pt>
                      <c:pt idx="5272">
                        <c:v>0</c:v>
                      </c:pt>
                      <c:pt idx="5273">
                        <c:v>0</c:v>
                      </c:pt>
                      <c:pt idx="5274">
                        <c:v>0</c:v>
                      </c:pt>
                      <c:pt idx="5275">
                        <c:v>0</c:v>
                      </c:pt>
                      <c:pt idx="5276">
                        <c:v>0</c:v>
                      </c:pt>
                      <c:pt idx="5277">
                        <c:v>0</c:v>
                      </c:pt>
                      <c:pt idx="5278">
                        <c:v>0</c:v>
                      </c:pt>
                      <c:pt idx="5279">
                        <c:v>0</c:v>
                      </c:pt>
                      <c:pt idx="5280">
                        <c:v>0</c:v>
                      </c:pt>
                      <c:pt idx="5281">
                        <c:v>0</c:v>
                      </c:pt>
                      <c:pt idx="5282">
                        <c:v>0</c:v>
                      </c:pt>
                      <c:pt idx="5283">
                        <c:v>0</c:v>
                      </c:pt>
                      <c:pt idx="5284">
                        <c:v>0</c:v>
                      </c:pt>
                      <c:pt idx="5285">
                        <c:v>0</c:v>
                      </c:pt>
                      <c:pt idx="5286">
                        <c:v>0</c:v>
                      </c:pt>
                      <c:pt idx="5287">
                        <c:v>0</c:v>
                      </c:pt>
                      <c:pt idx="5288">
                        <c:v>0</c:v>
                      </c:pt>
                      <c:pt idx="5289">
                        <c:v>0</c:v>
                      </c:pt>
                      <c:pt idx="5290">
                        <c:v>0</c:v>
                      </c:pt>
                      <c:pt idx="5291">
                        <c:v>0</c:v>
                      </c:pt>
                      <c:pt idx="5292">
                        <c:v>0</c:v>
                      </c:pt>
                      <c:pt idx="5293">
                        <c:v>0</c:v>
                      </c:pt>
                      <c:pt idx="5294">
                        <c:v>0</c:v>
                      </c:pt>
                      <c:pt idx="5295">
                        <c:v>0</c:v>
                      </c:pt>
                      <c:pt idx="5296">
                        <c:v>0</c:v>
                      </c:pt>
                      <c:pt idx="5297">
                        <c:v>0</c:v>
                      </c:pt>
                      <c:pt idx="5298">
                        <c:v>0</c:v>
                      </c:pt>
                      <c:pt idx="5299">
                        <c:v>0</c:v>
                      </c:pt>
                      <c:pt idx="5300">
                        <c:v>0</c:v>
                      </c:pt>
                      <c:pt idx="5301">
                        <c:v>0</c:v>
                      </c:pt>
                      <c:pt idx="5302">
                        <c:v>0</c:v>
                      </c:pt>
                      <c:pt idx="5303">
                        <c:v>0</c:v>
                      </c:pt>
                      <c:pt idx="5304">
                        <c:v>0</c:v>
                      </c:pt>
                      <c:pt idx="5305">
                        <c:v>0</c:v>
                      </c:pt>
                      <c:pt idx="5306">
                        <c:v>0</c:v>
                      </c:pt>
                      <c:pt idx="5307">
                        <c:v>0</c:v>
                      </c:pt>
                      <c:pt idx="5308">
                        <c:v>0</c:v>
                      </c:pt>
                      <c:pt idx="5309">
                        <c:v>0</c:v>
                      </c:pt>
                      <c:pt idx="5310">
                        <c:v>0</c:v>
                      </c:pt>
                      <c:pt idx="5311">
                        <c:v>0</c:v>
                      </c:pt>
                      <c:pt idx="5312">
                        <c:v>0</c:v>
                      </c:pt>
                      <c:pt idx="5313">
                        <c:v>0</c:v>
                      </c:pt>
                      <c:pt idx="5314">
                        <c:v>0</c:v>
                      </c:pt>
                      <c:pt idx="5315">
                        <c:v>0</c:v>
                      </c:pt>
                      <c:pt idx="5316">
                        <c:v>0</c:v>
                      </c:pt>
                      <c:pt idx="5317">
                        <c:v>0</c:v>
                      </c:pt>
                      <c:pt idx="5318">
                        <c:v>0</c:v>
                      </c:pt>
                      <c:pt idx="5319">
                        <c:v>0</c:v>
                      </c:pt>
                      <c:pt idx="5320">
                        <c:v>0</c:v>
                      </c:pt>
                      <c:pt idx="5321">
                        <c:v>0</c:v>
                      </c:pt>
                      <c:pt idx="5322">
                        <c:v>0</c:v>
                      </c:pt>
                      <c:pt idx="5323">
                        <c:v>0</c:v>
                      </c:pt>
                      <c:pt idx="5324">
                        <c:v>0</c:v>
                      </c:pt>
                      <c:pt idx="5325">
                        <c:v>0</c:v>
                      </c:pt>
                      <c:pt idx="5326">
                        <c:v>0</c:v>
                      </c:pt>
                      <c:pt idx="5327">
                        <c:v>0</c:v>
                      </c:pt>
                      <c:pt idx="5328">
                        <c:v>0</c:v>
                      </c:pt>
                      <c:pt idx="5329">
                        <c:v>0</c:v>
                      </c:pt>
                      <c:pt idx="5330">
                        <c:v>0</c:v>
                      </c:pt>
                      <c:pt idx="5331">
                        <c:v>0</c:v>
                      </c:pt>
                      <c:pt idx="5332">
                        <c:v>0</c:v>
                      </c:pt>
                      <c:pt idx="5333">
                        <c:v>0</c:v>
                      </c:pt>
                      <c:pt idx="5334">
                        <c:v>0</c:v>
                      </c:pt>
                      <c:pt idx="5335">
                        <c:v>0</c:v>
                      </c:pt>
                      <c:pt idx="5336">
                        <c:v>0</c:v>
                      </c:pt>
                      <c:pt idx="5337">
                        <c:v>0</c:v>
                      </c:pt>
                      <c:pt idx="5338">
                        <c:v>0</c:v>
                      </c:pt>
                      <c:pt idx="5339">
                        <c:v>0</c:v>
                      </c:pt>
                      <c:pt idx="5340">
                        <c:v>0</c:v>
                      </c:pt>
                      <c:pt idx="5341">
                        <c:v>0</c:v>
                      </c:pt>
                      <c:pt idx="5342">
                        <c:v>0</c:v>
                      </c:pt>
                      <c:pt idx="5343">
                        <c:v>0</c:v>
                      </c:pt>
                      <c:pt idx="5344">
                        <c:v>0</c:v>
                      </c:pt>
                      <c:pt idx="5345">
                        <c:v>0</c:v>
                      </c:pt>
                      <c:pt idx="5346">
                        <c:v>0</c:v>
                      </c:pt>
                      <c:pt idx="5347">
                        <c:v>0</c:v>
                      </c:pt>
                      <c:pt idx="5348">
                        <c:v>0</c:v>
                      </c:pt>
                      <c:pt idx="5349">
                        <c:v>0</c:v>
                      </c:pt>
                      <c:pt idx="5350">
                        <c:v>0</c:v>
                      </c:pt>
                      <c:pt idx="5351">
                        <c:v>0</c:v>
                      </c:pt>
                      <c:pt idx="5352">
                        <c:v>0</c:v>
                      </c:pt>
                      <c:pt idx="5353">
                        <c:v>0</c:v>
                      </c:pt>
                      <c:pt idx="5354">
                        <c:v>0</c:v>
                      </c:pt>
                      <c:pt idx="5355">
                        <c:v>0</c:v>
                      </c:pt>
                      <c:pt idx="5356">
                        <c:v>0</c:v>
                      </c:pt>
                      <c:pt idx="5357">
                        <c:v>0</c:v>
                      </c:pt>
                      <c:pt idx="5358">
                        <c:v>0</c:v>
                      </c:pt>
                      <c:pt idx="5359">
                        <c:v>0</c:v>
                      </c:pt>
                      <c:pt idx="5360">
                        <c:v>0</c:v>
                      </c:pt>
                      <c:pt idx="5361">
                        <c:v>0</c:v>
                      </c:pt>
                      <c:pt idx="5362">
                        <c:v>0</c:v>
                      </c:pt>
                      <c:pt idx="5363">
                        <c:v>0</c:v>
                      </c:pt>
                      <c:pt idx="5364">
                        <c:v>0</c:v>
                      </c:pt>
                      <c:pt idx="5365">
                        <c:v>0</c:v>
                      </c:pt>
                      <c:pt idx="5366">
                        <c:v>0</c:v>
                      </c:pt>
                      <c:pt idx="5367">
                        <c:v>0</c:v>
                      </c:pt>
                      <c:pt idx="5368">
                        <c:v>0</c:v>
                      </c:pt>
                      <c:pt idx="5369">
                        <c:v>0</c:v>
                      </c:pt>
                      <c:pt idx="5370">
                        <c:v>0</c:v>
                      </c:pt>
                      <c:pt idx="5371">
                        <c:v>0</c:v>
                      </c:pt>
                      <c:pt idx="5372">
                        <c:v>0</c:v>
                      </c:pt>
                      <c:pt idx="5373">
                        <c:v>0</c:v>
                      </c:pt>
                      <c:pt idx="5374">
                        <c:v>0</c:v>
                      </c:pt>
                      <c:pt idx="5375">
                        <c:v>0</c:v>
                      </c:pt>
                      <c:pt idx="5376">
                        <c:v>0</c:v>
                      </c:pt>
                      <c:pt idx="5377">
                        <c:v>0</c:v>
                      </c:pt>
                      <c:pt idx="5378">
                        <c:v>0</c:v>
                      </c:pt>
                      <c:pt idx="5379">
                        <c:v>0</c:v>
                      </c:pt>
                      <c:pt idx="5380">
                        <c:v>0</c:v>
                      </c:pt>
                      <c:pt idx="5381">
                        <c:v>0</c:v>
                      </c:pt>
                      <c:pt idx="5382">
                        <c:v>0</c:v>
                      </c:pt>
                      <c:pt idx="5383">
                        <c:v>0</c:v>
                      </c:pt>
                      <c:pt idx="5384">
                        <c:v>0</c:v>
                      </c:pt>
                      <c:pt idx="5385">
                        <c:v>0</c:v>
                      </c:pt>
                      <c:pt idx="5386">
                        <c:v>0</c:v>
                      </c:pt>
                      <c:pt idx="5387">
                        <c:v>0</c:v>
                      </c:pt>
                      <c:pt idx="5388">
                        <c:v>0</c:v>
                      </c:pt>
                      <c:pt idx="5389">
                        <c:v>0</c:v>
                      </c:pt>
                      <c:pt idx="5390">
                        <c:v>0</c:v>
                      </c:pt>
                      <c:pt idx="5391">
                        <c:v>0</c:v>
                      </c:pt>
                      <c:pt idx="5392">
                        <c:v>0</c:v>
                      </c:pt>
                      <c:pt idx="5393">
                        <c:v>0</c:v>
                      </c:pt>
                      <c:pt idx="5394">
                        <c:v>0</c:v>
                      </c:pt>
                      <c:pt idx="5395">
                        <c:v>0</c:v>
                      </c:pt>
                      <c:pt idx="5396">
                        <c:v>0</c:v>
                      </c:pt>
                      <c:pt idx="5397">
                        <c:v>0</c:v>
                      </c:pt>
                      <c:pt idx="5398">
                        <c:v>0</c:v>
                      </c:pt>
                      <c:pt idx="5399">
                        <c:v>0</c:v>
                      </c:pt>
                      <c:pt idx="5400">
                        <c:v>0</c:v>
                      </c:pt>
                      <c:pt idx="5401">
                        <c:v>0</c:v>
                      </c:pt>
                      <c:pt idx="5402">
                        <c:v>0</c:v>
                      </c:pt>
                      <c:pt idx="5403">
                        <c:v>0</c:v>
                      </c:pt>
                      <c:pt idx="5404">
                        <c:v>0</c:v>
                      </c:pt>
                      <c:pt idx="5405">
                        <c:v>0</c:v>
                      </c:pt>
                      <c:pt idx="5406">
                        <c:v>0</c:v>
                      </c:pt>
                      <c:pt idx="5407">
                        <c:v>0</c:v>
                      </c:pt>
                      <c:pt idx="5408">
                        <c:v>0</c:v>
                      </c:pt>
                      <c:pt idx="5409">
                        <c:v>0</c:v>
                      </c:pt>
                      <c:pt idx="5410">
                        <c:v>0</c:v>
                      </c:pt>
                      <c:pt idx="5411">
                        <c:v>0</c:v>
                      </c:pt>
                      <c:pt idx="5412">
                        <c:v>0</c:v>
                      </c:pt>
                      <c:pt idx="5413">
                        <c:v>0</c:v>
                      </c:pt>
                      <c:pt idx="5414">
                        <c:v>0</c:v>
                      </c:pt>
                      <c:pt idx="5415">
                        <c:v>0</c:v>
                      </c:pt>
                      <c:pt idx="5416">
                        <c:v>0</c:v>
                      </c:pt>
                      <c:pt idx="5417">
                        <c:v>0</c:v>
                      </c:pt>
                      <c:pt idx="5418">
                        <c:v>0</c:v>
                      </c:pt>
                      <c:pt idx="5419">
                        <c:v>0</c:v>
                      </c:pt>
                      <c:pt idx="5420">
                        <c:v>0</c:v>
                      </c:pt>
                      <c:pt idx="5421">
                        <c:v>0</c:v>
                      </c:pt>
                      <c:pt idx="5422">
                        <c:v>0</c:v>
                      </c:pt>
                      <c:pt idx="5423">
                        <c:v>0</c:v>
                      </c:pt>
                      <c:pt idx="5424">
                        <c:v>0</c:v>
                      </c:pt>
                      <c:pt idx="5425">
                        <c:v>0</c:v>
                      </c:pt>
                      <c:pt idx="5426">
                        <c:v>0</c:v>
                      </c:pt>
                      <c:pt idx="5427">
                        <c:v>0</c:v>
                      </c:pt>
                      <c:pt idx="5428">
                        <c:v>0</c:v>
                      </c:pt>
                      <c:pt idx="5429">
                        <c:v>0</c:v>
                      </c:pt>
                      <c:pt idx="5430">
                        <c:v>0</c:v>
                      </c:pt>
                      <c:pt idx="5431">
                        <c:v>0</c:v>
                      </c:pt>
                      <c:pt idx="5432">
                        <c:v>0</c:v>
                      </c:pt>
                      <c:pt idx="5433">
                        <c:v>0</c:v>
                      </c:pt>
                      <c:pt idx="5434">
                        <c:v>0</c:v>
                      </c:pt>
                      <c:pt idx="5435">
                        <c:v>0</c:v>
                      </c:pt>
                      <c:pt idx="5436">
                        <c:v>0</c:v>
                      </c:pt>
                      <c:pt idx="5437">
                        <c:v>0</c:v>
                      </c:pt>
                      <c:pt idx="5438">
                        <c:v>0</c:v>
                      </c:pt>
                      <c:pt idx="5439">
                        <c:v>0</c:v>
                      </c:pt>
                      <c:pt idx="5440">
                        <c:v>0</c:v>
                      </c:pt>
                      <c:pt idx="5441">
                        <c:v>0</c:v>
                      </c:pt>
                      <c:pt idx="5442">
                        <c:v>0</c:v>
                      </c:pt>
                      <c:pt idx="5443">
                        <c:v>0</c:v>
                      </c:pt>
                      <c:pt idx="5444">
                        <c:v>0</c:v>
                      </c:pt>
                      <c:pt idx="5445">
                        <c:v>0</c:v>
                      </c:pt>
                      <c:pt idx="5446">
                        <c:v>0</c:v>
                      </c:pt>
                      <c:pt idx="5447">
                        <c:v>0</c:v>
                      </c:pt>
                      <c:pt idx="5448">
                        <c:v>0</c:v>
                      </c:pt>
                      <c:pt idx="5449">
                        <c:v>0</c:v>
                      </c:pt>
                      <c:pt idx="5450">
                        <c:v>0</c:v>
                      </c:pt>
                      <c:pt idx="5451">
                        <c:v>0</c:v>
                      </c:pt>
                      <c:pt idx="5452">
                        <c:v>0</c:v>
                      </c:pt>
                      <c:pt idx="5453">
                        <c:v>0</c:v>
                      </c:pt>
                      <c:pt idx="5454">
                        <c:v>0</c:v>
                      </c:pt>
                      <c:pt idx="5455">
                        <c:v>0</c:v>
                      </c:pt>
                      <c:pt idx="5456">
                        <c:v>0</c:v>
                      </c:pt>
                      <c:pt idx="5457">
                        <c:v>0</c:v>
                      </c:pt>
                      <c:pt idx="5458">
                        <c:v>0</c:v>
                      </c:pt>
                      <c:pt idx="5459">
                        <c:v>0</c:v>
                      </c:pt>
                      <c:pt idx="5460">
                        <c:v>0</c:v>
                      </c:pt>
                      <c:pt idx="5461">
                        <c:v>0</c:v>
                      </c:pt>
                      <c:pt idx="5462">
                        <c:v>0</c:v>
                      </c:pt>
                      <c:pt idx="5463">
                        <c:v>0</c:v>
                      </c:pt>
                      <c:pt idx="5464">
                        <c:v>0</c:v>
                      </c:pt>
                      <c:pt idx="5465">
                        <c:v>0</c:v>
                      </c:pt>
                      <c:pt idx="5466">
                        <c:v>0</c:v>
                      </c:pt>
                      <c:pt idx="5467">
                        <c:v>0</c:v>
                      </c:pt>
                      <c:pt idx="5468">
                        <c:v>0</c:v>
                      </c:pt>
                      <c:pt idx="5469">
                        <c:v>0</c:v>
                      </c:pt>
                      <c:pt idx="5470">
                        <c:v>0</c:v>
                      </c:pt>
                      <c:pt idx="5471">
                        <c:v>0</c:v>
                      </c:pt>
                      <c:pt idx="5472">
                        <c:v>0</c:v>
                      </c:pt>
                      <c:pt idx="5473">
                        <c:v>0</c:v>
                      </c:pt>
                      <c:pt idx="5474">
                        <c:v>0</c:v>
                      </c:pt>
                      <c:pt idx="5475">
                        <c:v>0</c:v>
                      </c:pt>
                      <c:pt idx="5476">
                        <c:v>0</c:v>
                      </c:pt>
                      <c:pt idx="5477">
                        <c:v>0</c:v>
                      </c:pt>
                      <c:pt idx="5478">
                        <c:v>0</c:v>
                      </c:pt>
                      <c:pt idx="5479">
                        <c:v>0</c:v>
                      </c:pt>
                      <c:pt idx="5480">
                        <c:v>0</c:v>
                      </c:pt>
                      <c:pt idx="5481">
                        <c:v>0</c:v>
                      </c:pt>
                      <c:pt idx="5482">
                        <c:v>0</c:v>
                      </c:pt>
                      <c:pt idx="5483">
                        <c:v>0</c:v>
                      </c:pt>
                      <c:pt idx="5484">
                        <c:v>0</c:v>
                      </c:pt>
                      <c:pt idx="5485">
                        <c:v>0</c:v>
                      </c:pt>
                      <c:pt idx="5486">
                        <c:v>0</c:v>
                      </c:pt>
                      <c:pt idx="5487">
                        <c:v>0</c:v>
                      </c:pt>
                      <c:pt idx="5488">
                        <c:v>0</c:v>
                      </c:pt>
                      <c:pt idx="5489">
                        <c:v>0</c:v>
                      </c:pt>
                      <c:pt idx="5490">
                        <c:v>0</c:v>
                      </c:pt>
                      <c:pt idx="5491">
                        <c:v>0</c:v>
                      </c:pt>
                      <c:pt idx="5492">
                        <c:v>0</c:v>
                      </c:pt>
                      <c:pt idx="5493">
                        <c:v>0</c:v>
                      </c:pt>
                      <c:pt idx="5494">
                        <c:v>0</c:v>
                      </c:pt>
                      <c:pt idx="5495">
                        <c:v>0</c:v>
                      </c:pt>
                      <c:pt idx="5496">
                        <c:v>0</c:v>
                      </c:pt>
                      <c:pt idx="5497">
                        <c:v>0</c:v>
                      </c:pt>
                      <c:pt idx="5498">
                        <c:v>0</c:v>
                      </c:pt>
                      <c:pt idx="5499">
                        <c:v>0</c:v>
                      </c:pt>
                      <c:pt idx="5500">
                        <c:v>0</c:v>
                      </c:pt>
                      <c:pt idx="5501">
                        <c:v>0</c:v>
                      </c:pt>
                      <c:pt idx="5502">
                        <c:v>0</c:v>
                      </c:pt>
                      <c:pt idx="5503">
                        <c:v>0</c:v>
                      </c:pt>
                      <c:pt idx="5504">
                        <c:v>0</c:v>
                      </c:pt>
                      <c:pt idx="5505">
                        <c:v>0</c:v>
                      </c:pt>
                      <c:pt idx="5506">
                        <c:v>0</c:v>
                      </c:pt>
                      <c:pt idx="5507">
                        <c:v>0</c:v>
                      </c:pt>
                      <c:pt idx="5508">
                        <c:v>0</c:v>
                      </c:pt>
                      <c:pt idx="5509">
                        <c:v>0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</c:v>
                      </c:pt>
                      <c:pt idx="5514">
                        <c:v>0</c:v>
                      </c:pt>
                      <c:pt idx="5515">
                        <c:v>0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</c:v>
                      </c:pt>
                      <c:pt idx="5538">
                        <c:v>0</c:v>
                      </c:pt>
                      <c:pt idx="5539">
                        <c:v>0</c:v>
                      </c:pt>
                      <c:pt idx="5540">
                        <c:v>0</c:v>
                      </c:pt>
                      <c:pt idx="5541">
                        <c:v>0</c:v>
                      </c:pt>
                      <c:pt idx="5542">
                        <c:v>0</c:v>
                      </c:pt>
                      <c:pt idx="5543">
                        <c:v>0</c:v>
                      </c:pt>
                      <c:pt idx="5544">
                        <c:v>0</c:v>
                      </c:pt>
                      <c:pt idx="5545">
                        <c:v>0</c:v>
                      </c:pt>
                      <c:pt idx="5546">
                        <c:v>0</c:v>
                      </c:pt>
                      <c:pt idx="5547">
                        <c:v>0</c:v>
                      </c:pt>
                      <c:pt idx="5548">
                        <c:v>0</c:v>
                      </c:pt>
                      <c:pt idx="5549">
                        <c:v>0</c:v>
                      </c:pt>
                      <c:pt idx="5550">
                        <c:v>0</c:v>
                      </c:pt>
                      <c:pt idx="5551">
                        <c:v>0</c:v>
                      </c:pt>
                      <c:pt idx="5552">
                        <c:v>0</c:v>
                      </c:pt>
                      <c:pt idx="5553">
                        <c:v>0</c:v>
                      </c:pt>
                      <c:pt idx="5554">
                        <c:v>0</c:v>
                      </c:pt>
                      <c:pt idx="5555">
                        <c:v>0</c:v>
                      </c:pt>
                      <c:pt idx="5556">
                        <c:v>0</c:v>
                      </c:pt>
                      <c:pt idx="5557">
                        <c:v>0</c:v>
                      </c:pt>
                      <c:pt idx="5558">
                        <c:v>0</c:v>
                      </c:pt>
                      <c:pt idx="5559">
                        <c:v>0</c:v>
                      </c:pt>
                      <c:pt idx="5560">
                        <c:v>0</c:v>
                      </c:pt>
                      <c:pt idx="5561">
                        <c:v>0</c:v>
                      </c:pt>
                      <c:pt idx="5562">
                        <c:v>0</c:v>
                      </c:pt>
                      <c:pt idx="5563">
                        <c:v>0</c:v>
                      </c:pt>
                      <c:pt idx="5564">
                        <c:v>0</c:v>
                      </c:pt>
                      <c:pt idx="5565">
                        <c:v>0</c:v>
                      </c:pt>
                      <c:pt idx="5566">
                        <c:v>0</c:v>
                      </c:pt>
                      <c:pt idx="5567">
                        <c:v>0</c:v>
                      </c:pt>
                      <c:pt idx="5568">
                        <c:v>0</c:v>
                      </c:pt>
                      <c:pt idx="5569">
                        <c:v>0</c:v>
                      </c:pt>
                      <c:pt idx="5570">
                        <c:v>0</c:v>
                      </c:pt>
                      <c:pt idx="5571">
                        <c:v>0</c:v>
                      </c:pt>
                      <c:pt idx="5572">
                        <c:v>0</c:v>
                      </c:pt>
                      <c:pt idx="5573">
                        <c:v>0</c:v>
                      </c:pt>
                      <c:pt idx="5574">
                        <c:v>0</c:v>
                      </c:pt>
                      <c:pt idx="5575">
                        <c:v>0</c:v>
                      </c:pt>
                      <c:pt idx="5576">
                        <c:v>0</c:v>
                      </c:pt>
                      <c:pt idx="5577">
                        <c:v>0</c:v>
                      </c:pt>
                      <c:pt idx="5578">
                        <c:v>0</c:v>
                      </c:pt>
                      <c:pt idx="5579">
                        <c:v>0</c:v>
                      </c:pt>
                      <c:pt idx="5580">
                        <c:v>0</c:v>
                      </c:pt>
                      <c:pt idx="5581">
                        <c:v>0</c:v>
                      </c:pt>
                      <c:pt idx="5582">
                        <c:v>0</c:v>
                      </c:pt>
                      <c:pt idx="5583">
                        <c:v>0</c:v>
                      </c:pt>
                      <c:pt idx="5584">
                        <c:v>0</c:v>
                      </c:pt>
                      <c:pt idx="5585">
                        <c:v>0</c:v>
                      </c:pt>
                      <c:pt idx="5586">
                        <c:v>0</c:v>
                      </c:pt>
                      <c:pt idx="5587">
                        <c:v>0</c:v>
                      </c:pt>
                      <c:pt idx="5588">
                        <c:v>0</c:v>
                      </c:pt>
                      <c:pt idx="5589">
                        <c:v>0</c:v>
                      </c:pt>
                      <c:pt idx="5590">
                        <c:v>0</c:v>
                      </c:pt>
                      <c:pt idx="5591">
                        <c:v>0</c:v>
                      </c:pt>
                      <c:pt idx="5592">
                        <c:v>0</c:v>
                      </c:pt>
                      <c:pt idx="5593">
                        <c:v>0</c:v>
                      </c:pt>
                      <c:pt idx="5594">
                        <c:v>0</c:v>
                      </c:pt>
                      <c:pt idx="5595">
                        <c:v>0</c:v>
                      </c:pt>
                      <c:pt idx="5596">
                        <c:v>0</c:v>
                      </c:pt>
                      <c:pt idx="5597">
                        <c:v>0</c:v>
                      </c:pt>
                      <c:pt idx="5598">
                        <c:v>0</c:v>
                      </c:pt>
                      <c:pt idx="5599">
                        <c:v>0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0</c:v>
                      </c:pt>
                      <c:pt idx="5605">
                        <c:v>0</c:v>
                      </c:pt>
                      <c:pt idx="5606">
                        <c:v>0</c:v>
                      </c:pt>
                      <c:pt idx="5607">
                        <c:v>0</c:v>
                      </c:pt>
                      <c:pt idx="5608">
                        <c:v>0</c:v>
                      </c:pt>
                      <c:pt idx="5609">
                        <c:v>0</c:v>
                      </c:pt>
                      <c:pt idx="5610">
                        <c:v>0</c:v>
                      </c:pt>
                      <c:pt idx="5611">
                        <c:v>0</c:v>
                      </c:pt>
                      <c:pt idx="5612">
                        <c:v>0</c:v>
                      </c:pt>
                      <c:pt idx="5613">
                        <c:v>0</c:v>
                      </c:pt>
                      <c:pt idx="5614">
                        <c:v>0</c:v>
                      </c:pt>
                      <c:pt idx="5615">
                        <c:v>0</c:v>
                      </c:pt>
                      <c:pt idx="5616">
                        <c:v>0</c:v>
                      </c:pt>
                      <c:pt idx="5617">
                        <c:v>0</c:v>
                      </c:pt>
                      <c:pt idx="5618">
                        <c:v>0</c:v>
                      </c:pt>
                      <c:pt idx="5619">
                        <c:v>0</c:v>
                      </c:pt>
                      <c:pt idx="5620">
                        <c:v>0</c:v>
                      </c:pt>
                      <c:pt idx="5621">
                        <c:v>0</c:v>
                      </c:pt>
                      <c:pt idx="5622">
                        <c:v>0</c:v>
                      </c:pt>
                      <c:pt idx="5623">
                        <c:v>0</c:v>
                      </c:pt>
                      <c:pt idx="5624">
                        <c:v>0</c:v>
                      </c:pt>
                      <c:pt idx="5625">
                        <c:v>0</c:v>
                      </c:pt>
                      <c:pt idx="5626">
                        <c:v>0</c:v>
                      </c:pt>
                      <c:pt idx="5627">
                        <c:v>0</c:v>
                      </c:pt>
                      <c:pt idx="5628">
                        <c:v>0</c:v>
                      </c:pt>
                      <c:pt idx="5629">
                        <c:v>0</c:v>
                      </c:pt>
                      <c:pt idx="5630">
                        <c:v>0</c:v>
                      </c:pt>
                      <c:pt idx="5631">
                        <c:v>0</c:v>
                      </c:pt>
                      <c:pt idx="5632">
                        <c:v>0</c:v>
                      </c:pt>
                      <c:pt idx="5633">
                        <c:v>0</c:v>
                      </c:pt>
                      <c:pt idx="5634">
                        <c:v>0</c:v>
                      </c:pt>
                      <c:pt idx="5635">
                        <c:v>0</c:v>
                      </c:pt>
                      <c:pt idx="5636">
                        <c:v>0</c:v>
                      </c:pt>
                      <c:pt idx="5637">
                        <c:v>0</c:v>
                      </c:pt>
                      <c:pt idx="5638">
                        <c:v>0</c:v>
                      </c:pt>
                      <c:pt idx="5639">
                        <c:v>0</c:v>
                      </c:pt>
                      <c:pt idx="5640">
                        <c:v>0</c:v>
                      </c:pt>
                      <c:pt idx="5641">
                        <c:v>0</c:v>
                      </c:pt>
                      <c:pt idx="5642">
                        <c:v>0</c:v>
                      </c:pt>
                      <c:pt idx="5643">
                        <c:v>0</c:v>
                      </c:pt>
                      <c:pt idx="5644">
                        <c:v>0</c:v>
                      </c:pt>
                      <c:pt idx="5645">
                        <c:v>0</c:v>
                      </c:pt>
                      <c:pt idx="5646">
                        <c:v>0</c:v>
                      </c:pt>
                      <c:pt idx="5647">
                        <c:v>0</c:v>
                      </c:pt>
                      <c:pt idx="5648">
                        <c:v>0</c:v>
                      </c:pt>
                      <c:pt idx="5649">
                        <c:v>0</c:v>
                      </c:pt>
                      <c:pt idx="5650">
                        <c:v>0</c:v>
                      </c:pt>
                      <c:pt idx="5651">
                        <c:v>0</c:v>
                      </c:pt>
                      <c:pt idx="5652">
                        <c:v>0</c:v>
                      </c:pt>
                      <c:pt idx="5653">
                        <c:v>0</c:v>
                      </c:pt>
                      <c:pt idx="5654">
                        <c:v>0</c:v>
                      </c:pt>
                      <c:pt idx="5655">
                        <c:v>0</c:v>
                      </c:pt>
                      <c:pt idx="5656">
                        <c:v>0</c:v>
                      </c:pt>
                      <c:pt idx="5657">
                        <c:v>0</c:v>
                      </c:pt>
                      <c:pt idx="5658">
                        <c:v>0</c:v>
                      </c:pt>
                      <c:pt idx="5659">
                        <c:v>0</c:v>
                      </c:pt>
                      <c:pt idx="5660">
                        <c:v>0</c:v>
                      </c:pt>
                      <c:pt idx="5661">
                        <c:v>0</c:v>
                      </c:pt>
                      <c:pt idx="5662">
                        <c:v>0</c:v>
                      </c:pt>
                      <c:pt idx="5663">
                        <c:v>0</c:v>
                      </c:pt>
                      <c:pt idx="5664">
                        <c:v>0</c:v>
                      </c:pt>
                      <c:pt idx="5665">
                        <c:v>0</c:v>
                      </c:pt>
                      <c:pt idx="5666">
                        <c:v>0</c:v>
                      </c:pt>
                      <c:pt idx="5667">
                        <c:v>0</c:v>
                      </c:pt>
                      <c:pt idx="5668">
                        <c:v>0</c:v>
                      </c:pt>
                      <c:pt idx="5669">
                        <c:v>0</c:v>
                      </c:pt>
                      <c:pt idx="5670">
                        <c:v>0</c:v>
                      </c:pt>
                      <c:pt idx="5671">
                        <c:v>0</c:v>
                      </c:pt>
                      <c:pt idx="5672">
                        <c:v>0</c:v>
                      </c:pt>
                      <c:pt idx="5673">
                        <c:v>0</c:v>
                      </c:pt>
                      <c:pt idx="5674">
                        <c:v>0</c:v>
                      </c:pt>
                      <c:pt idx="5675">
                        <c:v>0</c:v>
                      </c:pt>
                      <c:pt idx="5676">
                        <c:v>0</c:v>
                      </c:pt>
                      <c:pt idx="5677">
                        <c:v>0</c:v>
                      </c:pt>
                      <c:pt idx="5678">
                        <c:v>0</c:v>
                      </c:pt>
                      <c:pt idx="5679">
                        <c:v>0</c:v>
                      </c:pt>
                      <c:pt idx="5680">
                        <c:v>0</c:v>
                      </c:pt>
                      <c:pt idx="5681">
                        <c:v>0</c:v>
                      </c:pt>
                      <c:pt idx="5682">
                        <c:v>0</c:v>
                      </c:pt>
                      <c:pt idx="5683">
                        <c:v>0</c:v>
                      </c:pt>
                      <c:pt idx="5684">
                        <c:v>0</c:v>
                      </c:pt>
                      <c:pt idx="5685">
                        <c:v>0</c:v>
                      </c:pt>
                      <c:pt idx="5686">
                        <c:v>0</c:v>
                      </c:pt>
                      <c:pt idx="5687">
                        <c:v>0</c:v>
                      </c:pt>
                      <c:pt idx="5688">
                        <c:v>0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0</c:v>
                      </c:pt>
                      <c:pt idx="5699">
                        <c:v>0</c:v>
                      </c:pt>
                      <c:pt idx="5700">
                        <c:v>0</c:v>
                      </c:pt>
                      <c:pt idx="5701">
                        <c:v>0</c:v>
                      </c:pt>
                      <c:pt idx="5702">
                        <c:v>0</c:v>
                      </c:pt>
                      <c:pt idx="5703">
                        <c:v>0</c:v>
                      </c:pt>
                      <c:pt idx="5704">
                        <c:v>0</c:v>
                      </c:pt>
                      <c:pt idx="5705">
                        <c:v>0</c:v>
                      </c:pt>
                      <c:pt idx="5706">
                        <c:v>0</c:v>
                      </c:pt>
                      <c:pt idx="5707">
                        <c:v>0</c:v>
                      </c:pt>
                      <c:pt idx="5708">
                        <c:v>0</c:v>
                      </c:pt>
                      <c:pt idx="5709">
                        <c:v>0</c:v>
                      </c:pt>
                      <c:pt idx="5710">
                        <c:v>0</c:v>
                      </c:pt>
                      <c:pt idx="5711">
                        <c:v>0</c:v>
                      </c:pt>
                      <c:pt idx="5712">
                        <c:v>0</c:v>
                      </c:pt>
                      <c:pt idx="5713">
                        <c:v>0</c:v>
                      </c:pt>
                      <c:pt idx="5714">
                        <c:v>0</c:v>
                      </c:pt>
                      <c:pt idx="5715">
                        <c:v>0</c:v>
                      </c:pt>
                      <c:pt idx="5716">
                        <c:v>0</c:v>
                      </c:pt>
                      <c:pt idx="5717">
                        <c:v>0</c:v>
                      </c:pt>
                      <c:pt idx="5718">
                        <c:v>0</c:v>
                      </c:pt>
                      <c:pt idx="5719">
                        <c:v>0</c:v>
                      </c:pt>
                      <c:pt idx="5720">
                        <c:v>0</c:v>
                      </c:pt>
                      <c:pt idx="5721">
                        <c:v>0</c:v>
                      </c:pt>
                      <c:pt idx="5722">
                        <c:v>0</c:v>
                      </c:pt>
                      <c:pt idx="5723">
                        <c:v>0</c:v>
                      </c:pt>
                      <c:pt idx="5724">
                        <c:v>0</c:v>
                      </c:pt>
                      <c:pt idx="5725">
                        <c:v>0</c:v>
                      </c:pt>
                      <c:pt idx="5726">
                        <c:v>0</c:v>
                      </c:pt>
                      <c:pt idx="5727">
                        <c:v>0</c:v>
                      </c:pt>
                      <c:pt idx="5728">
                        <c:v>0</c:v>
                      </c:pt>
                      <c:pt idx="5729">
                        <c:v>0</c:v>
                      </c:pt>
                      <c:pt idx="5730">
                        <c:v>0</c:v>
                      </c:pt>
                      <c:pt idx="5731">
                        <c:v>0</c:v>
                      </c:pt>
                      <c:pt idx="5732">
                        <c:v>0</c:v>
                      </c:pt>
                      <c:pt idx="5733">
                        <c:v>0</c:v>
                      </c:pt>
                      <c:pt idx="5734">
                        <c:v>0</c:v>
                      </c:pt>
                      <c:pt idx="5735">
                        <c:v>0</c:v>
                      </c:pt>
                      <c:pt idx="5736">
                        <c:v>0</c:v>
                      </c:pt>
                      <c:pt idx="5737">
                        <c:v>0</c:v>
                      </c:pt>
                      <c:pt idx="5738">
                        <c:v>0</c:v>
                      </c:pt>
                      <c:pt idx="5739">
                        <c:v>0</c:v>
                      </c:pt>
                      <c:pt idx="5740">
                        <c:v>0</c:v>
                      </c:pt>
                      <c:pt idx="5741">
                        <c:v>0</c:v>
                      </c:pt>
                      <c:pt idx="5742">
                        <c:v>0</c:v>
                      </c:pt>
                      <c:pt idx="5743">
                        <c:v>0</c:v>
                      </c:pt>
                      <c:pt idx="5744">
                        <c:v>0</c:v>
                      </c:pt>
                      <c:pt idx="5745">
                        <c:v>0</c:v>
                      </c:pt>
                      <c:pt idx="5746">
                        <c:v>0</c:v>
                      </c:pt>
                      <c:pt idx="5747">
                        <c:v>0</c:v>
                      </c:pt>
                      <c:pt idx="5748">
                        <c:v>0</c:v>
                      </c:pt>
                      <c:pt idx="5749">
                        <c:v>0</c:v>
                      </c:pt>
                      <c:pt idx="5750">
                        <c:v>0</c:v>
                      </c:pt>
                      <c:pt idx="5751">
                        <c:v>0</c:v>
                      </c:pt>
                      <c:pt idx="5752">
                        <c:v>0</c:v>
                      </c:pt>
                      <c:pt idx="5753">
                        <c:v>0</c:v>
                      </c:pt>
                      <c:pt idx="5754">
                        <c:v>0</c:v>
                      </c:pt>
                      <c:pt idx="5755">
                        <c:v>0</c:v>
                      </c:pt>
                      <c:pt idx="5756">
                        <c:v>0</c:v>
                      </c:pt>
                      <c:pt idx="5757">
                        <c:v>0</c:v>
                      </c:pt>
                      <c:pt idx="5758">
                        <c:v>0</c:v>
                      </c:pt>
                      <c:pt idx="5759">
                        <c:v>0</c:v>
                      </c:pt>
                      <c:pt idx="5760">
                        <c:v>0</c:v>
                      </c:pt>
                      <c:pt idx="5761">
                        <c:v>0</c:v>
                      </c:pt>
                      <c:pt idx="5762">
                        <c:v>0</c:v>
                      </c:pt>
                      <c:pt idx="5763">
                        <c:v>0</c:v>
                      </c:pt>
                      <c:pt idx="5764">
                        <c:v>0</c:v>
                      </c:pt>
                      <c:pt idx="5765">
                        <c:v>0</c:v>
                      </c:pt>
                      <c:pt idx="5766">
                        <c:v>0</c:v>
                      </c:pt>
                      <c:pt idx="5767">
                        <c:v>0</c:v>
                      </c:pt>
                      <c:pt idx="5768">
                        <c:v>0</c:v>
                      </c:pt>
                      <c:pt idx="5769">
                        <c:v>0</c:v>
                      </c:pt>
                      <c:pt idx="5770">
                        <c:v>0</c:v>
                      </c:pt>
                      <c:pt idx="5771">
                        <c:v>0</c:v>
                      </c:pt>
                      <c:pt idx="5772">
                        <c:v>0</c:v>
                      </c:pt>
                      <c:pt idx="5773">
                        <c:v>0</c:v>
                      </c:pt>
                      <c:pt idx="5774">
                        <c:v>0</c:v>
                      </c:pt>
                      <c:pt idx="5775">
                        <c:v>0</c:v>
                      </c:pt>
                      <c:pt idx="5776">
                        <c:v>0</c:v>
                      </c:pt>
                      <c:pt idx="5777">
                        <c:v>0</c:v>
                      </c:pt>
                      <c:pt idx="5778">
                        <c:v>0</c:v>
                      </c:pt>
                      <c:pt idx="5779">
                        <c:v>0</c:v>
                      </c:pt>
                      <c:pt idx="5780">
                        <c:v>0</c:v>
                      </c:pt>
                      <c:pt idx="5781">
                        <c:v>0</c:v>
                      </c:pt>
                      <c:pt idx="5782">
                        <c:v>0</c:v>
                      </c:pt>
                      <c:pt idx="5783">
                        <c:v>0</c:v>
                      </c:pt>
                      <c:pt idx="5784">
                        <c:v>0</c:v>
                      </c:pt>
                      <c:pt idx="5785">
                        <c:v>0</c:v>
                      </c:pt>
                      <c:pt idx="5786">
                        <c:v>0</c:v>
                      </c:pt>
                      <c:pt idx="5787">
                        <c:v>0</c:v>
                      </c:pt>
                      <c:pt idx="5788">
                        <c:v>0</c:v>
                      </c:pt>
                      <c:pt idx="5789">
                        <c:v>0</c:v>
                      </c:pt>
                      <c:pt idx="5790">
                        <c:v>0</c:v>
                      </c:pt>
                      <c:pt idx="5791">
                        <c:v>0</c:v>
                      </c:pt>
                      <c:pt idx="5792">
                        <c:v>0</c:v>
                      </c:pt>
                      <c:pt idx="5793">
                        <c:v>0</c:v>
                      </c:pt>
                      <c:pt idx="5794">
                        <c:v>0</c:v>
                      </c:pt>
                      <c:pt idx="5795">
                        <c:v>0</c:v>
                      </c:pt>
                      <c:pt idx="5796">
                        <c:v>0</c:v>
                      </c:pt>
                      <c:pt idx="5797">
                        <c:v>0</c:v>
                      </c:pt>
                      <c:pt idx="5798">
                        <c:v>0</c:v>
                      </c:pt>
                      <c:pt idx="5799">
                        <c:v>0</c:v>
                      </c:pt>
                      <c:pt idx="5800">
                        <c:v>0</c:v>
                      </c:pt>
                      <c:pt idx="5801">
                        <c:v>0</c:v>
                      </c:pt>
                      <c:pt idx="5802">
                        <c:v>0</c:v>
                      </c:pt>
                      <c:pt idx="5803">
                        <c:v>0</c:v>
                      </c:pt>
                      <c:pt idx="5804">
                        <c:v>0</c:v>
                      </c:pt>
                      <c:pt idx="5805">
                        <c:v>0</c:v>
                      </c:pt>
                      <c:pt idx="5806">
                        <c:v>0</c:v>
                      </c:pt>
                      <c:pt idx="5807">
                        <c:v>0</c:v>
                      </c:pt>
                      <c:pt idx="5808">
                        <c:v>0</c:v>
                      </c:pt>
                      <c:pt idx="5809">
                        <c:v>0</c:v>
                      </c:pt>
                      <c:pt idx="5810">
                        <c:v>0</c:v>
                      </c:pt>
                      <c:pt idx="5811">
                        <c:v>0</c:v>
                      </c:pt>
                      <c:pt idx="5812">
                        <c:v>0</c:v>
                      </c:pt>
                      <c:pt idx="5813">
                        <c:v>0</c:v>
                      </c:pt>
                      <c:pt idx="5814">
                        <c:v>0</c:v>
                      </c:pt>
                      <c:pt idx="5815">
                        <c:v>0</c:v>
                      </c:pt>
                      <c:pt idx="5816">
                        <c:v>0</c:v>
                      </c:pt>
                      <c:pt idx="5817">
                        <c:v>0</c:v>
                      </c:pt>
                      <c:pt idx="5818">
                        <c:v>0</c:v>
                      </c:pt>
                      <c:pt idx="5819">
                        <c:v>0</c:v>
                      </c:pt>
                      <c:pt idx="5820">
                        <c:v>0</c:v>
                      </c:pt>
                      <c:pt idx="5821">
                        <c:v>0</c:v>
                      </c:pt>
                      <c:pt idx="5822">
                        <c:v>0</c:v>
                      </c:pt>
                      <c:pt idx="5823">
                        <c:v>0</c:v>
                      </c:pt>
                      <c:pt idx="5824">
                        <c:v>0</c:v>
                      </c:pt>
                      <c:pt idx="5825">
                        <c:v>0</c:v>
                      </c:pt>
                      <c:pt idx="5826">
                        <c:v>0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</c:v>
                      </c:pt>
                      <c:pt idx="5833">
                        <c:v>0</c:v>
                      </c:pt>
                      <c:pt idx="5834">
                        <c:v>0</c:v>
                      </c:pt>
                      <c:pt idx="5835">
                        <c:v>0</c:v>
                      </c:pt>
                      <c:pt idx="5836">
                        <c:v>0</c:v>
                      </c:pt>
                      <c:pt idx="5837">
                        <c:v>0</c:v>
                      </c:pt>
                      <c:pt idx="5838">
                        <c:v>0</c:v>
                      </c:pt>
                      <c:pt idx="5839">
                        <c:v>0</c:v>
                      </c:pt>
                      <c:pt idx="5840">
                        <c:v>0</c:v>
                      </c:pt>
                      <c:pt idx="5841">
                        <c:v>0</c:v>
                      </c:pt>
                      <c:pt idx="5842">
                        <c:v>0</c:v>
                      </c:pt>
                      <c:pt idx="5843">
                        <c:v>0</c:v>
                      </c:pt>
                      <c:pt idx="5844">
                        <c:v>0</c:v>
                      </c:pt>
                      <c:pt idx="5845">
                        <c:v>0</c:v>
                      </c:pt>
                      <c:pt idx="5846">
                        <c:v>0</c:v>
                      </c:pt>
                      <c:pt idx="5847">
                        <c:v>0</c:v>
                      </c:pt>
                      <c:pt idx="5848">
                        <c:v>0</c:v>
                      </c:pt>
                      <c:pt idx="5849">
                        <c:v>0</c:v>
                      </c:pt>
                      <c:pt idx="5850">
                        <c:v>0</c:v>
                      </c:pt>
                      <c:pt idx="5851">
                        <c:v>0</c:v>
                      </c:pt>
                      <c:pt idx="5852">
                        <c:v>0</c:v>
                      </c:pt>
                      <c:pt idx="5853">
                        <c:v>0</c:v>
                      </c:pt>
                      <c:pt idx="5854">
                        <c:v>0</c:v>
                      </c:pt>
                      <c:pt idx="5855">
                        <c:v>0</c:v>
                      </c:pt>
                      <c:pt idx="5856">
                        <c:v>0</c:v>
                      </c:pt>
                      <c:pt idx="5857">
                        <c:v>0</c:v>
                      </c:pt>
                      <c:pt idx="5858">
                        <c:v>0</c:v>
                      </c:pt>
                      <c:pt idx="5859">
                        <c:v>0</c:v>
                      </c:pt>
                      <c:pt idx="5860">
                        <c:v>0</c:v>
                      </c:pt>
                      <c:pt idx="5861">
                        <c:v>0</c:v>
                      </c:pt>
                      <c:pt idx="5862">
                        <c:v>0</c:v>
                      </c:pt>
                      <c:pt idx="5863">
                        <c:v>0</c:v>
                      </c:pt>
                      <c:pt idx="5864">
                        <c:v>0</c:v>
                      </c:pt>
                      <c:pt idx="5865">
                        <c:v>0</c:v>
                      </c:pt>
                      <c:pt idx="5866">
                        <c:v>0</c:v>
                      </c:pt>
                      <c:pt idx="5867">
                        <c:v>0</c:v>
                      </c:pt>
                      <c:pt idx="5868">
                        <c:v>0</c:v>
                      </c:pt>
                      <c:pt idx="5869">
                        <c:v>0</c:v>
                      </c:pt>
                      <c:pt idx="5870">
                        <c:v>0</c:v>
                      </c:pt>
                      <c:pt idx="5871">
                        <c:v>0</c:v>
                      </c:pt>
                      <c:pt idx="5872">
                        <c:v>0</c:v>
                      </c:pt>
                      <c:pt idx="5873">
                        <c:v>0</c:v>
                      </c:pt>
                      <c:pt idx="5874">
                        <c:v>0</c:v>
                      </c:pt>
                      <c:pt idx="5875">
                        <c:v>0</c:v>
                      </c:pt>
                      <c:pt idx="5876">
                        <c:v>0</c:v>
                      </c:pt>
                      <c:pt idx="5877">
                        <c:v>0</c:v>
                      </c:pt>
                      <c:pt idx="5878">
                        <c:v>0</c:v>
                      </c:pt>
                      <c:pt idx="5879">
                        <c:v>0</c:v>
                      </c:pt>
                      <c:pt idx="5880">
                        <c:v>0</c:v>
                      </c:pt>
                      <c:pt idx="5881">
                        <c:v>0</c:v>
                      </c:pt>
                      <c:pt idx="5882">
                        <c:v>0</c:v>
                      </c:pt>
                      <c:pt idx="5883">
                        <c:v>0</c:v>
                      </c:pt>
                      <c:pt idx="5884">
                        <c:v>0</c:v>
                      </c:pt>
                      <c:pt idx="5885">
                        <c:v>0</c:v>
                      </c:pt>
                      <c:pt idx="5886">
                        <c:v>0</c:v>
                      </c:pt>
                      <c:pt idx="5887">
                        <c:v>0</c:v>
                      </c:pt>
                      <c:pt idx="5888">
                        <c:v>0</c:v>
                      </c:pt>
                      <c:pt idx="5889">
                        <c:v>0</c:v>
                      </c:pt>
                      <c:pt idx="5890">
                        <c:v>0</c:v>
                      </c:pt>
                      <c:pt idx="5891">
                        <c:v>0</c:v>
                      </c:pt>
                      <c:pt idx="5892">
                        <c:v>0</c:v>
                      </c:pt>
                      <c:pt idx="5893">
                        <c:v>0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0</c:v>
                      </c:pt>
                      <c:pt idx="5898">
                        <c:v>0</c:v>
                      </c:pt>
                      <c:pt idx="5899">
                        <c:v>0</c:v>
                      </c:pt>
                      <c:pt idx="5900">
                        <c:v>0</c:v>
                      </c:pt>
                      <c:pt idx="5901">
                        <c:v>0</c:v>
                      </c:pt>
                      <c:pt idx="5902">
                        <c:v>0</c:v>
                      </c:pt>
                      <c:pt idx="5903">
                        <c:v>0</c:v>
                      </c:pt>
                      <c:pt idx="5904">
                        <c:v>0</c:v>
                      </c:pt>
                      <c:pt idx="5905">
                        <c:v>0</c:v>
                      </c:pt>
                      <c:pt idx="5906">
                        <c:v>0</c:v>
                      </c:pt>
                      <c:pt idx="5907">
                        <c:v>0</c:v>
                      </c:pt>
                      <c:pt idx="5908">
                        <c:v>0</c:v>
                      </c:pt>
                      <c:pt idx="5909">
                        <c:v>0</c:v>
                      </c:pt>
                      <c:pt idx="5910">
                        <c:v>0</c:v>
                      </c:pt>
                      <c:pt idx="5911">
                        <c:v>0</c:v>
                      </c:pt>
                      <c:pt idx="5912">
                        <c:v>0</c:v>
                      </c:pt>
                      <c:pt idx="5913">
                        <c:v>0</c:v>
                      </c:pt>
                      <c:pt idx="5914">
                        <c:v>0</c:v>
                      </c:pt>
                      <c:pt idx="5915">
                        <c:v>0</c:v>
                      </c:pt>
                      <c:pt idx="5916">
                        <c:v>0</c:v>
                      </c:pt>
                      <c:pt idx="5917">
                        <c:v>0</c:v>
                      </c:pt>
                      <c:pt idx="5918">
                        <c:v>0</c:v>
                      </c:pt>
                      <c:pt idx="5919">
                        <c:v>0</c:v>
                      </c:pt>
                      <c:pt idx="5920">
                        <c:v>0</c:v>
                      </c:pt>
                      <c:pt idx="5921">
                        <c:v>0</c:v>
                      </c:pt>
                      <c:pt idx="5922">
                        <c:v>0</c:v>
                      </c:pt>
                      <c:pt idx="5923">
                        <c:v>0</c:v>
                      </c:pt>
                      <c:pt idx="5924">
                        <c:v>0</c:v>
                      </c:pt>
                      <c:pt idx="5925">
                        <c:v>0</c:v>
                      </c:pt>
                      <c:pt idx="5926">
                        <c:v>0</c:v>
                      </c:pt>
                      <c:pt idx="5927">
                        <c:v>0</c:v>
                      </c:pt>
                      <c:pt idx="5928">
                        <c:v>0</c:v>
                      </c:pt>
                      <c:pt idx="5929">
                        <c:v>0</c:v>
                      </c:pt>
                      <c:pt idx="5930">
                        <c:v>0</c:v>
                      </c:pt>
                      <c:pt idx="5931">
                        <c:v>0</c:v>
                      </c:pt>
                      <c:pt idx="5932">
                        <c:v>0</c:v>
                      </c:pt>
                      <c:pt idx="5933">
                        <c:v>0</c:v>
                      </c:pt>
                      <c:pt idx="5934">
                        <c:v>0</c:v>
                      </c:pt>
                      <c:pt idx="5935">
                        <c:v>0</c:v>
                      </c:pt>
                      <c:pt idx="5936">
                        <c:v>0</c:v>
                      </c:pt>
                      <c:pt idx="5937">
                        <c:v>0</c:v>
                      </c:pt>
                      <c:pt idx="5938">
                        <c:v>0</c:v>
                      </c:pt>
                      <c:pt idx="5939">
                        <c:v>0</c:v>
                      </c:pt>
                      <c:pt idx="5940">
                        <c:v>0</c:v>
                      </c:pt>
                      <c:pt idx="5941">
                        <c:v>0</c:v>
                      </c:pt>
                      <c:pt idx="5942">
                        <c:v>0</c:v>
                      </c:pt>
                      <c:pt idx="5943">
                        <c:v>0</c:v>
                      </c:pt>
                      <c:pt idx="5944">
                        <c:v>0</c:v>
                      </c:pt>
                      <c:pt idx="5945">
                        <c:v>0</c:v>
                      </c:pt>
                      <c:pt idx="5946">
                        <c:v>0</c:v>
                      </c:pt>
                      <c:pt idx="5947">
                        <c:v>0</c:v>
                      </c:pt>
                      <c:pt idx="5948">
                        <c:v>0</c:v>
                      </c:pt>
                      <c:pt idx="5949">
                        <c:v>0</c:v>
                      </c:pt>
                      <c:pt idx="5950">
                        <c:v>0</c:v>
                      </c:pt>
                      <c:pt idx="5951">
                        <c:v>0</c:v>
                      </c:pt>
                      <c:pt idx="5952">
                        <c:v>0</c:v>
                      </c:pt>
                      <c:pt idx="5953">
                        <c:v>0</c:v>
                      </c:pt>
                      <c:pt idx="5954">
                        <c:v>0</c:v>
                      </c:pt>
                      <c:pt idx="5955">
                        <c:v>0</c:v>
                      </c:pt>
                      <c:pt idx="5956">
                        <c:v>0</c:v>
                      </c:pt>
                      <c:pt idx="5957">
                        <c:v>0</c:v>
                      </c:pt>
                      <c:pt idx="5958">
                        <c:v>0</c:v>
                      </c:pt>
                      <c:pt idx="5959">
                        <c:v>0</c:v>
                      </c:pt>
                      <c:pt idx="5960">
                        <c:v>0</c:v>
                      </c:pt>
                      <c:pt idx="5961">
                        <c:v>0</c:v>
                      </c:pt>
                      <c:pt idx="5962">
                        <c:v>0</c:v>
                      </c:pt>
                      <c:pt idx="5963">
                        <c:v>0</c:v>
                      </c:pt>
                      <c:pt idx="5964">
                        <c:v>0</c:v>
                      </c:pt>
                      <c:pt idx="5965">
                        <c:v>0</c:v>
                      </c:pt>
                      <c:pt idx="5966">
                        <c:v>0</c:v>
                      </c:pt>
                      <c:pt idx="5967">
                        <c:v>0</c:v>
                      </c:pt>
                      <c:pt idx="5968">
                        <c:v>0</c:v>
                      </c:pt>
                      <c:pt idx="5969">
                        <c:v>0</c:v>
                      </c:pt>
                      <c:pt idx="5970">
                        <c:v>0</c:v>
                      </c:pt>
                      <c:pt idx="5971">
                        <c:v>0</c:v>
                      </c:pt>
                      <c:pt idx="5972">
                        <c:v>0</c:v>
                      </c:pt>
                      <c:pt idx="5973">
                        <c:v>0</c:v>
                      </c:pt>
                      <c:pt idx="5974">
                        <c:v>0</c:v>
                      </c:pt>
                      <c:pt idx="5975">
                        <c:v>0</c:v>
                      </c:pt>
                      <c:pt idx="5976">
                        <c:v>0</c:v>
                      </c:pt>
                      <c:pt idx="5977">
                        <c:v>0</c:v>
                      </c:pt>
                      <c:pt idx="5978">
                        <c:v>0</c:v>
                      </c:pt>
                      <c:pt idx="5979">
                        <c:v>0</c:v>
                      </c:pt>
                      <c:pt idx="5980">
                        <c:v>0</c:v>
                      </c:pt>
                      <c:pt idx="5981">
                        <c:v>0</c:v>
                      </c:pt>
                      <c:pt idx="5982">
                        <c:v>0</c:v>
                      </c:pt>
                      <c:pt idx="5983">
                        <c:v>0</c:v>
                      </c:pt>
                      <c:pt idx="5984">
                        <c:v>0</c:v>
                      </c:pt>
                      <c:pt idx="5985">
                        <c:v>0</c:v>
                      </c:pt>
                      <c:pt idx="5986">
                        <c:v>0</c:v>
                      </c:pt>
                      <c:pt idx="5987">
                        <c:v>0</c:v>
                      </c:pt>
                      <c:pt idx="5988">
                        <c:v>0</c:v>
                      </c:pt>
                      <c:pt idx="5989">
                        <c:v>0</c:v>
                      </c:pt>
                      <c:pt idx="5990">
                        <c:v>0</c:v>
                      </c:pt>
                      <c:pt idx="5991">
                        <c:v>0</c:v>
                      </c:pt>
                      <c:pt idx="5992">
                        <c:v>0</c:v>
                      </c:pt>
                      <c:pt idx="5993">
                        <c:v>0</c:v>
                      </c:pt>
                      <c:pt idx="5994">
                        <c:v>0</c:v>
                      </c:pt>
                      <c:pt idx="5995">
                        <c:v>0</c:v>
                      </c:pt>
                      <c:pt idx="5996">
                        <c:v>0</c:v>
                      </c:pt>
                      <c:pt idx="5997">
                        <c:v>0</c:v>
                      </c:pt>
                      <c:pt idx="5998">
                        <c:v>0</c:v>
                      </c:pt>
                      <c:pt idx="5999">
                        <c:v>0</c:v>
                      </c:pt>
                      <c:pt idx="6000">
                        <c:v>0</c:v>
                      </c:pt>
                      <c:pt idx="6001">
                        <c:v>0</c:v>
                      </c:pt>
                      <c:pt idx="6002">
                        <c:v>0</c:v>
                      </c:pt>
                      <c:pt idx="6003">
                        <c:v>0</c:v>
                      </c:pt>
                      <c:pt idx="6004">
                        <c:v>0</c:v>
                      </c:pt>
                      <c:pt idx="6005">
                        <c:v>0</c:v>
                      </c:pt>
                      <c:pt idx="6006">
                        <c:v>0</c:v>
                      </c:pt>
                      <c:pt idx="6007">
                        <c:v>0</c:v>
                      </c:pt>
                      <c:pt idx="6008">
                        <c:v>0</c:v>
                      </c:pt>
                      <c:pt idx="6009">
                        <c:v>0</c:v>
                      </c:pt>
                      <c:pt idx="6010">
                        <c:v>0</c:v>
                      </c:pt>
                      <c:pt idx="6011">
                        <c:v>0</c:v>
                      </c:pt>
                      <c:pt idx="6012">
                        <c:v>0</c:v>
                      </c:pt>
                      <c:pt idx="6013">
                        <c:v>0</c:v>
                      </c:pt>
                      <c:pt idx="6014">
                        <c:v>0</c:v>
                      </c:pt>
                      <c:pt idx="6015">
                        <c:v>0</c:v>
                      </c:pt>
                      <c:pt idx="6016">
                        <c:v>0</c:v>
                      </c:pt>
                      <c:pt idx="6017">
                        <c:v>0</c:v>
                      </c:pt>
                      <c:pt idx="6018">
                        <c:v>0</c:v>
                      </c:pt>
                      <c:pt idx="6019">
                        <c:v>0</c:v>
                      </c:pt>
                      <c:pt idx="6020">
                        <c:v>0</c:v>
                      </c:pt>
                      <c:pt idx="6021">
                        <c:v>0</c:v>
                      </c:pt>
                      <c:pt idx="6022">
                        <c:v>0</c:v>
                      </c:pt>
                      <c:pt idx="6023">
                        <c:v>0</c:v>
                      </c:pt>
                      <c:pt idx="6024">
                        <c:v>0</c:v>
                      </c:pt>
                      <c:pt idx="6025">
                        <c:v>0</c:v>
                      </c:pt>
                      <c:pt idx="6026">
                        <c:v>0</c:v>
                      </c:pt>
                      <c:pt idx="6027">
                        <c:v>0</c:v>
                      </c:pt>
                      <c:pt idx="6028">
                        <c:v>0</c:v>
                      </c:pt>
                      <c:pt idx="6029">
                        <c:v>0</c:v>
                      </c:pt>
                      <c:pt idx="6030">
                        <c:v>0</c:v>
                      </c:pt>
                      <c:pt idx="6031">
                        <c:v>0</c:v>
                      </c:pt>
                      <c:pt idx="6032">
                        <c:v>0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0</c:v>
                      </c:pt>
                      <c:pt idx="6055">
                        <c:v>0</c:v>
                      </c:pt>
                      <c:pt idx="6056">
                        <c:v>0</c:v>
                      </c:pt>
                      <c:pt idx="6057">
                        <c:v>0</c:v>
                      </c:pt>
                      <c:pt idx="6058">
                        <c:v>0</c:v>
                      </c:pt>
                      <c:pt idx="6059">
                        <c:v>0</c:v>
                      </c:pt>
                      <c:pt idx="6060">
                        <c:v>0</c:v>
                      </c:pt>
                      <c:pt idx="6061">
                        <c:v>0</c:v>
                      </c:pt>
                      <c:pt idx="6062">
                        <c:v>0</c:v>
                      </c:pt>
                      <c:pt idx="6063">
                        <c:v>0</c:v>
                      </c:pt>
                      <c:pt idx="6064">
                        <c:v>0</c:v>
                      </c:pt>
                      <c:pt idx="6065">
                        <c:v>0</c:v>
                      </c:pt>
                      <c:pt idx="6066">
                        <c:v>0</c:v>
                      </c:pt>
                      <c:pt idx="6067">
                        <c:v>0</c:v>
                      </c:pt>
                      <c:pt idx="6068">
                        <c:v>0</c:v>
                      </c:pt>
                      <c:pt idx="6069">
                        <c:v>0</c:v>
                      </c:pt>
                      <c:pt idx="6070">
                        <c:v>0</c:v>
                      </c:pt>
                      <c:pt idx="6071">
                        <c:v>0</c:v>
                      </c:pt>
                      <c:pt idx="6072">
                        <c:v>0</c:v>
                      </c:pt>
                      <c:pt idx="6073">
                        <c:v>0</c:v>
                      </c:pt>
                      <c:pt idx="6074">
                        <c:v>0</c:v>
                      </c:pt>
                      <c:pt idx="6075">
                        <c:v>0</c:v>
                      </c:pt>
                      <c:pt idx="6076">
                        <c:v>0</c:v>
                      </c:pt>
                      <c:pt idx="6077">
                        <c:v>0</c:v>
                      </c:pt>
                      <c:pt idx="6078">
                        <c:v>0</c:v>
                      </c:pt>
                      <c:pt idx="6079">
                        <c:v>0</c:v>
                      </c:pt>
                      <c:pt idx="6080">
                        <c:v>0</c:v>
                      </c:pt>
                      <c:pt idx="6081">
                        <c:v>0</c:v>
                      </c:pt>
                      <c:pt idx="6082">
                        <c:v>0</c:v>
                      </c:pt>
                      <c:pt idx="6083">
                        <c:v>0</c:v>
                      </c:pt>
                      <c:pt idx="6084">
                        <c:v>0</c:v>
                      </c:pt>
                      <c:pt idx="6085">
                        <c:v>0</c:v>
                      </c:pt>
                      <c:pt idx="6086">
                        <c:v>0</c:v>
                      </c:pt>
                      <c:pt idx="6087">
                        <c:v>0</c:v>
                      </c:pt>
                      <c:pt idx="6088">
                        <c:v>0</c:v>
                      </c:pt>
                      <c:pt idx="6089">
                        <c:v>0</c:v>
                      </c:pt>
                      <c:pt idx="6090">
                        <c:v>0</c:v>
                      </c:pt>
                      <c:pt idx="6091">
                        <c:v>0</c:v>
                      </c:pt>
                      <c:pt idx="6092">
                        <c:v>0</c:v>
                      </c:pt>
                      <c:pt idx="6093">
                        <c:v>0</c:v>
                      </c:pt>
                      <c:pt idx="6094">
                        <c:v>0</c:v>
                      </c:pt>
                      <c:pt idx="6095">
                        <c:v>0</c:v>
                      </c:pt>
                      <c:pt idx="6096">
                        <c:v>0</c:v>
                      </c:pt>
                      <c:pt idx="6097">
                        <c:v>0</c:v>
                      </c:pt>
                      <c:pt idx="6098">
                        <c:v>0</c:v>
                      </c:pt>
                      <c:pt idx="6099">
                        <c:v>0</c:v>
                      </c:pt>
                      <c:pt idx="6100">
                        <c:v>0</c:v>
                      </c:pt>
                      <c:pt idx="6101">
                        <c:v>0</c:v>
                      </c:pt>
                      <c:pt idx="6102">
                        <c:v>0</c:v>
                      </c:pt>
                      <c:pt idx="6103">
                        <c:v>0</c:v>
                      </c:pt>
                      <c:pt idx="6104">
                        <c:v>0</c:v>
                      </c:pt>
                      <c:pt idx="6105">
                        <c:v>0</c:v>
                      </c:pt>
                      <c:pt idx="6106">
                        <c:v>0</c:v>
                      </c:pt>
                      <c:pt idx="6107">
                        <c:v>0</c:v>
                      </c:pt>
                      <c:pt idx="6108">
                        <c:v>0</c:v>
                      </c:pt>
                      <c:pt idx="6109">
                        <c:v>0</c:v>
                      </c:pt>
                      <c:pt idx="6110">
                        <c:v>0</c:v>
                      </c:pt>
                      <c:pt idx="6111">
                        <c:v>0</c:v>
                      </c:pt>
                      <c:pt idx="6112">
                        <c:v>0</c:v>
                      </c:pt>
                      <c:pt idx="6113">
                        <c:v>0</c:v>
                      </c:pt>
                      <c:pt idx="6114">
                        <c:v>0</c:v>
                      </c:pt>
                      <c:pt idx="6115">
                        <c:v>0</c:v>
                      </c:pt>
                      <c:pt idx="6116">
                        <c:v>0</c:v>
                      </c:pt>
                      <c:pt idx="6117">
                        <c:v>0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0</c:v>
                      </c:pt>
                      <c:pt idx="6125">
                        <c:v>0</c:v>
                      </c:pt>
                      <c:pt idx="6126">
                        <c:v>0</c:v>
                      </c:pt>
                      <c:pt idx="6127">
                        <c:v>0</c:v>
                      </c:pt>
                      <c:pt idx="6128">
                        <c:v>0</c:v>
                      </c:pt>
                      <c:pt idx="6129">
                        <c:v>0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0</c:v>
                      </c:pt>
                      <c:pt idx="6135">
                        <c:v>0</c:v>
                      </c:pt>
                      <c:pt idx="6136">
                        <c:v>0</c:v>
                      </c:pt>
                      <c:pt idx="6137">
                        <c:v>0</c:v>
                      </c:pt>
                      <c:pt idx="6138">
                        <c:v>0</c:v>
                      </c:pt>
                      <c:pt idx="6139">
                        <c:v>0</c:v>
                      </c:pt>
                      <c:pt idx="6140">
                        <c:v>0</c:v>
                      </c:pt>
                      <c:pt idx="6141">
                        <c:v>0</c:v>
                      </c:pt>
                      <c:pt idx="6142">
                        <c:v>0</c:v>
                      </c:pt>
                      <c:pt idx="6143">
                        <c:v>0</c:v>
                      </c:pt>
                      <c:pt idx="6144">
                        <c:v>0</c:v>
                      </c:pt>
                      <c:pt idx="6145">
                        <c:v>0</c:v>
                      </c:pt>
                      <c:pt idx="6146">
                        <c:v>0</c:v>
                      </c:pt>
                      <c:pt idx="6147">
                        <c:v>0</c:v>
                      </c:pt>
                      <c:pt idx="6148">
                        <c:v>0</c:v>
                      </c:pt>
                      <c:pt idx="6149">
                        <c:v>0</c:v>
                      </c:pt>
                      <c:pt idx="6150">
                        <c:v>0</c:v>
                      </c:pt>
                      <c:pt idx="6151">
                        <c:v>0</c:v>
                      </c:pt>
                      <c:pt idx="6152">
                        <c:v>0</c:v>
                      </c:pt>
                      <c:pt idx="6153">
                        <c:v>0</c:v>
                      </c:pt>
                      <c:pt idx="6154">
                        <c:v>0</c:v>
                      </c:pt>
                      <c:pt idx="6155">
                        <c:v>0</c:v>
                      </c:pt>
                      <c:pt idx="6156">
                        <c:v>0</c:v>
                      </c:pt>
                      <c:pt idx="6157">
                        <c:v>0</c:v>
                      </c:pt>
                      <c:pt idx="6158">
                        <c:v>0</c:v>
                      </c:pt>
                      <c:pt idx="6159">
                        <c:v>0</c:v>
                      </c:pt>
                      <c:pt idx="6160">
                        <c:v>0</c:v>
                      </c:pt>
                      <c:pt idx="6161">
                        <c:v>0</c:v>
                      </c:pt>
                      <c:pt idx="6162">
                        <c:v>0</c:v>
                      </c:pt>
                      <c:pt idx="6163">
                        <c:v>0</c:v>
                      </c:pt>
                      <c:pt idx="6164">
                        <c:v>0</c:v>
                      </c:pt>
                      <c:pt idx="6165">
                        <c:v>0</c:v>
                      </c:pt>
                      <c:pt idx="6166">
                        <c:v>0</c:v>
                      </c:pt>
                      <c:pt idx="6167">
                        <c:v>0</c:v>
                      </c:pt>
                      <c:pt idx="6168">
                        <c:v>0</c:v>
                      </c:pt>
                      <c:pt idx="6169">
                        <c:v>0</c:v>
                      </c:pt>
                      <c:pt idx="6170">
                        <c:v>0</c:v>
                      </c:pt>
                      <c:pt idx="6171">
                        <c:v>0</c:v>
                      </c:pt>
                      <c:pt idx="6172">
                        <c:v>0</c:v>
                      </c:pt>
                      <c:pt idx="6173">
                        <c:v>0</c:v>
                      </c:pt>
                      <c:pt idx="6174">
                        <c:v>0</c:v>
                      </c:pt>
                      <c:pt idx="6175">
                        <c:v>0</c:v>
                      </c:pt>
                      <c:pt idx="6176">
                        <c:v>0</c:v>
                      </c:pt>
                      <c:pt idx="6177">
                        <c:v>0</c:v>
                      </c:pt>
                      <c:pt idx="6178">
                        <c:v>0</c:v>
                      </c:pt>
                      <c:pt idx="6179">
                        <c:v>0</c:v>
                      </c:pt>
                      <c:pt idx="6180">
                        <c:v>0</c:v>
                      </c:pt>
                      <c:pt idx="6181">
                        <c:v>0</c:v>
                      </c:pt>
                      <c:pt idx="6182">
                        <c:v>0</c:v>
                      </c:pt>
                      <c:pt idx="6183">
                        <c:v>0</c:v>
                      </c:pt>
                      <c:pt idx="6184">
                        <c:v>0</c:v>
                      </c:pt>
                      <c:pt idx="6185">
                        <c:v>0</c:v>
                      </c:pt>
                      <c:pt idx="6186">
                        <c:v>0</c:v>
                      </c:pt>
                      <c:pt idx="6187">
                        <c:v>0</c:v>
                      </c:pt>
                      <c:pt idx="6188">
                        <c:v>0</c:v>
                      </c:pt>
                      <c:pt idx="6189">
                        <c:v>0</c:v>
                      </c:pt>
                      <c:pt idx="6190">
                        <c:v>0</c:v>
                      </c:pt>
                      <c:pt idx="6191">
                        <c:v>0</c:v>
                      </c:pt>
                      <c:pt idx="6192">
                        <c:v>0</c:v>
                      </c:pt>
                      <c:pt idx="6193">
                        <c:v>0</c:v>
                      </c:pt>
                      <c:pt idx="6194">
                        <c:v>0</c:v>
                      </c:pt>
                      <c:pt idx="6195">
                        <c:v>0</c:v>
                      </c:pt>
                      <c:pt idx="6196">
                        <c:v>0</c:v>
                      </c:pt>
                      <c:pt idx="6197">
                        <c:v>0</c:v>
                      </c:pt>
                      <c:pt idx="6198">
                        <c:v>0</c:v>
                      </c:pt>
                      <c:pt idx="6199">
                        <c:v>0</c:v>
                      </c:pt>
                      <c:pt idx="6200">
                        <c:v>0</c:v>
                      </c:pt>
                      <c:pt idx="6201">
                        <c:v>0</c:v>
                      </c:pt>
                      <c:pt idx="6202">
                        <c:v>0</c:v>
                      </c:pt>
                      <c:pt idx="6203">
                        <c:v>0</c:v>
                      </c:pt>
                      <c:pt idx="6204">
                        <c:v>0</c:v>
                      </c:pt>
                      <c:pt idx="6205">
                        <c:v>0</c:v>
                      </c:pt>
                      <c:pt idx="6206">
                        <c:v>0</c:v>
                      </c:pt>
                      <c:pt idx="6207">
                        <c:v>0</c:v>
                      </c:pt>
                      <c:pt idx="6208">
                        <c:v>0</c:v>
                      </c:pt>
                      <c:pt idx="6209">
                        <c:v>0</c:v>
                      </c:pt>
                      <c:pt idx="6210">
                        <c:v>0</c:v>
                      </c:pt>
                      <c:pt idx="6211">
                        <c:v>0</c:v>
                      </c:pt>
                      <c:pt idx="6212">
                        <c:v>0</c:v>
                      </c:pt>
                      <c:pt idx="6213">
                        <c:v>0</c:v>
                      </c:pt>
                      <c:pt idx="6214">
                        <c:v>0</c:v>
                      </c:pt>
                      <c:pt idx="6215">
                        <c:v>0</c:v>
                      </c:pt>
                      <c:pt idx="6216">
                        <c:v>0</c:v>
                      </c:pt>
                      <c:pt idx="6217">
                        <c:v>0</c:v>
                      </c:pt>
                      <c:pt idx="6218">
                        <c:v>0</c:v>
                      </c:pt>
                      <c:pt idx="6219">
                        <c:v>0</c:v>
                      </c:pt>
                      <c:pt idx="6220">
                        <c:v>0</c:v>
                      </c:pt>
                      <c:pt idx="6221">
                        <c:v>0</c:v>
                      </c:pt>
                      <c:pt idx="6222">
                        <c:v>0</c:v>
                      </c:pt>
                      <c:pt idx="6223">
                        <c:v>0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0</c:v>
                      </c:pt>
                      <c:pt idx="6229">
                        <c:v>0</c:v>
                      </c:pt>
                      <c:pt idx="6230">
                        <c:v>0</c:v>
                      </c:pt>
                      <c:pt idx="6231">
                        <c:v>0</c:v>
                      </c:pt>
                      <c:pt idx="6232">
                        <c:v>0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</c:v>
                      </c:pt>
                      <c:pt idx="6252">
                        <c:v>0</c:v>
                      </c:pt>
                      <c:pt idx="6253">
                        <c:v>0</c:v>
                      </c:pt>
                      <c:pt idx="6254">
                        <c:v>0</c:v>
                      </c:pt>
                      <c:pt idx="6255">
                        <c:v>0</c:v>
                      </c:pt>
                      <c:pt idx="6256">
                        <c:v>0</c:v>
                      </c:pt>
                      <c:pt idx="6257">
                        <c:v>0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0</c:v>
                      </c:pt>
                      <c:pt idx="6389">
                        <c:v>0</c:v>
                      </c:pt>
                      <c:pt idx="6390">
                        <c:v>0</c:v>
                      </c:pt>
                      <c:pt idx="6391">
                        <c:v>0</c:v>
                      </c:pt>
                      <c:pt idx="6392">
                        <c:v>0</c:v>
                      </c:pt>
                      <c:pt idx="6393">
                        <c:v>0</c:v>
                      </c:pt>
                      <c:pt idx="6394">
                        <c:v>0</c:v>
                      </c:pt>
                      <c:pt idx="6395">
                        <c:v>0</c:v>
                      </c:pt>
                      <c:pt idx="6396">
                        <c:v>0</c:v>
                      </c:pt>
                      <c:pt idx="6397">
                        <c:v>0</c:v>
                      </c:pt>
                      <c:pt idx="6398">
                        <c:v>0</c:v>
                      </c:pt>
                      <c:pt idx="6399">
                        <c:v>0</c:v>
                      </c:pt>
                      <c:pt idx="6400">
                        <c:v>0</c:v>
                      </c:pt>
                      <c:pt idx="6401">
                        <c:v>0</c:v>
                      </c:pt>
                      <c:pt idx="6402">
                        <c:v>0</c:v>
                      </c:pt>
                      <c:pt idx="6403">
                        <c:v>0</c:v>
                      </c:pt>
                      <c:pt idx="6404">
                        <c:v>0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0</c:v>
                      </c:pt>
                      <c:pt idx="6418">
                        <c:v>0</c:v>
                      </c:pt>
                      <c:pt idx="6419">
                        <c:v>0</c:v>
                      </c:pt>
                      <c:pt idx="6420">
                        <c:v>0</c:v>
                      </c:pt>
                      <c:pt idx="6421">
                        <c:v>0</c:v>
                      </c:pt>
                      <c:pt idx="6422">
                        <c:v>0</c:v>
                      </c:pt>
                      <c:pt idx="6423">
                        <c:v>0</c:v>
                      </c:pt>
                      <c:pt idx="6424">
                        <c:v>0</c:v>
                      </c:pt>
                      <c:pt idx="6425">
                        <c:v>0</c:v>
                      </c:pt>
                      <c:pt idx="6426">
                        <c:v>0</c:v>
                      </c:pt>
                      <c:pt idx="6427">
                        <c:v>0</c:v>
                      </c:pt>
                      <c:pt idx="6428">
                        <c:v>0</c:v>
                      </c:pt>
                      <c:pt idx="6429">
                        <c:v>0</c:v>
                      </c:pt>
                      <c:pt idx="6430">
                        <c:v>0</c:v>
                      </c:pt>
                      <c:pt idx="6431">
                        <c:v>0</c:v>
                      </c:pt>
                      <c:pt idx="6432">
                        <c:v>0</c:v>
                      </c:pt>
                      <c:pt idx="6433">
                        <c:v>0</c:v>
                      </c:pt>
                      <c:pt idx="6434">
                        <c:v>0</c:v>
                      </c:pt>
                      <c:pt idx="6435">
                        <c:v>0</c:v>
                      </c:pt>
                      <c:pt idx="6436">
                        <c:v>0</c:v>
                      </c:pt>
                      <c:pt idx="6437">
                        <c:v>0</c:v>
                      </c:pt>
                      <c:pt idx="6438">
                        <c:v>0</c:v>
                      </c:pt>
                      <c:pt idx="6439">
                        <c:v>0</c:v>
                      </c:pt>
                      <c:pt idx="6440">
                        <c:v>0</c:v>
                      </c:pt>
                      <c:pt idx="6441">
                        <c:v>0</c:v>
                      </c:pt>
                      <c:pt idx="6442">
                        <c:v>0</c:v>
                      </c:pt>
                      <c:pt idx="6443">
                        <c:v>0</c:v>
                      </c:pt>
                      <c:pt idx="6444">
                        <c:v>0</c:v>
                      </c:pt>
                      <c:pt idx="6445">
                        <c:v>0</c:v>
                      </c:pt>
                      <c:pt idx="6446">
                        <c:v>0</c:v>
                      </c:pt>
                      <c:pt idx="6447">
                        <c:v>0</c:v>
                      </c:pt>
                      <c:pt idx="6448">
                        <c:v>0</c:v>
                      </c:pt>
                      <c:pt idx="6449">
                        <c:v>0</c:v>
                      </c:pt>
                      <c:pt idx="6450">
                        <c:v>0</c:v>
                      </c:pt>
                      <c:pt idx="6451">
                        <c:v>0</c:v>
                      </c:pt>
                      <c:pt idx="6452">
                        <c:v>0</c:v>
                      </c:pt>
                      <c:pt idx="6453">
                        <c:v>0</c:v>
                      </c:pt>
                      <c:pt idx="6454">
                        <c:v>0</c:v>
                      </c:pt>
                      <c:pt idx="6455">
                        <c:v>0</c:v>
                      </c:pt>
                      <c:pt idx="6456">
                        <c:v>0</c:v>
                      </c:pt>
                      <c:pt idx="6457">
                        <c:v>0</c:v>
                      </c:pt>
                      <c:pt idx="6458">
                        <c:v>0</c:v>
                      </c:pt>
                      <c:pt idx="6459">
                        <c:v>0</c:v>
                      </c:pt>
                      <c:pt idx="6460">
                        <c:v>0</c:v>
                      </c:pt>
                      <c:pt idx="6461">
                        <c:v>0</c:v>
                      </c:pt>
                      <c:pt idx="6462">
                        <c:v>0</c:v>
                      </c:pt>
                      <c:pt idx="6463">
                        <c:v>0</c:v>
                      </c:pt>
                      <c:pt idx="6464">
                        <c:v>0</c:v>
                      </c:pt>
                      <c:pt idx="6465">
                        <c:v>0</c:v>
                      </c:pt>
                      <c:pt idx="6466">
                        <c:v>0</c:v>
                      </c:pt>
                      <c:pt idx="6467">
                        <c:v>0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0</c:v>
                      </c:pt>
                      <c:pt idx="6483">
                        <c:v>0</c:v>
                      </c:pt>
                      <c:pt idx="6484">
                        <c:v>0</c:v>
                      </c:pt>
                      <c:pt idx="6485">
                        <c:v>0</c:v>
                      </c:pt>
                      <c:pt idx="6486">
                        <c:v>0</c:v>
                      </c:pt>
                      <c:pt idx="6487">
                        <c:v>0</c:v>
                      </c:pt>
                      <c:pt idx="6488">
                        <c:v>0</c:v>
                      </c:pt>
                      <c:pt idx="6489">
                        <c:v>0</c:v>
                      </c:pt>
                      <c:pt idx="6490">
                        <c:v>0</c:v>
                      </c:pt>
                      <c:pt idx="6491">
                        <c:v>0</c:v>
                      </c:pt>
                      <c:pt idx="6492">
                        <c:v>0</c:v>
                      </c:pt>
                      <c:pt idx="6493">
                        <c:v>0</c:v>
                      </c:pt>
                      <c:pt idx="6494">
                        <c:v>0</c:v>
                      </c:pt>
                      <c:pt idx="6495">
                        <c:v>0</c:v>
                      </c:pt>
                      <c:pt idx="6496">
                        <c:v>0</c:v>
                      </c:pt>
                      <c:pt idx="6497">
                        <c:v>0</c:v>
                      </c:pt>
                      <c:pt idx="6498">
                        <c:v>0</c:v>
                      </c:pt>
                      <c:pt idx="6499">
                        <c:v>0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0</c:v>
                      </c:pt>
                      <c:pt idx="6540">
                        <c:v>0</c:v>
                      </c:pt>
                      <c:pt idx="6541">
                        <c:v>0</c:v>
                      </c:pt>
                      <c:pt idx="6542">
                        <c:v>0</c:v>
                      </c:pt>
                      <c:pt idx="6543">
                        <c:v>0</c:v>
                      </c:pt>
                      <c:pt idx="6544">
                        <c:v>0</c:v>
                      </c:pt>
                      <c:pt idx="6545">
                        <c:v>0</c:v>
                      </c:pt>
                      <c:pt idx="6546">
                        <c:v>0</c:v>
                      </c:pt>
                      <c:pt idx="6547">
                        <c:v>0</c:v>
                      </c:pt>
                      <c:pt idx="6548">
                        <c:v>0</c:v>
                      </c:pt>
                      <c:pt idx="6549">
                        <c:v>0</c:v>
                      </c:pt>
                      <c:pt idx="6550">
                        <c:v>0</c:v>
                      </c:pt>
                      <c:pt idx="6551">
                        <c:v>0</c:v>
                      </c:pt>
                      <c:pt idx="6552">
                        <c:v>0</c:v>
                      </c:pt>
                      <c:pt idx="6553">
                        <c:v>0</c:v>
                      </c:pt>
                      <c:pt idx="6554">
                        <c:v>0</c:v>
                      </c:pt>
                      <c:pt idx="6555">
                        <c:v>0</c:v>
                      </c:pt>
                      <c:pt idx="6556">
                        <c:v>0</c:v>
                      </c:pt>
                      <c:pt idx="6557">
                        <c:v>0</c:v>
                      </c:pt>
                      <c:pt idx="6558">
                        <c:v>0</c:v>
                      </c:pt>
                      <c:pt idx="6559">
                        <c:v>0</c:v>
                      </c:pt>
                      <c:pt idx="6560">
                        <c:v>0</c:v>
                      </c:pt>
                      <c:pt idx="6561">
                        <c:v>0</c:v>
                      </c:pt>
                      <c:pt idx="6562">
                        <c:v>0</c:v>
                      </c:pt>
                      <c:pt idx="6563">
                        <c:v>0</c:v>
                      </c:pt>
                      <c:pt idx="6564">
                        <c:v>0</c:v>
                      </c:pt>
                      <c:pt idx="6565">
                        <c:v>0</c:v>
                      </c:pt>
                      <c:pt idx="6566">
                        <c:v>0</c:v>
                      </c:pt>
                      <c:pt idx="6567">
                        <c:v>0</c:v>
                      </c:pt>
                      <c:pt idx="6568">
                        <c:v>0</c:v>
                      </c:pt>
                      <c:pt idx="6569">
                        <c:v>0</c:v>
                      </c:pt>
                      <c:pt idx="6570">
                        <c:v>0</c:v>
                      </c:pt>
                      <c:pt idx="6571">
                        <c:v>0</c:v>
                      </c:pt>
                      <c:pt idx="6572">
                        <c:v>0</c:v>
                      </c:pt>
                      <c:pt idx="6573">
                        <c:v>0</c:v>
                      </c:pt>
                      <c:pt idx="6574">
                        <c:v>0</c:v>
                      </c:pt>
                      <c:pt idx="6575">
                        <c:v>0</c:v>
                      </c:pt>
                      <c:pt idx="6576">
                        <c:v>0</c:v>
                      </c:pt>
                      <c:pt idx="6577">
                        <c:v>0</c:v>
                      </c:pt>
                      <c:pt idx="6578">
                        <c:v>0</c:v>
                      </c:pt>
                      <c:pt idx="6579">
                        <c:v>0</c:v>
                      </c:pt>
                      <c:pt idx="6580">
                        <c:v>0</c:v>
                      </c:pt>
                      <c:pt idx="6581">
                        <c:v>0</c:v>
                      </c:pt>
                      <c:pt idx="6582">
                        <c:v>0</c:v>
                      </c:pt>
                      <c:pt idx="6583">
                        <c:v>0</c:v>
                      </c:pt>
                      <c:pt idx="6584">
                        <c:v>0</c:v>
                      </c:pt>
                      <c:pt idx="6585">
                        <c:v>0</c:v>
                      </c:pt>
                      <c:pt idx="6586">
                        <c:v>0</c:v>
                      </c:pt>
                      <c:pt idx="6587">
                        <c:v>0</c:v>
                      </c:pt>
                      <c:pt idx="6588">
                        <c:v>0</c:v>
                      </c:pt>
                      <c:pt idx="6589">
                        <c:v>0</c:v>
                      </c:pt>
                      <c:pt idx="6590">
                        <c:v>0</c:v>
                      </c:pt>
                      <c:pt idx="6591">
                        <c:v>0</c:v>
                      </c:pt>
                      <c:pt idx="6592">
                        <c:v>0</c:v>
                      </c:pt>
                      <c:pt idx="6593">
                        <c:v>0</c:v>
                      </c:pt>
                      <c:pt idx="6594">
                        <c:v>0</c:v>
                      </c:pt>
                      <c:pt idx="6595">
                        <c:v>0</c:v>
                      </c:pt>
                      <c:pt idx="6596">
                        <c:v>0</c:v>
                      </c:pt>
                      <c:pt idx="6597">
                        <c:v>0</c:v>
                      </c:pt>
                      <c:pt idx="6598">
                        <c:v>0</c:v>
                      </c:pt>
                      <c:pt idx="6599">
                        <c:v>0</c:v>
                      </c:pt>
                      <c:pt idx="6600">
                        <c:v>0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0</c:v>
                      </c:pt>
                      <c:pt idx="6617">
                        <c:v>0</c:v>
                      </c:pt>
                      <c:pt idx="6618">
                        <c:v>0</c:v>
                      </c:pt>
                      <c:pt idx="6619">
                        <c:v>0</c:v>
                      </c:pt>
                      <c:pt idx="6620">
                        <c:v>0</c:v>
                      </c:pt>
                      <c:pt idx="6621">
                        <c:v>0</c:v>
                      </c:pt>
                      <c:pt idx="6622">
                        <c:v>0</c:v>
                      </c:pt>
                      <c:pt idx="6623">
                        <c:v>0</c:v>
                      </c:pt>
                      <c:pt idx="6624">
                        <c:v>0</c:v>
                      </c:pt>
                      <c:pt idx="6625">
                        <c:v>0</c:v>
                      </c:pt>
                      <c:pt idx="6626">
                        <c:v>0</c:v>
                      </c:pt>
                      <c:pt idx="6627">
                        <c:v>0</c:v>
                      </c:pt>
                      <c:pt idx="6628">
                        <c:v>0</c:v>
                      </c:pt>
                      <c:pt idx="6629">
                        <c:v>0</c:v>
                      </c:pt>
                      <c:pt idx="6630">
                        <c:v>0</c:v>
                      </c:pt>
                      <c:pt idx="6631">
                        <c:v>0</c:v>
                      </c:pt>
                      <c:pt idx="6632">
                        <c:v>0</c:v>
                      </c:pt>
                      <c:pt idx="6633">
                        <c:v>0</c:v>
                      </c:pt>
                      <c:pt idx="6634">
                        <c:v>0</c:v>
                      </c:pt>
                      <c:pt idx="6635">
                        <c:v>0</c:v>
                      </c:pt>
                      <c:pt idx="6636">
                        <c:v>0</c:v>
                      </c:pt>
                      <c:pt idx="6637">
                        <c:v>0</c:v>
                      </c:pt>
                      <c:pt idx="6638">
                        <c:v>0</c:v>
                      </c:pt>
                      <c:pt idx="6639">
                        <c:v>0</c:v>
                      </c:pt>
                      <c:pt idx="6640">
                        <c:v>0</c:v>
                      </c:pt>
                      <c:pt idx="6641">
                        <c:v>0</c:v>
                      </c:pt>
                      <c:pt idx="6642">
                        <c:v>0</c:v>
                      </c:pt>
                      <c:pt idx="6643">
                        <c:v>0</c:v>
                      </c:pt>
                      <c:pt idx="6644">
                        <c:v>0</c:v>
                      </c:pt>
                      <c:pt idx="6645">
                        <c:v>0</c:v>
                      </c:pt>
                      <c:pt idx="6646">
                        <c:v>0</c:v>
                      </c:pt>
                      <c:pt idx="6647">
                        <c:v>0</c:v>
                      </c:pt>
                      <c:pt idx="6648">
                        <c:v>0</c:v>
                      </c:pt>
                      <c:pt idx="6649">
                        <c:v>0</c:v>
                      </c:pt>
                      <c:pt idx="6650">
                        <c:v>0</c:v>
                      </c:pt>
                      <c:pt idx="6651">
                        <c:v>0</c:v>
                      </c:pt>
                      <c:pt idx="6652">
                        <c:v>0</c:v>
                      </c:pt>
                      <c:pt idx="6653">
                        <c:v>0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</c:v>
                      </c:pt>
                      <c:pt idx="6664">
                        <c:v>0</c:v>
                      </c:pt>
                      <c:pt idx="6665">
                        <c:v>0</c:v>
                      </c:pt>
                      <c:pt idx="6666">
                        <c:v>0</c:v>
                      </c:pt>
                      <c:pt idx="6667">
                        <c:v>0</c:v>
                      </c:pt>
                      <c:pt idx="6668">
                        <c:v>0</c:v>
                      </c:pt>
                      <c:pt idx="6669">
                        <c:v>0</c:v>
                      </c:pt>
                      <c:pt idx="6670">
                        <c:v>0</c:v>
                      </c:pt>
                      <c:pt idx="6671">
                        <c:v>0</c:v>
                      </c:pt>
                      <c:pt idx="6672">
                        <c:v>0</c:v>
                      </c:pt>
                      <c:pt idx="6673">
                        <c:v>0</c:v>
                      </c:pt>
                      <c:pt idx="6674">
                        <c:v>0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</c:v>
                      </c:pt>
                      <c:pt idx="6696">
                        <c:v>0</c:v>
                      </c:pt>
                      <c:pt idx="6697">
                        <c:v>0</c:v>
                      </c:pt>
                      <c:pt idx="6698">
                        <c:v>0</c:v>
                      </c:pt>
                      <c:pt idx="6699">
                        <c:v>0</c:v>
                      </c:pt>
                      <c:pt idx="6700">
                        <c:v>0</c:v>
                      </c:pt>
                      <c:pt idx="6701">
                        <c:v>0</c:v>
                      </c:pt>
                      <c:pt idx="6702">
                        <c:v>0</c:v>
                      </c:pt>
                      <c:pt idx="6703">
                        <c:v>0</c:v>
                      </c:pt>
                      <c:pt idx="6704">
                        <c:v>0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0</c:v>
                      </c:pt>
                      <c:pt idx="6722">
                        <c:v>0</c:v>
                      </c:pt>
                      <c:pt idx="6723">
                        <c:v>0</c:v>
                      </c:pt>
                      <c:pt idx="6724">
                        <c:v>0</c:v>
                      </c:pt>
                      <c:pt idx="6725">
                        <c:v>0</c:v>
                      </c:pt>
                      <c:pt idx="6726">
                        <c:v>0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</c:v>
                      </c:pt>
                      <c:pt idx="6753">
                        <c:v>0</c:v>
                      </c:pt>
                      <c:pt idx="6754">
                        <c:v>0</c:v>
                      </c:pt>
                      <c:pt idx="6755">
                        <c:v>0</c:v>
                      </c:pt>
                      <c:pt idx="6756">
                        <c:v>0</c:v>
                      </c:pt>
                      <c:pt idx="6757">
                        <c:v>0</c:v>
                      </c:pt>
                      <c:pt idx="6758">
                        <c:v>0</c:v>
                      </c:pt>
                      <c:pt idx="6759">
                        <c:v>0</c:v>
                      </c:pt>
                      <c:pt idx="6760">
                        <c:v>0</c:v>
                      </c:pt>
                      <c:pt idx="6761">
                        <c:v>0</c:v>
                      </c:pt>
                      <c:pt idx="6762">
                        <c:v>0</c:v>
                      </c:pt>
                      <c:pt idx="6763">
                        <c:v>0</c:v>
                      </c:pt>
                      <c:pt idx="6764">
                        <c:v>0</c:v>
                      </c:pt>
                      <c:pt idx="6765">
                        <c:v>0</c:v>
                      </c:pt>
                      <c:pt idx="6766">
                        <c:v>0</c:v>
                      </c:pt>
                      <c:pt idx="6767">
                        <c:v>0</c:v>
                      </c:pt>
                      <c:pt idx="6768">
                        <c:v>0</c:v>
                      </c:pt>
                      <c:pt idx="6769">
                        <c:v>0</c:v>
                      </c:pt>
                      <c:pt idx="6770">
                        <c:v>0</c:v>
                      </c:pt>
                      <c:pt idx="6771">
                        <c:v>0</c:v>
                      </c:pt>
                      <c:pt idx="6772">
                        <c:v>0</c:v>
                      </c:pt>
                      <c:pt idx="6773">
                        <c:v>0</c:v>
                      </c:pt>
                      <c:pt idx="6774">
                        <c:v>0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0</c:v>
                      </c:pt>
                      <c:pt idx="6786">
                        <c:v>0</c:v>
                      </c:pt>
                      <c:pt idx="6787">
                        <c:v>0</c:v>
                      </c:pt>
                      <c:pt idx="6788">
                        <c:v>0</c:v>
                      </c:pt>
                      <c:pt idx="6789">
                        <c:v>0</c:v>
                      </c:pt>
                      <c:pt idx="6790">
                        <c:v>0</c:v>
                      </c:pt>
                      <c:pt idx="6791">
                        <c:v>0</c:v>
                      </c:pt>
                      <c:pt idx="6792">
                        <c:v>0</c:v>
                      </c:pt>
                      <c:pt idx="6793">
                        <c:v>0</c:v>
                      </c:pt>
                      <c:pt idx="6794">
                        <c:v>0</c:v>
                      </c:pt>
                      <c:pt idx="6795">
                        <c:v>0</c:v>
                      </c:pt>
                      <c:pt idx="6796">
                        <c:v>0</c:v>
                      </c:pt>
                      <c:pt idx="6797">
                        <c:v>0</c:v>
                      </c:pt>
                      <c:pt idx="6798">
                        <c:v>0</c:v>
                      </c:pt>
                      <c:pt idx="6799">
                        <c:v>0</c:v>
                      </c:pt>
                      <c:pt idx="6800">
                        <c:v>0</c:v>
                      </c:pt>
                      <c:pt idx="6801">
                        <c:v>0</c:v>
                      </c:pt>
                      <c:pt idx="6802">
                        <c:v>0</c:v>
                      </c:pt>
                      <c:pt idx="6803">
                        <c:v>0</c:v>
                      </c:pt>
                      <c:pt idx="6804">
                        <c:v>0</c:v>
                      </c:pt>
                      <c:pt idx="6805">
                        <c:v>0</c:v>
                      </c:pt>
                      <c:pt idx="6806">
                        <c:v>0</c:v>
                      </c:pt>
                      <c:pt idx="6807">
                        <c:v>0</c:v>
                      </c:pt>
                      <c:pt idx="6808">
                        <c:v>0</c:v>
                      </c:pt>
                      <c:pt idx="6809">
                        <c:v>0</c:v>
                      </c:pt>
                      <c:pt idx="6810">
                        <c:v>0</c:v>
                      </c:pt>
                      <c:pt idx="6811">
                        <c:v>0</c:v>
                      </c:pt>
                      <c:pt idx="6812">
                        <c:v>0</c:v>
                      </c:pt>
                      <c:pt idx="6813">
                        <c:v>0</c:v>
                      </c:pt>
                      <c:pt idx="6814">
                        <c:v>0</c:v>
                      </c:pt>
                      <c:pt idx="6815">
                        <c:v>0</c:v>
                      </c:pt>
                      <c:pt idx="6816">
                        <c:v>0</c:v>
                      </c:pt>
                      <c:pt idx="6817">
                        <c:v>0</c:v>
                      </c:pt>
                      <c:pt idx="6818">
                        <c:v>0</c:v>
                      </c:pt>
                      <c:pt idx="6819">
                        <c:v>0</c:v>
                      </c:pt>
                      <c:pt idx="6820">
                        <c:v>0</c:v>
                      </c:pt>
                      <c:pt idx="6821">
                        <c:v>0</c:v>
                      </c:pt>
                      <c:pt idx="6822">
                        <c:v>0</c:v>
                      </c:pt>
                      <c:pt idx="6823">
                        <c:v>0</c:v>
                      </c:pt>
                      <c:pt idx="6824">
                        <c:v>0</c:v>
                      </c:pt>
                      <c:pt idx="6825">
                        <c:v>0</c:v>
                      </c:pt>
                      <c:pt idx="6826">
                        <c:v>0</c:v>
                      </c:pt>
                      <c:pt idx="6827">
                        <c:v>0</c:v>
                      </c:pt>
                      <c:pt idx="6828">
                        <c:v>0</c:v>
                      </c:pt>
                      <c:pt idx="6829">
                        <c:v>0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0</c:v>
                      </c:pt>
                      <c:pt idx="6846">
                        <c:v>0</c:v>
                      </c:pt>
                      <c:pt idx="6847">
                        <c:v>0</c:v>
                      </c:pt>
                      <c:pt idx="6848">
                        <c:v>0</c:v>
                      </c:pt>
                      <c:pt idx="6849">
                        <c:v>0</c:v>
                      </c:pt>
                      <c:pt idx="6850">
                        <c:v>0</c:v>
                      </c:pt>
                      <c:pt idx="6851">
                        <c:v>0</c:v>
                      </c:pt>
                      <c:pt idx="6852">
                        <c:v>0</c:v>
                      </c:pt>
                      <c:pt idx="6853">
                        <c:v>0</c:v>
                      </c:pt>
                      <c:pt idx="6854">
                        <c:v>0</c:v>
                      </c:pt>
                      <c:pt idx="6855">
                        <c:v>0</c:v>
                      </c:pt>
                      <c:pt idx="6856">
                        <c:v>0</c:v>
                      </c:pt>
                      <c:pt idx="6857">
                        <c:v>0</c:v>
                      </c:pt>
                      <c:pt idx="6858">
                        <c:v>0</c:v>
                      </c:pt>
                      <c:pt idx="6859">
                        <c:v>0</c:v>
                      </c:pt>
                      <c:pt idx="6860">
                        <c:v>0</c:v>
                      </c:pt>
                      <c:pt idx="6861">
                        <c:v>0</c:v>
                      </c:pt>
                      <c:pt idx="6862">
                        <c:v>0</c:v>
                      </c:pt>
                      <c:pt idx="6863">
                        <c:v>0</c:v>
                      </c:pt>
                      <c:pt idx="6864">
                        <c:v>0</c:v>
                      </c:pt>
                      <c:pt idx="6865">
                        <c:v>0</c:v>
                      </c:pt>
                      <c:pt idx="6866">
                        <c:v>0</c:v>
                      </c:pt>
                      <c:pt idx="6867">
                        <c:v>0</c:v>
                      </c:pt>
                      <c:pt idx="6868">
                        <c:v>0</c:v>
                      </c:pt>
                      <c:pt idx="6869">
                        <c:v>0</c:v>
                      </c:pt>
                      <c:pt idx="6870">
                        <c:v>0</c:v>
                      </c:pt>
                      <c:pt idx="6871">
                        <c:v>0</c:v>
                      </c:pt>
                      <c:pt idx="6872">
                        <c:v>0</c:v>
                      </c:pt>
                      <c:pt idx="6873">
                        <c:v>0</c:v>
                      </c:pt>
                      <c:pt idx="6874">
                        <c:v>0</c:v>
                      </c:pt>
                      <c:pt idx="6875">
                        <c:v>0</c:v>
                      </c:pt>
                      <c:pt idx="6876">
                        <c:v>0</c:v>
                      </c:pt>
                      <c:pt idx="6877">
                        <c:v>0</c:v>
                      </c:pt>
                      <c:pt idx="6878">
                        <c:v>0</c:v>
                      </c:pt>
                      <c:pt idx="6879">
                        <c:v>0</c:v>
                      </c:pt>
                      <c:pt idx="6880">
                        <c:v>0</c:v>
                      </c:pt>
                      <c:pt idx="6881">
                        <c:v>0</c:v>
                      </c:pt>
                      <c:pt idx="6882">
                        <c:v>0</c:v>
                      </c:pt>
                      <c:pt idx="6883">
                        <c:v>0</c:v>
                      </c:pt>
                      <c:pt idx="6884">
                        <c:v>0</c:v>
                      </c:pt>
                      <c:pt idx="6885">
                        <c:v>0</c:v>
                      </c:pt>
                      <c:pt idx="6886">
                        <c:v>0</c:v>
                      </c:pt>
                      <c:pt idx="6887">
                        <c:v>0</c:v>
                      </c:pt>
                      <c:pt idx="6888">
                        <c:v>0</c:v>
                      </c:pt>
                      <c:pt idx="6889">
                        <c:v>0</c:v>
                      </c:pt>
                      <c:pt idx="6890">
                        <c:v>0</c:v>
                      </c:pt>
                      <c:pt idx="6891">
                        <c:v>0</c:v>
                      </c:pt>
                      <c:pt idx="6892">
                        <c:v>0</c:v>
                      </c:pt>
                      <c:pt idx="6893">
                        <c:v>0</c:v>
                      </c:pt>
                      <c:pt idx="6894">
                        <c:v>0</c:v>
                      </c:pt>
                      <c:pt idx="6895">
                        <c:v>0</c:v>
                      </c:pt>
                      <c:pt idx="6896">
                        <c:v>0</c:v>
                      </c:pt>
                      <c:pt idx="6897">
                        <c:v>0</c:v>
                      </c:pt>
                      <c:pt idx="6898">
                        <c:v>0</c:v>
                      </c:pt>
                      <c:pt idx="6899">
                        <c:v>0</c:v>
                      </c:pt>
                      <c:pt idx="6900">
                        <c:v>0</c:v>
                      </c:pt>
                      <c:pt idx="6901">
                        <c:v>0</c:v>
                      </c:pt>
                      <c:pt idx="6902">
                        <c:v>0</c:v>
                      </c:pt>
                      <c:pt idx="6903">
                        <c:v>0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</c:v>
                      </c:pt>
                      <c:pt idx="6919">
                        <c:v>0</c:v>
                      </c:pt>
                      <c:pt idx="6920">
                        <c:v>0</c:v>
                      </c:pt>
                      <c:pt idx="6921">
                        <c:v>0</c:v>
                      </c:pt>
                      <c:pt idx="6922">
                        <c:v>0</c:v>
                      </c:pt>
                      <c:pt idx="6923">
                        <c:v>0</c:v>
                      </c:pt>
                      <c:pt idx="6924">
                        <c:v>0</c:v>
                      </c:pt>
                      <c:pt idx="6925">
                        <c:v>0</c:v>
                      </c:pt>
                      <c:pt idx="6926">
                        <c:v>0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0</c:v>
                      </c:pt>
                      <c:pt idx="6949">
                        <c:v>0</c:v>
                      </c:pt>
                      <c:pt idx="6950">
                        <c:v>0</c:v>
                      </c:pt>
                      <c:pt idx="6951">
                        <c:v>0</c:v>
                      </c:pt>
                      <c:pt idx="6952">
                        <c:v>0</c:v>
                      </c:pt>
                      <c:pt idx="6953">
                        <c:v>0</c:v>
                      </c:pt>
                      <c:pt idx="6954">
                        <c:v>0</c:v>
                      </c:pt>
                      <c:pt idx="6955">
                        <c:v>0</c:v>
                      </c:pt>
                      <c:pt idx="6956">
                        <c:v>0</c:v>
                      </c:pt>
                      <c:pt idx="6957">
                        <c:v>0</c:v>
                      </c:pt>
                      <c:pt idx="6958">
                        <c:v>0</c:v>
                      </c:pt>
                      <c:pt idx="6959">
                        <c:v>0</c:v>
                      </c:pt>
                      <c:pt idx="6960">
                        <c:v>0</c:v>
                      </c:pt>
                      <c:pt idx="6961">
                        <c:v>0</c:v>
                      </c:pt>
                      <c:pt idx="6962">
                        <c:v>0</c:v>
                      </c:pt>
                      <c:pt idx="6963">
                        <c:v>0</c:v>
                      </c:pt>
                      <c:pt idx="6964">
                        <c:v>0</c:v>
                      </c:pt>
                      <c:pt idx="6965">
                        <c:v>0</c:v>
                      </c:pt>
                      <c:pt idx="6966">
                        <c:v>0</c:v>
                      </c:pt>
                      <c:pt idx="6967">
                        <c:v>0</c:v>
                      </c:pt>
                      <c:pt idx="6968">
                        <c:v>0</c:v>
                      </c:pt>
                      <c:pt idx="6969">
                        <c:v>0</c:v>
                      </c:pt>
                      <c:pt idx="6970">
                        <c:v>0</c:v>
                      </c:pt>
                      <c:pt idx="6971">
                        <c:v>0</c:v>
                      </c:pt>
                      <c:pt idx="6972">
                        <c:v>0</c:v>
                      </c:pt>
                      <c:pt idx="6973">
                        <c:v>0</c:v>
                      </c:pt>
                      <c:pt idx="6974">
                        <c:v>0</c:v>
                      </c:pt>
                      <c:pt idx="6975">
                        <c:v>0</c:v>
                      </c:pt>
                      <c:pt idx="6976">
                        <c:v>0</c:v>
                      </c:pt>
                      <c:pt idx="6977">
                        <c:v>0</c:v>
                      </c:pt>
                      <c:pt idx="6978">
                        <c:v>0</c:v>
                      </c:pt>
                      <c:pt idx="6979">
                        <c:v>0</c:v>
                      </c:pt>
                      <c:pt idx="6980">
                        <c:v>0</c:v>
                      </c:pt>
                      <c:pt idx="6981">
                        <c:v>0</c:v>
                      </c:pt>
                      <c:pt idx="6982">
                        <c:v>0</c:v>
                      </c:pt>
                      <c:pt idx="6983">
                        <c:v>0</c:v>
                      </c:pt>
                      <c:pt idx="6984">
                        <c:v>0</c:v>
                      </c:pt>
                      <c:pt idx="6985">
                        <c:v>0</c:v>
                      </c:pt>
                      <c:pt idx="6986">
                        <c:v>0</c:v>
                      </c:pt>
                      <c:pt idx="6987">
                        <c:v>0</c:v>
                      </c:pt>
                      <c:pt idx="6988">
                        <c:v>0</c:v>
                      </c:pt>
                      <c:pt idx="6989">
                        <c:v>0</c:v>
                      </c:pt>
                      <c:pt idx="6990">
                        <c:v>0</c:v>
                      </c:pt>
                      <c:pt idx="6991">
                        <c:v>0</c:v>
                      </c:pt>
                      <c:pt idx="6992">
                        <c:v>0</c:v>
                      </c:pt>
                      <c:pt idx="6993">
                        <c:v>0</c:v>
                      </c:pt>
                      <c:pt idx="6994">
                        <c:v>0</c:v>
                      </c:pt>
                      <c:pt idx="6995">
                        <c:v>0</c:v>
                      </c:pt>
                      <c:pt idx="6996">
                        <c:v>0</c:v>
                      </c:pt>
                      <c:pt idx="6997">
                        <c:v>0</c:v>
                      </c:pt>
                      <c:pt idx="6998">
                        <c:v>0</c:v>
                      </c:pt>
                      <c:pt idx="6999">
                        <c:v>0</c:v>
                      </c:pt>
                      <c:pt idx="7000">
                        <c:v>0</c:v>
                      </c:pt>
                      <c:pt idx="7001">
                        <c:v>0</c:v>
                      </c:pt>
                      <c:pt idx="7002">
                        <c:v>0</c:v>
                      </c:pt>
                      <c:pt idx="7003">
                        <c:v>0</c:v>
                      </c:pt>
                      <c:pt idx="7004">
                        <c:v>0</c:v>
                      </c:pt>
                      <c:pt idx="7005">
                        <c:v>0</c:v>
                      </c:pt>
                      <c:pt idx="7006">
                        <c:v>0</c:v>
                      </c:pt>
                      <c:pt idx="7007">
                        <c:v>0</c:v>
                      </c:pt>
                      <c:pt idx="7008">
                        <c:v>0</c:v>
                      </c:pt>
                      <c:pt idx="7009">
                        <c:v>0</c:v>
                      </c:pt>
                      <c:pt idx="7010">
                        <c:v>0</c:v>
                      </c:pt>
                      <c:pt idx="7011">
                        <c:v>0</c:v>
                      </c:pt>
                      <c:pt idx="7012">
                        <c:v>0</c:v>
                      </c:pt>
                      <c:pt idx="7013">
                        <c:v>0</c:v>
                      </c:pt>
                      <c:pt idx="7014">
                        <c:v>0</c:v>
                      </c:pt>
                      <c:pt idx="7015">
                        <c:v>0</c:v>
                      </c:pt>
                      <c:pt idx="7016">
                        <c:v>0</c:v>
                      </c:pt>
                      <c:pt idx="7017">
                        <c:v>0</c:v>
                      </c:pt>
                      <c:pt idx="7018">
                        <c:v>0</c:v>
                      </c:pt>
                      <c:pt idx="7019">
                        <c:v>0</c:v>
                      </c:pt>
                      <c:pt idx="7020">
                        <c:v>0</c:v>
                      </c:pt>
                      <c:pt idx="7021">
                        <c:v>0</c:v>
                      </c:pt>
                      <c:pt idx="7022">
                        <c:v>0</c:v>
                      </c:pt>
                      <c:pt idx="7023">
                        <c:v>0</c:v>
                      </c:pt>
                      <c:pt idx="7024">
                        <c:v>0</c:v>
                      </c:pt>
                      <c:pt idx="7025">
                        <c:v>0</c:v>
                      </c:pt>
                      <c:pt idx="7026">
                        <c:v>0</c:v>
                      </c:pt>
                      <c:pt idx="7027">
                        <c:v>0</c:v>
                      </c:pt>
                      <c:pt idx="7028">
                        <c:v>0</c:v>
                      </c:pt>
                      <c:pt idx="7029">
                        <c:v>0</c:v>
                      </c:pt>
                      <c:pt idx="7030">
                        <c:v>0</c:v>
                      </c:pt>
                      <c:pt idx="7031">
                        <c:v>0</c:v>
                      </c:pt>
                      <c:pt idx="7032">
                        <c:v>0</c:v>
                      </c:pt>
                      <c:pt idx="7033">
                        <c:v>0</c:v>
                      </c:pt>
                      <c:pt idx="7034">
                        <c:v>0</c:v>
                      </c:pt>
                      <c:pt idx="7035">
                        <c:v>0</c:v>
                      </c:pt>
                      <c:pt idx="7036">
                        <c:v>0</c:v>
                      </c:pt>
                      <c:pt idx="7037">
                        <c:v>0</c:v>
                      </c:pt>
                      <c:pt idx="7038">
                        <c:v>0</c:v>
                      </c:pt>
                      <c:pt idx="7039">
                        <c:v>0</c:v>
                      </c:pt>
                      <c:pt idx="7040">
                        <c:v>0</c:v>
                      </c:pt>
                      <c:pt idx="7041">
                        <c:v>0</c:v>
                      </c:pt>
                      <c:pt idx="7042">
                        <c:v>0</c:v>
                      </c:pt>
                      <c:pt idx="7043">
                        <c:v>0</c:v>
                      </c:pt>
                      <c:pt idx="7044">
                        <c:v>0</c:v>
                      </c:pt>
                      <c:pt idx="7045">
                        <c:v>0</c:v>
                      </c:pt>
                      <c:pt idx="7046">
                        <c:v>0</c:v>
                      </c:pt>
                      <c:pt idx="7047">
                        <c:v>0</c:v>
                      </c:pt>
                      <c:pt idx="7048">
                        <c:v>0</c:v>
                      </c:pt>
                      <c:pt idx="7049">
                        <c:v>0</c:v>
                      </c:pt>
                      <c:pt idx="7050">
                        <c:v>0</c:v>
                      </c:pt>
                      <c:pt idx="7051">
                        <c:v>0</c:v>
                      </c:pt>
                      <c:pt idx="7052">
                        <c:v>0</c:v>
                      </c:pt>
                      <c:pt idx="7053">
                        <c:v>0</c:v>
                      </c:pt>
                      <c:pt idx="7054">
                        <c:v>0</c:v>
                      </c:pt>
                      <c:pt idx="7055">
                        <c:v>0</c:v>
                      </c:pt>
                      <c:pt idx="7056">
                        <c:v>0</c:v>
                      </c:pt>
                      <c:pt idx="7057">
                        <c:v>0</c:v>
                      </c:pt>
                      <c:pt idx="7058">
                        <c:v>0</c:v>
                      </c:pt>
                      <c:pt idx="7059">
                        <c:v>0</c:v>
                      </c:pt>
                      <c:pt idx="7060">
                        <c:v>0</c:v>
                      </c:pt>
                      <c:pt idx="7061">
                        <c:v>0</c:v>
                      </c:pt>
                      <c:pt idx="7062">
                        <c:v>0</c:v>
                      </c:pt>
                      <c:pt idx="7063">
                        <c:v>0</c:v>
                      </c:pt>
                      <c:pt idx="7064">
                        <c:v>0</c:v>
                      </c:pt>
                      <c:pt idx="7065">
                        <c:v>0</c:v>
                      </c:pt>
                      <c:pt idx="7066">
                        <c:v>0</c:v>
                      </c:pt>
                      <c:pt idx="7067">
                        <c:v>0</c:v>
                      </c:pt>
                      <c:pt idx="7068">
                        <c:v>0</c:v>
                      </c:pt>
                      <c:pt idx="7069">
                        <c:v>0</c:v>
                      </c:pt>
                      <c:pt idx="7070">
                        <c:v>0</c:v>
                      </c:pt>
                      <c:pt idx="7071">
                        <c:v>0</c:v>
                      </c:pt>
                      <c:pt idx="7072">
                        <c:v>0</c:v>
                      </c:pt>
                      <c:pt idx="7073">
                        <c:v>0</c:v>
                      </c:pt>
                      <c:pt idx="7074">
                        <c:v>0</c:v>
                      </c:pt>
                      <c:pt idx="7075">
                        <c:v>0</c:v>
                      </c:pt>
                      <c:pt idx="7076">
                        <c:v>0</c:v>
                      </c:pt>
                      <c:pt idx="7077">
                        <c:v>0</c:v>
                      </c:pt>
                      <c:pt idx="7078">
                        <c:v>0</c:v>
                      </c:pt>
                      <c:pt idx="7079">
                        <c:v>0</c:v>
                      </c:pt>
                      <c:pt idx="7080">
                        <c:v>0</c:v>
                      </c:pt>
                      <c:pt idx="7081">
                        <c:v>0</c:v>
                      </c:pt>
                      <c:pt idx="7082">
                        <c:v>0</c:v>
                      </c:pt>
                      <c:pt idx="7083">
                        <c:v>0</c:v>
                      </c:pt>
                      <c:pt idx="7084">
                        <c:v>0</c:v>
                      </c:pt>
                      <c:pt idx="7085">
                        <c:v>0</c:v>
                      </c:pt>
                      <c:pt idx="7086">
                        <c:v>0</c:v>
                      </c:pt>
                      <c:pt idx="7087">
                        <c:v>0</c:v>
                      </c:pt>
                      <c:pt idx="7088">
                        <c:v>0</c:v>
                      </c:pt>
                      <c:pt idx="7089">
                        <c:v>0</c:v>
                      </c:pt>
                      <c:pt idx="7090">
                        <c:v>0</c:v>
                      </c:pt>
                      <c:pt idx="7091">
                        <c:v>0</c:v>
                      </c:pt>
                      <c:pt idx="7092">
                        <c:v>0</c:v>
                      </c:pt>
                      <c:pt idx="7093">
                        <c:v>0</c:v>
                      </c:pt>
                      <c:pt idx="7094">
                        <c:v>0</c:v>
                      </c:pt>
                      <c:pt idx="7095">
                        <c:v>0</c:v>
                      </c:pt>
                      <c:pt idx="7096">
                        <c:v>0</c:v>
                      </c:pt>
                      <c:pt idx="7097">
                        <c:v>0</c:v>
                      </c:pt>
                      <c:pt idx="7098">
                        <c:v>0</c:v>
                      </c:pt>
                      <c:pt idx="7099">
                        <c:v>0</c:v>
                      </c:pt>
                      <c:pt idx="7100">
                        <c:v>0</c:v>
                      </c:pt>
                      <c:pt idx="7101">
                        <c:v>0</c:v>
                      </c:pt>
                      <c:pt idx="7102">
                        <c:v>0</c:v>
                      </c:pt>
                      <c:pt idx="7103">
                        <c:v>0</c:v>
                      </c:pt>
                      <c:pt idx="7104">
                        <c:v>0</c:v>
                      </c:pt>
                      <c:pt idx="7105">
                        <c:v>0</c:v>
                      </c:pt>
                      <c:pt idx="7106">
                        <c:v>0</c:v>
                      </c:pt>
                      <c:pt idx="7107">
                        <c:v>0</c:v>
                      </c:pt>
                      <c:pt idx="7108">
                        <c:v>0</c:v>
                      </c:pt>
                      <c:pt idx="7109">
                        <c:v>0</c:v>
                      </c:pt>
                      <c:pt idx="7110">
                        <c:v>0</c:v>
                      </c:pt>
                      <c:pt idx="7111">
                        <c:v>0</c:v>
                      </c:pt>
                      <c:pt idx="7112">
                        <c:v>0</c:v>
                      </c:pt>
                      <c:pt idx="7113">
                        <c:v>0</c:v>
                      </c:pt>
                      <c:pt idx="7114">
                        <c:v>0</c:v>
                      </c:pt>
                      <c:pt idx="7115">
                        <c:v>0</c:v>
                      </c:pt>
                      <c:pt idx="7116">
                        <c:v>0</c:v>
                      </c:pt>
                      <c:pt idx="7117">
                        <c:v>0</c:v>
                      </c:pt>
                      <c:pt idx="7118">
                        <c:v>0</c:v>
                      </c:pt>
                      <c:pt idx="7119">
                        <c:v>0</c:v>
                      </c:pt>
                      <c:pt idx="7120">
                        <c:v>0</c:v>
                      </c:pt>
                      <c:pt idx="7121">
                        <c:v>0</c:v>
                      </c:pt>
                      <c:pt idx="7122">
                        <c:v>0</c:v>
                      </c:pt>
                      <c:pt idx="7123">
                        <c:v>0</c:v>
                      </c:pt>
                      <c:pt idx="7124">
                        <c:v>0</c:v>
                      </c:pt>
                      <c:pt idx="7125">
                        <c:v>0</c:v>
                      </c:pt>
                      <c:pt idx="7126">
                        <c:v>0</c:v>
                      </c:pt>
                      <c:pt idx="7127">
                        <c:v>0</c:v>
                      </c:pt>
                      <c:pt idx="7128">
                        <c:v>0</c:v>
                      </c:pt>
                      <c:pt idx="7129">
                        <c:v>0</c:v>
                      </c:pt>
                      <c:pt idx="7130">
                        <c:v>0</c:v>
                      </c:pt>
                      <c:pt idx="7131">
                        <c:v>0</c:v>
                      </c:pt>
                      <c:pt idx="7132">
                        <c:v>0</c:v>
                      </c:pt>
                      <c:pt idx="7133">
                        <c:v>0</c:v>
                      </c:pt>
                      <c:pt idx="7134">
                        <c:v>0</c:v>
                      </c:pt>
                      <c:pt idx="7135">
                        <c:v>0</c:v>
                      </c:pt>
                      <c:pt idx="7136">
                        <c:v>0</c:v>
                      </c:pt>
                      <c:pt idx="7137">
                        <c:v>0</c:v>
                      </c:pt>
                      <c:pt idx="7138">
                        <c:v>0</c:v>
                      </c:pt>
                      <c:pt idx="7139">
                        <c:v>0</c:v>
                      </c:pt>
                      <c:pt idx="7140">
                        <c:v>0</c:v>
                      </c:pt>
                      <c:pt idx="7141">
                        <c:v>0</c:v>
                      </c:pt>
                      <c:pt idx="7142">
                        <c:v>0</c:v>
                      </c:pt>
                      <c:pt idx="7143">
                        <c:v>0</c:v>
                      </c:pt>
                      <c:pt idx="7144">
                        <c:v>0</c:v>
                      </c:pt>
                      <c:pt idx="7145">
                        <c:v>0</c:v>
                      </c:pt>
                      <c:pt idx="7146">
                        <c:v>0</c:v>
                      </c:pt>
                      <c:pt idx="7147">
                        <c:v>0</c:v>
                      </c:pt>
                      <c:pt idx="7148">
                        <c:v>0</c:v>
                      </c:pt>
                      <c:pt idx="7149">
                        <c:v>0</c:v>
                      </c:pt>
                      <c:pt idx="7150">
                        <c:v>0</c:v>
                      </c:pt>
                      <c:pt idx="7151">
                        <c:v>0</c:v>
                      </c:pt>
                      <c:pt idx="7152">
                        <c:v>0</c:v>
                      </c:pt>
                      <c:pt idx="7153">
                        <c:v>0</c:v>
                      </c:pt>
                      <c:pt idx="7154">
                        <c:v>0</c:v>
                      </c:pt>
                      <c:pt idx="7155">
                        <c:v>0</c:v>
                      </c:pt>
                      <c:pt idx="7156">
                        <c:v>0</c:v>
                      </c:pt>
                      <c:pt idx="7157">
                        <c:v>0</c:v>
                      </c:pt>
                      <c:pt idx="7158">
                        <c:v>0</c:v>
                      </c:pt>
                      <c:pt idx="7159">
                        <c:v>0</c:v>
                      </c:pt>
                      <c:pt idx="7160">
                        <c:v>0</c:v>
                      </c:pt>
                      <c:pt idx="7161">
                        <c:v>0</c:v>
                      </c:pt>
                      <c:pt idx="7162">
                        <c:v>0</c:v>
                      </c:pt>
                      <c:pt idx="7163">
                        <c:v>0</c:v>
                      </c:pt>
                      <c:pt idx="7164">
                        <c:v>0</c:v>
                      </c:pt>
                      <c:pt idx="7165">
                        <c:v>0</c:v>
                      </c:pt>
                      <c:pt idx="7166">
                        <c:v>0</c:v>
                      </c:pt>
                      <c:pt idx="7167">
                        <c:v>0</c:v>
                      </c:pt>
                      <c:pt idx="7168">
                        <c:v>0</c:v>
                      </c:pt>
                      <c:pt idx="7169">
                        <c:v>0</c:v>
                      </c:pt>
                      <c:pt idx="7170">
                        <c:v>0</c:v>
                      </c:pt>
                      <c:pt idx="7171">
                        <c:v>0</c:v>
                      </c:pt>
                      <c:pt idx="7172">
                        <c:v>0</c:v>
                      </c:pt>
                      <c:pt idx="7173">
                        <c:v>0</c:v>
                      </c:pt>
                      <c:pt idx="7174">
                        <c:v>0</c:v>
                      </c:pt>
                      <c:pt idx="7175">
                        <c:v>0</c:v>
                      </c:pt>
                      <c:pt idx="7176">
                        <c:v>0</c:v>
                      </c:pt>
                      <c:pt idx="7177">
                        <c:v>0</c:v>
                      </c:pt>
                      <c:pt idx="7178">
                        <c:v>0</c:v>
                      </c:pt>
                      <c:pt idx="7179">
                        <c:v>0</c:v>
                      </c:pt>
                      <c:pt idx="7180">
                        <c:v>0</c:v>
                      </c:pt>
                      <c:pt idx="7181">
                        <c:v>0</c:v>
                      </c:pt>
                      <c:pt idx="7182">
                        <c:v>0</c:v>
                      </c:pt>
                      <c:pt idx="7183">
                        <c:v>0</c:v>
                      </c:pt>
                      <c:pt idx="7184">
                        <c:v>0</c:v>
                      </c:pt>
                      <c:pt idx="7185">
                        <c:v>0</c:v>
                      </c:pt>
                      <c:pt idx="7186">
                        <c:v>0</c:v>
                      </c:pt>
                      <c:pt idx="7187">
                        <c:v>0</c:v>
                      </c:pt>
                      <c:pt idx="7188">
                        <c:v>0</c:v>
                      </c:pt>
                      <c:pt idx="7189">
                        <c:v>0</c:v>
                      </c:pt>
                      <c:pt idx="7190">
                        <c:v>0</c:v>
                      </c:pt>
                      <c:pt idx="7191">
                        <c:v>0</c:v>
                      </c:pt>
                      <c:pt idx="7192">
                        <c:v>0</c:v>
                      </c:pt>
                      <c:pt idx="7193">
                        <c:v>0</c:v>
                      </c:pt>
                      <c:pt idx="7194">
                        <c:v>0</c:v>
                      </c:pt>
                      <c:pt idx="7195">
                        <c:v>0</c:v>
                      </c:pt>
                      <c:pt idx="7196">
                        <c:v>0</c:v>
                      </c:pt>
                      <c:pt idx="7197">
                        <c:v>0</c:v>
                      </c:pt>
                      <c:pt idx="7198">
                        <c:v>0</c:v>
                      </c:pt>
                      <c:pt idx="7199">
                        <c:v>0</c:v>
                      </c:pt>
                      <c:pt idx="7200">
                        <c:v>0</c:v>
                      </c:pt>
                      <c:pt idx="7201">
                        <c:v>0</c:v>
                      </c:pt>
                      <c:pt idx="7202">
                        <c:v>0</c:v>
                      </c:pt>
                      <c:pt idx="7203">
                        <c:v>0</c:v>
                      </c:pt>
                      <c:pt idx="7204">
                        <c:v>0</c:v>
                      </c:pt>
                      <c:pt idx="7205">
                        <c:v>0</c:v>
                      </c:pt>
                      <c:pt idx="7206">
                        <c:v>0</c:v>
                      </c:pt>
                      <c:pt idx="7207">
                        <c:v>0</c:v>
                      </c:pt>
                      <c:pt idx="7208">
                        <c:v>0</c:v>
                      </c:pt>
                      <c:pt idx="7209">
                        <c:v>0</c:v>
                      </c:pt>
                      <c:pt idx="7210">
                        <c:v>0</c:v>
                      </c:pt>
                      <c:pt idx="7211">
                        <c:v>0</c:v>
                      </c:pt>
                      <c:pt idx="7212">
                        <c:v>0</c:v>
                      </c:pt>
                      <c:pt idx="7213">
                        <c:v>0</c:v>
                      </c:pt>
                      <c:pt idx="7214">
                        <c:v>0</c:v>
                      </c:pt>
                      <c:pt idx="7215">
                        <c:v>0</c:v>
                      </c:pt>
                      <c:pt idx="7216">
                        <c:v>0</c:v>
                      </c:pt>
                      <c:pt idx="7217">
                        <c:v>0</c:v>
                      </c:pt>
                      <c:pt idx="7218">
                        <c:v>0</c:v>
                      </c:pt>
                      <c:pt idx="7219">
                        <c:v>0</c:v>
                      </c:pt>
                      <c:pt idx="7220">
                        <c:v>0</c:v>
                      </c:pt>
                      <c:pt idx="7221">
                        <c:v>0</c:v>
                      </c:pt>
                      <c:pt idx="7222">
                        <c:v>0</c:v>
                      </c:pt>
                      <c:pt idx="7223">
                        <c:v>0</c:v>
                      </c:pt>
                      <c:pt idx="7224">
                        <c:v>0</c:v>
                      </c:pt>
                      <c:pt idx="7225">
                        <c:v>0</c:v>
                      </c:pt>
                      <c:pt idx="7226">
                        <c:v>0</c:v>
                      </c:pt>
                      <c:pt idx="7227">
                        <c:v>0</c:v>
                      </c:pt>
                      <c:pt idx="7228">
                        <c:v>0</c:v>
                      </c:pt>
                      <c:pt idx="7229">
                        <c:v>0</c:v>
                      </c:pt>
                      <c:pt idx="7230">
                        <c:v>0</c:v>
                      </c:pt>
                      <c:pt idx="7231">
                        <c:v>0</c:v>
                      </c:pt>
                      <c:pt idx="7232">
                        <c:v>0</c:v>
                      </c:pt>
                      <c:pt idx="7233">
                        <c:v>0</c:v>
                      </c:pt>
                      <c:pt idx="7234">
                        <c:v>0</c:v>
                      </c:pt>
                      <c:pt idx="7235">
                        <c:v>0</c:v>
                      </c:pt>
                      <c:pt idx="7236">
                        <c:v>0</c:v>
                      </c:pt>
                      <c:pt idx="7237">
                        <c:v>0</c:v>
                      </c:pt>
                      <c:pt idx="7238">
                        <c:v>0</c:v>
                      </c:pt>
                      <c:pt idx="7239">
                        <c:v>0</c:v>
                      </c:pt>
                      <c:pt idx="7240">
                        <c:v>0</c:v>
                      </c:pt>
                      <c:pt idx="7241">
                        <c:v>0</c:v>
                      </c:pt>
                      <c:pt idx="7242">
                        <c:v>0</c:v>
                      </c:pt>
                      <c:pt idx="7243">
                        <c:v>0</c:v>
                      </c:pt>
                      <c:pt idx="7244">
                        <c:v>0</c:v>
                      </c:pt>
                      <c:pt idx="7245">
                        <c:v>0</c:v>
                      </c:pt>
                      <c:pt idx="7246">
                        <c:v>0</c:v>
                      </c:pt>
                      <c:pt idx="7247">
                        <c:v>0</c:v>
                      </c:pt>
                      <c:pt idx="7248">
                        <c:v>0</c:v>
                      </c:pt>
                      <c:pt idx="7249">
                        <c:v>0</c:v>
                      </c:pt>
                      <c:pt idx="7250">
                        <c:v>0</c:v>
                      </c:pt>
                      <c:pt idx="7251">
                        <c:v>0</c:v>
                      </c:pt>
                      <c:pt idx="7252">
                        <c:v>0</c:v>
                      </c:pt>
                      <c:pt idx="7253">
                        <c:v>0</c:v>
                      </c:pt>
                      <c:pt idx="7254">
                        <c:v>0</c:v>
                      </c:pt>
                      <c:pt idx="7255">
                        <c:v>0</c:v>
                      </c:pt>
                      <c:pt idx="7256">
                        <c:v>0</c:v>
                      </c:pt>
                      <c:pt idx="7257">
                        <c:v>0</c:v>
                      </c:pt>
                      <c:pt idx="7258">
                        <c:v>0</c:v>
                      </c:pt>
                      <c:pt idx="7259">
                        <c:v>0</c:v>
                      </c:pt>
                      <c:pt idx="7260">
                        <c:v>0</c:v>
                      </c:pt>
                      <c:pt idx="7261">
                        <c:v>0</c:v>
                      </c:pt>
                      <c:pt idx="7262">
                        <c:v>0</c:v>
                      </c:pt>
                      <c:pt idx="7263">
                        <c:v>0</c:v>
                      </c:pt>
                      <c:pt idx="7264">
                        <c:v>0</c:v>
                      </c:pt>
                      <c:pt idx="7265">
                        <c:v>0</c:v>
                      </c:pt>
                      <c:pt idx="7266">
                        <c:v>0</c:v>
                      </c:pt>
                      <c:pt idx="7267">
                        <c:v>0</c:v>
                      </c:pt>
                      <c:pt idx="7268">
                        <c:v>0</c:v>
                      </c:pt>
                      <c:pt idx="7269">
                        <c:v>0</c:v>
                      </c:pt>
                      <c:pt idx="7270">
                        <c:v>0</c:v>
                      </c:pt>
                      <c:pt idx="7271">
                        <c:v>0</c:v>
                      </c:pt>
                      <c:pt idx="7272">
                        <c:v>0</c:v>
                      </c:pt>
                      <c:pt idx="7273">
                        <c:v>0</c:v>
                      </c:pt>
                      <c:pt idx="7274">
                        <c:v>0</c:v>
                      </c:pt>
                      <c:pt idx="7275">
                        <c:v>0</c:v>
                      </c:pt>
                      <c:pt idx="7276">
                        <c:v>0</c:v>
                      </c:pt>
                      <c:pt idx="7277">
                        <c:v>0</c:v>
                      </c:pt>
                      <c:pt idx="7278">
                        <c:v>0</c:v>
                      </c:pt>
                      <c:pt idx="7279">
                        <c:v>0</c:v>
                      </c:pt>
                      <c:pt idx="7280">
                        <c:v>0</c:v>
                      </c:pt>
                      <c:pt idx="7281">
                        <c:v>0</c:v>
                      </c:pt>
                      <c:pt idx="7282">
                        <c:v>0</c:v>
                      </c:pt>
                      <c:pt idx="7283">
                        <c:v>0</c:v>
                      </c:pt>
                      <c:pt idx="7284">
                        <c:v>0</c:v>
                      </c:pt>
                      <c:pt idx="7285">
                        <c:v>0</c:v>
                      </c:pt>
                      <c:pt idx="7286">
                        <c:v>0</c:v>
                      </c:pt>
                      <c:pt idx="7287">
                        <c:v>0</c:v>
                      </c:pt>
                      <c:pt idx="7288">
                        <c:v>0</c:v>
                      </c:pt>
                      <c:pt idx="7289">
                        <c:v>0</c:v>
                      </c:pt>
                      <c:pt idx="7290">
                        <c:v>0</c:v>
                      </c:pt>
                      <c:pt idx="7291">
                        <c:v>0</c:v>
                      </c:pt>
                      <c:pt idx="7292">
                        <c:v>0</c:v>
                      </c:pt>
                      <c:pt idx="7293">
                        <c:v>0</c:v>
                      </c:pt>
                      <c:pt idx="7294">
                        <c:v>0</c:v>
                      </c:pt>
                      <c:pt idx="7295">
                        <c:v>0</c:v>
                      </c:pt>
                      <c:pt idx="7296">
                        <c:v>0</c:v>
                      </c:pt>
                      <c:pt idx="7297">
                        <c:v>0</c:v>
                      </c:pt>
                      <c:pt idx="7298">
                        <c:v>0</c:v>
                      </c:pt>
                      <c:pt idx="7299">
                        <c:v>0</c:v>
                      </c:pt>
                      <c:pt idx="7300">
                        <c:v>0</c:v>
                      </c:pt>
                      <c:pt idx="7301">
                        <c:v>0</c:v>
                      </c:pt>
                      <c:pt idx="7302">
                        <c:v>0</c:v>
                      </c:pt>
                      <c:pt idx="7303">
                        <c:v>0</c:v>
                      </c:pt>
                      <c:pt idx="7304">
                        <c:v>0</c:v>
                      </c:pt>
                      <c:pt idx="7305">
                        <c:v>0</c:v>
                      </c:pt>
                      <c:pt idx="7306">
                        <c:v>0</c:v>
                      </c:pt>
                      <c:pt idx="7307">
                        <c:v>0</c:v>
                      </c:pt>
                      <c:pt idx="7308">
                        <c:v>0</c:v>
                      </c:pt>
                      <c:pt idx="7309">
                        <c:v>0</c:v>
                      </c:pt>
                      <c:pt idx="7310">
                        <c:v>0</c:v>
                      </c:pt>
                      <c:pt idx="7311">
                        <c:v>0</c:v>
                      </c:pt>
                      <c:pt idx="7312">
                        <c:v>0</c:v>
                      </c:pt>
                      <c:pt idx="7313">
                        <c:v>0</c:v>
                      </c:pt>
                      <c:pt idx="7314">
                        <c:v>0</c:v>
                      </c:pt>
                      <c:pt idx="7315">
                        <c:v>0</c:v>
                      </c:pt>
                      <c:pt idx="7316">
                        <c:v>0</c:v>
                      </c:pt>
                      <c:pt idx="7317">
                        <c:v>0</c:v>
                      </c:pt>
                      <c:pt idx="7318">
                        <c:v>0</c:v>
                      </c:pt>
                      <c:pt idx="7319">
                        <c:v>0</c:v>
                      </c:pt>
                      <c:pt idx="7320">
                        <c:v>0</c:v>
                      </c:pt>
                      <c:pt idx="7321">
                        <c:v>0</c:v>
                      </c:pt>
                      <c:pt idx="7322">
                        <c:v>0</c:v>
                      </c:pt>
                      <c:pt idx="7323">
                        <c:v>0</c:v>
                      </c:pt>
                      <c:pt idx="7324">
                        <c:v>0</c:v>
                      </c:pt>
                      <c:pt idx="7325">
                        <c:v>0</c:v>
                      </c:pt>
                      <c:pt idx="7326">
                        <c:v>0</c:v>
                      </c:pt>
                      <c:pt idx="7327">
                        <c:v>0</c:v>
                      </c:pt>
                      <c:pt idx="7328">
                        <c:v>0</c:v>
                      </c:pt>
                      <c:pt idx="7329">
                        <c:v>0</c:v>
                      </c:pt>
                      <c:pt idx="7330">
                        <c:v>0</c:v>
                      </c:pt>
                      <c:pt idx="7331">
                        <c:v>0</c:v>
                      </c:pt>
                      <c:pt idx="7332">
                        <c:v>0</c:v>
                      </c:pt>
                      <c:pt idx="7333">
                        <c:v>0</c:v>
                      </c:pt>
                      <c:pt idx="7334">
                        <c:v>0</c:v>
                      </c:pt>
                      <c:pt idx="7335">
                        <c:v>0</c:v>
                      </c:pt>
                      <c:pt idx="7336">
                        <c:v>0</c:v>
                      </c:pt>
                      <c:pt idx="7337">
                        <c:v>0</c:v>
                      </c:pt>
                      <c:pt idx="7338">
                        <c:v>0</c:v>
                      </c:pt>
                      <c:pt idx="7339">
                        <c:v>0</c:v>
                      </c:pt>
                      <c:pt idx="7340">
                        <c:v>0</c:v>
                      </c:pt>
                      <c:pt idx="7341">
                        <c:v>0</c:v>
                      </c:pt>
                      <c:pt idx="7342">
                        <c:v>0</c:v>
                      </c:pt>
                      <c:pt idx="7343">
                        <c:v>0</c:v>
                      </c:pt>
                      <c:pt idx="7344">
                        <c:v>0</c:v>
                      </c:pt>
                      <c:pt idx="7345">
                        <c:v>0</c:v>
                      </c:pt>
                      <c:pt idx="7346">
                        <c:v>0</c:v>
                      </c:pt>
                      <c:pt idx="7347">
                        <c:v>0</c:v>
                      </c:pt>
                      <c:pt idx="7348">
                        <c:v>0</c:v>
                      </c:pt>
                      <c:pt idx="7349">
                        <c:v>0</c:v>
                      </c:pt>
                      <c:pt idx="7350">
                        <c:v>0</c:v>
                      </c:pt>
                      <c:pt idx="7351">
                        <c:v>0</c:v>
                      </c:pt>
                      <c:pt idx="7352">
                        <c:v>0</c:v>
                      </c:pt>
                      <c:pt idx="7353">
                        <c:v>0</c:v>
                      </c:pt>
                      <c:pt idx="7354">
                        <c:v>0</c:v>
                      </c:pt>
                      <c:pt idx="7355">
                        <c:v>0</c:v>
                      </c:pt>
                      <c:pt idx="7356">
                        <c:v>0</c:v>
                      </c:pt>
                      <c:pt idx="7357">
                        <c:v>0</c:v>
                      </c:pt>
                      <c:pt idx="7358">
                        <c:v>0</c:v>
                      </c:pt>
                      <c:pt idx="7359">
                        <c:v>0</c:v>
                      </c:pt>
                      <c:pt idx="7360">
                        <c:v>0</c:v>
                      </c:pt>
                      <c:pt idx="7361">
                        <c:v>0</c:v>
                      </c:pt>
                      <c:pt idx="7362">
                        <c:v>0</c:v>
                      </c:pt>
                      <c:pt idx="7363">
                        <c:v>0</c:v>
                      </c:pt>
                      <c:pt idx="7364">
                        <c:v>0</c:v>
                      </c:pt>
                      <c:pt idx="7365">
                        <c:v>0</c:v>
                      </c:pt>
                      <c:pt idx="7366">
                        <c:v>0</c:v>
                      </c:pt>
                      <c:pt idx="7367">
                        <c:v>0</c:v>
                      </c:pt>
                      <c:pt idx="7368">
                        <c:v>0</c:v>
                      </c:pt>
                      <c:pt idx="7369">
                        <c:v>0</c:v>
                      </c:pt>
                      <c:pt idx="7370">
                        <c:v>0</c:v>
                      </c:pt>
                      <c:pt idx="7371">
                        <c:v>0</c:v>
                      </c:pt>
                      <c:pt idx="7372">
                        <c:v>0</c:v>
                      </c:pt>
                      <c:pt idx="7373">
                        <c:v>0</c:v>
                      </c:pt>
                      <c:pt idx="7374">
                        <c:v>0</c:v>
                      </c:pt>
                      <c:pt idx="7375">
                        <c:v>0</c:v>
                      </c:pt>
                      <c:pt idx="7376">
                        <c:v>0</c:v>
                      </c:pt>
                      <c:pt idx="7377">
                        <c:v>0</c:v>
                      </c:pt>
                      <c:pt idx="7378">
                        <c:v>0</c:v>
                      </c:pt>
                      <c:pt idx="7379">
                        <c:v>0</c:v>
                      </c:pt>
                      <c:pt idx="7380">
                        <c:v>0</c:v>
                      </c:pt>
                      <c:pt idx="7381">
                        <c:v>0</c:v>
                      </c:pt>
                      <c:pt idx="7382">
                        <c:v>0</c:v>
                      </c:pt>
                      <c:pt idx="7383">
                        <c:v>0</c:v>
                      </c:pt>
                      <c:pt idx="7384">
                        <c:v>0</c:v>
                      </c:pt>
                      <c:pt idx="7385">
                        <c:v>0</c:v>
                      </c:pt>
                      <c:pt idx="7386">
                        <c:v>0</c:v>
                      </c:pt>
                      <c:pt idx="7387">
                        <c:v>0</c:v>
                      </c:pt>
                      <c:pt idx="7388">
                        <c:v>0</c:v>
                      </c:pt>
                      <c:pt idx="7389">
                        <c:v>0</c:v>
                      </c:pt>
                      <c:pt idx="7390">
                        <c:v>0</c:v>
                      </c:pt>
                      <c:pt idx="7391">
                        <c:v>0</c:v>
                      </c:pt>
                      <c:pt idx="7392">
                        <c:v>0</c:v>
                      </c:pt>
                      <c:pt idx="7393">
                        <c:v>0</c:v>
                      </c:pt>
                      <c:pt idx="7394">
                        <c:v>0</c:v>
                      </c:pt>
                      <c:pt idx="7395">
                        <c:v>0</c:v>
                      </c:pt>
                      <c:pt idx="7396">
                        <c:v>0</c:v>
                      </c:pt>
                      <c:pt idx="7397">
                        <c:v>0</c:v>
                      </c:pt>
                      <c:pt idx="7398">
                        <c:v>0</c:v>
                      </c:pt>
                      <c:pt idx="7399">
                        <c:v>0</c:v>
                      </c:pt>
                      <c:pt idx="7400">
                        <c:v>0</c:v>
                      </c:pt>
                      <c:pt idx="7401">
                        <c:v>0</c:v>
                      </c:pt>
                      <c:pt idx="7402">
                        <c:v>0</c:v>
                      </c:pt>
                      <c:pt idx="7403">
                        <c:v>0</c:v>
                      </c:pt>
                      <c:pt idx="7404">
                        <c:v>0</c:v>
                      </c:pt>
                      <c:pt idx="7405">
                        <c:v>0</c:v>
                      </c:pt>
                      <c:pt idx="7406">
                        <c:v>0</c:v>
                      </c:pt>
                      <c:pt idx="7407">
                        <c:v>0</c:v>
                      </c:pt>
                      <c:pt idx="7408">
                        <c:v>0</c:v>
                      </c:pt>
                      <c:pt idx="7409">
                        <c:v>0</c:v>
                      </c:pt>
                      <c:pt idx="7410">
                        <c:v>0</c:v>
                      </c:pt>
                      <c:pt idx="7411">
                        <c:v>0</c:v>
                      </c:pt>
                      <c:pt idx="7412">
                        <c:v>0</c:v>
                      </c:pt>
                      <c:pt idx="7413">
                        <c:v>0</c:v>
                      </c:pt>
                      <c:pt idx="7414">
                        <c:v>0</c:v>
                      </c:pt>
                      <c:pt idx="7415">
                        <c:v>0</c:v>
                      </c:pt>
                      <c:pt idx="7416">
                        <c:v>0</c:v>
                      </c:pt>
                      <c:pt idx="7417">
                        <c:v>0</c:v>
                      </c:pt>
                      <c:pt idx="7418">
                        <c:v>0</c:v>
                      </c:pt>
                      <c:pt idx="7419">
                        <c:v>0</c:v>
                      </c:pt>
                      <c:pt idx="7420">
                        <c:v>0</c:v>
                      </c:pt>
                      <c:pt idx="7421">
                        <c:v>0</c:v>
                      </c:pt>
                      <c:pt idx="7422">
                        <c:v>0</c:v>
                      </c:pt>
                      <c:pt idx="7423">
                        <c:v>0</c:v>
                      </c:pt>
                      <c:pt idx="7424">
                        <c:v>0</c:v>
                      </c:pt>
                      <c:pt idx="7425">
                        <c:v>0</c:v>
                      </c:pt>
                      <c:pt idx="7426">
                        <c:v>0</c:v>
                      </c:pt>
                      <c:pt idx="7427">
                        <c:v>0</c:v>
                      </c:pt>
                      <c:pt idx="7428">
                        <c:v>0</c:v>
                      </c:pt>
                      <c:pt idx="7429">
                        <c:v>0</c:v>
                      </c:pt>
                      <c:pt idx="7430">
                        <c:v>0</c:v>
                      </c:pt>
                      <c:pt idx="7431">
                        <c:v>0</c:v>
                      </c:pt>
                      <c:pt idx="7432">
                        <c:v>0</c:v>
                      </c:pt>
                      <c:pt idx="7433">
                        <c:v>0</c:v>
                      </c:pt>
                      <c:pt idx="7434">
                        <c:v>0</c:v>
                      </c:pt>
                      <c:pt idx="7435">
                        <c:v>0</c:v>
                      </c:pt>
                      <c:pt idx="7436">
                        <c:v>0</c:v>
                      </c:pt>
                      <c:pt idx="7437">
                        <c:v>0</c:v>
                      </c:pt>
                      <c:pt idx="7438">
                        <c:v>0</c:v>
                      </c:pt>
                      <c:pt idx="7439">
                        <c:v>0</c:v>
                      </c:pt>
                      <c:pt idx="7440">
                        <c:v>0</c:v>
                      </c:pt>
                      <c:pt idx="7441">
                        <c:v>0</c:v>
                      </c:pt>
                      <c:pt idx="7442">
                        <c:v>0</c:v>
                      </c:pt>
                      <c:pt idx="7443">
                        <c:v>0</c:v>
                      </c:pt>
                      <c:pt idx="7444">
                        <c:v>0</c:v>
                      </c:pt>
                      <c:pt idx="7445">
                        <c:v>0</c:v>
                      </c:pt>
                      <c:pt idx="7446">
                        <c:v>0</c:v>
                      </c:pt>
                      <c:pt idx="7447">
                        <c:v>0</c:v>
                      </c:pt>
                      <c:pt idx="7448">
                        <c:v>0</c:v>
                      </c:pt>
                      <c:pt idx="7449">
                        <c:v>0</c:v>
                      </c:pt>
                      <c:pt idx="7450">
                        <c:v>0</c:v>
                      </c:pt>
                      <c:pt idx="7451">
                        <c:v>0</c:v>
                      </c:pt>
                      <c:pt idx="7452">
                        <c:v>0</c:v>
                      </c:pt>
                      <c:pt idx="7453">
                        <c:v>0</c:v>
                      </c:pt>
                      <c:pt idx="7454">
                        <c:v>0</c:v>
                      </c:pt>
                      <c:pt idx="7455">
                        <c:v>0</c:v>
                      </c:pt>
                      <c:pt idx="7456">
                        <c:v>0</c:v>
                      </c:pt>
                      <c:pt idx="7457">
                        <c:v>0</c:v>
                      </c:pt>
                      <c:pt idx="7458">
                        <c:v>0</c:v>
                      </c:pt>
                      <c:pt idx="7459">
                        <c:v>0</c:v>
                      </c:pt>
                      <c:pt idx="7460">
                        <c:v>0</c:v>
                      </c:pt>
                      <c:pt idx="7461">
                        <c:v>0</c:v>
                      </c:pt>
                      <c:pt idx="7462">
                        <c:v>0</c:v>
                      </c:pt>
                      <c:pt idx="7463">
                        <c:v>0</c:v>
                      </c:pt>
                      <c:pt idx="7464">
                        <c:v>0</c:v>
                      </c:pt>
                      <c:pt idx="7465">
                        <c:v>0</c:v>
                      </c:pt>
                      <c:pt idx="7466">
                        <c:v>0</c:v>
                      </c:pt>
                      <c:pt idx="7467">
                        <c:v>0</c:v>
                      </c:pt>
                      <c:pt idx="7468">
                        <c:v>0</c:v>
                      </c:pt>
                      <c:pt idx="7469">
                        <c:v>0</c:v>
                      </c:pt>
                      <c:pt idx="7470">
                        <c:v>0</c:v>
                      </c:pt>
                      <c:pt idx="7471">
                        <c:v>0</c:v>
                      </c:pt>
                      <c:pt idx="7472">
                        <c:v>0</c:v>
                      </c:pt>
                      <c:pt idx="7473">
                        <c:v>0</c:v>
                      </c:pt>
                      <c:pt idx="7474">
                        <c:v>0</c:v>
                      </c:pt>
                      <c:pt idx="7475">
                        <c:v>0</c:v>
                      </c:pt>
                      <c:pt idx="7476">
                        <c:v>0</c:v>
                      </c:pt>
                      <c:pt idx="7477">
                        <c:v>0</c:v>
                      </c:pt>
                      <c:pt idx="7478">
                        <c:v>0</c:v>
                      </c:pt>
                      <c:pt idx="7479">
                        <c:v>0</c:v>
                      </c:pt>
                      <c:pt idx="7480">
                        <c:v>0</c:v>
                      </c:pt>
                      <c:pt idx="7481">
                        <c:v>0</c:v>
                      </c:pt>
                      <c:pt idx="7482">
                        <c:v>0</c:v>
                      </c:pt>
                      <c:pt idx="7483">
                        <c:v>0</c:v>
                      </c:pt>
                      <c:pt idx="7484">
                        <c:v>0</c:v>
                      </c:pt>
                      <c:pt idx="7485">
                        <c:v>0</c:v>
                      </c:pt>
                      <c:pt idx="7486">
                        <c:v>0</c:v>
                      </c:pt>
                      <c:pt idx="7487">
                        <c:v>0</c:v>
                      </c:pt>
                      <c:pt idx="7488">
                        <c:v>0</c:v>
                      </c:pt>
                      <c:pt idx="7489">
                        <c:v>0</c:v>
                      </c:pt>
                      <c:pt idx="7490">
                        <c:v>0</c:v>
                      </c:pt>
                      <c:pt idx="7491">
                        <c:v>0</c:v>
                      </c:pt>
                      <c:pt idx="7492">
                        <c:v>0</c:v>
                      </c:pt>
                      <c:pt idx="7493">
                        <c:v>0</c:v>
                      </c:pt>
                      <c:pt idx="7494">
                        <c:v>0</c:v>
                      </c:pt>
                      <c:pt idx="7495">
                        <c:v>0</c:v>
                      </c:pt>
                      <c:pt idx="7496">
                        <c:v>0</c:v>
                      </c:pt>
                      <c:pt idx="7497">
                        <c:v>0</c:v>
                      </c:pt>
                      <c:pt idx="7498">
                        <c:v>0</c:v>
                      </c:pt>
                      <c:pt idx="7499">
                        <c:v>0</c:v>
                      </c:pt>
                      <c:pt idx="7500">
                        <c:v>0</c:v>
                      </c:pt>
                      <c:pt idx="7501">
                        <c:v>0</c:v>
                      </c:pt>
                      <c:pt idx="7502">
                        <c:v>0</c:v>
                      </c:pt>
                      <c:pt idx="7503">
                        <c:v>0</c:v>
                      </c:pt>
                      <c:pt idx="7504">
                        <c:v>0</c:v>
                      </c:pt>
                      <c:pt idx="7505">
                        <c:v>0</c:v>
                      </c:pt>
                      <c:pt idx="7506">
                        <c:v>0</c:v>
                      </c:pt>
                      <c:pt idx="7507">
                        <c:v>0</c:v>
                      </c:pt>
                      <c:pt idx="7508">
                        <c:v>0</c:v>
                      </c:pt>
                      <c:pt idx="7509">
                        <c:v>0</c:v>
                      </c:pt>
                      <c:pt idx="7510">
                        <c:v>0</c:v>
                      </c:pt>
                      <c:pt idx="7511">
                        <c:v>0</c:v>
                      </c:pt>
                      <c:pt idx="7512">
                        <c:v>0</c:v>
                      </c:pt>
                      <c:pt idx="7513">
                        <c:v>0</c:v>
                      </c:pt>
                      <c:pt idx="7514">
                        <c:v>0</c:v>
                      </c:pt>
                      <c:pt idx="7515">
                        <c:v>0</c:v>
                      </c:pt>
                      <c:pt idx="7516">
                        <c:v>0</c:v>
                      </c:pt>
                      <c:pt idx="7517">
                        <c:v>0</c:v>
                      </c:pt>
                      <c:pt idx="7518">
                        <c:v>0</c:v>
                      </c:pt>
                      <c:pt idx="7519">
                        <c:v>0</c:v>
                      </c:pt>
                      <c:pt idx="7520">
                        <c:v>0</c:v>
                      </c:pt>
                      <c:pt idx="7521">
                        <c:v>0</c:v>
                      </c:pt>
                      <c:pt idx="7522">
                        <c:v>0</c:v>
                      </c:pt>
                      <c:pt idx="7523">
                        <c:v>0</c:v>
                      </c:pt>
                      <c:pt idx="7524">
                        <c:v>0</c:v>
                      </c:pt>
                      <c:pt idx="7525">
                        <c:v>0</c:v>
                      </c:pt>
                      <c:pt idx="7526">
                        <c:v>0</c:v>
                      </c:pt>
                      <c:pt idx="7527">
                        <c:v>0</c:v>
                      </c:pt>
                      <c:pt idx="7528">
                        <c:v>0</c:v>
                      </c:pt>
                      <c:pt idx="7529">
                        <c:v>0</c:v>
                      </c:pt>
                      <c:pt idx="7530">
                        <c:v>0</c:v>
                      </c:pt>
                      <c:pt idx="7531">
                        <c:v>0</c:v>
                      </c:pt>
                      <c:pt idx="7532">
                        <c:v>0</c:v>
                      </c:pt>
                      <c:pt idx="7533">
                        <c:v>0</c:v>
                      </c:pt>
                      <c:pt idx="7534">
                        <c:v>0</c:v>
                      </c:pt>
                      <c:pt idx="7535">
                        <c:v>0</c:v>
                      </c:pt>
                      <c:pt idx="7536">
                        <c:v>0</c:v>
                      </c:pt>
                      <c:pt idx="7537">
                        <c:v>0</c:v>
                      </c:pt>
                      <c:pt idx="7538">
                        <c:v>0</c:v>
                      </c:pt>
                      <c:pt idx="7539">
                        <c:v>0</c:v>
                      </c:pt>
                      <c:pt idx="7540">
                        <c:v>0</c:v>
                      </c:pt>
                      <c:pt idx="7541">
                        <c:v>0</c:v>
                      </c:pt>
                      <c:pt idx="7542">
                        <c:v>0</c:v>
                      </c:pt>
                      <c:pt idx="7543">
                        <c:v>0</c:v>
                      </c:pt>
                      <c:pt idx="7544">
                        <c:v>0</c:v>
                      </c:pt>
                      <c:pt idx="7545">
                        <c:v>0</c:v>
                      </c:pt>
                      <c:pt idx="7546">
                        <c:v>0</c:v>
                      </c:pt>
                      <c:pt idx="7547">
                        <c:v>0</c:v>
                      </c:pt>
                      <c:pt idx="7548">
                        <c:v>0</c:v>
                      </c:pt>
                      <c:pt idx="7549">
                        <c:v>0</c:v>
                      </c:pt>
                      <c:pt idx="7550">
                        <c:v>0</c:v>
                      </c:pt>
                      <c:pt idx="7551">
                        <c:v>0</c:v>
                      </c:pt>
                      <c:pt idx="7552">
                        <c:v>0</c:v>
                      </c:pt>
                      <c:pt idx="7553">
                        <c:v>0</c:v>
                      </c:pt>
                      <c:pt idx="7554">
                        <c:v>0</c:v>
                      </c:pt>
                      <c:pt idx="7555">
                        <c:v>0</c:v>
                      </c:pt>
                      <c:pt idx="7556">
                        <c:v>0</c:v>
                      </c:pt>
                      <c:pt idx="7557">
                        <c:v>0</c:v>
                      </c:pt>
                      <c:pt idx="7558">
                        <c:v>0</c:v>
                      </c:pt>
                      <c:pt idx="7559">
                        <c:v>0</c:v>
                      </c:pt>
                      <c:pt idx="7560">
                        <c:v>0</c:v>
                      </c:pt>
                      <c:pt idx="7561">
                        <c:v>0</c:v>
                      </c:pt>
                      <c:pt idx="7562">
                        <c:v>0</c:v>
                      </c:pt>
                      <c:pt idx="7563">
                        <c:v>0</c:v>
                      </c:pt>
                      <c:pt idx="7564">
                        <c:v>0</c:v>
                      </c:pt>
                      <c:pt idx="7565">
                        <c:v>0</c:v>
                      </c:pt>
                      <c:pt idx="7566">
                        <c:v>0</c:v>
                      </c:pt>
                      <c:pt idx="7567">
                        <c:v>0</c:v>
                      </c:pt>
                      <c:pt idx="7568">
                        <c:v>0</c:v>
                      </c:pt>
                      <c:pt idx="7569">
                        <c:v>0</c:v>
                      </c:pt>
                      <c:pt idx="7570">
                        <c:v>0</c:v>
                      </c:pt>
                      <c:pt idx="7571">
                        <c:v>0</c:v>
                      </c:pt>
                      <c:pt idx="7572">
                        <c:v>0</c:v>
                      </c:pt>
                      <c:pt idx="7573">
                        <c:v>0</c:v>
                      </c:pt>
                      <c:pt idx="7574">
                        <c:v>0</c:v>
                      </c:pt>
                      <c:pt idx="7575">
                        <c:v>0</c:v>
                      </c:pt>
                      <c:pt idx="7576">
                        <c:v>0</c:v>
                      </c:pt>
                      <c:pt idx="7577">
                        <c:v>0</c:v>
                      </c:pt>
                      <c:pt idx="7578">
                        <c:v>0</c:v>
                      </c:pt>
                      <c:pt idx="7579">
                        <c:v>0</c:v>
                      </c:pt>
                      <c:pt idx="7580">
                        <c:v>0</c:v>
                      </c:pt>
                      <c:pt idx="7581">
                        <c:v>0</c:v>
                      </c:pt>
                      <c:pt idx="7582">
                        <c:v>0</c:v>
                      </c:pt>
                      <c:pt idx="7583">
                        <c:v>0</c:v>
                      </c:pt>
                      <c:pt idx="7584">
                        <c:v>0</c:v>
                      </c:pt>
                      <c:pt idx="7585">
                        <c:v>0</c:v>
                      </c:pt>
                      <c:pt idx="7586">
                        <c:v>0</c:v>
                      </c:pt>
                      <c:pt idx="7587">
                        <c:v>0</c:v>
                      </c:pt>
                      <c:pt idx="7588">
                        <c:v>0</c:v>
                      </c:pt>
                      <c:pt idx="7589">
                        <c:v>0</c:v>
                      </c:pt>
                      <c:pt idx="7590">
                        <c:v>0</c:v>
                      </c:pt>
                      <c:pt idx="7591">
                        <c:v>0</c:v>
                      </c:pt>
                      <c:pt idx="7592">
                        <c:v>0</c:v>
                      </c:pt>
                      <c:pt idx="7593">
                        <c:v>0</c:v>
                      </c:pt>
                      <c:pt idx="7594">
                        <c:v>0</c:v>
                      </c:pt>
                      <c:pt idx="7595">
                        <c:v>0</c:v>
                      </c:pt>
                      <c:pt idx="7596">
                        <c:v>0</c:v>
                      </c:pt>
                      <c:pt idx="7597">
                        <c:v>0</c:v>
                      </c:pt>
                      <c:pt idx="7598">
                        <c:v>0</c:v>
                      </c:pt>
                      <c:pt idx="7599">
                        <c:v>0</c:v>
                      </c:pt>
                      <c:pt idx="7600">
                        <c:v>0</c:v>
                      </c:pt>
                      <c:pt idx="7601">
                        <c:v>0</c:v>
                      </c:pt>
                      <c:pt idx="7602">
                        <c:v>0</c:v>
                      </c:pt>
                      <c:pt idx="7603">
                        <c:v>0</c:v>
                      </c:pt>
                      <c:pt idx="7604">
                        <c:v>0</c:v>
                      </c:pt>
                      <c:pt idx="7605">
                        <c:v>0</c:v>
                      </c:pt>
                      <c:pt idx="7606">
                        <c:v>0</c:v>
                      </c:pt>
                      <c:pt idx="7607">
                        <c:v>0</c:v>
                      </c:pt>
                      <c:pt idx="7608">
                        <c:v>0</c:v>
                      </c:pt>
                      <c:pt idx="7609">
                        <c:v>0</c:v>
                      </c:pt>
                      <c:pt idx="7610">
                        <c:v>0</c:v>
                      </c:pt>
                      <c:pt idx="7611">
                        <c:v>0</c:v>
                      </c:pt>
                      <c:pt idx="7612">
                        <c:v>0</c:v>
                      </c:pt>
                      <c:pt idx="7613">
                        <c:v>0</c:v>
                      </c:pt>
                      <c:pt idx="7614">
                        <c:v>0</c:v>
                      </c:pt>
                      <c:pt idx="7615">
                        <c:v>0</c:v>
                      </c:pt>
                      <c:pt idx="7616">
                        <c:v>0</c:v>
                      </c:pt>
                      <c:pt idx="7617">
                        <c:v>0</c:v>
                      </c:pt>
                      <c:pt idx="7618">
                        <c:v>0</c:v>
                      </c:pt>
                      <c:pt idx="7619">
                        <c:v>0</c:v>
                      </c:pt>
                      <c:pt idx="7620">
                        <c:v>0</c:v>
                      </c:pt>
                      <c:pt idx="7621">
                        <c:v>0</c:v>
                      </c:pt>
                      <c:pt idx="7622">
                        <c:v>0</c:v>
                      </c:pt>
                      <c:pt idx="7623">
                        <c:v>0</c:v>
                      </c:pt>
                      <c:pt idx="7624">
                        <c:v>0</c:v>
                      </c:pt>
                      <c:pt idx="7625">
                        <c:v>0</c:v>
                      </c:pt>
                      <c:pt idx="7626">
                        <c:v>0</c:v>
                      </c:pt>
                      <c:pt idx="7627">
                        <c:v>0</c:v>
                      </c:pt>
                      <c:pt idx="7628">
                        <c:v>0</c:v>
                      </c:pt>
                      <c:pt idx="7629">
                        <c:v>0</c:v>
                      </c:pt>
                      <c:pt idx="7630">
                        <c:v>0</c:v>
                      </c:pt>
                      <c:pt idx="7631">
                        <c:v>0</c:v>
                      </c:pt>
                      <c:pt idx="7632">
                        <c:v>0</c:v>
                      </c:pt>
                      <c:pt idx="7633">
                        <c:v>0</c:v>
                      </c:pt>
                      <c:pt idx="7634">
                        <c:v>0</c:v>
                      </c:pt>
                      <c:pt idx="7635">
                        <c:v>0</c:v>
                      </c:pt>
                      <c:pt idx="7636">
                        <c:v>0</c:v>
                      </c:pt>
                      <c:pt idx="7637">
                        <c:v>0</c:v>
                      </c:pt>
                      <c:pt idx="7638">
                        <c:v>0</c:v>
                      </c:pt>
                      <c:pt idx="7639">
                        <c:v>0</c:v>
                      </c:pt>
                      <c:pt idx="7640">
                        <c:v>0</c:v>
                      </c:pt>
                      <c:pt idx="7641">
                        <c:v>0</c:v>
                      </c:pt>
                      <c:pt idx="7642">
                        <c:v>0</c:v>
                      </c:pt>
                      <c:pt idx="7643">
                        <c:v>0</c:v>
                      </c:pt>
                      <c:pt idx="7644">
                        <c:v>0</c:v>
                      </c:pt>
                      <c:pt idx="7645">
                        <c:v>0</c:v>
                      </c:pt>
                      <c:pt idx="7646">
                        <c:v>0</c:v>
                      </c:pt>
                      <c:pt idx="7647">
                        <c:v>0</c:v>
                      </c:pt>
                      <c:pt idx="7648">
                        <c:v>0</c:v>
                      </c:pt>
                      <c:pt idx="7649">
                        <c:v>0</c:v>
                      </c:pt>
                      <c:pt idx="7650">
                        <c:v>0</c:v>
                      </c:pt>
                      <c:pt idx="7651">
                        <c:v>0</c:v>
                      </c:pt>
                      <c:pt idx="7652">
                        <c:v>0</c:v>
                      </c:pt>
                      <c:pt idx="7653">
                        <c:v>0</c:v>
                      </c:pt>
                      <c:pt idx="7654">
                        <c:v>0</c:v>
                      </c:pt>
                      <c:pt idx="7655">
                        <c:v>0</c:v>
                      </c:pt>
                      <c:pt idx="7656">
                        <c:v>0</c:v>
                      </c:pt>
                      <c:pt idx="7657">
                        <c:v>0</c:v>
                      </c:pt>
                      <c:pt idx="7658">
                        <c:v>0</c:v>
                      </c:pt>
                      <c:pt idx="7659">
                        <c:v>0</c:v>
                      </c:pt>
                      <c:pt idx="7660">
                        <c:v>0</c:v>
                      </c:pt>
                      <c:pt idx="7661">
                        <c:v>0</c:v>
                      </c:pt>
                      <c:pt idx="7662">
                        <c:v>0</c:v>
                      </c:pt>
                      <c:pt idx="7663">
                        <c:v>0</c:v>
                      </c:pt>
                      <c:pt idx="7664">
                        <c:v>0</c:v>
                      </c:pt>
                      <c:pt idx="7665">
                        <c:v>0</c:v>
                      </c:pt>
                      <c:pt idx="7666">
                        <c:v>0</c:v>
                      </c:pt>
                      <c:pt idx="7667">
                        <c:v>0</c:v>
                      </c:pt>
                      <c:pt idx="7668">
                        <c:v>0</c:v>
                      </c:pt>
                      <c:pt idx="7669">
                        <c:v>0</c:v>
                      </c:pt>
                      <c:pt idx="7670">
                        <c:v>0</c:v>
                      </c:pt>
                      <c:pt idx="7671">
                        <c:v>0</c:v>
                      </c:pt>
                      <c:pt idx="7672">
                        <c:v>0</c:v>
                      </c:pt>
                      <c:pt idx="7673">
                        <c:v>0</c:v>
                      </c:pt>
                      <c:pt idx="7674">
                        <c:v>0</c:v>
                      </c:pt>
                      <c:pt idx="7675">
                        <c:v>0</c:v>
                      </c:pt>
                      <c:pt idx="7676">
                        <c:v>0</c:v>
                      </c:pt>
                      <c:pt idx="7677">
                        <c:v>0</c:v>
                      </c:pt>
                      <c:pt idx="7678">
                        <c:v>0</c:v>
                      </c:pt>
                      <c:pt idx="7679">
                        <c:v>0</c:v>
                      </c:pt>
                      <c:pt idx="7680">
                        <c:v>0</c:v>
                      </c:pt>
                      <c:pt idx="7681">
                        <c:v>0</c:v>
                      </c:pt>
                      <c:pt idx="7682">
                        <c:v>0</c:v>
                      </c:pt>
                      <c:pt idx="7683">
                        <c:v>0</c:v>
                      </c:pt>
                      <c:pt idx="7684">
                        <c:v>0</c:v>
                      </c:pt>
                      <c:pt idx="7685">
                        <c:v>0</c:v>
                      </c:pt>
                      <c:pt idx="7686">
                        <c:v>0</c:v>
                      </c:pt>
                      <c:pt idx="7687">
                        <c:v>0</c:v>
                      </c:pt>
                      <c:pt idx="7688">
                        <c:v>0</c:v>
                      </c:pt>
                      <c:pt idx="7689">
                        <c:v>0</c:v>
                      </c:pt>
                      <c:pt idx="7690">
                        <c:v>0</c:v>
                      </c:pt>
                      <c:pt idx="7691">
                        <c:v>0</c:v>
                      </c:pt>
                      <c:pt idx="7692">
                        <c:v>0</c:v>
                      </c:pt>
                      <c:pt idx="7693">
                        <c:v>0</c:v>
                      </c:pt>
                      <c:pt idx="7694">
                        <c:v>0</c:v>
                      </c:pt>
                      <c:pt idx="7695">
                        <c:v>0</c:v>
                      </c:pt>
                      <c:pt idx="7696">
                        <c:v>0</c:v>
                      </c:pt>
                      <c:pt idx="7697">
                        <c:v>0</c:v>
                      </c:pt>
                      <c:pt idx="7698">
                        <c:v>0</c:v>
                      </c:pt>
                      <c:pt idx="7699">
                        <c:v>0</c:v>
                      </c:pt>
                      <c:pt idx="7700">
                        <c:v>0</c:v>
                      </c:pt>
                      <c:pt idx="7701">
                        <c:v>0</c:v>
                      </c:pt>
                      <c:pt idx="7702">
                        <c:v>0</c:v>
                      </c:pt>
                      <c:pt idx="7703">
                        <c:v>0</c:v>
                      </c:pt>
                      <c:pt idx="7704">
                        <c:v>0</c:v>
                      </c:pt>
                      <c:pt idx="7705">
                        <c:v>0</c:v>
                      </c:pt>
                      <c:pt idx="7706">
                        <c:v>0</c:v>
                      </c:pt>
                      <c:pt idx="7707">
                        <c:v>0</c:v>
                      </c:pt>
                      <c:pt idx="7708">
                        <c:v>0</c:v>
                      </c:pt>
                      <c:pt idx="7709">
                        <c:v>0</c:v>
                      </c:pt>
                      <c:pt idx="7710">
                        <c:v>0</c:v>
                      </c:pt>
                      <c:pt idx="7711">
                        <c:v>0</c:v>
                      </c:pt>
                      <c:pt idx="7712">
                        <c:v>0</c:v>
                      </c:pt>
                      <c:pt idx="7713">
                        <c:v>0</c:v>
                      </c:pt>
                      <c:pt idx="7714">
                        <c:v>0</c:v>
                      </c:pt>
                      <c:pt idx="7715">
                        <c:v>0</c:v>
                      </c:pt>
                      <c:pt idx="7716">
                        <c:v>0</c:v>
                      </c:pt>
                      <c:pt idx="7717">
                        <c:v>0</c:v>
                      </c:pt>
                      <c:pt idx="7718">
                        <c:v>0</c:v>
                      </c:pt>
                      <c:pt idx="7719">
                        <c:v>0</c:v>
                      </c:pt>
                      <c:pt idx="7720">
                        <c:v>0</c:v>
                      </c:pt>
                      <c:pt idx="7721">
                        <c:v>0</c:v>
                      </c:pt>
                      <c:pt idx="7722">
                        <c:v>0</c:v>
                      </c:pt>
                      <c:pt idx="7723">
                        <c:v>0</c:v>
                      </c:pt>
                      <c:pt idx="7724">
                        <c:v>0</c:v>
                      </c:pt>
                      <c:pt idx="7725">
                        <c:v>0</c:v>
                      </c:pt>
                      <c:pt idx="7726">
                        <c:v>0</c:v>
                      </c:pt>
                      <c:pt idx="7727">
                        <c:v>0</c:v>
                      </c:pt>
                      <c:pt idx="7728">
                        <c:v>0</c:v>
                      </c:pt>
                      <c:pt idx="7729">
                        <c:v>0</c:v>
                      </c:pt>
                      <c:pt idx="7730">
                        <c:v>0</c:v>
                      </c:pt>
                      <c:pt idx="7731">
                        <c:v>0</c:v>
                      </c:pt>
                      <c:pt idx="7732">
                        <c:v>0</c:v>
                      </c:pt>
                      <c:pt idx="7733">
                        <c:v>0</c:v>
                      </c:pt>
                      <c:pt idx="7734">
                        <c:v>0</c:v>
                      </c:pt>
                      <c:pt idx="7735">
                        <c:v>0</c:v>
                      </c:pt>
                      <c:pt idx="7736">
                        <c:v>0</c:v>
                      </c:pt>
                      <c:pt idx="7737">
                        <c:v>0</c:v>
                      </c:pt>
                      <c:pt idx="7738">
                        <c:v>0</c:v>
                      </c:pt>
                      <c:pt idx="7739">
                        <c:v>0</c:v>
                      </c:pt>
                      <c:pt idx="7740">
                        <c:v>0</c:v>
                      </c:pt>
                      <c:pt idx="7741">
                        <c:v>0</c:v>
                      </c:pt>
                      <c:pt idx="7742">
                        <c:v>0</c:v>
                      </c:pt>
                      <c:pt idx="7743">
                        <c:v>0</c:v>
                      </c:pt>
                      <c:pt idx="7744">
                        <c:v>0</c:v>
                      </c:pt>
                      <c:pt idx="7745">
                        <c:v>0</c:v>
                      </c:pt>
                      <c:pt idx="7746">
                        <c:v>0</c:v>
                      </c:pt>
                      <c:pt idx="7747">
                        <c:v>0</c:v>
                      </c:pt>
                      <c:pt idx="7748">
                        <c:v>0</c:v>
                      </c:pt>
                      <c:pt idx="7749">
                        <c:v>0</c:v>
                      </c:pt>
                      <c:pt idx="7750">
                        <c:v>0</c:v>
                      </c:pt>
                      <c:pt idx="7751">
                        <c:v>0</c:v>
                      </c:pt>
                      <c:pt idx="7752">
                        <c:v>0</c:v>
                      </c:pt>
                      <c:pt idx="7753">
                        <c:v>0</c:v>
                      </c:pt>
                      <c:pt idx="7754">
                        <c:v>0</c:v>
                      </c:pt>
                      <c:pt idx="7755">
                        <c:v>0</c:v>
                      </c:pt>
                      <c:pt idx="7756">
                        <c:v>0</c:v>
                      </c:pt>
                      <c:pt idx="7757">
                        <c:v>0</c:v>
                      </c:pt>
                      <c:pt idx="7758">
                        <c:v>0</c:v>
                      </c:pt>
                      <c:pt idx="7759">
                        <c:v>0</c:v>
                      </c:pt>
                      <c:pt idx="7760">
                        <c:v>0</c:v>
                      </c:pt>
                      <c:pt idx="7761">
                        <c:v>0</c:v>
                      </c:pt>
                      <c:pt idx="7762">
                        <c:v>0</c:v>
                      </c:pt>
                      <c:pt idx="7763">
                        <c:v>0</c:v>
                      </c:pt>
                      <c:pt idx="7764">
                        <c:v>0</c:v>
                      </c:pt>
                      <c:pt idx="7765">
                        <c:v>0</c:v>
                      </c:pt>
                      <c:pt idx="7766">
                        <c:v>0</c:v>
                      </c:pt>
                      <c:pt idx="7767">
                        <c:v>0</c:v>
                      </c:pt>
                      <c:pt idx="7768">
                        <c:v>0</c:v>
                      </c:pt>
                      <c:pt idx="7769">
                        <c:v>0</c:v>
                      </c:pt>
                      <c:pt idx="7770">
                        <c:v>0</c:v>
                      </c:pt>
                      <c:pt idx="7771">
                        <c:v>0</c:v>
                      </c:pt>
                      <c:pt idx="7772">
                        <c:v>0</c:v>
                      </c:pt>
                      <c:pt idx="7773">
                        <c:v>0</c:v>
                      </c:pt>
                      <c:pt idx="7774">
                        <c:v>0</c:v>
                      </c:pt>
                      <c:pt idx="7775">
                        <c:v>0</c:v>
                      </c:pt>
                      <c:pt idx="7776">
                        <c:v>0</c:v>
                      </c:pt>
                      <c:pt idx="7777">
                        <c:v>0</c:v>
                      </c:pt>
                      <c:pt idx="7778">
                        <c:v>0</c:v>
                      </c:pt>
                      <c:pt idx="7779">
                        <c:v>0</c:v>
                      </c:pt>
                      <c:pt idx="7780">
                        <c:v>0</c:v>
                      </c:pt>
                      <c:pt idx="7781">
                        <c:v>0</c:v>
                      </c:pt>
                      <c:pt idx="7782">
                        <c:v>0</c:v>
                      </c:pt>
                      <c:pt idx="7783">
                        <c:v>0</c:v>
                      </c:pt>
                      <c:pt idx="7784">
                        <c:v>0</c:v>
                      </c:pt>
                      <c:pt idx="7785">
                        <c:v>0</c:v>
                      </c:pt>
                      <c:pt idx="7786">
                        <c:v>0</c:v>
                      </c:pt>
                      <c:pt idx="7787">
                        <c:v>0</c:v>
                      </c:pt>
                      <c:pt idx="7788">
                        <c:v>0</c:v>
                      </c:pt>
                      <c:pt idx="7789">
                        <c:v>0</c:v>
                      </c:pt>
                      <c:pt idx="7790">
                        <c:v>0</c:v>
                      </c:pt>
                      <c:pt idx="7791">
                        <c:v>0</c:v>
                      </c:pt>
                      <c:pt idx="7792">
                        <c:v>0</c:v>
                      </c:pt>
                      <c:pt idx="7793">
                        <c:v>0</c:v>
                      </c:pt>
                      <c:pt idx="7794">
                        <c:v>0</c:v>
                      </c:pt>
                      <c:pt idx="7795">
                        <c:v>0</c:v>
                      </c:pt>
                      <c:pt idx="7796">
                        <c:v>0</c:v>
                      </c:pt>
                      <c:pt idx="7797">
                        <c:v>0</c:v>
                      </c:pt>
                      <c:pt idx="7798">
                        <c:v>0</c:v>
                      </c:pt>
                      <c:pt idx="7799">
                        <c:v>0</c:v>
                      </c:pt>
                      <c:pt idx="7800">
                        <c:v>0</c:v>
                      </c:pt>
                      <c:pt idx="7801">
                        <c:v>0</c:v>
                      </c:pt>
                      <c:pt idx="7802">
                        <c:v>0</c:v>
                      </c:pt>
                      <c:pt idx="7803">
                        <c:v>0</c:v>
                      </c:pt>
                      <c:pt idx="7804">
                        <c:v>0</c:v>
                      </c:pt>
                      <c:pt idx="7805">
                        <c:v>0</c:v>
                      </c:pt>
                      <c:pt idx="7806">
                        <c:v>0</c:v>
                      </c:pt>
                      <c:pt idx="7807">
                        <c:v>0</c:v>
                      </c:pt>
                      <c:pt idx="7808">
                        <c:v>0</c:v>
                      </c:pt>
                      <c:pt idx="7809">
                        <c:v>0</c:v>
                      </c:pt>
                      <c:pt idx="7810">
                        <c:v>0</c:v>
                      </c:pt>
                      <c:pt idx="7811">
                        <c:v>0</c:v>
                      </c:pt>
                      <c:pt idx="7812">
                        <c:v>0</c:v>
                      </c:pt>
                      <c:pt idx="7813">
                        <c:v>0</c:v>
                      </c:pt>
                      <c:pt idx="7814">
                        <c:v>0</c:v>
                      </c:pt>
                      <c:pt idx="7815">
                        <c:v>0</c:v>
                      </c:pt>
                      <c:pt idx="7816">
                        <c:v>0</c:v>
                      </c:pt>
                      <c:pt idx="7817">
                        <c:v>0</c:v>
                      </c:pt>
                      <c:pt idx="7818">
                        <c:v>0</c:v>
                      </c:pt>
                      <c:pt idx="7819">
                        <c:v>0</c:v>
                      </c:pt>
                      <c:pt idx="7820">
                        <c:v>0</c:v>
                      </c:pt>
                      <c:pt idx="7821">
                        <c:v>0</c:v>
                      </c:pt>
                      <c:pt idx="7822">
                        <c:v>0</c:v>
                      </c:pt>
                      <c:pt idx="7823">
                        <c:v>0</c:v>
                      </c:pt>
                      <c:pt idx="7824">
                        <c:v>0</c:v>
                      </c:pt>
                      <c:pt idx="7825">
                        <c:v>0</c:v>
                      </c:pt>
                      <c:pt idx="7826">
                        <c:v>0</c:v>
                      </c:pt>
                      <c:pt idx="7827">
                        <c:v>0</c:v>
                      </c:pt>
                      <c:pt idx="7828">
                        <c:v>0</c:v>
                      </c:pt>
                      <c:pt idx="7829">
                        <c:v>0</c:v>
                      </c:pt>
                      <c:pt idx="7830">
                        <c:v>0</c:v>
                      </c:pt>
                      <c:pt idx="7831">
                        <c:v>0</c:v>
                      </c:pt>
                      <c:pt idx="7832">
                        <c:v>0</c:v>
                      </c:pt>
                      <c:pt idx="7833">
                        <c:v>0</c:v>
                      </c:pt>
                      <c:pt idx="7834">
                        <c:v>0</c:v>
                      </c:pt>
                      <c:pt idx="7835">
                        <c:v>0</c:v>
                      </c:pt>
                      <c:pt idx="7836">
                        <c:v>0</c:v>
                      </c:pt>
                      <c:pt idx="7837">
                        <c:v>0</c:v>
                      </c:pt>
                      <c:pt idx="7838">
                        <c:v>0</c:v>
                      </c:pt>
                      <c:pt idx="7839">
                        <c:v>0</c:v>
                      </c:pt>
                      <c:pt idx="7840">
                        <c:v>0</c:v>
                      </c:pt>
                      <c:pt idx="7841">
                        <c:v>0</c:v>
                      </c:pt>
                      <c:pt idx="7842">
                        <c:v>0</c:v>
                      </c:pt>
                      <c:pt idx="7843">
                        <c:v>0</c:v>
                      </c:pt>
                      <c:pt idx="7844">
                        <c:v>0</c:v>
                      </c:pt>
                      <c:pt idx="7845">
                        <c:v>0</c:v>
                      </c:pt>
                      <c:pt idx="7846">
                        <c:v>0</c:v>
                      </c:pt>
                      <c:pt idx="7847">
                        <c:v>0</c:v>
                      </c:pt>
                      <c:pt idx="7848">
                        <c:v>0</c:v>
                      </c:pt>
                      <c:pt idx="7849">
                        <c:v>0</c:v>
                      </c:pt>
                      <c:pt idx="7850">
                        <c:v>0</c:v>
                      </c:pt>
                      <c:pt idx="7851">
                        <c:v>0</c:v>
                      </c:pt>
                      <c:pt idx="7852">
                        <c:v>0</c:v>
                      </c:pt>
                      <c:pt idx="7853">
                        <c:v>0</c:v>
                      </c:pt>
                      <c:pt idx="7854">
                        <c:v>0</c:v>
                      </c:pt>
                      <c:pt idx="7855">
                        <c:v>0</c:v>
                      </c:pt>
                      <c:pt idx="7856">
                        <c:v>0</c:v>
                      </c:pt>
                      <c:pt idx="7857">
                        <c:v>0</c:v>
                      </c:pt>
                      <c:pt idx="7858">
                        <c:v>0</c:v>
                      </c:pt>
                      <c:pt idx="7859">
                        <c:v>0</c:v>
                      </c:pt>
                      <c:pt idx="7860">
                        <c:v>0</c:v>
                      </c:pt>
                      <c:pt idx="7861">
                        <c:v>0</c:v>
                      </c:pt>
                      <c:pt idx="7862">
                        <c:v>0</c:v>
                      </c:pt>
                      <c:pt idx="7863">
                        <c:v>0</c:v>
                      </c:pt>
                      <c:pt idx="7864">
                        <c:v>0</c:v>
                      </c:pt>
                      <c:pt idx="7865">
                        <c:v>0</c:v>
                      </c:pt>
                      <c:pt idx="7866">
                        <c:v>0</c:v>
                      </c:pt>
                      <c:pt idx="7867">
                        <c:v>0</c:v>
                      </c:pt>
                      <c:pt idx="7868">
                        <c:v>0</c:v>
                      </c:pt>
                      <c:pt idx="7869">
                        <c:v>0</c:v>
                      </c:pt>
                      <c:pt idx="7870">
                        <c:v>0</c:v>
                      </c:pt>
                      <c:pt idx="7871">
                        <c:v>0</c:v>
                      </c:pt>
                      <c:pt idx="7872">
                        <c:v>0</c:v>
                      </c:pt>
                      <c:pt idx="7873">
                        <c:v>0</c:v>
                      </c:pt>
                      <c:pt idx="7874">
                        <c:v>0</c:v>
                      </c:pt>
                      <c:pt idx="7875">
                        <c:v>0</c:v>
                      </c:pt>
                      <c:pt idx="7876">
                        <c:v>0</c:v>
                      </c:pt>
                      <c:pt idx="7877">
                        <c:v>0</c:v>
                      </c:pt>
                      <c:pt idx="7878">
                        <c:v>0</c:v>
                      </c:pt>
                      <c:pt idx="7879">
                        <c:v>0</c:v>
                      </c:pt>
                      <c:pt idx="7880">
                        <c:v>0</c:v>
                      </c:pt>
                      <c:pt idx="7881">
                        <c:v>0</c:v>
                      </c:pt>
                      <c:pt idx="7882">
                        <c:v>0</c:v>
                      </c:pt>
                      <c:pt idx="7883">
                        <c:v>0</c:v>
                      </c:pt>
                      <c:pt idx="7884">
                        <c:v>0</c:v>
                      </c:pt>
                      <c:pt idx="7885">
                        <c:v>0</c:v>
                      </c:pt>
                      <c:pt idx="7886">
                        <c:v>0</c:v>
                      </c:pt>
                      <c:pt idx="7887">
                        <c:v>0</c:v>
                      </c:pt>
                      <c:pt idx="7888">
                        <c:v>0</c:v>
                      </c:pt>
                      <c:pt idx="7889">
                        <c:v>0</c:v>
                      </c:pt>
                      <c:pt idx="7890">
                        <c:v>0</c:v>
                      </c:pt>
                      <c:pt idx="7891">
                        <c:v>0</c:v>
                      </c:pt>
                      <c:pt idx="7892">
                        <c:v>0</c:v>
                      </c:pt>
                      <c:pt idx="7893">
                        <c:v>0</c:v>
                      </c:pt>
                      <c:pt idx="7894">
                        <c:v>0</c:v>
                      </c:pt>
                      <c:pt idx="7895">
                        <c:v>0</c:v>
                      </c:pt>
                      <c:pt idx="7896">
                        <c:v>0</c:v>
                      </c:pt>
                      <c:pt idx="7897">
                        <c:v>0</c:v>
                      </c:pt>
                      <c:pt idx="7898">
                        <c:v>0</c:v>
                      </c:pt>
                      <c:pt idx="7899">
                        <c:v>0</c:v>
                      </c:pt>
                      <c:pt idx="7900">
                        <c:v>0</c:v>
                      </c:pt>
                      <c:pt idx="7901">
                        <c:v>0</c:v>
                      </c:pt>
                      <c:pt idx="7902">
                        <c:v>0</c:v>
                      </c:pt>
                      <c:pt idx="7903">
                        <c:v>0</c:v>
                      </c:pt>
                      <c:pt idx="7904">
                        <c:v>0</c:v>
                      </c:pt>
                      <c:pt idx="7905">
                        <c:v>0</c:v>
                      </c:pt>
                      <c:pt idx="7906">
                        <c:v>0</c:v>
                      </c:pt>
                      <c:pt idx="7907">
                        <c:v>0</c:v>
                      </c:pt>
                      <c:pt idx="7908">
                        <c:v>0</c:v>
                      </c:pt>
                      <c:pt idx="7909">
                        <c:v>0</c:v>
                      </c:pt>
                      <c:pt idx="7910">
                        <c:v>0</c:v>
                      </c:pt>
                      <c:pt idx="7911">
                        <c:v>0</c:v>
                      </c:pt>
                      <c:pt idx="7912">
                        <c:v>0</c:v>
                      </c:pt>
                      <c:pt idx="7913">
                        <c:v>0</c:v>
                      </c:pt>
                      <c:pt idx="7914">
                        <c:v>0</c:v>
                      </c:pt>
                      <c:pt idx="7915">
                        <c:v>0</c:v>
                      </c:pt>
                      <c:pt idx="7916">
                        <c:v>0</c:v>
                      </c:pt>
                      <c:pt idx="7917">
                        <c:v>0</c:v>
                      </c:pt>
                      <c:pt idx="7918">
                        <c:v>0</c:v>
                      </c:pt>
                      <c:pt idx="7919">
                        <c:v>0</c:v>
                      </c:pt>
                      <c:pt idx="7920">
                        <c:v>0</c:v>
                      </c:pt>
                      <c:pt idx="7921">
                        <c:v>0</c:v>
                      </c:pt>
                      <c:pt idx="7922">
                        <c:v>0</c:v>
                      </c:pt>
                      <c:pt idx="7923">
                        <c:v>0</c:v>
                      </c:pt>
                      <c:pt idx="7924">
                        <c:v>0</c:v>
                      </c:pt>
                      <c:pt idx="7925">
                        <c:v>0</c:v>
                      </c:pt>
                      <c:pt idx="7926">
                        <c:v>0</c:v>
                      </c:pt>
                      <c:pt idx="7927">
                        <c:v>0</c:v>
                      </c:pt>
                      <c:pt idx="7928">
                        <c:v>0</c:v>
                      </c:pt>
                      <c:pt idx="7929">
                        <c:v>0</c:v>
                      </c:pt>
                      <c:pt idx="7930">
                        <c:v>0</c:v>
                      </c:pt>
                      <c:pt idx="7931">
                        <c:v>0</c:v>
                      </c:pt>
                      <c:pt idx="7932">
                        <c:v>0</c:v>
                      </c:pt>
                      <c:pt idx="7933">
                        <c:v>0</c:v>
                      </c:pt>
                      <c:pt idx="7934">
                        <c:v>0</c:v>
                      </c:pt>
                      <c:pt idx="7935">
                        <c:v>0</c:v>
                      </c:pt>
                      <c:pt idx="7936">
                        <c:v>0</c:v>
                      </c:pt>
                      <c:pt idx="7937">
                        <c:v>0</c:v>
                      </c:pt>
                      <c:pt idx="7938">
                        <c:v>0</c:v>
                      </c:pt>
                      <c:pt idx="7939">
                        <c:v>0</c:v>
                      </c:pt>
                      <c:pt idx="7940">
                        <c:v>0</c:v>
                      </c:pt>
                      <c:pt idx="7941">
                        <c:v>0</c:v>
                      </c:pt>
                      <c:pt idx="7942">
                        <c:v>0</c:v>
                      </c:pt>
                      <c:pt idx="7943">
                        <c:v>0</c:v>
                      </c:pt>
                      <c:pt idx="7944">
                        <c:v>0</c:v>
                      </c:pt>
                      <c:pt idx="7945">
                        <c:v>0</c:v>
                      </c:pt>
                      <c:pt idx="7946">
                        <c:v>0</c:v>
                      </c:pt>
                      <c:pt idx="7947">
                        <c:v>0</c:v>
                      </c:pt>
                      <c:pt idx="7948">
                        <c:v>0</c:v>
                      </c:pt>
                      <c:pt idx="7949">
                        <c:v>0</c:v>
                      </c:pt>
                      <c:pt idx="7950">
                        <c:v>0</c:v>
                      </c:pt>
                      <c:pt idx="7951">
                        <c:v>0</c:v>
                      </c:pt>
                      <c:pt idx="7952">
                        <c:v>0</c:v>
                      </c:pt>
                      <c:pt idx="7953">
                        <c:v>0</c:v>
                      </c:pt>
                      <c:pt idx="7954">
                        <c:v>0</c:v>
                      </c:pt>
                      <c:pt idx="7955">
                        <c:v>0</c:v>
                      </c:pt>
                      <c:pt idx="7956">
                        <c:v>0</c:v>
                      </c:pt>
                      <c:pt idx="7957">
                        <c:v>0</c:v>
                      </c:pt>
                      <c:pt idx="7958">
                        <c:v>0</c:v>
                      </c:pt>
                      <c:pt idx="7959">
                        <c:v>0</c:v>
                      </c:pt>
                      <c:pt idx="7960">
                        <c:v>0</c:v>
                      </c:pt>
                      <c:pt idx="7961">
                        <c:v>0</c:v>
                      </c:pt>
                      <c:pt idx="7962">
                        <c:v>0</c:v>
                      </c:pt>
                      <c:pt idx="7963">
                        <c:v>0</c:v>
                      </c:pt>
                      <c:pt idx="7964">
                        <c:v>0</c:v>
                      </c:pt>
                      <c:pt idx="7965">
                        <c:v>0</c:v>
                      </c:pt>
                      <c:pt idx="7966">
                        <c:v>0</c:v>
                      </c:pt>
                      <c:pt idx="7967">
                        <c:v>0</c:v>
                      </c:pt>
                      <c:pt idx="7968">
                        <c:v>0</c:v>
                      </c:pt>
                      <c:pt idx="7969">
                        <c:v>0</c:v>
                      </c:pt>
                      <c:pt idx="7970">
                        <c:v>0</c:v>
                      </c:pt>
                      <c:pt idx="7971">
                        <c:v>0</c:v>
                      </c:pt>
                      <c:pt idx="7972">
                        <c:v>0</c:v>
                      </c:pt>
                      <c:pt idx="7973">
                        <c:v>0</c:v>
                      </c:pt>
                      <c:pt idx="7974">
                        <c:v>0</c:v>
                      </c:pt>
                      <c:pt idx="7975">
                        <c:v>0</c:v>
                      </c:pt>
                      <c:pt idx="7976">
                        <c:v>0</c:v>
                      </c:pt>
                      <c:pt idx="7977">
                        <c:v>0</c:v>
                      </c:pt>
                      <c:pt idx="7978">
                        <c:v>0</c:v>
                      </c:pt>
                      <c:pt idx="7979">
                        <c:v>0</c:v>
                      </c:pt>
                      <c:pt idx="7980">
                        <c:v>0</c:v>
                      </c:pt>
                      <c:pt idx="7981">
                        <c:v>0</c:v>
                      </c:pt>
                      <c:pt idx="7982">
                        <c:v>0</c:v>
                      </c:pt>
                      <c:pt idx="7983">
                        <c:v>0</c:v>
                      </c:pt>
                      <c:pt idx="7984">
                        <c:v>0</c:v>
                      </c:pt>
                      <c:pt idx="7985">
                        <c:v>0</c:v>
                      </c:pt>
                      <c:pt idx="7986">
                        <c:v>0</c:v>
                      </c:pt>
                      <c:pt idx="7987">
                        <c:v>0</c:v>
                      </c:pt>
                      <c:pt idx="7988">
                        <c:v>0</c:v>
                      </c:pt>
                      <c:pt idx="7989">
                        <c:v>0</c:v>
                      </c:pt>
                      <c:pt idx="7990">
                        <c:v>0</c:v>
                      </c:pt>
                      <c:pt idx="7991">
                        <c:v>0</c:v>
                      </c:pt>
                      <c:pt idx="7992">
                        <c:v>0</c:v>
                      </c:pt>
                      <c:pt idx="7993">
                        <c:v>0</c:v>
                      </c:pt>
                      <c:pt idx="7994">
                        <c:v>0</c:v>
                      </c:pt>
                      <c:pt idx="7995">
                        <c:v>0</c:v>
                      </c:pt>
                      <c:pt idx="7996">
                        <c:v>0</c:v>
                      </c:pt>
                      <c:pt idx="7997">
                        <c:v>0</c:v>
                      </c:pt>
                      <c:pt idx="7998">
                        <c:v>0</c:v>
                      </c:pt>
                      <c:pt idx="7999">
                        <c:v>0</c:v>
                      </c:pt>
                      <c:pt idx="8000">
                        <c:v>0</c:v>
                      </c:pt>
                      <c:pt idx="8001">
                        <c:v>0</c:v>
                      </c:pt>
                      <c:pt idx="8002">
                        <c:v>0</c:v>
                      </c:pt>
                      <c:pt idx="8003">
                        <c:v>0</c:v>
                      </c:pt>
                      <c:pt idx="8004">
                        <c:v>0</c:v>
                      </c:pt>
                      <c:pt idx="8005">
                        <c:v>0</c:v>
                      </c:pt>
                      <c:pt idx="8006">
                        <c:v>0</c:v>
                      </c:pt>
                      <c:pt idx="8007">
                        <c:v>0</c:v>
                      </c:pt>
                      <c:pt idx="8008">
                        <c:v>0</c:v>
                      </c:pt>
                      <c:pt idx="8009">
                        <c:v>0</c:v>
                      </c:pt>
                      <c:pt idx="8010">
                        <c:v>0</c:v>
                      </c:pt>
                      <c:pt idx="8011">
                        <c:v>0</c:v>
                      </c:pt>
                      <c:pt idx="8012">
                        <c:v>0</c:v>
                      </c:pt>
                      <c:pt idx="8013">
                        <c:v>0</c:v>
                      </c:pt>
                      <c:pt idx="8014">
                        <c:v>0</c:v>
                      </c:pt>
                      <c:pt idx="8015">
                        <c:v>0</c:v>
                      </c:pt>
                      <c:pt idx="8016">
                        <c:v>0</c:v>
                      </c:pt>
                      <c:pt idx="8017">
                        <c:v>0</c:v>
                      </c:pt>
                      <c:pt idx="8018">
                        <c:v>0</c:v>
                      </c:pt>
                      <c:pt idx="8019">
                        <c:v>0</c:v>
                      </c:pt>
                      <c:pt idx="8020">
                        <c:v>0</c:v>
                      </c:pt>
                      <c:pt idx="8021">
                        <c:v>0</c:v>
                      </c:pt>
                      <c:pt idx="8022">
                        <c:v>0</c:v>
                      </c:pt>
                      <c:pt idx="8023">
                        <c:v>0</c:v>
                      </c:pt>
                      <c:pt idx="8024">
                        <c:v>0</c:v>
                      </c:pt>
                      <c:pt idx="8025">
                        <c:v>0</c:v>
                      </c:pt>
                      <c:pt idx="8026">
                        <c:v>0</c:v>
                      </c:pt>
                      <c:pt idx="8027">
                        <c:v>0</c:v>
                      </c:pt>
                      <c:pt idx="8028">
                        <c:v>0</c:v>
                      </c:pt>
                      <c:pt idx="8029">
                        <c:v>0</c:v>
                      </c:pt>
                      <c:pt idx="8030">
                        <c:v>0</c:v>
                      </c:pt>
                      <c:pt idx="8031">
                        <c:v>0</c:v>
                      </c:pt>
                      <c:pt idx="8032">
                        <c:v>0</c:v>
                      </c:pt>
                      <c:pt idx="8033">
                        <c:v>0</c:v>
                      </c:pt>
                      <c:pt idx="8034">
                        <c:v>0</c:v>
                      </c:pt>
                      <c:pt idx="8035">
                        <c:v>0</c:v>
                      </c:pt>
                      <c:pt idx="8036">
                        <c:v>0</c:v>
                      </c:pt>
                      <c:pt idx="8037">
                        <c:v>0</c:v>
                      </c:pt>
                      <c:pt idx="8038">
                        <c:v>0</c:v>
                      </c:pt>
                      <c:pt idx="8039">
                        <c:v>0</c:v>
                      </c:pt>
                      <c:pt idx="8040">
                        <c:v>0</c:v>
                      </c:pt>
                      <c:pt idx="8041">
                        <c:v>0</c:v>
                      </c:pt>
                      <c:pt idx="8042">
                        <c:v>0</c:v>
                      </c:pt>
                      <c:pt idx="8043">
                        <c:v>0</c:v>
                      </c:pt>
                      <c:pt idx="8044">
                        <c:v>0</c:v>
                      </c:pt>
                      <c:pt idx="8045">
                        <c:v>0</c:v>
                      </c:pt>
                      <c:pt idx="8046">
                        <c:v>0</c:v>
                      </c:pt>
                      <c:pt idx="8047">
                        <c:v>0</c:v>
                      </c:pt>
                      <c:pt idx="8048">
                        <c:v>0</c:v>
                      </c:pt>
                      <c:pt idx="8049">
                        <c:v>0</c:v>
                      </c:pt>
                      <c:pt idx="8050">
                        <c:v>0</c:v>
                      </c:pt>
                      <c:pt idx="8051">
                        <c:v>0</c:v>
                      </c:pt>
                      <c:pt idx="8052">
                        <c:v>0</c:v>
                      </c:pt>
                      <c:pt idx="8053">
                        <c:v>0</c:v>
                      </c:pt>
                      <c:pt idx="8054">
                        <c:v>0</c:v>
                      </c:pt>
                      <c:pt idx="8055">
                        <c:v>0</c:v>
                      </c:pt>
                      <c:pt idx="8056">
                        <c:v>0</c:v>
                      </c:pt>
                      <c:pt idx="8057">
                        <c:v>0</c:v>
                      </c:pt>
                      <c:pt idx="8058">
                        <c:v>0</c:v>
                      </c:pt>
                      <c:pt idx="8059">
                        <c:v>0</c:v>
                      </c:pt>
                      <c:pt idx="8060">
                        <c:v>0</c:v>
                      </c:pt>
                      <c:pt idx="8061">
                        <c:v>0</c:v>
                      </c:pt>
                      <c:pt idx="8062">
                        <c:v>0</c:v>
                      </c:pt>
                      <c:pt idx="8063">
                        <c:v>0</c:v>
                      </c:pt>
                      <c:pt idx="8064">
                        <c:v>0</c:v>
                      </c:pt>
                      <c:pt idx="8065">
                        <c:v>0</c:v>
                      </c:pt>
                      <c:pt idx="8066">
                        <c:v>0</c:v>
                      </c:pt>
                      <c:pt idx="8067">
                        <c:v>0</c:v>
                      </c:pt>
                      <c:pt idx="8068">
                        <c:v>0</c:v>
                      </c:pt>
                      <c:pt idx="8069">
                        <c:v>0</c:v>
                      </c:pt>
                      <c:pt idx="8070">
                        <c:v>0</c:v>
                      </c:pt>
                      <c:pt idx="8071">
                        <c:v>0</c:v>
                      </c:pt>
                      <c:pt idx="8072">
                        <c:v>0</c:v>
                      </c:pt>
                      <c:pt idx="8073">
                        <c:v>0</c:v>
                      </c:pt>
                      <c:pt idx="8074">
                        <c:v>0</c:v>
                      </c:pt>
                      <c:pt idx="8075">
                        <c:v>0</c:v>
                      </c:pt>
                      <c:pt idx="8076">
                        <c:v>0</c:v>
                      </c:pt>
                      <c:pt idx="8077">
                        <c:v>0</c:v>
                      </c:pt>
                      <c:pt idx="8078">
                        <c:v>0</c:v>
                      </c:pt>
                      <c:pt idx="8079">
                        <c:v>0</c:v>
                      </c:pt>
                      <c:pt idx="8080">
                        <c:v>0</c:v>
                      </c:pt>
                      <c:pt idx="8081">
                        <c:v>0</c:v>
                      </c:pt>
                      <c:pt idx="8082">
                        <c:v>0</c:v>
                      </c:pt>
                      <c:pt idx="8083">
                        <c:v>0</c:v>
                      </c:pt>
                      <c:pt idx="8084">
                        <c:v>0</c:v>
                      </c:pt>
                      <c:pt idx="8085">
                        <c:v>0</c:v>
                      </c:pt>
                      <c:pt idx="8086">
                        <c:v>0</c:v>
                      </c:pt>
                      <c:pt idx="8087">
                        <c:v>0</c:v>
                      </c:pt>
                      <c:pt idx="8088">
                        <c:v>0</c:v>
                      </c:pt>
                      <c:pt idx="8089">
                        <c:v>0</c:v>
                      </c:pt>
                      <c:pt idx="8090">
                        <c:v>0</c:v>
                      </c:pt>
                      <c:pt idx="8091">
                        <c:v>0</c:v>
                      </c:pt>
                      <c:pt idx="8092">
                        <c:v>0</c:v>
                      </c:pt>
                      <c:pt idx="8093">
                        <c:v>0</c:v>
                      </c:pt>
                      <c:pt idx="8094">
                        <c:v>0</c:v>
                      </c:pt>
                      <c:pt idx="8095">
                        <c:v>0</c:v>
                      </c:pt>
                      <c:pt idx="8096">
                        <c:v>0</c:v>
                      </c:pt>
                      <c:pt idx="8097">
                        <c:v>0</c:v>
                      </c:pt>
                      <c:pt idx="8098">
                        <c:v>0</c:v>
                      </c:pt>
                      <c:pt idx="8099">
                        <c:v>0</c:v>
                      </c:pt>
                      <c:pt idx="8100">
                        <c:v>0</c:v>
                      </c:pt>
                      <c:pt idx="8101">
                        <c:v>0</c:v>
                      </c:pt>
                      <c:pt idx="8102">
                        <c:v>0</c:v>
                      </c:pt>
                      <c:pt idx="8103">
                        <c:v>0</c:v>
                      </c:pt>
                      <c:pt idx="8104">
                        <c:v>0</c:v>
                      </c:pt>
                      <c:pt idx="8105">
                        <c:v>0</c:v>
                      </c:pt>
                      <c:pt idx="8106">
                        <c:v>0</c:v>
                      </c:pt>
                      <c:pt idx="8107">
                        <c:v>0</c:v>
                      </c:pt>
                      <c:pt idx="8108">
                        <c:v>0</c:v>
                      </c:pt>
                      <c:pt idx="8109">
                        <c:v>0</c:v>
                      </c:pt>
                      <c:pt idx="8110">
                        <c:v>0</c:v>
                      </c:pt>
                      <c:pt idx="8111">
                        <c:v>0</c:v>
                      </c:pt>
                      <c:pt idx="8112">
                        <c:v>0</c:v>
                      </c:pt>
                      <c:pt idx="8113">
                        <c:v>0</c:v>
                      </c:pt>
                      <c:pt idx="8114">
                        <c:v>0</c:v>
                      </c:pt>
                      <c:pt idx="8115">
                        <c:v>0</c:v>
                      </c:pt>
                      <c:pt idx="8116">
                        <c:v>0</c:v>
                      </c:pt>
                      <c:pt idx="8117">
                        <c:v>0</c:v>
                      </c:pt>
                      <c:pt idx="8118">
                        <c:v>0</c:v>
                      </c:pt>
                      <c:pt idx="8119">
                        <c:v>0</c:v>
                      </c:pt>
                      <c:pt idx="8120">
                        <c:v>0</c:v>
                      </c:pt>
                      <c:pt idx="8121">
                        <c:v>0</c:v>
                      </c:pt>
                      <c:pt idx="8122">
                        <c:v>0</c:v>
                      </c:pt>
                      <c:pt idx="8123">
                        <c:v>0</c:v>
                      </c:pt>
                      <c:pt idx="8124">
                        <c:v>0</c:v>
                      </c:pt>
                      <c:pt idx="8125">
                        <c:v>0</c:v>
                      </c:pt>
                      <c:pt idx="8126">
                        <c:v>0</c:v>
                      </c:pt>
                      <c:pt idx="8127">
                        <c:v>0</c:v>
                      </c:pt>
                      <c:pt idx="8128">
                        <c:v>0</c:v>
                      </c:pt>
                      <c:pt idx="8129">
                        <c:v>0</c:v>
                      </c:pt>
                      <c:pt idx="8130">
                        <c:v>0</c:v>
                      </c:pt>
                      <c:pt idx="8131">
                        <c:v>0</c:v>
                      </c:pt>
                      <c:pt idx="8132">
                        <c:v>0</c:v>
                      </c:pt>
                      <c:pt idx="8133">
                        <c:v>0</c:v>
                      </c:pt>
                      <c:pt idx="8134">
                        <c:v>0</c:v>
                      </c:pt>
                      <c:pt idx="8135">
                        <c:v>0</c:v>
                      </c:pt>
                      <c:pt idx="8136">
                        <c:v>0</c:v>
                      </c:pt>
                      <c:pt idx="8137">
                        <c:v>0</c:v>
                      </c:pt>
                      <c:pt idx="8138">
                        <c:v>0</c:v>
                      </c:pt>
                      <c:pt idx="8139">
                        <c:v>0</c:v>
                      </c:pt>
                      <c:pt idx="8140">
                        <c:v>0</c:v>
                      </c:pt>
                      <c:pt idx="8141">
                        <c:v>0</c:v>
                      </c:pt>
                      <c:pt idx="8142">
                        <c:v>0</c:v>
                      </c:pt>
                      <c:pt idx="8143">
                        <c:v>0</c:v>
                      </c:pt>
                      <c:pt idx="8144">
                        <c:v>0</c:v>
                      </c:pt>
                      <c:pt idx="8145">
                        <c:v>0</c:v>
                      </c:pt>
                      <c:pt idx="8146">
                        <c:v>0</c:v>
                      </c:pt>
                      <c:pt idx="8147">
                        <c:v>0</c:v>
                      </c:pt>
                      <c:pt idx="8148">
                        <c:v>0</c:v>
                      </c:pt>
                      <c:pt idx="8149">
                        <c:v>0</c:v>
                      </c:pt>
                      <c:pt idx="8150">
                        <c:v>0</c:v>
                      </c:pt>
                      <c:pt idx="8151">
                        <c:v>0</c:v>
                      </c:pt>
                      <c:pt idx="8152">
                        <c:v>0</c:v>
                      </c:pt>
                      <c:pt idx="8153">
                        <c:v>0</c:v>
                      </c:pt>
                      <c:pt idx="8154">
                        <c:v>0</c:v>
                      </c:pt>
                      <c:pt idx="8155">
                        <c:v>0</c:v>
                      </c:pt>
                      <c:pt idx="8156">
                        <c:v>0</c:v>
                      </c:pt>
                      <c:pt idx="8157">
                        <c:v>0</c:v>
                      </c:pt>
                      <c:pt idx="8158">
                        <c:v>0</c:v>
                      </c:pt>
                      <c:pt idx="8159">
                        <c:v>0</c:v>
                      </c:pt>
                      <c:pt idx="8160">
                        <c:v>0</c:v>
                      </c:pt>
                      <c:pt idx="8161">
                        <c:v>0</c:v>
                      </c:pt>
                      <c:pt idx="8162">
                        <c:v>0</c:v>
                      </c:pt>
                      <c:pt idx="8163">
                        <c:v>0</c:v>
                      </c:pt>
                      <c:pt idx="8164">
                        <c:v>0</c:v>
                      </c:pt>
                      <c:pt idx="8165">
                        <c:v>0</c:v>
                      </c:pt>
                      <c:pt idx="8166">
                        <c:v>0</c:v>
                      </c:pt>
                      <c:pt idx="8167">
                        <c:v>0</c:v>
                      </c:pt>
                      <c:pt idx="8168">
                        <c:v>0</c:v>
                      </c:pt>
                      <c:pt idx="8169">
                        <c:v>0</c:v>
                      </c:pt>
                      <c:pt idx="8170">
                        <c:v>0</c:v>
                      </c:pt>
                      <c:pt idx="8171">
                        <c:v>0</c:v>
                      </c:pt>
                      <c:pt idx="8172">
                        <c:v>0</c:v>
                      </c:pt>
                      <c:pt idx="8173">
                        <c:v>0</c:v>
                      </c:pt>
                      <c:pt idx="8174">
                        <c:v>0</c:v>
                      </c:pt>
                      <c:pt idx="8175">
                        <c:v>0</c:v>
                      </c:pt>
                      <c:pt idx="8176">
                        <c:v>0</c:v>
                      </c:pt>
                      <c:pt idx="8177">
                        <c:v>0</c:v>
                      </c:pt>
                      <c:pt idx="8178">
                        <c:v>0</c:v>
                      </c:pt>
                      <c:pt idx="8179">
                        <c:v>0</c:v>
                      </c:pt>
                      <c:pt idx="8180">
                        <c:v>0</c:v>
                      </c:pt>
                      <c:pt idx="8181">
                        <c:v>0</c:v>
                      </c:pt>
                      <c:pt idx="8182">
                        <c:v>0</c:v>
                      </c:pt>
                      <c:pt idx="8183">
                        <c:v>0</c:v>
                      </c:pt>
                      <c:pt idx="8184">
                        <c:v>0</c:v>
                      </c:pt>
                      <c:pt idx="8185">
                        <c:v>0</c:v>
                      </c:pt>
                      <c:pt idx="8186">
                        <c:v>0</c:v>
                      </c:pt>
                      <c:pt idx="8187">
                        <c:v>0</c:v>
                      </c:pt>
                      <c:pt idx="8188">
                        <c:v>0</c:v>
                      </c:pt>
                      <c:pt idx="8189">
                        <c:v>0</c:v>
                      </c:pt>
                      <c:pt idx="8190">
                        <c:v>0</c:v>
                      </c:pt>
                      <c:pt idx="8191">
                        <c:v>0</c:v>
                      </c:pt>
                      <c:pt idx="8192">
                        <c:v>0</c:v>
                      </c:pt>
                      <c:pt idx="8193">
                        <c:v>0</c:v>
                      </c:pt>
                      <c:pt idx="8194">
                        <c:v>0</c:v>
                      </c:pt>
                      <c:pt idx="8195">
                        <c:v>0</c:v>
                      </c:pt>
                      <c:pt idx="8196">
                        <c:v>0</c:v>
                      </c:pt>
                      <c:pt idx="8197">
                        <c:v>0</c:v>
                      </c:pt>
                      <c:pt idx="8198">
                        <c:v>0</c:v>
                      </c:pt>
                      <c:pt idx="8199">
                        <c:v>0</c:v>
                      </c:pt>
                      <c:pt idx="8200">
                        <c:v>0</c:v>
                      </c:pt>
                      <c:pt idx="8201">
                        <c:v>0</c:v>
                      </c:pt>
                      <c:pt idx="8202">
                        <c:v>0</c:v>
                      </c:pt>
                      <c:pt idx="8203">
                        <c:v>0</c:v>
                      </c:pt>
                      <c:pt idx="8204">
                        <c:v>0</c:v>
                      </c:pt>
                      <c:pt idx="8205">
                        <c:v>0</c:v>
                      </c:pt>
                      <c:pt idx="8206">
                        <c:v>0</c:v>
                      </c:pt>
                      <c:pt idx="8207">
                        <c:v>0</c:v>
                      </c:pt>
                      <c:pt idx="8208">
                        <c:v>0</c:v>
                      </c:pt>
                      <c:pt idx="8209">
                        <c:v>0</c:v>
                      </c:pt>
                      <c:pt idx="8210">
                        <c:v>0</c:v>
                      </c:pt>
                      <c:pt idx="8211">
                        <c:v>0</c:v>
                      </c:pt>
                      <c:pt idx="8212">
                        <c:v>0</c:v>
                      </c:pt>
                      <c:pt idx="8213">
                        <c:v>0</c:v>
                      </c:pt>
                      <c:pt idx="8214">
                        <c:v>0</c:v>
                      </c:pt>
                      <c:pt idx="8215">
                        <c:v>0</c:v>
                      </c:pt>
                      <c:pt idx="8216">
                        <c:v>0</c:v>
                      </c:pt>
                      <c:pt idx="8217">
                        <c:v>0</c:v>
                      </c:pt>
                      <c:pt idx="8218">
                        <c:v>0</c:v>
                      </c:pt>
                      <c:pt idx="8219">
                        <c:v>0</c:v>
                      </c:pt>
                      <c:pt idx="8220">
                        <c:v>0</c:v>
                      </c:pt>
                      <c:pt idx="8221">
                        <c:v>0</c:v>
                      </c:pt>
                      <c:pt idx="8222">
                        <c:v>0</c:v>
                      </c:pt>
                      <c:pt idx="8223">
                        <c:v>0</c:v>
                      </c:pt>
                      <c:pt idx="8224">
                        <c:v>0</c:v>
                      </c:pt>
                      <c:pt idx="8225">
                        <c:v>0</c:v>
                      </c:pt>
                      <c:pt idx="8226">
                        <c:v>0</c:v>
                      </c:pt>
                      <c:pt idx="8227">
                        <c:v>0</c:v>
                      </c:pt>
                      <c:pt idx="8228">
                        <c:v>0</c:v>
                      </c:pt>
                      <c:pt idx="8229">
                        <c:v>0</c:v>
                      </c:pt>
                      <c:pt idx="8230">
                        <c:v>0</c:v>
                      </c:pt>
                      <c:pt idx="8231">
                        <c:v>0</c:v>
                      </c:pt>
                      <c:pt idx="8232">
                        <c:v>0</c:v>
                      </c:pt>
                      <c:pt idx="8233">
                        <c:v>0</c:v>
                      </c:pt>
                      <c:pt idx="8234">
                        <c:v>0</c:v>
                      </c:pt>
                      <c:pt idx="8235">
                        <c:v>0</c:v>
                      </c:pt>
                      <c:pt idx="8236">
                        <c:v>0</c:v>
                      </c:pt>
                      <c:pt idx="8237">
                        <c:v>0</c:v>
                      </c:pt>
                      <c:pt idx="8238">
                        <c:v>0</c:v>
                      </c:pt>
                      <c:pt idx="8239">
                        <c:v>0</c:v>
                      </c:pt>
                      <c:pt idx="8240">
                        <c:v>0</c:v>
                      </c:pt>
                      <c:pt idx="8241">
                        <c:v>0</c:v>
                      </c:pt>
                      <c:pt idx="8242">
                        <c:v>0</c:v>
                      </c:pt>
                      <c:pt idx="8243">
                        <c:v>0</c:v>
                      </c:pt>
                      <c:pt idx="8244">
                        <c:v>0</c:v>
                      </c:pt>
                      <c:pt idx="8245">
                        <c:v>0</c:v>
                      </c:pt>
                      <c:pt idx="8246">
                        <c:v>0</c:v>
                      </c:pt>
                      <c:pt idx="8247">
                        <c:v>0</c:v>
                      </c:pt>
                      <c:pt idx="8248">
                        <c:v>0</c:v>
                      </c:pt>
                      <c:pt idx="8249">
                        <c:v>0</c:v>
                      </c:pt>
                      <c:pt idx="8250">
                        <c:v>0</c:v>
                      </c:pt>
                      <c:pt idx="8251">
                        <c:v>0</c:v>
                      </c:pt>
                      <c:pt idx="8252">
                        <c:v>0</c:v>
                      </c:pt>
                      <c:pt idx="8253">
                        <c:v>0</c:v>
                      </c:pt>
                      <c:pt idx="8254">
                        <c:v>0</c:v>
                      </c:pt>
                      <c:pt idx="8255">
                        <c:v>0</c:v>
                      </c:pt>
                      <c:pt idx="8256">
                        <c:v>0</c:v>
                      </c:pt>
                      <c:pt idx="8257">
                        <c:v>0</c:v>
                      </c:pt>
                      <c:pt idx="8258">
                        <c:v>0</c:v>
                      </c:pt>
                      <c:pt idx="8259">
                        <c:v>0</c:v>
                      </c:pt>
                      <c:pt idx="8260">
                        <c:v>0</c:v>
                      </c:pt>
                      <c:pt idx="8261">
                        <c:v>0</c:v>
                      </c:pt>
                      <c:pt idx="8262">
                        <c:v>0</c:v>
                      </c:pt>
                      <c:pt idx="8263">
                        <c:v>0</c:v>
                      </c:pt>
                      <c:pt idx="8264">
                        <c:v>0</c:v>
                      </c:pt>
                      <c:pt idx="8265">
                        <c:v>0</c:v>
                      </c:pt>
                      <c:pt idx="8266">
                        <c:v>0</c:v>
                      </c:pt>
                      <c:pt idx="8267">
                        <c:v>0</c:v>
                      </c:pt>
                      <c:pt idx="8268">
                        <c:v>0</c:v>
                      </c:pt>
                      <c:pt idx="8269">
                        <c:v>0</c:v>
                      </c:pt>
                      <c:pt idx="8270">
                        <c:v>0</c:v>
                      </c:pt>
                      <c:pt idx="8271">
                        <c:v>0</c:v>
                      </c:pt>
                      <c:pt idx="8272">
                        <c:v>0</c:v>
                      </c:pt>
                      <c:pt idx="8273">
                        <c:v>0</c:v>
                      </c:pt>
                      <c:pt idx="8274">
                        <c:v>0</c:v>
                      </c:pt>
                      <c:pt idx="8275">
                        <c:v>0</c:v>
                      </c:pt>
                      <c:pt idx="8276">
                        <c:v>0</c:v>
                      </c:pt>
                      <c:pt idx="8277">
                        <c:v>0</c:v>
                      </c:pt>
                      <c:pt idx="8278">
                        <c:v>0</c:v>
                      </c:pt>
                      <c:pt idx="8279">
                        <c:v>0</c:v>
                      </c:pt>
                      <c:pt idx="8280">
                        <c:v>0</c:v>
                      </c:pt>
                      <c:pt idx="8281">
                        <c:v>0</c:v>
                      </c:pt>
                      <c:pt idx="8282">
                        <c:v>0</c:v>
                      </c:pt>
                      <c:pt idx="8283">
                        <c:v>0</c:v>
                      </c:pt>
                      <c:pt idx="8284">
                        <c:v>0</c:v>
                      </c:pt>
                      <c:pt idx="8285">
                        <c:v>0</c:v>
                      </c:pt>
                      <c:pt idx="8286">
                        <c:v>0</c:v>
                      </c:pt>
                      <c:pt idx="8287">
                        <c:v>0</c:v>
                      </c:pt>
                      <c:pt idx="8288">
                        <c:v>0</c:v>
                      </c:pt>
                      <c:pt idx="8289">
                        <c:v>0</c:v>
                      </c:pt>
                      <c:pt idx="8290">
                        <c:v>0</c:v>
                      </c:pt>
                      <c:pt idx="8291">
                        <c:v>0</c:v>
                      </c:pt>
                      <c:pt idx="8292">
                        <c:v>0</c:v>
                      </c:pt>
                      <c:pt idx="8293">
                        <c:v>0</c:v>
                      </c:pt>
                      <c:pt idx="8294">
                        <c:v>0</c:v>
                      </c:pt>
                      <c:pt idx="8295">
                        <c:v>0</c:v>
                      </c:pt>
                      <c:pt idx="8296">
                        <c:v>0</c:v>
                      </c:pt>
                      <c:pt idx="8297">
                        <c:v>0</c:v>
                      </c:pt>
                      <c:pt idx="8298">
                        <c:v>0</c:v>
                      </c:pt>
                      <c:pt idx="8299">
                        <c:v>0</c:v>
                      </c:pt>
                      <c:pt idx="8300">
                        <c:v>0</c:v>
                      </c:pt>
                      <c:pt idx="8301">
                        <c:v>0</c:v>
                      </c:pt>
                      <c:pt idx="8302">
                        <c:v>0</c:v>
                      </c:pt>
                      <c:pt idx="8303">
                        <c:v>0</c:v>
                      </c:pt>
                      <c:pt idx="8304">
                        <c:v>0</c:v>
                      </c:pt>
                      <c:pt idx="8305">
                        <c:v>0</c:v>
                      </c:pt>
                      <c:pt idx="8306">
                        <c:v>0</c:v>
                      </c:pt>
                      <c:pt idx="8307">
                        <c:v>0</c:v>
                      </c:pt>
                      <c:pt idx="8308">
                        <c:v>0</c:v>
                      </c:pt>
                      <c:pt idx="8309">
                        <c:v>0</c:v>
                      </c:pt>
                      <c:pt idx="8310">
                        <c:v>0</c:v>
                      </c:pt>
                      <c:pt idx="8311">
                        <c:v>0</c:v>
                      </c:pt>
                      <c:pt idx="8312">
                        <c:v>0</c:v>
                      </c:pt>
                      <c:pt idx="8313">
                        <c:v>0</c:v>
                      </c:pt>
                      <c:pt idx="8314">
                        <c:v>0</c:v>
                      </c:pt>
                      <c:pt idx="8315">
                        <c:v>0</c:v>
                      </c:pt>
                      <c:pt idx="8316">
                        <c:v>0</c:v>
                      </c:pt>
                      <c:pt idx="8317">
                        <c:v>0</c:v>
                      </c:pt>
                      <c:pt idx="8318">
                        <c:v>0</c:v>
                      </c:pt>
                      <c:pt idx="8319">
                        <c:v>0</c:v>
                      </c:pt>
                      <c:pt idx="8320">
                        <c:v>0</c:v>
                      </c:pt>
                      <c:pt idx="8321">
                        <c:v>0</c:v>
                      </c:pt>
                      <c:pt idx="8322">
                        <c:v>0</c:v>
                      </c:pt>
                      <c:pt idx="8323">
                        <c:v>0</c:v>
                      </c:pt>
                      <c:pt idx="8324">
                        <c:v>0</c:v>
                      </c:pt>
                      <c:pt idx="8325">
                        <c:v>0</c:v>
                      </c:pt>
                      <c:pt idx="8326">
                        <c:v>0</c:v>
                      </c:pt>
                      <c:pt idx="8327">
                        <c:v>0</c:v>
                      </c:pt>
                      <c:pt idx="8328">
                        <c:v>0</c:v>
                      </c:pt>
                      <c:pt idx="8329">
                        <c:v>0</c:v>
                      </c:pt>
                      <c:pt idx="8330">
                        <c:v>0</c:v>
                      </c:pt>
                      <c:pt idx="8331">
                        <c:v>0</c:v>
                      </c:pt>
                      <c:pt idx="8332">
                        <c:v>0</c:v>
                      </c:pt>
                      <c:pt idx="8333">
                        <c:v>0</c:v>
                      </c:pt>
                      <c:pt idx="8334">
                        <c:v>0</c:v>
                      </c:pt>
                      <c:pt idx="8335">
                        <c:v>0</c:v>
                      </c:pt>
                      <c:pt idx="8336">
                        <c:v>0</c:v>
                      </c:pt>
                      <c:pt idx="8337">
                        <c:v>0</c:v>
                      </c:pt>
                      <c:pt idx="8338">
                        <c:v>0</c:v>
                      </c:pt>
                      <c:pt idx="8339">
                        <c:v>0</c:v>
                      </c:pt>
                      <c:pt idx="8340">
                        <c:v>0</c:v>
                      </c:pt>
                      <c:pt idx="8341">
                        <c:v>0</c:v>
                      </c:pt>
                      <c:pt idx="8342">
                        <c:v>0</c:v>
                      </c:pt>
                      <c:pt idx="8343">
                        <c:v>0</c:v>
                      </c:pt>
                      <c:pt idx="8344">
                        <c:v>0</c:v>
                      </c:pt>
                      <c:pt idx="8345">
                        <c:v>0</c:v>
                      </c:pt>
                      <c:pt idx="8346">
                        <c:v>0</c:v>
                      </c:pt>
                      <c:pt idx="8347">
                        <c:v>0</c:v>
                      </c:pt>
                      <c:pt idx="8348">
                        <c:v>0</c:v>
                      </c:pt>
                      <c:pt idx="8349">
                        <c:v>0</c:v>
                      </c:pt>
                      <c:pt idx="8350">
                        <c:v>0</c:v>
                      </c:pt>
                      <c:pt idx="8351">
                        <c:v>0</c:v>
                      </c:pt>
                      <c:pt idx="8352">
                        <c:v>0</c:v>
                      </c:pt>
                      <c:pt idx="8353">
                        <c:v>0</c:v>
                      </c:pt>
                      <c:pt idx="8354">
                        <c:v>0</c:v>
                      </c:pt>
                      <c:pt idx="8355">
                        <c:v>0</c:v>
                      </c:pt>
                      <c:pt idx="8356">
                        <c:v>0</c:v>
                      </c:pt>
                      <c:pt idx="8357">
                        <c:v>0</c:v>
                      </c:pt>
                      <c:pt idx="8358">
                        <c:v>0</c:v>
                      </c:pt>
                      <c:pt idx="8359">
                        <c:v>0</c:v>
                      </c:pt>
                      <c:pt idx="8360">
                        <c:v>0</c:v>
                      </c:pt>
                      <c:pt idx="8361">
                        <c:v>0</c:v>
                      </c:pt>
                      <c:pt idx="8362">
                        <c:v>0</c:v>
                      </c:pt>
                      <c:pt idx="8363">
                        <c:v>0</c:v>
                      </c:pt>
                      <c:pt idx="8364">
                        <c:v>0</c:v>
                      </c:pt>
                      <c:pt idx="8365">
                        <c:v>0</c:v>
                      </c:pt>
                      <c:pt idx="8366">
                        <c:v>0</c:v>
                      </c:pt>
                      <c:pt idx="8367">
                        <c:v>0</c:v>
                      </c:pt>
                      <c:pt idx="8368">
                        <c:v>0</c:v>
                      </c:pt>
                      <c:pt idx="8369">
                        <c:v>0</c:v>
                      </c:pt>
                      <c:pt idx="8370">
                        <c:v>0</c:v>
                      </c:pt>
                      <c:pt idx="8371">
                        <c:v>0</c:v>
                      </c:pt>
                      <c:pt idx="8372">
                        <c:v>0</c:v>
                      </c:pt>
                      <c:pt idx="8373">
                        <c:v>0</c:v>
                      </c:pt>
                      <c:pt idx="8374">
                        <c:v>0</c:v>
                      </c:pt>
                      <c:pt idx="8375">
                        <c:v>0</c:v>
                      </c:pt>
                      <c:pt idx="8376">
                        <c:v>0</c:v>
                      </c:pt>
                      <c:pt idx="8377">
                        <c:v>0</c:v>
                      </c:pt>
                      <c:pt idx="8378">
                        <c:v>0</c:v>
                      </c:pt>
                      <c:pt idx="8379">
                        <c:v>0</c:v>
                      </c:pt>
                      <c:pt idx="8380">
                        <c:v>0</c:v>
                      </c:pt>
                      <c:pt idx="8381">
                        <c:v>0</c:v>
                      </c:pt>
                      <c:pt idx="8382">
                        <c:v>0</c:v>
                      </c:pt>
                      <c:pt idx="8383">
                        <c:v>0</c:v>
                      </c:pt>
                      <c:pt idx="8384">
                        <c:v>0</c:v>
                      </c:pt>
                      <c:pt idx="8385">
                        <c:v>0</c:v>
                      </c:pt>
                      <c:pt idx="8386">
                        <c:v>0</c:v>
                      </c:pt>
                      <c:pt idx="8387">
                        <c:v>0</c:v>
                      </c:pt>
                      <c:pt idx="8388">
                        <c:v>0</c:v>
                      </c:pt>
                      <c:pt idx="8389">
                        <c:v>0</c:v>
                      </c:pt>
                      <c:pt idx="8390">
                        <c:v>0</c:v>
                      </c:pt>
                      <c:pt idx="8391">
                        <c:v>0</c:v>
                      </c:pt>
                      <c:pt idx="8392">
                        <c:v>0</c:v>
                      </c:pt>
                      <c:pt idx="8393">
                        <c:v>0</c:v>
                      </c:pt>
                      <c:pt idx="8394">
                        <c:v>0</c:v>
                      </c:pt>
                      <c:pt idx="8395">
                        <c:v>0</c:v>
                      </c:pt>
                      <c:pt idx="8396">
                        <c:v>0</c:v>
                      </c:pt>
                      <c:pt idx="8397">
                        <c:v>0</c:v>
                      </c:pt>
                      <c:pt idx="8398">
                        <c:v>0</c:v>
                      </c:pt>
                      <c:pt idx="8399">
                        <c:v>0</c:v>
                      </c:pt>
                      <c:pt idx="8400">
                        <c:v>0</c:v>
                      </c:pt>
                      <c:pt idx="8401">
                        <c:v>0</c:v>
                      </c:pt>
                      <c:pt idx="8402">
                        <c:v>0</c:v>
                      </c:pt>
                      <c:pt idx="8403">
                        <c:v>0</c:v>
                      </c:pt>
                      <c:pt idx="8404">
                        <c:v>0</c:v>
                      </c:pt>
                      <c:pt idx="8405">
                        <c:v>0</c:v>
                      </c:pt>
                      <c:pt idx="8406">
                        <c:v>0</c:v>
                      </c:pt>
                      <c:pt idx="8407">
                        <c:v>0</c:v>
                      </c:pt>
                      <c:pt idx="8408">
                        <c:v>0</c:v>
                      </c:pt>
                      <c:pt idx="8409">
                        <c:v>0</c:v>
                      </c:pt>
                      <c:pt idx="8410">
                        <c:v>0</c:v>
                      </c:pt>
                      <c:pt idx="8411">
                        <c:v>0</c:v>
                      </c:pt>
                      <c:pt idx="8412">
                        <c:v>0</c:v>
                      </c:pt>
                      <c:pt idx="8413">
                        <c:v>0</c:v>
                      </c:pt>
                      <c:pt idx="8414">
                        <c:v>0</c:v>
                      </c:pt>
                      <c:pt idx="8415">
                        <c:v>0</c:v>
                      </c:pt>
                      <c:pt idx="8416">
                        <c:v>0</c:v>
                      </c:pt>
                      <c:pt idx="8417">
                        <c:v>0</c:v>
                      </c:pt>
                      <c:pt idx="8418">
                        <c:v>0</c:v>
                      </c:pt>
                      <c:pt idx="8419">
                        <c:v>0</c:v>
                      </c:pt>
                      <c:pt idx="8420">
                        <c:v>0</c:v>
                      </c:pt>
                      <c:pt idx="8421">
                        <c:v>0</c:v>
                      </c:pt>
                      <c:pt idx="8422">
                        <c:v>0</c:v>
                      </c:pt>
                      <c:pt idx="8423">
                        <c:v>0</c:v>
                      </c:pt>
                      <c:pt idx="8424">
                        <c:v>0</c:v>
                      </c:pt>
                      <c:pt idx="8425">
                        <c:v>0</c:v>
                      </c:pt>
                      <c:pt idx="8426">
                        <c:v>0</c:v>
                      </c:pt>
                      <c:pt idx="8427">
                        <c:v>0</c:v>
                      </c:pt>
                      <c:pt idx="8428">
                        <c:v>0</c:v>
                      </c:pt>
                      <c:pt idx="8429">
                        <c:v>0</c:v>
                      </c:pt>
                      <c:pt idx="8430">
                        <c:v>0</c:v>
                      </c:pt>
                      <c:pt idx="8431">
                        <c:v>0</c:v>
                      </c:pt>
                      <c:pt idx="8432">
                        <c:v>0</c:v>
                      </c:pt>
                      <c:pt idx="8433">
                        <c:v>0</c:v>
                      </c:pt>
                      <c:pt idx="8434">
                        <c:v>0</c:v>
                      </c:pt>
                      <c:pt idx="8435">
                        <c:v>0</c:v>
                      </c:pt>
                      <c:pt idx="8436">
                        <c:v>0</c:v>
                      </c:pt>
                      <c:pt idx="8437">
                        <c:v>0</c:v>
                      </c:pt>
                      <c:pt idx="8438">
                        <c:v>0</c:v>
                      </c:pt>
                      <c:pt idx="8439">
                        <c:v>0</c:v>
                      </c:pt>
                      <c:pt idx="8440">
                        <c:v>0</c:v>
                      </c:pt>
                      <c:pt idx="8441">
                        <c:v>0</c:v>
                      </c:pt>
                      <c:pt idx="8442">
                        <c:v>0</c:v>
                      </c:pt>
                      <c:pt idx="8443">
                        <c:v>0</c:v>
                      </c:pt>
                      <c:pt idx="8444">
                        <c:v>0</c:v>
                      </c:pt>
                      <c:pt idx="8445">
                        <c:v>0</c:v>
                      </c:pt>
                      <c:pt idx="8446">
                        <c:v>0</c:v>
                      </c:pt>
                      <c:pt idx="8447">
                        <c:v>0</c:v>
                      </c:pt>
                      <c:pt idx="8448">
                        <c:v>0</c:v>
                      </c:pt>
                      <c:pt idx="8449">
                        <c:v>0</c:v>
                      </c:pt>
                      <c:pt idx="8450">
                        <c:v>0</c:v>
                      </c:pt>
                      <c:pt idx="8451">
                        <c:v>0</c:v>
                      </c:pt>
                      <c:pt idx="8452">
                        <c:v>0</c:v>
                      </c:pt>
                      <c:pt idx="8453">
                        <c:v>0</c:v>
                      </c:pt>
                      <c:pt idx="8454">
                        <c:v>0</c:v>
                      </c:pt>
                      <c:pt idx="8455">
                        <c:v>0</c:v>
                      </c:pt>
                      <c:pt idx="8456">
                        <c:v>0</c:v>
                      </c:pt>
                      <c:pt idx="8457">
                        <c:v>0</c:v>
                      </c:pt>
                      <c:pt idx="8458">
                        <c:v>0</c:v>
                      </c:pt>
                      <c:pt idx="8459">
                        <c:v>0</c:v>
                      </c:pt>
                      <c:pt idx="8460">
                        <c:v>0</c:v>
                      </c:pt>
                      <c:pt idx="8461">
                        <c:v>0</c:v>
                      </c:pt>
                      <c:pt idx="8462">
                        <c:v>0</c:v>
                      </c:pt>
                      <c:pt idx="8463">
                        <c:v>0</c:v>
                      </c:pt>
                      <c:pt idx="8464">
                        <c:v>0</c:v>
                      </c:pt>
                      <c:pt idx="8465">
                        <c:v>0</c:v>
                      </c:pt>
                      <c:pt idx="8466">
                        <c:v>0</c:v>
                      </c:pt>
                      <c:pt idx="8467">
                        <c:v>0</c:v>
                      </c:pt>
                      <c:pt idx="8468">
                        <c:v>0</c:v>
                      </c:pt>
                      <c:pt idx="8469">
                        <c:v>0</c:v>
                      </c:pt>
                      <c:pt idx="8470">
                        <c:v>0</c:v>
                      </c:pt>
                      <c:pt idx="8471">
                        <c:v>0</c:v>
                      </c:pt>
                      <c:pt idx="8472">
                        <c:v>0</c:v>
                      </c:pt>
                      <c:pt idx="8473">
                        <c:v>0</c:v>
                      </c:pt>
                      <c:pt idx="8474">
                        <c:v>0</c:v>
                      </c:pt>
                      <c:pt idx="8475">
                        <c:v>0</c:v>
                      </c:pt>
                      <c:pt idx="8476">
                        <c:v>0</c:v>
                      </c:pt>
                      <c:pt idx="8477">
                        <c:v>0</c:v>
                      </c:pt>
                      <c:pt idx="8478">
                        <c:v>0</c:v>
                      </c:pt>
                      <c:pt idx="8479">
                        <c:v>0</c:v>
                      </c:pt>
                      <c:pt idx="8480">
                        <c:v>0</c:v>
                      </c:pt>
                      <c:pt idx="8481">
                        <c:v>0</c:v>
                      </c:pt>
                      <c:pt idx="8482">
                        <c:v>0</c:v>
                      </c:pt>
                      <c:pt idx="8483">
                        <c:v>0</c:v>
                      </c:pt>
                      <c:pt idx="8484">
                        <c:v>0</c:v>
                      </c:pt>
                      <c:pt idx="8485">
                        <c:v>0</c:v>
                      </c:pt>
                      <c:pt idx="8486">
                        <c:v>0</c:v>
                      </c:pt>
                      <c:pt idx="8487">
                        <c:v>0</c:v>
                      </c:pt>
                      <c:pt idx="8488">
                        <c:v>0</c:v>
                      </c:pt>
                      <c:pt idx="8489">
                        <c:v>0</c:v>
                      </c:pt>
                      <c:pt idx="8490">
                        <c:v>0</c:v>
                      </c:pt>
                      <c:pt idx="8491">
                        <c:v>0</c:v>
                      </c:pt>
                      <c:pt idx="8492">
                        <c:v>0</c:v>
                      </c:pt>
                      <c:pt idx="8493">
                        <c:v>0</c:v>
                      </c:pt>
                      <c:pt idx="8494">
                        <c:v>0</c:v>
                      </c:pt>
                      <c:pt idx="8495">
                        <c:v>0</c:v>
                      </c:pt>
                      <c:pt idx="8496">
                        <c:v>0</c:v>
                      </c:pt>
                      <c:pt idx="8497">
                        <c:v>0</c:v>
                      </c:pt>
                      <c:pt idx="8498">
                        <c:v>0</c:v>
                      </c:pt>
                      <c:pt idx="8499">
                        <c:v>0</c:v>
                      </c:pt>
                      <c:pt idx="8500">
                        <c:v>0</c:v>
                      </c:pt>
                      <c:pt idx="8501">
                        <c:v>0</c:v>
                      </c:pt>
                      <c:pt idx="8502">
                        <c:v>0</c:v>
                      </c:pt>
                      <c:pt idx="8503">
                        <c:v>0</c:v>
                      </c:pt>
                      <c:pt idx="8504">
                        <c:v>0</c:v>
                      </c:pt>
                      <c:pt idx="8505">
                        <c:v>0</c:v>
                      </c:pt>
                      <c:pt idx="8506">
                        <c:v>0</c:v>
                      </c:pt>
                      <c:pt idx="8507">
                        <c:v>0</c:v>
                      </c:pt>
                      <c:pt idx="8508">
                        <c:v>0</c:v>
                      </c:pt>
                      <c:pt idx="8509">
                        <c:v>0</c:v>
                      </c:pt>
                      <c:pt idx="8510">
                        <c:v>0</c:v>
                      </c:pt>
                      <c:pt idx="8511">
                        <c:v>0</c:v>
                      </c:pt>
                      <c:pt idx="8512">
                        <c:v>0</c:v>
                      </c:pt>
                      <c:pt idx="8513">
                        <c:v>0</c:v>
                      </c:pt>
                      <c:pt idx="8514">
                        <c:v>0</c:v>
                      </c:pt>
                      <c:pt idx="8515">
                        <c:v>0</c:v>
                      </c:pt>
                      <c:pt idx="8516">
                        <c:v>0</c:v>
                      </c:pt>
                      <c:pt idx="8517">
                        <c:v>0</c:v>
                      </c:pt>
                      <c:pt idx="8518">
                        <c:v>0</c:v>
                      </c:pt>
                      <c:pt idx="8519">
                        <c:v>0</c:v>
                      </c:pt>
                      <c:pt idx="8520">
                        <c:v>0</c:v>
                      </c:pt>
                      <c:pt idx="8521">
                        <c:v>0</c:v>
                      </c:pt>
                      <c:pt idx="8522">
                        <c:v>0</c:v>
                      </c:pt>
                      <c:pt idx="8523">
                        <c:v>0</c:v>
                      </c:pt>
                      <c:pt idx="8524">
                        <c:v>0</c:v>
                      </c:pt>
                      <c:pt idx="8525">
                        <c:v>0</c:v>
                      </c:pt>
                      <c:pt idx="8526">
                        <c:v>0</c:v>
                      </c:pt>
                      <c:pt idx="8527">
                        <c:v>0</c:v>
                      </c:pt>
                      <c:pt idx="8528">
                        <c:v>0</c:v>
                      </c:pt>
                      <c:pt idx="8529">
                        <c:v>0</c:v>
                      </c:pt>
                      <c:pt idx="8530">
                        <c:v>0</c:v>
                      </c:pt>
                      <c:pt idx="8531">
                        <c:v>0</c:v>
                      </c:pt>
                      <c:pt idx="8532">
                        <c:v>0</c:v>
                      </c:pt>
                      <c:pt idx="8533">
                        <c:v>0</c:v>
                      </c:pt>
                      <c:pt idx="8534">
                        <c:v>0</c:v>
                      </c:pt>
                      <c:pt idx="8535">
                        <c:v>0</c:v>
                      </c:pt>
                      <c:pt idx="8536">
                        <c:v>0</c:v>
                      </c:pt>
                      <c:pt idx="8537">
                        <c:v>0</c:v>
                      </c:pt>
                      <c:pt idx="8538">
                        <c:v>0</c:v>
                      </c:pt>
                      <c:pt idx="8539">
                        <c:v>0</c:v>
                      </c:pt>
                      <c:pt idx="8540">
                        <c:v>0</c:v>
                      </c:pt>
                      <c:pt idx="8541">
                        <c:v>0</c:v>
                      </c:pt>
                      <c:pt idx="8542">
                        <c:v>0</c:v>
                      </c:pt>
                      <c:pt idx="8543">
                        <c:v>0</c:v>
                      </c:pt>
                      <c:pt idx="8544">
                        <c:v>0</c:v>
                      </c:pt>
                      <c:pt idx="8545">
                        <c:v>0</c:v>
                      </c:pt>
                      <c:pt idx="8546">
                        <c:v>0</c:v>
                      </c:pt>
                      <c:pt idx="8547">
                        <c:v>0</c:v>
                      </c:pt>
                      <c:pt idx="8548">
                        <c:v>0</c:v>
                      </c:pt>
                      <c:pt idx="8549">
                        <c:v>0</c:v>
                      </c:pt>
                      <c:pt idx="8550">
                        <c:v>0</c:v>
                      </c:pt>
                      <c:pt idx="8551">
                        <c:v>0</c:v>
                      </c:pt>
                      <c:pt idx="8552">
                        <c:v>0</c:v>
                      </c:pt>
                      <c:pt idx="8553">
                        <c:v>0</c:v>
                      </c:pt>
                      <c:pt idx="8554">
                        <c:v>0</c:v>
                      </c:pt>
                      <c:pt idx="8555">
                        <c:v>0</c:v>
                      </c:pt>
                      <c:pt idx="8556">
                        <c:v>0</c:v>
                      </c:pt>
                      <c:pt idx="8557">
                        <c:v>0</c:v>
                      </c:pt>
                      <c:pt idx="8558">
                        <c:v>0</c:v>
                      </c:pt>
                      <c:pt idx="8559">
                        <c:v>0</c:v>
                      </c:pt>
                      <c:pt idx="8560">
                        <c:v>0</c:v>
                      </c:pt>
                      <c:pt idx="8561">
                        <c:v>0</c:v>
                      </c:pt>
                      <c:pt idx="8562">
                        <c:v>0</c:v>
                      </c:pt>
                      <c:pt idx="8563">
                        <c:v>0</c:v>
                      </c:pt>
                      <c:pt idx="8564">
                        <c:v>0</c:v>
                      </c:pt>
                      <c:pt idx="8565">
                        <c:v>0</c:v>
                      </c:pt>
                      <c:pt idx="8566">
                        <c:v>0</c:v>
                      </c:pt>
                      <c:pt idx="8567">
                        <c:v>0</c:v>
                      </c:pt>
                      <c:pt idx="8568">
                        <c:v>0</c:v>
                      </c:pt>
                      <c:pt idx="8569">
                        <c:v>0</c:v>
                      </c:pt>
                      <c:pt idx="8570">
                        <c:v>0</c:v>
                      </c:pt>
                      <c:pt idx="8571">
                        <c:v>0</c:v>
                      </c:pt>
                      <c:pt idx="8572">
                        <c:v>0</c:v>
                      </c:pt>
                      <c:pt idx="8573">
                        <c:v>0</c:v>
                      </c:pt>
                      <c:pt idx="8574">
                        <c:v>0</c:v>
                      </c:pt>
                      <c:pt idx="8575">
                        <c:v>0</c:v>
                      </c:pt>
                      <c:pt idx="8576">
                        <c:v>0</c:v>
                      </c:pt>
                      <c:pt idx="8577">
                        <c:v>0</c:v>
                      </c:pt>
                      <c:pt idx="8578">
                        <c:v>0</c:v>
                      </c:pt>
                      <c:pt idx="8579">
                        <c:v>0</c:v>
                      </c:pt>
                      <c:pt idx="8580">
                        <c:v>0</c:v>
                      </c:pt>
                      <c:pt idx="8581">
                        <c:v>0</c:v>
                      </c:pt>
                      <c:pt idx="8582">
                        <c:v>0</c:v>
                      </c:pt>
                      <c:pt idx="8583">
                        <c:v>0</c:v>
                      </c:pt>
                      <c:pt idx="8584">
                        <c:v>0</c:v>
                      </c:pt>
                      <c:pt idx="8585">
                        <c:v>0</c:v>
                      </c:pt>
                      <c:pt idx="8586">
                        <c:v>0</c:v>
                      </c:pt>
                      <c:pt idx="8587">
                        <c:v>0</c:v>
                      </c:pt>
                      <c:pt idx="8588">
                        <c:v>0</c:v>
                      </c:pt>
                      <c:pt idx="8589">
                        <c:v>0</c:v>
                      </c:pt>
                      <c:pt idx="8590">
                        <c:v>0</c:v>
                      </c:pt>
                      <c:pt idx="8591">
                        <c:v>0</c:v>
                      </c:pt>
                      <c:pt idx="8592">
                        <c:v>0</c:v>
                      </c:pt>
                      <c:pt idx="8593">
                        <c:v>0</c:v>
                      </c:pt>
                      <c:pt idx="8594">
                        <c:v>0</c:v>
                      </c:pt>
                      <c:pt idx="8595">
                        <c:v>0</c:v>
                      </c:pt>
                      <c:pt idx="8596">
                        <c:v>0</c:v>
                      </c:pt>
                      <c:pt idx="8597">
                        <c:v>0</c:v>
                      </c:pt>
                      <c:pt idx="8598">
                        <c:v>0</c:v>
                      </c:pt>
                      <c:pt idx="8599">
                        <c:v>0</c:v>
                      </c:pt>
                      <c:pt idx="8600">
                        <c:v>0</c:v>
                      </c:pt>
                      <c:pt idx="8601">
                        <c:v>0</c:v>
                      </c:pt>
                      <c:pt idx="8602">
                        <c:v>0</c:v>
                      </c:pt>
                      <c:pt idx="8603">
                        <c:v>0</c:v>
                      </c:pt>
                      <c:pt idx="8604">
                        <c:v>0</c:v>
                      </c:pt>
                      <c:pt idx="8605">
                        <c:v>0</c:v>
                      </c:pt>
                      <c:pt idx="8606">
                        <c:v>0</c:v>
                      </c:pt>
                      <c:pt idx="8607">
                        <c:v>0</c:v>
                      </c:pt>
                      <c:pt idx="8608">
                        <c:v>0</c:v>
                      </c:pt>
                      <c:pt idx="8609">
                        <c:v>0</c:v>
                      </c:pt>
                      <c:pt idx="8610">
                        <c:v>0</c:v>
                      </c:pt>
                      <c:pt idx="8611">
                        <c:v>0</c:v>
                      </c:pt>
                      <c:pt idx="8612">
                        <c:v>0</c:v>
                      </c:pt>
                      <c:pt idx="8613">
                        <c:v>0</c:v>
                      </c:pt>
                      <c:pt idx="8614">
                        <c:v>0</c:v>
                      </c:pt>
                      <c:pt idx="8615">
                        <c:v>0</c:v>
                      </c:pt>
                      <c:pt idx="8616">
                        <c:v>0</c:v>
                      </c:pt>
                      <c:pt idx="8617">
                        <c:v>0</c:v>
                      </c:pt>
                      <c:pt idx="8618">
                        <c:v>0</c:v>
                      </c:pt>
                      <c:pt idx="8619">
                        <c:v>0</c:v>
                      </c:pt>
                      <c:pt idx="8620">
                        <c:v>0</c:v>
                      </c:pt>
                      <c:pt idx="8621">
                        <c:v>0</c:v>
                      </c:pt>
                      <c:pt idx="8622">
                        <c:v>0</c:v>
                      </c:pt>
                      <c:pt idx="8623">
                        <c:v>0</c:v>
                      </c:pt>
                      <c:pt idx="8624">
                        <c:v>0</c:v>
                      </c:pt>
                      <c:pt idx="8625">
                        <c:v>0</c:v>
                      </c:pt>
                      <c:pt idx="8626">
                        <c:v>0</c:v>
                      </c:pt>
                      <c:pt idx="8627">
                        <c:v>0</c:v>
                      </c:pt>
                      <c:pt idx="8628">
                        <c:v>0</c:v>
                      </c:pt>
                      <c:pt idx="8629">
                        <c:v>0</c:v>
                      </c:pt>
                      <c:pt idx="8630">
                        <c:v>0</c:v>
                      </c:pt>
                      <c:pt idx="8631">
                        <c:v>0</c:v>
                      </c:pt>
                      <c:pt idx="8632">
                        <c:v>0</c:v>
                      </c:pt>
                      <c:pt idx="8633">
                        <c:v>0</c:v>
                      </c:pt>
                      <c:pt idx="8634">
                        <c:v>0</c:v>
                      </c:pt>
                      <c:pt idx="8635">
                        <c:v>0</c:v>
                      </c:pt>
                      <c:pt idx="8636">
                        <c:v>0</c:v>
                      </c:pt>
                      <c:pt idx="8637">
                        <c:v>0</c:v>
                      </c:pt>
                      <c:pt idx="8638">
                        <c:v>0</c:v>
                      </c:pt>
                      <c:pt idx="8639">
                        <c:v>0</c:v>
                      </c:pt>
                      <c:pt idx="8640">
                        <c:v>0</c:v>
                      </c:pt>
                      <c:pt idx="8641">
                        <c:v>0</c:v>
                      </c:pt>
                      <c:pt idx="8642">
                        <c:v>0</c:v>
                      </c:pt>
                      <c:pt idx="8643">
                        <c:v>0</c:v>
                      </c:pt>
                      <c:pt idx="8644">
                        <c:v>0</c:v>
                      </c:pt>
                      <c:pt idx="8645">
                        <c:v>0</c:v>
                      </c:pt>
                      <c:pt idx="8646">
                        <c:v>0</c:v>
                      </c:pt>
                      <c:pt idx="8647">
                        <c:v>0</c:v>
                      </c:pt>
                      <c:pt idx="8648">
                        <c:v>0</c:v>
                      </c:pt>
                      <c:pt idx="8649">
                        <c:v>0</c:v>
                      </c:pt>
                      <c:pt idx="8650">
                        <c:v>0</c:v>
                      </c:pt>
                      <c:pt idx="8651">
                        <c:v>0</c:v>
                      </c:pt>
                      <c:pt idx="8652">
                        <c:v>0</c:v>
                      </c:pt>
                      <c:pt idx="8653">
                        <c:v>0</c:v>
                      </c:pt>
                      <c:pt idx="8654">
                        <c:v>0</c:v>
                      </c:pt>
                      <c:pt idx="8655">
                        <c:v>0</c:v>
                      </c:pt>
                      <c:pt idx="8656">
                        <c:v>0</c:v>
                      </c:pt>
                      <c:pt idx="8657">
                        <c:v>0</c:v>
                      </c:pt>
                      <c:pt idx="8658">
                        <c:v>0</c:v>
                      </c:pt>
                      <c:pt idx="8659">
                        <c:v>0</c:v>
                      </c:pt>
                      <c:pt idx="8660">
                        <c:v>0</c:v>
                      </c:pt>
                      <c:pt idx="8661">
                        <c:v>0</c:v>
                      </c:pt>
                      <c:pt idx="8662">
                        <c:v>0</c:v>
                      </c:pt>
                      <c:pt idx="8663">
                        <c:v>0</c:v>
                      </c:pt>
                      <c:pt idx="8664">
                        <c:v>0</c:v>
                      </c:pt>
                      <c:pt idx="8665">
                        <c:v>0</c:v>
                      </c:pt>
                      <c:pt idx="8666">
                        <c:v>0</c:v>
                      </c:pt>
                      <c:pt idx="8667">
                        <c:v>0</c:v>
                      </c:pt>
                      <c:pt idx="8668">
                        <c:v>0</c:v>
                      </c:pt>
                      <c:pt idx="8669">
                        <c:v>0</c:v>
                      </c:pt>
                      <c:pt idx="8670">
                        <c:v>0</c:v>
                      </c:pt>
                      <c:pt idx="8671">
                        <c:v>0</c:v>
                      </c:pt>
                      <c:pt idx="8672">
                        <c:v>0</c:v>
                      </c:pt>
                      <c:pt idx="8673">
                        <c:v>0</c:v>
                      </c:pt>
                      <c:pt idx="8674">
                        <c:v>0</c:v>
                      </c:pt>
                      <c:pt idx="8675">
                        <c:v>0</c:v>
                      </c:pt>
                      <c:pt idx="8676">
                        <c:v>0</c:v>
                      </c:pt>
                      <c:pt idx="8677">
                        <c:v>0</c:v>
                      </c:pt>
                      <c:pt idx="8678">
                        <c:v>0</c:v>
                      </c:pt>
                      <c:pt idx="8679">
                        <c:v>0</c:v>
                      </c:pt>
                      <c:pt idx="8680">
                        <c:v>0</c:v>
                      </c:pt>
                      <c:pt idx="8681">
                        <c:v>0</c:v>
                      </c:pt>
                      <c:pt idx="8682">
                        <c:v>0</c:v>
                      </c:pt>
                      <c:pt idx="8683">
                        <c:v>0</c:v>
                      </c:pt>
                      <c:pt idx="8684">
                        <c:v>0</c:v>
                      </c:pt>
                      <c:pt idx="8685">
                        <c:v>0</c:v>
                      </c:pt>
                      <c:pt idx="8686">
                        <c:v>0</c:v>
                      </c:pt>
                      <c:pt idx="8687">
                        <c:v>0</c:v>
                      </c:pt>
                      <c:pt idx="8688">
                        <c:v>0</c:v>
                      </c:pt>
                      <c:pt idx="8689">
                        <c:v>0</c:v>
                      </c:pt>
                      <c:pt idx="8690">
                        <c:v>0</c:v>
                      </c:pt>
                      <c:pt idx="8691">
                        <c:v>0</c:v>
                      </c:pt>
                      <c:pt idx="8692">
                        <c:v>0</c:v>
                      </c:pt>
                      <c:pt idx="8693">
                        <c:v>0</c:v>
                      </c:pt>
                      <c:pt idx="8694">
                        <c:v>0</c:v>
                      </c:pt>
                      <c:pt idx="8695">
                        <c:v>0</c:v>
                      </c:pt>
                      <c:pt idx="8696">
                        <c:v>0</c:v>
                      </c:pt>
                      <c:pt idx="8697">
                        <c:v>0</c:v>
                      </c:pt>
                      <c:pt idx="8698">
                        <c:v>0</c:v>
                      </c:pt>
                      <c:pt idx="8699">
                        <c:v>0</c:v>
                      </c:pt>
                      <c:pt idx="8700">
                        <c:v>0</c:v>
                      </c:pt>
                      <c:pt idx="8701">
                        <c:v>0</c:v>
                      </c:pt>
                      <c:pt idx="8702">
                        <c:v>0</c:v>
                      </c:pt>
                      <c:pt idx="8703">
                        <c:v>0</c:v>
                      </c:pt>
                      <c:pt idx="8704">
                        <c:v>0</c:v>
                      </c:pt>
                      <c:pt idx="8705">
                        <c:v>0</c:v>
                      </c:pt>
                      <c:pt idx="8706">
                        <c:v>0</c:v>
                      </c:pt>
                      <c:pt idx="8707">
                        <c:v>0</c:v>
                      </c:pt>
                      <c:pt idx="8708">
                        <c:v>0</c:v>
                      </c:pt>
                      <c:pt idx="8709">
                        <c:v>0</c:v>
                      </c:pt>
                      <c:pt idx="8710">
                        <c:v>0</c:v>
                      </c:pt>
                      <c:pt idx="8711">
                        <c:v>0</c:v>
                      </c:pt>
                      <c:pt idx="8712">
                        <c:v>0</c:v>
                      </c:pt>
                      <c:pt idx="8713">
                        <c:v>0</c:v>
                      </c:pt>
                      <c:pt idx="8714">
                        <c:v>0</c:v>
                      </c:pt>
                      <c:pt idx="8715">
                        <c:v>0</c:v>
                      </c:pt>
                      <c:pt idx="8716">
                        <c:v>0</c:v>
                      </c:pt>
                      <c:pt idx="8717">
                        <c:v>0</c:v>
                      </c:pt>
                      <c:pt idx="8718">
                        <c:v>0</c:v>
                      </c:pt>
                      <c:pt idx="8719">
                        <c:v>0</c:v>
                      </c:pt>
                      <c:pt idx="8720">
                        <c:v>0</c:v>
                      </c:pt>
                      <c:pt idx="8721">
                        <c:v>0</c:v>
                      </c:pt>
                      <c:pt idx="8722">
                        <c:v>0</c:v>
                      </c:pt>
                      <c:pt idx="8723">
                        <c:v>0</c:v>
                      </c:pt>
                      <c:pt idx="8724">
                        <c:v>0</c:v>
                      </c:pt>
                      <c:pt idx="8725">
                        <c:v>0</c:v>
                      </c:pt>
                      <c:pt idx="8726">
                        <c:v>0</c:v>
                      </c:pt>
                      <c:pt idx="8727">
                        <c:v>0</c:v>
                      </c:pt>
                      <c:pt idx="8728">
                        <c:v>0</c:v>
                      </c:pt>
                      <c:pt idx="8729">
                        <c:v>0</c:v>
                      </c:pt>
                      <c:pt idx="8730">
                        <c:v>0</c:v>
                      </c:pt>
                      <c:pt idx="8731">
                        <c:v>0</c:v>
                      </c:pt>
                      <c:pt idx="8732">
                        <c:v>0</c:v>
                      </c:pt>
                      <c:pt idx="8733">
                        <c:v>0</c:v>
                      </c:pt>
                      <c:pt idx="8734">
                        <c:v>0</c:v>
                      </c:pt>
                      <c:pt idx="8735">
                        <c:v>0</c:v>
                      </c:pt>
                      <c:pt idx="8736">
                        <c:v>0</c:v>
                      </c:pt>
                      <c:pt idx="8737">
                        <c:v>0</c:v>
                      </c:pt>
                      <c:pt idx="8738">
                        <c:v>0</c:v>
                      </c:pt>
                      <c:pt idx="8739">
                        <c:v>0</c:v>
                      </c:pt>
                      <c:pt idx="8740">
                        <c:v>0</c:v>
                      </c:pt>
                      <c:pt idx="8741">
                        <c:v>0</c:v>
                      </c:pt>
                      <c:pt idx="8742">
                        <c:v>0</c:v>
                      </c:pt>
                      <c:pt idx="8743">
                        <c:v>0</c:v>
                      </c:pt>
                      <c:pt idx="8744">
                        <c:v>0</c:v>
                      </c:pt>
                      <c:pt idx="8745">
                        <c:v>0</c:v>
                      </c:pt>
                      <c:pt idx="8746">
                        <c:v>0</c:v>
                      </c:pt>
                      <c:pt idx="8747">
                        <c:v>0</c:v>
                      </c:pt>
                      <c:pt idx="8748">
                        <c:v>0</c:v>
                      </c:pt>
                      <c:pt idx="8749">
                        <c:v>0</c:v>
                      </c:pt>
                      <c:pt idx="8750">
                        <c:v>0</c:v>
                      </c:pt>
                      <c:pt idx="8751">
                        <c:v>0</c:v>
                      </c:pt>
                      <c:pt idx="8752">
                        <c:v>0</c:v>
                      </c:pt>
                      <c:pt idx="8753">
                        <c:v>0</c:v>
                      </c:pt>
                      <c:pt idx="8754">
                        <c:v>0</c:v>
                      </c:pt>
                      <c:pt idx="8755">
                        <c:v>0</c:v>
                      </c:pt>
                      <c:pt idx="8756">
                        <c:v>0</c:v>
                      </c:pt>
                      <c:pt idx="8757">
                        <c:v>0</c:v>
                      </c:pt>
                      <c:pt idx="8758">
                        <c:v>0</c:v>
                      </c:pt>
                      <c:pt idx="8759">
                        <c:v>0</c:v>
                      </c:pt>
                      <c:pt idx="8760">
                        <c:v>0</c:v>
                      </c:pt>
                      <c:pt idx="8761">
                        <c:v>0</c:v>
                      </c:pt>
                      <c:pt idx="8762">
                        <c:v>0</c:v>
                      </c:pt>
                      <c:pt idx="8763">
                        <c:v>0</c:v>
                      </c:pt>
                      <c:pt idx="8764">
                        <c:v>0</c:v>
                      </c:pt>
                      <c:pt idx="8765">
                        <c:v>0</c:v>
                      </c:pt>
                      <c:pt idx="8766">
                        <c:v>0</c:v>
                      </c:pt>
                      <c:pt idx="8767">
                        <c:v>0</c:v>
                      </c:pt>
                      <c:pt idx="8768">
                        <c:v>0</c:v>
                      </c:pt>
                      <c:pt idx="8769">
                        <c:v>0</c:v>
                      </c:pt>
                      <c:pt idx="8770">
                        <c:v>0</c:v>
                      </c:pt>
                      <c:pt idx="8771">
                        <c:v>0</c:v>
                      </c:pt>
                      <c:pt idx="8772">
                        <c:v>0</c:v>
                      </c:pt>
                      <c:pt idx="8773">
                        <c:v>0</c:v>
                      </c:pt>
                      <c:pt idx="8774">
                        <c:v>0</c:v>
                      </c:pt>
                      <c:pt idx="8775">
                        <c:v>0</c:v>
                      </c:pt>
                      <c:pt idx="8776">
                        <c:v>0</c:v>
                      </c:pt>
                      <c:pt idx="8777">
                        <c:v>0</c:v>
                      </c:pt>
                      <c:pt idx="8778">
                        <c:v>0</c:v>
                      </c:pt>
                      <c:pt idx="8779">
                        <c:v>0</c:v>
                      </c:pt>
                      <c:pt idx="8780">
                        <c:v>0</c:v>
                      </c:pt>
                      <c:pt idx="8781">
                        <c:v>0</c:v>
                      </c:pt>
                      <c:pt idx="8782">
                        <c:v>0</c:v>
                      </c:pt>
                      <c:pt idx="8783">
                        <c:v>0</c:v>
                      </c:pt>
                      <c:pt idx="8784">
                        <c:v>0</c:v>
                      </c:pt>
                      <c:pt idx="8785">
                        <c:v>0</c:v>
                      </c:pt>
                      <c:pt idx="8786">
                        <c:v>0</c:v>
                      </c:pt>
                      <c:pt idx="8787">
                        <c:v>0</c:v>
                      </c:pt>
                      <c:pt idx="8788">
                        <c:v>0</c:v>
                      </c:pt>
                      <c:pt idx="8789">
                        <c:v>0</c:v>
                      </c:pt>
                      <c:pt idx="8790">
                        <c:v>0</c:v>
                      </c:pt>
                      <c:pt idx="8791">
                        <c:v>0</c:v>
                      </c:pt>
                      <c:pt idx="8792">
                        <c:v>0</c:v>
                      </c:pt>
                      <c:pt idx="8793">
                        <c:v>0</c:v>
                      </c:pt>
                      <c:pt idx="8794">
                        <c:v>0</c:v>
                      </c:pt>
                      <c:pt idx="8795">
                        <c:v>0</c:v>
                      </c:pt>
                      <c:pt idx="8796">
                        <c:v>0</c:v>
                      </c:pt>
                      <c:pt idx="8797">
                        <c:v>0</c:v>
                      </c:pt>
                      <c:pt idx="8798">
                        <c:v>0</c:v>
                      </c:pt>
                      <c:pt idx="8799">
                        <c:v>0</c:v>
                      </c:pt>
                      <c:pt idx="8800">
                        <c:v>0</c:v>
                      </c:pt>
                      <c:pt idx="8801">
                        <c:v>0</c:v>
                      </c:pt>
                      <c:pt idx="8802">
                        <c:v>0</c:v>
                      </c:pt>
                      <c:pt idx="8803">
                        <c:v>0</c:v>
                      </c:pt>
                      <c:pt idx="8804">
                        <c:v>0</c:v>
                      </c:pt>
                      <c:pt idx="8805">
                        <c:v>0</c:v>
                      </c:pt>
                      <c:pt idx="8806">
                        <c:v>0</c:v>
                      </c:pt>
                      <c:pt idx="8807">
                        <c:v>0</c:v>
                      </c:pt>
                      <c:pt idx="8808">
                        <c:v>0</c:v>
                      </c:pt>
                      <c:pt idx="8809">
                        <c:v>0</c:v>
                      </c:pt>
                      <c:pt idx="8810">
                        <c:v>0</c:v>
                      </c:pt>
                      <c:pt idx="8811">
                        <c:v>0</c:v>
                      </c:pt>
                      <c:pt idx="8812">
                        <c:v>0</c:v>
                      </c:pt>
                      <c:pt idx="8813">
                        <c:v>0</c:v>
                      </c:pt>
                      <c:pt idx="8814">
                        <c:v>0</c:v>
                      </c:pt>
                      <c:pt idx="8815">
                        <c:v>0</c:v>
                      </c:pt>
                      <c:pt idx="8816">
                        <c:v>0</c:v>
                      </c:pt>
                      <c:pt idx="8817">
                        <c:v>0</c:v>
                      </c:pt>
                      <c:pt idx="8818">
                        <c:v>0</c:v>
                      </c:pt>
                      <c:pt idx="8819">
                        <c:v>0</c:v>
                      </c:pt>
                      <c:pt idx="8820">
                        <c:v>0</c:v>
                      </c:pt>
                      <c:pt idx="8821">
                        <c:v>0</c:v>
                      </c:pt>
                      <c:pt idx="8822">
                        <c:v>0</c:v>
                      </c:pt>
                      <c:pt idx="8823">
                        <c:v>0</c:v>
                      </c:pt>
                      <c:pt idx="8824">
                        <c:v>0</c:v>
                      </c:pt>
                      <c:pt idx="8825">
                        <c:v>0</c:v>
                      </c:pt>
                      <c:pt idx="8826">
                        <c:v>0</c:v>
                      </c:pt>
                      <c:pt idx="8827">
                        <c:v>0</c:v>
                      </c:pt>
                      <c:pt idx="8828">
                        <c:v>0</c:v>
                      </c:pt>
                      <c:pt idx="8829">
                        <c:v>0</c:v>
                      </c:pt>
                      <c:pt idx="8830">
                        <c:v>0</c:v>
                      </c:pt>
                      <c:pt idx="8831">
                        <c:v>0</c:v>
                      </c:pt>
                      <c:pt idx="8832">
                        <c:v>0</c:v>
                      </c:pt>
                      <c:pt idx="8833">
                        <c:v>0</c:v>
                      </c:pt>
                      <c:pt idx="8834">
                        <c:v>0</c:v>
                      </c:pt>
                      <c:pt idx="8835">
                        <c:v>0</c:v>
                      </c:pt>
                      <c:pt idx="8836">
                        <c:v>0</c:v>
                      </c:pt>
                      <c:pt idx="8837">
                        <c:v>0</c:v>
                      </c:pt>
                      <c:pt idx="8838">
                        <c:v>0</c:v>
                      </c:pt>
                      <c:pt idx="8839">
                        <c:v>0</c:v>
                      </c:pt>
                      <c:pt idx="8840">
                        <c:v>0</c:v>
                      </c:pt>
                      <c:pt idx="8841">
                        <c:v>0</c:v>
                      </c:pt>
                      <c:pt idx="8842">
                        <c:v>0</c:v>
                      </c:pt>
                      <c:pt idx="8843">
                        <c:v>0</c:v>
                      </c:pt>
                      <c:pt idx="8844">
                        <c:v>0</c:v>
                      </c:pt>
                      <c:pt idx="8845">
                        <c:v>0</c:v>
                      </c:pt>
                      <c:pt idx="8846">
                        <c:v>0</c:v>
                      </c:pt>
                      <c:pt idx="8847">
                        <c:v>0</c:v>
                      </c:pt>
                      <c:pt idx="8848">
                        <c:v>0</c:v>
                      </c:pt>
                      <c:pt idx="8849">
                        <c:v>0</c:v>
                      </c:pt>
                      <c:pt idx="8850">
                        <c:v>0</c:v>
                      </c:pt>
                      <c:pt idx="8851">
                        <c:v>0</c:v>
                      </c:pt>
                      <c:pt idx="8852">
                        <c:v>0</c:v>
                      </c:pt>
                      <c:pt idx="8853">
                        <c:v>0</c:v>
                      </c:pt>
                      <c:pt idx="8854">
                        <c:v>0</c:v>
                      </c:pt>
                      <c:pt idx="8855">
                        <c:v>0</c:v>
                      </c:pt>
                      <c:pt idx="8856">
                        <c:v>0</c:v>
                      </c:pt>
                      <c:pt idx="8857">
                        <c:v>0</c:v>
                      </c:pt>
                      <c:pt idx="8858">
                        <c:v>0</c:v>
                      </c:pt>
                      <c:pt idx="8859">
                        <c:v>0</c:v>
                      </c:pt>
                      <c:pt idx="8860">
                        <c:v>0</c:v>
                      </c:pt>
                      <c:pt idx="8861">
                        <c:v>0</c:v>
                      </c:pt>
                      <c:pt idx="8862">
                        <c:v>0</c:v>
                      </c:pt>
                      <c:pt idx="8863">
                        <c:v>0</c:v>
                      </c:pt>
                      <c:pt idx="8864">
                        <c:v>0</c:v>
                      </c:pt>
                      <c:pt idx="8865">
                        <c:v>0</c:v>
                      </c:pt>
                      <c:pt idx="8866">
                        <c:v>0</c:v>
                      </c:pt>
                      <c:pt idx="8867">
                        <c:v>0</c:v>
                      </c:pt>
                      <c:pt idx="8868">
                        <c:v>0</c:v>
                      </c:pt>
                      <c:pt idx="8869">
                        <c:v>0</c:v>
                      </c:pt>
                      <c:pt idx="8870">
                        <c:v>0</c:v>
                      </c:pt>
                      <c:pt idx="8871">
                        <c:v>0</c:v>
                      </c:pt>
                      <c:pt idx="8872">
                        <c:v>0</c:v>
                      </c:pt>
                      <c:pt idx="8873">
                        <c:v>0</c:v>
                      </c:pt>
                      <c:pt idx="8874">
                        <c:v>0</c:v>
                      </c:pt>
                      <c:pt idx="8875">
                        <c:v>0</c:v>
                      </c:pt>
                      <c:pt idx="8876">
                        <c:v>0</c:v>
                      </c:pt>
                      <c:pt idx="8877">
                        <c:v>0</c:v>
                      </c:pt>
                      <c:pt idx="8878">
                        <c:v>0</c:v>
                      </c:pt>
                      <c:pt idx="8879">
                        <c:v>0</c:v>
                      </c:pt>
                      <c:pt idx="8880">
                        <c:v>0</c:v>
                      </c:pt>
                      <c:pt idx="8881">
                        <c:v>0</c:v>
                      </c:pt>
                      <c:pt idx="8882">
                        <c:v>0</c:v>
                      </c:pt>
                      <c:pt idx="8883">
                        <c:v>0</c:v>
                      </c:pt>
                      <c:pt idx="8884">
                        <c:v>0</c:v>
                      </c:pt>
                      <c:pt idx="8885">
                        <c:v>0</c:v>
                      </c:pt>
                      <c:pt idx="8886">
                        <c:v>0</c:v>
                      </c:pt>
                      <c:pt idx="8887">
                        <c:v>0</c:v>
                      </c:pt>
                      <c:pt idx="8888">
                        <c:v>0</c:v>
                      </c:pt>
                      <c:pt idx="8889">
                        <c:v>0</c:v>
                      </c:pt>
                      <c:pt idx="8890">
                        <c:v>0</c:v>
                      </c:pt>
                      <c:pt idx="8891">
                        <c:v>0</c:v>
                      </c:pt>
                      <c:pt idx="8892">
                        <c:v>0</c:v>
                      </c:pt>
                      <c:pt idx="8893">
                        <c:v>0</c:v>
                      </c:pt>
                      <c:pt idx="8894">
                        <c:v>0</c:v>
                      </c:pt>
                      <c:pt idx="8895">
                        <c:v>0</c:v>
                      </c:pt>
                      <c:pt idx="8896">
                        <c:v>0</c:v>
                      </c:pt>
                      <c:pt idx="8897">
                        <c:v>0</c:v>
                      </c:pt>
                      <c:pt idx="8898">
                        <c:v>0</c:v>
                      </c:pt>
                      <c:pt idx="8899">
                        <c:v>0</c:v>
                      </c:pt>
                      <c:pt idx="8900">
                        <c:v>0</c:v>
                      </c:pt>
                      <c:pt idx="8901">
                        <c:v>0</c:v>
                      </c:pt>
                      <c:pt idx="8902">
                        <c:v>0</c:v>
                      </c:pt>
                      <c:pt idx="8903">
                        <c:v>0</c:v>
                      </c:pt>
                      <c:pt idx="8904">
                        <c:v>0</c:v>
                      </c:pt>
                      <c:pt idx="8905">
                        <c:v>0</c:v>
                      </c:pt>
                      <c:pt idx="8906">
                        <c:v>0</c:v>
                      </c:pt>
                      <c:pt idx="8907">
                        <c:v>0</c:v>
                      </c:pt>
                      <c:pt idx="8908">
                        <c:v>0</c:v>
                      </c:pt>
                      <c:pt idx="8909">
                        <c:v>0</c:v>
                      </c:pt>
                      <c:pt idx="8910">
                        <c:v>0</c:v>
                      </c:pt>
                      <c:pt idx="8911">
                        <c:v>0</c:v>
                      </c:pt>
                      <c:pt idx="8912">
                        <c:v>0</c:v>
                      </c:pt>
                      <c:pt idx="8913">
                        <c:v>0</c:v>
                      </c:pt>
                      <c:pt idx="8914">
                        <c:v>0</c:v>
                      </c:pt>
                      <c:pt idx="8915">
                        <c:v>0</c:v>
                      </c:pt>
                      <c:pt idx="8916">
                        <c:v>0</c:v>
                      </c:pt>
                      <c:pt idx="8917">
                        <c:v>0</c:v>
                      </c:pt>
                      <c:pt idx="8918">
                        <c:v>0</c:v>
                      </c:pt>
                      <c:pt idx="8919">
                        <c:v>0</c:v>
                      </c:pt>
                      <c:pt idx="8920">
                        <c:v>0</c:v>
                      </c:pt>
                      <c:pt idx="8921">
                        <c:v>0</c:v>
                      </c:pt>
                      <c:pt idx="8922">
                        <c:v>0</c:v>
                      </c:pt>
                      <c:pt idx="8923">
                        <c:v>0</c:v>
                      </c:pt>
                      <c:pt idx="8924">
                        <c:v>0</c:v>
                      </c:pt>
                      <c:pt idx="8925">
                        <c:v>0</c:v>
                      </c:pt>
                      <c:pt idx="8926">
                        <c:v>0</c:v>
                      </c:pt>
                      <c:pt idx="8927">
                        <c:v>0</c:v>
                      </c:pt>
                      <c:pt idx="8928">
                        <c:v>0</c:v>
                      </c:pt>
                      <c:pt idx="8929">
                        <c:v>0</c:v>
                      </c:pt>
                      <c:pt idx="8930">
                        <c:v>0</c:v>
                      </c:pt>
                      <c:pt idx="8931">
                        <c:v>0</c:v>
                      </c:pt>
                      <c:pt idx="8932">
                        <c:v>0</c:v>
                      </c:pt>
                      <c:pt idx="8933">
                        <c:v>0</c:v>
                      </c:pt>
                      <c:pt idx="8934">
                        <c:v>0</c:v>
                      </c:pt>
                      <c:pt idx="8935">
                        <c:v>0</c:v>
                      </c:pt>
                      <c:pt idx="8936">
                        <c:v>0</c:v>
                      </c:pt>
                      <c:pt idx="8937">
                        <c:v>0</c:v>
                      </c:pt>
                      <c:pt idx="8938">
                        <c:v>0</c:v>
                      </c:pt>
                      <c:pt idx="8939">
                        <c:v>0</c:v>
                      </c:pt>
                      <c:pt idx="8940">
                        <c:v>0</c:v>
                      </c:pt>
                      <c:pt idx="8941">
                        <c:v>0</c:v>
                      </c:pt>
                      <c:pt idx="8942">
                        <c:v>0</c:v>
                      </c:pt>
                      <c:pt idx="8943">
                        <c:v>0</c:v>
                      </c:pt>
                      <c:pt idx="8944">
                        <c:v>0</c:v>
                      </c:pt>
                      <c:pt idx="8945">
                        <c:v>0</c:v>
                      </c:pt>
                      <c:pt idx="8946">
                        <c:v>0</c:v>
                      </c:pt>
                      <c:pt idx="8947">
                        <c:v>0</c:v>
                      </c:pt>
                      <c:pt idx="8948">
                        <c:v>0</c:v>
                      </c:pt>
                      <c:pt idx="8949">
                        <c:v>0</c:v>
                      </c:pt>
                      <c:pt idx="8950">
                        <c:v>0</c:v>
                      </c:pt>
                      <c:pt idx="8951">
                        <c:v>0</c:v>
                      </c:pt>
                      <c:pt idx="8952">
                        <c:v>0</c:v>
                      </c:pt>
                      <c:pt idx="8953">
                        <c:v>0</c:v>
                      </c:pt>
                      <c:pt idx="8954">
                        <c:v>0</c:v>
                      </c:pt>
                      <c:pt idx="8955">
                        <c:v>0</c:v>
                      </c:pt>
                      <c:pt idx="8956">
                        <c:v>0</c:v>
                      </c:pt>
                      <c:pt idx="8957">
                        <c:v>0</c:v>
                      </c:pt>
                      <c:pt idx="8958">
                        <c:v>0</c:v>
                      </c:pt>
                      <c:pt idx="8959">
                        <c:v>0</c:v>
                      </c:pt>
                      <c:pt idx="8960">
                        <c:v>0</c:v>
                      </c:pt>
                      <c:pt idx="8961">
                        <c:v>0</c:v>
                      </c:pt>
                      <c:pt idx="8962">
                        <c:v>0</c:v>
                      </c:pt>
                      <c:pt idx="8963">
                        <c:v>0</c:v>
                      </c:pt>
                      <c:pt idx="8964">
                        <c:v>0</c:v>
                      </c:pt>
                      <c:pt idx="8965">
                        <c:v>0</c:v>
                      </c:pt>
                      <c:pt idx="8966">
                        <c:v>0</c:v>
                      </c:pt>
                      <c:pt idx="8967">
                        <c:v>0</c:v>
                      </c:pt>
                      <c:pt idx="8968">
                        <c:v>0</c:v>
                      </c:pt>
                      <c:pt idx="8969">
                        <c:v>0</c:v>
                      </c:pt>
                      <c:pt idx="8970">
                        <c:v>0</c:v>
                      </c:pt>
                      <c:pt idx="8971">
                        <c:v>0</c:v>
                      </c:pt>
                      <c:pt idx="8972">
                        <c:v>0</c:v>
                      </c:pt>
                      <c:pt idx="8973">
                        <c:v>0</c:v>
                      </c:pt>
                      <c:pt idx="8974">
                        <c:v>0</c:v>
                      </c:pt>
                      <c:pt idx="8975">
                        <c:v>0</c:v>
                      </c:pt>
                      <c:pt idx="8976">
                        <c:v>0</c:v>
                      </c:pt>
                      <c:pt idx="8977">
                        <c:v>0</c:v>
                      </c:pt>
                      <c:pt idx="8978">
                        <c:v>0</c:v>
                      </c:pt>
                      <c:pt idx="8979">
                        <c:v>0</c:v>
                      </c:pt>
                      <c:pt idx="8980">
                        <c:v>0</c:v>
                      </c:pt>
                      <c:pt idx="8981">
                        <c:v>0</c:v>
                      </c:pt>
                      <c:pt idx="8982">
                        <c:v>0</c:v>
                      </c:pt>
                      <c:pt idx="8983">
                        <c:v>0</c:v>
                      </c:pt>
                      <c:pt idx="8984">
                        <c:v>0</c:v>
                      </c:pt>
                      <c:pt idx="8985">
                        <c:v>0</c:v>
                      </c:pt>
                      <c:pt idx="8986">
                        <c:v>0</c:v>
                      </c:pt>
                      <c:pt idx="8987">
                        <c:v>0</c:v>
                      </c:pt>
                      <c:pt idx="8988">
                        <c:v>0</c:v>
                      </c:pt>
                      <c:pt idx="8989">
                        <c:v>0</c:v>
                      </c:pt>
                      <c:pt idx="8990">
                        <c:v>0</c:v>
                      </c:pt>
                      <c:pt idx="8991">
                        <c:v>0</c:v>
                      </c:pt>
                      <c:pt idx="8992">
                        <c:v>0</c:v>
                      </c:pt>
                      <c:pt idx="8993">
                        <c:v>0</c:v>
                      </c:pt>
                      <c:pt idx="8994">
                        <c:v>0</c:v>
                      </c:pt>
                      <c:pt idx="8995">
                        <c:v>0</c:v>
                      </c:pt>
                      <c:pt idx="8996">
                        <c:v>0</c:v>
                      </c:pt>
                      <c:pt idx="8997">
                        <c:v>0</c:v>
                      </c:pt>
                      <c:pt idx="8998">
                        <c:v>0</c:v>
                      </c:pt>
                      <c:pt idx="8999">
                        <c:v>0</c:v>
                      </c:pt>
                      <c:pt idx="9000">
                        <c:v>0</c:v>
                      </c:pt>
                      <c:pt idx="9001">
                        <c:v>0</c:v>
                      </c:pt>
                      <c:pt idx="9002">
                        <c:v>0</c:v>
                      </c:pt>
                      <c:pt idx="9003">
                        <c:v>0</c:v>
                      </c:pt>
                      <c:pt idx="9004">
                        <c:v>0</c:v>
                      </c:pt>
                      <c:pt idx="9005">
                        <c:v>0</c:v>
                      </c:pt>
                      <c:pt idx="9006">
                        <c:v>0</c:v>
                      </c:pt>
                      <c:pt idx="9007">
                        <c:v>0</c:v>
                      </c:pt>
                      <c:pt idx="9008">
                        <c:v>0</c:v>
                      </c:pt>
                      <c:pt idx="9009">
                        <c:v>0</c:v>
                      </c:pt>
                      <c:pt idx="9010">
                        <c:v>0</c:v>
                      </c:pt>
                      <c:pt idx="9011">
                        <c:v>0</c:v>
                      </c:pt>
                      <c:pt idx="9012">
                        <c:v>0</c:v>
                      </c:pt>
                      <c:pt idx="9013">
                        <c:v>0</c:v>
                      </c:pt>
                      <c:pt idx="9014">
                        <c:v>0</c:v>
                      </c:pt>
                      <c:pt idx="9015">
                        <c:v>0</c:v>
                      </c:pt>
                      <c:pt idx="9016">
                        <c:v>0</c:v>
                      </c:pt>
                      <c:pt idx="9017">
                        <c:v>0</c:v>
                      </c:pt>
                      <c:pt idx="9018">
                        <c:v>0</c:v>
                      </c:pt>
                      <c:pt idx="9019">
                        <c:v>0</c:v>
                      </c:pt>
                      <c:pt idx="9020">
                        <c:v>0</c:v>
                      </c:pt>
                      <c:pt idx="9021">
                        <c:v>0</c:v>
                      </c:pt>
                      <c:pt idx="9022">
                        <c:v>0</c:v>
                      </c:pt>
                      <c:pt idx="9023">
                        <c:v>0</c:v>
                      </c:pt>
                      <c:pt idx="9024">
                        <c:v>0</c:v>
                      </c:pt>
                      <c:pt idx="9025">
                        <c:v>0</c:v>
                      </c:pt>
                      <c:pt idx="9026">
                        <c:v>0</c:v>
                      </c:pt>
                      <c:pt idx="9027">
                        <c:v>0</c:v>
                      </c:pt>
                      <c:pt idx="9028">
                        <c:v>0</c:v>
                      </c:pt>
                      <c:pt idx="9029">
                        <c:v>0</c:v>
                      </c:pt>
                      <c:pt idx="9030">
                        <c:v>0</c:v>
                      </c:pt>
                      <c:pt idx="9031">
                        <c:v>0</c:v>
                      </c:pt>
                      <c:pt idx="9032">
                        <c:v>0</c:v>
                      </c:pt>
                      <c:pt idx="9033">
                        <c:v>0</c:v>
                      </c:pt>
                      <c:pt idx="9034">
                        <c:v>0</c:v>
                      </c:pt>
                      <c:pt idx="9035">
                        <c:v>0</c:v>
                      </c:pt>
                      <c:pt idx="9036">
                        <c:v>0</c:v>
                      </c:pt>
                      <c:pt idx="9037">
                        <c:v>0</c:v>
                      </c:pt>
                      <c:pt idx="9038">
                        <c:v>0</c:v>
                      </c:pt>
                      <c:pt idx="9039">
                        <c:v>0</c:v>
                      </c:pt>
                      <c:pt idx="9040">
                        <c:v>0</c:v>
                      </c:pt>
                      <c:pt idx="9041">
                        <c:v>0</c:v>
                      </c:pt>
                      <c:pt idx="9042">
                        <c:v>0</c:v>
                      </c:pt>
                      <c:pt idx="9043">
                        <c:v>0</c:v>
                      </c:pt>
                      <c:pt idx="9044">
                        <c:v>0</c:v>
                      </c:pt>
                      <c:pt idx="9045">
                        <c:v>0</c:v>
                      </c:pt>
                      <c:pt idx="9046">
                        <c:v>0</c:v>
                      </c:pt>
                      <c:pt idx="9047">
                        <c:v>0</c:v>
                      </c:pt>
                      <c:pt idx="9048">
                        <c:v>0</c:v>
                      </c:pt>
                      <c:pt idx="9049">
                        <c:v>0</c:v>
                      </c:pt>
                      <c:pt idx="9050">
                        <c:v>0</c:v>
                      </c:pt>
                      <c:pt idx="9051">
                        <c:v>0</c:v>
                      </c:pt>
                      <c:pt idx="9052">
                        <c:v>0</c:v>
                      </c:pt>
                      <c:pt idx="9053">
                        <c:v>0</c:v>
                      </c:pt>
                      <c:pt idx="9054">
                        <c:v>0</c:v>
                      </c:pt>
                      <c:pt idx="9055">
                        <c:v>0</c:v>
                      </c:pt>
                      <c:pt idx="9056">
                        <c:v>0</c:v>
                      </c:pt>
                      <c:pt idx="9057">
                        <c:v>0</c:v>
                      </c:pt>
                      <c:pt idx="9058">
                        <c:v>0</c:v>
                      </c:pt>
                      <c:pt idx="9059">
                        <c:v>0</c:v>
                      </c:pt>
                      <c:pt idx="9060">
                        <c:v>0</c:v>
                      </c:pt>
                      <c:pt idx="9061">
                        <c:v>0</c:v>
                      </c:pt>
                      <c:pt idx="9062">
                        <c:v>0</c:v>
                      </c:pt>
                      <c:pt idx="9063">
                        <c:v>0</c:v>
                      </c:pt>
                      <c:pt idx="9064">
                        <c:v>0</c:v>
                      </c:pt>
                      <c:pt idx="9065">
                        <c:v>0</c:v>
                      </c:pt>
                      <c:pt idx="9066">
                        <c:v>0</c:v>
                      </c:pt>
                      <c:pt idx="9067">
                        <c:v>0</c:v>
                      </c:pt>
                      <c:pt idx="9068">
                        <c:v>0</c:v>
                      </c:pt>
                      <c:pt idx="9069">
                        <c:v>0</c:v>
                      </c:pt>
                      <c:pt idx="9070">
                        <c:v>0</c:v>
                      </c:pt>
                      <c:pt idx="9071">
                        <c:v>0</c:v>
                      </c:pt>
                      <c:pt idx="9072">
                        <c:v>0</c:v>
                      </c:pt>
                      <c:pt idx="9073">
                        <c:v>0</c:v>
                      </c:pt>
                      <c:pt idx="9074">
                        <c:v>0</c:v>
                      </c:pt>
                      <c:pt idx="9075">
                        <c:v>0</c:v>
                      </c:pt>
                      <c:pt idx="9076">
                        <c:v>0</c:v>
                      </c:pt>
                      <c:pt idx="9077">
                        <c:v>0</c:v>
                      </c:pt>
                      <c:pt idx="9078">
                        <c:v>0</c:v>
                      </c:pt>
                      <c:pt idx="9079">
                        <c:v>0</c:v>
                      </c:pt>
                      <c:pt idx="9080">
                        <c:v>0</c:v>
                      </c:pt>
                      <c:pt idx="9081">
                        <c:v>0</c:v>
                      </c:pt>
                      <c:pt idx="9082">
                        <c:v>0</c:v>
                      </c:pt>
                      <c:pt idx="9083">
                        <c:v>0</c:v>
                      </c:pt>
                      <c:pt idx="9084">
                        <c:v>0</c:v>
                      </c:pt>
                      <c:pt idx="9085">
                        <c:v>0</c:v>
                      </c:pt>
                      <c:pt idx="9086">
                        <c:v>0</c:v>
                      </c:pt>
                      <c:pt idx="9087">
                        <c:v>0</c:v>
                      </c:pt>
                      <c:pt idx="9088">
                        <c:v>0</c:v>
                      </c:pt>
                      <c:pt idx="9089">
                        <c:v>0</c:v>
                      </c:pt>
                      <c:pt idx="9090">
                        <c:v>0</c:v>
                      </c:pt>
                      <c:pt idx="9091">
                        <c:v>0</c:v>
                      </c:pt>
                      <c:pt idx="9092">
                        <c:v>0</c:v>
                      </c:pt>
                      <c:pt idx="9093">
                        <c:v>0</c:v>
                      </c:pt>
                      <c:pt idx="9094">
                        <c:v>0</c:v>
                      </c:pt>
                      <c:pt idx="9095">
                        <c:v>0</c:v>
                      </c:pt>
                      <c:pt idx="9096">
                        <c:v>0</c:v>
                      </c:pt>
                      <c:pt idx="9097">
                        <c:v>0</c:v>
                      </c:pt>
                      <c:pt idx="9098">
                        <c:v>0</c:v>
                      </c:pt>
                      <c:pt idx="9099">
                        <c:v>0</c:v>
                      </c:pt>
                      <c:pt idx="9100">
                        <c:v>0</c:v>
                      </c:pt>
                      <c:pt idx="9101">
                        <c:v>0</c:v>
                      </c:pt>
                      <c:pt idx="9102">
                        <c:v>0</c:v>
                      </c:pt>
                      <c:pt idx="9103">
                        <c:v>0</c:v>
                      </c:pt>
                      <c:pt idx="9104">
                        <c:v>0</c:v>
                      </c:pt>
                      <c:pt idx="9105">
                        <c:v>0</c:v>
                      </c:pt>
                      <c:pt idx="9106">
                        <c:v>0</c:v>
                      </c:pt>
                      <c:pt idx="9107">
                        <c:v>0</c:v>
                      </c:pt>
                      <c:pt idx="9108">
                        <c:v>0</c:v>
                      </c:pt>
                      <c:pt idx="9109">
                        <c:v>0</c:v>
                      </c:pt>
                      <c:pt idx="9110">
                        <c:v>0</c:v>
                      </c:pt>
                      <c:pt idx="9111">
                        <c:v>0</c:v>
                      </c:pt>
                      <c:pt idx="9112">
                        <c:v>0</c:v>
                      </c:pt>
                      <c:pt idx="9113">
                        <c:v>0</c:v>
                      </c:pt>
                      <c:pt idx="9114">
                        <c:v>0</c:v>
                      </c:pt>
                      <c:pt idx="9115">
                        <c:v>0</c:v>
                      </c:pt>
                      <c:pt idx="9116">
                        <c:v>0</c:v>
                      </c:pt>
                      <c:pt idx="9117">
                        <c:v>0</c:v>
                      </c:pt>
                      <c:pt idx="9118">
                        <c:v>0</c:v>
                      </c:pt>
                      <c:pt idx="9119">
                        <c:v>0</c:v>
                      </c:pt>
                      <c:pt idx="9120">
                        <c:v>0</c:v>
                      </c:pt>
                      <c:pt idx="9121">
                        <c:v>0</c:v>
                      </c:pt>
                      <c:pt idx="9122">
                        <c:v>0</c:v>
                      </c:pt>
                      <c:pt idx="9123">
                        <c:v>0</c:v>
                      </c:pt>
                      <c:pt idx="9124">
                        <c:v>0</c:v>
                      </c:pt>
                      <c:pt idx="9125">
                        <c:v>0</c:v>
                      </c:pt>
                      <c:pt idx="9126">
                        <c:v>0</c:v>
                      </c:pt>
                      <c:pt idx="9127">
                        <c:v>0</c:v>
                      </c:pt>
                      <c:pt idx="9128">
                        <c:v>0</c:v>
                      </c:pt>
                      <c:pt idx="9129">
                        <c:v>0</c:v>
                      </c:pt>
                      <c:pt idx="9130">
                        <c:v>0</c:v>
                      </c:pt>
                      <c:pt idx="9131">
                        <c:v>0</c:v>
                      </c:pt>
                      <c:pt idx="9132">
                        <c:v>0</c:v>
                      </c:pt>
                      <c:pt idx="9133">
                        <c:v>0</c:v>
                      </c:pt>
                      <c:pt idx="9134">
                        <c:v>0</c:v>
                      </c:pt>
                      <c:pt idx="9135">
                        <c:v>0</c:v>
                      </c:pt>
                      <c:pt idx="9136">
                        <c:v>0</c:v>
                      </c:pt>
                      <c:pt idx="9137">
                        <c:v>0</c:v>
                      </c:pt>
                      <c:pt idx="9138">
                        <c:v>0</c:v>
                      </c:pt>
                      <c:pt idx="9139">
                        <c:v>0</c:v>
                      </c:pt>
                      <c:pt idx="9140">
                        <c:v>0</c:v>
                      </c:pt>
                      <c:pt idx="9141">
                        <c:v>0</c:v>
                      </c:pt>
                      <c:pt idx="9142">
                        <c:v>0</c:v>
                      </c:pt>
                      <c:pt idx="9143">
                        <c:v>0</c:v>
                      </c:pt>
                      <c:pt idx="9144">
                        <c:v>0</c:v>
                      </c:pt>
                      <c:pt idx="9145">
                        <c:v>0</c:v>
                      </c:pt>
                      <c:pt idx="9146">
                        <c:v>0</c:v>
                      </c:pt>
                      <c:pt idx="9147">
                        <c:v>0</c:v>
                      </c:pt>
                      <c:pt idx="9148">
                        <c:v>0</c:v>
                      </c:pt>
                      <c:pt idx="9149">
                        <c:v>0</c:v>
                      </c:pt>
                      <c:pt idx="9150">
                        <c:v>0</c:v>
                      </c:pt>
                      <c:pt idx="9151">
                        <c:v>0</c:v>
                      </c:pt>
                      <c:pt idx="9152">
                        <c:v>0</c:v>
                      </c:pt>
                      <c:pt idx="9153">
                        <c:v>0</c:v>
                      </c:pt>
                      <c:pt idx="9154">
                        <c:v>0</c:v>
                      </c:pt>
                      <c:pt idx="9155">
                        <c:v>0</c:v>
                      </c:pt>
                      <c:pt idx="9156">
                        <c:v>0</c:v>
                      </c:pt>
                      <c:pt idx="9157">
                        <c:v>0</c:v>
                      </c:pt>
                      <c:pt idx="9158">
                        <c:v>0</c:v>
                      </c:pt>
                      <c:pt idx="9159">
                        <c:v>0</c:v>
                      </c:pt>
                      <c:pt idx="9160">
                        <c:v>0</c:v>
                      </c:pt>
                      <c:pt idx="9161">
                        <c:v>0</c:v>
                      </c:pt>
                      <c:pt idx="9162">
                        <c:v>0</c:v>
                      </c:pt>
                      <c:pt idx="9163">
                        <c:v>0</c:v>
                      </c:pt>
                      <c:pt idx="9164">
                        <c:v>0</c:v>
                      </c:pt>
                      <c:pt idx="9165">
                        <c:v>0</c:v>
                      </c:pt>
                      <c:pt idx="9166">
                        <c:v>0</c:v>
                      </c:pt>
                      <c:pt idx="9167">
                        <c:v>0</c:v>
                      </c:pt>
                      <c:pt idx="9168">
                        <c:v>0</c:v>
                      </c:pt>
                      <c:pt idx="9169">
                        <c:v>0</c:v>
                      </c:pt>
                      <c:pt idx="9170">
                        <c:v>0</c:v>
                      </c:pt>
                      <c:pt idx="9171">
                        <c:v>0</c:v>
                      </c:pt>
                      <c:pt idx="9172">
                        <c:v>0</c:v>
                      </c:pt>
                      <c:pt idx="9173">
                        <c:v>0</c:v>
                      </c:pt>
                      <c:pt idx="9174">
                        <c:v>0</c:v>
                      </c:pt>
                      <c:pt idx="9175">
                        <c:v>0</c:v>
                      </c:pt>
                      <c:pt idx="9176">
                        <c:v>0</c:v>
                      </c:pt>
                      <c:pt idx="9177">
                        <c:v>0</c:v>
                      </c:pt>
                      <c:pt idx="9178">
                        <c:v>0</c:v>
                      </c:pt>
                      <c:pt idx="9179">
                        <c:v>0</c:v>
                      </c:pt>
                      <c:pt idx="9180">
                        <c:v>0</c:v>
                      </c:pt>
                      <c:pt idx="9181">
                        <c:v>0</c:v>
                      </c:pt>
                      <c:pt idx="9182">
                        <c:v>0</c:v>
                      </c:pt>
                      <c:pt idx="9183">
                        <c:v>0</c:v>
                      </c:pt>
                      <c:pt idx="9184">
                        <c:v>0</c:v>
                      </c:pt>
                      <c:pt idx="9185">
                        <c:v>0</c:v>
                      </c:pt>
                      <c:pt idx="9186">
                        <c:v>0</c:v>
                      </c:pt>
                      <c:pt idx="9187">
                        <c:v>0</c:v>
                      </c:pt>
                      <c:pt idx="9188">
                        <c:v>0</c:v>
                      </c:pt>
                      <c:pt idx="9189">
                        <c:v>0</c:v>
                      </c:pt>
                      <c:pt idx="9190">
                        <c:v>0</c:v>
                      </c:pt>
                      <c:pt idx="9191">
                        <c:v>0</c:v>
                      </c:pt>
                      <c:pt idx="9192">
                        <c:v>0</c:v>
                      </c:pt>
                      <c:pt idx="9193">
                        <c:v>0</c:v>
                      </c:pt>
                      <c:pt idx="9194">
                        <c:v>0</c:v>
                      </c:pt>
                      <c:pt idx="9195">
                        <c:v>0</c:v>
                      </c:pt>
                      <c:pt idx="9196">
                        <c:v>0</c:v>
                      </c:pt>
                      <c:pt idx="9197">
                        <c:v>0</c:v>
                      </c:pt>
                      <c:pt idx="9198">
                        <c:v>0</c:v>
                      </c:pt>
                      <c:pt idx="9199">
                        <c:v>0</c:v>
                      </c:pt>
                      <c:pt idx="9200">
                        <c:v>0</c:v>
                      </c:pt>
                      <c:pt idx="9201">
                        <c:v>0</c:v>
                      </c:pt>
                      <c:pt idx="9202">
                        <c:v>0</c:v>
                      </c:pt>
                      <c:pt idx="9203">
                        <c:v>0</c:v>
                      </c:pt>
                      <c:pt idx="9204">
                        <c:v>0</c:v>
                      </c:pt>
                      <c:pt idx="9205">
                        <c:v>0</c:v>
                      </c:pt>
                      <c:pt idx="9206">
                        <c:v>0</c:v>
                      </c:pt>
                      <c:pt idx="9207">
                        <c:v>0</c:v>
                      </c:pt>
                      <c:pt idx="9208">
                        <c:v>0</c:v>
                      </c:pt>
                      <c:pt idx="9209">
                        <c:v>0</c:v>
                      </c:pt>
                      <c:pt idx="9210">
                        <c:v>0</c:v>
                      </c:pt>
                      <c:pt idx="9211">
                        <c:v>0</c:v>
                      </c:pt>
                      <c:pt idx="9212">
                        <c:v>0</c:v>
                      </c:pt>
                      <c:pt idx="9213">
                        <c:v>0</c:v>
                      </c:pt>
                      <c:pt idx="9214">
                        <c:v>0</c:v>
                      </c:pt>
                      <c:pt idx="9215">
                        <c:v>0</c:v>
                      </c:pt>
                      <c:pt idx="9216">
                        <c:v>0</c:v>
                      </c:pt>
                      <c:pt idx="9217">
                        <c:v>0</c:v>
                      </c:pt>
                      <c:pt idx="9218">
                        <c:v>0</c:v>
                      </c:pt>
                      <c:pt idx="9219">
                        <c:v>0</c:v>
                      </c:pt>
                      <c:pt idx="9220">
                        <c:v>0</c:v>
                      </c:pt>
                      <c:pt idx="9221">
                        <c:v>0</c:v>
                      </c:pt>
                      <c:pt idx="9222">
                        <c:v>0</c:v>
                      </c:pt>
                      <c:pt idx="9223">
                        <c:v>0</c:v>
                      </c:pt>
                      <c:pt idx="9224">
                        <c:v>0</c:v>
                      </c:pt>
                      <c:pt idx="9225">
                        <c:v>0</c:v>
                      </c:pt>
                      <c:pt idx="9226">
                        <c:v>0</c:v>
                      </c:pt>
                      <c:pt idx="9227">
                        <c:v>0</c:v>
                      </c:pt>
                      <c:pt idx="9228">
                        <c:v>0</c:v>
                      </c:pt>
                      <c:pt idx="9229">
                        <c:v>0</c:v>
                      </c:pt>
                      <c:pt idx="9230">
                        <c:v>0</c:v>
                      </c:pt>
                      <c:pt idx="9231">
                        <c:v>0</c:v>
                      </c:pt>
                      <c:pt idx="9232">
                        <c:v>0</c:v>
                      </c:pt>
                      <c:pt idx="9233">
                        <c:v>0</c:v>
                      </c:pt>
                      <c:pt idx="9234">
                        <c:v>0</c:v>
                      </c:pt>
                      <c:pt idx="9235">
                        <c:v>0</c:v>
                      </c:pt>
                      <c:pt idx="9236">
                        <c:v>0</c:v>
                      </c:pt>
                      <c:pt idx="9237">
                        <c:v>0</c:v>
                      </c:pt>
                      <c:pt idx="9238">
                        <c:v>0</c:v>
                      </c:pt>
                      <c:pt idx="9239">
                        <c:v>0</c:v>
                      </c:pt>
                      <c:pt idx="9240">
                        <c:v>0</c:v>
                      </c:pt>
                      <c:pt idx="9241">
                        <c:v>0</c:v>
                      </c:pt>
                      <c:pt idx="9242">
                        <c:v>0</c:v>
                      </c:pt>
                      <c:pt idx="9243">
                        <c:v>0</c:v>
                      </c:pt>
                      <c:pt idx="9244">
                        <c:v>0</c:v>
                      </c:pt>
                      <c:pt idx="9245">
                        <c:v>0</c:v>
                      </c:pt>
                      <c:pt idx="9246">
                        <c:v>0</c:v>
                      </c:pt>
                      <c:pt idx="9247">
                        <c:v>0</c:v>
                      </c:pt>
                      <c:pt idx="9248">
                        <c:v>0</c:v>
                      </c:pt>
                      <c:pt idx="9249">
                        <c:v>0</c:v>
                      </c:pt>
                      <c:pt idx="9250">
                        <c:v>0</c:v>
                      </c:pt>
                      <c:pt idx="9251">
                        <c:v>0</c:v>
                      </c:pt>
                      <c:pt idx="9252">
                        <c:v>0</c:v>
                      </c:pt>
                      <c:pt idx="9253">
                        <c:v>0</c:v>
                      </c:pt>
                      <c:pt idx="9254">
                        <c:v>0</c:v>
                      </c:pt>
                      <c:pt idx="9255">
                        <c:v>0</c:v>
                      </c:pt>
                      <c:pt idx="9256">
                        <c:v>0</c:v>
                      </c:pt>
                      <c:pt idx="9257">
                        <c:v>0</c:v>
                      </c:pt>
                      <c:pt idx="9258">
                        <c:v>0</c:v>
                      </c:pt>
                      <c:pt idx="9259">
                        <c:v>0</c:v>
                      </c:pt>
                      <c:pt idx="9260">
                        <c:v>0</c:v>
                      </c:pt>
                      <c:pt idx="9261">
                        <c:v>0</c:v>
                      </c:pt>
                      <c:pt idx="9262">
                        <c:v>0</c:v>
                      </c:pt>
                      <c:pt idx="9263">
                        <c:v>0</c:v>
                      </c:pt>
                      <c:pt idx="9264">
                        <c:v>0</c:v>
                      </c:pt>
                      <c:pt idx="9265">
                        <c:v>0</c:v>
                      </c:pt>
                      <c:pt idx="9266">
                        <c:v>0</c:v>
                      </c:pt>
                      <c:pt idx="9267">
                        <c:v>0</c:v>
                      </c:pt>
                      <c:pt idx="9268">
                        <c:v>0</c:v>
                      </c:pt>
                      <c:pt idx="9269">
                        <c:v>0</c:v>
                      </c:pt>
                      <c:pt idx="9270">
                        <c:v>0</c:v>
                      </c:pt>
                      <c:pt idx="9271">
                        <c:v>0</c:v>
                      </c:pt>
                      <c:pt idx="9272">
                        <c:v>0</c:v>
                      </c:pt>
                      <c:pt idx="9273">
                        <c:v>0</c:v>
                      </c:pt>
                      <c:pt idx="9274">
                        <c:v>0</c:v>
                      </c:pt>
                      <c:pt idx="9275">
                        <c:v>0</c:v>
                      </c:pt>
                      <c:pt idx="9276">
                        <c:v>0</c:v>
                      </c:pt>
                      <c:pt idx="9277">
                        <c:v>0</c:v>
                      </c:pt>
                      <c:pt idx="9278">
                        <c:v>0</c:v>
                      </c:pt>
                      <c:pt idx="9279">
                        <c:v>0</c:v>
                      </c:pt>
                      <c:pt idx="9280">
                        <c:v>0</c:v>
                      </c:pt>
                      <c:pt idx="9281">
                        <c:v>0</c:v>
                      </c:pt>
                      <c:pt idx="9282">
                        <c:v>0</c:v>
                      </c:pt>
                      <c:pt idx="9283">
                        <c:v>0</c:v>
                      </c:pt>
                      <c:pt idx="9284">
                        <c:v>0</c:v>
                      </c:pt>
                      <c:pt idx="9285">
                        <c:v>0</c:v>
                      </c:pt>
                      <c:pt idx="9286">
                        <c:v>0</c:v>
                      </c:pt>
                      <c:pt idx="9287">
                        <c:v>0</c:v>
                      </c:pt>
                      <c:pt idx="9288">
                        <c:v>0</c:v>
                      </c:pt>
                      <c:pt idx="9289">
                        <c:v>0</c:v>
                      </c:pt>
                      <c:pt idx="9290">
                        <c:v>0</c:v>
                      </c:pt>
                      <c:pt idx="9291">
                        <c:v>0</c:v>
                      </c:pt>
                      <c:pt idx="9292">
                        <c:v>0</c:v>
                      </c:pt>
                      <c:pt idx="9293">
                        <c:v>0</c:v>
                      </c:pt>
                      <c:pt idx="9294">
                        <c:v>0</c:v>
                      </c:pt>
                      <c:pt idx="9295">
                        <c:v>0</c:v>
                      </c:pt>
                      <c:pt idx="9296">
                        <c:v>0</c:v>
                      </c:pt>
                      <c:pt idx="9297">
                        <c:v>0</c:v>
                      </c:pt>
                      <c:pt idx="9298">
                        <c:v>0</c:v>
                      </c:pt>
                      <c:pt idx="9299">
                        <c:v>0</c:v>
                      </c:pt>
                      <c:pt idx="9300">
                        <c:v>0</c:v>
                      </c:pt>
                      <c:pt idx="9301">
                        <c:v>0</c:v>
                      </c:pt>
                      <c:pt idx="9302">
                        <c:v>0</c:v>
                      </c:pt>
                      <c:pt idx="9303">
                        <c:v>0</c:v>
                      </c:pt>
                      <c:pt idx="9304">
                        <c:v>0</c:v>
                      </c:pt>
                      <c:pt idx="9305">
                        <c:v>0</c:v>
                      </c:pt>
                      <c:pt idx="9306">
                        <c:v>0</c:v>
                      </c:pt>
                      <c:pt idx="9307">
                        <c:v>0</c:v>
                      </c:pt>
                      <c:pt idx="9308">
                        <c:v>0</c:v>
                      </c:pt>
                      <c:pt idx="9309">
                        <c:v>0</c:v>
                      </c:pt>
                      <c:pt idx="9310">
                        <c:v>0</c:v>
                      </c:pt>
                      <c:pt idx="9311">
                        <c:v>0</c:v>
                      </c:pt>
                      <c:pt idx="9312">
                        <c:v>0</c:v>
                      </c:pt>
                      <c:pt idx="9313">
                        <c:v>0</c:v>
                      </c:pt>
                      <c:pt idx="9314">
                        <c:v>0</c:v>
                      </c:pt>
                      <c:pt idx="9315">
                        <c:v>0</c:v>
                      </c:pt>
                      <c:pt idx="9316">
                        <c:v>0</c:v>
                      </c:pt>
                      <c:pt idx="9317">
                        <c:v>0</c:v>
                      </c:pt>
                      <c:pt idx="9318">
                        <c:v>0</c:v>
                      </c:pt>
                      <c:pt idx="9319">
                        <c:v>0</c:v>
                      </c:pt>
                      <c:pt idx="9320">
                        <c:v>0</c:v>
                      </c:pt>
                      <c:pt idx="9321">
                        <c:v>0</c:v>
                      </c:pt>
                      <c:pt idx="9322">
                        <c:v>0</c:v>
                      </c:pt>
                      <c:pt idx="9323">
                        <c:v>0</c:v>
                      </c:pt>
                      <c:pt idx="9324">
                        <c:v>0</c:v>
                      </c:pt>
                      <c:pt idx="9325">
                        <c:v>0</c:v>
                      </c:pt>
                      <c:pt idx="9326">
                        <c:v>0</c:v>
                      </c:pt>
                      <c:pt idx="9327">
                        <c:v>0</c:v>
                      </c:pt>
                      <c:pt idx="9328">
                        <c:v>0</c:v>
                      </c:pt>
                      <c:pt idx="9329">
                        <c:v>0</c:v>
                      </c:pt>
                      <c:pt idx="9330">
                        <c:v>0</c:v>
                      </c:pt>
                      <c:pt idx="9331">
                        <c:v>0</c:v>
                      </c:pt>
                      <c:pt idx="9332">
                        <c:v>0</c:v>
                      </c:pt>
                      <c:pt idx="9333">
                        <c:v>0</c:v>
                      </c:pt>
                      <c:pt idx="9334">
                        <c:v>0</c:v>
                      </c:pt>
                      <c:pt idx="9335">
                        <c:v>0</c:v>
                      </c:pt>
                      <c:pt idx="9336">
                        <c:v>0</c:v>
                      </c:pt>
                      <c:pt idx="9337">
                        <c:v>0</c:v>
                      </c:pt>
                      <c:pt idx="9338">
                        <c:v>0</c:v>
                      </c:pt>
                      <c:pt idx="9339">
                        <c:v>0</c:v>
                      </c:pt>
                      <c:pt idx="9340">
                        <c:v>0</c:v>
                      </c:pt>
                      <c:pt idx="9341">
                        <c:v>0</c:v>
                      </c:pt>
                      <c:pt idx="9342">
                        <c:v>0</c:v>
                      </c:pt>
                      <c:pt idx="9343">
                        <c:v>0</c:v>
                      </c:pt>
                      <c:pt idx="9344">
                        <c:v>0</c:v>
                      </c:pt>
                      <c:pt idx="9345">
                        <c:v>0</c:v>
                      </c:pt>
                      <c:pt idx="9346">
                        <c:v>0</c:v>
                      </c:pt>
                      <c:pt idx="9347">
                        <c:v>0</c:v>
                      </c:pt>
                      <c:pt idx="9348">
                        <c:v>0</c:v>
                      </c:pt>
                      <c:pt idx="9349">
                        <c:v>0</c:v>
                      </c:pt>
                      <c:pt idx="9350">
                        <c:v>0</c:v>
                      </c:pt>
                      <c:pt idx="9351">
                        <c:v>0</c:v>
                      </c:pt>
                      <c:pt idx="9352">
                        <c:v>0</c:v>
                      </c:pt>
                      <c:pt idx="9353">
                        <c:v>0</c:v>
                      </c:pt>
                      <c:pt idx="9354">
                        <c:v>0</c:v>
                      </c:pt>
                      <c:pt idx="9355">
                        <c:v>0</c:v>
                      </c:pt>
                      <c:pt idx="9356">
                        <c:v>0</c:v>
                      </c:pt>
                      <c:pt idx="9357">
                        <c:v>0</c:v>
                      </c:pt>
                      <c:pt idx="9358">
                        <c:v>0</c:v>
                      </c:pt>
                      <c:pt idx="9359">
                        <c:v>0</c:v>
                      </c:pt>
                      <c:pt idx="9360">
                        <c:v>0</c:v>
                      </c:pt>
                      <c:pt idx="9361">
                        <c:v>0</c:v>
                      </c:pt>
                      <c:pt idx="9362">
                        <c:v>0</c:v>
                      </c:pt>
                      <c:pt idx="9363">
                        <c:v>0</c:v>
                      </c:pt>
                      <c:pt idx="9364">
                        <c:v>0</c:v>
                      </c:pt>
                      <c:pt idx="9365">
                        <c:v>0</c:v>
                      </c:pt>
                      <c:pt idx="9366">
                        <c:v>0</c:v>
                      </c:pt>
                      <c:pt idx="9367">
                        <c:v>0</c:v>
                      </c:pt>
                      <c:pt idx="9368">
                        <c:v>0</c:v>
                      </c:pt>
                      <c:pt idx="9369">
                        <c:v>0</c:v>
                      </c:pt>
                      <c:pt idx="9370">
                        <c:v>0</c:v>
                      </c:pt>
                      <c:pt idx="9371">
                        <c:v>0</c:v>
                      </c:pt>
                      <c:pt idx="9372">
                        <c:v>0</c:v>
                      </c:pt>
                      <c:pt idx="9373">
                        <c:v>0</c:v>
                      </c:pt>
                      <c:pt idx="9374">
                        <c:v>0</c:v>
                      </c:pt>
                      <c:pt idx="9375">
                        <c:v>0</c:v>
                      </c:pt>
                      <c:pt idx="9376">
                        <c:v>0</c:v>
                      </c:pt>
                      <c:pt idx="9377">
                        <c:v>0</c:v>
                      </c:pt>
                      <c:pt idx="9378">
                        <c:v>0</c:v>
                      </c:pt>
                      <c:pt idx="9379">
                        <c:v>0</c:v>
                      </c:pt>
                      <c:pt idx="9380">
                        <c:v>0</c:v>
                      </c:pt>
                      <c:pt idx="9381">
                        <c:v>0</c:v>
                      </c:pt>
                      <c:pt idx="9382">
                        <c:v>0</c:v>
                      </c:pt>
                      <c:pt idx="9383">
                        <c:v>0</c:v>
                      </c:pt>
                      <c:pt idx="9384">
                        <c:v>0</c:v>
                      </c:pt>
                      <c:pt idx="9385">
                        <c:v>0</c:v>
                      </c:pt>
                      <c:pt idx="9386">
                        <c:v>0</c:v>
                      </c:pt>
                      <c:pt idx="9387">
                        <c:v>0</c:v>
                      </c:pt>
                      <c:pt idx="9388">
                        <c:v>0</c:v>
                      </c:pt>
                      <c:pt idx="9389">
                        <c:v>0</c:v>
                      </c:pt>
                      <c:pt idx="9390">
                        <c:v>0</c:v>
                      </c:pt>
                      <c:pt idx="9391">
                        <c:v>0</c:v>
                      </c:pt>
                      <c:pt idx="9392">
                        <c:v>0</c:v>
                      </c:pt>
                      <c:pt idx="9393">
                        <c:v>0</c:v>
                      </c:pt>
                      <c:pt idx="9394">
                        <c:v>0</c:v>
                      </c:pt>
                      <c:pt idx="9395">
                        <c:v>0</c:v>
                      </c:pt>
                      <c:pt idx="9396">
                        <c:v>0</c:v>
                      </c:pt>
                      <c:pt idx="9397">
                        <c:v>0</c:v>
                      </c:pt>
                      <c:pt idx="9398">
                        <c:v>0</c:v>
                      </c:pt>
                      <c:pt idx="9399">
                        <c:v>0</c:v>
                      </c:pt>
                      <c:pt idx="9400">
                        <c:v>0</c:v>
                      </c:pt>
                      <c:pt idx="9401">
                        <c:v>0</c:v>
                      </c:pt>
                      <c:pt idx="9402">
                        <c:v>0</c:v>
                      </c:pt>
                      <c:pt idx="9403">
                        <c:v>0</c:v>
                      </c:pt>
                      <c:pt idx="9404">
                        <c:v>0</c:v>
                      </c:pt>
                      <c:pt idx="9405">
                        <c:v>0</c:v>
                      </c:pt>
                      <c:pt idx="9406">
                        <c:v>0</c:v>
                      </c:pt>
                      <c:pt idx="9407">
                        <c:v>0</c:v>
                      </c:pt>
                      <c:pt idx="9408">
                        <c:v>0</c:v>
                      </c:pt>
                      <c:pt idx="9409">
                        <c:v>0</c:v>
                      </c:pt>
                      <c:pt idx="9410">
                        <c:v>0</c:v>
                      </c:pt>
                      <c:pt idx="9411">
                        <c:v>0</c:v>
                      </c:pt>
                      <c:pt idx="9412">
                        <c:v>0</c:v>
                      </c:pt>
                      <c:pt idx="9413">
                        <c:v>0</c:v>
                      </c:pt>
                      <c:pt idx="9414">
                        <c:v>0</c:v>
                      </c:pt>
                      <c:pt idx="9415">
                        <c:v>0</c:v>
                      </c:pt>
                      <c:pt idx="9416">
                        <c:v>0</c:v>
                      </c:pt>
                      <c:pt idx="9417">
                        <c:v>0</c:v>
                      </c:pt>
                      <c:pt idx="9418">
                        <c:v>0</c:v>
                      </c:pt>
                      <c:pt idx="9419">
                        <c:v>0</c:v>
                      </c:pt>
                      <c:pt idx="9420">
                        <c:v>0</c:v>
                      </c:pt>
                      <c:pt idx="9421">
                        <c:v>0</c:v>
                      </c:pt>
                      <c:pt idx="9422">
                        <c:v>0</c:v>
                      </c:pt>
                      <c:pt idx="9423">
                        <c:v>0</c:v>
                      </c:pt>
                      <c:pt idx="9424">
                        <c:v>0</c:v>
                      </c:pt>
                      <c:pt idx="9425">
                        <c:v>0</c:v>
                      </c:pt>
                      <c:pt idx="9426">
                        <c:v>0</c:v>
                      </c:pt>
                      <c:pt idx="9427">
                        <c:v>0</c:v>
                      </c:pt>
                      <c:pt idx="9428">
                        <c:v>0</c:v>
                      </c:pt>
                      <c:pt idx="9429">
                        <c:v>0</c:v>
                      </c:pt>
                      <c:pt idx="9430">
                        <c:v>0</c:v>
                      </c:pt>
                      <c:pt idx="9431">
                        <c:v>0</c:v>
                      </c:pt>
                      <c:pt idx="9432">
                        <c:v>0</c:v>
                      </c:pt>
                      <c:pt idx="9433">
                        <c:v>0</c:v>
                      </c:pt>
                      <c:pt idx="9434">
                        <c:v>0</c:v>
                      </c:pt>
                      <c:pt idx="9435">
                        <c:v>0</c:v>
                      </c:pt>
                      <c:pt idx="9436">
                        <c:v>0</c:v>
                      </c:pt>
                      <c:pt idx="9437">
                        <c:v>0</c:v>
                      </c:pt>
                      <c:pt idx="9438">
                        <c:v>0</c:v>
                      </c:pt>
                      <c:pt idx="9439">
                        <c:v>0</c:v>
                      </c:pt>
                      <c:pt idx="9440">
                        <c:v>0</c:v>
                      </c:pt>
                      <c:pt idx="9441">
                        <c:v>0</c:v>
                      </c:pt>
                      <c:pt idx="9442">
                        <c:v>0</c:v>
                      </c:pt>
                      <c:pt idx="9443">
                        <c:v>0</c:v>
                      </c:pt>
                      <c:pt idx="9444">
                        <c:v>0</c:v>
                      </c:pt>
                      <c:pt idx="9445">
                        <c:v>0</c:v>
                      </c:pt>
                      <c:pt idx="9446">
                        <c:v>0</c:v>
                      </c:pt>
                      <c:pt idx="9447">
                        <c:v>0</c:v>
                      </c:pt>
                      <c:pt idx="9448">
                        <c:v>0</c:v>
                      </c:pt>
                      <c:pt idx="9449">
                        <c:v>0</c:v>
                      </c:pt>
                      <c:pt idx="9450">
                        <c:v>0</c:v>
                      </c:pt>
                      <c:pt idx="9451">
                        <c:v>0</c:v>
                      </c:pt>
                      <c:pt idx="9452">
                        <c:v>0</c:v>
                      </c:pt>
                      <c:pt idx="9453">
                        <c:v>0</c:v>
                      </c:pt>
                      <c:pt idx="9454">
                        <c:v>0</c:v>
                      </c:pt>
                      <c:pt idx="9455">
                        <c:v>0</c:v>
                      </c:pt>
                      <c:pt idx="9456">
                        <c:v>0</c:v>
                      </c:pt>
                      <c:pt idx="9457">
                        <c:v>0</c:v>
                      </c:pt>
                      <c:pt idx="9458">
                        <c:v>0</c:v>
                      </c:pt>
                      <c:pt idx="9459">
                        <c:v>0</c:v>
                      </c:pt>
                      <c:pt idx="9460">
                        <c:v>0</c:v>
                      </c:pt>
                      <c:pt idx="9461">
                        <c:v>0</c:v>
                      </c:pt>
                      <c:pt idx="9462">
                        <c:v>0</c:v>
                      </c:pt>
                      <c:pt idx="9463">
                        <c:v>0</c:v>
                      </c:pt>
                      <c:pt idx="9464">
                        <c:v>0</c:v>
                      </c:pt>
                      <c:pt idx="9465">
                        <c:v>0</c:v>
                      </c:pt>
                      <c:pt idx="9466">
                        <c:v>0</c:v>
                      </c:pt>
                      <c:pt idx="9467">
                        <c:v>0</c:v>
                      </c:pt>
                      <c:pt idx="9468">
                        <c:v>0</c:v>
                      </c:pt>
                      <c:pt idx="9469">
                        <c:v>0</c:v>
                      </c:pt>
                      <c:pt idx="9470">
                        <c:v>0</c:v>
                      </c:pt>
                      <c:pt idx="9471">
                        <c:v>0</c:v>
                      </c:pt>
                      <c:pt idx="9472">
                        <c:v>0</c:v>
                      </c:pt>
                      <c:pt idx="9473">
                        <c:v>0</c:v>
                      </c:pt>
                      <c:pt idx="9474">
                        <c:v>0</c:v>
                      </c:pt>
                      <c:pt idx="9475">
                        <c:v>0</c:v>
                      </c:pt>
                      <c:pt idx="9476">
                        <c:v>0</c:v>
                      </c:pt>
                      <c:pt idx="9477">
                        <c:v>0</c:v>
                      </c:pt>
                      <c:pt idx="9478">
                        <c:v>0</c:v>
                      </c:pt>
                      <c:pt idx="9479">
                        <c:v>0</c:v>
                      </c:pt>
                      <c:pt idx="9480">
                        <c:v>0</c:v>
                      </c:pt>
                      <c:pt idx="9481">
                        <c:v>0</c:v>
                      </c:pt>
                      <c:pt idx="9482">
                        <c:v>0</c:v>
                      </c:pt>
                      <c:pt idx="9483">
                        <c:v>0</c:v>
                      </c:pt>
                      <c:pt idx="9484">
                        <c:v>0</c:v>
                      </c:pt>
                      <c:pt idx="9485">
                        <c:v>0</c:v>
                      </c:pt>
                      <c:pt idx="9486">
                        <c:v>0</c:v>
                      </c:pt>
                      <c:pt idx="9487">
                        <c:v>0</c:v>
                      </c:pt>
                      <c:pt idx="9488">
                        <c:v>0</c:v>
                      </c:pt>
                      <c:pt idx="9489">
                        <c:v>0</c:v>
                      </c:pt>
                      <c:pt idx="9490">
                        <c:v>0</c:v>
                      </c:pt>
                      <c:pt idx="9491">
                        <c:v>0</c:v>
                      </c:pt>
                      <c:pt idx="9492">
                        <c:v>0</c:v>
                      </c:pt>
                      <c:pt idx="9493">
                        <c:v>0</c:v>
                      </c:pt>
                      <c:pt idx="9494">
                        <c:v>0</c:v>
                      </c:pt>
                      <c:pt idx="9495">
                        <c:v>0</c:v>
                      </c:pt>
                      <c:pt idx="9496">
                        <c:v>0</c:v>
                      </c:pt>
                      <c:pt idx="9497">
                        <c:v>0</c:v>
                      </c:pt>
                      <c:pt idx="9498">
                        <c:v>0</c:v>
                      </c:pt>
                      <c:pt idx="9499">
                        <c:v>0</c:v>
                      </c:pt>
                      <c:pt idx="9500">
                        <c:v>0</c:v>
                      </c:pt>
                      <c:pt idx="9501">
                        <c:v>0</c:v>
                      </c:pt>
                      <c:pt idx="9502">
                        <c:v>0</c:v>
                      </c:pt>
                      <c:pt idx="9503">
                        <c:v>0</c:v>
                      </c:pt>
                      <c:pt idx="9504">
                        <c:v>0</c:v>
                      </c:pt>
                      <c:pt idx="9505">
                        <c:v>0</c:v>
                      </c:pt>
                      <c:pt idx="9506">
                        <c:v>0</c:v>
                      </c:pt>
                      <c:pt idx="9507">
                        <c:v>0</c:v>
                      </c:pt>
                      <c:pt idx="9508">
                        <c:v>0</c:v>
                      </c:pt>
                      <c:pt idx="9509">
                        <c:v>0</c:v>
                      </c:pt>
                      <c:pt idx="9510">
                        <c:v>0</c:v>
                      </c:pt>
                      <c:pt idx="9511">
                        <c:v>0</c:v>
                      </c:pt>
                      <c:pt idx="9512">
                        <c:v>0</c:v>
                      </c:pt>
                      <c:pt idx="9513">
                        <c:v>0</c:v>
                      </c:pt>
                      <c:pt idx="9514">
                        <c:v>0</c:v>
                      </c:pt>
                      <c:pt idx="9515">
                        <c:v>0</c:v>
                      </c:pt>
                      <c:pt idx="9516">
                        <c:v>0</c:v>
                      </c:pt>
                      <c:pt idx="9517">
                        <c:v>0</c:v>
                      </c:pt>
                      <c:pt idx="9518">
                        <c:v>0</c:v>
                      </c:pt>
                      <c:pt idx="9519">
                        <c:v>0</c:v>
                      </c:pt>
                      <c:pt idx="9520">
                        <c:v>0</c:v>
                      </c:pt>
                      <c:pt idx="9521">
                        <c:v>0</c:v>
                      </c:pt>
                      <c:pt idx="9522">
                        <c:v>0</c:v>
                      </c:pt>
                      <c:pt idx="9523">
                        <c:v>0</c:v>
                      </c:pt>
                      <c:pt idx="9524">
                        <c:v>0</c:v>
                      </c:pt>
                      <c:pt idx="9525">
                        <c:v>0</c:v>
                      </c:pt>
                      <c:pt idx="9526">
                        <c:v>0</c:v>
                      </c:pt>
                      <c:pt idx="9527">
                        <c:v>0</c:v>
                      </c:pt>
                      <c:pt idx="9528">
                        <c:v>0</c:v>
                      </c:pt>
                      <c:pt idx="9529">
                        <c:v>0</c:v>
                      </c:pt>
                      <c:pt idx="9530">
                        <c:v>0</c:v>
                      </c:pt>
                      <c:pt idx="9531">
                        <c:v>0</c:v>
                      </c:pt>
                      <c:pt idx="9532">
                        <c:v>0</c:v>
                      </c:pt>
                      <c:pt idx="9533">
                        <c:v>0</c:v>
                      </c:pt>
                      <c:pt idx="9534">
                        <c:v>0</c:v>
                      </c:pt>
                      <c:pt idx="9535">
                        <c:v>0</c:v>
                      </c:pt>
                      <c:pt idx="9536">
                        <c:v>0</c:v>
                      </c:pt>
                      <c:pt idx="9537">
                        <c:v>0</c:v>
                      </c:pt>
                      <c:pt idx="9538">
                        <c:v>0</c:v>
                      </c:pt>
                      <c:pt idx="9539">
                        <c:v>0</c:v>
                      </c:pt>
                      <c:pt idx="9540">
                        <c:v>0</c:v>
                      </c:pt>
                      <c:pt idx="9541">
                        <c:v>0</c:v>
                      </c:pt>
                      <c:pt idx="9542">
                        <c:v>0</c:v>
                      </c:pt>
                      <c:pt idx="9543">
                        <c:v>0</c:v>
                      </c:pt>
                      <c:pt idx="9544">
                        <c:v>0</c:v>
                      </c:pt>
                      <c:pt idx="9545">
                        <c:v>0</c:v>
                      </c:pt>
                      <c:pt idx="9546">
                        <c:v>0</c:v>
                      </c:pt>
                      <c:pt idx="9547">
                        <c:v>0</c:v>
                      </c:pt>
                      <c:pt idx="9548">
                        <c:v>0</c:v>
                      </c:pt>
                      <c:pt idx="9549">
                        <c:v>0</c:v>
                      </c:pt>
                      <c:pt idx="9550">
                        <c:v>0</c:v>
                      </c:pt>
                      <c:pt idx="9551">
                        <c:v>0</c:v>
                      </c:pt>
                      <c:pt idx="9552">
                        <c:v>0</c:v>
                      </c:pt>
                      <c:pt idx="9553">
                        <c:v>0</c:v>
                      </c:pt>
                      <c:pt idx="9554">
                        <c:v>0</c:v>
                      </c:pt>
                      <c:pt idx="9555">
                        <c:v>0</c:v>
                      </c:pt>
                      <c:pt idx="9556">
                        <c:v>0</c:v>
                      </c:pt>
                      <c:pt idx="9557">
                        <c:v>0</c:v>
                      </c:pt>
                      <c:pt idx="9558">
                        <c:v>0</c:v>
                      </c:pt>
                      <c:pt idx="9559">
                        <c:v>0</c:v>
                      </c:pt>
                      <c:pt idx="9560">
                        <c:v>0</c:v>
                      </c:pt>
                      <c:pt idx="9561">
                        <c:v>0</c:v>
                      </c:pt>
                      <c:pt idx="9562">
                        <c:v>0</c:v>
                      </c:pt>
                      <c:pt idx="9563">
                        <c:v>0</c:v>
                      </c:pt>
                      <c:pt idx="9564">
                        <c:v>0</c:v>
                      </c:pt>
                      <c:pt idx="9565">
                        <c:v>0</c:v>
                      </c:pt>
                      <c:pt idx="9566">
                        <c:v>0</c:v>
                      </c:pt>
                      <c:pt idx="9567">
                        <c:v>0</c:v>
                      </c:pt>
                      <c:pt idx="9568">
                        <c:v>0</c:v>
                      </c:pt>
                      <c:pt idx="9569">
                        <c:v>0</c:v>
                      </c:pt>
                      <c:pt idx="9570">
                        <c:v>0</c:v>
                      </c:pt>
                      <c:pt idx="9571">
                        <c:v>0</c:v>
                      </c:pt>
                      <c:pt idx="9572">
                        <c:v>0</c:v>
                      </c:pt>
                      <c:pt idx="9573">
                        <c:v>0</c:v>
                      </c:pt>
                      <c:pt idx="9574">
                        <c:v>0</c:v>
                      </c:pt>
                      <c:pt idx="9575">
                        <c:v>0</c:v>
                      </c:pt>
                      <c:pt idx="9576">
                        <c:v>0</c:v>
                      </c:pt>
                      <c:pt idx="9577">
                        <c:v>0</c:v>
                      </c:pt>
                      <c:pt idx="9578">
                        <c:v>0</c:v>
                      </c:pt>
                      <c:pt idx="9579">
                        <c:v>0</c:v>
                      </c:pt>
                      <c:pt idx="9580">
                        <c:v>0</c:v>
                      </c:pt>
                      <c:pt idx="9581">
                        <c:v>0</c:v>
                      </c:pt>
                      <c:pt idx="9582">
                        <c:v>0</c:v>
                      </c:pt>
                      <c:pt idx="9583">
                        <c:v>0</c:v>
                      </c:pt>
                      <c:pt idx="9584">
                        <c:v>0</c:v>
                      </c:pt>
                      <c:pt idx="9585">
                        <c:v>0</c:v>
                      </c:pt>
                      <c:pt idx="9586">
                        <c:v>0</c:v>
                      </c:pt>
                      <c:pt idx="9587">
                        <c:v>0</c:v>
                      </c:pt>
                      <c:pt idx="9588">
                        <c:v>0</c:v>
                      </c:pt>
                      <c:pt idx="9589">
                        <c:v>0</c:v>
                      </c:pt>
                      <c:pt idx="9590">
                        <c:v>0</c:v>
                      </c:pt>
                      <c:pt idx="9591">
                        <c:v>0</c:v>
                      </c:pt>
                      <c:pt idx="9592">
                        <c:v>0</c:v>
                      </c:pt>
                      <c:pt idx="9593">
                        <c:v>0</c:v>
                      </c:pt>
                      <c:pt idx="9594">
                        <c:v>0</c:v>
                      </c:pt>
                      <c:pt idx="9595">
                        <c:v>0</c:v>
                      </c:pt>
                      <c:pt idx="9596">
                        <c:v>0</c:v>
                      </c:pt>
                      <c:pt idx="9597">
                        <c:v>0</c:v>
                      </c:pt>
                      <c:pt idx="9598">
                        <c:v>0</c:v>
                      </c:pt>
                      <c:pt idx="9599">
                        <c:v>0</c:v>
                      </c:pt>
                      <c:pt idx="9600">
                        <c:v>0</c:v>
                      </c:pt>
                      <c:pt idx="9601">
                        <c:v>0</c:v>
                      </c:pt>
                      <c:pt idx="9602">
                        <c:v>0</c:v>
                      </c:pt>
                      <c:pt idx="9603">
                        <c:v>0</c:v>
                      </c:pt>
                      <c:pt idx="9604">
                        <c:v>0</c:v>
                      </c:pt>
                      <c:pt idx="9605">
                        <c:v>0</c:v>
                      </c:pt>
                      <c:pt idx="9606">
                        <c:v>0</c:v>
                      </c:pt>
                      <c:pt idx="9607">
                        <c:v>0</c:v>
                      </c:pt>
                      <c:pt idx="9608">
                        <c:v>0</c:v>
                      </c:pt>
                      <c:pt idx="9609">
                        <c:v>0</c:v>
                      </c:pt>
                      <c:pt idx="9610">
                        <c:v>0</c:v>
                      </c:pt>
                      <c:pt idx="9611">
                        <c:v>0</c:v>
                      </c:pt>
                      <c:pt idx="9612">
                        <c:v>0</c:v>
                      </c:pt>
                      <c:pt idx="9613">
                        <c:v>0</c:v>
                      </c:pt>
                      <c:pt idx="9614">
                        <c:v>0</c:v>
                      </c:pt>
                      <c:pt idx="9615">
                        <c:v>0</c:v>
                      </c:pt>
                      <c:pt idx="9616">
                        <c:v>0</c:v>
                      </c:pt>
                      <c:pt idx="9617">
                        <c:v>0</c:v>
                      </c:pt>
                      <c:pt idx="9618">
                        <c:v>0</c:v>
                      </c:pt>
                      <c:pt idx="9619">
                        <c:v>0</c:v>
                      </c:pt>
                      <c:pt idx="9620">
                        <c:v>0</c:v>
                      </c:pt>
                      <c:pt idx="9621">
                        <c:v>0</c:v>
                      </c:pt>
                      <c:pt idx="9622">
                        <c:v>0</c:v>
                      </c:pt>
                      <c:pt idx="9623">
                        <c:v>0</c:v>
                      </c:pt>
                      <c:pt idx="9624">
                        <c:v>0</c:v>
                      </c:pt>
                      <c:pt idx="9625">
                        <c:v>0</c:v>
                      </c:pt>
                      <c:pt idx="9626">
                        <c:v>0</c:v>
                      </c:pt>
                      <c:pt idx="9627">
                        <c:v>0</c:v>
                      </c:pt>
                      <c:pt idx="9628">
                        <c:v>0</c:v>
                      </c:pt>
                      <c:pt idx="9629">
                        <c:v>0</c:v>
                      </c:pt>
                      <c:pt idx="9630">
                        <c:v>0</c:v>
                      </c:pt>
                      <c:pt idx="9631">
                        <c:v>0</c:v>
                      </c:pt>
                      <c:pt idx="9632">
                        <c:v>0</c:v>
                      </c:pt>
                      <c:pt idx="9633">
                        <c:v>0</c:v>
                      </c:pt>
                      <c:pt idx="9634">
                        <c:v>0</c:v>
                      </c:pt>
                      <c:pt idx="9635">
                        <c:v>0</c:v>
                      </c:pt>
                      <c:pt idx="9636">
                        <c:v>0</c:v>
                      </c:pt>
                      <c:pt idx="9637">
                        <c:v>0</c:v>
                      </c:pt>
                      <c:pt idx="9638">
                        <c:v>0</c:v>
                      </c:pt>
                      <c:pt idx="9639">
                        <c:v>0</c:v>
                      </c:pt>
                      <c:pt idx="9640">
                        <c:v>0</c:v>
                      </c:pt>
                      <c:pt idx="9641">
                        <c:v>0</c:v>
                      </c:pt>
                      <c:pt idx="9642">
                        <c:v>0</c:v>
                      </c:pt>
                      <c:pt idx="9643">
                        <c:v>0</c:v>
                      </c:pt>
                      <c:pt idx="9644">
                        <c:v>0</c:v>
                      </c:pt>
                      <c:pt idx="9645">
                        <c:v>0</c:v>
                      </c:pt>
                      <c:pt idx="9646">
                        <c:v>0</c:v>
                      </c:pt>
                      <c:pt idx="9647">
                        <c:v>0</c:v>
                      </c:pt>
                      <c:pt idx="9648">
                        <c:v>0</c:v>
                      </c:pt>
                      <c:pt idx="9649">
                        <c:v>0</c:v>
                      </c:pt>
                      <c:pt idx="9650">
                        <c:v>0</c:v>
                      </c:pt>
                      <c:pt idx="9651">
                        <c:v>0</c:v>
                      </c:pt>
                      <c:pt idx="9652">
                        <c:v>0</c:v>
                      </c:pt>
                      <c:pt idx="9653">
                        <c:v>0</c:v>
                      </c:pt>
                      <c:pt idx="9654">
                        <c:v>0</c:v>
                      </c:pt>
                      <c:pt idx="9655">
                        <c:v>0</c:v>
                      </c:pt>
                      <c:pt idx="9656">
                        <c:v>0</c:v>
                      </c:pt>
                      <c:pt idx="9657">
                        <c:v>0</c:v>
                      </c:pt>
                      <c:pt idx="9658">
                        <c:v>0</c:v>
                      </c:pt>
                      <c:pt idx="9659">
                        <c:v>0</c:v>
                      </c:pt>
                      <c:pt idx="9660">
                        <c:v>0</c:v>
                      </c:pt>
                      <c:pt idx="9661">
                        <c:v>0</c:v>
                      </c:pt>
                      <c:pt idx="9662">
                        <c:v>0</c:v>
                      </c:pt>
                      <c:pt idx="9663">
                        <c:v>0</c:v>
                      </c:pt>
                      <c:pt idx="9664">
                        <c:v>0</c:v>
                      </c:pt>
                      <c:pt idx="9665">
                        <c:v>0</c:v>
                      </c:pt>
                      <c:pt idx="9666">
                        <c:v>0</c:v>
                      </c:pt>
                      <c:pt idx="9667">
                        <c:v>0</c:v>
                      </c:pt>
                      <c:pt idx="9668">
                        <c:v>0</c:v>
                      </c:pt>
                      <c:pt idx="9669">
                        <c:v>0</c:v>
                      </c:pt>
                      <c:pt idx="9670">
                        <c:v>0</c:v>
                      </c:pt>
                      <c:pt idx="9671">
                        <c:v>0</c:v>
                      </c:pt>
                      <c:pt idx="9672">
                        <c:v>0</c:v>
                      </c:pt>
                      <c:pt idx="9673">
                        <c:v>0</c:v>
                      </c:pt>
                      <c:pt idx="9674">
                        <c:v>0</c:v>
                      </c:pt>
                      <c:pt idx="9675">
                        <c:v>0</c:v>
                      </c:pt>
                      <c:pt idx="9676">
                        <c:v>0</c:v>
                      </c:pt>
                      <c:pt idx="9677">
                        <c:v>0</c:v>
                      </c:pt>
                      <c:pt idx="9678">
                        <c:v>0</c:v>
                      </c:pt>
                      <c:pt idx="9679">
                        <c:v>0</c:v>
                      </c:pt>
                      <c:pt idx="9680">
                        <c:v>0</c:v>
                      </c:pt>
                      <c:pt idx="9681">
                        <c:v>0</c:v>
                      </c:pt>
                      <c:pt idx="9682">
                        <c:v>0</c:v>
                      </c:pt>
                      <c:pt idx="9683">
                        <c:v>0</c:v>
                      </c:pt>
                      <c:pt idx="9684">
                        <c:v>0</c:v>
                      </c:pt>
                      <c:pt idx="9685">
                        <c:v>0</c:v>
                      </c:pt>
                      <c:pt idx="9686">
                        <c:v>0</c:v>
                      </c:pt>
                      <c:pt idx="9687">
                        <c:v>0</c:v>
                      </c:pt>
                      <c:pt idx="9688">
                        <c:v>0</c:v>
                      </c:pt>
                      <c:pt idx="9689">
                        <c:v>0</c:v>
                      </c:pt>
                      <c:pt idx="9690">
                        <c:v>0</c:v>
                      </c:pt>
                      <c:pt idx="9691">
                        <c:v>0</c:v>
                      </c:pt>
                      <c:pt idx="9692">
                        <c:v>0</c:v>
                      </c:pt>
                      <c:pt idx="9693">
                        <c:v>0</c:v>
                      </c:pt>
                      <c:pt idx="9694">
                        <c:v>0</c:v>
                      </c:pt>
                      <c:pt idx="9695">
                        <c:v>0</c:v>
                      </c:pt>
                      <c:pt idx="9696">
                        <c:v>0</c:v>
                      </c:pt>
                      <c:pt idx="9697">
                        <c:v>0</c:v>
                      </c:pt>
                      <c:pt idx="9698">
                        <c:v>0</c:v>
                      </c:pt>
                      <c:pt idx="9699">
                        <c:v>0</c:v>
                      </c:pt>
                      <c:pt idx="9700">
                        <c:v>0</c:v>
                      </c:pt>
                      <c:pt idx="9701">
                        <c:v>0</c:v>
                      </c:pt>
                      <c:pt idx="9702">
                        <c:v>0</c:v>
                      </c:pt>
                      <c:pt idx="9703">
                        <c:v>0</c:v>
                      </c:pt>
                      <c:pt idx="9704">
                        <c:v>0</c:v>
                      </c:pt>
                      <c:pt idx="9705">
                        <c:v>0</c:v>
                      </c:pt>
                      <c:pt idx="9706">
                        <c:v>0</c:v>
                      </c:pt>
                      <c:pt idx="9707">
                        <c:v>0</c:v>
                      </c:pt>
                      <c:pt idx="9708">
                        <c:v>0</c:v>
                      </c:pt>
                      <c:pt idx="9709">
                        <c:v>0</c:v>
                      </c:pt>
                      <c:pt idx="9710">
                        <c:v>0</c:v>
                      </c:pt>
                      <c:pt idx="9711">
                        <c:v>0</c:v>
                      </c:pt>
                      <c:pt idx="9712">
                        <c:v>0</c:v>
                      </c:pt>
                      <c:pt idx="9713">
                        <c:v>0</c:v>
                      </c:pt>
                      <c:pt idx="9714">
                        <c:v>0</c:v>
                      </c:pt>
                      <c:pt idx="9715">
                        <c:v>0</c:v>
                      </c:pt>
                      <c:pt idx="9716">
                        <c:v>0</c:v>
                      </c:pt>
                      <c:pt idx="9717">
                        <c:v>0</c:v>
                      </c:pt>
                      <c:pt idx="9718">
                        <c:v>0</c:v>
                      </c:pt>
                      <c:pt idx="9719">
                        <c:v>0</c:v>
                      </c:pt>
                      <c:pt idx="9720">
                        <c:v>0</c:v>
                      </c:pt>
                      <c:pt idx="9721">
                        <c:v>0</c:v>
                      </c:pt>
                      <c:pt idx="9722">
                        <c:v>0</c:v>
                      </c:pt>
                      <c:pt idx="9723">
                        <c:v>0</c:v>
                      </c:pt>
                      <c:pt idx="9724">
                        <c:v>0</c:v>
                      </c:pt>
                      <c:pt idx="9725">
                        <c:v>0</c:v>
                      </c:pt>
                      <c:pt idx="9726">
                        <c:v>0</c:v>
                      </c:pt>
                      <c:pt idx="9727">
                        <c:v>0</c:v>
                      </c:pt>
                      <c:pt idx="9728">
                        <c:v>0</c:v>
                      </c:pt>
                      <c:pt idx="9729">
                        <c:v>0</c:v>
                      </c:pt>
                      <c:pt idx="9730">
                        <c:v>0</c:v>
                      </c:pt>
                      <c:pt idx="9731">
                        <c:v>0</c:v>
                      </c:pt>
                      <c:pt idx="9732">
                        <c:v>0</c:v>
                      </c:pt>
                      <c:pt idx="9733">
                        <c:v>0</c:v>
                      </c:pt>
                      <c:pt idx="9734">
                        <c:v>0</c:v>
                      </c:pt>
                      <c:pt idx="9735">
                        <c:v>0</c:v>
                      </c:pt>
                      <c:pt idx="9736">
                        <c:v>0</c:v>
                      </c:pt>
                      <c:pt idx="9737">
                        <c:v>0</c:v>
                      </c:pt>
                      <c:pt idx="9738">
                        <c:v>0</c:v>
                      </c:pt>
                      <c:pt idx="9739">
                        <c:v>0</c:v>
                      </c:pt>
                      <c:pt idx="9740">
                        <c:v>0</c:v>
                      </c:pt>
                      <c:pt idx="9741">
                        <c:v>0</c:v>
                      </c:pt>
                      <c:pt idx="9742">
                        <c:v>0</c:v>
                      </c:pt>
                      <c:pt idx="9743">
                        <c:v>0</c:v>
                      </c:pt>
                      <c:pt idx="9744">
                        <c:v>0</c:v>
                      </c:pt>
                      <c:pt idx="9745">
                        <c:v>0</c:v>
                      </c:pt>
                      <c:pt idx="9746">
                        <c:v>0</c:v>
                      </c:pt>
                      <c:pt idx="9747">
                        <c:v>0</c:v>
                      </c:pt>
                      <c:pt idx="9748">
                        <c:v>0</c:v>
                      </c:pt>
                      <c:pt idx="9749">
                        <c:v>0</c:v>
                      </c:pt>
                      <c:pt idx="9750">
                        <c:v>0</c:v>
                      </c:pt>
                      <c:pt idx="9751">
                        <c:v>0</c:v>
                      </c:pt>
                      <c:pt idx="9752">
                        <c:v>0</c:v>
                      </c:pt>
                      <c:pt idx="9753">
                        <c:v>0</c:v>
                      </c:pt>
                      <c:pt idx="9754">
                        <c:v>0</c:v>
                      </c:pt>
                      <c:pt idx="9755">
                        <c:v>0</c:v>
                      </c:pt>
                      <c:pt idx="9756">
                        <c:v>0</c:v>
                      </c:pt>
                      <c:pt idx="9757">
                        <c:v>0</c:v>
                      </c:pt>
                      <c:pt idx="9758">
                        <c:v>0</c:v>
                      </c:pt>
                      <c:pt idx="9759">
                        <c:v>0</c:v>
                      </c:pt>
                      <c:pt idx="9760">
                        <c:v>0</c:v>
                      </c:pt>
                      <c:pt idx="9761">
                        <c:v>0</c:v>
                      </c:pt>
                      <c:pt idx="9762">
                        <c:v>0</c:v>
                      </c:pt>
                      <c:pt idx="9763">
                        <c:v>0</c:v>
                      </c:pt>
                      <c:pt idx="9764">
                        <c:v>0</c:v>
                      </c:pt>
                      <c:pt idx="9765">
                        <c:v>0</c:v>
                      </c:pt>
                      <c:pt idx="9766">
                        <c:v>0</c:v>
                      </c:pt>
                      <c:pt idx="9767">
                        <c:v>0</c:v>
                      </c:pt>
                      <c:pt idx="9768">
                        <c:v>0</c:v>
                      </c:pt>
                      <c:pt idx="9769">
                        <c:v>0</c:v>
                      </c:pt>
                      <c:pt idx="9770">
                        <c:v>0</c:v>
                      </c:pt>
                      <c:pt idx="9771">
                        <c:v>0</c:v>
                      </c:pt>
                      <c:pt idx="9772">
                        <c:v>0</c:v>
                      </c:pt>
                      <c:pt idx="9773">
                        <c:v>0</c:v>
                      </c:pt>
                      <c:pt idx="9774">
                        <c:v>0</c:v>
                      </c:pt>
                      <c:pt idx="9775">
                        <c:v>0</c:v>
                      </c:pt>
                      <c:pt idx="9776">
                        <c:v>0</c:v>
                      </c:pt>
                      <c:pt idx="9777">
                        <c:v>0</c:v>
                      </c:pt>
                      <c:pt idx="9778">
                        <c:v>0</c:v>
                      </c:pt>
                      <c:pt idx="9779">
                        <c:v>0</c:v>
                      </c:pt>
                      <c:pt idx="9780">
                        <c:v>0</c:v>
                      </c:pt>
                      <c:pt idx="9781">
                        <c:v>0</c:v>
                      </c:pt>
                      <c:pt idx="9782">
                        <c:v>0</c:v>
                      </c:pt>
                      <c:pt idx="9783">
                        <c:v>0</c:v>
                      </c:pt>
                      <c:pt idx="9784">
                        <c:v>0</c:v>
                      </c:pt>
                      <c:pt idx="9785">
                        <c:v>0</c:v>
                      </c:pt>
                      <c:pt idx="9786">
                        <c:v>0</c:v>
                      </c:pt>
                      <c:pt idx="9787">
                        <c:v>0</c:v>
                      </c:pt>
                      <c:pt idx="9788">
                        <c:v>0</c:v>
                      </c:pt>
                      <c:pt idx="9789">
                        <c:v>0</c:v>
                      </c:pt>
                      <c:pt idx="9790">
                        <c:v>0</c:v>
                      </c:pt>
                      <c:pt idx="9791">
                        <c:v>0</c:v>
                      </c:pt>
                      <c:pt idx="9792">
                        <c:v>0</c:v>
                      </c:pt>
                      <c:pt idx="9793">
                        <c:v>0</c:v>
                      </c:pt>
                      <c:pt idx="9794">
                        <c:v>0</c:v>
                      </c:pt>
                      <c:pt idx="9795">
                        <c:v>0</c:v>
                      </c:pt>
                      <c:pt idx="9796">
                        <c:v>0</c:v>
                      </c:pt>
                      <c:pt idx="9797">
                        <c:v>0</c:v>
                      </c:pt>
                      <c:pt idx="9798">
                        <c:v>0</c:v>
                      </c:pt>
                      <c:pt idx="9799">
                        <c:v>0</c:v>
                      </c:pt>
                      <c:pt idx="9800">
                        <c:v>0</c:v>
                      </c:pt>
                      <c:pt idx="9801">
                        <c:v>0</c:v>
                      </c:pt>
                      <c:pt idx="9802">
                        <c:v>0</c:v>
                      </c:pt>
                      <c:pt idx="9803">
                        <c:v>0</c:v>
                      </c:pt>
                      <c:pt idx="9804">
                        <c:v>0</c:v>
                      </c:pt>
                      <c:pt idx="9805">
                        <c:v>0</c:v>
                      </c:pt>
                      <c:pt idx="9806">
                        <c:v>0</c:v>
                      </c:pt>
                      <c:pt idx="9807">
                        <c:v>0</c:v>
                      </c:pt>
                      <c:pt idx="9808">
                        <c:v>0</c:v>
                      </c:pt>
                      <c:pt idx="9809">
                        <c:v>0</c:v>
                      </c:pt>
                      <c:pt idx="9810">
                        <c:v>0</c:v>
                      </c:pt>
                      <c:pt idx="9811">
                        <c:v>0</c:v>
                      </c:pt>
                      <c:pt idx="9812">
                        <c:v>0</c:v>
                      </c:pt>
                      <c:pt idx="9813">
                        <c:v>0</c:v>
                      </c:pt>
                      <c:pt idx="9814">
                        <c:v>0</c:v>
                      </c:pt>
                      <c:pt idx="9815">
                        <c:v>0</c:v>
                      </c:pt>
                      <c:pt idx="9816">
                        <c:v>0</c:v>
                      </c:pt>
                      <c:pt idx="9817">
                        <c:v>0</c:v>
                      </c:pt>
                      <c:pt idx="9818">
                        <c:v>0</c:v>
                      </c:pt>
                      <c:pt idx="9819">
                        <c:v>0</c:v>
                      </c:pt>
                      <c:pt idx="9820">
                        <c:v>0</c:v>
                      </c:pt>
                      <c:pt idx="9821">
                        <c:v>0</c:v>
                      </c:pt>
                      <c:pt idx="9822">
                        <c:v>0</c:v>
                      </c:pt>
                      <c:pt idx="9823">
                        <c:v>0</c:v>
                      </c:pt>
                      <c:pt idx="9824">
                        <c:v>0</c:v>
                      </c:pt>
                      <c:pt idx="9825">
                        <c:v>0</c:v>
                      </c:pt>
                      <c:pt idx="9826">
                        <c:v>0</c:v>
                      </c:pt>
                      <c:pt idx="9827">
                        <c:v>0</c:v>
                      </c:pt>
                      <c:pt idx="9828">
                        <c:v>0</c:v>
                      </c:pt>
                      <c:pt idx="9829">
                        <c:v>0</c:v>
                      </c:pt>
                      <c:pt idx="9830">
                        <c:v>0</c:v>
                      </c:pt>
                      <c:pt idx="9831">
                        <c:v>0</c:v>
                      </c:pt>
                      <c:pt idx="9832">
                        <c:v>0</c:v>
                      </c:pt>
                      <c:pt idx="9833">
                        <c:v>0</c:v>
                      </c:pt>
                      <c:pt idx="9834">
                        <c:v>0</c:v>
                      </c:pt>
                      <c:pt idx="9835">
                        <c:v>0</c:v>
                      </c:pt>
                      <c:pt idx="9836">
                        <c:v>0</c:v>
                      </c:pt>
                      <c:pt idx="9837">
                        <c:v>0</c:v>
                      </c:pt>
                      <c:pt idx="9838">
                        <c:v>0</c:v>
                      </c:pt>
                      <c:pt idx="9839">
                        <c:v>0</c:v>
                      </c:pt>
                      <c:pt idx="9840">
                        <c:v>0</c:v>
                      </c:pt>
                      <c:pt idx="9841">
                        <c:v>0</c:v>
                      </c:pt>
                      <c:pt idx="9842">
                        <c:v>0</c:v>
                      </c:pt>
                      <c:pt idx="9843">
                        <c:v>0</c:v>
                      </c:pt>
                      <c:pt idx="9844">
                        <c:v>0</c:v>
                      </c:pt>
                      <c:pt idx="9845">
                        <c:v>0</c:v>
                      </c:pt>
                      <c:pt idx="9846">
                        <c:v>0</c:v>
                      </c:pt>
                      <c:pt idx="9847">
                        <c:v>0</c:v>
                      </c:pt>
                      <c:pt idx="9848">
                        <c:v>0</c:v>
                      </c:pt>
                      <c:pt idx="9849">
                        <c:v>0</c:v>
                      </c:pt>
                      <c:pt idx="9850">
                        <c:v>0</c:v>
                      </c:pt>
                      <c:pt idx="9851">
                        <c:v>0</c:v>
                      </c:pt>
                      <c:pt idx="9852">
                        <c:v>0</c:v>
                      </c:pt>
                      <c:pt idx="9853">
                        <c:v>0</c:v>
                      </c:pt>
                      <c:pt idx="9854">
                        <c:v>0</c:v>
                      </c:pt>
                      <c:pt idx="9855">
                        <c:v>0</c:v>
                      </c:pt>
                      <c:pt idx="9856">
                        <c:v>0</c:v>
                      </c:pt>
                      <c:pt idx="9857">
                        <c:v>0</c:v>
                      </c:pt>
                      <c:pt idx="9858">
                        <c:v>0</c:v>
                      </c:pt>
                      <c:pt idx="9859">
                        <c:v>0</c:v>
                      </c:pt>
                      <c:pt idx="9860">
                        <c:v>0</c:v>
                      </c:pt>
                      <c:pt idx="9861">
                        <c:v>0</c:v>
                      </c:pt>
                      <c:pt idx="9862">
                        <c:v>0</c:v>
                      </c:pt>
                      <c:pt idx="9863">
                        <c:v>0</c:v>
                      </c:pt>
                      <c:pt idx="9864">
                        <c:v>0</c:v>
                      </c:pt>
                      <c:pt idx="9865">
                        <c:v>0</c:v>
                      </c:pt>
                      <c:pt idx="9866">
                        <c:v>0</c:v>
                      </c:pt>
                      <c:pt idx="9867">
                        <c:v>0</c:v>
                      </c:pt>
                      <c:pt idx="9868">
                        <c:v>0</c:v>
                      </c:pt>
                      <c:pt idx="9869">
                        <c:v>0</c:v>
                      </c:pt>
                      <c:pt idx="9870">
                        <c:v>0</c:v>
                      </c:pt>
                      <c:pt idx="9871">
                        <c:v>0</c:v>
                      </c:pt>
                      <c:pt idx="9872">
                        <c:v>0</c:v>
                      </c:pt>
                      <c:pt idx="9873">
                        <c:v>0</c:v>
                      </c:pt>
                      <c:pt idx="9874">
                        <c:v>0</c:v>
                      </c:pt>
                      <c:pt idx="9875">
                        <c:v>0</c:v>
                      </c:pt>
                      <c:pt idx="9876">
                        <c:v>0</c:v>
                      </c:pt>
                      <c:pt idx="9877">
                        <c:v>0</c:v>
                      </c:pt>
                      <c:pt idx="9878">
                        <c:v>0</c:v>
                      </c:pt>
                      <c:pt idx="9879">
                        <c:v>0</c:v>
                      </c:pt>
                      <c:pt idx="9880">
                        <c:v>0</c:v>
                      </c:pt>
                      <c:pt idx="9881">
                        <c:v>0</c:v>
                      </c:pt>
                      <c:pt idx="9882">
                        <c:v>0</c:v>
                      </c:pt>
                      <c:pt idx="9883">
                        <c:v>0</c:v>
                      </c:pt>
                      <c:pt idx="9884">
                        <c:v>0</c:v>
                      </c:pt>
                      <c:pt idx="9885">
                        <c:v>0</c:v>
                      </c:pt>
                      <c:pt idx="9886">
                        <c:v>0</c:v>
                      </c:pt>
                      <c:pt idx="9887">
                        <c:v>0</c:v>
                      </c:pt>
                      <c:pt idx="9888">
                        <c:v>0</c:v>
                      </c:pt>
                      <c:pt idx="9889">
                        <c:v>0</c:v>
                      </c:pt>
                      <c:pt idx="9890">
                        <c:v>0</c:v>
                      </c:pt>
                      <c:pt idx="9891">
                        <c:v>0</c:v>
                      </c:pt>
                      <c:pt idx="9892">
                        <c:v>0</c:v>
                      </c:pt>
                      <c:pt idx="9893">
                        <c:v>0</c:v>
                      </c:pt>
                      <c:pt idx="9894">
                        <c:v>0</c:v>
                      </c:pt>
                      <c:pt idx="9895">
                        <c:v>0</c:v>
                      </c:pt>
                      <c:pt idx="9896">
                        <c:v>0</c:v>
                      </c:pt>
                      <c:pt idx="9897">
                        <c:v>0</c:v>
                      </c:pt>
                      <c:pt idx="9898">
                        <c:v>0</c:v>
                      </c:pt>
                      <c:pt idx="9899">
                        <c:v>0</c:v>
                      </c:pt>
                      <c:pt idx="9900">
                        <c:v>0</c:v>
                      </c:pt>
                      <c:pt idx="9901">
                        <c:v>0</c:v>
                      </c:pt>
                      <c:pt idx="9902">
                        <c:v>0</c:v>
                      </c:pt>
                      <c:pt idx="9903">
                        <c:v>0</c:v>
                      </c:pt>
                      <c:pt idx="9904">
                        <c:v>0</c:v>
                      </c:pt>
                      <c:pt idx="9905">
                        <c:v>0</c:v>
                      </c:pt>
                      <c:pt idx="9906">
                        <c:v>0</c:v>
                      </c:pt>
                      <c:pt idx="9907">
                        <c:v>0</c:v>
                      </c:pt>
                      <c:pt idx="9908">
                        <c:v>0</c:v>
                      </c:pt>
                      <c:pt idx="9909">
                        <c:v>0</c:v>
                      </c:pt>
                      <c:pt idx="9910">
                        <c:v>0</c:v>
                      </c:pt>
                      <c:pt idx="9911">
                        <c:v>0</c:v>
                      </c:pt>
                      <c:pt idx="9912">
                        <c:v>0</c:v>
                      </c:pt>
                      <c:pt idx="9913">
                        <c:v>0</c:v>
                      </c:pt>
                      <c:pt idx="9914">
                        <c:v>0</c:v>
                      </c:pt>
                      <c:pt idx="9915">
                        <c:v>0</c:v>
                      </c:pt>
                      <c:pt idx="9916">
                        <c:v>0</c:v>
                      </c:pt>
                      <c:pt idx="9917">
                        <c:v>0</c:v>
                      </c:pt>
                      <c:pt idx="9918">
                        <c:v>0</c:v>
                      </c:pt>
                      <c:pt idx="9919">
                        <c:v>0</c:v>
                      </c:pt>
                      <c:pt idx="9920">
                        <c:v>0</c:v>
                      </c:pt>
                      <c:pt idx="9921">
                        <c:v>0</c:v>
                      </c:pt>
                      <c:pt idx="9922">
                        <c:v>0</c:v>
                      </c:pt>
                      <c:pt idx="9923">
                        <c:v>0</c:v>
                      </c:pt>
                      <c:pt idx="9924">
                        <c:v>0</c:v>
                      </c:pt>
                      <c:pt idx="9925">
                        <c:v>0</c:v>
                      </c:pt>
                      <c:pt idx="9926">
                        <c:v>0</c:v>
                      </c:pt>
                      <c:pt idx="9927">
                        <c:v>0</c:v>
                      </c:pt>
                      <c:pt idx="9928">
                        <c:v>0</c:v>
                      </c:pt>
                      <c:pt idx="9929">
                        <c:v>0</c:v>
                      </c:pt>
                      <c:pt idx="9930">
                        <c:v>0</c:v>
                      </c:pt>
                      <c:pt idx="9931">
                        <c:v>0</c:v>
                      </c:pt>
                      <c:pt idx="9932">
                        <c:v>0</c:v>
                      </c:pt>
                      <c:pt idx="9933">
                        <c:v>0</c:v>
                      </c:pt>
                      <c:pt idx="9934">
                        <c:v>0</c:v>
                      </c:pt>
                      <c:pt idx="9935">
                        <c:v>0</c:v>
                      </c:pt>
                      <c:pt idx="9936">
                        <c:v>0</c:v>
                      </c:pt>
                      <c:pt idx="9937">
                        <c:v>0</c:v>
                      </c:pt>
                      <c:pt idx="9938">
                        <c:v>0</c:v>
                      </c:pt>
                      <c:pt idx="9939">
                        <c:v>0</c:v>
                      </c:pt>
                      <c:pt idx="9940">
                        <c:v>0</c:v>
                      </c:pt>
                      <c:pt idx="9941">
                        <c:v>0</c:v>
                      </c:pt>
                      <c:pt idx="9942">
                        <c:v>0</c:v>
                      </c:pt>
                      <c:pt idx="9943">
                        <c:v>0</c:v>
                      </c:pt>
                      <c:pt idx="9944">
                        <c:v>0</c:v>
                      </c:pt>
                      <c:pt idx="9945">
                        <c:v>0</c:v>
                      </c:pt>
                      <c:pt idx="9946">
                        <c:v>0</c:v>
                      </c:pt>
                      <c:pt idx="9947">
                        <c:v>0</c:v>
                      </c:pt>
                      <c:pt idx="9948">
                        <c:v>0</c:v>
                      </c:pt>
                      <c:pt idx="9949">
                        <c:v>0</c:v>
                      </c:pt>
                      <c:pt idx="9950">
                        <c:v>0</c:v>
                      </c:pt>
                      <c:pt idx="9951">
                        <c:v>0</c:v>
                      </c:pt>
                      <c:pt idx="9952">
                        <c:v>0</c:v>
                      </c:pt>
                      <c:pt idx="9953">
                        <c:v>0</c:v>
                      </c:pt>
                      <c:pt idx="9954">
                        <c:v>0</c:v>
                      </c:pt>
                      <c:pt idx="9955">
                        <c:v>0</c:v>
                      </c:pt>
                      <c:pt idx="9956">
                        <c:v>0</c:v>
                      </c:pt>
                      <c:pt idx="9957">
                        <c:v>0</c:v>
                      </c:pt>
                      <c:pt idx="9958">
                        <c:v>0</c:v>
                      </c:pt>
                      <c:pt idx="9959">
                        <c:v>0</c:v>
                      </c:pt>
                      <c:pt idx="9960">
                        <c:v>0</c:v>
                      </c:pt>
                      <c:pt idx="9961">
                        <c:v>0</c:v>
                      </c:pt>
                      <c:pt idx="9962">
                        <c:v>0</c:v>
                      </c:pt>
                      <c:pt idx="9963">
                        <c:v>0</c:v>
                      </c:pt>
                      <c:pt idx="9964">
                        <c:v>0</c:v>
                      </c:pt>
                      <c:pt idx="9965">
                        <c:v>0</c:v>
                      </c:pt>
                      <c:pt idx="9966">
                        <c:v>0</c:v>
                      </c:pt>
                      <c:pt idx="9967">
                        <c:v>0</c:v>
                      </c:pt>
                      <c:pt idx="9968">
                        <c:v>0</c:v>
                      </c:pt>
                      <c:pt idx="9969">
                        <c:v>0</c:v>
                      </c:pt>
                      <c:pt idx="9970">
                        <c:v>0</c:v>
                      </c:pt>
                      <c:pt idx="9971">
                        <c:v>0</c:v>
                      </c:pt>
                      <c:pt idx="9972">
                        <c:v>0</c:v>
                      </c:pt>
                      <c:pt idx="9973">
                        <c:v>0</c:v>
                      </c:pt>
                      <c:pt idx="9974">
                        <c:v>0</c:v>
                      </c:pt>
                      <c:pt idx="9975">
                        <c:v>0</c:v>
                      </c:pt>
                      <c:pt idx="9976">
                        <c:v>0</c:v>
                      </c:pt>
                      <c:pt idx="9977">
                        <c:v>0</c:v>
                      </c:pt>
                      <c:pt idx="9978">
                        <c:v>0</c:v>
                      </c:pt>
                      <c:pt idx="9979">
                        <c:v>0</c:v>
                      </c:pt>
                      <c:pt idx="9980">
                        <c:v>0</c:v>
                      </c:pt>
                      <c:pt idx="9981">
                        <c:v>0</c:v>
                      </c:pt>
                      <c:pt idx="9982">
                        <c:v>0</c:v>
                      </c:pt>
                      <c:pt idx="9983">
                        <c:v>0</c:v>
                      </c:pt>
                      <c:pt idx="9984">
                        <c:v>0</c:v>
                      </c:pt>
                      <c:pt idx="9985">
                        <c:v>0</c:v>
                      </c:pt>
                      <c:pt idx="9986">
                        <c:v>0</c:v>
                      </c:pt>
                      <c:pt idx="9987">
                        <c:v>0</c:v>
                      </c:pt>
                      <c:pt idx="9988">
                        <c:v>0</c:v>
                      </c:pt>
                      <c:pt idx="9989">
                        <c:v>0</c:v>
                      </c:pt>
                      <c:pt idx="9990">
                        <c:v>0</c:v>
                      </c:pt>
                      <c:pt idx="9991">
                        <c:v>0</c:v>
                      </c:pt>
                      <c:pt idx="9992">
                        <c:v>0</c:v>
                      </c:pt>
                      <c:pt idx="9993">
                        <c:v>0</c:v>
                      </c:pt>
                      <c:pt idx="9994">
                        <c:v>0</c:v>
                      </c:pt>
                      <c:pt idx="9995">
                        <c:v>0</c:v>
                      </c:pt>
                      <c:pt idx="9996">
                        <c:v>0</c:v>
                      </c:pt>
                      <c:pt idx="9997">
                        <c:v>0</c:v>
                      </c:pt>
                      <c:pt idx="9998">
                        <c:v>0</c:v>
                      </c:pt>
                      <c:pt idx="9999">
                        <c:v>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Data!$C$3:$C$10002</c15:sqref>
                        </c15:formulaRef>
                      </c:ext>
                    </c:extLst>
                    <c:numCache>
                      <c:formatCode>General</c:formatCode>
                      <c:ptCount val="1000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0</c:v>
                      </c:pt>
                      <c:pt idx="1151">
                        <c:v>0</c:v>
                      </c:pt>
                      <c:pt idx="1152">
                        <c:v>0</c:v>
                      </c:pt>
                      <c:pt idx="1153">
                        <c:v>0</c:v>
                      </c:pt>
                      <c:pt idx="1154">
                        <c:v>0</c:v>
                      </c:pt>
                      <c:pt idx="1155">
                        <c:v>0</c:v>
                      </c:pt>
                      <c:pt idx="1156">
                        <c:v>0</c:v>
                      </c:pt>
                      <c:pt idx="1157">
                        <c:v>0</c:v>
                      </c:pt>
                      <c:pt idx="1158">
                        <c:v>0</c:v>
                      </c:pt>
                      <c:pt idx="1159">
                        <c:v>0</c:v>
                      </c:pt>
                      <c:pt idx="1160">
                        <c:v>0</c:v>
                      </c:pt>
                      <c:pt idx="1161">
                        <c:v>0</c:v>
                      </c:pt>
                      <c:pt idx="1162">
                        <c:v>0</c:v>
                      </c:pt>
                      <c:pt idx="1163">
                        <c:v>0</c:v>
                      </c:pt>
                      <c:pt idx="1164">
                        <c:v>0</c:v>
                      </c:pt>
                      <c:pt idx="1165">
                        <c:v>0</c:v>
                      </c:pt>
                      <c:pt idx="1166">
                        <c:v>0</c:v>
                      </c:pt>
                      <c:pt idx="1167">
                        <c:v>0</c:v>
                      </c:pt>
                      <c:pt idx="1168">
                        <c:v>0</c:v>
                      </c:pt>
                      <c:pt idx="1169">
                        <c:v>0</c:v>
                      </c:pt>
                      <c:pt idx="1170">
                        <c:v>0</c:v>
                      </c:pt>
                      <c:pt idx="1171">
                        <c:v>0</c:v>
                      </c:pt>
                      <c:pt idx="1172">
                        <c:v>0</c:v>
                      </c:pt>
                      <c:pt idx="1173">
                        <c:v>0</c:v>
                      </c:pt>
                      <c:pt idx="1174">
                        <c:v>0</c:v>
                      </c:pt>
                      <c:pt idx="1175">
                        <c:v>0</c:v>
                      </c:pt>
                      <c:pt idx="1176">
                        <c:v>0</c:v>
                      </c:pt>
                      <c:pt idx="1177">
                        <c:v>0</c:v>
                      </c:pt>
                      <c:pt idx="1178">
                        <c:v>0</c:v>
                      </c:pt>
                      <c:pt idx="1179">
                        <c:v>0</c:v>
                      </c:pt>
                      <c:pt idx="1180">
                        <c:v>0</c:v>
                      </c:pt>
                      <c:pt idx="1181">
                        <c:v>0</c:v>
                      </c:pt>
                      <c:pt idx="1182">
                        <c:v>0</c:v>
                      </c:pt>
                      <c:pt idx="1183">
                        <c:v>0</c:v>
                      </c:pt>
                      <c:pt idx="1184">
                        <c:v>0</c:v>
                      </c:pt>
                      <c:pt idx="1185">
                        <c:v>0</c:v>
                      </c:pt>
                      <c:pt idx="1186">
                        <c:v>0</c:v>
                      </c:pt>
                      <c:pt idx="1187">
                        <c:v>0</c:v>
                      </c:pt>
                      <c:pt idx="1188">
                        <c:v>0</c:v>
                      </c:pt>
                      <c:pt idx="1189">
                        <c:v>0</c:v>
                      </c:pt>
                      <c:pt idx="1190">
                        <c:v>0</c:v>
                      </c:pt>
                      <c:pt idx="1191">
                        <c:v>0</c:v>
                      </c:pt>
                      <c:pt idx="1192">
                        <c:v>0</c:v>
                      </c:pt>
                      <c:pt idx="1193">
                        <c:v>0</c:v>
                      </c:pt>
                      <c:pt idx="1194">
                        <c:v>0</c:v>
                      </c:pt>
                      <c:pt idx="1195">
                        <c:v>0</c:v>
                      </c:pt>
                      <c:pt idx="1196">
                        <c:v>0</c:v>
                      </c:pt>
                      <c:pt idx="1197">
                        <c:v>0</c:v>
                      </c:pt>
                      <c:pt idx="1198">
                        <c:v>0</c:v>
                      </c:pt>
                      <c:pt idx="1199">
                        <c:v>0</c:v>
                      </c:pt>
                      <c:pt idx="1200">
                        <c:v>0</c:v>
                      </c:pt>
                      <c:pt idx="1201">
                        <c:v>0</c:v>
                      </c:pt>
                      <c:pt idx="1202">
                        <c:v>0</c:v>
                      </c:pt>
                      <c:pt idx="1203">
                        <c:v>0</c:v>
                      </c:pt>
                      <c:pt idx="1204">
                        <c:v>0</c:v>
                      </c:pt>
                      <c:pt idx="1205">
                        <c:v>0</c:v>
                      </c:pt>
                      <c:pt idx="1206">
                        <c:v>0</c:v>
                      </c:pt>
                      <c:pt idx="1207">
                        <c:v>0</c:v>
                      </c:pt>
                      <c:pt idx="1208">
                        <c:v>0</c:v>
                      </c:pt>
                      <c:pt idx="1209">
                        <c:v>0</c:v>
                      </c:pt>
                      <c:pt idx="1210">
                        <c:v>0</c:v>
                      </c:pt>
                      <c:pt idx="1211">
                        <c:v>0</c:v>
                      </c:pt>
                      <c:pt idx="1212">
                        <c:v>0</c:v>
                      </c:pt>
                      <c:pt idx="1213">
                        <c:v>0</c:v>
                      </c:pt>
                      <c:pt idx="1214">
                        <c:v>0</c:v>
                      </c:pt>
                      <c:pt idx="1215">
                        <c:v>0</c:v>
                      </c:pt>
                      <c:pt idx="1216">
                        <c:v>0</c:v>
                      </c:pt>
                      <c:pt idx="1217">
                        <c:v>0</c:v>
                      </c:pt>
                      <c:pt idx="1218">
                        <c:v>0</c:v>
                      </c:pt>
                      <c:pt idx="1219">
                        <c:v>0</c:v>
                      </c:pt>
                      <c:pt idx="1220">
                        <c:v>0</c:v>
                      </c:pt>
                      <c:pt idx="1221">
                        <c:v>0</c:v>
                      </c:pt>
                      <c:pt idx="1222">
                        <c:v>0</c:v>
                      </c:pt>
                      <c:pt idx="1223">
                        <c:v>0</c:v>
                      </c:pt>
                      <c:pt idx="1224">
                        <c:v>0</c:v>
                      </c:pt>
                      <c:pt idx="1225">
                        <c:v>0</c:v>
                      </c:pt>
                      <c:pt idx="1226">
                        <c:v>0</c:v>
                      </c:pt>
                      <c:pt idx="1227">
                        <c:v>0</c:v>
                      </c:pt>
                      <c:pt idx="1228">
                        <c:v>0</c:v>
                      </c:pt>
                      <c:pt idx="1229">
                        <c:v>0</c:v>
                      </c:pt>
                      <c:pt idx="1230">
                        <c:v>0</c:v>
                      </c:pt>
                      <c:pt idx="1231">
                        <c:v>0</c:v>
                      </c:pt>
                      <c:pt idx="1232">
                        <c:v>0</c:v>
                      </c:pt>
                      <c:pt idx="1233">
                        <c:v>0</c:v>
                      </c:pt>
                      <c:pt idx="1234">
                        <c:v>0</c:v>
                      </c:pt>
                      <c:pt idx="1235">
                        <c:v>0</c:v>
                      </c:pt>
                      <c:pt idx="1236">
                        <c:v>0</c:v>
                      </c:pt>
                      <c:pt idx="1237">
                        <c:v>0</c:v>
                      </c:pt>
                      <c:pt idx="1238">
                        <c:v>0</c:v>
                      </c:pt>
                      <c:pt idx="1239">
                        <c:v>0</c:v>
                      </c:pt>
                      <c:pt idx="1240">
                        <c:v>0</c:v>
                      </c:pt>
                      <c:pt idx="1241">
                        <c:v>0</c:v>
                      </c:pt>
                      <c:pt idx="1242">
                        <c:v>0</c:v>
                      </c:pt>
                      <c:pt idx="1243">
                        <c:v>0</c:v>
                      </c:pt>
                      <c:pt idx="1244">
                        <c:v>0</c:v>
                      </c:pt>
                      <c:pt idx="1245">
                        <c:v>0</c:v>
                      </c:pt>
                      <c:pt idx="1246">
                        <c:v>0</c:v>
                      </c:pt>
                      <c:pt idx="1247">
                        <c:v>0</c:v>
                      </c:pt>
                      <c:pt idx="1248">
                        <c:v>0</c:v>
                      </c:pt>
                      <c:pt idx="1249">
                        <c:v>0</c:v>
                      </c:pt>
                      <c:pt idx="1250">
                        <c:v>0</c:v>
                      </c:pt>
                      <c:pt idx="1251">
                        <c:v>0</c:v>
                      </c:pt>
                      <c:pt idx="1252">
                        <c:v>0</c:v>
                      </c:pt>
                      <c:pt idx="1253">
                        <c:v>0</c:v>
                      </c:pt>
                      <c:pt idx="1254">
                        <c:v>0</c:v>
                      </c:pt>
                      <c:pt idx="1255">
                        <c:v>0</c:v>
                      </c:pt>
                      <c:pt idx="1256">
                        <c:v>0</c:v>
                      </c:pt>
                      <c:pt idx="1257">
                        <c:v>0</c:v>
                      </c:pt>
                      <c:pt idx="1258">
                        <c:v>0</c:v>
                      </c:pt>
                      <c:pt idx="1259">
                        <c:v>0</c:v>
                      </c:pt>
                      <c:pt idx="1260">
                        <c:v>0</c:v>
                      </c:pt>
                      <c:pt idx="1261">
                        <c:v>0</c:v>
                      </c:pt>
                      <c:pt idx="1262">
                        <c:v>0</c:v>
                      </c:pt>
                      <c:pt idx="1263">
                        <c:v>0</c:v>
                      </c:pt>
                      <c:pt idx="1264">
                        <c:v>0</c:v>
                      </c:pt>
                      <c:pt idx="1265">
                        <c:v>0</c:v>
                      </c:pt>
                      <c:pt idx="1266">
                        <c:v>0</c:v>
                      </c:pt>
                      <c:pt idx="1267">
                        <c:v>0</c:v>
                      </c:pt>
                      <c:pt idx="1268">
                        <c:v>0</c:v>
                      </c:pt>
                      <c:pt idx="1269">
                        <c:v>0</c:v>
                      </c:pt>
                      <c:pt idx="1270">
                        <c:v>0</c:v>
                      </c:pt>
                      <c:pt idx="1271">
                        <c:v>0</c:v>
                      </c:pt>
                      <c:pt idx="1272">
                        <c:v>0</c:v>
                      </c:pt>
                      <c:pt idx="1273">
                        <c:v>0</c:v>
                      </c:pt>
                      <c:pt idx="1274">
                        <c:v>0</c:v>
                      </c:pt>
                      <c:pt idx="1275">
                        <c:v>0</c:v>
                      </c:pt>
                      <c:pt idx="1276">
                        <c:v>0</c:v>
                      </c:pt>
                      <c:pt idx="1277">
                        <c:v>0</c:v>
                      </c:pt>
                      <c:pt idx="1278">
                        <c:v>0</c:v>
                      </c:pt>
                      <c:pt idx="1279">
                        <c:v>0</c:v>
                      </c:pt>
                      <c:pt idx="1280">
                        <c:v>0</c:v>
                      </c:pt>
                      <c:pt idx="1281">
                        <c:v>0</c:v>
                      </c:pt>
                      <c:pt idx="1282">
                        <c:v>0</c:v>
                      </c:pt>
                      <c:pt idx="1283">
                        <c:v>0</c:v>
                      </c:pt>
                      <c:pt idx="1284">
                        <c:v>0</c:v>
                      </c:pt>
                      <c:pt idx="1285">
                        <c:v>0</c:v>
                      </c:pt>
                      <c:pt idx="1286">
                        <c:v>0</c:v>
                      </c:pt>
                      <c:pt idx="1287">
                        <c:v>0</c:v>
                      </c:pt>
                      <c:pt idx="1288">
                        <c:v>0</c:v>
                      </c:pt>
                      <c:pt idx="1289">
                        <c:v>0</c:v>
                      </c:pt>
                      <c:pt idx="1290">
                        <c:v>0</c:v>
                      </c:pt>
                      <c:pt idx="1291">
                        <c:v>0</c:v>
                      </c:pt>
                      <c:pt idx="1292">
                        <c:v>0</c:v>
                      </c:pt>
                      <c:pt idx="1293">
                        <c:v>0</c:v>
                      </c:pt>
                      <c:pt idx="1294">
                        <c:v>0</c:v>
                      </c:pt>
                      <c:pt idx="1295">
                        <c:v>0</c:v>
                      </c:pt>
                      <c:pt idx="1296">
                        <c:v>0</c:v>
                      </c:pt>
                      <c:pt idx="1297">
                        <c:v>0</c:v>
                      </c:pt>
                      <c:pt idx="1298">
                        <c:v>0</c:v>
                      </c:pt>
                      <c:pt idx="1299">
                        <c:v>0</c:v>
                      </c:pt>
                      <c:pt idx="1300">
                        <c:v>0</c:v>
                      </c:pt>
                      <c:pt idx="1301">
                        <c:v>0</c:v>
                      </c:pt>
                      <c:pt idx="1302">
                        <c:v>0</c:v>
                      </c:pt>
                      <c:pt idx="1303">
                        <c:v>0</c:v>
                      </c:pt>
                      <c:pt idx="1304">
                        <c:v>0</c:v>
                      </c:pt>
                      <c:pt idx="1305">
                        <c:v>0</c:v>
                      </c:pt>
                      <c:pt idx="1306">
                        <c:v>0</c:v>
                      </c:pt>
                      <c:pt idx="1307">
                        <c:v>0</c:v>
                      </c:pt>
                      <c:pt idx="1308">
                        <c:v>0</c:v>
                      </c:pt>
                      <c:pt idx="1309">
                        <c:v>0</c:v>
                      </c:pt>
                      <c:pt idx="1310">
                        <c:v>0</c:v>
                      </c:pt>
                      <c:pt idx="1311">
                        <c:v>0</c:v>
                      </c:pt>
                      <c:pt idx="1312">
                        <c:v>0</c:v>
                      </c:pt>
                      <c:pt idx="1313">
                        <c:v>0</c:v>
                      </c:pt>
                      <c:pt idx="1314">
                        <c:v>0</c:v>
                      </c:pt>
                      <c:pt idx="1315">
                        <c:v>0</c:v>
                      </c:pt>
                      <c:pt idx="1316">
                        <c:v>0</c:v>
                      </c:pt>
                      <c:pt idx="1317">
                        <c:v>0</c:v>
                      </c:pt>
                      <c:pt idx="1318">
                        <c:v>0</c:v>
                      </c:pt>
                      <c:pt idx="1319">
                        <c:v>0</c:v>
                      </c:pt>
                      <c:pt idx="1320">
                        <c:v>0</c:v>
                      </c:pt>
                      <c:pt idx="1321">
                        <c:v>0</c:v>
                      </c:pt>
                      <c:pt idx="1322">
                        <c:v>0</c:v>
                      </c:pt>
                      <c:pt idx="1323">
                        <c:v>0</c:v>
                      </c:pt>
                      <c:pt idx="1324">
                        <c:v>0</c:v>
                      </c:pt>
                      <c:pt idx="1325">
                        <c:v>0</c:v>
                      </c:pt>
                      <c:pt idx="1326">
                        <c:v>0</c:v>
                      </c:pt>
                      <c:pt idx="1327">
                        <c:v>0</c:v>
                      </c:pt>
                      <c:pt idx="1328">
                        <c:v>0</c:v>
                      </c:pt>
                      <c:pt idx="1329">
                        <c:v>0</c:v>
                      </c:pt>
                      <c:pt idx="1330">
                        <c:v>0</c:v>
                      </c:pt>
                      <c:pt idx="1331">
                        <c:v>0</c:v>
                      </c:pt>
                      <c:pt idx="1332">
                        <c:v>0</c:v>
                      </c:pt>
                      <c:pt idx="1333">
                        <c:v>0</c:v>
                      </c:pt>
                      <c:pt idx="1334">
                        <c:v>0</c:v>
                      </c:pt>
                      <c:pt idx="1335">
                        <c:v>0</c:v>
                      </c:pt>
                      <c:pt idx="1336">
                        <c:v>0</c:v>
                      </c:pt>
                      <c:pt idx="1337">
                        <c:v>0</c:v>
                      </c:pt>
                      <c:pt idx="1338">
                        <c:v>0</c:v>
                      </c:pt>
                      <c:pt idx="1339">
                        <c:v>0</c:v>
                      </c:pt>
                      <c:pt idx="1340">
                        <c:v>0</c:v>
                      </c:pt>
                      <c:pt idx="1341">
                        <c:v>0</c:v>
                      </c:pt>
                      <c:pt idx="1342">
                        <c:v>0</c:v>
                      </c:pt>
                      <c:pt idx="1343">
                        <c:v>0</c:v>
                      </c:pt>
                      <c:pt idx="1344">
                        <c:v>0</c:v>
                      </c:pt>
                      <c:pt idx="1345">
                        <c:v>0</c:v>
                      </c:pt>
                      <c:pt idx="1346">
                        <c:v>0</c:v>
                      </c:pt>
                      <c:pt idx="1347">
                        <c:v>0</c:v>
                      </c:pt>
                      <c:pt idx="1348">
                        <c:v>0</c:v>
                      </c:pt>
                      <c:pt idx="1349">
                        <c:v>0</c:v>
                      </c:pt>
                      <c:pt idx="1350">
                        <c:v>0</c:v>
                      </c:pt>
                      <c:pt idx="1351">
                        <c:v>0</c:v>
                      </c:pt>
                      <c:pt idx="1352">
                        <c:v>0</c:v>
                      </c:pt>
                      <c:pt idx="1353">
                        <c:v>0</c:v>
                      </c:pt>
                      <c:pt idx="1354">
                        <c:v>0</c:v>
                      </c:pt>
                      <c:pt idx="1355">
                        <c:v>0</c:v>
                      </c:pt>
                      <c:pt idx="1356">
                        <c:v>0</c:v>
                      </c:pt>
                      <c:pt idx="1357">
                        <c:v>0</c:v>
                      </c:pt>
                      <c:pt idx="1358">
                        <c:v>0</c:v>
                      </c:pt>
                      <c:pt idx="1359">
                        <c:v>0</c:v>
                      </c:pt>
                      <c:pt idx="1360">
                        <c:v>0</c:v>
                      </c:pt>
                      <c:pt idx="1361">
                        <c:v>0</c:v>
                      </c:pt>
                      <c:pt idx="1362">
                        <c:v>0</c:v>
                      </c:pt>
                      <c:pt idx="1363">
                        <c:v>0</c:v>
                      </c:pt>
                      <c:pt idx="1364">
                        <c:v>0</c:v>
                      </c:pt>
                      <c:pt idx="1365">
                        <c:v>0</c:v>
                      </c:pt>
                      <c:pt idx="1366">
                        <c:v>0</c:v>
                      </c:pt>
                      <c:pt idx="1367">
                        <c:v>0</c:v>
                      </c:pt>
                      <c:pt idx="1368">
                        <c:v>0</c:v>
                      </c:pt>
                      <c:pt idx="1369">
                        <c:v>0</c:v>
                      </c:pt>
                      <c:pt idx="1370">
                        <c:v>0</c:v>
                      </c:pt>
                      <c:pt idx="1371">
                        <c:v>0</c:v>
                      </c:pt>
                      <c:pt idx="1372">
                        <c:v>0</c:v>
                      </c:pt>
                      <c:pt idx="1373">
                        <c:v>0</c:v>
                      </c:pt>
                      <c:pt idx="1374">
                        <c:v>0</c:v>
                      </c:pt>
                      <c:pt idx="1375">
                        <c:v>0</c:v>
                      </c:pt>
                      <c:pt idx="1376">
                        <c:v>0</c:v>
                      </c:pt>
                      <c:pt idx="1377">
                        <c:v>0</c:v>
                      </c:pt>
                      <c:pt idx="1378">
                        <c:v>0</c:v>
                      </c:pt>
                      <c:pt idx="1379">
                        <c:v>0</c:v>
                      </c:pt>
                      <c:pt idx="1380">
                        <c:v>0</c:v>
                      </c:pt>
                      <c:pt idx="1381">
                        <c:v>0</c:v>
                      </c:pt>
                      <c:pt idx="1382">
                        <c:v>0</c:v>
                      </c:pt>
                      <c:pt idx="1383">
                        <c:v>0</c:v>
                      </c:pt>
                      <c:pt idx="1384">
                        <c:v>0</c:v>
                      </c:pt>
                      <c:pt idx="1385">
                        <c:v>0</c:v>
                      </c:pt>
                      <c:pt idx="1386">
                        <c:v>0</c:v>
                      </c:pt>
                      <c:pt idx="1387">
                        <c:v>0</c:v>
                      </c:pt>
                      <c:pt idx="1388">
                        <c:v>0</c:v>
                      </c:pt>
                      <c:pt idx="1389">
                        <c:v>0</c:v>
                      </c:pt>
                      <c:pt idx="1390">
                        <c:v>0</c:v>
                      </c:pt>
                      <c:pt idx="1391">
                        <c:v>0</c:v>
                      </c:pt>
                      <c:pt idx="1392">
                        <c:v>0</c:v>
                      </c:pt>
                      <c:pt idx="1393">
                        <c:v>0</c:v>
                      </c:pt>
                      <c:pt idx="1394">
                        <c:v>0</c:v>
                      </c:pt>
                      <c:pt idx="1395">
                        <c:v>0</c:v>
                      </c:pt>
                      <c:pt idx="1396">
                        <c:v>0</c:v>
                      </c:pt>
                      <c:pt idx="1397">
                        <c:v>0</c:v>
                      </c:pt>
                      <c:pt idx="1398">
                        <c:v>0</c:v>
                      </c:pt>
                      <c:pt idx="1399">
                        <c:v>0</c:v>
                      </c:pt>
                      <c:pt idx="1400">
                        <c:v>0</c:v>
                      </c:pt>
                      <c:pt idx="1401">
                        <c:v>0</c:v>
                      </c:pt>
                      <c:pt idx="1402">
                        <c:v>0</c:v>
                      </c:pt>
                      <c:pt idx="1403">
                        <c:v>0</c:v>
                      </c:pt>
                      <c:pt idx="1404">
                        <c:v>0</c:v>
                      </c:pt>
                      <c:pt idx="1405">
                        <c:v>0</c:v>
                      </c:pt>
                      <c:pt idx="1406">
                        <c:v>0</c:v>
                      </c:pt>
                      <c:pt idx="1407">
                        <c:v>0</c:v>
                      </c:pt>
                      <c:pt idx="1408">
                        <c:v>0</c:v>
                      </c:pt>
                      <c:pt idx="1409">
                        <c:v>0</c:v>
                      </c:pt>
                      <c:pt idx="1410">
                        <c:v>0</c:v>
                      </c:pt>
                      <c:pt idx="1411">
                        <c:v>0</c:v>
                      </c:pt>
                      <c:pt idx="1412">
                        <c:v>0</c:v>
                      </c:pt>
                      <c:pt idx="1413">
                        <c:v>0</c:v>
                      </c:pt>
                      <c:pt idx="1414">
                        <c:v>0</c:v>
                      </c:pt>
                      <c:pt idx="1415">
                        <c:v>0</c:v>
                      </c:pt>
                      <c:pt idx="1416">
                        <c:v>0</c:v>
                      </c:pt>
                      <c:pt idx="1417">
                        <c:v>0</c:v>
                      </c:pt>
                      <c:pt idx="1418">
                        <c:v>0</c:v>
                      </c:pt>
                      <c:pt idx="1419">
                        <c:v>0</c:v>
                      </c:pt>
                      <c:pt idx="1420">
                        <c:v>0</c:v>
                      </c:pt>
                      <c:pt idx="1421">
                        <c:v>0</c:v>
                      </c:pt>
                      <c:pt idx="1422">
                        <c:v>0</c:v>
                      </c:pt>
                      <c:pt idx="1423">
                        <c:v>0</c:v>
                      </c:pt>
                      <c:pt idx="1424">
                        <c:v>0</c:v>
                      </c:pt>
                      <c:pt idx="1425">
                        <c:v>0</c:v>
                      </c:pt>
                      <c:pt idx="1426">
                        <c:v>0</c:v>
                      </c:pt>
                      <c:pt idx="1427">
                        <c:v>0</c:v>
                      </c:pt>
                      <c:pt idx="1428">
                        <c:v>0</c:v>
                      </c:pt>
                      <c:pt idx="1429">
                        <c:v>0</c:v>
                      </c:pt>
                      <c:pt idx="1430">
                        <c:v>0</c:v>
                      </c:pt>
                      <c:pt idx="1431">
                        <c:v>0</c:v>
                      </c:pt>
                      <c:pt idx="1432">
                        <c:v>0</c:v>
                      </c:pt>
                      <c:pt idx="1433">
                        <c:v>0</c:v>
                      </c:pt>
                      <c:pt idx="1434">
                        <c:v>0</c:v>
                      </c:pt>
                      <c:pt idx="1435">
                        <c:v>0</c:v>
                      </c:pt>
                      <c:pt idx="1436">
                        <c:v>0</c:v>
                      </c:pt>
                      <c:pt idx="1437">
                        <c:v>0</c:v>
                      </c:pt>
                      <c:pt idx="1438">
                        <c:v>0</c:v>
                      </c:pt>
                      <c:pt idx="1439">
                        <c:v>0</c:v>
                      </c:pt>
                      <c:pt idx="1440">
                        <c:v>0</c:v>
                      </c:pt>
                      <c:pt idx="1441">
                        <c:v>0</c:v>
                      </c:pt>
                      <c:pt idx="1442">
                        <c:v>0</c:v>
                      </c:pt>
                      <c:pt idx="1443">
                        <c:v>0</c:v>
                      </c:pt>
                      <c:pt idx="1444">
                        <c:v>0</c:v>
                      </c:pt>
                      <c:pt idx="1445">
                        <c:v>0</c:v>
                      </c:pt>
                      <c:pt idx="1446">
                        <c:v>0</c:v>
                      </c:pt>
                      <c:pt idx="1447">
                        <c:v>0</c:v>
                      </c:pt>
                      <c:pt idx="1448">
                        <c:v>0</c:v>
                      </c:pt>
                      <c:pt idx="1449">
                        <c:v>0</c:v>
                      </c:pt>
                      <c:pt idx="1450">
                        <c:v>0</c:v>
                      </c:pt>
                      <c:pt idx="1451">
                        <c:v>0</c:v>
                      </c:pt>
                      <c:pt idx="1452">
                        <c:v>0</c:v>
                      </c:pt>
                      <c:pt idx="1453">
                        <c:v>0</c:v>
                      </c:pt>
                      <c:pt idx="1454">
                        <c:v>0</c:v>
                      </c:pt>
                      <c:pt idx="1455">
                        <c:v>0</c:v>
                      </c:pt>
                      <c:pt idx="1456">
                        <c:v>0</c:v>
                      </c:pt>
                      <c:pt idx="1457">
                        <c:v>0</c:v>
                      </c:pt>
                      <c:pt idx="1458">
                        <c:v>0</c:v>
                      </c:pt>
                      <c:pt idx="1459">
                        <c:v>0</c:v>
                      </c:pt>
                      <c:pt idx="1460">
                        <c:v>0</c:v>
                      </c:pt>
                      <c:pt idx="1461">
                        <c:v>0</c:v>
                      </c:pt>
                      <c:pt idx="1462">
                        <c:v>0</c:v>
                      </c:pt>
                      <c:pt idx="1463">
                        <c:v>0</c:v>
                      </c:pt>
                      <c:pt idx="1464">
                        <c:v>0</c:v>
                      </c:pt>
                      <c:pt idx="1465">
                        <c:v>0</c:v>
                      </c:pt>
                      <c:pt idx="1466">
                        <c:v>0</c:v>
                      </c:pt>
                      <c:pt idx="1467">
                        <c:v>0</c:v>
                      </c:pt>
                      <c:pt idx="1468">
                        <c:v>0</c:v>
                      </c:pt>
                      <c:pt idx="1469">
                        <c:v>0</c:v>
                      </c:pt>
                      <c:pt idx="1470">
                        <c:v>0</c:v>
                      </c:pt>
                      <c:pt idx="1471">
                        <c:v>0</c:v>
                      </c:pt>
                      <c:pt idx="1472">
                        <c:v>0</c:v>
                      </c:pt>
                      <c:pt idx="1473">
                        <c:v>0</c:v>
                      </c:pt>
                      <c:pt idx="1474">
                        <c:v>0</c:v>
                      </c:pt>
                      <c:pt idx="1475">
                        <c:v>0</c:v>
                      </c:pt>
                      <c:pt idx="1476">
                        <c:v>0</c:v>
                      </c:pt>
                      <c:pt idx="1477">
                        <c:v>0</c:v>
                      </c:pt>
                      <c:pt idx="1478">
                        <c:v>0</c:v>
                      </c:pt>
                      <c:pt idx="1479">
                        <c:v>0</c:v>
                      </c:pt>
                      <c:pt idx="1480">
                        <c:v>0</c:v>
                      </c:pt>
                      <c:pt idx="1481">
                        <c:v>0</c:v>
                      </c:pt>
                      <c:pt idx="1482">
                        <c:v>0</c:v>
                      </c:pt>
                      <c:pt idx="1483">
                        <c:v>0</c:v>
                      </c:pt>
                      <c:pt idx="1484">
                        <c:v>0</c:v>
                      </c:pt>
                      <c:pt idx="1485">
                        <c:v>0</c:v>
                      </c:pt>
                      <c:pt idx="1486">
                        <c:v>0</c:v>
                      </c:pt>
                      <c:pt idx="1487">
                        <c:v>0</c:v>
                      </c:pt>
                      <c:pt idx="1488">
                        <c:v>0</c:v>
                      </c:pt>
                      <c:pt idx="1489">
                        <c:v>0</c:v>
                      </c:pt>
                      <c:pt idx="1490">
                        <c:v>0</c:v>
                      </c:pt>
                      <c:pt idx="1491">
                        <c:v>0</c:v>
                      </c:pt>
                      <c:pt idx="1492">
                        <c:v>0</c:v>
                      </c:pt>
                      <c:pt idx="1493">
                        <c:v>0</c:v>
                      </c:pt>
                      <c:pt idx="1494">
                        <c:v>0</c:v>
                      </c:pt>
                      <c:pt idx="1495">
                        <c:v>0</c:v>
                      </c:pt>
                      <c:pt idx="1496">
                        <c:v>0</c:v>
                      </c:pt>
                      <c:pt idx="1497">
                        <c:v>0</c:v>
                      </c:pt>
                      <c:pt idx="1498">
                        <c:v>0</c:v>
                      </c:pt>
                      <c:pt idx="1499">
                        <c:v>0</c:v>
                      </c:pt>
                      <c:pt idx="1500">
                        <c:v>0</c:v>
                      </c:pt>
                      <c:pt idx="1501">
                        <c:v>0</c:v>
                      </c:pt>
                      <c:pt idx="1502">
                        <c:v>0</c:v>
                      </c:pt>
                      <c:pt idx="1503">
                        <c:v>0</c:v>
                      </c:pt>
                      <c:pt idx="1504">
                        <c:v>0</c:v>
                      </c:pt>
                      <c:pt idx="1505">
                        <c:v>0</c:v>
                      </c:pt>
                      <c:pt idx="1506">
                        <c:v>0</c:v>
                      </c:pt>
                      <c:pt idx="1507">
                        <c:v>0</c:v>
                      </c:pt>
                      <c:pt idx="1508">
                        <c:v>0</c:v>
                      </c:pt>
                      <c:pt idx="1509">
                        <c:v>0</c:v>
                      </c:pt>
                      <c:pt idx="1510">
                        <c:v>0</c:v>
                      </c:pt>
                      <c:pt idx="1511">
                        <c:v>0</c:v>
                      </c:pt>
                      <c:pt idx="1512">
                        <c:v>0</c:v>
                      </c:pt>
                      <c:pt idx="1513">
                        <c:v>0</c:v>
                      </c:pt>
                      <c:pt idx="1514">
                        <c:v>0</c:v>
                      </c:pt>
                      <c:pt idx="1515">
                        <c:v>0</c:v>
                      </c:pt>
                      <c:pt idx="1516">
                        <c:v>0</c:v>
                      </c:pt>
                      <c:pt idx="1517">
                        <c:v>0</c:v>
                      </c:pt>
                      <c:pt idx="1518">
                        <c:v>0</c:v>
                      </c:pt>
                      <c:pt idx="1519">
                        <c:v>0</c:v>
                      </c:pt>
                      <c:pt idx="1520">
                        <c:v>0</c:v>
                      </c:pt>
                      <c:pt idx="1521">
                        <c:v>0</c:v>
                      </c:pt>
                      <c:pt idx="1522">
                        <c:v>0</c:v>
                      </c:pt>
                      <c:pt idx="1523">
                        <c:v>0</c:v>
                      </c:pt>
                      <c:pt idx="1524">
                        <c:v>0</c:v>
                      </c:pt>
                      <c:pt idx="1525">
                        <c:v>0</c:v>
                      </c:pt>
                      <c:pt idx="1526">
                        <c:v>0</c:v>
                      </c:pt>
                      <c:pt idx="1527">
                        <c:v>0</c:v>
                      </c:pt>
                      <c:pt idx="1528">
                        <c:v>0</c:v>
                      </c:pt>
                      <c:pt idx="1529">
                        <c:v>0</c:v>
                      </c:pt>
                      <c:pt idx="1530">
                        <c:v>0</c:v>
                      </c:pt>
                      <c:pt idx="1531">
                        <c:v>0</c:v>
                      </c:pt>
                      <c:pt idx="1532">
                        <c:v>0</c:v>
                      </c:pt>
                      <c:pt idx="1533">
                        <c:v>0</c:v>
                      </c:pt>
                      <c:pt idx="1534">
                        <c:v>0</c:v>
                      </c:pt>
                      <c:pt idx="1535">
                        <c:v>0</c:v>
                      </c:pt>
                      <c:pt idx="1536">
                        <c:v>0</c:v>
                      </c:pt>
                      <c:pt idx="1537">
                        <c:v>0</c:v>
                      </c:pt>
                      <c:pt idx="1538">
                        <c:v>0</c:v>
                      </c:pt>
                      <c:pt idx="1539">
                        <c:v>0</c:v>
                      </c:pt>
                      <c:pt idx="1540">
                        <c:v>0</c:v>
                      </c:pt>
                      <c:pt idx="1541">
                        <c:v>0</c:v>
                      </c:pt>
                      <c:pt idx="1542">
                        <c:v>0</c:v>
                      </c:pt>
                      <c:pt idx="1543">
                        <c:v>0</c:v>
                      </c:pt>
                      <c:pt idx="1544">
                        <c:v>0</c:v>
                      </c:pt>
                      <c:pt idx="1545">
                        <c:v>0</c:v>
                      </c:pt>
                      <c:pt idx="1546">
                        <c:v>0</c:v>
                      </c:pt>
                      <c:pt idx="1547">
                        <c:v>0</c:v>
                      </c:pt>
                      <c:pt idx="1548">
                        <c:v>0</c:v>
                      </c:pt>
                      <c:pt idx="1549">
                        <c:v>0</c:v>
                      </c:pt>
                      <c:pt idx="1550">
                        <c:v>0</c:v>
                      </c:pt>
                      <c:pt idx="1551">
                        <c:v>0</c:v>
                      </c:pt>
                      <c:pt idx="1552">
                        <c:v>0</c:v>
                      </c:pt>
                      <c:pt idx="1553">
                        <c:v>0</c:v>
                      </c:pt>
                      <c:pt idx="1554">
                        <c:v>0</c:v>
                      </c:pt>
                      <c:pt idx="1555">
                        <c:v>0</c:v>
                      </c:pt>
                      <c:pt idx="1556">
                        <c:v>0</c:v>
                      </c:pt>
                      <c:pt idx="1557">
                        <c:v>0</c:v>
                      </c:pt>
                      <c:pt idx="1558">
                        <c:v>0</c:v>
                      </c:pt>
                      <c:pt idx="1559">
                        <c:v>0</c:v>
                      </c:pt>
                      <c:pt idx="1560">
                        <c:v>0</c:v>
                      </c:pt>
                      <c:pt idx="1561">
                        <c:v>0</c:v>
                      </c:pt>
                      <c:pt idx="1562">
                        <c:v>0</c:v>
                      </c:pt>
                      <c:pt idx="1563">
                        <c:v>0</c:v>
                      </c:pt>
                      <c:pt idx="1564">
                        <c:v>0</c:v>
                      </c:pt>
                      <c:pt idx="1565">
                        <c:v>0</c:v>
                      </c:pt>
                      <c:pt idx="1566">
                        <c:v>0</c:v>
                      </c:pt>
                      <c:pt idx="1567">
                        <c:v>0</c:v>
                      </c:pt>
                      <c:pt idx="1568">
                        <c:v>0</c:v>
                      </c:pt>
                      <c:pt idx="1569">
                        <c:v>0</c:v>
                      </c:pt>
                      <c:pt idx="1570">
                        <c:v>0</c:v>
                      </c:pt>
                      <c:pt idx="1571">
                        <c:v>0</c:v>
                      </c:pt>
                      <c:pt idx="1572">
                        <c:v>0</c:v>
                      </c:pt>
                      <c:pt idx="1573">
                        <c:v>0</c:v>
                      </c:pt>
                      <c:pt idx="1574">
                        <c:v>0</c:v>
                      </c:pt>
                      <c:pt idx="1575">
                        <c:v>0</c:v>
                      </c:pt>
                      <c:pt idx="1576">
                        <c:v>0</c:v>
                      </c:pt>
                      <c:pt idx="1577">
                        <c:v>0</c:v>
                      </c:pt>
                      <c:pt idx="1578">
                        <c:v>0</c:v>
                      </c:pt>
                      <c:pt idx="1579">
                        <c:v>0</c:v>
                      </c:pt>
                      <c:pt idx="1580">
                        <c:v>0</c:v>
                      </c:pt>
                      <c:pt idx="1581">
                        <c:v>0</c:v>
                      </c:pt>
                      <c:pt idx="1582">
                        <c:v>0</c:v>
                      </c:pt>
                      <c:pt idx="1583">
                        <c:v>0</c:v>
                      </c:pt>
                      <c:pt idx="1584">
                        <c:v>0</c:v>
                      </c:pt>
                      <c:pt idx="1585">
                        <c:v>0</c:v>
                      </c:pt>
                      <c:pt idx="1586">
                        <c:v>0</c:v>
                      </c:pt>
                      <c:pt idx="1587">
                        <c:v>0</c:v>
                      </c:pt>
                      <c:pt idx="1588">
                        <c:v>0</c:v>
                      </c:pt>
                      <c:pt idx="1589">
                        <c:v>0</c:v>
                      </c:pt>
                      <c:pt idx="1590">
                        <c:v>0</c:v>
                      </c:pt>
                      <c:pt idx="1591">
                        <c:v>0</c:v>
                      </c:pt>
                      <c:pt idx="1592">
                        <c:v>0</c:v>
                      </c:pt>
                      <c:pt idx="1593">
                        <c:v>0</c:v>
                      </c:pt>
                      <c:pt idx="1594">
                        <c:v>0</c:v>
                      </c:pt>
                      <c:pt idx="1595">
                        <c:v>0</c:v>
                      </c:pt>
                      <c:pt idx="1596">
                        <c:v>0</c:v>
                      </c:pt>
                      <c:pt idx="1597">
                        <c:v>0</c:v>
                      </c:pt>
                      <c:pt idx="1598">
                        <c:v>0</c:v>
                      </c:pt>
                      <c:pt idx="1599">
                        <c:v>0</c:v>
                      </c:pt>
                      <c:pt idx="1600">
                        <c:v>0</c:v>
                      </c:pt>
                      <c:pt idx="1601">
                        <c:v>0</c:v>
                      </c:pt>
                      <c:pt idx="1602">
                        <c:v>0</c:v>
                      </c:pt>
                      <c:pt idx="1603">
                        <c:v>0</c:v>
                      </c:pt>
                      <c:pt idx="1604">
                        <c:v>0</c:v>
                      </c:pt>
                      <c:pt idx="1605">
                        <c:v>0</c:v>
                      </c:pt>
                      <c:pt idx="1606">
                        <c:v>0</c:v>
                      </c:pt>
                      <c:pt idx="1607">
                        <c:v>0</c:v>
                      </c:pt>
                      <c:pt idx="1608">
                        <c:v>0</c:v>
                      </c:pt>
                      <c:pt idx="1609">
                        <c:v>0</c:v>
                      </c:pt>
                      <c:pt idx="1610">
                        <c:v>0</c:v>
                      </c:pt>
                      <c:pt idx="1611">
                        <c:v>0</c:v>
                      </c:pt>
                      <c:pt idx="1612">
                        <c:v>0</c:v>
                      </c:pt>
                      <c:pt idx="1613">
                        <c:v>0</c:v>
                      </c:pt>
                      <c:pt idx="1614">
                        <c:v>0</c:v>
                      </c:pt>
                      <c:pt idx="1615">
                        <c:v>0</c:v>
                      </c:pt>
                      <c:pt idx="1616">
                        <c:v>0</c:v>
                      </c:pt>
                      <c:pt idx="1617">
                        <c:v>0</c:v>
                      </c:pt>
                      <c:pt idx="1618">
                        <c:v>0</c:v>
                      </c:pt>
                      <c:pt idx="1619">
                        <c:v>0</c:v>
                      </c:pt>
                      <c:pt idx="1620">
                        <c:v>0</c:v>
                      </c:pt>
                      <c:pt idx="1621">
                        <c:v>0</c:v>
                      </c:pt>
                      <c:pt idx="1622">
                        <c:v>0</c:v>
                      </c:pt>
                      <c:pt idx="1623">
                        <c:v>0</c:v>
                      </c:pt>
                      <c:pt idx="1624">
                        <c:v>0</c:v>
                      </c:pt>
                      <c:pt idx="1625">
                        <c:v>0</c:v>
                      </c:pt>
                      <c:pt idx="1626">
                        <c:v>0</c:v>
                      </c:pt>
                      <c:pt idx="1627">
                        <c:v>0</c:v>
                      </c:pt>
                      <c:pt idx="1628">
                        <c:v>0</c:v>
                      </c:pt>
                      <c:pt idx="1629">
                        <c:v>0</c:v>
                      </c:pt>
                      <c:pt idx="1630">
                        <c:v>0</c:v>
                      </c:pt>
                      <c:pt idx="1631">
                        <c:v>0</c:v>
                      </c:pt>
                      <c:pt idx="1632">
                        <c:v>0</c:v>
                      </c:pt>
                      <c:pt idx="1633">
                        <c:v>0</c:v>
                      </c:pt>
                      <c:pt idx="1634">
                        <c:v>0</c:v>
                      </c:pt>
                      <c:pt idx="1635">
                        <c:v>0</c:v>
                      </c:pt>
                      <c:pt idx="1636">
                        <c:v>0</c:v>
                      </c:pt>
                      <c:pt idx="1637">
                        <c:v>0</c:v>
                      </c:pt>
                      <c:pt idx="1638">
                        <c:v>0</c:v>
                      </c:pt>
                      <c:pt idx="1639">
                        <c:v>0</c:v>
                      </c:pt>
                      <c:pt idx="1640">
                        <c:v>0</c:v>
                      </c:pt>
                      <c:pt idx="1641">
                        <c:v>0</c:v>
                      </c:pt>
                      <c:pt idx="1642">
                        <c:v>0</c:v>
                      </c:pt>
                      <c:pt idx="1643">
                        <c:v>0</c:v>
                      </c:pt>
                      <c:pt idx="1644">
                        <c:v>0</c:v>
                      </c:pt>
                      <c:pt idx="1645">
                        <c:v>0</c:v>
                      </c:pt>
                      <c:pt idx="1646">
                        <c:v>0</c:v>
                      </c:pt>
                      <c:pt idx="1647">
                        <c:v>0</c:v>
                      </c:pt>
                      <c:pt idx="1648">
                        <c:v>0</c:v>
                      </c:pt>
                      <c:pt idx="1649">
                        <c:v>0</c:v>
                      </c:pt>
                      <c:pt idx="1650">
                        <c:v>0</c:v>
                      </c:pt>
                      <c:pt idx="1651">
                        <c:v>0</c:v>
                      </c:pt>
                      <c:pt idx="1652">
                        <c:v>0</c:v>
                      </c:pt>
                      <c:pt idx="1653">
                        <c:v>0</c:v>
                      </c:pt>
                      <c:pt idx="1654">
                        <c:v>0</c:v>
                      </c:pt>
                      <c:pt idx="1655">
                        <c:v>0</c:v>
                      </c:pt>
                      <c:pt idx="1656">
                        <c:v>0</c:v>
                      </c:pt>
                      <c:pt idx="1657">
                        <c:v>0</c:v>
                      </c:pt>
                      <c:pt idx="1658">
                        <c:v>0</c:v>
                      </c:pt>
                      <c:pt idx="1659">
                        <c:v>0</c:v>
                      </c:pt>
                      <c:pt idx="1660">
                        <c:v>0</c:v>
                      </c:pt>
                      <c:pt idx="1661">
                        <c:v>0</c:v>
                      </c:pt>
                      <c:pt idx="1662">
                        <c:v>0</c:v>
                      </c:pt>
                      <c:pt idx="1663">
                        <c:v>0</c:v>
                      </c:pt>
                      <c:pt idx="1664">
                        <c:v>0</c:v>
                      </c:pt>
                      <c:pt idx="1665">
                        <c:v>0</c:v>
                      </c:pt>
                      <c:pt idx="1666">
                        <c:v>0</c:v>
                      </c:pt>
                      <c:pt idx="1667">
                        <c:v>0</c:v>
                      </c:pt>
                      <c:pt idx="1668">
                        <c:v>0</c:v>
                      </c:pt>
                      <c:pt idx="1669">
                        <c:v>0</c:v>
                      </c:pt>
                      <c:pt idx="1670">
                        <c:v>0</c:v>
                      </c:pt>
                      <c:pt idx="1671">
                        <c:v>0</c:v>
                      </c:pt>
                      <c:pt idx="1672">
                        <c:v>0</c:v>
                      </c:pt>
                      <c:pt idx="1673">
                        <c:v>0</c:v>
                      </c:pt>
                      <c:pt idx="1674">
                        <c:v>0</c:v>
                      </c:pt>
                      <c:pt idx="1675">
                        <c:v>0</c:v>
                      </c:pt>
                      <c:pt idx="1676">
                        <c:v>0</c:v>
                      </c:pt>
                      <c:pt idx="1677">
                        <c:v>0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0</c:v>
                      </c:pt>
                      <c:pt idx="1717">
                        <c:v>0</c:v>
                      </c:pt>
                      <c:pt idx="1718">
                        <c:v>0</c:v>
                      </c:pt>
                      <c:pt idx="1719">
                        <c:v>0</c:v>
                      </c:pt>
                      <c:pt idx="1720">
                        <c:v>0</c:v>
                      </c:pt>
                      <c:pt idx="1721">
                        <c:v>0</c:v>
                      </c:pt>
                      <c:pt idx="1722">
                        <c:v>0</c:v>
                      </c:pt>
                      <c:pt idx="1723">
                        <c:v>0</c:v>
                      </c:pt>
                      <c:pt idx="1724">
                        <c:v>0</c:v>
                      </c:pt>
                      <c:pt idx="1725">
                        <c:v>0</c:v>
                      </c:pt>
                      <c:pt idx="1726">
                        <c:v>0</c:v>
                      </c:pt>
                      <c:pt idx="1727">
                        <c:v>0</c:v>
                      </c:pt>
                      <c:pt idx="1728">
                        <c:v>0</c:v>
                      </c:pt>
                      <c:pt idx="1729">
                        <c:v>0</c:v>
                      </c:pt>
                      <c:pt idx="1730">
                        <c:v>0</c:v>
                      </c:pt>
                      <c:pt idx="1731">
                        <c:v>0</c:v>
                      </c:pt>
                      <c:pt idx="1732">
                        <c:v>0</c:v>
                      </c:pt>
                      <c:pt idx="1733">
                        <c:v>0</c:v>
                      </c:pt>
                      <c:pt idx="1734">
                        <c:v>0</c:v>
                      </c:pt>
                      <c:pt idx="1735">
                        <c:v>0</c:v>
                      </c:pt>
                      <c:pt idx="1736">
                        <c:v>0</c:v>
                      </c:pt>
                      <c:pt idx="1737">
                        <c:v>0</c:v>
                      </c:pt>
                      <c:pt idx="1738">
                        <c:v>0</c:v>
                      </c:pt>
                      <c:pt idx="1739">
                        <c:v>0</c:v>
                      </c:pt>
                      <c:pt idx="1740">
                        <c:v>0</c:v>
                      </c:pt>
                      <c:pt idx="1741">
                        <c:v>0</c:v>
                      </c:pt>
                      <c:pt idx="1742">
                        <c:v>0</c:v>
                      </c:pt>
                      <c:pt idx="1743">
                        <c:v>0</c:v>
                      </c:pt>
                      <c:pt idx="1744">
                        <c:v>0</c:v>
                      </c:pt>
                      <c:pt idx="1745">
                        <c:v>0</c:v>
                      </c:pt>
                      <c:pt idx="1746">
                        <c:v>0</c:v>
                      </c:pt>
                      <c:pt idx="1747">
                        <c:v>0</c:v>
                      </c:pt>
                      <c:pt idx="1748">
                        <c:v>0</c:v>
                      </c:pt>
                      <c:pt idx="1749">
                        <c:v>0</c:v>
                      </c:pt>
                      <c:pt idx="1750">
                        <c:v>0</c:v>
                      </c:pt>
                      <c:pt idx="1751">
                        <c:v>0</c:v>
                      </c:pt>
                      <c:pt idx="1752">
                        <c:v>0</c:v>
                      </c:pt>
                      <c:pt idx="1753">
                        <c:v>0</c:v>
                      </c:pt>
                      <c:pt idx="1754">
                        <c:v>0</c:v>
                      </c:pt>
                      <c:pt idx="1755">
                        <c:v>0</c:v>
                      </c:pt>
                      <c:pt idx="1756">
                        <c:v>0</c:v>
                      </c:pt>
                      <c:pt idx="1757">
                        <c:v>0</c:v>
                      </c:pt>
                      <c:pt idx="1758">
                        <c:v>0</c:v>
                      </c:pt>
                      <c:pt idx="1759">
                        <c:v>0</c:v>
                      </c:pt>
                      <c:pt idx="1760">
                        <c:v>0</c:v>
                      </c:pt>
                      <c:pt idx="1761">
                        <c:v>0</c:v>
                      </c:pt>
                      <c:pt idx="1762">
                        <c:v>0</c:v>
                      </c:pt>
                      <c:pt idx="1763">
                        <c:v>0</c:v>
                      </c:pt>
                      <c:pt idx="1764">
                        <c:v>0</c:v>
                      </c:pt>
                      <c:pt idx="1765">
                        <c:v>0</c:v>
                      </c:pt>
                      <c:pt idx="1766">
                        <c:v>0</c:v>
                      </c:pt>
                      <c:pt idx="1767">
                        <c:v>0</c:v>
                      </c:pt>
                      <c:pt idx="1768">
                        <c:v>0</c:v>
                      </c:pt>
                      <c:pt idx="1769">
                        <c:v>0</c:v>
                      </c:pt>
                      <c:pt idx="1770">
                        <c:v>0</c:v>
                      </c:pt>
                      <c:pt idx="1771">
                        <c:v>0</c:v>
                      </c:pt>
                      <c:pt idx="1772">
                        <c:v>0</c:v>
                      </c:pt>
                      <c:pt idx="1773">
                        <c:v>0</c:v>
                      </c:pt>
                      <c:pt idx="1774">
                        <c:v>0</c:v>
                      </c:pt>
                      <c:pt idx="1775">
                        <c:v>0</c:v>
                      </c:pt>
                      <c:pt idx="1776">
                        <c:v>0</c:v>
                      </c:pt>
                      <c:pt idx="1777">
                        <c:v>0</c:v>
                      </c:pt>
                      <c:pt idx="1778">
                        <c:v>0</c:v>
                      </c:pt>
                      <c:pt idx="1779">
                        <c:v>0</c:v>
                      </c:pt>
                      <c:pt idx="1780">
                        <c:v>0</c:v>
                      </c:pt>
                      <c:pt idx="1781">
                        <c:v>0</c:v>
                      </c:pt>
                      <c:pt idx="1782">
                        <c:v>0</c:v>
                      </c:pt>
                      <c:pt idx="1783">
                        <c:v>0</c:v>
                      </c:pt>
                      <c:pt idx="1784">
                        <c:v>0</c:v>
                      </c:pt>
                      <c:pt idx="1785">
                        <c:v>0</c:v>
                      </c:pt>
                      <c:pt idx="1786">
                        <c:v>0</c:v>
                      </c:pt>
                      <c:pt idx="1787">
                        <c:v>0</c:v>
                      </c:pt>
                      <c:pt idx="1788">
                        <c:v>0</c:v>
                      </c:pt>
                      <c:pt idx="1789">
                        <c:v>0</c:v>
                      </c:pt>
                      <c:pt idx="1790">
                        <c:v>0</c:v>
                      </c:pt>
                      <c:pt idx="1791">
                        <c:v>0</c:v>
                      </c:pt>
                      <c:pt idx="1792">
                        <c:v>0</c:v>
                      </c:pt>
                      <c:pt idx="1793">
                        <c:v>0</c:v>
                      </c:pt>
                      <c:pt idx="1794">
                        <c:v>0</c:v>
                      </c:pt>
                      <c:pt idx="1795">
                        <c:v>0</c:v>
                      </c:pt>
                      <c:pt idx="1796">
                        <c:v>0</c:v>
                      </c:pt>
                      <c:pt idx="1797">
                        <c:v>0</c:v>
                      </c:pt>
                      <c:pt idx="1798">
                        <c:v>0</c:v>
                      </c:pt>
                      <c:pt idx="1799">
                        <c:v>0</c:v>
                      </c:pt>
                      <c:pt idx="1800">
                        <c:v>0</c:v>
                      </c:pt>
                      <c:pt idx="1801">
                        <c:v>0</c:v>
                      </c:pt>
                      <c:pt idx="1802">
                        <c:v>0</c:v>
                      </c:pt>
                      <c:pt idx="1803">
                        <c:v>0</c:v>
                      </c:pt>
                      <c:pt idx="1804">
                        <c:v>0</c:v>
                      </c:pt>
                      <c:pt idx="1805">
                        <c:v>0</c:v>
                      </c:pt>
                      <c:pt idx="1806">
                        <c:v>0</c:v>
                      </c:pt>
                      <c:pt idx="1807">
                        <c:v>0</c:v>
                      </c:pt>
                      <c:pt idx="1808">
                        <c:v>0</c:v>
                      </c:pt>
                      <c:pt idx="1809">
                        <c:v>0</c:v>
                      </c:pt>
                      <c:pt idx="1810">
                        <c:v>0</c:v>
                      </c:pt>
                      <c:pt idx="1811">
                        <c:v>0</c:v>
                      </c:pt>
                      <c:pt idx="1812">
                        <c:v>0</c:v>
                      </c:pt>
                      <c:pt idx="1813">
                        <c:v>0</c:v>
                      </c:pt>
                      <c:pt idx="1814">
                        <c:v>0</c:v>
                      </c:pt>
                      <c:pt idx="1815">
                        <c:v>0</c:v>
                      </c:pt>
                      <c:pt idx="1816">
                        <c:v>0</c:v>
                      </c:pt>
                      <c:pt idx="1817">
                        <c:v>0</c:v>
                      </c:pt>
                      <c:pt idx="1818">
                        <c:v>0</c:v>
                      </c:pt>
                      <c:pt idx="1819">
                        <c:v>0</c:v>
                      </c:pt>
                      <c:pt idx="1820">
                        <c:v>0</c:v>
                      </c:pt>
                      <c:pt idx="1821">
                        <c:v>0</c:v>
                      </c:pt>
                      <c:pt idx="1822">
                        <c:v>0</c:v>
                      </c:pt>
                      <c:pt idx="1823">
                        <c:v>0</c:v>
                      </c:pt>
                      <c:pt idx="1824">
                        <c:v>0</c:v>
                      </c:pt>
                      <c:pt idx="1825">
                        <c:v>0</c:v>
                      </c:pt>
                      <c:pt idx="1826">
                        <c:v>0</c:v>
                      </c:pt>
                      <c:pt idx="1827">
                        <c:v>0</c:v>
                      </c:pt>
                      <c:pt idx="1828">
                        <c:v>0</c:v>
                      </c:pt>
                      <c:pt idx="1829">
                        <c:v>0</c:v>
                      </c:pt>
                      <c:pt idx="1830">
                        <c:v>0</c:v>
                      </c:pt>
                      <c:pt idx="1831">
                        <c:v>0</c:v>
                      </c:pt>
                      <c:pt idx="1832">
                        <c:v>0</c:v>
                      </c:pt>
                      <c:pt idx="1833">
                        <c:v>0</c:v>
                      </c:pt>
                      <c:pt idx="1834">
                        <c:v>0</c:v>
                      </c:pt>
                      <c:pt idx="1835">
                        <c:v>0</c:v>
                      </c:pt>
                      <c:pt idx="1836">
                        <c:v>0</c:v>
                      </c:pt>
                      <c:pt idx="1837">
                        <c:v>0</c:v>
                      </c:pt>
                      <c:pt idx="1838">
                        <c:v>0</c:v>
                      </c:pt>
                      <c:pt idx="1839">
                        <c:v>0</c:v>
                      </c:pt>
                      <c:pt idx="1840">
                        <c:v>0</c:v>
                      </c:pt>
                      <c:pt idx="1841">
                        <c:v>0</c:v>
                      </c:pt>
                      <c:pt idx="1842">
                        <c:v>0</c:v>
                      </c:pt>
                      <c:pt idx="1843">
                        <c:v>0</c:v>
                      </c:pt>
                      <c:pt idx="1844">
                        <c:v>0</c:v>
                      </c:pt>
                      <c:pt idx="1845">
                        <c:v>0</c:v>
                      </c:pt>
                      <c:pt idx="1846">
                        <c:v>0</c:v>
                      </c:pt>
                      <c:pt idx="1847">
                        <c:v>0</c:v>
                      </c:pt>
                      <c:pt idx="1848">
                        <c:v>0</c:v>
                      </c:pt>
                      <c:pt idx="1849">
                        <c:v>0</c:v>
                      </c:pt>
                      <c:pt idx="1850">
                        <c:v>0</c:v>
                      </c:pt>
                      <c:pt idx="1851">
                        <c:v>0</c:v>
                      </c:pt>
                      <c:pt idx="1852">
                        <c:v>0</c:v>
                      </c:pt>
                      <c:pt idx="1853">
                        <c:v>0</c:v>
                      </c:pt>
                      <c:pt idx="1854">
                        <c:v>0</c:v>
                      </c:pt>
                      <c:pt idx="1855">
                        <c:v>0</c:v>
                      </c:pt>
                      <c:pt idx="1856">
                        <c:v>0</c:v>
                      </c:pt>
                      <c:pt idx="1857">
                        <c:v>0</c:v>
                      </c:pt>
                      <c:pt idx="1858">
                        <c:v>0</c:v>
                      </c:pt>
                      <c:pt idx="1859">
                        <c:v>0</c:v>
                      </c:pt>
                      <c:pt idx="1860">
                        <c:v>0</c:v>
                      </c:pt>
                      <c:pt idx="1861">
                        <c:v>0</c:v>
                      </c:pt>
                      <c:pt idx="1862">
                        <c:v>0</c:v>
                      </c:pt>
                      <c:pt idx="1863">
                        <c:v>0</c:v>
                      </c:pt>
                      <c:pt idx="1864">
                        <c:v>0</c:v>
                      </c:pt>
                      <c:pt idx="1865">
                        <c:v>0</c:v>
                      </c:pt>
                      <c:pt idx="1866">
                        <c:v>0</c:v>
                      </c:pt>
                      <c:pt idx="1867">
                        <c:v>0</c:v>
                      </c:pt>
                      <c:pt idx="1868">
                        <c:v>0</c:v>
                      </c:pt>
                      <c:pt idx="1869">
                        <c:v>0</c:v>
                      </c:pt>
                      <c:pt idx="1870">
                        <c:v>0</c:v>
                      </c:pt>
                      <c:pt idx="1871">
                        <c:v>0</c:v>
                      </c:pt>
                      <c:pt idx="1872">
                        <c:v>0</c:v>
                      </c:pt>
                      <c:pt idx="1873">
                        <c:v>0</c:v>
                      </c:pt>
                      <c:pt idx="1874">
                        <c:v>0</c:v>
                      </c:pt>
                      <c:pt idx="1875">
                        <c:v>0</c:v>
                      </c:pt>
                      <c:pt idx="1876">
                        <c:v>0</c:v>
                      </c:pt>
                      <c:pt idx="1877">
                        <c:v>0</c:v>
                      </c:pt>
                      <c:pt idx="1878">
                        <c:v>0</c:v>
                      </c:pt>
                      <c:pt idx="1879">
                        <c:v>0</c:v>
                      </c:pt>
                      <c:pt idx="1880">
                        <c:v>0</c:v>
                      </c:pt>
                      <c:pt idx="1881">
                        <c:v>0</c:v>
                      </c:pt>
                      <c:pt idx="1882">
                        <c:v>0</c:v>
                      </c:pt>
                      <c:pt idx="1883">
                        <c:v>0</c:v>
                      </c:pt>
                      <c:pt idx="1884">
                        <c:v>0</c:v>
                      </c:pt>
                      <c:pt idx="1885">
                        <c:v>0</c:v>
                      </c:pt>
                      <c:pt idx="1886">
                        <c:v>0</c:v>
                      </c:pt>
                      <c:pt idx="1887">
                        <c:v>0</c:v>
                      </c:pt>
                      <c:pt idx="1888">
                        <c:v>0</c:v>
                      </c:pt>
                      <c:pt idx="1889">
                        <c:v>0</c:v>
                      </c:pt>
                      <c:pt idx="1890">
                        <c:v>0</c:v>
                      </c:pt>
                      <c:pt idx="1891">
                        <c:v>0</c:v>
                      </c:pt>
                      <c:pt idx="1892">
                        <c:v>0</c:v>
                      </c:pt>
                      <c:pt idx="1893">
                        <c:v>0</c:v>
                      </c:pt>
                      <c:pt idx="1894">
                        <c:v>0</c:v>
                      </c:pt>
                      <c:pt idx="1895">
                        <c:v>0</c:v>
                      </c:pt>
                      <c:pt idx="1896">
                        <c:v>0</c:v>
                      </c:pt>
                      <c:pt idx="1897">
                        <c:v>0</c:v>
                      </c:pt>
                      <c:pt idx="1898">
                        <c:v>0</c:v>
                      </c:pt>
                      <c:pt idx="1899">
                        <c:v>0</c:v>
                      </c:pt>
                      <c:pt idx="1900">
                        <c:v>0</c:v>
                      </c:pt>
                      <c:pt idx="1901">
                        <c:v>0</c:v>
                      </c:pt>
                      <c:pt idx="1902">
                        <c:v>0</c:v>
                      </c:pt>
                      <c:pt idx="1903">
                        <c:v>0</c:v>
                      </c:pt>
                      <c:pt idx="1904">
                        <c:v>0</c:v>
                      </c:pt>
                      <c:pt idx="1905">
                        <c:v>0</c:v>
                      </c:pt>
                      <c:pt idx="1906">
                        <c:v>0</c:v>
                      </c:pt>
                      <c:pt idx="1907">
                        <c:v>0</c:v>
                      </c:pt>
                      <c:pt idx="1908">
                        <c:v>0</c:v>
                      </c:pt>
                      <c:pt idx="1909">
                        <c:v>0</c:v>
                      </c:pt>
                      <c:pt idx="1910">
                        <c:v>0</c:v>
                      </c:pt>
                      <c:pt idx="1911">
                        <c:v>0</c:v>
                      </c:pt>
                      <c:pt idx="1912">
                        <c:v>0</c:v>
                      </c:pt>
                      <c:pt idx="1913">
                        <c:v>0</c:v>
                      </c:pt>
                      <c:pt idx="1914">
                        <c:v>0</c:v>
                      </c:pt>
                      <c:pt idx="1915">
                        <c:v>0</c:v>
                      </c:pt>
                      <c:pt idx="1916">
                        <c:v>0</c:v>
                      </c:pt>
                      <c:pt idx="1917">
                        <c:v>0</c:v>
                      </c:pt>
                      <c:pt idx="1918">
                        <c:v>0</c:v>
                      </c:pt>
                      <c:pt idx="1919">
                        <c:v>0</c:v>
                      </c:pt>
                      <c:pt idx="1920">
                        <c:v>0</c:v>
                      </c:pt>
                      <c:pt idx="1921">
                        <c:v>0</c:v>
                      </c:pt>
                      <c:pt idx="1922">
                        <c:v>0</c:v>
                      </c:pt>
                      <c:pt idx="1923">
                        <c:v>0</c:v>
                      </c:pt>
                      <c:pt idx="1924">
                        <c:v>0</c:v>
                      </c:pt>
                      <c:pt idx="1925">
                        <c:v>0</c:v>
                      </c:pt>
                      <c:pt idx="1926">
                        <c:v>0</c:v>
                      </c:pt>
                      <c:pt idx="1927">
                        <c:v>0</c:v>
                      </c:pt>
                      <c:pt idx="1928">
                        <c:v>0</c:v>
                      </c:pt>
                      <c:pt idx="1929">
                        <c:v>0</c:v>
                      </c:pt>
                      <c:pt idx="1930">
                        <c:v>0</c:v>
                      </c:pt>
                      <c:pt idx="1931">
                        <c:v>0</c:v>
                      </c:pt>
                      <c:pt idx="1932">
                        <c:v>0</c:v>
                      </c:pt>
                      <c:pt idx="1933">
                        <c:v>0</c:v>
                      </c:pt>
                      <c:pt idx="1934">
                        <c:v>0</c:v>
                      </c:pt>
                      <c:pt idx="1935">
                        <c:v>0</c:v>
                      </c:pt>
                      <c:pt idx="1936">
                        <c:v>0</c:v>
                      </c:pt>
                      <c:pt idx="1937">
                        <c:v>0</c:v>
                      </c:pt>
                      <c:pt idx="1938">
                        <c:v>0</c:v>
                      </c:pt>
                      <c:pt idx="1939">
                        <c:v>0</c:v>
                      </c:pt>
                      <c:pt idx="1940">
                        <c:v>0</c:v>
                      </c:pt>
                      <c:pt idx="1941">
                        <c:v>0</c:v>
                      </c:pt>
                      <c:pt idx="1942">
                        <c:v>0</c:v>
                      </c:pt>
                      <c:pt idx="1943">
                        <c:v>0</c:v>
                      </c:pt>
                      <c:pt idx="1944">
                        <c:v>0</c:v>
                      </c:pt>
                      <c:pt idx="1945">
                        <c:v>0</c:v>
                      </c:pt>
                      <c:pt idx="1946">
                        <c:v>0</c:v>
                      </c:pt>
                      <c:pt idx="1947">
                        <c:v>0</c:v>
                      </c:pt>
                      <c:pt idx="1948">
                        <c:v>0</c:v>
                      </c:pt>
                      <c:pt idx="1949">
                        <c:v>0</c:v>
                      </c:pt>
                      <c:pt idx="1950">
                        <c:v>0</c:v>
                      </c:pt>
                      <c:pt idx="1951">
                        <c:v>0</c:v>
                      </c:pt>
                      <c:pt idx="1952">
                        <c:v>0</c:v>
                      </c:pt>
                      <c:pt idx="1953">
                        <c:v>0</c:v>
                      </c:pt>
                      <c:pt idx="1954">
                        <c:v>0</c:v>
                      </c:pt>
                      <c:pt idx="1955">
                        <c:v>0</c:v>
                      </c:pt>
                      <c:pt idx="1956">
                        <c:v>0</c:v>
                      </c:pt>
                      <c:pt idx="1957">
                        <c:v>0</c:v>
                      </c:pt>
                      <c:pt idx="1958">
                        <c:v>0</c:v>
                      </c:pt>
                      <c:pt idx="1959">
                        <c:v>0</c:v>
                      </c:pt>
                      <c:pt idx="1960">
                        <c:v>0</c:v>
                      </c:pt>
                      <c:pt idx="1961">
                        <c:v>0</c:v>
                      </c:pt>
                      <c:pt idx="1962">
                        <c:v>0</c:v>
                      </c:pt>
                      <c:pt idx="1963">
                        <c:v>0</c:v>
                      </c:pt>
                      <c:pt idx="1964">
                        <c:v>0</c:v>
                      </c:pt>
                      <c:pt idx="1965">
                        <c:v>0</c:v>
                      </c:pt>
                      <c:pt idx="1966">
                        <c:v>0</c:v>
                      </c:pt>
                      <c:pt idx="1967">
                        <c:v>0</c:v>
                      </c:pt>
                      <c:pt idx="1968">
                        <c:v>0</c:v>
                      </c:pt>
                      <c:pt idx="1969">
                        <c:v>0</c:v>
                      </c:pt>
                      <c:pt idx="1970">
                        <c:v>0</c:v>
                      </c:pt>
                      <c:pt idx="1971">
                        <c:v>0</c:v>
                      </c:pt>
                      <c:pt idx="1972">
                        <c:v>0</c:v>
                      </c:pt>
                      <c:pt idx="1973">
                        <c:v>0</c:v>
                      </c:pt>
                      <c:pt idx="1974">
                        <c:v>0</c:v>
                      </c:pt>
                      <c:pt idx="1975">
                        <c:v>0</c:v>
                      </c:pt>
                      <c:pt idx="1976">
                        <c:v>0</c:v>
                      </c:pt>
                      <c:pt idx="1977">
                        <c:v>0</c:v>
                      </c:pt>
                      <c:pt idx="1978">
                        <c:v>0</c:v>
                      </c:pt>
                      <c:pt idx="1979">
                        <c:v>0</c:v>
                      </c:pt>
                      <c:pt idx="1980">
                        <c:v>0</c:v>
                      </c:pt>
                      <c:pt idx="1981">
                        <c:v>0</c:v>
                      </c:pt>
                      <c:pt idx="1982">
                        <c:v>0</c:v>
                      </c:pt>
                      <c:pt idx="1983">
                        <c:v>0</c:v>
                      </c:pt>
                      <c:pt idx="1984">
                        <c:v>0</c:v>
                      </c:pt>
                      <c:pt idx="1985">
                        <c:v>0</c:v>
                      </c:pt>
                      <c:pt idx="1986">
                        <c:v>0</c:v>
                      </c:pt>
                      <c:pt idx="1987">
                        <c:v>0</c:v>
                      </c:pt>
                      <c:pt idx="1988">
                        <c:v>0</c:v>
                      </c:pt>
                      <c:pt idx="1989">
                        <c:v>0</c:v>
                      </c:pt>
                      <c:pt idx="1990">
                        <c:v>0</c:v>
                      </c:pt>
                      <c:pt idx="1991">
                        <c:v>0</c:v>
                      </c:pt>
                      <c:pt idx="1992">
                        <c:v>0</c:v>
                      </c:pt>
                      <c:pt idx="1993">
                        <c:v>0</c:v>
                      </c:pt>
                      <c:pt idx="1994">
                        <c:v>0</c:v>
                      </c:pt>
                      <c:pt idx="1995">
                        <c:v>0</c:v>
                      </c:pt>
                      <c:pt idx="1996">
                        <c:v>0</c:v>
                      </c:pt>
                      <c:pt idx="1997">
                        <c:v>0</c:v>
                      </c:pt>
                      <c:pt idx="1998">
                        <c:v>0</c:v>
                      </c:pt>
                      <c:pt idx="1999">
                        <c:v>0</c:v>
                      </c:pt>
                      <c:pt idx="2000">
                        <c:v>0</c:v>
                      </c:pt>
                      <c:pt idx="2001">
                        <c:v>0</c:v>
                      </c:pt>
                      <c:pt idx="2002">
                        <c:v>0</c:v>
                      </c:pt>
                      <c:pt idx="2003">
                        <c:v>0</c:v>
                      </c:pt>
                      <c:pt idx="2004">
                        <c:v>0</c:v>
                      </c:pt>
                      <c:pt idx="2005">
                        <c:v>0</c:v>
                      </c:pt>
                      <c:pt idx="2006">
                        <c:v>0</c:v>
                      </c:pt>
                      <c:pt idx="2007">
                        <c:v>0</c:v>
                      </c:pt>
                      <c:pt idx="2008">
                        <c:v>0</c:v>
                      </c:pt>
                      <c:pt idx="2009">
                        <c:v>0</c:v>
                      </c:pt>
                      <c:pt idx="2010">
                        <c:v>0</c:v>
                      </c:pt>
                      <c:pt idx="2011">
                        <c:v>0</c:v>
                      </c:pt>
                      <c:pt idx="2012">
                        <c:v>0</c:v>
                      </c:pt>
                      <c:pt idx="2013">
                        <c:v>0</c:v>
                      </c:pt>
                      <c:pt idx="2014">
                        <c:v>0</c:v>
                      </c:pt>
                      <c:pt idx="2015">
                        <c:v>0</c:v>
                      </c:pt>
                      <c:pt idx="2016">
                        <c:v>0</c:v>
                      </c:pt>
                      <c:pt idx="2017">
                        <c:v>0</c:v>
                      </c:pt>
                      <c:pt idx="2018">
                        <c:v>0</c:v>
                      </c:pt>
                      <c:pt idx="2019">
                        <c:v>0</c:v>
                      </c:pt>
                      <c:pt idx="2020">
                        <c:v>0</c:v>
                      </c:pt>
                      <c:pt idx="2021">
                        <c:v>0</c:v>
                      </c:pt>
                      <c:pt idx="2022">
                        <c:v>0</c:v>
                      </c:pt>
                      <c:pt idx="2023">
                        <c:v>0</c:v>
                      </c:pt>
                      <c:pt idx="2024">
                        <c:v>0</c:v>
                      </c:pt>
                      <c:pt idx="2025">
                        <c:v>0</c:v>
                      </c:pt>
                      <c:pt idx="2026">
                        <c:v>0</c:v>
                      </c:pt>
                      <c:pt idx="2027">
                        <c:v>0</c:v>
                      </c:pt>
                      <c:pt idx="2028">
                        <c:v>0</c:v>
                      </c:pt>
                      <c:pt idx="2029">
                        <c:v>0</c:v>
                      </c:pt>
                      <c:pt idx="2030">
                        <c:v>0</c:v>
                      </c:pt>
                      <c:pt idx="2031">
                        <c:v>0</c:v>
                      </c:pt>
                      <c:pt idx="2032">
                        <c:v>0</c:v>
                      </c:pt>
                      <c:pt idx="2033">
                        <c:v>0</c:v>
                      </c:pt>
                      <c:pt idx="2034">
                        <c:v>0</c:v>
                      </c:pt>
                      <c:pt idx="2035">
                        <c:v>0</c:v>
                      </c:pt>
                      <c:pt idx="2036">
                        <c:v>0</c:v>
                      </c:pt>
                      <c:pt idx="2037">
                        <c:v>0</c:v>
                      </c:pt>
                      <c:pt idx="2038">
                        <c:v>0</c:v>
                      </c:pt>
                      <c:pt idx="2039">
                        <c:v>0</c:v>
                      </c:pt>
                      <c:pt idx="2040">
                        <c:v>0</c:v>
                      </c:pt>
                      <c:pt idx="2041">
                        <c:v>0</c:v>
                      </c:pt>
                      <c:pt idx="2042">
                        <c:v>0</c:v>
                      </c:pt>
                      <c:pt idx="2043">
                        <c:v>0</c:v>
                      </c:pt>
                      <c:pt idx="2044">
                        <c:v>0</c:v>
                      </c:pt>
                      <c:pt idx="2045">
                        <c:v>0</c:v>
                      </c:pt>
                      <c:pt idx="2046">
                        <c:v>0</c:v>
                      </c:pt>
                      <c:pt idx="2047">
                        <c:v>0</c:v>
                      </c:pt>
                      <c:pt idx="2048">
                        <c:v>0</c:v>
                      </c:pt>
                      <c:pt idx="2049">
                        <c:v>0</c:v>
                      </c:pt>
                      <c:pt idx="2050">
                        <c:v>0</c:v>
                      </c:pt>
                      <c:pt idx="2051">
                        <c:v>0</c:v>
                      </c:pt>
                      <c:pt idx="2052">
                        <c:v>0</c:v>
                      </c:pt>
                      <c:pt idx="2053">
                        <c:v>0</c:v>
                      </c:pt>
                      <c:pt idx="2054">
                        <c:v>0</c:v>
                      </c:pt>
                      <c:pt idx="2055">
                        <c:v>0</c:v>
                      </c:pt>
                      <c:pt idx="2056">
                        <c:v>0</c:v>
                      </c:pt>
                      <c:pt idx="2057">
                        <c:v>0</c:v>
                      </c:pt>
                      <c:pt idx="2058">
                        <c:v>0</c:v>
                      </c:pt>
                      <c:pt idx="2059">
                        <c:v>0</c:v>
                      </c:pt>
                      <c:pt idx="2060">
                        <c:v>0</c:v>
                      </c:pt>
                      <c:pt idx="2061">
                        <c:v>0</c:v>
                      </c:pt>
                      <c:pt idx="2062">
                        <c:v>0</c:v>
                      </c:pt>
                      <c:pt idx="2063">
                        <c:v>0</c:v>
                      </c:pt>
                      <c:pt idx="2064">
                        <c:v>0</c:v>
                      </c:pt>
                      <c:pt idx="2065">
                        <c:v>0</c:v>
                      </c:pt>
                      <c:pt idx="2066">
                        <c:v>0</c:v>
                      </c:pt>
                      <c:pt idx="2067">
                        <c:v>0</c:v>
                      </c:pt>
                      <c:pt idx="2068">
                        <c:v>0</c:v>
                      </c:pt>
                      <c:pt idx="2069">
                        <c:v>0</c:v>
                      </c:pt>
                      <c:pt idx="2070">
                        <c:v>0</c:v>
                      </c:pt>
                      <c:pt idx="2071">
                        <c:v>0</c:v>
                      </c:pt>
                      <c:pt idx="2072">
                        <c:v>0</c:v>
                      </c:pt>
                      <c:pt idx="2073">
                        <c:v>0</c:v>
                      </c:pt>
                      <c:pt idx="2074">
                        <c:v>0</c:v>
                      </c:pt>
                      <c:pt idx="2075">
                        <c:v>0</c:v>
                      </c:pt>
                      <c:pt idx="2076">
                        <c:v>0</c:v>
                      </c:pt>
                      <c:pt idx="2077">
                        <c:v>0</c:v>
                      </c:pt>
                      <c:pt idx="2078">
                        <c:v>0</c:v>
                      </c:pt>
                      <c:pt idx="2079">
                        <c:v>0</c:v>
                      </c:pt>
                      <c:pt idx="2080">
                        <c:v>0</c:v>
                      </c:pt>
                      <c:pt idx="2081">
                        <c:v>0</c:v>
                      </c:pt>
                      <c:pt idx="2082">
                        <c:v>0</c:v>
                      </c:pt>
                      <c:pt idx="2083">
                        <c:v>0</c:v>
                      </c:pt>
                      <c:pt idx="2084">
                        <c:v>0</c:v>
                      </c:pt>
                      <c:pt idx="2085">
                        <c:v>0</c:v>
                      </c:pt>
                      <c:pt idx="2086">
                        <c:v>0</c:v>
                      </c:pt>
                      <c:pt idx="2087">
                        <c:v>0</c:v>
                      </c:pt>
                      <c:pt idx="2088">
                        <c:v>0</c:v>
                      </c:pt>
                      <c:pt idx="2089">
                        <c:v>0</c:v>
                      </c:pt>
                      <c:pt idx="2090">
                        <c:v>0</c:v>
                      </c:pt>
                      <c:pt idx="2091">
                        <c:v>0</c:v>
                      </c:pt>
                      <c:pt idx="2092">
                        <c:v>0</c:v>
                      </c:pt>
                      <c:pt idx="2093">
                        <c:v>0</c:v>
                      </c:pt>
                      <c:pt idx="2094">
                        <c:v>0</c:v>
                      </c:pt>
                      <c:pt idx="2095">
                        <c:v>0</c:v>
                      </c:pt>
                      <c:pt idx="2096">
                        <c:v>0</c:v>
                      </c:pt>
                      <c:pt idx="2097">
                        <c:v>0</c:v>
                      </c:pt>
                      <c:pt idx="2098">
                        <c:v>0</c:v>
                      </c:pt>
                      <c:pt idx="2099">
                        <c:v>0</c:v>
                      </c:pt>
                      <c:pt idx="2100">
                        <c:v>0</c:v>
                      </c:pt>
                      <c:pt idx="2101">
                        <c:v>0</c:v>
                      </c:pt>
                      <c:pt idx="2102">
                        <c:v>0</c:v>
                      </c:pt>
                      <c:pt idx="2103">
                        <c:v>0</c:v>
                      </c:pt>
                      <c:pt idx="2104">
                        <c:v>0</c:v>
                      </c:pt>
                      <c:pt idx="2105">
                        <c:v>0</c:v>
                      </c:pt>
                      <c:pt idx="2106">
                        <c:v>0</c:v>
                      </c:pt>
                      <c:pt idx="2107">
                        <c:v>0</c:v>
                      </c:pt>
                      <c:pt idx="2108">
                        <c:v>0</c:v>
                      </c:pt>
                      <c:pt idx="2109">
                        <c:v>0</c:v>
                      </c:pt>
                      <c:pt idx="2110">
                        <c:v>0</c:v>
                      </c:pt>
                      <c:pt idx="2111">
                        <c:v>0</c:v>
                      </c:pt>
                      <c:pt idx="2112">
                        <c:v>0</c:v>
                      </c:pt>
                      <c:pt idx="2113">
                        <c:v>0</c:v>
                      </c:pt>
                      <c:pt idx="2114">
                        <c:v>0</c:v>
                      </c:pt>
                      <c:pt idx="2115">
                        <c:v>0</c:v>
                      </c:pt>
                      <c:pt idx="2116">
                        <c:v>0</c:v>
                      </c:pt>
                      <c:pt idx="2117">
                        <c:v>0</c:v>
                      </c:pt>
                      <c:pt idx="2118">
                        <c:v>0</c:v>
                      </c:pt>
                      <c:pt idx="2119">
                        <c:v>0</c:v>
                      </c:pt>
                      <c:pt idx="2120">
                        <c:v>0</c:v>
                      </c:pt>
                      <c:pt idx="2121">
                        <c:v>0</c:v>
                      </c:pt>
                      <c:pt idx="2122">
                        <c:v>0</c:v>
                      </c:pt>
                      <c:pt idx="2123">
                        <c:v>0</c:v>
                      </c:pt>
                      <c:pt idx="2124">
                        <c:v>0</c:v>
                      </c:pt>
                      <c:pt idx="2125">
                        <c:v>0</c:v>
                      </c:pt>
                      <c:pt idx="2126">
                        <c:v>0</c:v>
                      </c:pt>
                      <c:pt idx="2127">
                        <c:v>0</c:v>
                      </c:pt>
                      <c:pt idx="2128">
                        <c:v>0</c:v>
                      </c:pt>
                      <c:pt idx="2129">
                        <c:v>0</c:v>
                      </c:pt>
                      <c:pt idx="2130">
                        <c:v>0</c:v>
                      </c:pt>
                      <c:pt idx="2131">
                        <c:v>0</c:v>
                      </c:pt>
                      <c:pt idx="2132">
                        <c:v>0</c:v>
                      </c:pt>
                      <c:pt idx="2133">
                        <c:v>0</c:v>
                      </c:pt>
                      <c:pt idx="2134">
                        <c:v>0</c:v>
                      </c:pt>
                      <c:pt idx="2135">
                        <c:v>0</c:v>
                      </c:pt>
                      <c:pt idx="2136">
                        <c:v>0</c:v>
                      </c:pt>
                      <c:pt idx="2137">
                        <c:v>0</c:v>
                      </c:pt>
                      <c:pt idx="2138">
                        <c:v>0</c:v>
                      </c:pt>
                      <c:pt idx="2139">
                        <c:v>0</c:v>
                      </c:pt>
                      <c:pt idx="2140">
                        <c:v>0</c:v>
                      </c:pt>
                      <c:pt idx="2141">
                        <c:v>0</c:v>
                      </c:pt>
                      <c:pt idx="2142">
                        <c:v>0</c:v>
                      </c:pt>
                      <c:pt idx="2143">
                        <c:v>0</c:v>
                      </c:pt>
                      <c:pt idx="2144">
                        <c:v>0</c:v>
                      </c:pt>
                      <c:pt idx="2145">
                        <c:v>0</c:v>
                      </c:pt>
                      <c:pt idx="2146">
                        <c:v>0</c:v>
                      </c:pt>
                      <c:pt idx="2147">
                        <c:v>0</c:v>
                      </c:pt>
                      <c:pt idx="2148">
                        <c:v>0</c:v>
                      </c:pt>
                      <c:pt idx="2149">
                        <c:v>0</c:v>
                      </c:pt>
                      <c:pt idx="2150">
                        <c:v>0</c:v>
                      </c:pt>
                      <c:pt idx="2151">
                        <c:v>0</c:v>
                      </c:pt>
                      <c:pt idx="2152">
                        <c:v>0</c:v>
                      </c:pt>
                      <c:pt idx="2153">
                        <c:v>0</c:v>
                      </c:pt>
                      <c:pt idx="2154">
                        <c:v>0</c:v>
                      </c:pt>
                      <c:pt idx="2155">
                        <c:v>0</c:v>
                      </c:pt>
                      <c:pt idx="2156">
                        <c:v>0</c:v>
                      </c:pt>
                      <c:pt idx="2157">
                        <c:v>0</c:v>
                      </c:pt>
                      <c:pt idx="2158">
                        <c:v>0</c:v>
                      </c:pt>
                      <c:pt idx="2159">
                        <c:v>0</c:v>
                      </c:pt>
                      <c:pt idx="2160">
                        <c:v>0</c:v>
                      </c:pt>
                      <c:pt idx="2161">
                        <c:v>0</c:v>
                      </c:pt>
                      <c:pt idx="2162">
                        <c:v>0</c:v>
                      </c:pt>
                      <c:pt idx="2163">
                        <c:v>0</c:v>
                      </c:pt>
                      <c:pt idx="2164">
                        <c:v>0</c:v>
                      </c:pt>
                      <c:pt idx="2165">
                        <c:v>0</c:v>
                      </c:pt>
                      <c:pt idx="2166">
                        <c:v>0</c:v>
                      </c:pt>
                      <c:pt idx="2167">
                        <c:v>0</c:v>
                      </c:pt>
                      <c:pt idx="2168">
                        <c:v>0</c:v>
                      </c:pt>
                      <c:pt idx="2169">
                        <c:v>0</c:v>
                      </c:pt>
                      <c:pt idx="2170">
                        <c:v>0</c:v>
                      </c:pt>
                      <c:pt idx="2171">
                        <c:v>0</c:v>
                      </c:pt>
                      <c:pt idx="2172">
                        <c:v>0</c:v>
                      </c:pt>
                      <c:pt idx="2173">
                        <c:v>0</c:v>
                      </c:pt>
                      <c:pt idx="2174">
                        <c:v>0</c:v>
                      </c:pt>
                      <c:pt idx="2175">
                        <c:v>0</c:v>
                      </c:pt>
                      <c:pt idx="2176">
                        <c:v>0</c:v>
                      </c:pt>
                      <c:pt idx="2177">
                        <c:v>0</c:v>
                      </c:pt>
                      <c:pt idx="2178">
                        <c:v>0</c:v>
                      </c:pt>
                      <c:pt idx="2179">
                        <c:v>0</c:v>
                      </c:pt>
                      <c:pt idx="2180">
                        <c:v>0</c:v>
                      </c:pt>
                      <c:pt idx="2181">
                        <c:v>0</c:v>
                      </c:pt>
                      <c:pt idx="2182">
                        <c:v>0</c:v>
                      </c:pt>
                      <c:pt idx="2183">
                        <c:v>0</c:v>
                      </c:pt>
                      <c:pt idx="2184">
                        <c:v>0</c:v>
                      </c:pt>
                      <c:pt idx="2185">
                        <c:v>0</c:v>
                      </c:pt>
                      <c:pt idx="2186">
                        <c:v>0</c:v>
                      </c:pt>
                      <c:pt idx="2187">
                        <c:v>0</c:v>
                      </c:pt>
                      <c:pt idx="2188">
                        <c:v>0</c:v>
                      </c:pt>
                      <c:pt idx="2189">
                        <c:v>0</c:v>
                      </c:pt>
                      <c:pt idx="2190">
                        <c:v>0</c:v>
                      </c:pt>
                      <c:pt idx="2191">
                        <c:v>0</c:v>
                      </c:pt>
                      <c:pt idx="2192">
                        <c:v>0</c:v>
                      </c:pt>
                      <c:pt idx="2193">
                        <c:v>0</c:v>
                      </c:pt>
                      <c:pt idx="2194">
                        <c:v>0</c:v>
                      </c:pt>
                      <c:pt idx="2195">
                        <c:v>0</c:v>
                      </c:pt>
                      <c:pt idx="2196">
                        <c:v>0</c:v>
                      </c:pt>
                      <c:pt idx="2197">
                        <c:v>0</c:v>
                      </c:pt>
                      <c:pt idx="2198">
                        <c:v>0</c:v>
                      </c:pt>
                      <c:pt idx="2199">
                        <c:v>0</c:v>
                      </c:pt>
                      <c:pt idx="2200">
                        <c:v>0</c:v>
                      </c:pt>
                      <c:pt idx="2201">
                        <c:v>0</c:v>
                      </c:pt>
                      <c:pt idx="2202">
                        <c:v>0</c:v>
                      </c:pt>
                      <c:pt idx="2203">
                        <c:v>0</c:v>
                      </c:pt>
                      <c:pt idx="2204">
                        <c:v>0</c:v>
                      </c:pt>
                      <c:pt idx="2205">
                        <c:v>0</c:v>
                      </c:pt>
                      <c:pt idx="2206">
                        <c:v>0</c:v>
                      </c:pt>
                      <c:pt idx="2207">
                        <c:v>0</c:v>
                      </c:pt>
                      <c:pt idx="2208">
                        <c:v>0</c:v>
                      </c:pt>
                      <c:pt idx="2209">
                        <c:v>0</c:v>
                      </c:pt>
                      <c:pt idx="2210">
                        <c:v>0</c:v>
                      </c:pt>
                      <c:pt idx="2211">
                        <c:v>0</c:v>
                      </c:pt>
                      <c:pt idx="2212">
                        <c:v>0</c:v>
                      </c:pt>
                      <c:pt idx="2213">
                        <c:v>0</c:v>
                      </c:pt>
                      <c:pt idx="2214">
                        <c:v>0</c:v>
                      </c:pt>
                      <c:pt idx="2215">
                        <c:v>0</c:v>
                      </c:pt>
                      <c:pt idx="2216">
                        <c:v>0</c:v>
                      </c:pt>
                      <c:pt idx="2217">
                        <c:v>0</c:v>
                      </c:pt>
                      <c:pt idx="2218">
                        <c:v>0</c:v>
                      </c:pt>
                      <c:pt idx="2219">
                        <c:v>0</c:v>
                      </c:pt>
                      <c:pt idx="2220">
                        <c:v>0</c:v>
                      </c:pt>
                      <c:pt idx="2221">
                        <c:v>0</c:v>
                      </c:pt>
                      <c:pt idx="2222">
                        <c:v>0</c:v>
                      </c:pt>
                      <c:pt idx="2223">
                        <c:v>0</c:v>
                      </c:pt>
                      <c:pt idx="2224">
                        <c:v>0</c:v>
                      </c:pt>
                      <c:pt idx="2225">
                        <c:v>0</c:v>
                      </c:pt>
                      <c:pt idx="2226">
                        <c:v>0</c:v>
                      </c:pt>
                      <c:pt idx="2227">
                        <c:v>0</c:v>
                      </c:pt>
                      <c:pt idx="2228">
                        <c:v>0</c:v>
                      </c:pt>
                      <c:pt idx="2229">
                        <c:v>0</c:v>
                      </c:pt>
                      <c:pt idx="2230">
                        <c:v>0</c:v>
                      </c:pt>
                      <c:pt idx="2231">
                        <c:v>0</c:v>
                      </c:pt>
                      <c:pt idx="2232">
                        <c:v>0</c:v>
                      </c:pt>
                      <c:pt idx="2233">
                        <c:v>0</c:v>
                      </c:pt>
                      <c:pt idx="2234">
                        <c:v>0</c:v>
                      </c:pt>
                      <c:pt idx="2235">
                        <c:v>0</c:v>
                      </c:pt>
                      <c:pt idx="2236">
                        <c:v>0</c:v>
                      </c:pt>
                      <c:pt idx="2237">
                        <c:v>0</c:v>
                      </c:pt>
                      <c:pt idx="2238">
                        <c:v>0</c:v>
                      </c:pt>
                      <c:pt idx="2239">
                        <c:v>0</c:v>
                      </c:pt>
                      <c:pt idx="2240">
                        <c:v>0</c:v>
                      </c:pt>
                      <c:pt idx="2241">
                        <c:v>0</c:v>
                      </c:pt>
                      <c:pt idx="2242">
                        <c:v>0</c:v>
                      </c:pt>
                      <c:pt idx="2243">
                        <c:v>0</c:v>
                      </c:pt>
                      <c:pt idx="2244">
                        <c:v>0</c:v>
                      </c:pt>
                      <c:pt idx="2245">
                        <c:v>0</c:v>
                      </c:pt>
                      <c:pt idx="2246">
                        <c:v>0</c:v>
                      </c:pt>
                      <c:pt idx="2247">
                        <c:v>0</c:v>
                      </c:pt>
                      <c:pt idx="2248">
                        <c:v>0</c:v>
                      </c:pt>
                      <c:pt idx="2249">
                        <c:v>0</c:v>
                      </c:pt>
                      <c:pt idx="2250">
                        <c:v>0</c:v>
                      </c:pt>
                      <c:pt idx="2251">
                        <c:v>0</c:v>
                      </c:pt>
                      <c:pt idx="2252">
                        <c:v>0</c:v>
                      </c:pt>
                      <c:pt idx="2253">
                        <c:v>0</c:v>
                      </c:pt>
                      <c:pt idx="2254">
                        <c:v>0</c:v>
                      </c:pt>
                      <c:pt idx="2255">
                        <c:v>0</c:v>
                      </c:pt>
                      <c:pt idx="2256">
                        <c:v>0</c:v>
                      </c:pt>
                      <c:pt idx="2257">
                        <c:v>0</c:v>
                      </c:pt>
                      <c:pt idx="2258">
                        <c:v>0</c:v>
                      </c:pt>
                      <c:pt idx="2259">
                        <c:v>0</c:v>
                      </c:pt>
                      <c:pt idx="2260">
                        <c:v>0</c:v>
                      </c:pt>
                      <c:pt idx="2261">
                        <c:v>0</c:v>
                      </c:pt>
                      <c:pt idx="2262">
                        <c:v>0</c:v>
                      </c:pt>
                      <c:pt idx="2263">
                        <c:v>0</c:v>
                      </c:pt>
                      <c:pt idx="2264">
                        <c:v>0</c:v>
                      </c:pt>
                      <c:pt idx="2265">
                        <c:v>0</c:v>
                      </c:pt>
                      <c:pt idx="2266">
                        <c:v>0</c:v>
                      </c:pt>
                      <c:pt idx="2267">
                        <c:v>0</c:v>
                      </c:pt>
                      <c:pt idx="2268">
                        <c:v>0</c:v>
                      </c:pt>
                      <c:pt idx="2269">
                        <c:v>0</c:v>
                      </c:pt>
                      <c:pt idx="2270">
                        <c:v>0</c:v>
                      </c:pt>
                      <c:pt idx="2271">
                        <c:v>0</c:v>
                      </c:pt>
                      <c:pt idx="2272">
                        <c:v>0</c:v>
                      </c:pt>
                      <c:pt idx="2273">
                        <c:v>0</c:v>
                      </c:pt>
                      <c:pt idx="2274">
                        <c:v>0</c:v>
                      </c:pt>
                      <c:pt idx="2275">
                        <c:v>0</c:v>
                      </c:pt>
                      <c:pt idx="2276">
                        <c:v>0</c:v>
                      </c:pt>
                      <c:pt idx="2277">
                        <c:v>0</c:v>
                      </c:pt>
                      <c:pt idx="2278">
                        <c:v>0</c:v>
                      </c:pt>
                      <c:pt idx="2279">
                        <c:v>0</c:v>
                      </c:pt>
                      <c:pt idx="2280">
                        <c:v>0</c:v>
                      </c:pt>
                      <c:pt idx="2281">
                        <c:v>0</c:v>
                      </c:pt>
                      <c:pt idx="2282">
                        <c:v>0</c:v>
                      </c:pt>
                      <c:pt idx="2283">
                        <c:v>0</c:v>
                      </c:pt>
                      <c:pt idx="2284">
                        <c:v>0</c:v>
                      </c:pt>
                      <c:pt idx="2285">
                        <c:v>0</c:v>
                      </c:pt>
                      <c:pt idx="2286">
                        <c:v>0</c:v>
                      </c:pt>
                      <c:pt idx="2287">
                        <c:v>0</c:v>
                      </c:pt>
                      <c:pt idx="2288">
                        <c:v>0</c:v>
                      </c:pt>
                      <c:pt idx="2289">
                        <c:v>0</c:v>
                      </c:pt>
                      <c:pt idx="2290">
                        <c:v>0</c:v>
                      </c:pt>
                      <c:pt idx="2291">
                        <c:v>0</c:v>
                      </c:pt>
                      <c:pt idx="2292">
                        <c:v>0</c:v>
                      </c:pt>
                      <c:pt idx="2293">
                        <c:v>0</c:v>
                      </c:pt>
                      <c:pt idx="2294">
                        <c:v>0</c:v>
                      </c:pt>
                      <c:pt idx="2295">
                        <c:v>0</c:v>
                      </c:pt>
                      <c:pt idx="2296">
                        <c:v>0</c:v>
                      </c:pt>
                      <c:pt idx="2297">
                        <c:v>0</c:v>
                      </c:pt>
                      <c:pt idx="2298">
                        <c:v>0</c:v>
                      </c:pt>
                      <c:pt idx="2299">
                        <c:v>0</c:v>
                      </c:pt>
                      <c:pt idx="2300">
                        <c:v>0</c:v>
                      </c:pt>
                      <c:pt idx="2301">
                        <c:v>0</c:v>
                      </c:pt>
                      <c:pt idx="2302">
                        <c:v>0</c:v>
                      </c:pt>
                      <c:pt idx="2303">
                        <c:v>0</c:v>
                      </c:pt>
                      <c:pt idx="2304">
                        <c:v>0</c:v>
                      </c:pt>
                      <c:pt idx="2305">
                        <c:v>0</c:v>
                      </c:pt>
                      <c:pt idx="2306">
                        <c:v>0</c:v>
                      </c:pt>
                      <c:pt idx="2307">
                        <c:v>0</c:v>
                      </c:pt>
                      <c:pt idx="2308">
                        <c:v>0</c:v>
                      </c:pt>
                      <c:pt idx="2309">
                        <c:v>0</c:v>
                      </c:pt>
                      <c:pt idx="2310">
                        <c:v>0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0</c:v>
                      </c:pt>
                      <c:pt idx="2336">
                        <c:v>0</c:v>
                      </c:pt>
                      <c:pt idx="2337">
                        <c:v>0</c:v>
                      </c:pt>
                      <c:pt idx="2338">
                        <c:v>0</c:v>
                      </c:pt>
                      <c:pt idx="2339">
                        <c:v>0</c:v>
                      </c:pt>
                      <c:pt idx="2340">
                        <c:v>0</c:v>
                      </c:pt>
                      <c:pt idx="2341">
                        <c:v>0</c:v>
                      </c:pt>
                      <c:pt idx="2342">
                        <c:v>0</c:v>
                      </c:pt>
                      <c:pt idx="2343">
                        <c:v>0</c:v>
                      </c:pt>
                      <c:pt idx="2344">
                        <c:v>0</c:v>
                      </c:pt>
                      <c:pt idx="2345">
                        <c:v>0</c:v>
                      </c:pt>
                      <c:pt idx="2346">
                        <c:v>0</c:v>
                      </c:pt>
                      <c:pt idx="2347">
                        <c:v>0</c:v>
                      </c:pt>
                      <c:pt idx="2348">
                        <c:v>0</c:v>
                      </c:pt>
                      <c:pt idx="2349">
                        <c:v>0</c:v>
                      </c:pt>
                      <c:pt idx="2350">
                        <c:v>0</c:v>
                      </c:pt>
                      <c:pt idx="2351">
                        <c:v>0</c:v>
                      </c:pt>
                      <c:pt idx="2352">
                        <c:v>0</c:v>
                      </c:pt>
                      <c:pt idx="2353">
                        <c:v>0</c:v>
                      </c:pt>
                      <c:pt idx="2354">
                        <c:v>0</c:v>
                      </c:pt>
                      <c:pt idx="2355">
                        <c:v>0</c:v>
                      </c:pt>
                      <c:pt idx="2356">
                        <c:v>0</c:v>
                      </c:pt>
                      <c:pt idx="2357">
                        <c:v>0</c:v>
                      </c:pt>
                      <c:pt idx="2358">
                        <c:v>0</c:v>
                      </c:pt>
                      <c:pt idx="2359">
                        <c:v>0</c:v>
                      </c:pt>
                      <c:pt idx="2360">
                        <c:v>0</c:v>
                      </c:pt>
                      <c:pt idx="2361">
                        <c:v>0</c:v>
                      </c:pt>
                      <c:pt idx="2362">
                        <c:v>0</c:v>
                      </c:pt>
                      <c:pt idx="2363">
                        <c:v>0</c:v>
                      </c:pt>
                      <c:pt idx="2364">
                        <c:v>0</c:v>
                      </c:pt>
                      <c:pt idx="2365">
                        <c:v>0</c:v>
                      </c:pt>
                      <c:pt idx="2366">
                        <c:v>0</c:v>
                      </c:pt>
                      <c:pt idx="2367">
                        <c:v>0</c:v>
                      </c:pt>
                      <c:pt idx="2368">
                        <c:v>0</c:v>
                      </c:pt>
                      <c:pt idx="2369">
                        <c:v>0</c:v>
                      </c:pt>
                      <c:pt idx="2370">
                        <c:v>0</c:v>
                      </c:pt>
                      <c:pt idx="2371">
                        <c:v>0</c:v>
                      </c:pt>
                      <c:pt idx="2372">
                        <c:v>0</c:v>
                      </c:pt>
                      <c:pt idx="2373">
                        <c:v>0</c:v>
                      </c:pt>
                      <c:pt idx="2374">
                        <c:v>0</c:v>
                      </c:pt>
                      <c:pt idx="2375">
                        <c:v>0</c:v>
                      </c:pt>
                      <c:pt idx="2376">
                        <c:v>0</c:v>
                      </c:pt>
                      <c:pt idx="2377">
                        <c:v>0</c:v>
                      </c:pt>
                      <c:pt idx="2378">
                        <c:v>0</c:v>
                      </c:pt>
                      <c:pt idx="2379">
                        <c:v>0</c:v>
                      </c:pt>
                      <c:pt idx="2380">
                        <c:v>0</c:v>
                      </c:pt>
                      <c:pt idx="2381">
                        <c:v>0</c:v>
                      </c:pt>
                      <c:pt idx="2382">
                        <c:v>0</c:v>
                      </c:pt>
                      <c:pt idx="2383">
                        <c:v>0</c:v>
                      </c:pt>
                      <c:pt idx="2384">
                        <c:v>0</c:v>
                      </c:pt>
                      <c:pt idx="2385">
                        <c:v>0</c:v>
                      </c:pt>
                      <c:pt idx="2386">
                        <c:v>0</c:v>
                      </c:pt>
                      <c:pt idx="2387">
                        <c:v>0</c:v>
                      </c:pt>
                      <c:pt idx="2388">
                        <c:v>0</c:v>
                      </c:pt>
                      <c:pt idx="2389">
                        <c:v>0</c:v>
                      </c:pt>
                      <c:pt idx="2390">
                        <c:v>0</c:v>
                      </c:pt>
                      <c:pt idx="2391">
                        <c:v>0</c:v>
                      </c:pt>
                      <c:pt idx="2392">
                        <c:v>0</c:v>
                      </c:pt>
                      <c:pt idx="2393">
                        <c:v>0</c:v>
                      </c:pt>
                      <c:pt idx="2394">
                        <c:v>0</c:v>
                      </c:pt>
                      <c:pt idx="2395">
                        <c:v>0</c:v>
                      </c:pt>
                      <c:pt idx="2396">
                        <c:v>0</c:v>
                      </c:pt>
                      <c:pt idx="2397">
                        <c:v>0</c:v>
                      </c:pt>
                      <c:pt idx="2398">
                        <c:v>0</c:v>
                      </c:pt>
                      <c:pt idx="2399">
                        <c:v>0</c:v>
                      </c:pt>
                      <c:pt idx="2400">
                        <c:v>0</c:v>
                      </c:pt>
                      <c:pt idx="2401">
                        <c:v>0</c:v>
                      </c:pt>
                      <c:pt idx="2402">
                        <c:v>0</c:v>
                      </c:pt>
                      <c:pt idx="2403">
                        <c:v>0</c:v>
                      </c:pt>
                      <c:pt idx="2404">
                        <c:v>0</c:v>
                      </c:pt>
                      <c:pt idx="2405">
                        <c:v>0</c:v>
                      </c:pt>
                      <c:pt idx="2406">
                        <c:v>0</c:v>
                      </c:pt>
                      <c:pt idx="2407">
                        <c:v>0</c:v>
                      </c:pt>
                      <c:pt idx="2408">
                        <c:v>0</c:v>
                      </c:pt>
                      <c:pt idx="2409">
                        <c:v>0</c:v>
                      </c:pt>
                      <c:pt idx="2410">
                        <c:v>0</c:v>
                      </c:pt>
                      <c:pt idx="2411">
                        <c:v>0</c:v>
                      </c:pt>
                      <c:pt idx="2412">
                        <c:v>0</c:v>
                      </c:pt>
                      <c:pt idx="2413">
                        <c:v>0</c:v>
                      </c:pt>
                      <c:pt idx="2414">
                        <c:v>0</c:v>
                      </c:pt>
                      <c:pt idx="2415">
                        <c:v>0</c:v>
                      </c:pt>
                      <c:pt idx="2416">
                        <c:v>0</c:v>
                      </c:pt>
                      <c:pt idx="2417">
                        <c:v>0</c:v>
                      </c:pt>
                      <c:pt idx="2418">
                        <c:v>0</c:v>
                      </c:pt>
                      <c:pt idx="2419">
                        <c:v>0</c:v>
                      </c:pt>
                      <c:pt idx="2420">
                        <c:v>0</c:v>
                      </c:pt>
                      <c:pt idx="2421">
                        <c:v>0</c:v>
                      </c:pt>
                      <c:pt idx="2422">
                        <c:v>0</c:v>
                      </c:pt>
                      <c:pt idx="2423">
                        <c:v>0</c:v>
                      </c:pt>
                      <c:pt idx="2424">
                        <c:v>0</c:v>
                      </c:pt>
                      <c:pt idx="2425">
                        <c:v>0</c:v>
                      </c:pt>
                      <c:pt idx="2426">
                        <c:v>0</c:v>
                      </c:pt>
                      <c:pt idx="2427">
                        <c:v>0</c:v>
                      </c:pt>
                      <c:pt idx="2428">
                        <c:v>0</c:v>
                      </c:pt>
                      <c:pt idx="2429">
                        <c:v>0</c:v>
                      </c:pt>
                      <c:pt idx="2430">
                        <c:v>0</c:v>
                      </c:pt>
                      <c:pt idx="2431">
                        <c:v>0</c:v>
                      </c:pt>
                      <c:pt idx="2432">
                        <c:v>0</c:v>
                      </c:pt>
                      <c:pt idx="2433">
                        <c:v>0</c:v>
                      </c:pt>
                      <c:pt idx="2434">
                        <c:v>0</c:v>
                      </c:pt>
                      <c:pt idx="2435">
                        <c:v>0</c:v>
                      </c:pt>
                      <c:pt idx="2436">
                        <c:v>0</c:v>
                      </c:pt>
                      <c:pt idx="2437">
                        <c:v>0</c:v>
                      </c:pt>
                      <c:pt idx="2438">
                        <c:v>0</c:v>
                      </c:pt>
                      <c:pt idx="2439">
                        <c:v>0</c:v>
                      </c:pt>
                      <c:pt idx="2440">
                        <c:v>0</c:v>
                      </c:pt>
                      <c:pt idx="2441">
                        <c:v>0</c:v>
                      </c:pt>
                      <c:pt idx="2442">
                        <c:v>0</c:v>
                      </c:pt>
                      <c:pt idx="2443">
                        <c:v>0</c:v>
                      </c:pt>
                      <c:pt idx="2444">
                        <c:v>0</c:v>
                      </c:pt>
                      <c:pt idx="2445">
                        <c:v>0</c:v>
                      </c:pt>
                      <c:pt idx="2446">
                        <c:v>0</c:v>
                      </c:pt>
                      <c:pt idx="2447">
                        <c:v>0</c:v>
                      </c:pt>
                      <c:pt idx="2448">
                        <c:v>0</c:v>
                      </c:pt>
                      <c:pt idx="2449">
                        <c:v>0</c:v>
                      </c:pt>
                      <c:pt idx="2450">
                        <c:v>0</c:v>
                      </c:pt>
                      <c:pt idx="2451">
                        <c:v>0</c:v>
                      </c:pt>
                      <c:pt idx="2452">
                        <c:v>0</c:v>
                      </c:pt>
                      <c:pt idx="2453">
                        <c:v>0</c:v>
                      </c:pt>
                      <c:pt idx="2454">
                        <c:v>0</c:v>
                      </c:pt>
                      <c:pt idx="2455">
                        <c:v>0</c:v>
                      </c:pt>
                      <c:pt idx="2456">
                        <c:v>0</c:v>
                      </c:pt>
                      <c:pt idx="2457">
                        <c:v>0</c:v>
                      </c:pt>
                      <c:pt idx="2458">
                        <c:v>0</c:v>
                      </c:pt>
                      <c:pt idx="2459">
                        <c:v>0</c:v>
                      </c:pt>
                      <c:pt idx="2460">
                        <c:v>0</c:v>
                      </c:pt>
                      <c:pt idx="2461">
                        <c:v>0</c:v>
                      </c:pt>
                      <c:pt idx="2462">
                        <c:v>0</c:v>
                      </c:pt>
                      <c:pt idx="2463">
                        <c:v>0</c:v>
                      </c:pt>
                      <c:pt idx="2464">
                        <c:v>0</c:v>
                      </c:pt>
                      <c:pt idx="2465">
                        <c:v>0</c:v>
                      </c:pt>
                      <c:pt idx="2466">
                        <c:v>0</c:v>
                      </c:pt>
                      <c:pt idx="2467">
                        <c:v>0</c:v>
                      </c:pt>
                      <c:pt idx="2468">
                        <c:v>0</c:v>
                      </c:pt>
                      <c:pt idx="2469">
                        <c:v>0</c:v>
                      </c:pt>
                      <c:pt idx="2470">
                        <c:v>0</c:v>
                      </c:pt>
                      <c:pt idx="2471">
                        <c:v>0</c:v>
                      </c:pt>
                      <c:pt idx="2472">
                        <c:v>0</c:v>
                      </c:pt>
                      <c:pt idx="2473">
                        <c:v>0</c:v>
                      </c:pt>
                      <c:pt idx="2474">
                        <c:v>0</c:v>
                      </c:pt>
                      <c:pt idx="2475">
                        <c:v>0</c:v>
                      </c:pt>
                      <c:pt idx="2476">
                        <c:v>0</c:v>
                      </c:pt>
                      <c:pt idx="2477">
                        <c:v>0</c:v>
                      </c:pt>
                      <c:pt idx="2478">
                        <c:v>0</c:v>
                      </c:pt>
                      <c:pt idx="2479">
                        <c:v>0</c:v>
                      </c:pt>
                      <c:pt idx="2480">
                        <c:v>0</c:v>
                      </c:pt>
                      <c:pt idx="2481">
                        <c:v>0</c:v>
                      </c:pt>
                      <c:pt idx="2482">
                        <c:v>0</c:v>
                      </c:pt>
                      <c:pt idx="2483">
                        <c:v>0</c:v>
                      </c:pt>
                      <c:pt idx="2484">
                        <c:v>0</c:v>
                      </c:pt>
                      <c:pt idx="2485">
                        <c:v>0</c:v>
                      </c:pt>
                      <c:pt idx="2486">
                        <c:v>0</c:v>
                      </c:pt>
                      <c:pt idx="2487">
                        <c:v>0</c:v>
                      </c:pt>
                      <c:pt idx="2488">
                        <c:v>0</c:v>
                      </c:pt>
                      <c:pt idx="2489">
                        <c:v>0</c:v>
                      </c:pt>
                      <c:pt idx="2490">
                        <c:v>0</c:v>
                      </c:pt>
                      <c:pt idx="2491">
                        <c:v>0</c:v>
                      </c:pt>
                      <c:pt idx="2492">
                        <c:v>0</c:v>
                      </c:pt>
                      <c:pt idx="2493">
                        <c:v>0</c:v>
                      </c:pt>
                      <c:pt idx="2494">
                        <c:v>0</c:v>
                      </c:pt>
                      <c:pt idx="2495">
                        <c:v>0</c:v>
                      </c:pt>
                      <c:pt idx="2496">
                        <c:v>0</c:v>
                      </c:pt>
                      <c:pt idx="2497">
                        <c:v>0</c:v>
                      </c:pt>
                      <c:pt idx="2498">
                        <c:v>0</c:v>
                      </c:pt>
                      <c:pt idx="2499">
                        <c:v>0</c:v>
                      </c:pt>
                      <c:pt idx="2500">
                        <c:v>0</c:v>
                      </c:pt>
                      <c:pt idx="2501">
                        <c:v>0</c:v>
                      </c:pt>
                      <c:pt idx="2502">
                        <c:v>0</c:v>
                      </c:pt>
                      <c:pt idx="2503">
                        <c:v>0</c:v>
                      </c:pt>
                      <c:pt idx="2504">
                        <c:v>0</c:v>
                      </c:pt>
                      <c:pt idx="2505">
                        <c:v>0</c:v>
                      </c:pt>
                      <c:pt idx="2506">
                        <c:v>0</c:v>
                      </c:pt>
                      <c:pt idx="2507">
                        <c:v>0</c:v>
                      </c:pt>
                      <c:pt idx="2508">
                        <c:v>0</c:v>
                      </c:pt>
                      <c:pt idx="2509">
                        <c:v>0</c:v>
                      </c:pt>
                      <c:pt idx="2510">
                        <c:v>0</c:v>
                      </c:pt>
                      <c:pt idx="2511">
                        <c:v>0</c:v>
                      </c:pt>
                      <c:pt idx="2512">
                        <c:v>0</c:v>
                      </c:pt>
                      <c:pt idx="2513">
                        <c:v>0</c:v>
                      </c:pt>
                      <c:pt idx="2514">
                        <c:v>0</c:v>
                      </c:pt>
                      <c:pt idx="2515">
                        <c:v>0</c:v>
                      </c:pt>
                      <c:pt idx="2516">
                        <c:v>0</c:v>
                      </c:pt>
                      <c:pt idx="2517">
                        <c:v>0</c:v>
                      </c:pt>
                      <c:pt idx="2518">
                        <c:v>0</c:v>
                      </c:pt>
                      <c:pt idx="2519">
                        <c:v>0</c:v>
                      </c:pt>
                      <c:pt idx="2520">
                        <c:v>0</c:v>
                      </c:pt>
                      <c:pt idx="2521">
                        <c:v>0</c:v>
                      </c:pt>
                      <c:pt idx="2522">
                        <c:v>0</c:v>
                      </c:pt>
                      <c:pt idx="2523">
                        <c:v>0</c:v>
                      </c:pt>
                      <c:pt idx="2524">
                        <c:v>0</c:v>
                      </c:pt>
                      <c:pt idx="2525">
                        <c:v>0</c:v>
                      </c:pt>
                      <c:pt idx="2526">
                        <c:v>0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0</c:v>
                      </c:pt>
                      <c:pt idx="2535">
                        <c:v>0</c:v>
                      </c:pt>
                      <c:pt idx="2536">
                        <c:v>0</c:v>
                      </c:pt>
                      <c:pt idx="2537">
                        <c:v>0</c:v>
                      </c:pt>
                      <c:pt idx="2538">
                        <c:v>0</c:v>
                      </c:pt>
                      <c:pt idx="2539">
                        <c:v>0</c:v>
                      </c:pt>
                      <c:pt idx="2540">
                        <c:v>0</c:v>
                      </c:pt>
                      <c:pt idx="2541">
                        <c:v>0</c:v>
                      </c:pt>
                      <c:pt idx="2542">
                        <c:v>0</c:v>
                      </c:pt>
                      <c:pt idx="2543">
                        <c:v>0</c:v>
                      </c:pt>
                      <c:pt idx="2544">
                        <c:v>0</c:v>
                      </c:pt>
                      <c:pt idx="2545">
                        <c:v>0</c:v>
                      </c:pt>
                      <c:pt idx="2546">
                        <c:v>0</c:v>
                      </c:pt>
                      <c:pt idx="2547">
                        <c:v>0</c:v>
                      </c:pt>
                      <c:pt idx="2548">
                        <c:v>0</c:v>
                      </c:pt>
                      <c:pt idx="2549">
                        <c:v>0</c:v>
                      </c:pt>
                      <c:pt idx="2550">
                        <c:v>0</c:v>
                      </c:pt>
                      <c:pt idx="2551">
                        <c:v>0</c:v>
                      </c:pt>
                      <c:pt idx="2552">
                        <c:v>0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0</c:v>
                      </c:pt>
                      <c:pt idx="2559">
                        <c:v>0</c:v>
                      </c:pt>
                      <c:pt idx="2560">
                        <c:v>0</c:v>
                      </c:pt>
                      <c:pt idx="2561">
                        <c:v>0</c:v>
                      </c:pt>
                      <c:pt idx="2562">
                        <c:v>0</c:v>
                      </c:pt>
                      <c:pt idx="2563">
                        <c:v>0</c:v>
                      </c:pt>
                      <c:pt idx="2564">
                        <c:v>0</c:v>
                      </c:pt>
                      <c:pt idx="2565">
                        <c:v>0</c:v>
                      </c:pt>
                      <c:pt idx="2566">
                        <c:v>0</c:v>
                      </c:pt>
                      <c:pt idx="2567">
                        <c:v>0</c:v>
                      </c:pt>
                      <c:pt idx="2568">
                        <c:v>0</c:v>
                      </c:pt>
                      <c:pt idx="2569">
                        <c:v>0</c:v>
                      </c:pt>
                      <c:pt idx="2570">
                        <c:v>0</c:v>
                      </c:pt>
                      <c:pt idx="2571">
                        <c:v>0</c:v>
                      </c:pt>
                      <c:pt idx="2572">
                        <c:v>0</c:v>
                      </c:pt>
                      <c:pt idx="2573">
                        <c:v>0</c:v>
                      </c:pt>
                      <c:pt idx="2574">
                        <c:v>0</c:v>
                      </c:pt>
                      <c:pt idx="2575">
                        <c:v>0</c:v>
                      </c:pt>
                      <c:pt idx="2576">
                        <c:v>0</c:v>
                      </c:pt>
                      <c:pt idx="2577">
                        <c:v>0</c:v>
                      </c:pt>
                      <c:pt idx="2578">
                        <c:v>0</c:v>
                      </c:pt>
                      <c:pt idx="2579">
                        <c:v>0</c:v>
                      </c:pt>
                      <c:pt idx="2580">
                        <c:v>0</c:v>
                      </c:pt>
                      <c:pt idx="2581">
                        <c:v>0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0</c:v>
                      </c:pt>
                      <c:pt idx="2591">
                        <c:v>0</c:v>
                      </c:pt>
                      <c:pt idx="2592">
                        <c:v>0</c:v>
                      </c:pt>
                      <c:pt idx="2593">
                        <c:v>0</c:v>
                      </c:pt>
                      <c:pt idx="2594">
                        <c:v>0</c:v>
                      </c:pt>
                      <c:pt idx="2595">
                        <c:v>0</c:v>
                      </c:pt>
                      <c:pt idx="2596">
                        <c:v>0</c:v>
                      </c:pt>
                      <c:pt idx="2597">
                        <c:v>0</c:v>
                      </c:pt>
                      <c:pt idx="2598">
                        <c:v>0</c:v>
                      </c:pt>
                      <c:pt idx="2599">
                        <c:v>0</c:v>
                      </c:pt>
                      <c:pt idx="2600">
                        <c:v>0</c:v>
                      </c:pt>
                      <c:pt idx="2601">
                        <c:v>0</c:v>
                      </c:pt>
                      <c:pt idx="2602">
                        <c:v>0</c:v>
                      </c:pt>
                      <c:pt idx="2603">
                        <c:v>0</c:v>
                      </c:pt>
                      <c:pt idx="2604">
                        <c:v>0</c:v>
                      </c:pt>
                      <c:pt idx="2605">
                        <c:v>0</c:v>
                      </c:pt>
                      <c:pt idx="2606">
                        <c:v>0</c:v>
                      </c:pt>
                      <c:pt idx="2607">
                        <c:v>0</c:v>
                      </c:pt>
                      <c:pt idx="2608">
                        <c:v>0</c:v>
                      </c:pt>
                      <c:pt idx="2609">
                        <c:v>0</c:v>
                      </c:pt>
                      <c:pt idx="2610">
                        <c:v>0</c:v>
                      </c:pt>
                      <c:pt idx="2611">
                        <c:v>0</c:v>
                      </c:pt>
                      <c:pt idx="2612">
                        <c:v>0</c:v>
                      </c:pt>
                      <c:pt idx="2613">
                        <c:v>0</c:v>
                      </c:pt>
                      <c:pt idx="2614">
                        <c:v>0</c:v>
                      </c:pt>
                      <c:pt idx="2615">
                        <c:v>0</c:v>
                      </c:pt>
                      <c:pt idx="2616">
                        <c:v>0</c:v>
                      </c:pt>
                      <c:pt idx="2617">
                        <c:v>0</c:v>
                      </c:pt>
                      <c:pt idx="2618">
                        <c:v>0</c:v>
                      </c:pt>
                      <c:pt idx="2619">
                        <c:v>0</c:v>
                      </c:pt>
                      <c:pt idx="2620">
                        <c:v>0</c:v>
                      </c:pt>
                      <c:pt idx="2621">
                        <c:v>0</c:v>
                      </c:pt>
                      <c:pt idx="2622">
                        <c:v>0</c:v>
                      </c:pt>
                      <c:pt idx="2623">
                        <c:v>0</c:v>
                      </c:pt>
                      <c:pt idx="2624">
                        <c:v>0</c:v>
                      </c:pt>
                      <c:pt idx="2625">
                        <c:v>0</c:v>
                      </c:pt>
                      <c:pt idx="2626">
                        <c:v>0</c:v>
                      </c:pt>
                      <c:pt idx="2627">
                        <c:v>0</c:v>
                      </c:pt>
                      <c:pt idx="2628">
                        <c:v>0</c:v>
                      </c:pt>
                      <c:pt idx="2629">
                        <c:v>0</c:v>
                      </c:pt>
                      <c:pt idx="2630">
                        <c:v>0</c:v>
                      </c:pt>
                      <c:pt idx="2631">
                        <c:v>0</c:v>
                      </c:pt>
                      <c:pt idx="2632">
                        <c:v>0</c:v>
                      </c:pt>
                      <c:pt idx="2633">
                        <c:v>0</c:v>
                      </c:pt>
                      <c:pt idx="2634">
                        <c:v>0</c:v>
                      </c:pt>
                      <c:pt idx="2635">
                        <c:v>0</c:v>
                      </c:pt>
                      <c:pt idx="2636">
                        <c:v>0</c:v>
                      </c:pt>
                      <c:pt idx="2637">
                        <c:v>0</c:v>
                      </c:pt>
                      <c:pt idx="2638">
                        <c:v>0</c:v>
                      </c:pt>
                      <c:pt idx="2639">
                        <c:v>0</c:v>
                      </c:pt>
                      <c:pt idx="2640">
                        <c:v>0</c:v>
                      </c:pt>
                      <c:pt idx="2641">
                        <c:v>0</c:v>
                      </c:pt>
                      <c:pt idx="2642">
                        <c:v>0</c:v>
                      </c:pt>
                      <c:pt idx="2643">
                        <c:v>0</c:v>
                      </c:pt>
                      <c:pt idx="2644">
                        <c:v>0</c:v>
                      </c:pt>
                      <c:pt idx="2645">
                        <c:v>0</c:v>
                      </c:pt>
                      <c:pt idx="2646">
                        <c:v>0</c:v>
                      </c:pt>
                      <c:pt idx="2647">
                        <c:v>0</c:v>
                      </c:pt>
                      <c:pt idx="2648">
                        <c:v>0</c:v>
                      </c:pt>
                      <c:pt idx="2649">
                        <c:v>0</c:v>
                      </c:pt>
                      <c:pt idx="2650">
                        <c:v>0</c:v>
                      </c:pt>
                      <c:pt idx="2651">
                        <c:v>0</c:v>
                      </c:pt>
                      <c:pt idx="2652">
                        <c:v>0</c:v>
                      </c:pt>
                      <c:pt idx="2653">
                        <c:v>0</c:v>
                      </c:pt>
                      <c:pt idx="2654">
                        <c:v>0</c:v>
                      </c:pt>
                      <c:pt idx="2655">
                        <c:v>0</c:v>
                      </c:pt>
                      <c:pt idx="2656">
                        <c:v>0</c:v>
                      </c:pt>
                      <c:pt idx="2657">
                        <c:v>0</c:v>
                      </c:pt>
                      <c:pt idx="2658">
                        <c:v>0</c:v>
                      </c:pt>
                      <c:pt idx="2659">
                        <c:v>0</c:v>
                      </c:pt>
                      <c:pt idx="2660">
                        <c:v>0</c:v>
                      </c:pt>
                      <c:pt idx="2661">
                        <c:v>0</c:v>
                      </c:pt>
                      <c:pt idx="2662">
                        <c:v>0</c:v>
                      </c:pt>
                      <c:pt idx="2663">
                        <c:v>0</c:v>
                      </c:pt>
                      <c:pt idx="2664">
                        <c:v>0</c:v>
                      </c:pt>
                      <c:pt idx="2665">
                        <c:v>0</c:v>
                      </c:pt>
                      <c:pt idx="2666">
                        <c:v>0</c:v>
                      </c:pt>
                      <c:pt idx="2667">
                        <c:v>0</c:v>
                      </c:pt>
                      <c:pt idx="2668">
                        <c:v>0</c:v>
                      </c:pt>
                      <c:pt idx="2669">
                        <c:v>0</c:v>
                      </c:pt>
                      <c:pt idx="2670">
                        <c:v>0</c:v>
                      </c:pt>
                      <c:pt idx="2671">
                        <c:v>0</c:v>
                      </c:pt>
                      <c:pt idx="2672">
                        <c:v>0</c:v>
                      </c:pt>
                      <c:pt idx="2673">
                        <c:v>0</c:v>
                      </c:pt>
                      <c:pt idx="2674">
                        <c:v>0</c:v>
                      </c:pt>
                      <c:pt idx="2675">
                        <c:v>0</c:v>
                      </c:pt>
                      <c:pt idx="2676">
                        <c:v>0</c:v>
                      </c:pt>
                      <c:pt idx="2677">
                        <c:v>0</c:v>
                      </c:pt>
                      <c:pt idx="2678">
                        <c:v>0</c:v>
                      </c:pt>
                      <c:pt idx="2679">
                        <c:v>0</c:v>
                      </c:pt>
                      <c:pt idx="2680">
                        <c:v>0</c:v>
                      </c:pt>
                      <c:pt idx="2681">
                        <c:v>0</c:v>
                      </c:pt>
                      <c:pt idx="2682">
                        <c:v>0</c:v>
                      </c:pt>
                      <c:pt idx="2683">
                        <c:v>0</c:v>
                      </c:pt>
                      <c:pt idx="2684">
                        <c:v>0</c:v>
                      </c:pt>
                      <c:pt idx="2685">
                        <c:v>0</c:v>
                      </c:pt>
                      <c:pt idx="2686">
                        <c:v>0</c:v>
                      </c:pt>
                      <c:pt idx="2687">
                        <c:v>0</c:v>
                      </c:pt>
                      <c:pt idx="2688">
                        <c:v>0</c:v>
                      </c:pt>
                      <c:pt idx="2689">
                        <c:v>0</c:v>
                      </c:pt>
                      <c:pt idx="2690">
                        <c:v>0</c:v>
                      </c:pt>
                      <c:pt idx="2691">
                        <c:v>0</c:v>
                      </c:pt>
                      <c:pt idx="2692">
                        <c:v>0</c:v>
                      </c:pt>
                      <c:pt idx="2693">
                        <c:v>0</c:v>
                      </c:pt>
                      <c:pt idx="2694">
                        <c:v>0</c:v>
                      </c:pt>
                      <c:pt idx="2695">
                        <c:v>0</c:v>
                      </c:pt>
                      <c:pt idx="2696">
                        <c:v>0</c:v>
                      </c:pt>
                      <c:pt idx="2697">
                        <c:v>0</c:v>
                      </c:pt>
                      <c:pt idx="2698">
                        <c:v>0</c:v>
                      </c:pt>
                      <c:pt idx="2699">
                        <c:v>0</c:v>
                      </c:pt>
                      <c:pt idx="2700">
                        <c:v>0</c:v>
                      </c:pt>
                      <c:pt idx="2701">
                        <c:v>0</c:v>
                      </c:pt>
                      <c:pt idx="2702">
                        <c:v>0</c:v>
                      </c:pt>
                      <c:pt idx="2703">
                        <c:v>0</c:v>
                      </c:pt>
                      <c:pt idx="2704">
                        <c:v>0</c:v>
                      </c:pt>
                      <c:pt idx="2705">
                        <c:v>0</c:v>
                      </c:pt>
                      <c:pt idx="2706">
                        <c:v>0</c:v>
                      </c:pt>
                      <c:pt idx="2707">
                        <c:v>0</c:v>
                      </c:pt>
                      <c:pt idx="2708">
                        <c:v>0</c:v>
                      </c:pt>
                      <c:pt idx="2709">
                        <c:v>0</c:v>
                      </c:pt>
                      <c:pt idx="2710">
                        <c:v>0</c:v>
                      </c:pt>
                      <c:pt idx="2711">
                        <c:v>0</c:v>
                      </c:pt>
                      <c:pt idx="2712">
                        <c:v>0</c:v>
                      </c:pt>
                      <c:pt idx="2713">
                        <c:v>0</c:v>
                      </c:pt>
                      <c:pt idx="2714">
                        <c:v>0</c:v>
                      </c:pt>
                      <c:pt idx="2715">
                        <c:v>0</c:v>
                      </c:pt>
                      <c:pt idx="2716">
                        <c:v>0</c:v>
                      </c:pt>
                      <c:pt idx="2717">
                        <c:v>0</c:v>
                      </c:pt>
                      <c:pt idx="2718">
                        <c:v>0</c:v>
                      </c:pt>
                      <c:pt idx="2719">
                        <c:v>0</c:v>
                      </c:pt>
                      <c:pt idx="2720">
                        <c:v>0</c:v>
                      </c:pt>
                      <c:pt idx="2721">
                        <c:v>0</c:v>
                      </c:pt>
                      <c:pt idx="2722">
                        <c:v>0</c:v>
                      </c:pt>
                      <c:pt idx="2723">
                        <c:v>0</c:v>
                      </c:pt>
                      <c:pt idx="2724">
                        <c:v>0</c:v>
                      </c:pt>
                      <c:pt idx="2725">
                        <c:v>0</c:v>
                      </c:pt>
                      <c:pt idx="2726">
                        <c:v>0</c:v>
                      </c:pt>
                      <c:pt idx="2727">
                        <c:v>0</c:v>
                      </c:pt>
                      <c:pt idx="2728">
                        <c:v>0</c:v>
                      </c:pt>
                      <c:pt idx="2729">
                        <c:v>0</c:v>
                      </c:pt>
                      <c:pt idx="2730">
                        <c:v>0</c:v>
                      </c:pt>
                      <c:pt idx="2731">
                        <c:v>0</c:v>
                      </c:pt>
                      <c:pt idx="2732">
                        <c:v>0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</c:v>
                      </c:pt>
                      <c:pt idx="2743">
                        <c:v>0</c:v>
                      </c:pt>
                      <c:pt idx="2744">
                        <c:v>0</c:v>
                      </c:pt>
                      <c:pt idx="2745">
                        <c:v>0</c:v>
                      </c:pt>
                      <c:pt idx="2746">
                        <c:v>0</c:v>
                      </c:pt>
                      <c:pt idx="2747">
                        <c:v>0</c:v>
                      </c:pt>
                      <c:pt idx="2748">
                        <c:v>0</c:v>
                      </c:pt>
                      <c:pt idx="2749">
                        <c:v>0</c:v>
                      </c:pt>
                      <c:pt idx="2750">
                        <c:v>0</c:v>
                      </c:pt>
                      <c:pt idx="2751">
                        <c:v>0</c:v>
                      </c:pt>
                      <c:pt idx="2752">
                        <c:v>0</c:v>
                      </c:pt>
                      <c:pt idx="2753">
                        <c:v>0</c:v>
                      </c:pt>
                      <c:pt idx="2754">
                        <c:v>0</c:v>
                      </c:pt>
                      <c:pt idx="2755">
                        <c:v>0</c:v>
                      </c:pt>
                      <c:pt idx="2756">
                        <c:v>0</c:v>
                      </c:pt>
                      <c:pt idx="2757">
                        <c:v>0</c:v>
                      </c:pt>
                      <c:pt idx="2758">
                        <c:v>0</c:v>
                      </c:pt>
                      <c:pt idx="2759">
                        <c:v>0</c:v>
                      </c:pt>
                      <c:pt idx="2760">
                        <c:v>0</c:v>
                      </c:pt>
                      <c:pt idx="2761">
                        <c:v>0</c:v>
                      </c:pt>
                      <c:pt idx="2762">
                        <c:v>0</c:v>
                      </c:pt>
                      <c:pt idx="2763">
                        <c:v>0</c:v>
                      </c:pt>
                      <c:pt idx="2764">
                        <c:v>0</c:v>
                      </c:pt>
                      <c:pt idx="2765">
                        <c:v>0</c:v>
                      </c:pt>
                      <c:pt idx="2766">
                        <c:v>0</c:v>
                      </c:pt>
                      <c:pt idx="2767">
                        <c:v>0</c:v>
                      </c:pt>
                      <c:pt idx="2768">
                        <c:v>0</c:v>
                      </c:pt>
                      <c:pt idx="2769">
                        <c:v>0</c:v>
                      </c:pt>
                      <c:pt idx="2770">
                        <c:v>0</c:v>
                      </c:pt>
                      <c:pt idx="2771">
                        <c:v>0</c:v>
                      </c:pt>
                      <c:pt idx="2772">
                        <c:v>0</c:v>
                      </c:pt>
                      <c:pt idx="2773">
                        <c:v>0</c:v>
                      </c:pt>
                      <c:pt idx="2774">
                        <c:v>0</c:v>
                      </c:pt>
                      <c:pt idx="2775">
                        <c:v>0</c:v>
                      </c:pt>
                      <c:pt idx="2776">
                        <c:v>0</c:v>
                      </c:pt>
                      <c:pt idx="2777">
                        <c:v>0</c:v>
                      </c:pt>
                      <c:pt idx="2778">
                        <c:v>0</c:v>
                      </c:pt>
                      <c:pt idx="2779">
                        <c:v>0</c:v>
                      </c:pt>
                      <c:pt idx="2780">
                        <c:v>0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0</c:v>
                      </c:pt>
                      <c:pt idx="2791">
                        <c:v>0</c:v>
                      </c:pt>
                      <c:pt idx="2792">
                        <c:v>0</c:v>
                      </c:pt>
                      <c:pt idx="2793">
                        <c:v>0</c:v>
                      </c:pt>
                      <c:pt idx="2794">
                        <c:v>0</c:v>
                      </c:pt>
                      <c:pt idx="2795">
                        <c:v>0</c:v>
                      </c:pt>
                      <c:pt idx="2796">
                        <c:v>0</c:v>
                      </c:pt>
                      <c:pt idx="2797">
                        <c:v>0</c:v>
                      </c:pt>
                      <c:pt idx="2798">
                        <c:v>0</c:v>
                      </c:pt>
                      <c:pt idx="2799">
                        <c:v>0</c:v>
                      </c:pt>
                      <c:pt idx="2800">
                        <c:v>0</c:v>
                      </c:pt>
                      <c:pt idx="2801">
                        <c:v>0</c:v>
                      </c:pt>
                      <c:pt idx="2802">
                        <c:v>0</c:v>
                      </c:pt>
                      <c:pt idx="2803">
                        <c:v>0</c:v>
                      </c:pt>
                      <c:pt idx="2804">
                        <c:v>0</c:v>
                      </c:pt>
                      <c:pt idx="2805">
                        <c:v>0</c:v>
                      </c:pt>
                      <c:pt idx="2806">
                        <c:v>0</c:v>
                      </c:pt>
                      <c:pt idx="2807">
                        <c:v>0</c:v>
                      </c:pt>
                      <c:pt idx="2808">
                        <c:v>0</c:v>
                      </c:pt>
                      <c:pt idx="2809">
                        <c:v>0</c:v>
                      </c:pt>
                      <c:pt idx="2810">
                        <c:v>0</c:v>
                      </c:pt>
                      <c:pt idx="2811">
                        <c:v>0</c:v>
                      </c:pt>
                      <c:pt idx="2812">
                        <c:v>0</c:v>
                      </c:pt>
                      <c:pt idx="2813">
                        <c:v>0</c:v>
                      </c:pt>
                      <c:pt idx="2814">
                        <c:v>0</c:v>
                      </c:pt>
                      <c:pt idx="2815">
                        <c:v>0</c:v>
                      </c:pt>
                      <c:pt idx="2816">
                        <c:v>0</c:v>
                      </c:pt>
                      <c:pt idx="2817">
                        <c:v>0</c:v>
                      </c:pt>
                      <c:pt idx="2818">
                        <c:v>0</c:v>
                      </c:pt>
                      <c:pt idx="2819">
                        <c:v>0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</c:v>
                      </c:pt>
                      <c:pt idx="2826">
                        <c:v>0</c:v>
                      </c:pt>
                      <c:pt idx="2827">
                        <c:v>0</c:v>
                      </c:pt>
                      <c:pt idx="2828">
                        <c:v>0</c:v>
                      </c:pt>
                      <c:pt idx="2829">
                        <c:v>0</c:v>
                      </c:pt>
                      <c:pt idx="2830">
                        <c:v>0</c:v>
                      </c:pt>
                      <c:pt idx="2831">
                        <c:v>0</c:v>
                      </c:pt>
                      <c:pt idx="2832">
                        <c:v>0</c:v>
                      </c:pt>
                      <c:pt idx="2833">
                        <c:v>0</c:v>
                      </c:pt>
                      <c:pt idx="2834">
                        <c:v>0</c:v>
                      </c:pt>
                      <c:pt idx="2835">
                        <c:v>0</c:v>
                      </c:pt>
                      <c:pt idx="2836">
                        <c:v>0</c:v>
                      </c:pt>
                      <c:pt idx="2837">
                        <c:v>0</c:v>
                      </c:pt>
                      <c:pt idx="2838">
                        <c:v>0</c:v>
                      </c:pt>
                      <c:pt idx="2839">
                        <c:v>0</c:v>
                      </c:pt>
                      <c:pt idx="2840">
                        <c:v>0</c:v>
                      </c:pt>
                      <c:pt idx="2841">
                        <c:v>0</c:v>
                      </c:pt>
                      <c:pt idx="2842">
                        <c:v>0</c:v>
                      </c:pt>
                      <c:pt idx="2843">
                        <c:v>0</c:v>
                      </c:pt>
                      <c:pt idx="2844">
                        <c:v>0</c:v>
                      </c:pt>
                      <c:pt idx="2845">
                        <c:v>0</c:v>
                      </c:pt>
                      <c:pt idx="2846">
                        <c:v>0</c:v>
                      </c:pt>
                      <c:pt idx="2847">
                        <c:v>0</c:v>
                      </c:pt>
                      <c:pt idx="2848">
                        <c:v>0</c:v>
                      </c:pt>
                      <c:pt idx="2849">
                        <c:v>0</c:v>
                      </c:pt>
                      <c:pt idx="2850">
                        <c:v>0</c:v>
                      </c:pt>
                      <c:pt idx="2851">
                        <c:v>0</c:v>
                      </c:pt>
                      <c:pt idx="2852">
                        <c:v>0</c:v>
                      </c:pt>
                      <c:pt idx="2853">
                        <c:v>0</c:v>
                      </c:pt>
                      <c:pt idx="2854">
                        <c:v>0</c:v>
                      </c:pt>
                      <c:pt idx="2855">
                        <c:v>0</c:v>
                      </c:pt>
                      <c:pt idx="2856">
                        <c:v>0</c:v>
                      </c:pt>
                      <c:pt idx="2857">
                        <c:v>0</c:v>
                      </c:pt>
                      <c:pt idx="2858">
                        <c:v>0</c:v>
                      </c:pt>
                      <c:pt idx="2859">
                        <c:v>0</c:v>
                      </c:pt>
                      <c:pt idx="2860">
                        <c:v>0</c:v>
                      </c:pt>
                      <c:pt idx="2861">
                        <c:v>0</c:v>
                      </c:pt>
                      <c:pt idx="2862">
                        <c:v>0</c:v>
                      </c:pt>
                      <c:pt idx="2863">
                        <c:v>0</c:v>
                      </c:pt>
                      <c:pt idx="2864">
                        <c:v>0</c:v>
                      </c:pt>
                      <c:pt idx="2865">
                        <c:v>0</c:v>
                      </c:pt>
                      <c:pt idx="2866">
                        <c:v>0</c:v>
                      </c:pt>
                      <c:pt idx="2867">
                        <c:v>0</c:v>
                      </c:pt>
                      <c:pt idx="2868">
                        <c:v>0</c:v>
                      </c:pt>
                      <c:pt idx="2869">
                        <c:v>0</c:v>
                      </c:pt>
                      <c:pt idx="2870">
                        <c:v>0</c:v>
                      </c:pt>
                      <c:pt idx="2871">
                        <c:v>0</c:v>
                      </c:pt>
                      <c:pt idx="2872">
                        <c:v>0</c:v>
                      </c:pt>
                      <c:pt idx="2873">
                        <c:v>0</c:v>
                      </c:pt>
                      <c:pt idx="2874">
                        <c:v>0</c:v>
                      </c:pt>
                      <c:pt idx="2875">
                        <c:v>0</c:v>
                      </c:pt>
                      <c:pt idx="2876">
                        <c:v>0</c:v>
                      </c:pt>
                      <c:pt idx="2877">
                        <c:v>0</c:v>
                      </c:pt>
                      <c:pt idx="2878">
                        <c:v>0</c:v>
                      </c:pt>
                      <c:pt idx="2879">
                        <c:v>0</c:v>
                      </c:pt>
                      <c:pt idx="2880">
                        <c:v>0</c:v>
                      </c:pt>
                      <c:pt idx="2881">
                        <c:v>0</c:v>
                      </c:pt>
                      <c:pt idx="2882">
                        <c:v>0</c:v>
                      </c:pt>
                      <c:pt idx="2883">
                        <c:v>0</c:v>
                      </c:pt>
                      <c:pt idx="2884">
                        <c:v>0</c:v>
                      </c:pt>
                      <c:pt idx="2885">
                        <c:v>0</c:v>
                      </c:pt>
                      <c:pt idx="2886">
                        <c:v>0</c:v>
                      </c:pt>
                      <c:pt idx="2887">
                        <c:v>0</c:v>
                      </c:pt>
                      <c:pt idx="2888">
                        <c:v>0</c:v>
                      </c:pt>
                      <c:pt idx="2889">
                        <c:v>0</c:v>
                      </c:pt>
                      <c:pt idx="2890">
                        <c:v>0</c:v>
                      </c:pt>
                      <c:pt idx="2891">
                        <c:v>0</c:v>
                      </c:pt>
                      <c:pt idx="2892">
                        <c:v>0</c:v>
                      </c:pt>
                      <c:pt idx="2893">
                        <c:v>0</c:v>
                      </c:pt>
                      <c:pt idx="2894">
                        <c:v>0</c:v>
                      </c:pt>
                      <c:pt idx="2895">
                        <c:v>0</c:v>
                      </c:pt>
                      <c:pt idx="2896">
                        <c:v>0</c:v>
                      </c:pt>
                      <c:pt idx="2897">
                        <c:v>0</c:v>
                      </c:pt>
                      <c:pt idx="2898">
                        <c:v>0</c:v>
                      </c:pt>
                      <c:pt idx="2899">
                        <c:v>0</c:v>
                      </c:pt>
                      <c:pt idx="2900">
                        <c:v>0</c:v>
                      </c:pt>
                      <c:pt idx="2901">
                        <c:v>0</c:v>
                      </c:pt>
                      <c:pt idx="2902">
                        <c:v>0</c:v>
                      </c:pt>
                      <c:pt idx="2903">
                        <c:v>0</c:v>
                      </c:pt>
                      <c:pt idx="2904">
                        <c:v>0</c:v>
                      </c:pt>
                      <c:pt idx="2905">
                        <c:v>0</c:v>
                      </c:pt>
                      <c:pt idx="2906">
                        <c:v>0</c:v>
                      </c:pt>
                      <c:pt idx="2907">
                        <c:v>0</c:v>
                      </c:pt>
                      <c:pt idx="2908">
                        <c:v>0</c:v>
                      </c:pt>
                      <c:pt idx="2909">
                        <c:v>0</c:v>
                      </c:pt>
                      <c:pt idx="2910">
                        <c:v>0</c:v>
                      </c:pt>
                      <c:pt idx="2911">
                        <c:v>0</c:v>
                      </c:pt>
                      <c:pt idx="2912">
                        <c:v>0</c:v>
                      </c:pt>
                      <c:pt idx="2913">
                        <c:v>0</c:v>
                      </c:pt>
                      <c:pt idx="2914">
                        <c:v>0</c:v>
                      </c:pt>
                      <c:pt idx="2915">
                        <c:v>0</c:v>
                      </c:pt>
                      <c:pt idx="2916">
                        <c:v>0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</c:v>
                      </c:pt>
                      <c:pt idx="2927">
                        <c:v>0</c:v>
                      </c:pt>
                      <c:pt idx="2928">
                        <c:v>0</c:v>
                      </c:pt>
                      <c:pt idx="2929">
                        <c:v>0</c:v>
                      </c:pt>
                      <c:pt idx="2930">
                        <c:v>0</c:v>
                      </c:pt>
                      <c:pt idx="2931">
                        <c:v>0</c:v>
                      </c:pt>
                      <c:pt idx="2932">
                        <c:v>0</c:v>
                      </c:pt>
                      <c:pt idx="2933">
                        <c:v>0</c:v>
                      </c:pt>
                      <c:pt idx="2934">
                        <c:v>0</c:v>
                      </c:pt>
                      <c:pt idx="2935">
                        <c:v>0</c:v>
                      </c:pt>
                      <c:pt idx="2936">
                        <c:v>0</c:v>
                      </c:pt>
                      <c:pt idx="2937">
                        <c:v>0</c:v>
                      </c:pt>
                      <c:pt idx="2938">
                        <c:v>0</c:v>
                      </c:pt>
                      <c:pt idx="2939">
                        <c:v>0</c:v>
                      </c:pt>
                      <c:pt idx="2940">
                        <c:v>0</c:v>
                      </c:pt>
                      <c:pt idx="2941">
                        <c:v>0</c:v>
                      </c:pt>
                      <c:pt idx="2942">
                        <c:v>0</c:v>
                      </c:pt>
                      <c:pt idx="2943">
                        <c:v>0</c:v>
                      </c:pt>
                      <c:pt idx="2944">
                        <c:v>0</c:v>
                      </c:pt>
                      <c:pt idx="2945">
                        <c:v>0</c:v>
                      </c:pt>
                      <c:pt idx="2946">
                        <c:v>0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</c:v>
                      </c:pt>
                      <c:pt idx="2952">
                        <c:v>0</c:v>
                      </c:pt>
                      <c:pt idx="2953">
                        <c:v>0</c:v>
                      </c:pt>
                      <c:pt idx="2954">
                        <c:v>0</c:v>
                      </c:pt>
                      <c:pt idx="2955">
                        <c:v>0</c:v>
                      </c:pt>
                      <c:pt idx="2956">
                        <c:v>0</c:v>
                      </c:pt>
                      <c:pt idx="2957">
                        <c:v>0</c:v>
                      </c:pt>
                      <c:pt idx="2958">
                        <c:v>0</c:v>
                      </c:pt>
                      <c:pt idx="2959">
                        <c:v>0</c:v>
                      </c:pt>
                      <c:pt idx="2960">
                        <c:v>0</c:v>
                      </c:pt>
                      <c:pt idx="2961">
                        <c:v>0</c:v>
                      </c:pt>
                      <c:pt idx="2962">
                        <c:v>0</c:v>
                      </c:pt>
                      <c:pt idx="2963">
                        <c:v>0</c:v>
                      </c:pt>
                      <c:pt idx="2964">
                        <c:v>0</c:v>
                      </c:pt>
                      <c:pt idx="2965">
                        <c:v>0</c:v>
                      </c:pt>
                      <c:pt idx="2966">
                        <c:v>0</c:v>
                      </c:pt>
                      <c:pt idx="2967">
                        <c:v>0</c:v>
                      </c:pt>
                      <c:pt idx="2968">
                        <c:v>0</c:v>
                      </c:pt>
                      <c:pt idx="2969">
                        <c:v>0</c:v>
                      </c:pt>
                      <c:pt idx="2970">
                        <c:v>0</c:v>
                      </c:pt>
                      <c:pt idx="2971">
                        <c:v>0</c:v>
                      </c:pt>
                      <c:pt idx="2972">
                        <c:v>0</c:v>
                      </c:pt>
                      <c:pt idx="2973">
                        <c:v>0</c:v>
                      </c:pt>
                      <c:pt idx="2974">
                        <c:v>0</c:v>
                      </c:pt>
                      <c:pt idx="2975">
                        <c:v>0</c:v>
                      </c:pt>
                      <c:pt idx="2976">
                        <c:v>0</c:v>
                      </c:pt>
                      <c:pt idx="2977">
                        <c:v>0</c:v>
                      </c:pt>
                      <c:pt idx="2978">
                        <c:v>0</c:v>
                      </c:pt>
                      <c:pt idx="2979">
                        <c:v>0</c:v>
                      </c:pt>
                      <c:pt idx="2980">
                        <c:v>0</c:v>
                      </c:pt>
                      <c:pt idx="2981">
                        <c:v>0</c:v>
                      </c:pt>
                      <c:pt idx="2982">
                        <c:v>0</c:v>
                      </c:pt>
                      <c:pt idx="2983">
                        <c:v>0</c:v>
                      </c:pt>
                      <c:pt idx="2984">
                        <c:v>0</c:v>
                      </c:pt>
                      <c:pt idx="2985">
                        <c:v>0</c:v>
                      </c:pt>
                      <c:pt idx="2986">
                        <c:v>0</c:v>
                      </c:pt>
                      <c:pt idx="2987">
                        <c:v>0</c:v>
                      </c:pt>
                      <c:pt idx="2988">
                        <c:v>0</c:v>
                      </c:pt>
                      <c:pt idx="2989">
                        <c:v>0</c:v>
                      </c:pt>
                      <c:pt idx="2990">
                        <c:v>0</c:v>
                      </c:pt>
                      <c:pt idx="2991">
                        <c:v>0</c:v>
                      </c:pt>
                      <c:pt idx="2992">
                        <c:v>0</c:v>
                      </c:pt>
                      <c:pt idx="2993">
                        <c:v>0</c:v>
                      </c:pt>
                      <c:pt idx="2994">
                        <c:v>0</c:v>
                      </c:pt>
                      <c:pt idx="2995">
                        <c:v>0</c:v>
                      </c:pt>
                      <c:pt idx="2996">
                        <c:v>0</c:v>
                      </c:pt>
                      <c:pt idx="2997">
                        <c:v>0</c:v>
                      </c:pt>
                      <c:pt idx="2998">
                        <c:v>0</c:v>
                      </c:pt>
                      <c:pt idx="2999">
                        <c:v>0</c:v>
                      </c:pt>
                      <c:pt idx="3000">
                        <c:v>0</c:v>
                      </c:pt>
                      <c:pt idx="3001">
                        <c:v>0</c:v>
                      </c:pt>
                      <c:pt idx="3002">
                        <c:v>0</c:v>
                      </c:pt>
                      <c:pt idx="3003">
                        <c:v>0</c:v>
                      </c:pt>
                      <c:pt idx="3004">
                        <c:v>0</c:v>
                      </c:pt>
                      <c:pt idx="3005">
                        <c:v>0</c:v>
                      </c:pt>
                      <c:pt idx="3006">
                        <c:v>0</c:v>
                      </c:pt>
                      <c:pt idx="3007">
                        <c:v>0</c:v>
                      </c:pt>
                      <c:pt idx="3008">
                        <c:v>0</c:v>
                      </c:pt>
                      <c:pt idx="3009">
                        <c:v>0</c:v>
                      </c:pt>
                      <c:pt idx="3010">
                        <c:v>0</c:v>
                      </c:pt>
                      <c:pt idx="3011">
                        <c:v>0</c:v>
                      </c:pt>
                      <c:pt idx="3012">
                        <c:v>0</c:v>
                      </c:pt>
                      <c:pt idx="3013">
                        <c:v>0</c:v>
                      </c:pt>
                      <c:pt idx="3014">
                        <c:v>0</c:v>
                      </c:pt>
                      <c:pt idx="3015">
                        <c:v>0</c:v>
                      </c:pt>
                      <c:pt idx="3016">
                        <c:v>0</c:v>
                      </c:pt>
                      <c:pt idx="3017">
                        <c:v>0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0</c:v>
                      </c:pt>
                      <c:pt idx="3026">
                        <c:v>0</c:v>
                      </c:pt>
                      <c:pt idx="3027">
                        <c:v>0</c:v>
                      </c:pt>
                      <c:pt idx="3028">
                        <c:v>0</c:v>
                      </c:pt>
                      <c:pt idx="3029">
                        <c:v>0</c:v>
                      </c:pt>
                      <c:pt idx="3030">
                        <c:v>0</c:v>
                      </c:pt>
                      <c:pt idx="3031">
                        <c:v>0</c:v>
                      </c:pt>
                      <c:pt idx="3032">
                        <c:v>0</c:v>
                      </c:pt>
                      <c:pt idx="3033">
                        <c:v>0</c:v>
                      </c:pt>
                      <c:pt idx="3034">
                        <c:v>0</c:v>
                      </c:pt>
                      <c:pt idx="3035">
                        <c:v>0</c:v>
                      </c:pt>
                      <c:pt idx="3036">
                        <c:v>0</c:v>
                      </c:pt>
                      <c:pt idx="3037">
                        <c:v>0</c:v>
                      </c:pt>
                      <c:pt idx="3038">
                        <c:v>0</c:v>
                      </c:pt>
                      <c:pt idx="3039">
                        <c:v>0</c:v>
                      </c:pt>
                      <c:pt idx="3040">
                        <c:v>0</c:v>
                      </c:pt>
                      <c:pt idx="3041">
                        <c:v>0</c:v>
                      </c:pt>
                      <c:pt idx="3042">
                        <c:v>0</c:v>
                      </c:pt>
                      <c:pt idx="3043">
                        <c:v>0</c:v>
                      </c:pt>
                      <c:pt idx="3044">
                        <c:v>0</c:v>
                      </c:pt>
                      <c:pt idx="3045">
                        <c:v>0</c:v>
                      </c:pt>
                      <c:pt idx="3046">
                        <c:v>0</c:v>
                      </c:pt>
                      <c:pt idx="3047">
                        <c:v>0</c:v>
                      </c:pt>
                      <c:pt idx="3048">
                        <c:v>0</c:v>
                      </c:pt>
                      <c:pt idx="3049">
                        <c:v>0</c:v>
                      </c:pt>
                      <c:pt idx="3050">
                        <c:v>0</c:v>
                      </c:pt>
                      <c:pt idx="3051">
                        <c:v>0</c:v>
                      </c:pt>
                      <c:pt idx="3052">
                        <c:v>0</c:v>
                      </c:pt>
                      <c:pt idx="3053">
                        <c:v>0</c:v>
                      </c:pt>
                      <c:pt idx="3054">
                        <c:v>0</c:v>
                      </c:pt>
                      <c:pt idx="3055">
                        <c:v>0</c:v>
                      </c:pt>
                      <c:pt idx="3056">
                        <c:v>0</c:v>
                      </c:pt>
                      <c:pt idx="3057">
                        <c:v>0</c:v>
                      </c:pt>
                      <c:pt idx="3058">
                        <c:v>0</c:v>
                      </c:pt>
                      <c:pt idx="3059">
                        <c:v>0</c:v>
                      </c:pt>
                      <c:pt idx="3060">
                        <c:v>0</c:v>
                      </c:pt>
                      <c:pt idx="3061">
                        <c:v>0</c:v>
                      </c:pt>
                      <c:pt idx="3062">
                        <c:v>0</c:v>
                      </c:pt>
                      <c:pt idx="3063">
                        <c:v>0</c:v>
                      </c:pt>
                      <c:pt idx="3064">
                        <c:v>0</c:v>
                      </c:pt>
                      <c:pt idx="3065">
                        <c:v>0</c:v>
                      </c:pt>
                      <c:pt idx="3066">
                        <c:v>0</c:v>
                      </c:pt>
                      <c:pt idx="3067">
                        <c:v>0</c:v>
                      </c:pt>
                      <c:pt idx="3068">
                        <c:v>0</c:v>
                      </c:pt>
                      <c:pt idx="3069">
                        <c:v>0</c:v>
                      </c:pt>
                      <c:pt idx="3070">
                        <c:v>0</c:v>
                      </c:pt>
                      <c:pt idx="3071">
                        <c:v>0</c:v>
                      </c:pt>
                      <c:pt idx="3072">
                        <c:v>0</c:v>
                      </c:pt>
                      <c:pt idx="3073">
                        <c:v>0</c:v>
                      </c:pt>
                      <c:pt idx="3074">
                        <c:v>0</c:v>
                      </c:pt>
                      <c:pt idx="3075">
                        <c:v>0</c:v>
                      </c:pt>
                      <c:pt idx="3076">
                        <c:v>0</c:v>
                      </c:pt>
                      <c:pt idx="3077">
                        <c:v>0</c:v>
                      </c:pt>
                      <c:pt idx="3078">
                        <c:v>0</c:v>
                      </c:pt>
                      <c:pt idx="3079">
                        <c:v>0</c:v>
                      </c:pt>
                      <c:pt idx="3080">
                        <c:v>0</c:v>
                      </c:pt>
                      <c:pt idx="3081">
                        <c:v>0</c:v>
                      </c:pt>
                      <c:pt idx="3082">
                        <c:v>0</c:v>
                      </c:pt>
                      <c:pt idx="3083">
                        <c:v>0</c:v>
                      </c:pt>
                      <c:pt idx="3084">
                        <c:v>0</c:v>
                      </c:pt>
                      <c:pt idx="3085">
                        <c:v>0</c:v>
                      </c:pt>
                      <c:pt idx="3086">
                        <c:v>0</c:v>
                      </c:pt>
                      <c:pt idx="3087">
                        <c:v>0</c:v>
                      </c:pt>
                      <c:pt idx="3088">
                        <c:v>0</c:v>
                      </c:pt>
                      <c:pt idx="3089">
                        <c:v>0</c:v>
                      </c:pt>
                      <c:pt idx="3090">
                        <c:v>0</c:v>
                      </c:pt>
                      <c:pt idx="3091">
                        <c:v>0</c:v>
                      </c:pt>
                      <c:pt idx="3092">
                        <c:v>0</c:v>
                      </c:pt>
                      <c:pt idx="3093">
                        <c:v>0</c:v>
                      </c:pt>
                      <c:pt idx="3094">
                        <c:v>0</c:v>
                      </c:pt>
                      <c:pt idx="3095">
                        <c:v>0</c:v>
                      </c:pt>
                      <c:pt idx="3096">
                        <c:v>0</c:v>
                      </c:pt>
                      <c:pt idx="3097">
                        <c:v>0</c:v>
                      </c:pt>
                      <c:pt idx="3098">
                        <c:v>0</c:v>
                      </c:pt>
                      <c:pt idx="3099">
                        <c:v>0</c:v>
                      </c:pt>
                      <c:pt idx="3100">
                        <c:v>0</c:v>
                      </c:pt>
                      <c:pt idx="3101">
                        <c:v>0</c:v>
                      </c:pt>
                      <c:pt idx="3102">
                        <c:v>0</c:v>
                      </c:pt>
                      <c:pt idx="3103">
                        <c:v>0</c:v>
                      </c:pt>
                      <c:pt idx="3104">
                        <c:v>0</c:v>
                      </c:pt>
                      <c:pt idx="3105">
                        <c:v>0</c:v>
                      </c:pt>
                      <c:pt idx="3106">
                        <c:v>0</c:v>
                      </c:pt>
                      <c:pt idx="3107">
                        <c:v>0</c:v>
                      </c:pt>
                      <c:pt idx="3108">
                        <c:v>0</c:v>
                      </c:pt>
                      <c:pt idx="3109">
                        <c:v>0</c:v>
                      </c:pt>
                      <c:pt idx="3110">
                        <c:v>0</c:v>
                      </c:pt>
                      <c:pt idx="3111">
                        <c:v>0</c:v>
                      </c:pt>
                      <c:pt idx="3112">
                        <c:v>0</c:v>
                      </c:pt>
                      <c:pt idx="3113">
                        <c:v>0</c:v>
                      </c:pt>
                      <c:pt idx="3114">
                        <c:v>0</c:v>
                      </c:pt>
                      <c:pt idx="3115">
                        <c:v>0</c:v>
                      </c:pt>
                      <c:pt idx="3116">
                        <c:v>0</c:v>
                      </c:pt>
                      <c:pt idx="3117">
                        <c:v>0</c:v>
                      </c:pt>
                      <c:pt idx="3118">
                        <c:v>0</c:v>
                      </c:pt>
                      <c:pt idx="3119">
                        <c:v>0</c:v>
                      </c:pt>
                      <c:pt idx="3120">
                        <c:v>0</c:v>
                      </c:pt>
                      <c:pt idx="3121">
                        <c:v>0</c:v>
                      </c:pt>
                      <c:pt idx="3122">
                        <c:v>0</c:v>
                      </c:pt>
                      <c:pt idx="3123">
                        <c:v>0</c:v>
                      </c:pt>
                      <c:pt idx="3124">
                        <c:v>0</c:v>
                      </c:pt>
                      <c:pt idx="3125">
                        <c:v>0</c:v>
                      </c:pt>
                      <c:pt idx="3126">
                        <c:v>0</c:v>
                      </c:pt>
                      <c:pt idx="3127">
                        <c:v>0</c:v>
                      </c:pt>
                      <c:pt idx="3128">
                        <c:v>0</c:v>
                      </c:pt>
                      <c:pt idx="3129">
                        <c:v>0</c:v>
                      </c:pt>
                      <c:pt idx="3130">
                        <c:v>0</c:v>
                      </c:pt>
                      <c:pt idx="3131">
                        <c:v>0</c:v>
                      </c:pt>
                      <c:pt idx="3132">
                        <c:v>0</c:v>
                      </c:pt>
                      <c:pt idx="3133">
                        <c:v>0</c:v>
                      </c:pt>
                      <c:pt idx="3134">
                        <c:v>0</c:v>
                      </c:pt>
                      <c:pt idx="3135">
                        <c:v>0</c:v>
                      </c:pt>
                      <c:pt idx="3136">
                        <c:v>0</c:v>
                      </c:pt>
                      <c:pt idx="3137">
                        <c:v>0</c:v>
                      </c:pt>
                      <c:pt idx="3138">
                        <c:v>0</c:v>
                      </c:pt>
                      <c:pt idx="3139">
                        <c:v>0</c:v>
                      </c:pt>
                      <c:pt idx="3140">
                        <c:v>0</c:v>
                      </c:pt>
                      <c:pt idx="3141">
                        <c:v>0</c:v>
                      </c:pt>
                      <c:pt idx="3142">
                        <c:v>0</c:v>
                      </c:pt>
                      <c:pt idx="3143">
                        <c:v>0</c:v>
                      </c:pt>
                      <c:pt idx="3144">
                        <c:v>0</c:v>
                      </c:pt>
                      <c:pt idx="3145">
                        <c:v>0</c:v>
                      </c:pt>
                      <c:pt idx="3146">
                        <c:v>0</c:v>
                      </c:pt>
                      <c:pt idx="3147">
                        <c:v>0</c:v>
                      </c:pt>
                      <c:pt idx="3148">
                        <c:v>0</c:v>
                      </c:pt>
                      <c:pt idx="3149">
                        <c:v>0</c:v>
                      </c:pt>
                      <c:pt idx="3150">
                        <c:v>0</c:v>
                      </c:pt>
                      <c:pt idx="3151">
                        <c:v>0</c:v>
                      </c:pt>
                      <c:pt idx="3152">
                        <c:v>0</c:v>
                      </c:pt>
                      <c:pt idx="3153">
                        <c:v>0</c:v>
                      </c:pt>
                      <c:pt idx="3154">
                        <c:v>0</c:v>
                      </c:pt>
                      <c:pt idx="3155">
                        <c:v>0</c:v>
                      </c:pt>
                      <c:pt idx="3156">
                        <c:v>0</c:v>
                      </c:pt>
                      <c:pt idx="3157">
                        <c:v>0</c:v>
                      </c:pt>
                      <c:pt idx="3158">
                        <c:v>0</c:v>
                      </c:pt>
                      <c:pt idx="3159">
                        <c:v>0</c:v>
                      </c:pt>
                      <c:pt idx="3160">
                        <c:v>0</c:v>
                      </c:pt>
                      <c:pt idx="3161">
                        <c:v>0</c:v>
                      </c:pt>
                      <c:pt idx="3162">
                        <c:v>0</c:v>
                      </c:pt>
                      <c:pt idx="3163">
                        <c:v>0</c:v>
                      </c:pt>
                      <c:pt idx="3164">
                        <c:v>0</c:v>
                      </c:pt>
                      <c:pt idx="3165">
                        <c:v>0</c:v>
                      </c:pt>
                      <c:pt idx="3166">
                        <c:v>0</c:v>
                      </c:pt>
                      <c:pt idx="3167">
                        <c:v>0</c:v>
                      </c:pt>
                      <c:pt idx="3168">
                        <c:v>0</c:v>
                      </c:pt>
                      <c:pt idx="3169">
                        <c:v>0</c:v>
                      </c:pt>
                      <c:pt idx="3170">
                        <c:v>0</c:v>
                      </c:pt>
                      <c:pt idx="3171">
                        <c:v>0</c:v>
                      </c:pt>
                      <c:pt idx="3172">
                        <c:v>0</c:v>
                      </c:pt>
                      <c:pt idx="3173">
                        <c:v>0</c:v>
                      </c:pt>
                      <c:pt idx="3174">
                        <c:v>0</c:v>
                      </c:pt>
                      <c:pt idx="3175">
                        <c:v>0</c:v>
                      </c:pt>
                      <c:pt idx="3176">
                        <c:v>0</c:v>
                      </c:pt>
                      <c:pt idx="3177">
                        <c:v>0</c:v>
                      </c:pt>
                      <c:pt idx="3178">
                        <c:v>0</c:v>
                      </c:pt>
                      <c:pt idx="3179">
                        <c:v>0</c:v>
                      </c:pt>
                      <c:pt idx="3180">
                        <c:v>0</c:v>
                      </c:pt>
                      <c:pt idx="3181">
                        <c:v>0</c:v>
                      </c:pt>
                      <c:pt idx="3182">
                        <c:v>0</c:v>
                      </c:pt>
                      <c:pt idx="3183">
                        <c:v>0</c:v>
                      </c:pt>
                      <c:pt idx="3184">
                        <c:v>0</c:v>
                      </c:pt>
                      <c:pt idx="3185">
                        <c:v>0</c:v>
                      </c:pt>
                      <c:pt idx="3186">
                        <c:v>0</c:v>
                      </c:pt>
                      <c:pt idx="3187">
                        <c:v>0</c:v>
                      </c:pt>
                      <c:pt idx="3188">
                        <c:v>0</c:v>
                      </c:pt>
                      <c:pt idx="3189">
                        <c:v>0</c:v>
                      </c:pt>
                      <c:pt idx="3190">
                        <c:v>0</c:v>
                      </c:pt>
                      <c:pt idx="3191">
                        <c:v>0</c:v>
                      </c:pt>
                      <c:pt idx="3192">
                        <c:v>0</c:v>
                      </c:pt>
                      <c:pt idx="3193">
                        <c:v>0</c:v>
                      </c:pt>
                      <c:pt idx="3194">
                        <c:v>0</c:v>
                      </c:pt>
                      <c:pt idx="3195">
                        <c:v>0</c:v>
                      </c:pt>
                      <c:pt idx="3196">
                        <c:v>0</c:v>
                      </c:pt>
                      <c:pt idx="3197">
                        <c:v>0</c:v>
                      </c:pt>
                      <c:pt idx="3198">
                        <c:v>0</c:v>
                      </c:pt>
                      <c:pt idx="3199">
                        <c:v>0</c:v>
                      </c:pt>
                      <c:pt idx="3200">
                        <c:v>0</c:v>
                      </c:pt>
                      <c:pt idx="3201">
                        <c:v>0</c:v>
                      </c:pt>
                      <c:pt idx="3202">
                        <c:v>0</c:v>
                      </c:pt>
                      <c:pt idx="3203">
                        <c:v>0</c:v>
                      </c:pt>
                      <c:pt idx="3204">
                        <c:v>0</c:v>
                      </c:pt>
                      <c:pt idx="3205">
                        <c:v>0</c:v>
                      </c:pt>
                      <c:pt idx="3206">
                        <c:v>0</c:v>
                      </c:pt>
                      <c:pt idx="3207">
                        <c:v>0</c:v>
                      </c:pt>
                      <c:pt idx="3208">
                        <c:v>0</c:v>
                      </c:pt>
                      <c:pt idx="3209">
                        <c:v>0</c:v>
                      </c:pt>
                      <c:pt idx="3210">
                        <c:v>0</c:v>
                      </c:pt>
                      <c:pt idx="3211">
                        <c:v>0</c:v>
                      </c:pt>
                      <c:pt idx="3212">
                        <c:v>0</c:v>
                      </c:pt>
                      <c:pt idx="3213">
                        <c:v>0</c:v>
                      </c:pt>
                      <c:pt idx="3214">
                        <c:v>0</c:v>
                      </c:pt>
                      <c:pt idx="3215">
                        <c:v>0</c:v>
                      </c:pt>
                      <c:pt idx="3216">
                        <c:v>0</c:v>
                      </c:pt>
                      <c:pt idx="3217">
                        <c:v>0</c:v>
                      </c:pt>
                      <c:pt idx="3218">
                        <c:v>0</c:v>
                      </c:pt>
                      <c:pt idx="3219">
                        <c:v>0</c:v>
                      </c:pt>
                      <c:pt idx="3220">
                        <c:v>0</c:v>
                      </c:pt>
                      <c:pt idx="3221">
                        <c:v>0</c:v>
                      </c:pt>
                      <c:pt idx="3222">
                        <c:v>0</c:v>
                      </c:pt>
                      <c:pt idx="3223">
                        <c:v>0</c:v>
                      </c:pt>
                      <c:pt idx="3224">
                        <c:v>0</c:v>
                      </c:pt>
                      <c:pt idx="3225">
                        <c:v>0</c:v>
                      </c:pt>
                      <c:pt idx="3226">
                        <c:v>0</c:v>
                      </c:pt>
                      <c:pt idx="3227">
                        <c:v>0</c:v>
                      </c:pt>
                      <c:pt idx="3228">
                        <c:v>0</c:v>
                      </c:pt>
                      <c:pt idx="3229">
                        <c:v>0</c:v>
                      </c:pt>
                      <c:pt idx="3230">
                        <c:v>0</c:v>
                      </c:pt>
                      <c:pt idx="3231">
                        <c:v>0</c:v>
                      </c:pt>
                      <c:pt idx="3232">
                        <c:v>0</c:v>
                      </c:pt>
                      <c:pt idx="3233">
                        <c:v>0</c:v>
                      </c:pt>
                      <c:pt idx="3234">
                        <c:v>0</c:v>
                      </c:pt>
                      <c:pt idx="3235">
                        <c:v>0</c:v>
                      </c:pt>
                      <c:pt idx="3236">
                        <c:v>0</c:v>
                      </c:pt>
                      <c:pt idx="3237">
                        <c:v>0</c:v>
                      </c:pt>
                      <c:pt idx="3238">
                        <c:v>0</c:v>
                      </c:pt>
                      <c:pt idx="3239">
                        <c:v>0</c:v>
                      </c:pt>
                      <c:pt idx="3240">
                        <c:v>0</c:v>
                      </c:pt>
                      <c:pt idx="3241">
                        <c:v>0</c:v>
                      </c:pt>
                      <c:pt idx="3242">
                        <c:v>0</c:v>
                      </c:pt>
                      <c:pt idx="3243">
                        <c:v>0</c:v>
                      </c:pt>
                      <c:pt idx="3244">
                        <c:v>0</c:v>
                      </c:pt>
                      <c:pt idx="3245">
                        <c:v>0</c:v>
                      </c:pt>
                      <c:pt idx="3246">
                        <c:v>0</c:v>
                      </c:pt>
                      <c:pt idx="3247">
                        <c:v>0</c:v>
                      </c:pt>
                      <c:pt idx="3248">
                        <c:v>0</c:v>
                      </c:pt>
                      <c:pt idx="3249">
                        <c:v>0</c:v>
                      </c:pt>
                      <c:pt idx="3250">
                        <c:v>0</c:v>
                      </c:pt>
                      <c:pt idx="3251">
                        <c:v>0</c:v>
                      </c:pt>
                      <c:pt idx="3252">
                        <c:v>0</c:v>
                      </c:pt>
                      <c:pt idx="3253">
                        <c:v>0</c:v>
                      </c:pt>
                      <c:pt idx="3254">
                        <c:v>0</c:v>
                      </c:pt>
                      <c:pt idx="3255">
                        <c:v>0</c:v>
                      </c:pt>
                      <c:pt idx="3256">
                        <c:v>0</c:v>
                      </c:pt>
                      <c:pt idx="3257">
                        <c:v>0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</c:v>
                      </c:pt>
                      <c:pt idx="3265">
                        <c:v>0</c:v>
                      </c:pt>
                      <c:pt idx="3266">
                        <c:v>0</c:v>
                      </c:pt>
                      <c:pt idx="3267">
                        <c:v>0</c:v>
                      </c:pt>
                      <c:pt idx="3268">
                        <c:v>0</c:v>
                      </c:pt>
                      <c:pt idx="3269">
                        <c:v>0</c:v>
                      </c:pt>
                      <c:pt idx="3270">
                        <c:v>0</c:v>
                      </c:pt>
                      <c:pt idx="3271">
                        <c:v>0</c:v>
                      </c:pt>
                      <c:pt idx="3272">
                        <c:v>0</c:v>
                      </c:pt>
                      <c:pt idx="3273">
                        <c:v>0</c:v>
                      </c:pt>
                      <c:pt idx="3274">
                        <c:v>0</c:v>
                      </c:pt>
                      <c:pt idx="3275">
                        <c:v>0</c:v>
                      </c:pt>
                      <c:pt idx="3276">
                        <c:v>0</c:v>
                      </c:pt>
                      <c:pt idx="3277">
                        <c:v>0</c:v>
                      </c:pt>
                      <c:pt idx="3278">
                        <c:v>0</c:v>
                      </c:pt>
                      <c:pt idx="3279">
                        <c:v>0</c:v>
                      </c:pt>
                      <c:pt idx="3280">
                        <c:v>0</c:v>
                      </c:pt>
                      <c:pt idx="3281">
                        <c:v>0</c:v>
                      </c:pt>
                      <c:pt idx="3282">
                        <c:v>0</c:v>
                      </c:pt>
                      <c:pt idx="3283">
                        <c:v>0</c:v>
                      </c:pt>
                      <c:pt idx="3284">
                        <c:v>0</c:v>
                      </c:pt>
                      <c:pt idx="3285">
                        <c:v>0</c:v>
                      </c:pt>
                      <c:pt idx="3286">
                        <c:v>0</c:v>
                      </c:pt>
                      <c:pt idx="3287">
                        <c:v>0</c:v>
                      </c:pt>
                      <c:pt idx="3288">
                        <c:v>0</c:v>
                      </c:pt>
                      <c:pt idx="3289">
                        <c:v>0</c:v>
                      </c:pt>
                      <c:pt idx="3290">
                        <c:v>0</c:v>
                      </c:pt>
                      <c:pt idx="3291">
                        <c:v>0</c:v>
                      </c:pt>
                      <c:pt idx="3292">
                        <c:v>0</c:v>
                      </c:pt>
                      <c:pt idx="3293">
                        <c:v>0</c:v>
                      </c:pt>
                      <c:pt idx="3294">
                        <c:v>0</c:v>
                      </c:pt>
                      <c:pt idx="3295">
                        <c:v>0</c:v>
                      </c:pt>
                      <c:pt idx="3296">
                        <c:v>0</c:v>
                      </c:pt>
                      <c:pt idx="3297">
                        <c:v>0</c:v>
                      </c:pt>
                      <c:pt idx="3298">
                        <c:v>0</c:v>
                      </c:pt>
                      <c:pt idx="3299">
                        <c:v>0</c:v>
                      </c:pt>
                      <c:pt idx="3300">
                        <c:v>0</c:v>
                      </c:pt>
                      <c:pt idx="3301">
                        <c:v>0</c:v>
                      </c:pt>
                      <c:pt idx="3302">
                        <c:v>0</c:v>
                      </c:pt>
                      <c:pt idx="3303">
                        <c:v>0</c:v>
                      </c:pt>
                      <c:pt idx="3304">
                        <c:v>0</c:v>
                      </c:pt>
                      <c:pt idx="3305">
                        <c:v>0</c:v>
                      </c:pt>
                      <c:pt idx="3306">
                        <c:v>0</c:v>
                      </c:pt>
                      <c:pt idx="3307">
                        <c:v>0</c:v>
                      </c:pt>
                      <c:pt idx="3308">
                        <c:v>0</c:v>
                      </c:pt>
                      <c:pt idx="3309">
                        <c:v>0</c:v>
                      </c:pt>
                      <c:pt idx="3310">
                        <c:v>0</c:v>
                      </c:pt>
                      <c:pt idx="3311">
                        <c:v>0</c:v>
                      </c:pt>
                      <c:pt idx="3312">
                        <c:v>0</c:v>
                      </c:pt>
                      <c:pt idx="3313">
                        <c:v>0</c:v>
                      </c:pt>
                      <c:pt idx="3314">
                        <c:v>0</c:v>
                      </c:pt>
                      <c:pt idx="3315">
                        <c:v>0</c:v>
                      </c:pt>
                      <c:pt idx="3316">
                        <c:v>0</c:v>
                      </c:pt>
                      <c:pt idx="3317">
                        <c:v>0</c:v>
                      </c:pt>
                      <c:pt idx="3318">
                        <c:v>0</c:v>
                      </c:pt>
                      <c:pt idx="3319">
                        <c:v>0</c:v>
                      </c:pt>
                      <c:pt idx="3320">
                        <c:v>0</c:v>
                      </c:pt>
                      <c:pt idx="3321">
                        <c:v>0</c:v>
                      </c:pt>
                      <c:pt idx="3322">
                        <c:v>0</c:v>
                      </c:pt>
                      <c:pt idx="3323">
                        <c:v>0</c:v>
                      </c:pt>
                      <c:pt idx="3324">
                        <c:v>0</c:v>
                      </c:pt>
                      <c:pt idx="3325">
                        <c:v>0</c:v>
                      </c:pt>
                      <c:pt idx="3326">
                        <c:v>0</c:v>
                      </c:pt>
                      <c:pt idx="3327">
                        <c:v>0</c:v>
                      </c:pt>
                      <c:pt idx="3328">
                        <c:v>0</c:v>
                      </c:pt>
                      <c:pt idx="3329">
                        <c:v>0</c:v>
                      </c:pt>
                      <c:pt idx="3330">
                        <c:v>0</c:v>
                      </c:pt>
                      <c:pt idx="3331">
                        <c:v>0</c:v>
                      </c:pt>
                      <c:pt idx="3332">
                        <c:v>0</c:v>
                      </c:pt>
                      <c:pt idx="3333">
                        <c:v>0</c:v>
                      </c:pt>
                      <c:pt idx="3334">
                        <c:v>0</c:v>
                      </c:pt>
                      <c:pt idx="3335">
                        <c:v>0</c:v>
                      </c:pt>
                      <c:pt idx="3336">
                        <c:v>0</c:v>
                      </c:pt>
                      <c:pt idx="3337">
                        <c:v>0</c:v>
                      </c:pt>
                      <c:pt idx="3338">
                        <c:v>0</c:v>
                      </c:pt>
                      <c:pt idx="3339">
                        <c:v>0</c:v>
                      </c:pt>
                      <c:pt idx="3340">
                        <c:v>0</c:v>
                      </c:pt>
                      <c:pt idx="3341">
                        <c:v>0</c:v>
                      </c:pt>
                      <c:pt idx="3342">
                        <c:v>0</c:v>
                      </c:pt>
                      <c:pt idx="3343">
                        <c:v>0</c:v>
                      </c:pt>
                      <c:pt idx="3344">
                        <c:v>0</c:v>
                      </c:pt>
                      <c:pt idx="3345">
                        <c:v>0</c:v>
                      </c:pt>
                      <c:pt idx="3346">
                        <c:v>0</c:v>
                      </c:pt>
                      <c:pt idx="3347">
                        <c:v>0</c:v>
                      </c:pt>
                      <c:pt idx="3348">
                        <c:v>0</c:v>
                      </c:pt>
                      <c:pt idx="3349">
                        <c:v>0</c:v>
                      </c:pt>
                      <c:pt idx="3350">
                        <c:v>0</c:v>
                      </c:pt>
                      <c:pt idx="3351">
                        <c:v>0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</c:v>
                      </c:pt>
                      <c:pt idx="3357">
                        <c:v>0</c:v>
                      </c:pt>
                      <c:pt idx="3358">
                        <c:v>0</c:v>
                      </c:pt>
                      <c:pt idx="3359">
                        <c:v>0</c:v>
                      </c:pt>
                      <c:pt idx="3360">
                        <c:v>0</c:v>
                      </c:pt>
                      <c:pt idx="3361">
                        <c:v>0</c:v>
                      </c:pt>
                      <c:pt idx="3362">
                        <c:v>0</c:v>
                      </c:pt>
                      <c:pt idx="3363">
                        <c:v>0</c:v>
                      </c:pt>
                      <c:pt idx="3364">
                        <c:v>0</c:v>
                      </c:pt>
                      <c:pt idx="3365">
                        <c:v>0</c:v>
                      </c:pt>
                      <c:pt idx="3366">
                        <c:v>0</c:v>
                      </c:pt>
                      <c:pt idx="3367">
                        <c:v>0</c:v>
                      </c:pt>
                      <c:pt idx="3368">
                        <c:v>0</c:v>
                      </c:pt>
                      <c:pt idx="3369">
                        <c:v>0</c:v>
                      </c:pt>
                      <c:pt idx="3370">
                        <c:v>0</c:v>
                      </c:pt>
                      <c:pt idx="3371">
                        <c:v>0</c:v>
                      </c:pt>
                      <c:pt idx="3372">
                        <c:v>0</c:v>
                      </c:pt>
                      <c:pt idx="3373">
                        <c:v>0</c:v>
                      </c:pt>
                      <c:pt idx="3374">
                        <c:v>0</c:v>
                      </c:pt>
                      <c:pt idx="3375">
                        <c:v>0</c:v>
                      </c:pt>
                      <c:pt idx="3376">
                        <c:v>0</c:v>
                      </c:pt>
                      <c:pt idx="3377">
                        <c:v>0</c:v>
                      </c:pt>
                      <c:pt idx="3378">
                        <c:v>0</c:v>
                      </c:pt>
                      <c:pt idx="3379">
                        <c:v>0</c:v>
                      </c:pt>
                      <c:pt idx="3380">
                        <c:v>0</c:v>
                      </c:pt>
                      <c:pt idx="3381">
                        <c:v>0</c:v>
                      </c:pt>
                      <c:pt idx="3382">
                        <c:v>0</c:v>
                      </c:pt>
                      <c:pt idx="3383">
                        <c:v>0</c:v>
                      </c:pt>
                      <c:pt idx="3384">
                        <c:v>0</c:v>
                      </c:pt>
                      <c:pt idx="3385">
                        <c:v>0</c:v>
                      </c:pt>
                      <c:pt idx="3386">
                        <c:v>0</c:v>
                      </c:pt>
                      <c:pt idx="3387">
                        <c:v>0</c:v>
                      </c:pt>
                      <c:pt idx="3388">
                        <c:v>0</c:v>
                      </c:pt>
                      <c:pt idx="3389">
                        <c:v>0</c:v>
                      </c:pt>
                      <c:pt idx="3390">
                        <c:v>0</c:v>
                      </c:pt>
                      <c:pt idx="3391">
                        <c:v>0</c:v>
                      </c:pt>
                      <c:pt idx="3392">
                        <c:v>0</c:v>
                      </c:pt>
                      <c:pt idx="3393">
                        <c:v>0</c:v>
                      </c:pt>
                      <c:pt idx="3394">
                        <c:v>0</c:v>
                      </c:pt>
                      <c:pt idx="3395">
                        <c:v>0</c:v>
                      </c:pt>
                      <c:pt idx="3396">
                        <c:v>0</c:v>
                      </c:pt>
                      <c:pt idx="3397">
                        <c:v>0</c:v>
                      </c:pt>
                      <c:pt idx="3398">
                        <c:v>0</c:v>
                      </c:pt>
                      <c:pt idx="3399">
                        <c:v>0</c:v>
                      </c:pt>
                      <c:pt idx="3400">
                        <c:v>0</c:v>
                      </c:pt>
                      <c:pt idx="3401">
                        <c:v>0</c:v>
                      </c:pt>
                      <c:pt idx="3402">
                        <c:v>0</c:v>
                      </c:pt>
                      <c:pt idx="3403">
                        <c:v>0</c:v>
                      </c:pt>
                      <c:pt idx="3404">
                        <c:v>0</c:v>
                      </c:pt>
                      <c:pt idx="3405">
                        <c:v>0</c:v>
                      </c:pt>
                      <c:pt idx="3406">
                        <c:v>0</c:v>
                      </c:pt>
                      <c:pt idx="3407">
                        <c:v>0</c:v>
                      </c:pt>
                      <c:pt idx="3408">
                        <c:v>0</c:v>
                      </c:pt>
                      <c:pt idx="3409">
                        <c:v>0</c:v>
                      </c:pt>
                      <c:pt idx="3410">
                        <c:v>0</c:v>
                      </c:pt>
                      <c:pt idx="3411">
                        <c:v>0</c:v>
                      </c:pt>
                      <c:pt idx="3412">
                        <c:v>0</c:v>
                      </c:pt>
                      <c:pt idx="3413">
                        <c:v>0</c:v>
                      </c:pt>
                      <c:pt idx="3414">
                        <c:v>0</c:v>
                      </c:pt>
                      <c:pt idx="3415">
                        <c:v>0</c:v>
                      </c:pt>
                      <c:pt idx="3416">
                        <c:v>0</c:v>
                      </c:pt>
                      <c:pt idx="3417">
                        <c:v>0</c:v>
                      </c:pt>
                      <c:pt idx="3418">
                        <c:v>0</c:v>
                      </c:pt>
                      <c:pt idx="3419">
                        <c:v>0</c:v>
                      </c:pt>
                      <c:pt idx="3420">
                        <c:v>0</c:v>
                      </c:pt>
                      <c:pt idx="3421">
                        <c:v>0</c:v>
                      </c:pt>
                      <c:pt idx="3422">
                        <c:v>0</c:v>
                      </c:pt>
                      <c:pt idx="3423">
                        <c:v>0</c:v>
                      </c:pt>
                      <c:pt idx="3424">
                        <c:v>0</c:v>
                      </c:pt>
                      <c:pt idx="3425">
                        <c:v>0</c:v>
                      </c:pt>
                      <c:pt idx="3426">
                        <c:v>0</c:v>
                      </c:pt>
                      <c:pt idx="3427">
                        <c:v>0</c:v>
                      </c:pt>
                      <c:pt idx="3428">
                        <c:v>0</c:v>
                      </c:pt>
                      <c:pt idx="3429">
                        <c:v>0</c:v>
                      </c:pt>
                      <c:pt idx="3430">
                        <c:v>0</c:v>
                      </c:pt>
                      <c:pt idx="3431">
                        <c:v>0</c:v>
                      </c:pt>
                      <c:pt idx="3432">
                        <c:v>0</c:v>
                      </c:pt>
                      <c:pt idx="3433">
                        <c:v>0</c:v>
                      </c:pt>
                      <c:pt idx="3434">
                        <c:v>0</c:v>
                      </c:pt>
                      <c:pt idx="3435">
                        <c:v>0</c:v>
                      </c:pt>
                      <c:pt idx="3436">
                        <c:v>0</c:v>
                      </c:pt>
                      <c:pt idx="3437">
                        <c:v>0</c:v>
                      </c:pt>
                      <c:pt idx="3438">
                        <c:v>0</c:v>
                      </c:pt>
                      <c:pt idx="3439">
                        <c:v>0</c:v>
                      </c:pt>
                      <c:pt idx="3440">
                        <c:v>0</c:v>
                      </c:pt>
                      <c:pt idx="3441">
                        <c:v>0</c:v>
                      </c:pt>
                      <c:pt idx="3442">
                        <c:v>0</c:v>
                      </c:pt>
                      <c:pt idx="3443">
                        <c:v>0</c:v>
                      </c:pt>
                      <c:pt idx="3444">
                        <c:v>0</c:v>
                      </c:pt>
                      <c:pt idx="3445">
                        <c:v>0</c:v>
                      </c:pt>
                      <c:pt idx="3446">
                        <c:v>0</c:v>
                      </c:pt>
                      <c:pt idx="3447">
                        <c:v>0</c:v>
                      </c:pt>
                      <c:pt idx="3448">
                        <c:v>0</c:v>
                      </c:pt>
                      <c:pt idx="3449">
                        <c:v>0</c:v>
                      </c:pt>
                      <c:pt idx="3450">
                        <c:v>0</c:v>
                      </c:pt>
                      <c:pt idx="3451">
                        <c:v>0</c:v>
                      </c:pt>
                      <c:pt idx="3452">
                        <c:v>0</c:v>
                      </c:pt>
                      <c:pt idx="3453">
                        <c:v>0</c:v>
                      </c:pt>
                      <c:pt idx="3454">
                        <c:v>0</c:v>
                      </c:pt>
                      <c:pt idx="3455">
                        <c:v>0</c:v>
                      </c:pt>
                      <c:pt idx="3456">
                        <c:v>0</c:v>
                      </c:pt>
                      <c:pt idx="3457">
                        <c:v>0</c:v>
                      </c:pt>
                      <c:pt idx="3458">
                        <c:v>0</c:v>
                      </c:pt>
                      <c:pt idx="3459">
                        <c:v>0</c:v>
                      </c:pt>
                      <c:pt idx="3460">
                        <c:v>0</c:v>
                      </c:pt>
                      <c:pt idx="3461">
                        <c:v>0</c:v>
                      </c:pt>
                      <c:pt idx="3462">
                        <c:v>0</c:v>
                      </c:pt>
                      <c:pt idx="3463">
                        <c:v>0</c:v>
                      </c:pt>
                      <c:pt idx="3464">
                        <c:v>0</c:v>
                      </c:pt>
                      <c:pt idx="3465">
                        <c:v>0</c:v>
                      </c:pt>
                      <c:pt idx="3466">
                        <c:v>0</c:v>
                      </c:pt>
                      <c:pt idx="3467">
                        <c:v>0</c:v>
                      </c:pt>
                      <c:pt idx="3468">
                        <c:v>0</c:v>
                      </c:pt>
                      <c:pt idx="3469">
                        <c:v>0</c:v>
                      </c:pt>
                      <c:pt idx="3470">
                        <c:v>0</c:v>
                      </c:pt>
                      <c:pt idx="3471">
                        <c:v>0</c:v>
                      </c:pt>
                      <c:pt idx="3472">
                        <c:v>0</c:v>
                      </c:pt>
                      <c:pt idx="3473">
                        <c:v>0</c:v>
                      </c:pt>
                      <c:pt idx="3474">
                        <c:v>0</c:v>
                      </c:pt>
                      <c:pt idx="3475">
                        <c:v>0</c:v>
                      </c:pt>
                      <c:pt idx="3476">
                        <c:v>0</c:v>
                      </c:pt>
                      <c:pt idx="3477">
                        <c:v>0</c:v>
                      </c:pt>
                      <c:pt idx="3478">
                        <c:v>0</c:v>
                      </c:pt>
                      <c:pt idx="3479">
                        <c:v>0</c:v>
                      </c:pt>
                      <c:pt idx="3480">
                        <c:v>0</c:v>
                      </c:pt>
                      <c:pt idx="3481">
                        <c:v>0</c:v>
                      </c:pt>
                      <c:pt idx="3482">
                        <c:v>0</c:v>
                      </c:pt>
                      <c:pt idx="3483">
                        <c:v>0</c:v>
                      </c:pt>
                      <c:pt idx="3484">
                        <c:v>0</c:v>
                      </c:pt>
                      <c:pt idx="3485">
                        <c:v>0</c:v>
                      </c:pt>
                      <c:pt idx="3486">
                        <c:v>0</c:v>
                      </c:pt>
                      <c:pt idx="3487">
                        <c:v>0</c:v>
                      </c:pt>
                      <c:pt idx="3488">
                        <c:v>0</c:v>
                      </c:pt>
                      <c:pt idx="3489">
                        <c:v>0</c:v>
                      </c:pt>
                      <c:pt idx="3490">
                        <c:v>0</c:v>
                      </c:pt>
                      <c:pt idx="3491">
                        <c:v>0</c:v>
                      </c:pt>
                      <c:pt idx="3492">
                        <c:v>0</c:v>
                      </c:pt>
                      <c:pt idx="3493">
                        <c:v>0</c:v>
                      </c:pt>
                      <c:pt idx="3494">
                        <c:v>0</c:v>
                      </c:pt>
                      <c:pt idx="3495">
                        <c:v>0</c:v>
                      </c:pt>
                      <c:pt idx="3496">
                        <c:v>0</c:v>
                      </c:pt>
                      <c:pt idx="3497">
                        <c:v>0</c:v>
                      </c:pt>
                      <c:pt idx="3498">
                        <c:v>0</c:v>
                      </c:pt>
                      <c:pt idx="3499">
                        <c:v>0</c:v>
                      </c:pt>
                      <c:pt idx="3500">
                        <c:v>0</c:v>
                      </c:pt>
                      <c:pt idx="3501">
                        <c:v>0</c:v>
                      </c:pt>
                      <c:pt idx="3502">
                        <c:v>0</c:v>
                      </c:pt>
                      <c:pt idx="3503">
                        <c:v>0</c:v>
                      </c:pt>
                      <c:pt idx="3504">
                        <c:v>0</c:v>
                      </c:pt>
                      <c:pt idx="3505">
                        <c:v>0</c:v>
                      </c:pt>
                      <c:pt idx="3506">
                        <c:v>0</c:v>
                      </c:pt>
                      <c:pt idx="3507">
                        <c:v>0</c:v>
                      </c:pt>
                      <c:pt idx="3508">
                        <c:v>0</c:v>
                      </c:pt>
                      <c:pt idx="3509">
                        <c:v>0</c:v>
                      </c:pt>
                      <c:pt idx="3510">
                        <c:v>0</c:v>
                      </c:pt>
                      <c:pt idx="3511">
                        <c:v>0</c:v>
                      </c:pt>
                      <c:pt idx="3512">
                        <c:v>0</c:v>
                      </c:pt>
                      <c:pt idx="3513">
                        <c:v>0</c:v>
                      </c:pt>
                      <c:pt idx="3514">
                        <c:v>0</c:v>
                      </c:pt>
                      <c:pt idx="3515">
                        <c:v>0</c:v>
                      </c:pt>
                      <c:pt idx="3516">
                        <c:v>0</c:v>
                      </c:pt>
                      <c:pt idx="3517">
                        <c:v>0</c:v>
                      </c:pt>
                      <c:pt idx="3518">
                        <c:v>0</c:v>
                      </c:pt>
                      <c:pt idx="3519">
                        <c:v>0</c:v>
                      </c:pt>
                      <c:pt idx="3520">
                        <c:v>0</c:v>
                      </c:pt>
                      <c:pt idx="3521">
                        <c:v>0</c:v>
                      </c:pt>
                      <c:pt idx="3522">
                        <c:v>0</c:v>
                      </c:pt>
                      <c:pt idx="3523">
                        <c:v>0</c:v>
                      </c:pt>
                      <c:pt idx="3524">
                        <c:v>0</c:v>
                      </c:pt>
                      <c:pt idx="3525">
                        <c:v>0</c:v>
                      </c:pt>
                      <c:pt idx="3526">
                        <c:v>0</c:v>
                      </c:pt>
                      <c:pt idx="3527">
                        <c:v>0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0</c:v>
                      </c:pt>
                      <c:pt idx="3533">
                        <c:v>0</c:v>
                      </c:pt>
                      <c:pt idx="3534">
                        <c:v>0</c:v>
                      </c:pt>
                      <c:pt idx="3535">
                        <c:v>0</c:v>
                      </c:pt>
                      <c:pt idx="3536">
                        <c:v>0</c:v>
                      </c:pt>
                      <c:pt idx="3537">
                        <c:v>0</c:v>
                      </c:pt>
                      <c:pt idx="3538">
                        <c:v>0</c:v>
                      </c:pt>
                      <c:pt idx="3539">
                        <c:v>0</c:v>
                      </c:pt>
                      <c:pt idx="3540">
                        <c:v>0</c:v>
                      </c:pt>
                      <c:pt idx="3541">
                        <c:v>0</c:v>
                      </c:pt>
                      <c:pt idx="3542">
                        <c:v>0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</c:v>
                      </c:pt>
                      <c:pt idx="3550">
                        <c:v>0</c:v>
                      </c:pt>
                      <c:pt idx="3551">
                        <c:v>0</c:v>
                      </c:pt>
                      <c:pt idx="3552">
                        <c:v>0</c:v>
                      </c:pt>
                      <c:pt idx="3553">
                        <c:v>0</c:v>
                      </c:pt>
                      <c:pt idx="3554">
                        <c:v>0</c:v>
                      </c:pt>
                      <c:pt idx="3555">
                        <c:v>0</c:v>
                      </c:pt>
                      <c:pt idx="3556">
                        <c:v>0</c:v>
                      </c:pt>
                      <c:pt idx="3557">
                        <c:v>0</c:v>
                      </c:pt>
                      <c:pt idx="3558">
                        <c:v>0</c:v>
                      </c:pt>
                      <c:pt idx="3559">
                        <c:v>0</c:v>
                      </c:pt>
                      <c:pt idx="3560">
                        <c:v>0</c:v>
                      </c:pt>
                      <c:pt idx="3561">
                        <c:v>0</c:v>
                      </c:pt>
                      <c:pt idx="3562">
                        <c:v>0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0</c:v>
                      </c:pt>
                      <c:pt idx="3568">
                        <c:v>0</c:v>
                      </c:pt>
                      <c:pt idx="3569">
                        <c:v>0</c:v>
                      </c:pt>
                      <c:pt idx="3570">
                        <c:v>0</c:v>
                      </c:pt>
                      <c:pt idx="3571">
                        <c:v>0</c:v>
                      </c:pt>
                      <c:pt idx="3572">
                        <c:v>0</c:v>
                      </c:pt>
                      <c:pt idx="3573">
                        <c:v>0</c:v>
                      </c:pt>
                      <c:pt idx="3574">
                        <c:v>0</c:v>
                      </c:pt>
                      <c:pt idx="3575">
                        <c:v>0</c:v>
                      </c:pt>
                      <c:pt idx="3576">
                        <c:v>0</c:v>
                      </c:pt>
                      <c:pt idx="3577">
                        <c:v>0</c:v>
                      </c:pt>
                      <c:pt idx="3578">
                        <c:v>0</c:v>
                      </c:pt>
                      <c:pt idx="3579">
                        <c:v>0</c:v>
                      </c:pt>
                      <c:pt idx="3580">
                        <c:v>0</c:v>
                      </c:pt>
                      <c:pt idx="3581">
                        <c:v>0</c:v>
                      </c:pt>
                      <c:pt idx="3582">
                        <c:v>0</c:v>
                      </c:pt>
                      <c:pt idx="3583">
                        <c:v>0</c:v>
                      </c:pt>
                      <c:pt idx="3584">
                        <c:v>0</c:v>
                      </c:pt>
                      <c:pt idx="3585">
                        <c:v>0</c:v>
                      </c:pt>
                      <c:pt idx="3586">
                        <c:v>0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</c:v>
                      </c:pt>
                      <c:pt idx="3594">
                        <c:v>0</c:v>
                      </c:pt>
                      <c:pt idx="3595">
                        <c:v>0</c:v>
                      </c:pt>
                      <c:pt idx="3596">
                        <c:v>0</c:v>
                      </c:pt>
                      <c:pt idx="3597">
                        <c:v>0</c:v>
                      </c:pt>
                      <c:pt idx="3598">
                        <c:v>0</c:v>
                      </c:pt>
                      <c:pt idx="3599">
                        <c:v>0</c:v>
                      </c:pt>
                      <c:pt idx="3600">
                        <c:v>0</c:v>
                      </c:pt>
                      <c:pt idx="3601">
                        <c:v>0</c:v>
                      </c:pt>
                      <c:pt idx="3602">
                        <c:v>0</c:v>
                      </c:pt>
                      <c:pt idx="3603">
                        <c:v>0</c:v>
                      </c:pt>
                      <c:pt idx="3604">
                        <c:v>0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</c:v>
                      </c:pt>
                      <c:pt idx="3619">
                        <c:v>0</c:v>
                      </c:pt>
                      <c:pt idx="3620">
                        <c:v>0</c:v>
                      </c:pt>
                      <c:pt idx="3621">
                        <c:v>0</c:v>
                      </c:pt>
                      <c:pt idx="3622">
                        <c:v>0</c:v>
                      </c:pt>
                      <c:pt idx="3623">
                        <c:v>0</c:v>
                      </c:pt>
                      <c:pt idx="3624">
                        <c:v>0</c:v>
                      </c:pt>
                      <c:pt idx="3625">
                        <c:v>0</c:v>
                      </c:pt>
                      <c:pt idx="3626">
                        <c:v>0</c:v>
                      </c:pt>
                      <c:pt idx="3627">
                        <c:v>0</c:v>
                      </c:pt>
                      <c:pt idx="3628">
                        <c:v>0</c:v>
                      </c:pt>
                      <c:pt idx="3629">
                        <c:v>0</c:v>
                      </c:pt>
                      <c:pt idx="3630">
                        <c:v>0</c:v>
                      </c:pt>
                      <c:pt idx="3631">
                        <c:v>0</c:v>
                      </c:pt>
                      <c:pt idx="3632">
                        <c:v>0</c:v>
                      </c:pt>
                      <c:pt idx="3633">
                        <c:v>0</c:v>
                      </c:pt>
                      <c:pt idx="3634">
                        <c:v>0</c:v>
                      </c:pt>
                      <c:pt idx="3635">
                        <c:v>0</c:v>
                      </c:pt>
                      <c:pt idx="3636">
                        <c:v>0</c:v>
                      </c:pt>
                      <c:pt idx="3637">
                        <c:v>0</c:v>
                      </c:pt>
                      <c:pt idx="3638">
                        <c:v>0</c:v>
                      </c:pt>
                      <c:pt idx="3639">
                        <c:v>0</c:v>
                      </c:pt>
                      <c:pt idx="3640">
                        <c:v>0</c:v>
                      </c:pt>
                      <c:pt idx="3641">
                        <c:v>0</c:v>
                      </c:pt>
                      <c:pt idx="3642">
                        <c:v>0</c:v>
                      </c:pt>
                      <c:pt idx="3643">
                        <c:v>0</c:v>
                      </c:pt>
                      <c:pt idx="3644">
                        <c:v>0</c:v>
                      </c:pt>
                      <c:pt idx="3645">
                        <c:v>0</c:v>
                      </c:pt>
                      <c:pt idx="3646">
                        <c:v>0</c:v>
                      </c:pt>
                      <c:pt idx="3647">
                        <c:v>0</c:v>
                      </c:pt>
                      <c:pt idx="3648">
                        <c:v>0</c:v>
                      </c:pt>
                      <c:pt idx="3649">
                        <c:v>0</c:v>
                      </c:pt>
                      <c:pt idx="3650">
                        <c:v>0</c:v>
                      </c:pt>
                      <c:pt idx="3651">
                        <c:v>0</c:v>
                      </c:pt>
                      <c:pt idx="3652">
                        <c:v>0</c:v>
                      </c:pt>
                      <c:pt idx="3653">
                        <c:v>0</c:v>
                      </c:pt>
                      <c:pt idx="3654">
                        <c:v>0</c:v>
                      </c:pt>
                      <c:pt idx="3655">
                        <c:v>0</c:v>
                      </c:pt>
                      <c:pt idx="3656">
                        <c:v>0</c:v>
                      </c:pt>
                      <c:pt idx="3657">
                        <c:v>0</c:v>
                      </c:pt>
                      <c:pt idx="3658">
                        <c:v>0</c:v>
                      </c:pt>
                      <c:pt idx="3659">
                        <c:v>0</c:v>
                      </c:pt>
                      <c:pt idx="3660">
                        <c:v>0</c:v>
                      </c:pt>
                      <c:pt idx="3661">
                        <c:v>0</c:v>
                      </c:pt>
                      <c:pt idx="3662">
                        <c:v>0</c:v>
                      </c:pt>
                      <c:pt idx="3663">
                        <c:v>0</c:v>
                      </c:pt>
                      <c:pt idx="3664">
                        <c:v>0</c:v>
                      </c:pt>
                      <c:pt idx="3665">
                        <c:v>0</c:v>
                      </c:pt>
                      <c:pt idx="3666">
                        <c:v>0</c:v>
                      </c:pt>
                      <c:pt idx="3667">
                        <c:v>0</c:v>
                      </c:pt>
                      <c:pt idx="3668">
                        <c:v>0</c:v>
                      </c:pt>
                      <c:pt idx="3669">
                        <c:v>0</c:v>
                      </c:pt>
                      <c:pt idx="3670">
                        <c:v>0</c:v>
                      </c:pt>
                      <c:pt idx="3671">
                        <c:v>0</c:v>
                      </c:pt>
                      <c:pt idx="3672">
                        <c:v>0</c:v>
                      </c:pt>
                      <c:pt idx="3673">
                        <c:v>0</c:v>
                      </c:pt>
                      <c:pt idx="3674">
                        <c:v>0</c:v>
                      </c:pt>
                      <c:pt idx="3675">
                        <c:v>0</c:v>
                      </c:pt>
                      <c:pt idx="3676">
                        <c:v>0</c:v>
                      </c:pt>
                      <c:pt idx="3677">
                        <c:v>0</c:v>
                      </c:pt>
                      <c:pt idx="3678">
                        <c:v>0</c:v>
                      </c:pt>
                      <c:pt idx="3679">
                        <c:v>0</c:v>
                      </c:pt>
                      <c:pt idx="3680">
                        <c:v>0</c:v>
                      </c:pt>
                      <c:pt idx="3681">
                        <c:v>0</c:v>
                      </c:pt>
                      <c:pt idx="3682">
                        <c:v>0</c:v>
                      </c:pt>
                      <c:pt idx="3683">
                        <c:v>0</c:v>
                      </c:pt>
                      <c:pt idx="3684">
                        <c:v>0</c:v>
                      </c:pt>
                      <c:pt idx="3685">
                        <c:v>0</c:v>
                      </c:pt>
                      <c:pt idx="3686">
                        <c:v>0</c:v>
                      </c:pt>
                      <c:pt idx="3687">
                        <c:v>0</c:v>
                      </c:pt>
                      <c:pt idx="3688">
                        <c:v>0</c:v>
                      </c:pt>
                      <c:pt idx="3689">
                        <c:v>0</c:v>
                      </c:pt>
                      <c:pt idx="3690">
                        <c:v>0</c:v>
                      </c:pt>
                      <c:pt idx="3691">
                        <c:v>0</c:v>
                      </c:pt>
                      <c:pt idx="3692">
                        <c:v>0</c:v>
                      </c:pt>
                      <c:pt idx="3693">
                        <c:v>0</c:v>
                      </c:pt>
                      <c:pt idx="3694">
                        <c:v>0</c:v>
                      </c:pt>
                      <c:pt idx="3695">
                        <c:v>0</c:v>
                      </c:pt>
                      <c:pt idx="3696">
                        <c:v>0</c:v>
                      </c:pt>
                      <c:pt idx="3697">
                        <c:v>0</c:v>
                      </c:pt>
                      <c:pt idx="3698">
                        <c:v>0</c:v>
                      </c:pt>
                      <c:pt idx="3699">
                        <c:v>0</c:v>
                      </c:pt>
                      <c:pt idx="3700">
                        <c:v>0</c:v>
                      </c:pt>
                      <c:pt idx="3701">
                        <c:v>0</c:v>
                      </c:pt>
                      <c:pt idx="3702">
                        <c:v>0</c:v>
                      </c:pt>
                      <c:pt idx="3703">
                        <c:v>0</c:v>
                      </c:pt>
                      <c:pt idx="3704">
                        <c:v>0</c:v>
                      </c:pt>
                      <c:pt idx="3705">
                        <c:v>0</c:v>
                      </c:pt>
                      <c:pt idx="3706">
                        <c:v>0</c:v>
                      </c:pt>
                      <c:pt idx="3707">
                        <c:v>0</c:v>
                      </c:pt>
                      <c:pt idx="3708">
                        <c:v>0</c:v>
                      </c:pt>
                      <c:pt idx="3709">
                        <c:v>0</c:v>
                      </c:pt>
                      <c:pt idx="3710">
                        <c:v>0</c:v>
                      </c:pt>
                      <c:pt idx="3711">
                        <c:v>0</c:v>
                      </c:pt>
                      <c:pt idx="3712">
                        <c:v>0</c:v>
                      </c:pt>
                      <c:pt idx="3713">
                        <c:v>0</c:v>
                      </c:pt>
                      <c:pt idx="3714">
                        <c:v>0</c:v>
                      </c:pt>
                      <c:pt idx="3715">
                        <c:v>0</c:v>
                      </c:pt>
                      <c:pt idx="3716">
                        <c:v>0</c:v>
                      </c:pt>
                      <c:pt idx="3717">
                        <c:v>0</c:v>
                      </c:pt>
                      <c:pt idx="3718">
                        <c:v>0</c:v>
                      </c:pt>
                      <c:pt idx="3719">
                        <c:v>0</c:v>
                      </c:pt>
                      <c:pt idx="3720">
                        <c:v>0</c:v>
                      </c:pt>
                      <c:pt idx="3721">
                        <c:v>0</c:v>
                      </c:pt>
                      <c:pt idx="3722">
                        <c:v>0</c:v>
                      </c:pt>
                      <c:pt idx="3723">
                        <c:v>0</c:v>
                      </c:pt>
                      <c:pt idx="3724">
                        <c:v>0</c:v>
                      </c:pt>
                      <c:pt idx="3725">
                        <c:v>0</c:v>
                      </c:pt>
                      <c:pt idx="3726">
                        <c:v>0</c:v>
                      </c:pt>
                      <c:pt idx="3727">
                        <c:v>0</c:v>
                      </c:pt>
                      <c:pt idx="3728">
                        <c:v>0</c:v>
                      </c:pt>
                      <c:pt idx="3729">
                        <c:v>0</c:v>
                      </c:pt>
                      <c:pt idx="3730">
                        <c:v>0</c:v>
                      </c:pt>
                      <c:pt idx="3731">
                        <c:v>0</c:v>
                      </c:pt>
                      <c:pt idx="3732">
                        <c:v>0</c:v>
                      </c:pt>
                      <c:pt idx="3733">
                        <c:v>0</c:v>
                      </c:pt>
                      <c:pt idx="3734">
                        <c:v>0</c:v>
                      </c:pt>
                      <c:pt idx="3735">
                        <c:v>0</c:v>
                      </c:pt>
                      <c:pt idx="3736">
                        <c:v>0</c:v>
                      </c:pt>
                      <c:pt idx="3737">
                        <c:v>0</c:v>
                      </c:pt>
                      <c:pt idx="3738">
                        <c:v>0</c:v>
                      </c:pt>
                      <c:pt idx="3739">
                        <c:v>0</c:v>
                      </c:pt>
                      <c:pt idx="3740">
                        <c:v>0</c:v>
                      </c:pt>
                      <c:pt idx="3741">
                        <c:v>0</c:v>
                      </c:pt>
                      <c:pt idx="3742">
                        <c:v>0</c:v>
                      </c:pt>
                      <c:pt idx="3743">
                        <c:v>0</c:v>
                      </c:pt>
                      <c:pt idx="3744">
                        <c:v>0</c:v>
                      </c:pt>
                      <c:pt idx="3745">
                        <c:v>0</c:v>
                      </c:pt>
                      <c:pt idx="3746">
                        <c:v>0</c:v>
                      </c:pt>
                      <c:pt idx="3747">
                        <c:v>0</c:v>
                      </c:pt>
                      <c:pt idx="3748">
                        <c:v>0</c:v>
                      </c:pt>
                      <c:pt idx="3749">
                        <c:v>0</c:v>
                      </c:pt>
                      <c:pt idx="3750">
                        <c:v>0</c:v>
                      </c:pt>
                      <c:pt idx="3751">
                        <c:v>0</c:v>
                      </c:pt>
                      <c:pt idx="3752">
                        <c:v>0</c:v>
                      </c:pt>
                      <c:pt idx="3753">
                        <c:v>0</c:v>
                      </c:pt>
                      <c:pt idx="3754">
                        <c:v>0</c:v>
                      </c:pt>
                      <c:pt idx="3755">
                        <c:v>0</c:v>
                      </c:pt>
                      <c:pt idx="3756">
                        <c:v>0</c:v>
                      </c:pt>
                      <c:pt idx="3757">
                        <c:v>0</c:v>
                      </c:pt>
                      <c:pt idx="3758">
                        <c:v>0</c:v>
                      </c:pt>
                      <c:pt idx="3759">
                        <c:v>0</c:v>
                      </c:pt>
                      <c:pt idx="3760">
                        <c:v>0</c:v>
                      </c:pt>
                      <c:pt idx="3761">
                        <c:v>0</c:v>
                      </c:pt>
                      <c:pt idx="3762">
                        <c:v>0</c:v>
                      </c:pt>
                      <c:pt idx="3763">
                        <c:v>0</c:v>
                      </c:pt>
                      <c:pt idx="3764">
                        <c:v>0</c:v>
                      </c:pt>
                      <c:pt idx="3765">
                        <c:v>0</c:v>
                      </c:pt>
                      <c:pt idx="3766">
                        <c:v>0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</c:v>
                      </c:pt>
                      <c:pt idx="3774">
                        <c:v>0</c:v>
                      </c:pt>
                      <c:pt idx="3775">
                        <c:v>0</c:v>
                      </c:pt>
                      <c:pt idx="3776">
                        <c:v>0</c:v>
                      </c:pt>
                      <c:pt idx="3777">
                        <c:v>0</c:v>
                      </c:pt>
                      <c:pt idx="3778">
                        <c:v>0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0</c:v>
                      </c:pt>
                      <c:pt idx="3783">
                        <c:v>0</c:v>
                      </c:pt>
                      <c:pt idx="3784">
                        <c:v>0</c:v>
                      </c:pt>
                      <c:pt idx="3785">
                        <c:v>0</c:v>
                      </c:pt>
                      <c:pt idx="3786">
                        <c:v>0</c:v>
                      </c:pt>
                      <c:pt idx="3787">
                        <c:v>0</c:v>
                      </c:pt>
                      <c:pt idx="3788">
                        <c:v>0</c:v>
                      </c:pt>
                      <c:pt idx="3789">
                        <c:v>0</c:v>
                      </c:pt>
                      <c:pt idx="3790">
                        <c:v>0</c:v>
                      </c:pt>
                      <c:pt idx="3791">
                        <c:v>0</c:v>
                      </c:pt>
                      <c:pt idx="3792">
                        <c:v>0</c:v>
                      </c:pt>
                      <c:pt idx="3793">
                        <c:v>0</c:v>
                      </c:pt>
                      <c:pt idx="3794">
                        <c:v>0</c:v>
                      </c:pt>
                      <c:pt idx="3795">
                        <c:v>0</c:v>
                      </c:pt>
                      <c:pt idx="3796">
                        <c:v>0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0</c:v>
                      </c:pt>
                      <c:pt idx="3807">
                        <c:v>0</c:v>
                      </c:pt>
                      <c:pt idx="3808">
                        <c:v>0</c:v>
                      </c:pt>
                      <c:pt idx="3809">
                        <c:v>0</c:v>
                      </c:pt>
                      <c:pt idx="3810">
                        <c:v>0</c:v>
                      </c:pt>
                      <c:pt idx="3811">
                        <c:v>0</c:v>
                      </c:pt>
                      <c:pt idx="3812">
                        <c:v>0</c:v>
                      </c:pt>
                      <c:pt idx="3813">
                        <c:v>0</c:v>
                      </c:pt>
                      <c:pt idx="3814">
                        <c:v>0</c:v>
                      </c:pt>
                      <c:pt idx="3815">
                        <c:v>0</c:v>
                      </c:pt>
                      <c:pt idx="3816">
                        <c:v>0</c:v>
                      </c:pt>
                      <c:pt idx="3817">
                        <c:v>0</c:v>
                      </c:pt>
                      <c:pt idx="3818">
                        <c:v>0</c:v>
                      </c:pt>
                      <c:pt idx="3819">
                        <c:v>0</c:v>
                      </c:pt>
                      <c:pt idx="3820">
                        <c:v>0</c:v>
                      </c:pt>
                      <c:pt idx="3821">
                        <c:v>0</c:v>
                      </c:pt>
                      <c:pt idx="3822">
                        <c:v>0</c:v>
                      </c:pt>
                      <c:pt idx="3823">
                        <c:v>0</c:v>
                      </c:pt>
                      <c:pt idx="3824">
                        <c:v>0</c:v>
                      </c:pt>
                      <c:pt idx="3825">
                        <c:v>0</c:v>
                      </c:pt>
                      <c:pt idx="3826">
                        <c:v>0</c:v>
                      </c:pt>
                      <c:pt idx="3827">
                        <c:v>0</c:v>
                      </c:pt>
                      <c:pt idx="3828">
                        <c:v>0</c:v>
                      </c:pt>
                      <c:pt idx="3829">
                        <c:v>0</c:v>
                      </c:pt>
                      <c:pt idx="3830">
                        <c:v>0</c:v>
                      </c:pt>
                      <c:pt idx="3831">
                        <c:v>0</c:v>
                      </c:pt>
                      <c:pt idx="3832">
                        <c:v>0</c:v>
                      </c:pt>
                      <c:pt idx="3833">
                        <c:v>0</c:v>
                      </c:pt>
                      <c:pt idx="3834">
                        <c:v>0</c:v>
                      </c:pt>
                      <c:pt idx="3835">
                        <c:v>0</c:v>
                      </c:pt>
                      <c:pt idx="3836">
                        <c:v>0</c:v>
                      </c:pt>
                      <c:pt idx="3837">
                        <c:v>0</c:v>
                      </c:pt>
                      <c:pt idx="3838">
                        <c:v>0</c:v>
                      </c:pt>
                      <c:pt idx="3839">
                        <c:v>0</c:v>
                      </c:pt>
                      <c:pt idx="3840">
                        <c:v>0</c:v>
                      </c:pt>
                      <c:pt idx="3841">
                        <c:v>0</c:v>
                      </c:pt>
                      <c:pt idx="3842">
                        <c:v>0</c:v>
                      </c:pt>
                      <c:pt idx="3843">
                        <c:v>0</c:v>
                      </c:pt>
                      <c:pt idx="3844">
                        <c:v>0</c:v>
                      </c:pt>
                      <c:pt idx="3845">
                        <c:v>0</c:v>
                      </c:pt>
                      <c:pt idx="3846">
                        <c:v>0</c:v>
                      </c:pt>
                      <c:pt idx="3847">
                        <c:v>0</c:v>
                      </c:pt>
                      <c:pt idx="3848">
                        <c:v>0</c:v>
                      </c:pt>
                      <c:pt idx="3849">
                        <c:v>0</c:v>
                      </c:pt>
                      <c:pt idx="3850">
                        <c:v>0</c:v>
                      </c:pt>
                      <c:pt idx="3851">
                        <c:v>0</c:v>
                      </c:pt>
                      <c:pt idx="3852">
                        <c:v>0</c:v>
                      </c:pt>
                      <c:pt idx="3853">
                        <c:v>0</c:v>
                      </c:pt>
                      <c:pt idx="3854">
                        <c:v>0</c:v>
                      </c:pt>
                      <c:pt idx="3855">
                        <c:v>0</c:v>
                      </c:pt>
                      <c:pt idx="3856">
                        <c:v>0</c:v>
                      </c:pt>
                      <c:pt idx="3857">
                        <c:v>0</c:v>
                      </c:pt>
                      <c:pt idx="3858">
                        <c:v>0</c:v>
                      </c:pt>
                      <c:pt idx="3859">
                        <c:v>0</c:v>
                      </c:pt>
                      <c:pt idx="3860">
                        <c:v>0</c:v>
                      </c:pt>
                      <c:pt idx="3861">
                        <c:v>0</c:v>
                      </c:pt>
                      <c:pt idx="3862">
                        <c:v>0</c:v>
                      </c:pt>
                      <c:pt idx="3863">
                        <c:v>0</c:v>
                      </c:pt>
                      <c:pt idx="3864">
                        <c:v>0</c:v>
                      </c:pt>
                      <c:pt idx="3865">
                        <c:v>0</c:v>
                      </c:pt>
                      <c:pt idx="3866">
                        <c:v>0</c:v>
                      </c:pt>
                      <c:pt idx="3867">
                        <c:v>0</c:v>
                      </c:pt>
                      <c:pt idx="3868">
                        <c:v>0</c:v>
                      </c:pt>
                      <c:pt idx="3869">
                        <c:v>0</c:v>
                      </c:pt>
                      <c:pt idx="3870">
                        <c:v>0</c:v>
                      </c:pt>
                      <c:pt idx="3871">
                        <c:v>0</c:v>
                      </c:pt>
                      <c:pt idx="3872">
                        <c:v>0</c:v>
                      </c:pt>
                      <c:pt idx="3873">
                        <c:v>0</c:v>
                      </c:pt>
                      <c:pt idx="3874">
                        <c:v>0</c:v>
                      </c:pt>
                      <c:pt idx="3875">
                        <c:v>0</c:v>
                      </c:pt>
                      <c:pt idx="3876">
                        <c:v>0</c:v>
                      </c:pt>
                      <c:pt idx="3877">
                        <c:v>0</c:v>
                      </c:pt>
                      <c:pt idx="3878">
                        <c:v>0</c:v>
                      </c:pt>
                      <c:pt idx="3879">
                        <c:v>0</c:v>
                      </c:pt>
                      <c:pt idx="3880">
                        <c:v>0</c:v>
                      </c:pt>
                      <c:pt idx="3881">
                        <c:v>0</c:v>
                      </c:pt>
                      <c:pt idx="3882">
                        <c:v>0</c:v>
                      </c:pt>
                      <c:pt idx="3883">
                        <c:v>0</c:v>
                      </c:pt>
                      <c:pt idx="3884">
                        <c:v>0</c:v>
                      </c:pt>
                      <c:pt idx="3885">
                        <c:v>0</c:v>
                      </c:pt>
                      <c:pt idx="3886">
                        <c:v>0</c:v>
                      </c:pt>
                      <c:pt idx="3887">
                        <c:v>0</c:v>
                      </c:pt>
                      <c:pt idx="3888">
                        <c:v>0</c:v>
                      </c:pt>
                      <c:pt idx="3889">
                        <c:v>0</c:v>
                      </c:pt>
                      <c:pt idx="3890">
                        <c:v>0</c:v>
                      </c:pt>
                      <c:pt idx="3891">
                        <c:v>0</c:v>
                      </c:pt>
                      <c:pt idx="3892">
                        <c:v>0</c:v>
                      </c:pt>
                      <c:pt idx="3893">
                        <c:v>0</c:v>
                      </c:pt>
                      <c:pt idx="3894">
                        <c:v>0</c:v>
                      </c:pt>
                      <c:pt idx="3895">
                        <c:v>0</c:v>
                      </c:pt>
                      <c:pt idx="3896">
                        <c:v>0</c:v>
                      </c:pt>
                      <c:pt idx="3897">
                        <c:v>0</c:v>
                      </c:pt>
                      <c:pt idx="3898">
                        <c:v>0</c:v>
                      </c:pt>
                      <c:pt idx="3899">
                        <c:v>0</c:v>
                      </c:pt>
                      <c:pt idx="3900">
                        <c:v>0</c:v>
                      </c:pt>
                      <c:pt idx="3901">
                        <c:v>0</c:v>
                      </c:pt>
                      <c:pt idx="3902">
                        <c:v>0</c:v>
                      </c:pt>
                      <c:pt idx="3903">
                        <c:v>0</c:v>
                      </c:pt>
                      <c:pt idx="3904">
                        <c:v>0</c:v>
                      </c:pt>
                      <c:pt idx="3905">
                        <c:v>0</c:v>
                      </c:pt>
                      <c:pt idx="3906">
                        <c:v>0</c:v>
                      </c:pt>
                      <c:pt idx="3907">
                        <c:v>0</c:v>
                      </c:pt>
                      <c:pt idx="3908">
                        <c:v>0</c:v>
                      </c:pt>
                      <c:pt idx="3909">
                        <c:v>0</c:v>
                      </c:pt>
                      <c:pt idx="3910">
                        <c:v>0</c:v>
                      </c:pt>
                      <c:pt idx="3911">
                        <c:v>0</c:v>
                      </c:pt>
                      <c:pt idx="3912">
                        <c:v>0</c:v>
                      </c:pt>
                      <c:pt idx="3913">
                        <c:v>0</c:v>
                      </c:pt>
                      <c:pt idx="3914">
                        <c:v>0</c:v>
                      </c:pt>
                      <c:pt idx="3915">
                        <c:v>0</c:v>
                      </c:pt>
                      <c:pt idx="3916">
                        <c:v>0</c:v>
                      </c:pt>
                      <c:pt idx="3917">
                        <c:v>0</c:v>
                      </c:pt>
                      <c:pt idx="3918">
                        <c:v>0</c:v>
                      </c:pt>
                      <c:pt idx="3919">
                        <c:v>0</c:v>
                      </c:pt>
                      <c:pt idx="3920">
                        <c:v>0</c:v>
                      </c:pt>
                      <c:pt idx="3921">
                        <c:v>0</c:v>
                      </c:pt>
                      <c:pt idx="3922">
                        <c:v>0</c:v>
                      </c:pt>
                      <c:pt idx="3923">
                        <c:v>0</c:v>
                      </c:pt>
                      <c:pt idx="3924">
                        <c:v>0</c:v>
                      </c:pt>
                      <c:pt idx="3925">
                        <c:v>0</c:v>
                      </c:pt>
                      <c:pt idx="3926">
                        <c:v>0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0</c:v>
                      </c:pt>
                      <c:pt idx="3931">
                        <c:v>0</c:v>
                      </c:pt>
                      <c:pt idx="3932">
                        <c:v>0</c:v>
                      </c:pt>
                      <c:pt idx="3933">
                        <c:v>0</c:v>
                      </c:pt>
                      <c:pt idx="3934">
                        <c:v>0</c:v>
                      </c:pt>
                      <c:pt idx="3935">
                        <c:v>0</c:v>
                      </c:pt>
                      <c:pt idx="3936">
                        <c:v>0</c:v>
                      </c:pt>
                      <c:pt idx="3937">
                        <c:v>0</c:v>
                      </c:pt>
                      <c:pt idx="3938">
                        <c:v>0</c:v>
                      </c:pt>
                      <c:pt idx="3939">
                        <c:v>0</c:v>
                      </c:pt>
                      <c:pt idx="3940">
                        <c:v>0</c:v>
                      </c:pt>
                      <c:pt idx="3941">
                        <c:v>0</c:v>
                      </c:pt>
                      <c:pt idx="3942">
                        <c:v>0</c:v>
                      </c:pt>
                      <c:pt idx="3943">
                        <c:v>0</c:v>
                      </c:pt>
                      <c:pt idx="3944">
                        <c:v>0</c:v>
                      </c:pt>
                      <c:pt idx="3945">
                        <c:v>0</c:v>
                      </c:pt>
                      <c:pt idx="3946">
                        <c:v>0</c:v>
                      </c:pt>
                      <c:pt idx="3947">
                        <c:v>0</c:v>
                      </c:pt>
                      <c:pt idx="3948">
                        <c:v>0</c:v>
                      </c:pt>
                      <c:pt idx="3949">
                        <c:v>0</c:v>
                      </c:pt>
                      <c:pt idx="3950">
                        <c:v>0</c:v>
                      </c:pt>
                      <c:pt idx="3951">
                        <c:v>0</c:v>
                      </c:pt>
                      <c:pt idx="3952">
                        <c:v>0</c:v>
                      </c:pt>
                      <c:pt idx="3953">
                        <c:v>0</c:v>
                      </c:pt>
                      <c:pt idx="3954">
                        <c:v>0</c:v>
                      </c:pt>
                      <c:pt idx="3955">
                        <c:v>0</c:v>
                      </c:pt>
                      <c:pt idx="3956">
                        <c:v>0</c:v>
                      </c:pt>
                      <c:pt idx="3957">
                        <c:v>0</c:v>
                      </c:pt>
                      <c:pt idx="3958">
                        <c:v>0</c:v>
                      </c:pt>
                      <c:pt idx="3959">
                        <c:v>0</c:v>
                      </c:pt>
                      <c:pt idx="3960">
                        <c:v>0</c:v>
                      </c:pt>
                      <c:pt idx="3961">
                        <c:v>0</c:v>
                      </c:pt>
                      <c:pt idx="3962">
                        <c:v>0</c:v>
                      </c:pt>
                      <c:pt idx="3963">
                        <c:v>0</c:v>
                      </c:pt>
                      <c:pt idx="3964">
                        <c:v>0</c:v>
                      </c:pt>
                      <c:pt idx="3965">
                        <c:v>0</c:v>
                      </c:pt>
                      <c:pt idx="3966">
                        <c:v>0</c:v>
                      </c:pt>
                      <c:pt idx="3967">
                        <c:v>0</c:v>
                      </c:pt>
                      <c:pt idx="3968">
                        <c:v>0</c:v>
                      </c:pt>
                      <c:pt idx="3969">
                        <c:v>0</c:v>
                      </c:pt>
                      <c:pt idx="3970">
                        <c:v>0</c:v>
                      </c:pt>
                      <c:pt idx="3971">
                        <c:v>0</c:v>
                      </c:pt>
                      <c:pt idx="3972">
                        <c:v>0</c:v>
                      </c:pt>
                      <c:pt idx="3973">
                        <c:v>0</c:v>
                      </c:pt>
                      <c:pt idx="3974">
                        <c:v>0</c:v>
                      </c:pt>
                      <c:pt idx="3975">
                        <c:v>0</c:v>
                      </c:pt>
                      <c:pt idx="3976">
                        <c:v>0</c:v>
                      </c:pt>
                      <c:pt idx="3977">
                        <c:v>0</c:v>
                      </c:pt>
                      <c:pt idx="3978">
                        <c:v>0</c:v>
                      </c:pt>
                      <c:pt idx="3979">
                        <c:v>0</c:v>
                      </c:pt>
                      <c:pt idx="3980">
                        <c:v>0</c:v>
                      </c:pt>
                      <c:pt idx="3981">
                        <c:v>0</c:v>
                      </c:pt>
                      <c:pt idx="3982">
                        <c:v>0</c:v>
                      </c:pt>
                      <c:pt idx="3983">
                        <c:v>0</c:v>
                      </c:pt>
                      <c:pt idx="3984">
                        <c:v>0</c:v>
                      </c:pt>
                      <c:pt idx="3985">
                        <c:v>0</c:v>
                      </c:pt>
                      <c:pt idx="3986">
                        <c:v>0</c:v>
                      </c:pt>
                      <c:pt idx="3987">
                        <c:v>0</c:v>
                      </c:pt>
                      <c:pt idx="3988">
                        <c:v>0</c:v>
                      </c:pt>
                      <c:pt idx="3989">
                        <c:v>0</c:v>
                      </c:pt>
                      <c:pt idx="3990">
                        <c:v>0</c:v>
                      </c:pt>
                      <c:pt idx="3991">
                        <c:v>0</c:v>
                      </c:pt>
                      <c:pt idx="3992">
                        <c:v>0</c:v>
                      </c:pt>
                      <c:pt idx="3993">
                        <c:v>0</c:v>
                      </c:pt>
                      <c:pt idx="3994">
                        <c:v>0</c:v>
                      </c:pt>
                      <c:pt idx="3995">
                        <c:v>0</c:v>
                      </c:pt>
                      <c:pt idx="3996">
                        <c:v>0</c:v>
                      </c:pt>
                      <c:pt idx="3997">
                        <c:v>0</c:v>
                      </c:pt>
                      <c:pt idx="3998">
                        <c:v>0</c:v>
                      </c:pt>
                      <c:pt idx="3999">
                        <c:v>0</c:v>
                      </c:pt>
                      <c:pt idx="4000">
                        <c:v>0</c:v>
                      </c:pt>
                      <c:pt idx="4001">
                        <c:v>0</c:v>
                      </c:pt>
                      <c:pt idx="4002">
                        <c:v>0</c:v>
                      </c:pt>
                      <c:pt idx="4003">
                        <c:v>0</c:v>
                      </c:pt>
                      <c:pt idx="4004">
                        <c:v>0</c:v>
                      </c:pt>
                      <c:pt idx="4005">
                        <c:v>0</c:v>
                      </c:pt>
                      <c:pt idx="4006">
                        <c:v>0</c:v>
                      </c:pt>
                      <c:pt idx="4007">
                        <c:v>0</c:v>
                      </c:pt>
                      <c:pt idx="4008">
                        <c:v>0</c:v>
                      </c:pt>
                      <c:pt idx="4009">
                        <c:v>0</c:v>
                      </c:pt>
                      <c:pt idx="4010">
                        <c:v>0</c:v>
                      </c:pt>
                      <c:pt idx="4011">
                        <c:v>0</c:v>
                      </c:pt>
                      <c:pt idx="4012">
                        <c:v>0</c:v>
                      </c:pt>
                      <c:pt idx="4013">
                        <c:v>0</c:v>
                      </c:pt>
                      <c:pt idx="4014">
                        <c:v>0</c:v>
                      </c:pt>
                      <c:pt idx="4015">
                        <c:v>0</c:v>
                      </c:pt>
                      <c:pt idx="4016">
                        <c:v>0</c:v>
                      </c:pt>
                      <c:pt idx="4017">
                        <c:v>0</c:v>
                      </c:pt>
                      <c:pt idx="4018">
                        <c:v>0</c:v>
                      </c:pt>
                      <c:pt idx="4019">
                        <c:v>0</c:v>
                      </c:pt>
                      <c:pt idx="4020">
                        <c:v>0</c:v>
                      </c:pt>
                      <c:pt idx="4021">
                        <c:v>0</c:v>
                      </c:pt>
                      <c:pt idx="4022">
                        <c:v>0</c:v>
                      </c:pt>
                      <c:pt idx="4023">
                        <c:v>0</c:v>
                      </c:pt>
                      <c:pt idx="4024">
                        <c:v>0</c:v>
                      </c:pt>
                      <c:pt idx="4025">
                        <c:v>0</c:v>
                      </c:pt>
                      <c:pt idx="4026">
                        <c:v>0</c:v>
                      </c:pt>
                      <c:pt idx="4027">
                        <c:v>0</c:v>
                      </c:pt>
                      <c:pt idx="4028">
                        <c:v>0</c:v>
                      </c:pt>
                      <c:pt idx="4029">
                        <c:v>0</c:v>
                      </c:pt>
                      <c:pt idx="4030">
                        <c:v>0</c:v>
                      </c:pt>
                      <c:pt idx="4031">
                        <c:v>0</c:v>
                      </c:pt>
                      <c:pt idx="4032">
                        <c:v>0</c:v>
                      </c:pt>
                      <c:pt idx="4033">
                        <c:v>0</c:v>
                      </c:pt>
                      <c:pt idx="4034">
                        <c:v>0</c:v>
                      </c:pt>
                      <c:pt idx="4035">
                        <c:v>0</c:v>
                      </c:pt>
                      <c:pt idx="4036">
                        <c:v>0</c:v>
                      </c:pt>
                      <c:pt idx="4037">
                        <c:v>0</c:v>
                      </c:pt>
                      <c:pt idx="4038">
                        <c:v>0</c:v>
                      </c:pt>
                      <c:pt idx="4039">
                        <c:v>0</c:v>
                      </c:pt>
                      <c:pt idx="4040">
                        <c:v>0</c:v>
                      </c:pt>
                      <c:pt idx="4041">
                        <c:v>0</c:v>
                      </c:pt>
                      <c:pt idx="4042">
                        <c:v>0</c:v>
                      </c:pt>
                      <c:pt idx="4043">
                        <c:v>0</c:v>
                      </c:pt>
                      <c:pt idx="4044">
                        <c:v>0</c:v>
                      </c:pt>
                      <c:pt idx="4045">
                        <c:v>0</c:v>
                      </c:pt>
                      <c:pt idx="4046">
                        <c:v>0</c:v>
                      </c:pt>
                      <c:pt idx="4047">
                        <c:v>0</c:v>
                      </c:pt>
                      <c:pt idx="4048">
                        <c:v>0</c:v>
                      </c:pt>
                      <c:pt idx="4049">
                        <c:v>0</c:v>
                      </c:pt>
                      <c:pt idx="4050">
                        <c:v>0</c:v>
                      </c:pt>
                      <c:pt idx="4051">
                        <c:v>0</c:v>
                      </c:pt>
                      <c:pt idx="4052">
                        <c:v>0</c:v>
                      </c:pt>
                      <c:pt idx="4053">
                        <c:v>0</c:v>
                      </c:pt>
                      <c:pt idx="4054">
                        <c:v>0</c:v>
                      </c:pt>
                      <c:pt idx="4055">
                        <c:v>0</c:v>
                      </c:pt>
                      <c:pt idx="4056">
                        <c:v>0</c:v>
                      </c:pt>
                      <c:pt idx="4057">
                        <c:v>0</c:v>
                      </c:pt>
                      <c:pt idx="4058">
                        <c:v>0</c:v>
                      </c:pt>
                      <c:pt idx="4059">
                        <c:v>0</c:v>
                      </c:pt>
                      <c:pt idx="4060">
                        <c:v>0</c:v>
                      </c:pt>
                      <c:pt idx="4061">
                        <c:v>0</c:v>
                      </c:pt>
                      <c:pt idx="4062">
                        <c:v>0</c:v>
                      </c:pt>
                      <c:pt idx="4063">
                        <c:v>0</c:v>
                      </c:pt>
                      <c:pt idx="4064">
                        <c:v>0</c:v>
                      </c:pt>
                      <c:pt idx="4065">
                        <c:v>0</c:v>
                      </c:pt>
                      <c:pt idx="4066">
                        <c:v>0</c:v>
                      </c:pt>
                      <c:pt idx="4067">
                        <c:v>0</c:v>
                      </c:pt>
                      <c:pt idx="4068">
                        <c:v>0</c:v>
                      </c:pt>
                      <c:pt idx="4069">
                        <c:v>0</c:v>
                      </c:pt>
                      <c:pt idx="4070">
                        <c:v>0</c:v>
                      </c:pt>
                      <c:pt idx="4071">
                        <c:v>0</c:v>
                      </c:pt>
                      <c:pt idx="4072">
                        <c:v>0</c:v>
                      </c:pt>
                      <c:pt idx="4073">
                        <c:v>0</c:v>
                      </c:pt>
                      <c:pt idx="4074">
                        <c:v>0</c:v>
                      </c:pt>
                      <c:pt idx="4075">
                        <c:v>0</c:v>
                      </c:pt>
                      <c:pt idx="4076">
                        <c:v>0</c:v>
                      </c:pt>
                      <c:pt idx="4077">
                        <c:v>0</c:v>
                      </c:pt>
                      <c:pt idx="4078">
                        <c:v>0</c:v>
                      </c:pt>
                      <c:pt idx="4079">
                        <c:v>0</c:v>
                      </c:pt>
                      <c:pt idx="4080">
                        <c:v>0</c:v>
                      </c:pt>
                      <c:pt idx="4081">
                        <c:v>0</c:v>
                      </c:pt>
                      <c:pt idx="4082">
                        <c:v>0</c:v>
                      </c:pt>
                      <c:pt idx="4083">
                        <c:v>0</c:v>
                      </c:pt>
                      <c:pt idx="4084">
                        <c:v>0</c:v>
                      </c:pt>
                      <c:pt idx="4085">
                        <c:v>0</c:v>
                      </c:pt>
                      <c:pt idx="4086">
                        <c:v>0</c:v>
                      </c:pt>
                      <c:pt idx="4087">
                        <c:v>0</c:v>
                      </c:pt>
                      <c:pt idx="4088">
                        <c:v>0</c:v>
                      </c:pt>
                      <c:pt idx="4089">
                        <c:v>0</c:v>
                      </c:pt>
                      <c:pt idx="4090">
                        <c:v>0</c:v>
                      </c:pt>
                      <c:pt idx="4091">
                        <c:v>0</c:v>
                      </c:pt>
                      <c:pt idx="4092">
                        <c:v>0</c:v>
                      </c:pt>
                      <c:pt idx="4093">
                        <c:v>0</c:v>
                      </c:pt>
                      <c:pt idx="4094">
                        <c:v>0</c:v>
                      </c:pt>
                      <c:pt idx="4095">
                        <c:v>0</c:v>
                      </c:pt>
                      <c:pt idx="4096">
                        <c:v>0</c:v>
                      </c:pt>
                      <c:pt idx="4097">
                        <c:v>0</c:v>
                      </c:pt>
                      <c:pt idx="4098">
                        <c:v>0</c:v>
                      </c:pt>
                      <c:pt idx="4099">
                        <c:v>0</c:v>
                      </c:pt>
                      <c:pt idx="4100">
                        <c:v>0</c:v>
                      </c:pt>
                      <c:pt idx="4101">
                        <c:v>0</c:v>
                      </c:pt>
                      <c:pt idx="4102">
                        <c:v>0</c:v>
                      </c:pt>
                      <c:pt idx="4103">
                        <c:v>0</c:v>
                      </c:pt>
                      <c:pt idx="4104">
                        <c:v>0</c:v>
                      </c:pt>
                      <c:pt idx="4105">
                        <c:v>0</c:v>
                      </c:pt>
                      <c:pt idx="4106">
                        <c:v>0</c:v>
                      </c:pt>
                      <c:pt idx="4107">
                        <c:v>0</c:v>
                      </c:pt>
                      <c:pt idx="4108">
                        <c:v>0</c:v>
                      </c:pt>
                      <c:pt idx="4109">
                        <c:v>0</c:v>
                      </c:pt>
                      <c:pt idx="4110">
                        <c:v>0</c:v>
                      </c:pt>
                      <c:pt idx="4111">
                        <c:v>0</c:v>
                      </c:pt>
                      <c:pt idx="4112">
                        <c:v>0</c:v>
                      </c:pt>
                      <c:pt idx="4113">
                        <c:v>0</c:v>
                      </c:pt>
                      <c:pt idx="4114">
                        <c:v>0</c:v>
                      </c:pt>
                      <c:pt idx="4115">
                        <c:v>0</c:v>
                      </c:pt>
                      <c:pt idx="4116">
                        <c:v>0</c:v>
                      </c:pt>
                      <c:pt idx="4117">
                        <c:v>0</c:v>
                      </c:pt>
                      <c:pt idx="4118">
                        <c:v>0</c:v>
                      </c:pt>
                      <c:pt idx="4119">
                        <c:v>0</c:v>
                      </c:pt>
                      <c:pt idx="4120">
                        <c:v>0</c:v>
                      </c:pt>
                      <c:pt idx="4121">
                        <c:v>0</c:v>
                      </c:pt>
                      <c:pt idx="4122">
                        <c:v>0</c:v>
                      </c:pt>
                      <c:pt idx="4123">
                        <c:v>0</c:v>
                      </c:pt>
                      <c:pt idx="4124">
                        <c:v>0</c:v>
                      </c:pt>
                      <c:pt idx="4125">
                        <c:v>0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0</c:v>
                      </c:pt>
                      <c:pt idx="4132">
                        <c:v>0</c:v>
                      </c:pt>
                      <c:pt idx="4133">
                        <c:v>0</c:v>
                      </c:pt>
                      <c:pt idx="4134">
                        <c:v>0</c:v>
                      </c:pt>
                      <c:pt idx="4135">
                        <c:v>0</c:v>
                      </c:pt>
                      <c:pt idx="4136">
                        <c:v>0</c:v>
                      </c:pt>
                      <c:pt idx="4137">
                        <c:v>0</c:v>
                      </c:pt>
                      <c:pt idx="4138">
                        <c:v>0</c:v>
                      </c:pt>
                      <c:pt idx="4139">
                        <c:v>0</c:v>
                      </c:pt>
                      <c:pt idx="4140">
                        <c:v>0</c:v>
                      </c:pt>
                      <c:pt idx="4141">
                        <c:v>0</c:v>
                      </c:pt>
                      <c:pt idx="4142">
                        <c:v>0</c:v>
                      </c:pt>
                      <c:pt idx="4143">
                        <c:v>0</c:v>
                      </c:pt>
                      <c:pt idx="4144">
                        <c:v>0</c:v>
                      </c:pt>
                      <c:pt idx="4145">
                        <c:v>0</c:v>
                      </c:pt>
                      <c:pt idx="4146">
                        <c:v>0</c:v>
                      </c:pt>
                      <c:pt idx="4147">
                        <c:v>0</c:v>
                      </c:pt>
                      <c:pt idx="4148">
                        <c:v>0</c:v>
                      </c:pt>
                      <c:pt idx="4149">
                        <c:v>0</c:v>
                      </c:pt>
                      <c:pt idx="4150">
                        <c:v>0</c:v>
                      </c:pt>
                      <c:pt idx="4151">
                        <c:v>0</c:v>
                      </c:pt>
                      <c:pt idx="4152">
                        <c:v>0</c:v>
                      </c:pt>
                      <c:pt idx="4153">
                        <c:v>0</c:v>
                      </c:pt>
                      <c:pt idx="4154">
                        <c:v>0</c:v>
                      </c:pt>
                      <c:pt idx="4155">
                        <c:v>0</c:v>
                      </c:pt>
                      <c:pt idx="4156">
                        <c:v>0</c:v>
                      </c:pt>
                      <c:pt idx="4157">
                        <c:v>0</c:v>
                      </c:pt>
                      <c:pt idx="4158">
                        <c:v>0</c:v>
                      </c:pt>
                      <c:pt idx="4159">
                        <c:v>0</c:v>
                      </c:pt>
                      <c:pt idx="4160">
                        <c:v>0</c:v>
                      </c:pt>
                      <c:pt idx="4161">
                        <c:v>0</c:v>
                      </c:pt>
                      <c:pt idx="4162">
                        <c:v>0</c:v>
                      </c:pt>
                      <c:pt idx="4163">
                        <c:v>0</c:v>
                      </c:pt>
                      <c:pt idx="4164">
                        <c:v>0</c:v>
                      </c:pt>
                      <c:pt idx="4165">
                        <c:v>0</c:v>
                      </c:pt>
                      <c:pt idx="4166">
                        <c:v>0</c:v>
                      </c:pt>
                      <c:pt idx="4167">
                        <c:v>0</c:v>
                      </c:pt>
                      <c:pt idx="4168">
                        <c:v>0</c:v>
                      </c:pt>
                      <c:pt idx="4169">
                        <c:v>0</c:v>
                      </c:pt>
                      <c:pt idx="4170">
                        <c:v>0</c:v>
                      </c:pt>
                      <c:pt idx="4171">
                        <c:v>0</c:v>
                      </c:pt>
                      <c:pt idx="4172">
                        <c:v>0</c:v>
                      </c:pt>
                      <c:pt idx="4173">
                        <c:v>0</c:v>
                      </c:pt>
                      <c:pt idx="4174">
                        <c:v>0</c:v>
                      </c:pt>
                      <c:pt idx="4175">
                        <c:v>0</c:v>
                      </c:pt>
                      <c:pt idx="4176">
                        <c:v>0</c:v>
                      </c:pt>
                      <c:pt idx="4177">
                        <c:v>0</c:v>
                      </c:pt>
                      <c:pt idx="4178">
                        <c:v>0</c:v>
                      </c:pt>
                      <c:pt idx="4179">
                        <c:v>0</c:v>
                      </c:pt>
                      <c:pt idx="4180">
                        <c:v>0</c:v>
                      </c:pt>
                      <c:pt idx="4181">
                        <c:v>0</c:v>
                      </c:pt>
                      <c:pt idx="4182">
                        <c:v>0</c:v>
                      </c:pt>
                      <c:pt idx="4183">
                        <c:v>0</c:v>
                      </c:pt>
                      <c:pt idx="4184">
                        <c:v>0</c:v>
                      </c:pt>
                      <c:pt idx="4185">
                        <c:v>0</c:v>
                      </c:pt>
                      <c:pt idx="4186">
                        <c:v>0</c:v>
                      </c:pt>
                      <c:pt idx="4187">
                        <c:v>0</c:v>
                      </c:pt>
                      <c:pt idx="4188">
                        <c:v>0</c:v>
                      </c:pt>
                      <c:pt idx="4189">
                        <c:v>0</c:v>
                      </c:pt>
                      <c:pt idx="4190">
                        <c:v>0</c:v>
                      </c:pt>
                      <c:pt idx="4191">
                        <c:v>0</c:v>
                      </c:pt>
                      <c:pt idx="4192">
                        <c:v>0</c:v>
                      </c:pt>
                      <c:pt idx="4193">
                        <c:v>0</c:v>
                      </c:pt>
                      <c:pt idx="4194">
                        <c:v>0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</c:v>
                      </c:pt>
                      <c:pt idx="4203">
                        <c:v>0</c:v>
                      </c:pt>
                      <c:pt idx="4204">
                        <c:v>0</c:v>
                      </c:pt>
                      <c:pt idx="4205">
                        <c:v>0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0</c:v>
                      </c:pt>
                      <c:pt idx="5193">
                        <c:v>0</c:v>
                      </c:pt>
                      <c:pt idx="5194">
                        <c:v>0</c:v>
                      </c:pt>
                      <c:pt idx="5195">
                        <c:v>0</c:v>
                      </c:pt>
                      <c:pt idx="5196">
                        <c:v>0</c:v>
                      </c:pt>
                      <c:pt idx="5197">
                        <c:v>0</c:v>
                      </c:pt>
                      <c:pt idx="5198">
                        <c:v>0</c:v>
                      </c:pt>
                      <c:pt idx="5199">
                        <c:v>0</c:v>
                      </c:pt>
                      <c:pt idx="5200">
                        <c:v>0</c:v>
                      </c:pt>
                      <c:pt idx="5201">
                        <c:v>0</c:v>
                      </c:pt>
                      <c:pt idx="5202">
                        <c:v>0</c:v>
                      </c:pt>
                      <c:pt idx="5203">
                        <c:v>0</c:v>
                      </c:pt>
                      <c:pt idx="5204">
                        <c:v>0</c:v>
                      </c:pt>
                      <c:pt idx="5205">
                        <c:v>0</c:v>
                      </c:pt>
                      <c:pt idx="5206">
                        <c:v>0</c:v>
                      </c:pt>
                      <c:pt idx="5207">
                        <c:v>0</c:v>
                      </c:pt>
                      <c:pt idx="5208">
                        <c:v>0</c:v>
                      </c:pt>
                      <c:pt idx="5209">
                        <c:v>0</c:v>
                      </c:pt>
                      <c:pt idx="5210">
                        <c:v>0</c:v>
                      </c:pt>
                      <c:pt idx="5211">
                        <c:v>0</c:v>
                      </c:pt>
                      <c:pt idx="5212">
                        <c:v>0</c:v>
                      </c:pt>
                      <c:pt idx="5213">
                        <c:v>0</c:v>
                      </c:pt>
                      <c:pt idx="5214">
                        <c:v>0</c:v>
                      </c:pt>
                      <c:pt idx="5215">
                        <c:v>0</c:v>
                      </c:pt>
                      <c:pt idx="5216">
                        <c:v>0</c:v>
                      </c:pt>
                      <c:pt idx="5217">
                        <c:v>0</c:v>
                      </c:pt>
                      <c:pt idx="5218">
                        <c:v>0</c:v>
                      </c:pt>
                      <c:pt idx="5219">
                        <c:v>0</c:v>
                      </c:pt>
                      <c:pt idx="5220">
                        <c:v>0</c:v>
                      </c:pt>
                      <c:pt idx="5221">
                        <c:v>0</c:v>
                      </c:pt>
                      <c:pt idx="5222">
                        <c:v>0</c:v>
                      </c:pt>
                      <c:pt idx="5223">
                        <c:v>0</c:v>
                      </c:pt>
                      <c:pt idx="5224">
                        <c:v>0</c:v>
                      </c:pt>
                      <c:pt idx="5225">
                        <c:v>0</c:v>
                      </c:pt>
                      <c:pt idx="5226">
                        <c:v>0</c:v>
                      </c:pt>
                      <c:pt idx="5227">
                        <c:v>0</c:v>
                      </c:pt>
                      <c:pt idx="5228">
                        <c:v>0</c:v>
                      </c:pt>
                      <c:pt idx="5229">
                        <c:v>0</c:v>
                      </c:pt>
                      <c:pt idx="5230">
                        <c:v>0</c:v>
                      </c:pt>
                      <c:pt idx="5231">
                        <c:v>0</c:v>
                      </c:pt>
                      <c:pt idx="5232">
                        <c:v>0</c:v>
                      </c:pt>
                      <c:pt idx="5233">
                        <c:v>0</c:v>
                      </c:pt>
                      <c:pt idx="5234">
                        <c:v>0</c:v>
                      </c:pt>
                      <c:pt idx="5235">
                        <c:v>0</c:v>
                      </c:pt>
                      <c:pt idx="5236">
                        <c:v>0</c:v>
                      </c:pt>
                      <c:pt idx="5237">
                        <c:v>0</c:v>
                      </c:pt>
                      <c:pt idx="5238">
                        <c:v>0</c:v>
                      </c:pt>
                      <c:pt idx="5239">
                        <c:v>0</c:v>
                      </c:pt>
                      <c:pt idx="5240">
                        <c:v>0</c:v>
                      </c:pt>
                      <c:pt idx="5241">
                        <c:v>0</c:v>
                      </c:pt>
                      <c:pt idx="5242">
                        <c:v>0</c:v>
                      </c:pt>
                      <c:pt idx="5243">
                        <c:v>0</c:v>
                      </c:pt>
                      <c:pt idx="5244">
                        <c:v>0</c:v>
                      </c:pt>
                      <c:pt idx="5245">
                        <c:v>0</c:v>
                      </c:pt>
                      <c:pt idx="5246">
                        <c:v>0</c:v>
                      </c:pt>
                      <c:pt idx="5247">
                        <c:v>0</c:v>
                      </c:pt>
                      <c:pt idx="5248">
                        <c:v>0</c:v>
                      </c:pt>
                      <c:pt idx="5249">
                        <c:v>0</c:v>
                      </c:pt>
                      <c:pt idx="5250">
                        <c:v>0</c:v>
                      </c:pt>
                      <c:pt idx="5251">
                        <c:v>0</c:v>
                      </c:pt>
                      <c:pt idx="5252">
                        <c:v>0</c:v>
                      </c:pt>
                      <c:pt idx="5253">
                        <c:v>0</c:v>
                      </c:pt>
                      <c:pt idx="5254">
                        <c:v>0</c:v>
                      </c:pt>
                      <c:pt idx="5255">
                        <c:v>0</c:v>
                      </c:pt>
                      <c:pt idx="5256">
                        <c:v>0</c:v>
                      </c:pt>
                      <c:pt idx="5257">
                        <c:v>0</c:v>
                      </c:pt>
                      <c:pt idx="5258">
                        <c:v>0</c:v>
                      </c:pt>
                      <c:pt idx="5259">
                        <c:v>0</c:v>
                      </c:pt>
                      <c:pt idx="5260">
                        <c:v>0</c:v>
                      </c:pt>
                      <c:pt idx="5261">
                        <c:v>0</c:v>
                      </c:pt>
                      <c:pt idx="5262">
                        <c:v>0</c:v>
                      </c:pt>
                      <c:pt idx="5263">
                        <c:v>0</c:v>
                      </c:pt>
                      <c:pt idx="5264">
                        <c:v>0</c:v>
                      </c:pt>
                      <c:pt idx="5265">
                        <c:v>0</c:v>
                      </c:pt>
                      <c:pt idx="5266">
                        <c:v>0</c:v>
                      </c:pt>
                      <c:pt idx="5267">
                        <c:v>0</c:v>
                      </c:pt>
                      <c:pt idx="5268">
                        <c:v>0</c:v>
                      </c:pt>
                      <c:pt idx="5269">
                        <c:v>0</c:v>
                      </c:pt>
                      <c:pt idx="5270">
                        <c:v>0</c:v>
                      </c:pt>
                      <c:pt idx="5271">
                        <c:v>0</c:v>
                      </c:pt>
                      <c:pt idx="5272">
                        <c:v>0</c:v>
                      </c:pt>
                      <c:pt idx="5273">
                        <c:v>0</c:v>
                      </c:pt>
                      <c:pt idx="5274">
                        <c:v>0</c:v>
                      </c:pt>
                      <c:pt idx="5275">
                        <c:v>0</c:v>
                      </c:pt>
                      <c:pt idx="5276">
                        <c:v>0</c:v>
                      </c:pt>
                      <c:pt idx="5277">
                        <c:v>0</c:v>
                      </c:pt>
                      <c:pt idx="5278">
                        <c:v>0</c:v>
                      </c:pt>
                      <c:pt idx="5279">
                        <c:v>0</c:v>
                      </c:pt>
                      <c:pt idx="5280">
                        <c:v>0</c:v>
                      </c:pt>
                      <c:pt idx="5281">
                        <c:v>0</c:v>
                      </c:pt>
                      <c:pt idx="5282">
                        <c:v>0</c:v>
                      </c:pt>
                      <c:pt idx="5283">
                        <c:v>0</c:v>
                      </c:pt>
                      <c:pt idx="5284">
                        <c:v>0</c:v>
                      </c:pt>
                      <c:pt idx="5285">
                        <c:v>0</c:v>
                      </c:pt>
                      <c:pt idx="5286">
                        <c:v>0</c:v>
                      </c:pt>
                      <c:pt idx="5287">
                        <c:v>0</c:v>
                      </c:pt>
                      <c:pt idx="5288">
                        <c:v>0</c:v>
                      </c:pt>
                      <c:pt idx="5289">
                        <c:v>0</c:v>
                      </c:pt>
                      <c:pt idx="5290">
                        <c:v>0</c:v>
                      </c:pt>
                      <c:pt idx="5291">
                        <c:v>0</c:v>
                      </c:pt>
                      <c:pt idx="5292">
                        <c:v>0</c:v>
                      </c:pt>
                      <c:pt idx="5293">
                        <c:v>0</c:v>
                      </c:pt>
                      <c:pt idx="5294">
                        <c:v>0</c:v>
                      </c:pt>
                      <c:pt idx="5295">
                        <c:v>0</c:v>
                      </c:pt>
                      <c:pt idx="5296">
                        <c:v>0</c:v>
                      </c:pt>
                      <c:pt idx="5297">
                        <c:v>0</c:v>
                      </c:pt>
                      <c:pt idx="5298">
                        <c:v>0</c:v>
                      </c:pt>
                      <c:pt idx="5299">
                        <c:v>0</c:v>
                      </c:pt>
                      <c:pt idx="5300">
                        <c:v>0</c:v>
                      </c:pt>
                      <c:pt idx="5301">
                        <c:v>0</c:v>
                      </c:pt>
                      <c:pt idx="5302">
                        <c:v>0</c:v>
                      </c:pt>
                      <c:pt idx="5303">
                        <c:v>0</c:v>
                      </c:pt>
                      <c:pt idx="5304">
                        <c:v>0</c:v>
                      </c:pt>
                      <c:pt idx="5305">
                        <c:v>0</c:v>
                      </c:pt>
                      <c:pt idx="5306">
                        <c:v>0</c:v>
                      </c:pt>
                      <c:pt idx="5307">
                        <c:v>0</c:v>
                      </c:pt>
                      <c:pt idx="5308">
                        <c:v>0</c:v>
                      </c:pt>
                      <c:pt idx="5309">
                        <c:v>0</c:v>
                      </c:pt>
                      <c:pt idx="5310">
                        <c:v>0</c:v>
                      </c:pt>
                      <c:pt idx="5311">
                        <c:v>0</c:v>
                      </c:pt>
                      <c:pt idx="5312">
                        <c:v>0</c:v>
                      </c:pt>
                      <c:pt idx="5313">
                        <c:v>0</c:v>
                      </c:pt>
                      <c:pt idx="5314">
                        <c:v>0</c:v>
                      </c:pt>
                      <c:pt idx="5315">
                        <c:v>0</c:v>
                      </c:pt>
                      <c:pt idx="5316">
                        <c:v>0</c:v>
                      </c:pt>
                      <c:pt idx="5317">
                        <c:v>0</c:v>
                      </c:pt>
                      <c:pt idx="5318">
                        <c:v>0</c:v>
                      </c:pt>
                      <c:pt idx="5319">
                        <c:v>0</c:v>
                      </c:pt>
                      <c:pt idx="5320">
                        <c:v>0</c:v>
                      </c:pt>
                      <c:pt idx="5321">
                        <c:v>0</c:v>
                      </c:pt>
                      <c:pt idx="5322">
                        <c:v>0</c:v>
                      </c:pt>
                      <c:pt idx="5323">
                        <c:v>0</c:v>
                      </c:pt>
                      <c:pt idx="5324">
                        <c:v>0</c:v>
                      </c:pt>
                      <c:pt idx="5325">
                        <c:v>0</c:v>
                      </c:pt>
                      <c:pt idx="5326">
                        <c:v>0</c:v>
                      </c:pt>
                      <c:pt idx="5327">
                        <c:v>0</c:v>
                      </c:pt>
                      <c:pt idx="5328">
                        <c:v>0</c:v>
                      </c:pt>
                      <c:pt idx="5329">
                        <c:v>0</c:v>
                      </c:pt>
                      <c:pt idx="5330">
                        <c:v>0</c:v>
                      </c:pt>
                      <c:pt idx="5331">
                        <c:v>0</c:v>
                      </c:pt>
                      <c:pt idx="5332">
                        <c:v>0</c:v>
                      </c:pt>
                      <c:pt idx="5333">
                        <c:v>0</c:v>
                      </c:pt>
                      <c:pt idx="5334">
                        <c:v>0</c:v>
                      </c:pt>
                      <c:pt idx="5335">
                        <c:v>0</c:v>
                      </c:pt>
                      <c:pt idx="5336">
                        <c:v>0</c:v>
                      </c:pt>
                      <c:pt idx="5337">
                        <c:v>0</c:v>
                      </c:pt>
                      <c:pt idx="5338">
                        <c:v>0</c:v>
                      </c:pt>
                      <c:pt idx="5339">
                        <c:v>0</c:v>
                      </c:pt>
                      <c:pt idx="5340">
                        <c:v>0</c:v>
                      </c:pt>
                      <c:pt idx="5341">
                        <c:v>0</c:v>
                      </c:pt>
                      <c:pt idx="5342">
                        <c:v>0</c:v>
                      </c:pt>
                      <c:pt idx="5343">
                        <c:v>0</c:v>
                      </c:pt>
                      <c:pt idx="5344">
                        <c:v>0</c:v>
                      </c:pt>
                      <c:pt idx="5345">
                        <c:v>0</c:v>
                      </c:pt>
                      <c:pt idx="5346">
                        <c:v>0</c:v>
                      </c:pt>
                      <c:pt idx="5347">
                        <c:v>0</c:v>
                      </c:pt>
                      <c:pt idx="5348">
                        <c:v>0</c:v>
                      </c:pt>
                      <c:pt idx="5349">
                        <c:v>0</c:v>
                      </c:pt>
                      <c:pt idx="5350">
                        <c:v>0</c:v>
                      </c:pt>
                      <c:pt idx="5351">
                        <c:v>0</c:v>
                      </c:pt>
                      <c:pt idx="5352">
                        <c:v>0</c:v>
                      </c:pt>
                      <c:pt idx="5353">
                        <c:v>0</c:v>
                      </c:pt>
                      <c:pt idx="5354">
                        <c:v>0</c:v>
                      </c:pt>
                      <c:pt idx="5355">
                        <c:v>0</c:v>
                      </c:pt>
                      <c:pt idx="5356">
                        <c:v>0</c:v>
                      </c:pt>
                      <c:pt idx="5357">
                        <c:v>0</c:v>
                      </c:pt>
                      <c:pt idx="5358">
                        <c:v>0</c:v>
                      </c:pt>
                      <c:pt idx="5359">
                        <c:v>0</c:v>
                      </c:pt>
                      <c:pt idx="5360">
                        <c:v>0</c:v>
                      </c:pt>
                      <c:pt idx="5361">
                        <c:v>0</c:v>
                      </c:pt>
                      <c:pt idx="5362">
                        <c:v>0</c:v>
                      </c:pt>
                      <c:pt idx="5363">
                        <c:v>0</c:v>
                      </c:pt>
                      <c:pt idx="5364">
                        <c:v>0</c:v>
                      </c:pt>
                      <c:pt idx="5365">
                        <c:v>0</c:v>
                      </c:pt>
                      <c:pt idx="5366">
                        <c:v>0</c:v>
                      </c:pt>
                      <c:pt idx="5367">
                        <c:v>0</c:v>
                      </c:pt>
                      <c:pt idx="5368">
                        <c:v>0</c:v>
                      </c:pt>
                      <c:pt idx="5369">
                        <c:v>0</c:v>
                      </c:pt>
                      <c:pt idx="5370">
                        <c:v>0</c:v>
                      </c:pt>
                      <c:pt idx="5371">
                        <c:v>0</c:v>
                      </c:pt>
                      <c:pt idx="5372">
                        <c:v>0</c:v>
                      </c:pt>
                      <c:pt idx="5373">
                        <c:v>0</c:v>
                      </c:pt>
                      <c:pt idx="5374">
                        <c:v>0</c:v>
                      </c:pt>
                      <c:pt idx="5375">
                        <c:v>0</c:v>
                      </c:pt>
                      <c:pt idx="5376">
                        <c:v>0</c:v>
                      </c:pt>
                      <c:pt idx="5377">
                        <c:v>0</c:v>
                      </c:pt>
                      <c:pt idx="5378">
                        <c:v>0</c:v>
                      </c:pt>
                      <c:pt idx="5379">
                        <c:v>0</c:v>
                      </c:pt>
                      <c:pt idx="5380">
                        <c:v>0</c:v>
                      </c:pt>
                      <c:pt idx="5381">
                        <c:v>0</c:v>
                      </c:pt>
                      <c:pt idx="5382">
                        <c:v>0</c:v>
                      </c:pt>
                      <c:pt idx="5383">
                        <c:v>0</c:v>
                      </c:pt>
                      <c:pt idx="5384">
                        <c:v>0</c:v>
                      </c:pt>
                      <c:pt idx="5385">
                        <c:v>0</c:v>
                      </c:pt>
                      <c:pt idx="5386">
                        <c:v>0</c:v>
                      </c:pt>
                      <c:pt idx="5387">
                        <c:v>0</c:v>
                      </c:pt>
                      <c:pt idx="5388">
                        <c:v>0</c:v>
                      </c:pt>
                      <c:pt idx="5389">
                        <c:v>0</c:v>
                      </c:pt>
                      <c:pt idx="5390">
                        <c:v>0</c:v>
                      </c:pt>
                      <c:pt idx="5391">
                        <c:v>0</c:v>
                      </c:pt>
                      <c:pt idx="5392">
                        <c:v>0</c:v>
                      </c:pt>
                      <c:pt idx="5393">
                        <c:v>0</c:v>
                      </c:pt>
                      <c:pt idx="5394">
                        <c:v>0</c:v>
                      </c:pt>
                      <c:pt idx="5395">
                        <c:v>0</c:v>
                      </c:pt>
                      <c:pt idx="5396">
                        <c:v>0</c:v>
                      </c:pt>
                      <c:pt idx="5397">
                        <c:v>0</c:v>
                      </c:pt>
                      <c:pt idx="5398">
                        <c:v>0</c:v>
                      </c:pt>
                      <c:pt idx="5399">
                        <c:v>0</c:v>
                      </c:pt>
                      <c:pt idx="5400">
                        <c:v>0</c:v>
                      </c:pt>
                      <c:pt idx="5401">
                        <c:v>0</c:v>
                      </c:pt>
                      <c:pt idx="5402">
                        <c:v>0</c:v>
                      </c:pt>
                      <c:pt idx="5403">
                        <c:v>0</c:v>
                      </c:pt>
                      <c:pt idx="5404">
                        <c:v>0</c:v>
                      </c:pt>
                      <c:pt idx="5405">
                        <c:v>0</c:v>
                      </c:pt>
                      <c:pt idx="5406">
                        <c:v>0</c:v>
                      </c:pt>
                      <c:pt idx="5407">
                        <c:v>0</c:v>
                      </c:pt>
                      <c:pt idx="5408">
                        <c:v>0</c:v>
                      </c:pt>
                      <c:pt idx="5409">
                        <c:v>0</c:v>
                      </c:pt>
                      <c:pt idx="5410">
                        <c:v>0</c:v>
                      </c:pt>
                      <c:pt idx="5411">
                        <c:v>0</c:v>
                      </c:pt>
                      <c:pt idx="5412">
                        <c:v>0</c:v>
                      </c:pt>
                      <c:pt idx="5413">
                        <c:v>0</c:v>
                      </c:pt>
                      <c:pt idx="5414">
                        <c:v>0</c:v>
                      </c:pt>
                      <c:pt idx="5415">
                        <c:v>0</c:v>
                      </c:pt>
                      <c:pt idx="5416">
                        <c:v>0</c:v>
                      </c:pt>
                      <c:pt idx="5417">
                        <c:v>0</c:v>
                      </c:pt>
                      <c:pt idx="5418">
                        <c:v>0</c:v>
                      </c:pt>
                      <c:pt idx="5419">
                        <c:v>0</c:v>
                      </c:pt>
                      <c:pt idx="5420">
                        <c:v>0</c:v>
                      </c:pt>
                      <c:pt idx="5421">
                        <c:v>0</c:v>
                      </c:pt>
                      <c:pt idx="5422">
                        <c:v>0</c:v>
                      </c:pt>
                      <c:pt idx="5423">
                        <c:v>0</c:v>
                      </c:pt>
                      <c:pt idx="5424">
                        <c:v>0</c:v>
                      </c:pt>
                      <c:pt idx="5425">
                        <c:v>0</c:v>
                      </c:pt>
                      <c:pt idx="5426">
                        <c:v>0</c:v>
                      </c:pt>
                      <c:pt idx="5427">
                        <c:v>0</c:v>
                      </c:pt>
                      <c:pt idx="5428">
                        <c:v>0</c:v>
                      </c:pt>
                      <c:pt idx="5429">
                        <c:v>0</c:v>
                      </c:pt>
                      <c:pt idx="5430">
                        <c:v>0</c:v>
                      </c:pt>
                      <c:pt idx="5431">
                        <c:v>0</c:v>
                      </c:pt>
                      <c:pt idx="5432">
                        <c:v>0</c:v>
                      </c:pt>
                      <c:pt idx="5433">
                        <c:v>0</c:v>
                      </c:pt>
                      <c:pt idx="5434">
                        <c:v>0</c:v>
                      </c:pt>
                      <c:pt idx="5435">
                        <c:v>0</c:v>
                      </c:pt>
                      <c:pt idx="5436">
                        <c:v>0</c:v>
                      </c:pt>
                      <c:pt idx="5437">
                        <c:v>0</c:v>
                      </c:pt>
                      <c:pt idx="5438">
                        <c:v>0</c:v>
                      </c:pt>
                      <c:pt idx="5439">
                        <c:v>0</c:v>
                      </c:pt>
                      <c:pt idx="5440">
                        <c:v>0</c:v>
                      </c:pt>
                      <c:pt idx="5441">
                        <c:v>0</c:v>
                      </c:pt>
                      <c:pt idx="5442">
                        <c:v>0</c:v>
                      </c:pt>
                      <c:pt idx="5443">
                        <c:v>0</c:v>
                      </c:pt>
                      <c:pt idx="5444">
                        <c:v>0</c:v>
                      </c:pt>
                      <c:pt idx="5445">
                        <c:v>0</c:v>
                      </c:pt>
                      <c:pt idx="5446">
                        <c:v>0</c:v>
                      </c:pt>
                      <c:pt idx="5447">
                        <c:v>0</c:v>
                      </c:pt>
                      <c:pt idx="5448">
                        <c:v>0</c:v>
                      </c:pt>
                      <c:pt idx="5449">
                        <c:v>0</c:v>
                      </c:pt>
                      <c:pt idx="5450">
                        <c:v>0</c:v>
                      </c:pt>
                      <c:pt idx="5451">
                        <c:v>0</c:v>
                      </c:pt>
                      <c:pt idx="5452">
                        <c:v>0</c:v>
                      </c:pt>
                      <c:pt idx="5453">
                        <c:v>0</c:v>
                      </c:pt>
                      <c:pt idx="5454">
                        <c:v>0</c:v>
                      </c:pt>
                      <c:pt idx="5455">
                        <c:v>0</c:v>
                      </c:pt>
                      <c:pt idx="5456">
                        <c:v>0</c:v>
                      </c:pt>
                      <c:pt idx="5457">
                        <c:v>0</c:v>
                      </c:pt>
                      <c:pt idx="5458">
                        <c:v>0</c:v>
                      </c:pt>
                      <c:pt idx="5459">
                        <c:v>0</c:v>
                      </c:pt>
                      <c:pt idx="5460">
                        <c:v>0</c:v>
                      </c:pt>
                      <c:pt idx="5461">
                        <c:v>0</c:v>
                      </c:pt>
                      <c:pt idx="5462">
                        <c:v>0</c:v>
                      </c:pt>
                      <c:pt idx="5463">
                        <c:v>0</c:v>
                      </c:pt>
                      <c:pt idx="5464">
                        <c:v>0</c:v>
                      </c:pt>
                      <c:pt idx="5465">
                        <c:v>0</c:v>
                      </c:pt>
                      <c:pt idx="5466">
                        <c:v>0</c:v>
                      </c:pt>
                      <c:pt idx="5467">
                        <c:v>0</c:v>
                      </c:pt>
                      <c:pt idx="5468">
                        <c:v>0</c:v>
                      </c:pt>
                      <c:pt idx="5469">
                        <c:v>0</c:v>
                      </c:pt>
                      <c:pt idx="5470">
                        <c:v>0</c:v>
                      </c:pt>
                      <c:pt idx="5471">
                        <c:v>0</c:v>
                      </c:pt>
                      <c:pt idx="5472">
                        <c:v>0</c:v>
                      </c:pt>
                      <c:pt idx="5473">
                        <c:v>0</c:v>
                      </c:pt>
                      <c:pt idx="5474">
                        <c:v>0</c:v>
                      </c:pt>
                      <c:pt idx="5475">
                        <c:v>0</c:v>
                      </c:pt>
                      <c:pt idx="5476">
                        <c:v>0</c:v>
                      </c:pt>
                      <c:pt idx="5477">
                        <c:v>0</c:v>
                      </c:pt>
                      <c:pt idx="5478">
                        <c:v>0</c:v>
                      </c:pt>
                      <c:pt idx="5479">
                        <c:v>0</c:v>
                      </c:pt>
                      <c:pt idx="5480">
                        <c:v>0</c:v>
                      </c:pt>
                      <c:pt idx="5481">
                        <c:v>0</c:v>
                      </c:pt>
                      <c:pt idx="5482">
                        <c:v>0</c:v>
                      </c:pt>
                      <c:pt idx="5483">
                        <c:v>0</c:v>
                      </c:pt>
                      <c:pt idx="5484">
                        <c:v>0</c:v>
                      </c:pt>
                      <c:pt idx="5485">
                        <c:v>0</c:v>
                      </c:pt>
                      <c:pt idx="5486">
                        <c:v>0</c:v>
                      </c:pt>
                      <c:pt idx="5487">
                        <c:v>0</c:v>
                      </c:pt>
                      <c:pt idx="5488">
                        <c:v>0</c:v>
                      </c:pt>
                      <c:pt idx="5489">
                        <c:v>0</c:v>
                      </c:pt>
                      <c:pt idx="5490">
                        <c:v>0</c:v>
                      </c:pt>
                      <c:pt idx="5491">
                        <c:v>0</c:v>
                      </c:pt>
                      <c:pt idx="5492">
                        <c:v>0</c:v>
                      </c:pt>
                      <c:pt idx="5493">
                        <c:v>0</c:v>
                      </c:pt>
                      <c:pt idx="5494">
                        <c:v>0</c:v>
                      </c:pt>
                      <c:pt idx="5495">
                        <c:v>0</c:v>
                      </c:pt>
                      <c:pt idx="5496">
                        <c:v>0</c:v>
                      </c:pt>
                      <c:pt idx="5497">
                        <c:v>0</c:v>
                      </c:pt>
                      <c:pt idx="5498">
                        <c:v>0</c:v>
                      </c:pt>
                      <c:pt idx="5499">
                        <c:v>0</c:v>
                      </c:pt>
                      <c:pt idx="5500">
                        <c:v>0</c:v>
                      </c:pt>
                      <c:pt idx="5501">
                        <c:v>0</c:v>
                      </c:pt>
                      <c:pt idx="5502">
                        <c:v>0</c:v>
                      </c:pt>
                      <c:pt idx="5503">
                        <c:v>0</c:v>
                      </c:pt>
                      <c:pt idx="5504">
                        <c:v>0</c:v>
                      </c:pt>
                      <c:pt idx="5505">
                        <c:v>0</c:v>
                      </c:pt>
                      <c:pt idx="5506">
                        <c:v>0</c:v>
                      </c:pt>
                      <c:pt idx="5507">
                        <c:v>0</c:v>
                      </c:pt>
                      <c:pt idx="5508">
                        <c:v>0</c:v>
                      </c:pt>
                      <c:pt idx="5509">
                        <c:v>0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</c:v>
                      </c:pt>
                      <c:pt idx="5514">
                        <c:v>0</c:v>
                      </c:pt>
                      <c:pt idx="5515">
                        <c:v>0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</c:v>
                      </c:pt>
                      <c:pt idx="5538">
                        <c:v>0</c:v>
                      </c:pt>
                      <c:pt idx="5539">
                        <c:v>0</c:v>
                      </c:pt>
                      <c:pt idx="5540">
                        <c:v>0</c:v>
                      </c:pt>
                      <c:pt idx="5541">
                        <c:v>0</c:v>
                      </c:pt>
                      <c:pt idx="5542">
                        <c:v>0</c:v>
                      </c:pt>
                      <c:pt idx="5543">
                        <c:v>0</c:v>
                      </c:pt>
                      <c:pt idx="5544">
                        <c:v>0</c:v>
                      </c:pt>
                      <c:pt idx="5545">
                        <c:v>0</c:v>
                      </c:pt>
                      <c:pt idx="5546">
                        <c:v>0</c:v>
                      </c:pt>
                      <c:pt idx="5547">
                        <c:v>0</c:v>
                      </c:pt>
                      <c:pt idx="5548">
                        <c:v>0</c:v>
                      </c:pt>
                      <c:pt idx="5549">
                        <c:v>0</c:v>
                      </c:pt>
                      <c:pt idx="5550">
                        <c:v>0</c:v>
                      </c:pt>
                      <c:pt idx="5551">
                        <c:v>0</c:v>
                      </c:pt>
                      <c:pt idx="5552">
                        <c:v>0</c:v>
                      </c:pt>
                      <c:pt idx="5553">
                        <c:v>0</c:v>
                      </c:pt>
                      <c:pt idx="5554">
                        <c:v>0</c:v>
                      </c:pt>
                      <c:pt idx="5555">
                        <c:v>0</c:v>
                      </c:pt>
                      <c:pt idx="5556">
                        <c:v>0</c:v>
                      </c:pt>
                      <c:pt idx="5557">
                        <c:v>0</c:v>
                      </c:pt>
                      <c:pt idx="5558">
                        <c:v>0</c:v>
                      </c:pt>
                      <c:pt idx="5559">
                        <c:v>0</c:v>
                      </c:pt>
                      <c:pt idx="5560">
                        <c:v>0</c:v>
                      </c:pt>
                      <c:pt idx="5561">
                        <c:v>0</c:v>
                      </c:pt>
                      <c:pt idx="5562">
                        <c:v>0</c:v>
                      </c:pt>
                      <c:pt idx="5563">
                        <c:v>0</c:v>
                      </c:pt>
                      <c:pt idx="5564">
                        <c:v>0</c:v>
                      </c:pt>
                      <c:pt idx="5565">
                        <c:v>0</c:v>
                      </c:pt>
                      <c:pt idx="5566">
                        <c:v>0</c:v>
                      </c:pt>
                      <c:pt idx="5567">
                        <c:v>0</c:v>
                      </c:pt>
                      <c:pt idx="5568">
                        <c:v>0</c:v>
                      </c:pt>
                      <c:pt idx="5569">
                        <c:v>0</c:v>
                      </c:pt>
                      <c:pt idx="5570">
                        <c:v>0</c:v>
                      </c:pt>
                      <c:pt idx="5571">
                        <c:v>0</c:v>
                      </c:pt>
                      <c:pt idx="5572">
                        <c:v>0</c:v>
                      </c:pt>
                      <c:pt idx="5573">
                        <c:v>0</c:v>
                      </c:pt>
                      <c:pt idx="5574">
                        <c:v>0</c:v>
                      </c:pt>
                      <c:pt idx="5575">
                        <c:v>0</c:v>
                      </c:pt>
                      <c:pt idx="5576">
                        <c:v>0</c:v>
                      </c:pt>
                      <c:pt idx="5577">
                        <c:v>0</c:v>
                      </c:pt>
                      <c:pt idx="5578">
                        <c:v>0</c:v>
                      </c:pt>
                      <c:pt idx="5579">
                        <c:v>0</c:v>
                      </c:pt>
                      <c:pt idx="5580">
                        <c:v>0</c:v>
                      </c:pt>
                      <c:pt idx="5581">
                        <c:v>0</c:v>
                      </c:pt>
                      <c:pt idx="5582">
                        <c:v>0</c:v>
                      </c:pt>
                      <c:pt idx="5583">
                        <c:v>0</c:v>
                      </c:pt>
                      <c:pt idx="5584">
                        <c:v>0</c:v>
                      </c:pt>
                      <c:pt idx="5585">
                        <c:v>0</c:v>
                      </c:pt>
                      <c:pt idx="5586">
                        <c:v>0</c:v>
                      </c:pt>
                      <c:pt idx="5587">
                        <c:v>0</c:v>
                      </c:pt>
                      <c:pt idx="5588">
                        <c:v>0</c:v>
                      </c:pt>
                      <c:pt idx="5589">
                        <c:v>0</c:v>
                      </c:pt>
                      <c:pt idx="5590">
                        <c:v>0</c:v>
                      </c:pt>
                      <c:pt idx="5591">
                        <c:v>0</c:v>
                      </c:pt>
                      <c:pt idx="5592">
                        <c:v>0</c:v>
                      </c:pt>
                      <c:pt idx="5593">
                        <c:v>0</c:v>
                      </c:pt>
                      <c:pt idx="5594">
                        <c:v>0</c:v>
                      </c:pt>
                      <c:pt idx="5595">
                        <c:v>0</c:v>
                      </c:pt>
                      <c:pt idx="5596">
                        <c:v>0</c:v>
                      </c:pt>
                      <c:pt idx="5597">
                        <c:v>0</c:v>
                      </c:pt>
                      <c:pt idx="5598">
                        <c:v>0</c:v>
                      </c:pt>
                      <c:pt idx="5599">
                        <c:v>0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0</c:v>
                      </c:pt>
                      <c:pt idx="5605">
                        <c:v>0</c:v>
                      </c:pt>
                      <c:pt idx="5606">
                        <c:v>0</c:v>
                      </c:pt>
                      <c:pt idx="5607">
                        <c:v>0</c:v>
                      </c:pt>
                      <c:pt idx="5608">
                        <c:v>0</c:v>
                      </c:pt>
                      <c:pt idx="5609">
                        <c:v>0</c:v>
                      </c:pt>
                      <c:pt idx="5610">
                        <c:v>0</c:v>
                      </c:pt>
                      <c:pt idx="5611">
                        <c:v>0</c:v>
                      </c:pt>
                      <c:pt idx="5612">
                        <c:v>0</c:v>
                      </c:pt>
                      <c:pt idx="5613">
                        <c:v>0</c:v>
                      </c:pt>
                      <c:pt idx="5614">
                        <c:v>0</c:v>
                      </c:pt>
                      <c:pt idx="5615">
                        <c:v>0</c:v>
                      </c:pt>
                      <c:pt idx="5616">
                        <c:v>0</c:v>
                      </c:pt>
                      <c:pt idx="5617">
                        <c:v>0</c:v>
                      </c:pt>
                      <c:pt idx="5618">
                        <c:v>0</c:v>
                      </c:pt>
                      <c:pt idx="5619">
                        <c:v>0</c:v>
                      </c:pt>
                      <c:pt idx="5620">
                        <c:v>0</c:v>
                      </c:pt>
                      <c:pt idx="5621">
                        <c:v>0</c:v>
                      </c:pt>
                      <c:pt idx="5622">
                        <c:v>0</c:v>
                      </c:pt>
                      <c:pt idx="5623">
                        <c:v>0</c:v>
                      </c:pt>
                      <c:pt idx="5624">
                        <c:v>0</c:v>
                      </c:pt>
                      <c:pt idx="5625">
                        <c:v>0</c:v>
                      </c:pt>
                      <c:pt idx="5626">
                        <c:v>0</c:v>
                      </c:pt>
                      <c:pt idx="5627">
                        <c:v>0</c:v>
                      </c:pt>
                      <c:pt idx="5628">
                        <c:v>0</c:v>
                      </c:pt>
                      <c:pt idx="5629">
                        <c:v>0</c:v>
                      </c:pt>
                      <c:pt idx="5630">
                        <c:v>0</c:v>
                      </c:pt>
                      <c:pt idx="5631">
                        <c:v>0</c:v>
                      </c:pt>
                      <c:pt idx="5632">
                        <c:v>0</c:v>
                      </c:pt>
                      <c:pt idx="5633">
                        <c:v>0</c:v>
                      </c:pt>
                      <c:pt idx="5634">
                        <c:v>0</c:v>
                      </c:pt>
                      <c:pt idx="5635">
                        <c:v>0</c:v>
                      </c:pt>
                      <c:pt idx="5636">
                        <c:v>0</c:v>
                      </c:pt>
                      <c:pt idx="5637">
                        <c:v>0</c:v>
                      </c:pt>
                      <c:pt idx="5638">
                        <c:v>0</c:v>
                      </c:pt>
                      <c:pt idx="5639">
                        <c:v>0</c:v>
                      </c:pt>
                      <c:pt idx="5640">
                        <c:v>0</c:v>
                      </c:pt>
                      <c:pt idx="5641">
                        <c:v>0</c:v>
                      </c:pt>
                      <c:pt idx="5642">
                        <c:v>0</c:v>
                      </c:pt>
                      <c:pt idx="5643">
                        <c:v>0</c:v>
                      </c:pt>
                      <c:pt idx="5644">
                        <c:v>0</c:v>
                      </c:pt>
                      <c:pt idx="5645">
                        <c:v>0</c:v>
                      </c:pt>
                      <c:pt idx="5646">
                        <c:v>0</c:v>
                      </c:pt>
                      <c:pt idx="5647">
                        <c:v>0</c:v>
                      </c:pt>
                      <c:pt idx="5648">
                        <c:v>0</c:v>
                      </c:pt>
                      <c:pt idx="5649">
                        <c:v>0</c:v>
                      </c:pt>
                      <c:pt idx="5650">
                        <c:v>0</c:v>
                      </c:pt>
                      <c:pt idx="5651">
                        <c:v>0</c:v>
                      </c:pt>
                      <c:pt idx="5652">
                        <c:v>0</c:v>
                      </c:pt>
                      <c:pt idx="5653">
                        <c:v>0</c:v>
                      </c:pt>
                      <c:pt idx="5654">
                        <c:v>0</c:v>
                      </c:pt>
                      <c:pt idx="5655">
                        <c:v>0</c:v>
                      </c:pt>
                      <c:pt idx="5656">
                        <c:v>0</c:v>
                      </c:pt>
                      <c:pt idx="5657">
                        <c:v>0</c:v>
                      </c:pt>
                      <c:pt idx="5658">
                        <c:v>0</c:v>
                      </c:pt>
                      <c:pt idx="5659">
                        <c:v>0</c:v>
                      </c:pt>
                      <c:pt idx="5660">
                        <c:v>0</c:v>
                      </c:pt>
                      <c:pt idx="5661">
                        <c:v>0</c:v>
                      </c:pt>
                      <c:pt idx="5662">
                        <c:v>0</c:v>
                      </c:pt>
                      <c:pt idx="5663">
                        <c:v>0</c:v>
                      </c:pt>
                      <c:pt idx="5664">
                        <c:v>0</c:v>
                      </c:pt>
                      <c:pt idx="5665">
                        <c:v>0</c:v>
                      </c:pt>
                      <c:pt idx="5666">
                        <c:v>0</c:v>
                      </c:pt>
                      <c:pt idx="5667">
                        <c:v>0</c:v>
                      </c:pt>
                      <c:pt idx="5668">
                        <c:v>0</c:v>
                      </c:pt>
                      <c:pt idx="5669">
                        <c:v>0</c:v>
                      </c:pt>
                      <c:pt idx="5670">
                        <c:v>0</c:v>
                      </c:pt>
                      <c:pt idx="5671">
                        <c:v>0</c:v>
                      </c:pt>
                      <c:pt idx="5672">
                        <c:v>0</c:v>
                      </c:pt>
                      <c:pt idx="5673">
                        <c:v>0</c:v>
                      </c:pt>
                      <c:pt idx="5674">
                        <c:v>0</c:v>
                      </c:pt>
                      <c:pt idx="5675">
                        <c:v>0</c:v>
                      </c:pt>
                      <c:pt idx="5676">
                        <c:v>0</c:v>
                      </c:pt>
                      <c:pt idx="5677">
                        <c:v>0</c:v>
                      </c:pt>
                      <c:pt idx="5678">
                        <c:v>0</c:v>
                      </c:pt>
                      <c:pt idx="5679">
                        <c:v>0</c:v>
                      </c:pt>
                      <c:pt idx="5680">
                        <c:v>0</c:v>
                      </c:pt>
                      <c:pt idx="5681">
                        <c:v>0</c:v>
                      </c:pt>
                      <c:pt idx="5682">
                        <c:v>0</c:v>
                      </c:pt>
                      <c:pt idx="5683">
                        <c:v>0</c:v>
                      </c:pt>
                      <c:pt idx="5684">
                        <c:v>0</c:v>
                      </c:pt>
                      <c:pt idx="5685">
                        <c:v>0</c:v>
                      </c:pt>
                      <c:pt idx="5686">
                        <c:v>0</c:v>
                      </c:pt>
                      <c:pt idx="5687">
                        <c:v>0</c:v>
                      </c:pt>
                      <c:pt idx="5688">
                        <c:v>0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0</c:v>
                      </c:pt>
                      <c:pt idx="5699">
                        <c:v>0</c:v>
                      </c:pt>
                      <c:pt idx="5700">
                        <c:v>0</c:v>
                      </c:pt>
                      <c:pt idx="5701">
                        <c:v>0</c:v>
                      </c:pt>
                      <c:pt idx="5702">
                        <c:v>0</c:v>
                      </c:pt>
                      <c:pt idx="5703">
                        <c:v>0</c:v>
                      </c:pt>
                      <c:pt idx="5704">
                        <c:v>0</c:v>
                      </c:pt>
                      <c:pt idx="5705">
                        <c:v>0</c:v>
                      </c:pt>
                      <c:pt idx="5706">
                        <c:v>0</c:v>
                      </c:pt>
                      <c:pt idx="5707">
                        <c:v>0</c:v>
                      </c:pt>
                      <c:pt idx="5708">
                        <c:v>0</c:v>
                      </c:pt>
                      <c:pt idx="5709">
                        <c:v>0</c:v>
                      </c:pt>
                      <c:pt idx="5710">
                        <c:v>0</c:v>
                      </c:pt>
                      <c:pt idx="5711">
                        <c:v>0</c:v>
                      </c:pt>
                      <c:pt idx="5712">
                        <c:v>0</c:v>
                      </c:pt>
                      <c:pt idx="5713">
                        <c:v>0</c:v>
                      </c:pt>
                      <c:pt idx="5714">
                        <c:v>0</c:v>
                      </c:pt>
                      <c:pt idx="5715">
                        <c:v>0</c:v>
                      </c:pt>
                      <c:pt idx="5716">
                        <c:v>0</c:v>
                      </c:pt>
                      <c:pt idx="5717">
                        <c:v>0</c:v>
                      </c:pt>
                      <c:pt idx="5718">
                        <c:v>0</c:v>
                      </c:pt>
                      <c:pt idx="5719">
                        <c:v>0</c:v>
                      </c:pt>
                      <c:pt idx="5720">
                        <c:v>0</c:v>
                      </c:pt>
                      <c:pt idx="5721">
                        <c:v>0</c:v>
                      </c:pt>
                      <c:pt idx="5722">
                        <c:v>0</c:v>
                      </c:pt>
                      <c:pt idx="5723">
                        <c:v>0</c:v>
                      </c:pt>
                      <c:pt idx="5724">
                        <c:v>0</c:v>
                      </c:pt>
                      <c:pt idx="5725">
                        <c:v>0</c:v>
                      </c:pt>
                      <c:pt idx="5726">
                        <c:v>0</c:v>
                      </c:pt>
                      <c:pt idx="5727">
                        <c:v>0</c:v>
                      </c:pt>
                      <c:pt idx="5728">
                        <c:v>0</c:v>
                      </c:pt>
                      <c:pt idx="5729">
                        <c:v>0</c:v>
                      </c:pt>
                      <c:pt idx="5730">
                        <c:v>0</c:v>
                      </c:pt>
                      <c:pt idx="5731">
                        <c:v>0</c:v>
                      </c:pt>
                      <c:pt idx="5732">
                        <c:v>0</c:v>
                      </c:pt>
                      <c:pt idx="5733">
                        <c:v>0</c:v>
                      </c:pt>
                      <c:pt idx="5734">
                        <c:v>0</c:v>
                      </c:pt>
                      <c:pt idx="5735">
                        <c:v>0</c:v>
                      </c:pt>
                      <c:pt idx="5736">
                        <c:v>0</c:v>
                      </c:pt>
                      <c:pt idx="5737">
                        <c:v>0</c:v>
                      </c:pt>
                      <c:pt idx="5738">
                        <c:v>0</c:v>
                      </c:pt>
                      <c:pt idx="5739">
                        <c:v>0</c:v>
                      </c:pt>
                      <c:pt idx="5740">
                        <c:v>0</c:v>
                      </c:pt>
                      <c:pt idx="5741">
                        <c:v>0</c:v>
                      </c:pt>
                      <c:pt idx="5742">
                        <c:v>0</c:v>
                      </c:pt>
                      <c:pt idx="5743">
                        <c:v>0</c:v>
                      </c:pt>
                      <c:pt idx="5744">
                        <c:v>0</c:v>
                      </c:pt>
                      <c:pt idx="5745">
                        <c:v>0</c:v>
                      </c:pt>
                      <c:pt idx="5746">
                        <c:v>0</c:v>
                      </c:pt>
                      <c:pt idx="5747">
                        <c:v>0</c:v>
                      </c:pt>
                      <c:pt idx="5748">
                        <c:v>0</c:v>
                      </c:pt>
                      <c:pt idx="5749">
                        <c:v>0</c:v>
                      </c:pt>
                      <c:pt idx="5750">
                        <c:v>0</c:v>
                      </c:pt>
                      <c:pt idx="5751">
                        <c:v>0</c:v>
                      </c:pt>
                      <c:pt idx="5752">
                        <c:v>0</c:v>
                      </c:pt>
                      <c:pt idx="5753">
                        <c:v>0</c:v>
                      </c:pt>
                      <c:pt idx="5754">
                        <c:v>0</c:v>
                      </c:pt>
                      <c:pt idx="5755">
                        <c:v>0</c:v>
                      </c:pt>
                      <c:pt idx="5756">
                        <c:v>0</c:v>
                      </c:pt>
                      <c:pt idx="5757">
                        <c:v>0</c:v>
                      </c:pt>
                      <c:pt idx="5758">
                        <c:v>0</c:v>
                      </c:pt>
                      <c:pt idx="5759">
                        <c:v>0</c:v>
                      </c:pt>
                      <c:pt idx="5760">
                        <c:v>0</c:v>
                      </c:pt>
                      <c:pt idx="5761">
                        <c:v>0</c:v>
                      </c:pt>
                      <c:pt idx="5762">
                        <c:v>0</c:v>
                      </c:pt>
                      <c:pt idx="5763">
                        <c:v>0</c:v>
                      </c:pt>
                      <c:pt idx="5764">
                        <c:v>0</c:v>
                      </c:pt>
                      <c:pt idx="5765">
                        <c:v>0</c:v>
                      </c:pt>
                      <c:pt idx="5766">
                        <c:v>0</c:v>
                      </c:pt>
                      <c:pt idx="5767">
                        <c:v>0</c:v>
                      </c:pt>
                      <c:pt idx="5768">
                        <c:v>0</c:v>
                      </c:pt>
                      <c:pt idx="5769">
                        <c:v>0</c:v>
                      </c:pt>
                      <c:pt idx="5770">
                        <c:v>0</c:v>
                      </c:pt>
                      <c:pt idx="5771">
                        <c:v>0</c:v>
                      </c:pt>
                      <c:pt idx="5772">
                        <c:v>0</c:v>
                      </c:pt>
                      <c:pt idx="5773">
                        <c:v>0</c:v>
                      </c:pt>
                      <c:pt idx="5774">
                        <c:v>0</c:v>
                      </c:pt>
                      <c:pt idx="5775">
                        <c:v>0</c:v>
                      </c:pt>
                      <c:pt idx="5776">
                        <c:v>0</c:v>
                      </c:pt>
                      <c:pt idx="5777">
                        <c:v>0</c:v>
                      </c:pt>
                      <c:pt idx="5778">
                        <c:v>0</c:v>
                      </c:pt>
                      <c:pt idx="5779">
                        <c:v>0</c:v>
                      </c:pt>
                      <c:pt idx="5780">
                        <c:v>0</c:v>
                      </c:pt>
                      <c:pt idx="5781">
                        <c:v>0</c:v>
                      </c:pt>
                      <c:pt idx="5782">
                        <c:v>0</c:v>
                      </c:pt>
                      <c:pt idx="5783">
                        <c:v>0</c:v>
                      </c:pt>
                      <c:pt idx="5784">
                        <c:v>0</c:v>
                      </c:pt>
                      <c:pt idx="5785">
                        <c:v>0</c:v>
                      </c:pt>
                      <c:pt idx="5786">
                        <c:v>0</c:v>
                      </c:pt>
                      <c:pt idx="5787">
                        <c:v>0</c:v>
                      </c:pt>
                      <c:pt idx="5788">
                        <c:v>0</c:v>
                      </c:pt>
                      <c:pt idx="5789">
                        <c:v>0</c:v>
                      </c:pt>
                      <c:pt idx="5790">
                        <c:v>0</c:v>
                      </c:pt>
                      <c:pt idx="5791">
                        <c:v>0</c:v>
                      </c:pt>
                      <c:pt idx="5792">
                        <c:v>0</c:v>
                      </c:pt>
                      <c:pt idx="5793">
                        <c:v>0</c:v>
                      </c:pt>
                      <c:pt idx="5794">
                        <c:v>0</c:v>
                      </c:pt>
                      <c:pt idx="5795">
                        <c:v>0</c:v>
                      </c:pt>
                      <c:pt idx="5796">
                        <c:v>0</c:v>
                      </c:pt>
                      <c:pt idx="5797">
                        <c:v>0</c:v>
                      </c:pt>
                      <c:pt idx="5798">
                        <c:v>0</c:v>
                      </c:pt>
                      <c:pt idx="5799">
                        <c:v>0</c:v>
                      </c:pt>
                      <c:pt idx="5800">
                        <c:v>0</c:v>
                      </c:pt>
                      <c:pt idx="5801">
                        <c:v>0</c:v>
                      </c:pt>
                      <c:pt idx="5802">
                        <c:v>0</c:v>
                      </c:pt>
                      <c:pt idx="5803">
                        <c:v>0</c:v>
                      </c:pt>
                      <c:pt idx="5804">
                        <c:v>0</c:v>
                      </c:pt>
                      <c:pt idx="5805">
                        <c:v>0</c:v>
                      </c:pt>
                      <c:pt idx="5806">
                        <c:v>0</c:v>
                      </c:pt>
                      <c:pt idx="5807">
                        <c:v>0</c:v>
                      </c:pt>
                      <c:pt idx="5808">
                        <c:v>0</c:v>
                      </c:pt>
                      <c:pt idx="5809">
                        <c:v>0</c:v>
                      </c:pt>
                      <c:pt idx="5810">
                        <c:v>0</c:v>
                      </c:pt>
                      <c:pt idx="5811">
                        <c:v>0</c:v>
                      </c:pt>
                      <c:pt idx="5812">
                        <c:v>0</c:v>
                      </c:pt>
                      <c:pt idx="5813">
                        <c:v>0</c:v>
                      </c:pt>
                      <c:pt idx="5814">
                        <c:v>0</c:v>
                      </c:pt>
                      <c:pt idx="5815">
                        <c:v>0</c:v>
                      </c:pt>
                      <c:pt idx="5816">
                        <c:v>0</c:v>
                      </c:pt>
                      <c:pt idx="5817">
                        <c:v>0</c:v>
                      </c:pt>
                      <c:pt idx="5818">
                        <c:v>0</c:v>
                      </c:pt>
                      <c:pt idx="5819">
                        <c:v>0</c:v>
                      </c:pt>
                      <c:pt idx="5820">
                        <c:v>0</c:v>
                      </c:pt>
                      <c:pt idx="5821">
                        <c:v>0</c:v>
                      </c:pt>
                      <c:pt idx="5822">
                        <c:v>0</c:v>
                      </c:pt>
                      <c:pt idx="5823">
                        <c:v>0</c:v>
                      </c:pt>
                      <c:pt idx="5824">
                        <c:v>0</c:v>
                      </c:pt>
                      <c:pt idx="5825">
                        <c:v>0</c:v>
                      </c:pt>
                      <c:pt idx="5826">
                        <c:v>0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</c:v>
                      </c:pt>
                      <c:pt idx="5833">
                        <c:v>0</c:v>
                      </c:pt>
                      <c:pt idx="5834">
                        <c:v>0</c:v>
                      </c:pt>
                      <c:pt idx="5835">
                        <c:v>0</c:v>
                      </c:pt>
                      <c:pt idx="5836">
                        <c:v>0</c:v>
                      </c:pt>
                      <c:pt idx="5837">
                        <c:v>0</c:v>
                      </c:pt>
                      <c:pt idx="5838">
                        <c:v>0</c:v>
                      </c:pt>
                      <c:pt idx="5839">
                        <c:v>0</c:v>
                      </c:pt>
                      <c:pt idx="5840">
                        <c:v>0</c:v>
                      </c:pt>
                      <c:pt idx="5841">
                        <c:v>0</c:v>
                      </c:pt>
                      <c:pt idx="5842">
                        <c:v>0</c:v>
                      </c:pt>
                      <c:pt idx="5843">
                        <c:v>0</c:v>
                      </c:pt>
                      <c:pt idx="5844">
                        <c:v>0</c:v>
                      </c:pt>
                      <c:pt idx="5845">
                        <c:v>0</c:v>
                      </c:pt>
                      <c:pt idx="5846">
                        <c:v>0</c:v>
                      </c:pt>
                      <c:pt idx="5847">
                        <c:v>0</c:v>
                      </c:pt>
                      <c:pt idx="5848">
                        <c:v>0</c:v>
                      </c:pt>
                      <c:pt idx="5849">
                        <c:v>0</c:v>
                      </c:pt>
                      <c:pt idx="5850">
                        <c:v>0</c:v>
                      </c:pt>
                      <c:pt idx="5851">
                        <c:v>0</c:v>
                      </c:pt>
                      <c:pt idx="5852">
                        <c:v>0</c:v>
                      </c:pt>
                      <c:pt idx="5853">
                        <c:v>0</c:v>
                      </c:pt>
                      <c:pt idx="5854">
                        <c:v>0</c:v>
                      </c:pt>
                      <c:pt idx="5855">
                        <c:v>0</c:v>
                      </c:pt>
                      <c:pt idx="5856">
                        <c:v>0</c:v>
                      </c:pt>
                      <c:pt idx="5857">
                        <c:v>0</c:v>
                      </c:pt>
                      <c:pt idx="5858">
                        <c:v>0</c:v>
                      </c:pt>
                      <c:pt idx="5859">
                        <c:v>0</c:v>
                      </c:pt>
                      <c:pt idx="5860">
                        <c:v>0</c:v>
                      </c:pt>
                      <c:pt idx="5861">
                        <c:v>0</c:v>
                      </c:pt>
                      <c:pt idx="5862">
                        <c:v>0</c:v>
                      </c:pt>
                      <c:pt idx="5863">
                        <c:v>0</c:v>
                      </c:pt>
                      <c:pt idx="5864">
                        <c:v>0</c:v>
                      </c:pt>
                      <c:pt idx="5865">
                        <c:v>0</c:v>
                      </c:pt>
                      <c:pt idx="5866">
                        <c:v>0</c:v>
                      </c:pt>
                      <c:pt idx="5867">
                        <c:v>0</c:v>
                      </c:pt>
                      <c:pt idx="5868">
                        <c:v>0</c:v>
                      </c:pt>
                      <c:pt idx="5869">
                        <c:v>0</c:v>
                      </c:pt>
                      <c:pt idx="5870">
                        <c:v>0</c:v>
                      </c:pt>
                      <c:pt idx="5871">
                        <c:v>0</c:v>
                      </c:pt>
                      <c:pt idx="5872">
                        <c:v>0</c:v>
                      </c:pt>
                      <c:pt idx="5873">
                        <c:v>0</c:v>
                      </c:pt>
                      <c:pt idx="5874">
                        <c:v>0</c:v>
                      </c:pt>
                      <c:pt idx="5875">
                        <c:v>0</c:v>
                      </c:pt>
                      <c:pt idx="5876">
                        <c:v>0</c:v>
                      </c:pt>
                      <c:pt idx="5877">
                        <c:v>0</c:v>
                      </c:pt>
                      <c:pt idx="5878">
                        <c:v>0</c:v>
                      </c:pt>
                      <c:pt idx="5879">
                        <c:v>0</c:v>
                      </c:pt>
                      <c:pt idx="5880">
                        <c:v>0</c:v>
                      </c:pt>
                      <c:pt idx="5881">
                        <c:v>0</c:v>
                      </c:pt>
                      <c:pt idx="5882">
                        <c:v>0</c:v>
                      </c:pt>
                      <c:pt idx="5883">
                        <c:v>0</c:v>
                      </c:pt>
                      <c:pt idx="5884">
                        <c:v>0</c:v>
                      </c:pt>
                      <c:pt idx="5885">
                        <c:v>0</c:v>
                      </c:pt>
                      <c:pt idx="5886">
                        <c:v>0</c:v>
                      </c:pt>
                      <c:pt idx="5887">
                        <c:v>0</c:v>
                      </c:pt>
                      <c:pt idx="5888">
                        <c:v>0</c:v>
                      </c:pt>
                      <c:pt idx="5889">
                        <c:v>0</c:v>
                      </c:pt>
                      <c:pt idx="5890">
                        <c:v>0</c:v>
                      </c:pt>
                      <c:pt idx="5891">
                        <c:v>0</c:v>
                      </c:pt>
                      <c:pt idx="5892">
                        <c:v>0</c:v>
                      </c:pt>
                      <c:pt idx="5893">
                        <c:v>0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0</c:v>
                      </c:pt>
                      <c:pt idx="5898">
                        <c:v>0</c:v>
                      </c:pt>
                      <c:pt idx="5899">
                        <c:v>0</c:v>
                      </c:pt>
                      <c:pt idx="5900">
                        <c:v>0</c:v>
                      </c:pt>
                      <c:pt idx="5901">
                        <c:v>0</c:v>
                      </c:pt>
                      <c:pt idx="5902">
                        <c:v>0</c:v>
                      </c:pt>
                      <c:pt idx="5903">
                        <c:v>0</c:v>
                      </c:pt>
                      <c:pt idx="5904">
                        <c:v>0</c:v>
                      </c:pt>
                      <c:pt idx="5905">
                        <c:v>0</c:v>
                      </c:pt>
                      <c:pt idx="5906">
                        <c:v>0</c:v>
                      </c:pt>
                      <c:pt idx="5907">
                        <c:v>0</c:v>
                      </c:pt>
                      <c:pt idx="5908">
                        <c:v>0</c:v>
                      </c:pt>
                      <c:pt idx="5909">
                        <c:v>0</c:v>
                      </c:pt>
                      <c:pt idx="5910">
                        <c:v>0</c:v>
                      </c:pt>
                      <c:pt idx="5911">
                        <c:v>0</c:v>
                      </c:pt>
                      <c:pt idx="5912">
                        <c:v>0</c:v>
                      </c:pt>
                      <c:pt idx="5913">
                        <c:v>0</c:v>
                      </c:pt>
                      <c:pt idx="5914">
                        <c:v>0</c:v>
                      </c:pt>
                      <c:pt idx="5915">
                        <c:v>0</c:v>
                      </c:pt>
                      <c:pt idx="5916">
                        <c:v>0</c:v>
                      </c:pt>
                      <c:pt idx="5917">
                        <c:v>0</c:v>
                      </c:pt>
                      <c:pt idx="5918">
                        <c:v>0</c:v>
                      </c:pt>
                      <c:pt idx="5919">
                        <c:v>0</c:v>
                      </c:pt>
                      <c:pt idx="5920">
                        <c:v>0</c:v>
                      </c:pt>
                      <c:pt idx="5921">
                        <c:v>0</c:v>
                      </c:pt>
                      <c:pt idx="5922">
                        <c:v>0</c:v>
                      </c:pt>
                      <c:pt idx="5923">
                        <c:v>0</c:v>
                      </c:pt>
                      <c:pt idx="5924">
                        <c:v>0</c:v>
                      </c:pt>
                      <c:pt idx="5925">
                        <c:v>0</c:v>
                      </c:pt>
                      <c:pt idx="5926">
                        <c:v>0</c:v>
                      </c:pt>
                      <c:pt idx="5927">
                        <c:v>0</c:v>
                      </c:pt>
                      <c:pt idx="5928">
                        <c:v>0</c:v>
                      </c:pt>
                      <c:pt idx="5929">
                        <c:v>0</c:v>
                      </c:pt>
                      <c:pt idx="5930">
                        <c:v>0</c:v>
                      </c:pt>
                      <c:pt idx="5931">
                        <c:v>0</c:v>
                      </c:pt>
                      <c:pt idx="5932">
                        <c:v>0</c:v>
                      </c:pt>
                      <c:pt idx="5933">
                        <c:v>0</c:v>
                      </c:pt>
                      <c:pt idx="5934">
                        <c:v>0</c:v>
                      </c:pt>
                      <c:pt idx="5935">
                        <c:v>0</c:v>
                      </c:pt>
                      <c:pt idx="5936">
                        <c:v>0</c:v>
                      </c:pt>
                      <c:pt idx="5937">
                        <c:v>0</c:v>
                      </c:pt>
                      <c:pt idx="5938">
                        <c:v>0</c:v>
                      </c:pt>
                      <c:pt idx="5939">
                        <c:v>0</c:v>
                      </c:pt>
                      <c:pt idx="5940">
                        <c:v>0</c:v>
                      </c:pt>
                      <c:pt idx="5941">
                        <c:v>0</c:v>
                      </c:pt>
                      <c:pt idx="5942">
                        <c:v>0</c:v>
                      </c:pt>
                      <c:pt idx="5943">
                        <c:v>0</c:v>
                      </c:pt>
                      <c:pt idx="5944">
                        <c:v>0</c:v>
                      </c:pt>
                      <c:pt idx="5945">
                        <c:v>0</c:v>
                      </c:pt>
                      <c:pt idx="5946">
                        <c:v>0</c:v>
                      </c:pt>
                      <c:pt idx="5947">
                        <c:v>0</c:v>
                      </c:pt>
                      <c:pt idx="5948">
                        <c:v>0</c:v>
                      </c:pt>
                      <c:pt idx="5949">
                        <c:v>0</c:v>
                      </c:pt>
                      <c:pt idx="5950">
                        <c:v>0</c:v>
                      </c:pt>
                      <c:pt idx="5951">
                        <c:v>0</c:v>
                      </c:pt>
                      <c:pt idx="5952">
                        <c:v>0</c:v>
                      </c:pt>
                      <c:pt idx="5953">
                        <c:v>0</c:v>
                      </c:pt>
                      <c:pt idx="5954">
                        <c:v>0</c:v>
                      </c:pt>
                      <c:pt idx="5955">
                        <c:v>0</c:v>
                      </c:pt>
                      <c:pt idx="5956">
                        <c:v>0</c:v>
                      </c:pt>
                      <c:pt idx="5957">
                        <c:v>0</c:v>
                      </c:pt>
                      <c:pt idx="5958">
                        <c:v>0</c:v>
                      </c:pt>
                      <c:pt idx="5959">
                        <c:v>0</c:v>
                      </c:pt>
                      <c:pt idx="5960">
                        <c:v>0</c:v>
                      </c:pt>
                      <c:pt idx="5961">
                        <c:v>0</c:v>
                      </c:pt>
                      <c:pt idx="5962">
                        <c:v>0</c:v>
                      </c:pt>
                      <c:pt idx="5963">
                        <c:v>0</c:v>
                      </c:pt>
                      <c:pt idx="5964">
                        <c:v>0</c:v>
                      </c:pt>
                      <c:pt idx="5965">
                        <c:v>0</c:v>
                      </c:pt>
                      <c:pt idx="5966">
                        <c:v>0</c:v>
                      </c:pt>
                      <c:pt idx="5967">
                        <c:v>0</c:v>
                      </c:pt>
                      <c:pt idx="5968">
                        <c:v>0</c:v>
                      </c:pt>
                      <c:pt idx="5969">
                        <c:v>0</c:v>
                      </c:pt>
                      <c:pt idx="5970">
                        <c:v>0</c:v>
                      </c:pt>
                      <c:pt idx="5971">
                        <c:v>0</c:v>
                      </c:pt>
                      <c:pt idx="5972">
                        <c:v>0</c:v>
                      </c:pt>
                      <c:pt idx="5973">
                        <c:v>0</c:v>
                      </c:pt>
                      <c:pt idx="5974">
                        <c:v>0</c:v>
                      </c:pt>
                      <c:pt idx="5975">
                        <c:v>0</c:v>
                      </c:pt>
                      <c:pt idx="5976">
                        <c:v>0</c:v>
                      </c:pt>
                      <c:pt idx="5977">
                        <c:v>0</c:v>
                      </c:pt>
                      <c:pt idx="5978">
                        <c:v>0</c:v>
                      </c:pt>
                      <c:pt idx="5979">
                        <c:v>0</c:v>
                      </c:pt>
                      <c:pt idx="5980">
                        <c:v>0</c:v>
                      </c:pt>
                      <c:pt idx="5981">
                        <c:v>0</c:v>
                      </c:pt>
                      <c:pt idx="5982">
                        <c:v>0</c:v>
                      </c:pt>
                      <c:pt idx="5983">
                        <c:v>0</c:v>
                      </c:pt>
                      <c:pt idx="5984">
                        <c:v>0</c:v>
                      </c:pt>
                      <c:pt idx="5985">
                        <c:v>0</c:v>
                      </c:pt>
                      <c:pt idx="5986">
                        <c:v>0</c:v>
                      </c:pt>
                      <c:pt idx="5987">
                        <c:v>0</c:v>
                      </c:pt>
                      <c:pt idx="5988">
                        <c:v>0</c:v>
                      </c:pt>
                      <c:pt idx="5989">
                        <c:v>0</c:v>
                      </c:pt>
                      <c:pt idx="5990">
                        <c:v>0</c:v>
                      </c:pt>
                      <c:pt idx="5991">
                        <c:v>0</c:v>
                      </c:pt>
                      <c:pt idx="5992">
                        <c:v>0</c:v>
                      </c:pt>
                      <c:pt idx="5993">
                        <c:v>0</c:v>
                      </c:pt>
                      <c:pt idx="5994">
                        <c:v>0</c:v>
                      </c:pt>
                      <c:pt idx="5995">
                        <c:v>0</c:v>
                      </c:pt>
                      <c:pt idx="5996">
                        <c:v>0</c:v>
                      </c:pt>
                      <c:pt idx="5997">
                        <c:v>0</c:v>
                      </c:pt>
                      <c:pt idx="5998">
                        <c:v>0</c:v>
                      </c:pt>
                      <c:pt idx="5999">
                        <c:v>0</c:v>
                      </c:pt>
                      <c:pt idx="6000">
                        <c:v>0</c:v>
                      </c:pt>
                      <c:pt idx="6001">
                        <c:v>0</c:v>
                      </c:pt>
                      <c:pt idx="6002">
                        <c:v>0</c:v>
                      </c:pt>
                      <c:pt idx="6003">
                        <c:v>0</c:v>
                      </c:pt>
                      <c:pt idx="6004">
                        <c:v>0</c:v>
                      </c:pt>
                      <c:pt idx="6005">
                        <c:v>0</c:v>
                      </c:pt>
                      <c:pt idx="6006">
                        <c:v>0</c:v>
                      </c:pt>
                      <c:pt idx="6007">
                        <c:v>0</c:v>
                      </c:pt>
                      <c:pt idx="6008">
                        <c:v>0</c:v>
                      </c:pt>
                      <c:pt idx="6009">
                        <c:v>0</c:v>
                      </c:pt>
                      <c:pt idx="6010">
                        <c:v>0</c:v>
                      </c:pt>
                      <c:pt idx="6011">
                        <c:v>0</c:v>
                      </c:pt>
                      <c:pt idx="6012">
                        <c:v>0</c:v>
                      </c:pt>
                      <c:pt idx="6013">
                        <c:v>0</c:v>
                      </c:pt>
                      <c:pt idx="6014">
                        <c:v>0</c:v>
                      </c:pt>
                      <c:pt idx="6015">
                        <c:v>0</c:v>
                      </c:pt>
                      <c:pt idx="6016">
                        <c:v>0</c:v>
                      </c:pt>
                      <c:pt idx="6017">
                        <c:v>0</c:v>
                      </c:pt>
                      <c:pt idx="6018">
                        <c:v>0</c:v>
                      </c:pt>
                      <c:pt idx="6019">
                        <c:v>0</c:v>
                      </c:pt>
                      <c:pt idx="6020">
                        <c:v>0</c:v>
                      </c:pt>
                      <c:pt idx="6021">
                        <c:v>0</c:v>
                      </c:pt>
                      <c:pt idx="6022">
                        <c:v>0</c:v>
                      </c:pt>
                      <c:pt idx="6023">
                        <c:v>0</c:v>
                      </c:pt>
                      <c:pt idx="6024">
                        <c:v>0</c:v>
                      </c:pt>
                      <c:pt idx="6025">
                        <c:v>0</c:v>
                      </c:pt>
                      <c:pt idx="6026">
                        <c:v>0</c:v>
                      </c:pt>
                      <c:pt idx="6027">
                        <c:v>0</c:v>
                      </c:pt>
                      <c:pt idx="6028">
                        <c:v>0</c:v>
                      </c:pt>
                      <c:pt idx="6029">
                        <c:v>0</c:v>
                      </c:pt>
                      <c:pt idx="6030">
                        <c:v>0</c:v>
                      </c:pt>
                      <c:pt idx="6031">
                        <c:v>0</c:v>
                      </c:pt>
                      <c:pt idx="6032">
                        <c:v>0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0</c:v>
                      </c:pt>
                      <c:pt idx="6055">
                        <c:v>0</c:v>
                      </c:pt>
                      <c:pt idx="6056">
                        <c:v>0</c:v>
                      </c:pt>
                      <c:pt idx="6057">
                        <c:v>0</c:v>
                      </c:pt>
                      <c:pt idx="6058">
                        <c:v>0</c:v>
                      </c:pt>
                      <c:pt idx="6059">
                        <c:v>0</c:v>
                      </c:pt>
                      <c:pt idx="6060">
                        <c:v>0</c:v>
                      </c:pt>
                      <c:pt idx="6061">
                        <c:v>0</c:v>
                      </c:pt>
                      <c:pt idx="6062">
                        <c:v>0</c:v>
                      </c:pt>
                      <c:pt idx="6063">
                        <c:v>0</c:v>
                      </c:pt>
                      <c:pt idx="6064">
                        <c:v>0</c:v>
                      </c:pt>
                      <c:pt idx="6065">
                        <c:v>0</c:v>
                      </c:pt>
                      <c:pt idx="6066">
                        <c:v>0</c:v>
                      </c:pt>
                      <c:pt idx="6067">
                        <c:v>0</c:v>
                      </c:pt>
                      <c:pt idx="6068">
                        <c:v>0</c:v>
                      </c:pt>
                      <c:pt idx="6069">
                        <c:v>0</c:v>
                      </c:pt>
                      <c:pt idx="6070">
                        <c:v>0</c:v>
                      </c:pt>
                      <c:pt idx="6071">
                        <c:v>0</c:v>
                      </c:pt>
                      <c:pt idx="6072">
                        <c:v>0</c:v>
                      </c:pt>
                      <c:pt idx="6073">
                        <c:v>0</c:v>
                      </c:pt>
                      <c:pt idx="6074">
                        <c:v>0</c:v>
                      </c:pt>
                      <c:pt idx="6075">
                        <c:v>0</c:v>
                      </c:pt>
                      <c:pt idx="6076">
                        <c:v>0</c:v>
                      </c:pt>
                      <c:pt idx="6077">
                        <c:v>0</c:v>
                      </c:pt>
                      <c:pt idx="6078">
                        <c:v>0</c:v>
                      </c:pt>
                      <c:pt idx="6079">
                        <c:v>0</c:v>
                      </c:pt>
                      <c:pt idx="6080">
                        <c:v>0</c:v>
                      </c:pt>
                      <c:pt idx="6081">
                        <c:v>0</c:v>
                      </c:pt>
                      <c:pt idx="6082">
                        <c:v>0</c:v>
                      </c:pt>
                      <c:pt idx="6083">
                        <c:v>0</c:v>
                      </c:pt>
                      <c:pt idx="6084">
                        <c:v>0</c:v>
                      </c:pt>
                      <c:pt idx="6085">
                        <c:v>0</c:v>
                      </c:pt>
                      <c:pt idx="6086">
                        <c:v>0</c:v>
                      </c:pt>
                      <c:pt idx="6087">
                        <c:v>0</c:v>
                      </c:pt>
                      <c:pt idx="6088">
                        <c:v>0</c:v>
                      </c:pt>
                      <c:pt idx="6089">
                        <c:v>0</c:v>
                      </c:pt>
                      <c:pt idx="6090">
                        <c:v>0</c:v>
                      </c:pt>
                      <c:pt idx="6091">
                        <c:v>0</c:v>
                      </c:pt>
                      <c:pt idx="6092">
                        <c:v>0</c:v>
                      </c:pt>
                      <c:pt idx="6093">
                        <c:v>0</c:v>
                      </c:pt>
                      <c:pt idx="6094">
                        <c:v>0</c:v>
                      </c:pt>
                      <c:pt idx="6095">
                        <c:v>0</c:v>
                      </c:pt>
                      <c:pt idx="6096">
                        <c:v>0</c:v>
                      </c:pt>
                      <c:pt idx="6097">
                        <c:v>0</c:v>
                      </c:pt>
                      <c:pt idx="6098">
                        <c:v>0</c:v>
                      </c:pt>
                      <c:pt idx="6099">
                        <c:v>0</c:v>
                      </c:pt>
                      <c:pt idx="6100">
                        <c:v>0</c:v>
                      </c:pt>
                      <c:pt idx="6101">
                        <c:v>0</c:v>
                      </c:pt>
                      <c:pt idx="6102">
                        <c:v>0</c:v>
                      </c:pt>
                      <c:pt idx="6103">
                        <c:v>0</c:v>
                      </c:pt>
                      <c:pt idx="6104">
                        <c:v>0</c:v>
                      </c:pt>
                      <c:pt idx="6105">
                        <c:v>0</c:v>
                      </c:pt>
                      <c:pt idx="6106">
                        <c:v>0</c:v>
                      </c:pt>
                      <c:pt idx="6107">
                        <c:v>0</c:v>
                      </c:pt>
                      <c:pt idx="6108">
                        <c:v>0</c:v>
                      </c:pt>
                      <c:pt idx="6109">
                        <c:v>0</c:v>
                      </c:pt>
                      <c:pt idx="6110">
                        <c:v>0</c:v>
                      </c:pt>
                      <c:pt idx="6111">
                        <c:v>0</c:v>
                      </c:pt>
                      <c:pt idx="6112">
                        <c:v>0</c:v>
                      </c:pt>
                      <c:pt idx="6113">
                        <c:v>0</c:v>
                      </c:pt>
                      <c:pt idx="6114">
                        <c:v>0</c:v>
                      </c:pt>
                      <c:pt idx="6115">
                        <c:v>0</c:v>
                      </c:pt>
                      <c:pt idx="6116">
                        <c:v>0</c:v>
                      </c:pt>
                      <c:pt idx="6117">
                        <c:v>0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0</c:v>
                      </c:pt>
                      <c:pt idx="6125">
                        <c:v>0</c:v>
                      </c:pt>
                      <c:pt idx="6126">
                        <c:v>0</c:v>
                      </c:pt>
                      <c:pt idx="6127">
                        <c:v>0</c:v>
                      </c:pt>
                      <c:pt idx="6128">
                        <c:v>0</c:v>
                      </c:pt>
                      <c:pt idx="6129">
                        <c:v>0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0</c:v>
                      </c:pt>
                      <c:pt idx="6135">
                        <c:v>0</c:v>
                      </c:pt>
                      <c:pt idx="6136">
                        <c:v>0</c:v>
                      </c:pt>
                      <c:pt idx="6137">
                        <c:v>0</c:v>
                      </c:pt>
                      <c:pt idx="6138">
                        <c:v>0</c:v>
                      </c:pt>
                      <c:pt idx="6139">
                        <c:v>0</c:v>
                      </c:pt>
                      <c:pt idx="6140">
                        <c:v>0</c:v>
                      </c:pt>
                      <c:pt idx="6141">
                        <c:v>0</c:v>
                      </c:pt>
                      <c:pt idx="6142">
                        <c:v>0</c:v>
                      </c:pt>
                      <c:pt idx="6143">
                        <c:v>0</c:v>
                      </c:pt>
                      <c:pt idx="6144">
                        <c:v>0</c:v>
                      </c:pt>
                      <c:pt idx="6145">
                        <c:v>0</c:v>
                      </c:pt>
                      <c:pt idx="6146">
                        <c:v>0</c:v>
                      </c:pt>
                      <c:pt idx="6147">
                        <c:v>0</c:v>
                      </c:pt>
                      <c:pt idx="6148">
                        <c:v>0</c:v>
                      </c:pt>
                      <c:pt idx="6149">
                        <c:v>0</c:v>
                      </c:pt>
                      <c:pt idx="6150">
                        <c:v>0</c:v>
                      </c:pt>
                      <c:pt idx="6151">
                        <c:v>0</c:v>
                      </c:pt>
                      <c:pt idx="6152">
                        <c:v>0</c:v>
                      </c:pt>
                      <c:pt idx="6153">
                        <c:v>0</c:v>
                      </c:pt>
                      <c:pt idx="6154">
                        <c:v>0</c:v>
                      </c:pt>
                      <c:pt idx="6155">
                        <c:v>0</c:v>
                      </c:pt>
                      <c:pt idx="6156">
                        <c:v>0</c:v>
                      </c:pt>
                      <c:pt idx="6157">
                        <c:v>0</c:v>
                      </c:pt>
                      <c:pt idx="6158">
                        <c:v>0</c:v>
                      </c:pt>
                      <c:pt idx="6159">
                        <c:v>0</c:v>
                      </c:pt>
                      <c:pt idx="6160">
                        <c:v>0</c:v>
                      </c:pt>
                      <c:pt idx="6161">
                        <c:v>0</c:v>
                      </c:pt>
                      <c:pt idx="6162">
                        <c:v>0</c:v>
                      </c:pt>
                      <c:pt idx="6163">
                        <c:v>0</c:v>
                      </c:pt>
                      <c:pt idx="6164">
                        <c:v>0</c:v>
                      </c:pt>
                      <c:pt idx="6165">
                        <c:v>0</c:v>
                      </c:pt>
                      <c:pt idx="6166">
                        <c:v>0</c:v>
                      </c:pt>
                      <c:pt idx="6167">
                        <c:v>0</c:v>
                      </c:pt>
                      <c:pt idx="6168">
                        <c:v>0</c:v>
                      </c:pt>
                      <c:pt idx="6169">
                        <c:v>0</c:v>
                      </c:pt>
                      <c:pt idx="6170">
                        <c:v>0</c:v>
                      </c:pt>
                      <c:pt idx="6171">
                        <c:v>0</c:v>
                      </c:pt>
                      <c:pt idx="6172">
                        <c:v>0</c:v>
                      </c:pt>
                      <c:pt idx="6173">
                        <c:v>0</c:v>
                      </c:pt>
                      <c:pt idx="6174">
                        <c:v>0</c:v>
                      </c:pt>
                      <c:pt idx="6175">
                        <c:v>0</c:v>
                      </c:pt>
                      <c:pt idx="6176">
                        <c:v>0</c:v>
                      </c:pt>
                      <c:pt idx="6177">
                        <c:v>0</c:v>
                      </c:pt>
                      <c:pt idx="6178">
                        <c:v>0</c:v>
                      </c:pt>
                      <c:pt idx="6179">
                        <c:v>0</c:v>
                      </c:pt>
                      <c:pt idx="6180">
                        <c:v>0</c:v>
                      </c:pt>
                      <c:pt idx="6181">
                        <c:v>0</c:v>
                      </c:pt>
                      <c:pt idx="6182">
                        <c:v>0</c:v>
                      </c:pt>
                      <c:pt idx="6183">
                        <c:v>0</c:v>
                      </c:pt>
                      <c:pt idx="6184">
                        <c:v>0</c:v>
                      </c:pt>
                      <c:pt idx="6185">
                        <c:v>0</c:v>
                      </c:pt>
                      <c:pt idx="6186">
                        <c:v>0</c:v>
                      </c:pt>
                      <c:pt idx="6187">
                        <c:v>0</c:v>
                      </c:pt>
                      <c:pt idx="6188">
                        <c:v>0</c:v>
                      </c:pt>
                      <c:pt idx="6189">
                        <c:v>0</c:v>
                      </c:pt>
                      <c:pt idx="6190">
                        <c:v>0</c:v>
                      </c:pt>
                      <c:pt idx="6191">
                        <c:v>0</c:v>
                      </c:pt>
                      <c:pt idx="6192">
                        <c:v>0</c:v>
                      </c:pt>
                      <c:pt idx="6193">
                        <c:v>0</c:v>
                      </c:pt>
                      <c:pt idx="6194">
                        <c:v>0</c:v>
                      </c:pt>
                      <c:pt idx="6195">
                        <c:v>0</c:v>
                      </c:pt>
                      <c:pt idx="6196">
                        <c:v>0</c:v>
                      </c:pt>
                      <c:pt idx="6197">
                        <c:v>0</c:v>
                      </c:pt>
                      <c:pt idx="6198">
                        <c:v>0</c:v>
                      </c:pt>
                      <c:pt idx="6199">
                        <c:v>0</c:v>
                      </c:pt>
                      <c:pt idx="6200">
                        <c:v>0</c:v>
                      </c:pt>
                      <c:pt idx="6201">
                        <c:v>0</c:v>
                      </c:pt>
                      <c:pt idx="6202">
                        <c:v>0</c:v>
                      </c:pt>
                      <c:pt idx="6203">
                        <c:v>0</c:v>
                      </c:pt>
                      <c:pt idx="6204">
                        <c:v>0</c:v>
                      </c:pt>
                      <c:pt idx="6205">
                        <c:v>0</c:v>
                      </c:pt>
                      <c:pt idx="6206">
                        <c:v>0</c:v>
                      </c:pt>
                      <c:pt idx="6207">
                        <c:v>0</c:v>
                      </c:pt>
                      <c:pt idx="6208">
                        <c:v>0</c:v>
                      </c:pt>
                      <c:pt idx="6209">
                        <c:v>0</c:v>
                      </c:pt>
                      <c:pt idx="6210">
                        <c:v>0</c:v>
                      </c:pt>
                      <c:pt idx="6211">
                        <c:v>0</c:v>
                      </c:pt>
                      <c:pt idx="6212">
                        <c:v>0</c:v>
                      </c:pt>
                      <c:pt idx="6213">
                        <c:v>0</c:v>
                      </c:pt>
                      <c:pt idx="6214">
                        <c:v>0</c:v>
                      </c:pt>
                      <c:pt idx="6215">
                        <c:v>0</c:v>
                      </c:pt>
                      <c:pt idx="6216">
                        <c:v>0</c:v>
                      </c:pt>
                      <c:pt idx="6217">
                        <c:v>0</c:v>
                      </c:pt>
                      <c:pt idx="6218">
                        <c:v>0</c:v>
                      </c:pt>
                      <c:pt idx="6219">
                        <c:v>0</c:v>
                      </c:pt>
                      <c:pt idx="6220">
                        <c:v>0</c:v>
                      </c:pt>
                      <c:pt idx="6221">
                        <c:v>0</c:v>
                      </c:pt>
                      <c:pt idx="6222">
                        <c:v>0</c:v>
                      </c:pt>
                      <c:pt idx="6223">
                        <c:v>0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0</c:v>
                      </c:pt>
                      <c:pt idx="6229">
                        <c:v>0</c:v>
                      </c:pt>
                      <c:pt idx="6230">
                        <c:v>0</c:v>
                      </c:pt>
                      <c:pt idx="6231">
                        <c:v>0</c:v>
                      </c:pt>
                      <c:pt idx="6232">
                        <c:v>0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</c:v>
                      </c:pt>
                      <c:pt idx="6252">
                        <c:v>0</c:v>
                      </c:pt>
                      <c:pt idx="6253">
                        <c:v>0</c:v>
                      </c:pt>
                      <c:pt idx="6254">
                        <c:v>0</c:v>
                      </c:pt>
                      <c:pt idx="6255">
                        <c:v>0</c:v>
                      </c:pt>
                      <c:pt idx="6256">
                        <c:v>0</c:v>
                      </c:pt>
                      <c:pt idx="6257">
                        <c:v>0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0</c:v>
                      </c:pt>
                      <c:pt idx="6389">
                        <c:v>0</c:v>
                      </c:pt>
                      <c:pt idx="6390">
                        <c:v>0</c:v>
                      </c:pt>
                      <c:pt idx="6391">
                        <c:v>0</c:v>
                      </c:pt>
                      <c:pt idx="6392">
                        <c:v>0</c:v>
                      </c:pt>
                      <c:pt idx="6393">
                        <c:v>0</c:v>
                      </c:pt>
                      <c:pt idx="6394">
                        <c:v>0</c:v>
                      </c:pt>
                      <c:pt idx="6395">
                        <c:v>0</c:v>
                      </c:pt>
                      <c:pt idx="6396">
                        <c:v>0</c:v>
                      </c:pt>
                      <c:pt idx="6397">
                        <c:v>0</c:v>
                      </c:pt>
                      <c:pt idx="6398">
                        <c:v>0</c:v>
                      </c:pt>
                      <c:pt idx="6399">
                        <c:v>0</c:v>
                      </c:pt>
                      <c:pt idx="6400">
                        <c:v>0</c:v>
                      </c:pt>
                      <c:pt idx="6401">
                        <c:v>0</c:v>
                      </c:pt>
                      <c:pt idx="6402">
                        <c:v>0</c:v>
                      </c:pt>
                      <c:pt idx="6403">
                        <c:v>0</c:v>
                      </c:pt>
                      <c:pt idx="6404">
                        <c:v>0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0</c:v>
                      </c:pt>
                      <c:pt idx="6418">
                        <c:v>0</c:v>
                      </c:pt>
                      <c:pt idx="6419">
                        <c:v>0</c:v>
                      </c:pt>
                      <c:pt idx="6420">
                        <c:v>0</c:v>
                      </c:pt>
                      <c:pt idx="6421">
                        <c:v>0</c:v>
                      </c:pt>
                      <c:pt idx="6422">
                        <c:v>0</c:v>
                      </c:pt>
                      <c:pt idx="6423">
                        <c:v>0</c:v>
                      </c:pt>
                      <c:pt idx="6424">
                        <c:v>0</c:v>
                      </c:pt>
                      <c:pt idx="6425">
                        <c:v>0</c:v>
                      </c:pt>
                      <c:pt idx="6426">
                        <c:v>0</c:v>
                      </c:pt>
                      <c:pt idx="6427">
                        <c:v>0</c:v>
                      </c:pt>
                      <c:pt idx="6428">
                        <c:v>0</c:v>
                      </c:pt>
                      <c:pt idx="6429">
                        <c:v>0</c:v>
                      </c:pt>
                      <c:pt idx="6430">
                        <c:v>0</c:v>
                      </c:pt>
                      <c:pt idx="6431">
                        <c:v>0</c:v>
                      </c:pt>
                      <c:pt idx="6432">
                        <c:v>0</c:v>
                      </c:pt>
                      <c:pt idx="6433">
                        <c:v>0</c:v>
                      </c:pt>
                      <c:pt idx="6434">
                        <c:v>0</c:v>
                      </c:pt>
                      <c:pt idx="6435">
                        <c:v>0</c:v>
                      </c:pt>
                      <c:pt idx="6436">
                        <c:v>0</c:v>
                      </c:pt>
                      <c:pt idx="6437">
                        <c:v>0</c:v>
                      </c:pt>
                      <c:pt idx="6438">
                        <c:v>0</c:v>
                      </c:pt>
                      <c:pt idx="6439">
                        <c:v>0</c:v>
                      </c:pt>
                      <c:pt idx="6440">
                        <c:v>0</c:v>
                      </c:pt>
                      <c:pt idx="6441">
                        <c:v>0</c:v>
                      </c:pt>
                      <c:pt idx="6442">
                        <c:v>0</c:v>
                      </c:pt>
                      <c:pt idx="6443">
                        <c:v>0</c:v>
                      </c:pt>
                      <c:pt idx="6444">
                        <c:v>0</c:v>
                      </c:pt>
                      <c:pt idx="6445">
                        <c:v>0</c:v>
                      </c:pt>
                      <c:pt idx="6446">
                        <c:v>0</c:v>
                      </c:pt>
                      <c:pt idx="6447">
                        <c:v>0</c:v>
                      </c:pt>
                      <c:pt idx="6448">
                        <c:v>0</c:v>
                      </c:pt>
                      <c:pt idx="6449">
                        <c:v>0</c:v>
                      </c:pt>
                      <c:pt idx="6450">
                        <c:v>0</c:v>
                      </c:pt>
                      <c:pt idx="6451">
                        <c:v>0</c:v>
                      </c:pt>
                      <c:pt idx="6452">
                        <c:v>0</c:v>
                      </c:pt>
                      <c:pt idx="6453">
                        <c:v>0</c:v>
                      </c:pt>
                      <c:pt idx="6454">
                        <c:v>0</c:v>
                      </c:pt>
                      <c:pt idx="6455">
                        <c:v>0</c:v>
                      </c:pt>
                      <c:pt idx="6456">
                        <c:v>0</c:v>
                      </c:pt>
                      <c:pt idx="6457">
                        <c:v>0</c:v>
                      </c:pt>
                      <c:pt idx="6458">
                        <c:v>0</c:v>
                      </c:pt>
                      <c:pt idx="6459">
                        <c:v>0</c:v>
                      </c:pt>
                      <c:pt idx="6460">
                        <c:v>0</c:v>
                      </c:pt>
                      <c:pt idx="6461">
                        <c:v>0</c:v>
                      </c:pt>
                      <c:pt idx="6462">
                        <c:v>0</c:v>
                      </c:pt>
                      <c:pt idx="6463">
                        <c:v>0</c:v>
                      </c:pt>
                      <c:pt idx="6464">
                        <c:v>0</c:v>
                      </c:pt>
                      <c:pt idx="6465">
                        <c:v>0</c:v>
                      </c:pt>
                      <c:pt idx="6466">
                        <c:v>0</c:v>
                      </c:pt>
                      <c:pt idx="6467">
                        <c:v>0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0</c:v>
                      </c:pt>
                      <c:pt idx="6483">
                        <c:v>0</c:v>
                      </c:pt>
                      <c:pt idx="6484">
                        <c:v>0</c:v>
                      </c:pt>
                      <c:pt idx="6485">
                        <c:v>0</c:v>
                      </c:pt>
                      <c:pt idx="6486">
                        <c:v>0</c:v>
                      </c:pt>
                      <c:pt idx="6487">
                        <c:v>0</c:v>
                      </c:pt>
                      <c:pt idx="6488">
                        <c:v>0</c:v>
                      </c:pt>
                      <c:pt idx="6489">
                        <c:v>0</c:v>
                      </c:pt>
                      <c:pt idx="6490">
                        <c:v>0</c:v>
                      </c:pt>
                      <c:pt idx="6491">
                        <c:v>0</c:v>
                      </c:pt>
                      <c:pt idx="6492">
                        <c:v>0</c:v>
                      </c:pt>
                      <c:pt idx="6493">
                        <c:v>0</c:v>
                      </c:pt>
                      <c:pt idx="6494">
                        <c:v>0</c:v>
                      </c:pt>
                      <c:pt idx="6495">
                        <c:v>0</c:v>
                      </c:pt>
                      <c:pt idx="6496">
                        <c:v>0</c:v>
                      </c:pt>
                      <c:pt idx="6497">
                        <c:v>0</c:v>
                      </c:pt>
                      <c:pt idx="6498">
                        <c:v>0</c:v>
                      </c:pt>
                      <c:pt idx="6499">
                        <c:v>0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0</c:v>
                      </c:pt>
                      <c:pt idx="6540">
                        <c:v>0</c:v>
                      </c:pt>
                      <c:pt idx="6541">
                        <c:v>0</c:v>
                      </c:pt>
                      <c:pt idx="6542">
                        <c:v>0</c:v>
                      </c:pt>
                      <c:pt idx="6543">
                        <c:v>0</c:v>
                      </c:pt>
                      <c:pt idx="6544">
                        <c:v>0</c:v>
                      </c:pt>
                      <c:pt idx="6545">
                        <c:v>0</c:v>
                      </c:pt>
                      <c:pt idx="6546">
                        <c:v>0</c:v>
                      </c:pt>
                      <c:pt idx="6547">
                        <c:v>0</c:v>
                      </c:pt>
                      <c:pt idx="6548">
                        <c:v>0</c:v>
                      </c:pt>
                      <c:pt idx="6549">
                        <c:v>0</c:v>
                      </c:pt>
                      <c:pt idx="6550">
                        <c:v>0</c:v>
                      </c:pt>
                      <c:pt idx="6551">
                        <c:v>0</c:v>
                      </c:pt>
                      <c:pt idx="6552">
                        <c:v>0</c:v>
                      </c:pt>
                      <c:pt idx="6553">
                        <c:v>0</c:v>
                      </c:pt>
                      <c:pt idx="6554">
                        <c:v>0</c:v>
                      </c:pt>
                      <c:pt idx="6555">
                        <c:v>0</c:v>
                      </c:pt>
                      <c:pt idx="6556">
                        <c:v>0</c:v>
                      </c:pt>
                      <c:pt idx="6557">
                        <c:v>0</c:v>
                      </c:pt>
                      <c:pt idx="6558">
                        <c:v>0</c:v>
                      </c:pt>
                      <c:pt idx="6559">
                        <c:v>0</c:v>
                      </c:pt>
                      <c:pt idx="6560">
                        <c:v>0</c:v>
                      </c:pt>
                      <c:pt idx="6561">
                        <c:v>0</c:v>
                      </c:pt>
                      <c:pt idx="6562">
                        <c:v>0</c:v>
                      </c:pt>
                      <c:pt idx="6563">
                        <c:v>0</c:v>
                      </c:pt>
                      <c:pt idx="6564">
                        <c:v>0</c:v>
                      </c:pt>
                      <c:pt idx="6565">
                        <c:v>0</c:v>
                      </c:pt>
                      <c:pt idx="6566">
                        <c:v>0</c:v>
                      </c:pt>
                      <c:pt idx="6567">
                        <c:v>0</c:v>
                      </c:pt>
                      <c:pt idx="6568">
                        <c:v>0</c:v>
                      </c:pt>
                      <c:pt idx="6569">
                        <c:v>0</c:v>
                      </c:pt>
                      <c:pt idx="6570">
                        <c:v>0</c:v>
                      </c:pt>
                      <c:pt idx="6571">
                        <c:v>0</c:v>
                      </c:pt>
                      <c:pt idx="6572">
                        <c:v>0</c:v>
                      </c:pt>
                      <c:pt idx="6573">
                        <c:v>0</c:v>
                      </c:pt>
                      <c:pt idx="6574">
                        <c:v>0</c:v>
                      </c:pt>
                      <c:pt idx="6575">
                        <c:v>0</c:v>
                      </c:pt>
                      <c:pt idx="6576">
                        <c:v>0</c:v>
                      </c:pt>
                      <c:pt idx="6577">
                        <c:v>0</c:v>
                      </c:pt>
                      <c:pt idx="6578">
                        <c:v>0</c:v>
                      </c:pt>
                      <c:pt idx="6579">
                        <c:v>0</c:v>
                      </c:pt>
                      <c:pt idx="6580">
                        <c:v>0</c:v>
                      </c:pt>
                      <c:pt idx="6581">
                        <c:v>0</c:v>
                      </c:pt>
                      <c:pt idx="6582">
                        <c:v>0</c:v>
                      </c:pt>
                      <c:pt idx="6583">
                        <c:v>0</c:v>
                      </c:pt>
                      <c:pt idx="6584">
                        <c:v>0</c:v>
                      </c:pt>
                      <c:pt idx="6585">
                        <c:v>0</c:v>
                      </c:pt>
                      <c:pt idx="6586">
                        <c:v>0</c:v>
                      </c:pt>
                      <c:pt idx="6587">
                        <c:v>0</c:v>
                      </c:pt>
                      <c:pt idx="6588">
                        <c:v>0</c:v>
                      </c:pt>
                      <c:pt idx="6589">
                        <c:v>0</c:v>
                      </c:pt>
                      <c:pt idx="6590">
                        <c:v>0</c:v>
                      </c:pt>
                      <c:pt idx="6591">
                        <c:v>0</c:v>
                      </c:pt>
                      <c:pt idx="6592">
                        <c:v>0</c:v>
                      </c:pt>
                      <c:pt idx="6593">
                        <c:v>0</c:v>
                      </c:pt>
                      <c:pt idx="6594">
                        <c:v>0</c:v>
                      </c:pt>
                      <c:pt idx="6595">
                        <c:v>0</c:v>
                      </c:pt>
                      <c:pt idx="6596">
                        <c:v>0</c:v>
                      </c:pt>
                      <c:pt idx="6597">
                        <c:v>0</c:v>
                      </c:pt>
                      <c:pt idx="6598">
                        <c:v>0</c:v>
                      </c:pt>
                      <c:pt idx="6599">
                        <c:v>0</c:v>
                      </c:pt>
                      <c:pt idx="6600">
                        <c:v>0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0</c:v>
                      </c:pt>
                      <c:pt idx="6617">
                        <c:v>0</c:v>
                      </c:pt>
                      <c:pt idx="6618">
                        <c:v>0</c:v>
                      </c:pt>
                      <c:pt idx="6619">
                        <c:v>0</c:v>
                      </c:pt>
                      <c:pt idx="6620">
                        <c:v>0</c:v>
                      </c:pt>
                      <c:pt idx="6621">
                        <c:v>0</c:v>
                      </c:pt>
                      <c:pt idx="6622">
                        <c:v>0</c:v>
                      </c:pt>
                      <c:pt idx="6623">
                        <c:v>0</c:v>
                      </c:pt>
                      <c:pt idx="6624">
                        <c:v>0</c:v>
                      </c:pt>
                      <c:pt idx="6625">
                        <c:v>0</c:v>
                      </c:pt>
                      <c:pt idx="6626">
                        <c:v>0</c:v>
                      </c:pt>
                      <c:pt idx="6627">
                        <c:v>0</c:v>
                      </c:pt>
                      <c:pt idx="6628">
                        <c:v>0</c:v>
                      </c:pt>
                      <c:pt idx="6629">
                        <c:v>0</c:v>
                      </c:pt>
                      <c:pt idx="6630">
                        <c:v>0</c:v>
                      </c:pt>
                      <c:pt idx="6631">
                        <c:v>0</c:v>
                      </c:pt>
                      <c:pt idx="6632">
                        <c:v>0</c:v>
                      </c:pt>
                      <c:pt idx="6633">
                        <c:v>0</c:v>
                      </c:pt>
                      <c:pt idx="6634">
                        <c:v>0</c:v>
                      </c:pt>
                      <c:pt idx="6635">
                        <c:v>0</c:v>
                      </c:pt>
                      <c:pt idx="6636">
                        <c:v>0</c:v>
                      </c:pt>
                      <c:pt idx="6637">
                        <c:v>0</c:v>
                      </c:pt>
                      <c:pt idx="6638">
                        <c:v>0</c:v>
                      </c:pt>
                      <c:pt idx="6639">
                        <c:v>0</c:v>
                      </c:pt>
                      <c:pt idx="6640">
                        <c:v>0</c:v>
                      </c:pt>
                      <c:pt idx="6641">
                        <c:v>0</c:v>
                      </c:pt>
                      <c:pt idx="6642">
                        <c:v>0</c:v>
                      </c:pt>
                      <c:pt idx="6643">
                        <c:v>0</c:v>
                      </c:pt>
                      <c:pt idx="6644">
                        <c:v>0</c:v>
                      </c:pt>
                      <c:pt idx="6645">
                        <c:v>0</c:v>
                      </c:pt>
                      <c:pt idx="6646">
                        <c:v>0</c:v>
                      </c:pt>
                      <c:pt idx="6647">
                        <c:v>0</c:v>
                      </c:pt>
                      <c:pt idx="6648">
                        <c:v>0</c:v>
                      </c:pt>
                      <c:pt idx="6649">
                        <c:v>0</c:v>
                      </c:pt>
                      <c:pt idx="6650">
                        <c:v>0</c:v>
                      </c:pt>
                      <c:pt idx="6651">
                        <c:v>0</c:v>
                      </c:pt>
                      <c:pt idx="6652">
                        <c:v>0</c:v>
                      </c:pt>
                      <c:pt idx="6653">
                        <c:v>0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</c:v>
                      </c:pt>
                      <c:pt idx="6664">
                        <c:v>0</c:v>
                      </c:pt>
                      <c:pt idx="6665">
                        <c:v>0</c:v>
                      </c:pt>
                      <c:pt idx="6666">
                        <c:v>0</c:v>
                      </c:pt>
                      <c:pt idx="6667">
                        <c:v>0</c:v>
                      </c:pt>
                      <c:pt idx="6668">
                        <c:v>0</c:v>
                      </c:pt>
                      <c:pt idx="6669">
                        <c:v>0</c:v>
                      </c:pt>
                      <c:pt idx="6670">
                        <c:v>0</c:v>
                      </c:pt>
                      <c:pt idx="6671">
                        <c:v>0</c:v>
                      </c:pt>
                      <c:pt idx="6672">
                        <c:v>0</c:v>
                      </c:pt>
                      <c:pt idx="6673">
                        <c:v>0</c:v>
                      </c:pt>
                      <c:pt idx="6674">
                        <c:v>0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</c:v>
                      </c:pt>
                      <c:pt idx="6696">
                        <c:v>0</c:v>
                      </c:pt>
                      <c:pt idx="6697">
                        <c:v>0</c:v>
                      </c:pt>
                      <c:pt idx="6698">
                        <c:v>0</c:v>
                      </c:pt>
                      <c:pt idx="6699">
                        <c:v>0</c:v>
                      </c:pt>
                      <c:pt idx="6700">
                        <c:v>0</c:v>
                      </c:pt>
                      <c:pt idx="6701">
                        <c:v>0</c:v>
                      </c:pt>
                      <c:pt idx="6702">
                        <c:v>0</c:v>
                      </c:pt>
                      <c:pt idx="6703">
                        <c:v>0</c:v>
                      </c:pt>
                      <c:pt idx="6704">
                        <c:v>0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0</c:v>
                      </c:pt>
                      <c:pt idx="6722">
                        <c:v>0</c:v>
                      </c:pt>
                      <c:pt idx="6723">
                        <c:v>0</c:v>
                      </c:pt>
                      <c:pt idx="6724">
                        <c:v>0</c:v>
                      </c:pt>
                      <c:pt idx="6725">
                        <c:v>0</c:v>
                      </c:pt>
                      <c:pt idx="6726">
                        <c:v>0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</c:v>
                      </c:pt>
                      <c:pt idx="6753">
                        <c:v>0</c:v>
                      </c:pt>
                      <c:pt idx="6754">
                        <c:v>0</c:v>
                      </c:pt>
                      <c:pt idx="6755">
                        <c:v>0</c:v>
                      </c:pt>
                      <c:pt idx="6756">
                        <c:v>0</c:v>
                      </c:pt>
                      <c:pt idx="6757">
                        <c:v>0</c:v>
                      </c:pt>
                      <c:pt idx="6758">
                        <c:v>0</c:v>
                      </c:pt>
                      <c:pt idx="6759">
                        <c:v>0</c:v>
                      </c:pt>
                      <c:pt idx="6760">
                        <c:v>0</c:v>
                      </c:pt>
                      <c:pt idx="6761">
                        <c:v>0</c:v>
                      </c:pt>
                      <c:pt idx="6762">
                        <c:v>0</c:v>
                      </c:pt>
                      <c:pt idx="6763">
                        <c:v>0</c:v>
                      </c:pt>
                      <c:pt idx="6764">
                        <c:v>0</c:v>
                      </c:pt>
                      <c:pt idx="6765">
                        <c:v>0</c:v>
                      </c:pt>
                      <c:pt idx="6766">
                        <c:v>0</c:v>
                      </c:pt>
                      <c:pt idx="6767">
                        <c:v>0</c:v>
                      </c:pt>
                      <c:pt idx="6768">
                        <c:v>0</c:v>
                      </c:pt>
                      <c:pt idx="6769">
                        <c:v>0</c:v>
                      </c:pt>
                      <c:pt idx="6770">
                        <c:v>0</c:v>
                      </c:pt>
                      <c:pt idx="6771">
                        <c:v>0</c:v>
                      </c:pt>
                      <c:pt idx="6772">
                        <c:v>0</c:v>
                      </c:pt>
                      <c:pt idx="6773">
                        <c:v>0</c:v>
                      </c:pt>
                      <c:pt idx="6774">
                        <c:v>0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0</c:v>
                      </c:pt>
                      <c:pt idx="6786">
                        <c:v>0</c:v>
                      </c:pt>
                      <c:pt idx="6787">
                        <c:v>0</c:v>
                      </c:pt>
                      <c:pt idx="6788">
                        <c:v>0</c:v>
                      </c:pt>
                      <c:pt idx="6789">
                        <c:v>0</c:v>
                      </c:pt>
                      <c:pt idx="6790">
                        <c:v>0</c:v>
                      </c:pt>
                      <c:pt idx="6791">
                        <c:v>0</c:v>
                      </c:pt>
                      <c:pt idx="6792">
                        <c:v>0</c:v>
                      </c:pt>
                      <c:pt idx="6793">
                        <c:v>0</c:v>
                      </c:pt>
                      <c:pt idx="6794">
                        <c:v>0</c:v>
                      </c:pt>
                      <c:pt idx="6795">
                        <c:v>0</c:v>
                      </c:pt>
                      <c:pt idx="6796">
                        <c:v>0</c:v>
                      </c:pt>
                      <c:pt idx="6797">
                        <c:v>0</c:v>
                      </c:pt>
                      <c:pt idx="6798">
                        <c:v>0</c:v>
                      </c:pt>
                      <c:pt idx="6799">
                        <c:v>0</c:v>
                      </c:pt>
                      <c:pt idx="6800">
                        <c:v>0</c:v>
                      </c:pt>
                      <c:pt idx="6801">
                        <c:v>0</c:v>
                      </c:pt>
                      <c:pt idx="6802">
                        <c:v>0</c:v>
                      </c:pt>
                      <c:pt idx="6803">
                        <c:v>0</c:v>
                      </c:pt>
                      <c:pt idx="6804">
                        <c:v>0</c:v>
                      </c:pt>
                      <c:pt idx="6805">
                        <c:v>0</c:v>
                      </c:pt>
                      <c:pt idx="6806">
                        <c:v>0</c:v>
                      </c:pt>
                      <c:pt idx="6807">
                        <c:v>0</c:v>
                      </c:pt>
                      <c:pt idx="6808">
                        <c:v>0</c:v>
                      </c:pt>
                      <c:pt idx="6809">
                        <c:v>0</c:v>
                      </c:pt>
                      <c:pt idx="6810">
                        <c:v>0</c:v>
                      </c:pt>
                      <c:pt idx="6811">
                        <c:v>0</c:v>
                      </c:pt>
                      <c:pt idx="6812">
                        <c:v>0</c:v>
                      </c:pt>
                      <c:pt idx="6813">
                        <c:v>0</c:v>
                      </c:pt>
                      <c:pt idx="6814">
                        <c:v>0</c:v>
                      </c:pt>
                      <c:pt idx="6815">
                        <c:v>0</c:v>
                      </c:pt>
                      <c:pt idx="6816">
                        <c:v>0</c:v>
                      </c:pt>
                      <c:pt idx="6817">
                        <c:v>0</c:v>
                      </c:pt>
                      <c:pt idx="6818">
                        <c:v>0</c:v>
                      </c:pt>
                      <c:pt idx="6819">
                        <c:v>0</c:v>
                      </c:pt>
                      <c:pt idx="6820">
                        <c:v>0</c:v>
                      </c:pt>
                      <c:pt idx="6821">
                        <c:v>0</c:v>
                      </c:pt>
                      <c:pt idx="6822">
                        <c:v>0</c:v>
                      </c:pt>
                      <c:pt idx="6823">
                        <c:v>0</c:v>
                      </c:pt>
                      <c:pt idx="6824">
                        <c:v>0</c:v>
                      </c:pt>
                      <c:pt idx="6825">
                        <c:v>0</c:v>
                      </c:pt>
                      <c:pt idx="6826">
                        <c:v>0</c:v>
                      </c:pt>
                      <c:pt idx="6827">
                        <c:v>0</c:v>
                      </c:pt>
                      <c:pt idx="6828">
                        <c:v>0</c:v>
                      </c:pt>
                      <c:pt idx="6829">
                        <c:v>0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0</c:v>
                      </c:pt>
                      <c:pt idx="6846">
                        <c:v>0</c:v>
                      </c:pt>
                      <c:pt idx="6847">
                        <c:v>0</c:v>
                      </c:pt>
                      <c:pt idx="6848">
                        <c:v>0</c:v>
                      </c:pt>
                      <c:pt idx="6849">
                        <c:v>0</c:v>
                      </c:pt>
                      <c:pt idx="6850">
                        <c:v>0</c:v>
                      </c:pt>
                      <c:pt idx="6851">
                        <c:v>0</c:v>
                      </c:pt>
                      <c:pt idx="6852">
                        <c:v>0</c:v>
                      </c:pt>
                      <c:pt idx="6853">
                        <c:v>0</c:v>
                      </c:pt>
                      <c:pt idx="6854">
                        <c:v>0</c:v>
                      </c:pt>
                      <c:pt idx="6855">
                        <c:v>0</c:v>
                      </c:pt>
                      <c:pt idx="6856">
                        <c:v>0</c:v>
                      </c:pt>
                      <c:pt idx="6857">
                        <c:v>0</c:v>
                      </c:pt>
                      <c:pt idx="6858">
                        <c:v>0</c:v>
                      </c:pt>
                      <c:pt idx="6859">
                        <c:v>0</c:v>
                      </c:pt>
                      <c:pt idx="6860">
                        <c:v>0</c:v>
                      </c:pt>
                      <c:pt idx="6861">
                        <c:v>0</c:v>
                      </c:pt>
                      <c:pt idx="6862">
                        <c:v>0</c:v>
                      </c:pt>
                      <c:pt idx="6863">
                        <c:v>0</c:v>
                      </c:pt>
                      <c:pt idx="6864">
                        <c:v>0</c:v>
                      </c:pt>
                      <c:pt idx="6865">
                        <c:v>0</c:v>
                      </c:pt>
                      <c:pt idx="6866">
                        <c:v>0</c:v>
                      </c:pt>
                      <c:pt idx="6867">
                        <c:v>0</c:v>
                      </c:pt>
                      <c:pt idx="6868">
                        <c:v>0</c:v>
                      </c:pt>
                      <c:pt idx="6869">
                        <c:v>0</c:v>
                      </c:pt>
                      <c:pt idx="6870">
                        <c:v>0</c:v>
                      </c:pt>
                      <c:pt idx="6871">
                        <c:v>0</c:v>
                      </c:pt>
                      <c:pt idx="6872">
                        <c:v>0</c:v>
                      </c:pt>
                      <c:pt idx="6873">
                        <c:v>0</c:v>
                      </c:pt>
                      <c:pt idx="6874">
                        <c:v>0</c:v>
                      </c:pt>
                      <c:pt idx="6875">
                        <c:v>0</c:v>
                      </c:pt>
                      <c:pt idx="6876">
                        <c:v>0</c:v>
                      </c:pt>
                      <c:pt idx="6877">
                        <c:v>0</c:v>
                      </c:pt>
                      <c:pt idx="6878">
                        <c:v>0</c:v>
                      </c:pt>
                      <c:pt idx="6879">
                        <c:v>0</c:v>
                      </c:pt>
                      <c:pt idx="6880">
                        <c:v>0</c:v>
                      </c:pt>
                      <c:pt idx="6881">
                        <c:v>0</c:v>
                      </c:pt>
                      <c:pt idx="6882">
                        <c:v>0</c:v>
                      </c:pt>
                      <c:pt idx="6883">
                        <c:v>0</c:v>
                      </c:pt>
                      <c:pt idx="6884">
                        <c:v>0</c:v>
                      </c:pt>
                      <c:pt idx="6885">
                        <c:v>0</c:v>
                      </c:pt>
                      <c:pt idx="6886">
                        <c:v>0</c:v>
                      </c:pt>
                      <c:pt idx="6887">
                        <c:v>0</c:v>
                      </c:pt>
                      <c:pt idx="6888">
                        <c:v>0</c:v>
                      </c:pt>
                      <c:pt idx="6889">
                        <c:v>0</c:v>
                      </c:pt>
                      <c:pt idx="6890">
                        <c:v>0</c:v>
                      </c:pt>
                      <c:pt idx="6891">
                        <c:v>0</c:v>
                      </c:pt>
                      <c:pt idx="6892">
                        <c:v>0</c:v>
                      </c:pt>
                      <c:pt idx="6893">
                        <c:v>0</c:v>
                      </c:pt>
                      <c:pt idx="6894">
                        <c:v>0</c:v>
                      </c:pt>
                      <c:pt idx="6895">
                        <c:v>0</c:v>
                      </c:pt>
                      <c:pt idx="6896">
                        <c:v>0</c:v>
                      </c:pt>
                      <c:pt idx="6897">
                        <c:v>0</c:v>
                      </c:pt>
                      <c:pt idx="6898">
                        <c:v>0</c:v>
                      </c:pt>
                      <c:pt idx="6899">
                        <c:v>0</c:v>
                      </c:pt>
                      <c:pt idx="6900">
                        <c:v>0</c:v>
                      </c:pt>
                      <c:pt idx="6901">
                        <c:v>0</c:v>
                      </c:pt>
                      <c:pt idx="6902">
                        <c:v>0</c:v>
                      </c:pt>
                      <c:pt idx="6903">
                        <c:v>0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</c:v>
                      </c:pt>
                      <c:pt idx="6919">
                        <c:v>0</c:v>
                      </c:pt>
                      <c:pt idx="6920">
                        <c:v>0</c:v>
                      </c:pt>
                      <c:pt idx="6921">
                        <c:v>0</c:v>
                      </c:pt>
                      <c:pt idx="6922">
                        <c:v>0</c:v>
                      </c:pt>
                      <c:pt idx="6923">
                        <c:v>0</c:v>
                      </c:pt>
                      <c:pt idx="6924">
                        <c:v>0</c:v>
                      </c:pt>
                      <c:pt idx="6925">
                        <c:v>0</c:v>
                      </c:pt>
                      <c:pt idx="6926">
                        <c:v>0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0</c:v>
                      </c:pt>
                      <c:pt idx="6949">
                        <c:v>0</c:v>
                      </c:pt>
                      <c:pt idx="6950">
                        <c:v>0</c:v>
                      </c:pt>
                      <c:pt idx="6951">
                        <c:v>0</c:v>
                      </c:pt>
                      <c:pt idx="6952">
                        <c:v>0</c:v>
                      </c:pt>
                      <c:pt idx="6953">
                        <c:v>0</c:v>
                      </c:pt>
                      <c:pt idx="6954">
                        <c:v>0</c:v>
                      </c:pt>
                      <c:pt idx="6955">
                        <c:v>0</c:v>
                      </c:pt>
                      <c:pt idx="6956">
                        <c:v>0</c:v>
                      </c:pt>
                      <c:pt idx="6957">
                        <c:v>0</c:v>
                      </c:pt>
                      <c:pt idx="6958">
                        <c:v>0</c:v>
                      </c:pt>
                      <c:pt idx="6959">
                        <c:v>0</c:v>
                      </c:pt>
                      <c:pt idx="6960">
                        <c:v>0</c:v>
                      </c:pt>
                      <c:pt idx="6961">
                        <c:v>0</c:v>
                      </c:pt>
                      <c:pt idx="6962">
                        <c:v>0</c:v>
                      </c:pt>
                      <c:pt idx="6963">
                        <c:v>0</c:v>
                      </c:pt>
                      <c:pt idx="6964">
                        <c:v>0</c:v>
                      </c:pt>
                      <c:pt idx="6965">
                        <c:v>0</c:v>
                      </c:pt>
                      <c:pt idx="6966">
                        <c:v>0</c:v>
                      </c:pt>
                      <c:pt idx="6967">
                        <c:v>0</c:v>
                      </c:pt>
                      <c:pt idx="6968">
                        <c:v>0</c:v>
                      </c:pt>
                      <c:pt idx="6969">
                        <c:v>0</c:v>
                      </c:pt>
                      <c:pt idx="6970">
                        <c:v>0</c:v>
                      </c:pt>
                      <c:pt idx="6971">
                        <c:v>0</c:v>
                      </c:pt>
                      <c:pt idx="6972">
                        <c:v>0</c:v>
                      </c:pt>
                      <c:pt idx="6973">
                        <c:v>0</c:v>
                      </c:pt>
                      <c:pt idx="6974">
                        <c:v>0</c:v>
                      </c:pt>
                      <c:pt idx="6975">
                        <c:v>0</c:v>
                      </c:pt>
                      <c:pt idx="6976">
                        <c:v>0</c:v>
                      </c:pt>
                      <c:pt idx="6977">
                        <c:v>0</c:v>
                      </c:pt>
                      <c:pt idx="6978">
                        <c:v>0</c:v>
                      </c:pt>
                      <c:pt idx="6979">
                        <c:v>0</c:v>
                      </c:pt>
                      <c:pt idx="6980">
                        <c:v>0</c:v>
                      </c:pt>
                      <c:pt idx="6981">
                        <c:v>0</c:v>
                      </c:pt>
                      <c:pt idx="6982">
                        <c:v>0</c:v>
                      </c:pt>
                      <c:pt idx="6983">
                        <c:v>0</c:v>
                      </c:pt>
                      <c:pt idx="6984">
                        <c:v>0</c:v>
                      </c:pt>
                      <c:pt idx="6985">
                        <c:v>0</c:v>
                      </c:pt>
                      <c:pt idx="6986">
                        <c:v>0</c:v>
                      </c:pt>
                      <c:pt idx="6987">
                        <c:v>0</c:v>
                      </c:pt>
                      <c:pt idx="6988">
                        <c:v>0</c:v>
                      </c:pt>
                      <c:pt idx="6989">
                        <c:v>0</c:v>
                      </c:pt>
                      <c:pt idx="6990">
                        <c:v>0</c:v>
                      </c:pt>
                      <c:pt idx="6991">
                        <c:v>0</c:v>
                      </c:pt>
                      <c:pt idx="6992">
                        <c:v>0</c:v>
                      </c:pt>
                      <c:pt idx="6993">
                        <c:v>0</c:v>
                      </c:pt>
                      <c:pt idx="6994">
                        <c:v>0</c:v>
                      </c:pt>
                      <c:pt idx="6995">
                        <c:v>0</c:v>
                      </c:pt>
                      <c:pt idx="6996">
                        <c:v>0</c:v>
                      </c:pt>
                      <c:pt idx="6997">
                        <c:v>0</c:v>
                      </c:pt>
                      <c:pt idx="6998">
                        <c:v>0</c:v>
                      </c:pt>
                      <c:pt idx="6999">
                        <c:v>0</c:v>
                      </c:pt>
                      <c:pt idx="7000">
                        <c:v>0</c:v>
                      </c:pt>
                      <c:pt idx="7001">
                        <c:v>0</c:v>
                      </c:pt>
                      <c:pt idx="7002">
                        <c:v>0</c:v>
                      </c:pt>
                      <c:pt idx="7003">
                        <c:v>0</c:v>
                      </c:pt>
                      <c:pt idx="7004">
                        <c:v>0</c:v>
                      </c:pt>
                      <c:pt idx="7005">
                        <c:v>0</c:v>
                      </c:pt>
                      <c:pt idx="7006">
                        <c:v>0</c:v>
                      </c:pt>
                      <c:pt idx="7007">
                        <c:v>0</c:v>
                      </c:pt>
                      <c:pt idx="7008">
                        <c:v>0</c:v>
                      </c:pt>
                      <c:pt idx="7009">
                        <c:v>0</c:v>
                      </c:pt>
                      <c:pt idx="7010">
                        <c:v>0</c:v>
                      </c:pt>
                      <c:pt idx="7011">
                        <c:v>0</c:v>
                      </c:pt>
                      <c:pt idx="7012">
                        <c:v>0</c:v>
                      </c:pt>
                      <c:pt idx="7013">
                        <c:v>0</c:v>
                      </c:pt>
                      <c:pt idx="7014">
                        <c:v>0</c:v>
                      </c:pt>
                      <c:pt idx="7015">
                        <c:v>0</c:v>
                      </c:pt>
                      <c:pt idx="7016">
                        <c:v>0</c:v>
                      </c:pt>
                      <c:pt idx="7017">
                        <c:v>0</c:v>
                      </c:pt>
                      <c:pt idx="7018">
                        <c:v>0</c:v>
                      </c:pt>
                      <c:pt idx="7019">
                        <c:v>0</c:v>
                      </c:pt>
                      <c:pt idx="7020">
                        <c:v>0</c:v>
                      </c:pt>
                      <c:pt idx="7021">
                        <c:v>0</c:v>
                      </c:pt>
                      <c:pt idx="7022">
                        <c:v>0</c:v>
                      </c:pt>
                      <c:pt idx="7023">
                        <c:v>0</c:v>
                      </c:pt>
                      <c:pt idx="7024">
                        <c:v>0</c:v>
                      </c:pt>
                      <c:pt idx="7025">
                        <c:v>0</c:v>
                      </c:pt>
                      <c:pt idx="7026">
                        <c:v>0</c:v>
                      </c:pt>
                      <c:pt idx="7027">
                        <c:v>0</c:v>
                      </c:pt>
                      <c:pt idx="7028">
                        <c:v>0</c:v>
                      </c:pt>
                      <c:pt idx="7029">
                        <c:v>0</c:v>
                      </c:pt>
                      <c:pt idx="7030">
                        <c:v>0</c:v>
                      </c:pt>
                      <c:pt idx="7031">
                        <c:v>0</c:v>
                      </c:pt>
                      <c:pt idx="7032">
                        <c:v>0</c:v>
                      </c:pt>
                      <c:pt idx="7033">
                        <c:v>0</c:v>
                      </c:pt>
                      <c:pt idx="7034">
                        <c:v>0</c:v>
                      </c:pt>
                      <c:pt idx="7035">
                        <c:v>0</c:v>
                      </c:pt>
                      <c:pt idx="7036">
                        <c:v>0</c:v>
                      </c:pt>
                      <c:pt idx="7037">
                        <c:v>0</c:v>
                      </c:pt>
                      <c:pt idx="7038">
                        <c:v>0</c:v>
                      </c:pt>
                      <c:pt idx="7039">
                        <c:v>0</c:v>
                      </c:pt>
                      <c:pt idx="7040">
                        <c:v>0</c:v>
                      </c:pt>
                      <c:pt idx="7041">
                        <c:v>0</c:v>
                      </c:pt>
                      <c:pt idx="7042">
                        <c:v>0</c:v>
                      </c:pt>
                      <c:pt idx="7043">
                        <c:v>0</c:v>
                      </c:pt>
                      <c:pt idx="7044">
                        <c:v>0</c:v>
                      </c:pt>
                      <c:pt idx="7045">
                        <c:v>0</c:v>
                      </c:pt>
                      <c:pt idx="7046">
                        <c:v>0</c:v>
                      </c:pt>
                      <c:pt idx="7047">
                        <c:v>0</c:v>
                      </c:pt>
                      <c:pt idx="7048">
                        <c:v>0</c:v>
                      </c:pt>
                      <c:pt idx="7049">
                        <c:v>0</c:v>
                      </c:pt>
                      <c:pt idx="7050">
                        <c:v>0</c:v>
                      </c:pt>
                      <c:pt idx="7051">
                        <c:v>0</c:v>
                      </c:pt>
                      <c:pt idx="7052">
                        <c:v>0</c:v>
                      </c:pt>
                      <c:pt idx="7053">
                        <c:v>0</c:v>
                      </c:pt>
                      <c:pt idx="7054">
                        <c:v>0</c:v>
                      </c:pt>
                      <c:pt idx="7055">
                        <c:v>0</c:v>
                      </c:pt>
                      <c:pt idx="7056">
                        <c:v>0</c:v>
                      </c:pt>
                      <c:pt idx="7057">
                        <c:v>0</c:v>
                      </c:pt>
                      <c:pt idx="7058">
                        <c:v>0</c:v>
                      </c:pt>
                      <c:pt idx="7059">
                        <c:v>0</c:v>
                      </c:pt>
                      <c:pt idx="7060">
                        <c:v>0</c:v>
                      </c:pt>
                      <c:pt idx="7061">
                        <c:v>0</c:v>
                      </c:pt>
                      <c:pt idx="7062">
                        <c:v>0</c:v>
                      </c:pt>
                      <c:pt idx="7063">
                        <c:v>0</c:v>
                      </c:pt>
                      <c:pt idx="7064">
                        <c:v>0</c:v>
                      </c:pt>
                      <c:pt idx="7065">
                        <c:v>0</c:v>
                      </c:pt>
                      <c:pt idx="7066">
                        <c:v>0</c:v>
                      </c:pt>
                      <c:pt idx="7067">
                        <c:v>0</c:v>
                      </c:pt>
                      <c:pt idx="7068">
                        <c:v>0</c:v>
                      </c:pt>
                      <c:pt idx="7069">
                        <c:v>0</c:v>
                      </c:pt>
                      <c:pt idx="7070">
                        <c:v>0</c:v>
                      </c:pt>
                      <c:pt idx="7071">
                        <c:v>0</c:v>
                      </c:pt>
                      <c:pt idx="7072">
                        <c:v>0</c:v>
                      </c:pt>
                      <c:pt idx="7073">
                        <c:v>0</c:v>
                      </c:pt>
                      <c:pt idx="7074">
                        <c:v>0</c:v>
                      </c:pt>
                      <c:pt idx="7075">
                        <c:v>0</c:v>
                      </c:pt>
                      <c:pt idx="7076">
                        <c:v>0</c:v>
                      </c:pt>
                      <c:pt idx="7077">
                        <c:v>0</c:v>
                      </c:pt>
                      <c:pt idx="7078">
                        <c:v>0</c:v>
                      </c:pt>
                      <c:pt idx="7079">
                        <c:v>0</c:v>
                      </c:pt>
                      <c:pt idx="7080">
                        <c:v>0</c:v>
                      </c:pt>
                      <c:pt idx="7081">
                        <c:v>0</c:v>
                      </c:pt>
                      <c:pt idx="7082">
                        <c:v>0</c:v>
                      </c:pt>
                      <c:pt idx="7083">
                        <c:v>0</c:v>
                      </c:pt>
                      <c:pt idx="7084">
                        <c:v>0</c:v>
                      </c:pt>
                      <c:pt idx="7085">
                        <c:v>0</c:v>
                      </c:pt>
                      <c:pt idx="7086">
                        <c:v>0</c:v>
                      </c:pt>
                      <c:pt idx="7087">
                        <c:v>0</c:v>
                      </c:pt>
                      <c:pt idx="7088">
                        <c:v>0</c:v>
                      </c:pt>
                      <c:pt idx="7089">
                        <c:v>0</c:v>
                      </c:pt>
                      <c:pt idx="7090">
                        <c:v>0</c:v>
                      </c:pt>
                      <c:pt idx="7091">
                        <c:v>0</c:v>
                      </c:pt>
                      <c:pt idx="7092">
                        <c:v>0</c:v>
                      </c:pt>
                      <c:pt idx="7093">
                        <c:v>0</c:v>
                      </c:pt>
                      <c:pt idx="7094">
                        <c:v>0</c:v>
                      </c:pt>
                      <c:pt idx="7095">
                        <c:v>0</c:v>
                      </c:pt>
                      <c:pt idx="7096">
                        <c:v>0</c:v>
                      </c:pt>
                      <c:pt idx="7097">
                        <c:v>0</c:v>
                      </c:pt>
                      <c:pt idx="7098">
                        <c:v>0</c:v>
                      </c:pt>
                      <c:pt idx="7099">
                        <c:v>0</c:v>
                      </c:pt>
                      <c:pt idx="7100">
                        <c:v>0</c:v>
                      </c:pt>
                      <c:pt idx="7101">
                        <c:v>0</c:v>
                      </c:pt>
                      <c:pt idx="7102">
                        <c:v>0</c:v>
                      </c:pt>
                      <c:pt idx="7103">
                        <c:v>0</c:v>
                      </c:pt>
                      <c:pt idx="7104">
                        <c:v>0</c:v>
                      </c:pt>
                      <c:pt idx="7105">
                        <c:v>0</c:v>
                      </c:pt>
                      <c:pt idx="7106">
                        <c:v>0</c:v>
                      </c:pt>
                      <c:pt idx="7107">
                        <c:v>0</c:v>
                      </c:pt>
                      <c:pt idx="7108">
                        <c:v>0</c:v>
                      </c:pt>
                      <c:pt idx="7109">
                        <c:v>0</c:v>
                      </c:pt>
                      <c:pt idx="7110">
                        <c:v>0</c:v>
                      </c:pt>
                      <c:pt idx="7111">
                        <c:v>0</c:v>
                      </c:pt>
                      <c:pt idx="7112">
                        <c:v>0</c:v>
                      </c:pt>
                      <c:pt idx="7113">
                        <c:v>0</c:v>
                      </c:pt>
                      <c:pt idx="7114">
                        <c:v>0</c:v>
                      </c:pt>
                      <c:pt idx="7115">
                        <c:v>0</c:v>
                      </c:pt>
                      <c:pt idx="7116">
                        <c:v>0</c:v>
                      </c:pt>
                      <c:pt idx="7117">
                        <c:v>0</c:v>
                      </c:pt>
                      <c:pt idx="7118">
                        <c:v>0</c:v>
                      </c:pt>
                      <c:pt idx="7119">
                        <c:v>0</c:v>
                      </c:pt>
                      <c:pt idx="7120">
                        <c:v>0</c:v>
                      </c:pt>
                      <c:pt idx="7121">
                        <c:v>0</c:v>
                      </c:pt>
                      <c:pt idx="7122">
                        <c:v>0</c:v>
                      </c:pt>
                      <c:pt idx="7123">
                        <c:v>0</c:v>
                      </c:pt>
                      <c:pt idx="7124">
                        <c:v>0</c:v>
                      </c:pt>
                      <c:pt idx="7125">
                        <c:v>0</c:v>
                      </c:pt>
                      <c:pt idx="7126">
                        <c:v>0</c:v>
                      </c:pt>
                      <c:pt idx="7127">
                        <c:v>0</c:v>
                      </c:pt>
                      <c:pt idx="7128">
                        <c:v>0</c:v>
                      </c:pt>
                      <c:pt idx="7129">
                        <c:v>0</c:v>
                      </c:pt>
                      <c:pt idx="7130">
                        <c:v>0</c:v>
                      </c:pt>
                      <c:pt idx="7131">
                        <c:v>0</c:v>
                      </c:pt>
                      <c:pt idx="7132">
                        <c:v>0</c:v>
                      </c:pt>
                      <c:pt idx="7133">
                        <c:v>0</c:v>
                      </c:pt>
                      <c:pt idx="7134">
                        <c:v>0</c:v>
                      </c:pt>
                      <c:pt idx="7135">
                        <c:v>0</c:v>
                      </c:pt>
                      <c:pt idx="7136">
                        <c:v>0</c:v>
                      </c:pt>
                      <c:pt idx="7137">
                        <c:v>0</c:v>
                      </c:pt>
                      <c:pt idx="7138">
                        <c:v>0</c:v>
                      </c:pt>
                      <c:pt idx="7139">
                        <c:v>0</c:v>
                      </c:pt>
                      <c:pt idx="7140">
                        <c:v>0</c:v>
                      </c:pt>
                      <c:pt idx="7141">
                        <c:v>0</c:v>
                      </c:pt>
                      <c:pt idx="7142">
                        <c:v>0</c:v>
                      </c:pt>
                      <c:pt idx="7143">
                        <c:v>0</c:v>
                      </c:pt>
                      <c:pt idx="7144">
                        <c:v>0</c:v>
                      </c:pt>
                      <c:pt idx="7145">
                        <c:v>0</c:v>
                      </c:pt>
                      <c:pt idx="7146">
                        <c:v>0</c:v>
                      </c:pt>
                      <c:pt idx="7147">
                        <c:v>0</c:v>
                      </c:pt>
                      <c:pt idx="7148">
                        <c:v>0</c:v>
                      </c:pt>
                      <c:pt idx="7149">
                        <c:v>0</c:v>
                      </c:pt>
                      <c:pt idx="7150">
                        <c:v>0</c:v>
                      </c:pt>
                      <c:pt idx="7151">
                        <c:v>0</c:v>
                      </c:pt>
                      <c:pt idx="7152">
                        <c:v>0</c:v>
                      </c:pt>
                      <c:pt idx="7153">
                        <c:v>0</c:v>
                      </c:pt>
                      <c:pt idx="7154">
                        <c:v>0</c:v>
                      </c:pt>
                      <c:pt idx="7155">
                        <c:v>0</c:v>
                      </c:pt>
                      <c:pt idx="7156">
                        <c:v>0</c:v>
                      </c:pt>
                      <c:pt idx="7157">
                        <c:v>0</c:v>
                      </c:pt>
                      <c:pt idx="7158">
                        <c:v>0</c:v>
                      </c:pt>
                      <c:pt idx="7159">
                        <c:v>0</c:v>
                      </c:pt>
                      <c:pt idx="7160">
                        <c:v>0</c:v>
                      </c:pt>
                      <c:pt idx="7161">
                        <c:v>0</c:v>
                      </c:pt>
                      <c:pt idx="7162">
                        <c:v>0</c:v>
                      </c:pt>
                      <c:pt idx="7163">
                        <c:v>0</c:v>
                      </c:pt>
                      <c:pt idx="7164">
                        <c:v>0</c:v>
                      </c:pt>
                      <c:pt idx="7165">
                        <c:v>0</c:v>
                      </c:pt>
                      <c:pt idx="7166">
                        <c:v>0</c:v>
                      </c:pt>
                      <c:pt idx="7167">
                        <c:v>0</c:v>
                      </c:pt>
                      <c:pt idx="7168">
                        <c:v>0</c:v>
                      </c:pt>
                      <c:pt idx="7169">
                        <c:v>0</c:v>
                      </c:pt>
                      <c:pt idx="7170">
                        <c:v>0</c:v>
                      </c:pt>
                      <c:pt idx="7171">
                        <c:v>0</c:v>
                      </c:pt>
                      <c:pt idx="7172">
                        <c:v>0</c:v>
                      </c:pt>
                      <c:pt idx="7173">
                        <c:v>0</c:v>
                      </c:pt>
                      <c:pt idx="7174">
                        <c:v>0</c:v>
                      </c:pt>
                      <c:pt idx="7175">
                        <c:v>0</c:v>
                      </c:pt>
                      <c:pt idx="7176">
                        <c:v>0</c:v>
                      </c:pt>
                      <c:pt idx="7177">
                        <c:v>0</c:v>
                      </c:pt>
                      <c:pt idx="7178">
                        <c:v>0</c:v>
                      </c:pt>
                      <c:pt idx="7179">
                        <c:v>0</c:v>
                      </c:pt>
                      <c:pt idx="7180">
                        <c:v>0</c:v>
                      </c:pt>
                      <c:pt idx="7181">
                        <c:v>0</c:v>
                      </c:pt>
                      <c:pt idx="7182">
                        <c:v>0</c:v>
                      </c:pt>
                      <c:pt idx="7183">
                        <c:v>0</c:v>
                      </c:pt>
                      <c:pt idx="7184">
                        <c:v>0</c:v>
                      </c:pt>
                      <c:pt idx="7185">
                        <c:v>0</c:v>
                      </c:pt>
                      <c:pt idx="7186">
                        <c:v>0</c:v>
                      </c:pt>
                      <c:pt idx="7187">
                        <c:v>0</c:v>
                      </c:pt>
                      <c:pt idx="7188">
                        <c:v>0</c:v>
                      </c:pt>
                      <c:pt idx="7189">
                        <c:v>0</c:v>
                      </c:pt>
                      <c:pt idx="7190">
                        <c:v>0</c:v>
                      </c:pt>
                      <c:pt idx="7191">
                        <c:v>0</c:v>
                      </c:pt>
                      <c:pt idx="7192">
                        <c:v>0</c:v>
                      </c:pt>
                      <c:pt idx="7193">
                        <c:v>0</c:v>
                      </c:pt>
                      <c:pt idx="7194">
                        <c:v>0</c:v>
                      </c:pt>
                      <c:pt idx="7195">
                        <c:v>0</c:v>
                      </c:pt>
                      <c:pt idx="7196">
                        <c:v>0</c:v>
                      </c:pt>
                      <c:pt idx="7197">
                        <c:v>0</c:v>
                      </c:pt>
                      <c:pt idx="7198">
                        <c:v>0</c:v>
                      </c:pt>
                      <c:pt idx="7199">
                        <c:v>0</c:v>
                      </c:pt>
                      <c:pt idx="7200">
                        <c:v>0</c:v>
                      </c:pt>
                      <c:pt idx="7201">
                        <c:v>0</c:v>
                      </c:pt>
                      <c:pt idx="7202">
                        <c:v>0</c:v>
                      </c:pt>
                      <c:pt idx="7203">
                        <c:v>0</c:v>
                      </c:pt>
                      <c:pt idx="7204">
                        <c:v>0</c:v>
                      </c:pt>
                      <c:pt idx="7205">
                        <c:v>0</c:v>
                      </c:pt>
                      <c:pt idx="7206">
                        <c:v>0</c:v>
                      </c:pt>
                      <c:pt idx="7207">
                        <c:v>0</c:v>
                      </c:pt>
                      <c:pt idx="7208">
                        <c:v>0</c:v>
                      </c:pt>
                      <c:pt idx="7209">
                        <c:v>0</c:v>
                      </c:pt>
                      <c:pt idx="7210">
                        <c:v>0</c:v>
                      </c:pt>
                      <c:pt idx="7211">
                        <c:v>0</c:v>
                      </c:pt>
                      <c:pt idx="7212">
                        <c:v>0</c:v>
                      </c:pt>
                      <c:pt idx="7213">
                        <c:v>0</c:v>
                      </c:pt>
                      <c:pt idx="7214">
                        <c:v>0</c:v>
                      </c:pt>
                      <c:pt idx="7215">
                        <c:v>0</c:v>
                      </c:pt>
                      <c:pt idx="7216">
                        <c:v>0</c:v>
                      </c:pt>
                      <c:pt idx="7217">
                        <c:v>0</c:v>
                      </c:pt>
                      <c:pt idx="7218">
                        <c:v>0</c:v>
                      </c:pt>
                      <c:pt idx="7219">
                        <c:v>0</c:v>
                      </c:pt>
                      <c:pt idx="7220">
                        <c:v>0</c:v>
                      </c:pt>
                      <c:pt idx="7221">
                        <c:v>0</c:v>
                      </c:pt>
                      <c:pt idx="7222">
                        <c:v>0</c:v>
                      </c:pt>
                      <c:pt idx="7223">
                        <c:v>0</c:v>
                      </c:pt>
                      <c:pt idx="7224">
                        <c:v>0</c:v>
                      </c:pt>
                      <c:pt idx="7225">
                        <c:v>0</c:v>
                      </c:pt>
                      <c:pt idx="7226">
                        <c:v>0</c:v>
                      </c:pt>
                      <c:pt idx="7227">
                        <c:v>0</c:v>
                      </c:pt>
                      <c:pt idx="7228">
                        <c:v>0</c:v>
                      </c:pt>
                      <c:pt idx="7229">
                        <c:v>0</c:v>
                      </c:pt>
                      <c:pt idx="7230">
                        <c:v>0</c:v>
                      </c:pt>
                      <c:pt idx="7231">
                        <c:v>0</c:v>
                      </c:pt>
                      <c:pt idx="7232">
                        <c:v>0</c:v>
                      </c:pt>
                      <c:pt idx="7233">
                        <c:v>0</c:v>
                      </c:pt>
                      <c:pt idx="7234">
                        <c:v>0</c:v>
                      </c:pt>
                      <c:pt idx="7235">
                        <c:v>0</c:v>
                      </c:pt>
                      <c:pt idx="7236">
                        <c:v>0</c:v>
                      </c:pt>
                      <c:pt idx="7237">
                        <c:v>0</c:v>
                      </c:pt>
                      <c:pt idx="7238">
                        <c:v>0</c:v>
                      </c:pt>
                      <c:pt idx="7239">
                        <c:v>0</c:v>
                      </c:pt>
                      <c:pt idx="7240">
                        <c:v>0</c:v>
                      </c:pt>
                      <c:pt idx="7241">
                        <c:v>0</c:v>
                      </c:pt>
                      <c:pt idx="7242">
                        <c:v>0</c:v>
                      </c:pt>
                      <c:pt idx="7243">
                        <c:v>0</c:v>
                      </c:pt>
                      <c:pt idx="7244">
                        <c:v>0</c:v>
                      </c:pt>
                      <c:pt idx="7245">
                        <c:v>0</c:v>
                      </c:pt>
                      <c:pt idx="7246">
                        <c:v>0</c:v>
                      </c:pt>
                      <c:pt idx="7247">
                        <c:v>0</c:v>
                      </c:pt>
                      <c:pt idx="7248">
                        <c:v>0</c:v>
                      </c:pt>
                      <c:pt idx="7249">
                        <c:v>0</c:v>
                      </c:pt>
                      <c:pt idx="7250">
                        <c:v>0</c:v>
                      </c:pt>
                      <c:pt idx="7251">
                        <c:v>0</c:v>
                      </c:pt>
                      <c:pt idx="7252">
                        <c:v>0</c:v>
                      </c:pt>
                      <c:pt idx="7253">
                        <c:v>0</c:v>
                      </c:pt>
                      <c:pt idx="7254">
                        <c:v>0</c:v>
                      </c:pt>
                      <c:pt idx="7255">
                        <c:v>0</c:v>
                      </c:pt>
                      <c:pt idx="7256">
                        <c:v>0</c:v>
                      </c:pt>
                      <c:pt idx="7257">
                        <c:v>0</c:v>
                      </c:pt>
                      <c:pt idx="7258">
                        <c:v>0</c:v>
                      </c:pt>
                      <c:pt idx="7259">
                        <c:v>0</c:v>
                      </c:pt>
                      <c:pt idx="7260">
                        <c:v>0</c:v>
                      </c:pt>
                      <c:pt idx="7261">
                        <c:v>0</c:v>
                      </c:pt>
                      <c:pt idx="7262">
                        <c:v>0</c:v>
                      </c:pt>
                      <c:pt idx="7263">
                        <c:v>0</c:v>
                      </c:pt>
                      <c:pt idx="7264">
                        <c:v>0</c:v>
                      </c:pt>
                      <c:pt idx="7265">
                        <c:v>0</c:v>
                      </c:pt>
                      <c:pt idx="7266">
                        <c:v>0</c:v>
                      </c:pt>
                      <c:pt idx="7267">
                        <c:v>0</c:v>
                      </c:pt>
                      <c:pt idx="7268">
                        <c:v>0</c:v>
                      </c:pt>
                      <c:pt idx="7269">
                        <c:v>0</c:v>
                      </c:pt>
                      <c:pt idx="7270">
                        <c:v>0</c:v>
                      </c:pt>
                      <c:pt idx="7271">
                        <c:v>0</c:v>
                      </c:pt>
                      <c:pt idx="7272">
                        <c:v>0</c:v>
                      </c:pt>
                      <c:pt idx="7273">
                        <c:v>0</c:v>
                      </c:pt>
                      <c:pt idx="7274">
                        <c:v>0</c:v>
                      </c:pt>
                      <c:pt idx="7275">
                        <c:v>0</c:v>
                      </c:pt>
                      <c:pt idx="7276">
                        <c:v>0</c:v>
                      </c:pt>
                      <c:pt idx="7277">
                        <c:v>0</c:v>
                      </c:pt>
                      <c:pt idx="7278">
                        <c:v>0</c:v>
                      </c:pt>
                      <c:pt idx="7279">
                        <c:v>0</c:v>
                      </c:pt>
                      <c:pt idx="7280">
                        <c:v>0</c:v>
                      </c:pt>
                      <c:pt idx="7281">
                        <c:v>0</c:v>
                      </c:pt>
                      <c:pt idx="7282">
                        <c:v>0</c:v>
                      </c:pt>
                      <c:pt idx="7283">
                        <c:v>0</c:v>
                      </c:pt>
                      <c:pt idx="7284">
                        <c:v>0</c:v>
                      </c:pt>
                      <c:pt idx="7285">
                        <c:v>0</c:v>
                      </c:pt>
                      <c:pt idx="7286">
                        <c:v>0</c:v>
                      </c:pt>
                      <c:pt idx="7287">
                        <c:v>0</c:v>
                      </c:pt>
                      <c:pt idx="7288">
                        <c:v>0</c:v>
                      </c:pt>
                      <c:pt idx="7289">
                        <c:v>0</c:v>
                      </c:pt>
                      <c:pt idx="7290">
                        <c:v>0</c:v>
                      </c:pt>
                      <c:pt idx="7291">
                        <c:v>0</c:v>
                      </c:pt>
                      <c:pt idx="7292">
                        <c:v>0</c:v>
                      </c:pt>
                      <c:pt idx="7293">
                        <c:v>0</c:v>
                      </c:pt>
                      <c:pt idx="7294">
                        <c:v>0</c:v>
                      </c:pt>
                      <c:pt idx="7295">
                        <c:v>0</c:v>
                      </c:pt>
                      <c:pt idx="7296">
                        <c:v>0</c:v>
                      </c:pt>
                      <c:pt idx="7297">
                        <c:v>0</c:v>
                      </c:pt>
                      <c:pt idx="7298">
                        <c:v>0</c:v>
                      </c:pt>
                      <c:pt idx="7299">
                        <c:v>0</c:v>
                      </c:pt>
                      <c:pt idx="7300">
                        <c:v>0</c:v>
                      </c:pt>
                      <c:pt idx="7301">
                        <c:v>0</c:v>
                      </c:pt>
                      <c:pt idx="7302">
                        <c:v>0</c:v>
                      </c:pt>
                      <c:pt idx="7303">
                        <c:v>0</c:v>
                      </c:pt>
                      <c:pt idx="7304">
                        <c:v>0</c:v>
                      </c:pt>
                      <c:pt idx="7305">
                        <c:v>0</c:v>
                      </c:pt>
                      <c:pt idx="7306">
                        <c:v>0</c:v>
                      </c:pt>
                      <c:pt idx="7307">
                        <c:v>0</c:v>
                      </c:pt>
                      <c:pt idx="7308">
                        <c:v>0</c:v>
                      </c:pt>
                      <c:pt idx="7309">
                        <c:v>0</c:v>
                      </c:pt>
                      <c:pt idx="7310">
                        <c:v>0</c:v>
                      </c:pt>
                      <c:pt idx="7311">
                        <c:v>0</c:v>
                      </c:pt>
                      <c:pt idx="7312">
                        <c:v>0</c:v>
                      </c:pt>
                      <c:pt idx="7313">
                        <c:v>0</c:v>
                      </c:pt>
                      <c:pt idx="7314">
                        <c:v>0</c:v>
                      </c:pt>
                      <c:pt idx="7315">
                        <c:v>0</c:v>
                      </c:pt>
                      <c:pt idx="7316">
                        <c:v>0</c:v>
                      </c:pt>
                      <c:pt idx="7317">
                        <c:v>0</c:v>
                      </c:pt>
                      <c:pt idx="7318">
                        <c:v>0</c:v>
                      </c:pt>
                      <c:pt idx="7319">
                        <c:v>0</c:v>
                      </c:pt>
                      <c:pt idx="7320">
                        <c:v>0</c:v>
                      </c:pt>
                      <c:pt idx="7321">
                        <c:v>0</c:v>
                      </c:pt>
                      <c:pt idx="7322">
                        <c:v>0</c:v>
                      </c:pt>
                      <c:pt idx="7323">
                        <c:v>0</c:v>
                      </c:pt>
                      <c:pt idx="7324">
                        <c:v>0</c:v>
                      </c:pt>
                      <c:pt idx="7325">
                        <c:v>0</c:v>
                      </c:pt>
                      <c:pt idx="7326">
                        <c:v>0</c:v>
                      </c:pt>
                      <c:pt idx="7327">
                        <c:v>0</c:v>
                      </c:pt>
                      <c:pt idx="7328">
                        <c:v>0</c:v>
                      </c:pt>
                      <c:pt idx="7329">
                        <c:v>0</c:v>
                      </c:pt>
                      <c:pt idx="7330">
                        <c:v>0</c:v>
                      </c:pt>
                      <c:pt idx="7331">
                        <c:v>0</c:v>
                      </c:pt>
                      <c:pt idx="7332">
                        <c:v>0</c:v>
                      </c:pt>
                      <c:pt idx="7333">
                        <c:v>0</c:v>
                      </c:pt>
                      <c:pt idx="7334">
                        <c:v>0</c:v>
                      </c:pt>
                      <c:pt idx="7335">
                        <c:v>0</c:v>
                      </c:pt>
                      <c:pt idx="7336">
                        <c:v>0</c:v>
                      </c:pt>
                      <c:pt idx="7337">
                        <c:v>0</c:v>
                      </c:pt>
                      <c:pt idx="7338">
                        <c:v>0</c:v>
                      </c:pt>
                      <c:pt idx="7339">
                        <c:v>0</c:v>
                      </c:pt>
                      <c:pt idx="7340">
                        <c:v>0</c:v>
                      </c:pt>
                      <c:pt idx="7341">
                        <c:v>0</c:v>
                      </c:pt>
                      <c:pt idx="7342">
                        <c:v>0</c:v>
                      </c:pt>
                      <c:pt idx="7343">
                        <c:v>0</c:v>
                      </c:pt>
                      <c:pt idx="7344">
                        <c:v>0</c:v>
                      </c:pt>
                      <c:pt idx="7345">
                        <c:v>0</c:v>
                      </c:pt>
                      <c:pt idx="7346">
                        <c:v>0</c:v>
                      </c:pt>
                      <c:pt idx="7347">
                        <c:v>0</c:v>
                      </c:pt>
                      <c:pt idx="7348">
                        <c:v>0</c:v>
                      </c:pt>
                      <c:pt idx="7349">
                        <c:v>0</c:v>
                      </c:pt>
                      <c:pt idx="7350">
                        <c:v>0</c:v>
                      </c:pt>
                      <c:pt idx="7351">
                        <c:v>0</c:v>
                      </c:pt>
                      <c:pt idx="7352">
                        <c:v>0</c:v>
                      </c:pt>
                      <c:pt idx="7353">
                        <c:v>0</c:v>
                      </c:pt>
                      <c:pt idx="7354">
                        <c:v>0</c:v>
                      </c:pt>
                      <c:pt idx="7355">
                        <c:v>0</c:v>
                      </c:pt>
                      <c:pt idx="7356">
                        <c:v>0</c:v>
                      </c:pt>
                      <c:pt idx="7357">
                        <c:v>0</c:v>
                      </c:pt>
                      <c:pt idx="7358">
                        <c:v>0</c:v>
                      </c:pt>
                      <c:pt idx="7359">
                        <c:v>0</c:v>
                      </c:pt>
                      <c:pt idx="7360">
                        <c:v>0</c:v>
                      </c:pt>
                      <c:pt idx="7361">
                        <c:v>0</c:v>
                      </c:pt>
                      <c:pt idx="7362">
                        <c:v>0</c:v>
                      </c:pt>
                      <c:pt idx="7363">
                        <c:v>0</c:v>
                      </c:pt>
                      <c:pt idx="7364">
                        <c:v>0</c:v>
                      </c:pt>
                      <c:pt idx="7365">
                        <c:v>0</c:v>
                      </c:pt>
                      <c:pt idx="7366">
                        <c:v>0</c:v>
                      </c:pt>
                      <c:pt idx="7367">
                        <c:v>0</c:v>
                      </c:pt>
                      <c:pt idx="7368">
                        <c:v>0</c:v>
                      </c:pt>
                      <c:pt idx="7369">
                        <c:v>0</c:v>
                      </c:pt>
                      <c:pt idx="7370">
                        <c:v>0</c:v>
                      </c:pt>
                      <c:pt idx="7371">
                        <c:v>0</c:v>
                      </c:pt>
                      <c:pt idx="7372">
                        <c:v>0</c:v>
                      </c:pt>
                      <c:pt idx="7373">
                        <c:v>0</c:v>
                      </c:pt>
                      <c:pt idx="7374">
                        <c:v>0</c:v>
                      </c:pt>
                      <c:pt idx="7375">
                        <c:v>0</c:v>
                      </c:pt>
                      <c:pt idx="7376">
                        <c:v>0</c:v>
                      </c:pt>
                      <c:pt idx="7377">
                        <c:v>0</c:v>
                      </c:pt>
                      <c:pt idx="7378">
                        <c:v>0</c:v>
                      </c:pt>
                      <c:pt idx="7379">
                        <c:v>0</c:v>
                      </c:pt>
                      <c:pt idx="7380">
                        <c:v>0</c:v>
                      </c:pt>
                      <c:pt idx="7381">
                        <c:v>0</c:v>
                      </c:pt>
                      <c:pt idx="7382">
                        <c:v>0</c:v>
                      </c:pt>
                      <c:pt idx="7383">
                        <c:v>0</c:v>
                      </c:pt>
                      <c:pt idx="7384">
                        <c:v>0</c:v>
                      </c:pt>
                      <c:pt idx="7385">
                        <c:v>0</c:v>
                      </c:pt>
                      <c:pt idx="7386">
                        <c:v>0</c:v>
                      </c:pt>
                      <c:pt idx="7387">
                        <c:v>0</c:v>
                      </c:pt>
                      <c:pt idx="7388">
                        <c:v>0</c:v>
                      </c:pt>
                      <c:pt idx="7389">
                        <c:v>0</c:v>
                      </c:pt>
                      <c:pt idx="7390">
                        <c:v>0</c:v>
                      </c:pt>
                      <c:pt idx="7391">
                        <c:v>0</c:v>
                      </c:pt>
                      <c:pt idx="7392">
                        <c:v>0</c:v>
                      </c:pt>
                      <c:pt idx="7393">
                        <c:v>0</c:v>
                      </c:pt>
                      <c:pt idx="7394">
                        <c:v>0</c:v>
                      </c:pt>
                      <c:pt idx="7395">
                        <c:v>0</c:v>
                      </c:pt>
                      <c:pt idx="7396">
                        <c:v>0</c:v>
                      </c:pt>
                      <c:pt idx="7397">
                        <c:v>0</c:v>
                      </c:pt>
                      <c:pt idx="7398">
                        <c:v>0</c:v>
                      </c:pt>
                      <c:pt idx="7399">
                        <c:v>0</c:v>
                      </c:pt>
                      <c:pt idx="7400">
                        <c:v>0</c:v>
                      </c:pt>
                      <c:pt idx="7401">
                        <c:v>0</c:v>
                      </c:pt>
                      <c:pt idx="7402">
                        <c:v>0</c:v>
                      </c:pt>
                      <c:pt idx="7403">
                        <c:v>0</c:v>
                      </c:pt>
                      <c:pt idx="7404">
                        <c:v>0</c:v>
                      </c:pt>
                      <c:pt idx="7405">
                        <c:v>0</c:v>
                      </c:pt>
                      <c:pt idx="7406">
                        <c:v>0</c:v>
                      </c:pt>
                      <c:pt idx="7407">
                        <c:v>0</c:v>
                      </c:pt>
                      <c:pt idx="7408">
                        <c:v>0</c:v>
                      </c:pt>
                      <c:pt idx="7409">
                        <c:v>0</c:v>
                      </c:pt>
                      <c:pt idx="7410">
                        <c:v>0</c:v>
                      </c:pt>
                      <c:pt idx="7411">
                        <c:v>0</c:v>
                      </c:pt>
                      <c:pt idx="7412">
                        <c:v>0</c:v>
                      </c:pt>
                      <c:pt idx="7413">
                        <c:v>0</c:v>
                      </c:pt>
                      <c:pt idx="7414">
                        <c:v>0</c:v>
                      </c:pt>
                      <c:pt idx="7415">
                        <c:v>0</c:v>
                      </c:pt>
                      <c:pt idx="7416">
                        <c:v>0</c:v>
                      </c:pt>
                      <c:pt idx="7417">
                        <c:v>0</c:v>
                      </c:pt>
                      <c:pt idx="7418">
                        <c:v>0</c:v>
                      </c:pt>
                      <c:pt idx="7419">
                        <c:v>0</c:v>
                      </c:pt>
                      <c:pt idx="7420">
                        <c:v>0</c:v>
                      </c:pt>
                      <c:pt idx="7421">
                        <c:v>0</c:v>
                      </c:pt>
                      <c:pt idx="7422">
                        <c:v>0</c:v>
                      </c:pt>
                      <c:pt idx="7423">
                        <c:v>0</c:v>
                      </c:pt>
                      <c:pt idx="7424">
                        <c:v>0</c:v>
                      </c:pt>
                      <c:pt idx="7425">
                        <c:v>0</c:v>
                      </c:pt>
                      <c:pt idx="7426">
                        <c:v>0</c:v>
                      </c:pt>
                      <c:pt idx="7427">
                        <c:v>0</c:v>
                      </c:pt>
                      <c:pt idx="7428">
                        <c:v>0</c:v>
                      </c:pt>
                      <c:pt idx="7429">
                        <c:v>0</c:v>
                      </c:pt>
                      <c:pt idx="7430">
                        <c:v>0</c:v>
                      </c:pt>
                      <c:pt idx="7431">
                        <c:v>0</c:v>
                      </c:pt>
                      <c:pt idx="7432">
                        <c:v>0</c:v>
                      </c:pt>
                      <c:pt idx="7433">
                        <c:v>0</c:v>
                      </c:pt>
                      <c:pt idx="7434">
                        <c:v>0</c:v>
                      </c:pt>
                      <c:pt idx="7435">
                        <c:v>0</c:v>
                      </c:pt>
                      <c:pt idx="7436">
                        <c:v>0</c:v>
                      </c:pt>
                      <c:pt idx="7437">
                        <c:v>0</c:v>
                      </c:pt>
                      <c:pt idx="7438">
                        <c:v>0</c:v>
                      </c:pt>
                      <c:pt idx="7439">
                        <c:v>0</c:v>
                      </c:pt>
                      <c:pt idx="7440">
                        <c:v>0</c:v>
                      </c:pt>
                      <c:pt idx="7441">
                        <c:v>0</c:v>
                      </c:pt>
                      <c:pt idx="7442">
                        <c:v>0</c:v>
                      </c:pt>
                      <c:pt idx="7443">
                        <c:v>0</c:v>
                      </c:pt>
                      <c:pt idx="7444">
                        <c:v>0</c:v>
                      </c:pt>
                      <c:pt idx="7445">
                        <c:v>0</c:v>
                      </c:pt>
                      <c:pt idx="7446">
                        <c:v>0</c:v>
                      </c:pt>
                      <c:pt idx="7447">
                        <c:v>0</c:v>
                      </c:pt>
                      <c:pt idx="7448">
                        <c:v>0</c:v>
                      </c:pt>
                      <c:pt idx="7449">
                        <c:v>0</c:v>
                      </c:pt>
                      <c:pt idx="7450">
                        <c:v>0</c:v>
                      </c:pt>
                      <c:pt idx="7451">
                        <c:v>0</c:v>
                      </c:pt>
                      <c:pt idx="7452">
                        <c:v>0</c:v>
                      </c:pt>
                      <c:pt idx="7453">
                        <c:v>0</c:v>
                      </c:pt>
                      <c:pt idx="7454">
                        <c:v>0</c:v>
                      </c:pt>
                      <c:pt idx="7455">
                        <c:v>0</c:v>
                      </c:pt>
                      <c:pt idx="7456">
                        <c:v>0</c:v>
                      </c:pt>
                      <c:pt idx="7457">
                        <c:v>0</c:v>
                      </c:pt>
                      <c:pt idx="7458">
                        <c:v>0</c:v>
                      </c:pt>
                      <c:pt idx="7459">
                        <c:v>0</c:v>
                      </c:pt>
                      <c:pt idx="7460">
                        <c:v>0</c:v>
                      </c:pt>
                      <c:pt idx="7461">
                        <c:v>0</c:v>
                      </c:pt>
                      <c:pt idx="7462">
                        <c:v>0</c:v>
                      </c:pt>
                      <c:pt idx="7463">
                        <c:v>0</c:v>
                      </c:pt>
                      <c:pt idx="7464">
                        <c:v>0</c:v>
                      </c:pt>
                      <c:pt idx="7465">
                        <c:v>0</c:v>
                      </c:pt>
                      <c:pt idx="7466">
                        <c:v>0</c:v>
                      </c:pt>
                      <c:pt idx="7467">
                        <c:v>0</c:v>
                      </c:pt>
                      <c:pt idx="7468">
                        <c:v>0</c:v>
                      </c:pt>
                      <c:pt idx="7469">
                        <c:v>0</c:v>
                      </c:pt>
                      <c:pt idx="7470">
                        <c:v>0</c:v>
                      </c:pt>
                      <c:pt idx="7471">
                        <c:v>0</c:v>
                      </c:pt>
                      <c:pt idx="7472">
                        <c:v>0</c:v>
                      </c:pt>
                      <c:pt idx="7473">
                        <c:v>0</c:v>
                      </c:pt>
                      <c:pt idx="7474">
                        <c:v>0</c:v>
                      </c:pt>
                      <c:pt idx="7475">
                        <c:v>0</c:v>
                      </c:pt>
                      <c:pt idx="7476">
                        <c:v>0</c:v>
                      </c:pt>
                      <c:pt idx="7477">
                        <c:v>0</c:v>
                      </c:pt>
                      <c:pt idx="7478">
                        <c:v>0</c:v>
                      </c:pt>
                      <c:pt idx="7479">
                        <c:v>0</c:v>
                      </c:pt>
                      <c:pt idx="7480">
                        <c:v>0</c:v>
                      </c:pt>
                      <c:pt idx="7481">
                        <c:v>0</c:v>
                      </c:pt>
                      <c:pt idx="7482">
                        <c:v>0</c:v>
                      </c:pt>
                      <c:pt idx="7483">
                        <c:v>0</c:v>
                      </c:pt>
                      <c:pt idx="7484">
                        <c:v>0</c:v>
                      </c:pt>
                      <c:pt idx="7485">
                        <c:v>0</c:v>
                      </c:pt>
                      <c:pt idx="7486">
                        <c:v>0</c:v>
                      </c:pt>
                      <c:pt idx="7487">
                        <c:v>0</c:v>
                      </c:pt>
                      <c:pt idx="7488">
                        <c:v>0</c:v>
                      </c:pt>
                      <c:pt idx="7489">
                        <c:v>0</c:v>
                      </c:pt>
                      <c:pt idx="7490">
                        <c:v>0</c:v>
                      </c:pt>
                      <c:pt idx="7491">
                        <c:v>0</c:v>
                      </c:pt>
                      <c:pt idx="7492">
                        <c:v>0</c:v>
                      </c:pt>
                      <c:pt idx="7493">
                        <c:v>0</c:v>
                      </c:pt>
                      <c:pt idx="7494">
                        <c:v>0</c:v>
                      </c:pt>
                      <c:pt idx="7495">
                        <c:v>0</c:v>
                      </c:pt>
                      <c:pt idx="7496">
                        <c:v>0</c:v>
                      </c:pt>
                      <c:pt idx="7497">
                        <c:v>0</c:v>
                      </c:pt>
                      <c:pt idx="7498">
                        <c:v>0</c:v>
                      </c:pt>
                      <c:pt idx="7499">
                        <c:v>0</c:v>
                      </c:pt>
                      <c:pt idx="7500">
                        <c:v>0</c:v>
                      </c:pt>
                      <c:pt idx="7501">
                        <c:v>0</c:v>
                      </c:pt>
                      <c:pt idx="7502">
                        <c:v>0</c:v>
                      </c:pt>
                      <c:pt idx="7503">
                        <c:v>0</c:v>
                      </c:pt>
                      <c:pt idx="7504">
                        <c:v>0</c:v>
                      </c:pt>
                      <c:pt idx="7505">
                        <c:v>0</c:v>
                      </c:pt>
                      <c:pt idx="7506">
                        <c:v>0</c:v>
                      </c:pt>
                      <c:pt idx="7507">
                        <c:v>0</c:v>
                      </c:pt>
                      <c:pt idx="7508">
                        <c:v>0</c:v>
                      </c:pt>
                      <c:pt idx="7509">
                        <c:v>0</c:v>
                      </c:pt>
                      <c:pt idx="7510">
                        <c:v>0</c:v>
                      </c:pt>
                      <c:pt idx="7511">
                        <c:v>0</c:v>
                      </c:pt>
                      <c:pt idx="7512">
                        <c:v>0</c:v>
                      </c:pt>
                      <c:pt idx="7513">
                        <c:v>0</c:v>
                      </c:pt>
                      <c:pt idx="7514">
                        <c:v>0</c:v>
                      </c:pt>
                      <c:pt idx="7515">
                        <c:v>0</c:v>
                      </c:pt>
                      <c:pt idx="7516">
                        <c:v>0</c:v>
                      </c:pt>
                      <c:pt idx="7517">
                        <c:v>0</c:v>
                      </c:pt>
                      <c:pt idx="7518">
                        <c:v>0</c:v>
                      </c:pt>
                      <c:pt idx="7519">
                        <c:v>0</c:v>
                      </c:pt>
                      <c:pt idx="7520">
                        <c:v>0</c:v>
                      </c:pt>
                      <c:pt idx="7521">
                        <c:v>0</c:v>
                      </c:pt>
                      <c:pt idx="7522">
                        <c:v>0</c:v>
                      </c:pt>
                      <c:pt idx="7523">
                        <c:v>0</c:v>
                      </c:pt>
                      <c:pt idx="7524">
                        <c:v>0</c:v>
                      </c:pt>
                      <c:pt idx="7525">
                        <c:v>0</c:v>
                      </c:pt>
                      <c:pt idx="7526">
                        <c:v>0</c:v>
                      </c:pt>
                      <c:pt idx="7527">
                        <c:v>0</c:v>
                      </c:pt>
                      <c:pt idx="7528">
                        <c:v>0</c:v>
                      </c:pt>
                      <c:pt idx="7529">
                        <c:v>0</c:v>
                      </c:pt>
                      <c:pt idx="7530">
                        <c:v>0</c:v>
                      </c:pt>
                      <c:pt idx="7531">
                        <c:v>0</c:v>
                      </c:pt>
                      <c:pt idx="7532">
                        <c:v>0</c:v>
                      </c:pt>
                      <c:pt idx="7533">
                        <c:v>0</c:v>
                      </c:pt>
                      <c:pt idx="7534">
                        <c:v>0</c:v>
                      </c:pt>
                      <c:pt idx="7535">
                        <c:v>0</c:v>
                      </c:pt>
                      <c:pt idx="7536">
                        <c:v>0</c:v>
                      </c:pt>
                      <c:pt idx="7537">
                        <c:v>0</c:v>
                      </c:pt>
                      <c:pt idx="7538">
                        <c:v>0</c:v>
                      </c:pt>
                      <c:pt idx="7539">
                        <c:v>0</c:v>
                      </c:pt>
                      <c:pt idx="7540">
                        <c:v>0</c:v>
                      </c:pt>
                      <c:pt idx="7541">
                        <c:v>0</c:v>
                      </c:pt>
                      <c:pt idx="7542">
                        <c:v>0</c:v>
                      </c:pt>
                      <c:pt idx="7543">
                        <c:v>0</c:v>
                      </c:pt>
                      <c:pt idx="7544">
                        <c:v>0</c:v>
                      </c:pt>
                      <c:pt idx="7545">
                        <c:v>0</c:v>
                      </c:pt>
                      <c:pt idx="7546">
                        <c:v>0</c:v>
                      </c:pt>
                      <c:pt idx="7547">
                        <c:v>0</c:v>
                      </c:pt>
                      <c:pt idx="7548">
                        <c:v>0</c:v>
                      </c:pt>
                      <c:pt idx="7549">
                        <c:v>0</c:v>
                      </c:pt>
                      <c:pt idx="7550">
                        <c:v>0</c:v>
                      </c:pt>
                      <c:pt idx="7551">
                        <c:v>0</c:v>
                      </c:pt>
                      <c:pt idx="7552">
                        <c:v>0</c:v>
                      </c:pt>
                      <c:pt idx="7553">
                        <c:v>0</c:v>
                      </c:pt>
                      <c:pt idx="7554">
                        <c:v>0</c:v>
                      </c:pt>
                      <c:pt idx="7555">
                        <c:v>0</c:v>
                      </c:pt>
                      <c:pt idx="7556">
                        <c:v>0</c:v>
                      </c:pt>
                      <c:pt idx="7557">
                        <c:v>0</c:v>
                      </c:pt>
                      <c:pt idx="7558">
                        <c:v>0</c:v>
                      </c:pt>
                      <c:pt idx="7559">
                        <c:v>0</c:v>
                      </c:pt>
                      <c:pt idx="7560">
                        <c:v>0</c:v>
                      </c:pt>
                      <c:pt idx="7561">
                        <c:v>0</c:v>
                      </c:pt>
                      <c:pt idx="7562">
                        <c:v>0</c:v>
                      </c:pt>
                      <c:pt idx="7563">
                        <c:v>0</c:v>
                      </c:pt>
                      <c:pt idx="7564">
                        <c:v>0</c:v>
                      </c:pt>
                      <c:pt idx="7565">
                        <c:v>0</c:v>
                      </c:pt>
                      <c:pt idx="7566">
                        <c:v>0</c:v>
                      </c:pt>
                      <c:pt idx="7567">
                        <c:v>0</c:v>
                      </c:pt>
                      <c:pt idx="7568">
                        <c:v>0</c:v>
                      </c:pt>
                      <c:pt idx="7569">
                        <c:v>0</c:v>
                      </c:pt>
                      <c:pt idx="7570">
                        <c:v>0</c:v>
                      </c:pt>
                      <c:pt idx="7571">
                        <c:v>0</c:v>
                      </c:pt>
                      <c:pt idx="7572">
                        <c:v>0</c:v>
                      </c:pt>
                      <c:pt idx="7573">
                        <c:v>0</c:v>
                      </c:pt>
                      <c:pt idx="7574">
                        <c:v>0</c:v>
                      </c:pt>
                      <c:pt idx="7575">
                        <c:v>0</c:v>
                      </c:pt>
                      <c:pt idx="7576">
                        <c:v>0</c:v>
                      </c:pt>
                      <c:pt idx="7577">
                        <c:v>0</c:v>
                      </c:pt>
                      <c:pt idx="7578">
                        <c:v>0</c:v>
                      </c:pt>
                      <c:pt idx="7579">
                        <c:v>0</c:v>
                      </c:pt>
                      <c:pt idx="7580">
                        <c:v>0</c:v>
                      </c:pt>
                      <c:pt idx="7581">
                        <c:v>0</c:v>
                      </c:pt>
                      <c:pt idx="7582">
                        <c:v>0</c:v>
                      </c:pt>
                      <c:pt idx="7583">
                        <c:v>0</c:v>
                      </c:pt>
                      <c:pt idx="7584">
                        <c:v>0</c:v>
                      </c:pt>
                      <c:pt idx="7585">
                        <c:v>0</c:v>
                      </c:pt>
                      <c:pt idx="7586">
                        <c:v>0</c:v>
                      </c:pt>
                      <c:pt idx="7587">
                        <c:v>0</c:v>
                      </c:pt>
                      <c:pt idx="7588">
                        <c:v>0</c:v>
                      </c:pt>
                      <c:pt idx="7589">
                        <c:v>0</c:v>
                      </c:pt>
                      <c:pt idx="7590">
                        <c:v>0</c:v>
                      </c:pt>
                      <c:pt idx="7591">
                        <c:v>0</c:v>
                      </c:pt>
                      <c:pt idx="7592">
                        <c:v>0</c:v>
                      </c:pt>
                      <c:pt idx="7593">
                        <c:v>0</c:v>
                      </c:pt>
                      <c:pt idx="7594">
                        <c:v>0</c:v>
                      </c:pt>
                      <c:pt idx="7595">
                        <c:v>0</c:v>
                      </c:pt>
                      <c:pt idx="7596">
                        <c:v>0</c:v>
                      </c:pt>
                      <c:pt idx="7597">
                        <c:v>0</c:v>
                      </c:pt>
                      <c:pt idx="7598">
                        <c:v>0</c:v>
                      </c:pt>
                      <c:pt idx="7599">
                        <c:v>0</c:v>
                      </c:pt>
                      <c:pt idx="7600">
                        <c:v>0</c:v>
                      </c:pt>
                      <c:pt idx="7601">
                        <c:v>0</c:v>
                      </c:pt>
                      <c:pt idx="7602">
                        <c:v>0</c:v>
                      </c:pt>
                      <c:pt idx="7603">
                        <c:v>0</c:v>
                      </c:pt>
                      <c:pt idx="7604">
                        <c:v>0</c:v>
                      </c:pt>
                      <c:pt idx="7605">
                        <c:v>0</c:v>
                      </c:pt>
                      <c:pt idx="7606">
                        <c:v>0</c:v>
                      </c:pt>
                      <c:pt idx="7607">
                        <c:v>0</c:v>
                      </c:pt>
                      <c:pt idx="7608">
                        <c:v>0</c:v>
                      </c:pt>
                      <c:pt idx="7609">
                        <c:v>0</c:v>
                      </c:pt>
                      <c:pt idx="7610">
                        <c:v>0</c:v>
                      </c:pt>
                      <c:pt idx="7611">
                        <c:v>0</c:v>
                      </c:pt>
                      <c:pt idx="7612">
                        <c:v>0</c:v>
                      </c:pt>
                      <c:pt idx="7613">
                        <c:v>0</c:v>
                      </c:pt>
                      <c:pt idx="7614">
                        <c:v>0</c:v>
                      </c:pt>
                      <c:pt idx="7615">
                        <c:v>0</c:v>
                      </c:pt>
                      <c:pt idx="7616">
                        <c:v>0</c:v>
                      </c:pt>
                      <c:pt idx="7617">
                        <c:v>0</c:v>
                      </c:pt>
                      <c:pt idx="7618">
                        <c:v>0</c:v>
                      </c:pt>
                      <c:pt idx="7619">
                        <c:v>0</c:v>
                      </c:pt>
                      <c:pt idx="7620">
                        <c:v>0</c:v>
                      </c:pt>
                      <c:pt idx="7621">
                        <c:v>0</c:v>
                      </c:pt>
                      <c:pt idx="7622">
                        <c:v>0</c:v>
                      </c:pt>
                      <c:pt idx="7623">
                        <c:v>0</c:v>
                      </c:pt>
                      <c:pt idx="7624">
                        <c:v>0</c:v>
                      </c:pt>
                      <c:pt idx="7625">
                        <c:v>0</c:v>
                      </c:pt>
                      <c:pt idx="7626">
                        <c:v>0</c:v>
                      </c:pt>
                      <c:pt idx="7627">
                        <c:v>0</c:v>
                      </c:pt>
                      <c:pt idx="7628">
                        <c:v>0</c:v>
                      </c:pt>
                      <c:pt idx="7629">
                        <c:v>0</c:v>
                      </c:pt>
                      <c:pt idx="7630">
                        <c:v>0</c:v>
                      </c:pt>
                      <c:pt idx="7631">
                        <c:v>0</c:v>
                      </c:pt>
                      <c:pt idx="7632">
                        <c:v>0</c:v>
                      </c:pt>
                      <c:pt idx="7633">
                        <c:v>0</c:v>
                      </c:pt>
                      <c:pt idx="7634">
                        <c:v>0</c:v>
                      </c:pt>
                      <c:pt idx="7635">
                        <c:v>0</c:v>
                      </c:pt>
                      <c:pt idx="7636">
                        <c:v>0</c:v>
                      </c:pt>
                      <c:pt idx="7637">
                        <c:v>0</c:v>
                      </c:pt>
                      <c:pt idx="7638">
                        <c:v>0</c:v>
                      </c:pt>
                      <c:pt idx="7639">
                        <c:v>0</c:v>
                      </c:pt>
                      <c:pt idx="7640">
                        <c:v>0</c:v>
                      </c:pt>
                      <c:pt idx="7641">
                        <c:v>0</c:v>
                      </c:pt>
                      <c:pt idx="7642">
                        <c:v>0</c:v>
                      </c:pt>
                      <c:pt idx="7643">
                        <c:v>0</c:v>
                      </c:pt>
                      <c:pt idx="7644">
                        <c:v>0</c:v>
                      </c:pt>
                      <c:pt idx="7645">
                        <c:v>0</c:v>
                      </c:pt>
                      <c:pt idx="7646">
                        <c:v>0</c:v>
                      </c:pt>
                      <c:pt idx="7647">
                        <c:v>0</c:v>
                      </c:pt>
                      <c:pt idx="7648">
                        <c:v>0</c:v>
                      </c:pt>
                      <c:pt idx="7649">
                        <c:v>0</c:v>
                      </c:pt>
                      <c:pt idx="7650">
                        <c:v>0</c:v>
                      </c:pt>
                      <c:pt idx="7651">
                        <c:v>0</c:v>
                      </c:pt>
                      <c:pt idx="7652">
                        <c:v>0</c:v>
                      </c:pt>
                      <c:pt idx="7653">
                        <c:v>0</c:v>
                      </c:pt>
                      <c:pt idx="7654">
                        <c:v>0</c:v>
                      </c:pt>
                      <c:pt idx="7655">
                        <c:v>0</c:v>
                      </c:pt>
                      <c:pt idx="7656">
                        <c:v>0</c:v>
                      </c:pt>
                      <c:pt idx="7657">
                        <c:v>0</c:v>
                      </c:pt>
                      <c:pt idx="7658">
                        <c:v>0</c:v>
                      </c:pt>
                      <c:pt idx="7659">
                        <c:v>0</c:v>
                      </c:pt>
                      <c:pt idx="7660">
                        <c:v>0</c:v>
                      </c:pt>
                      <c:pt idx="7661">
                        <c:v>0</c:v>
                      </c:pt>
                      <c:pt idx="7662">
                        <c:v>0</c:v>
                      </c:pt>
                      <c:pt idx="7663">
                        <c:v>0</c:v>
                      </c:pt>
                      <c:pt idx="7664">
                        <c:v>0</c:v>
                      </c:pt>
                      <c:pt idx="7665">
                        <c:v>0</c:v>
                      </c:pt>
                      <c:pt idx="7666">
                        <c:v>0</c:v>
                      </c:pt>
                      <c:pt idx="7667">
                        <c:v>0</c:v>
                      </c:pt>
                      <c:pt idx="7668">
                        <c:v>0</c:v>
                      </c:pt>
                      <c:pt idx="7669">
                        <c:v>0</c:v>
                      </c:pt>
                      <c:pt idx="7670">
                        <c:v>0</c:v>
                      </c:pt>
                      <c:pt idx="7671">
                        <c:v>0</c:v>
                      </c:pt>
                      <c:pt idx="7672">
                        <c:v>0</c:v>
                      </c:pt>
                      <c:pt idx="7673">
                        <c:v>0</c:v>
                      </c:pt>
                      <c:pt idx="7674">
                        <c:v>0</c:v>
                      </c:pt>
                      <c:pt idx="7675">
                        <c:v>0</c:v>
                      </c:pt>
                      <c:pt idx="7676">
                        <c:v>0</c:v>
                      </c:pt>
                      <c:pt idx="7677">
                        <c:v>0</c:v>
                      </c:pt>
                      <c:pt idx="7678">
                        <c:v>0</c:v>
                      </c:pt>
                      <c:pt idx="7679">
                        <c:v>0</c:v>
                      </c:pt>
                      <c:pt idx="7680">
                        <c:v>0</c:v>
                      </c:pt>
                      <c:pt idx="7681">
                        <c:v>0</c:v>
                      </c:pt>
                      <c:pt idx="7682">
                        <c:v>0</c:v>
                      </c:pt>
                      <c:pt idx="7683">
                        <c:v>0</c:v>
                      </c:pt>
                      <c:pt idx="7684">
                        <c:v>0</c:v>
                      </c:pt>
                      <c:pt idx="7685">
                        <c:v>0</c:v>
                      </c:pt>
                      <c:pt idx="7686">
                        <c:v>0</c:v>
                      </c:pt>
                      <c:pt idx="7687">
                        <c:v>0</c:v>
                      </c:pt>
                      <c:pt idx="7688">
                        <c:v>0</c:v>
                      </c:pt>
                      <c:pt idx="7689">
                        <c:v>0</c:v>
                      </c:pt>
                      <c:pt idx="7690">
                        <c:v>0</c:v>
                      </c:pt>
                      <c:pt idx="7691">
                        <c:v>0</c:v>
                      </c:pt>
                      <c:pt idx="7692">
                        <c:v>0</c:v>
                      </c:pt>
                      <c:pt idx="7693">
                        <c:v>0</c:v>
                      </c:pt>
                      <c:pt idx="7694">
                        <c:v>0</c:v>
                      </c:pt>
                      <c:pt idx="7695">
                        <c:v>0</c:v>
                      </c:pt>
                      <c:pt idx="7696">
                        <c:v>0</c:v>
                      </c:pt>
                      <c:pt idx="7697">
                        <c:v>0</c:v>
                      </c:pt>
                      <c:pt idx="7698">
                        <c:v>0</c:v>
                      </c:pt>
                      <c:pt idx="7699">
                        <c:v>0</c:v>
                      </c:pt>
                      <c:pt idx="7700">
                        <c:v>0</c:v>
                      </c:pt>
                      <c:pt idx="7701">
                        <c:v>0</c:v>
                      </c:pt>
                      <c:pt idx="7702">
                        <c:v>0</c:v>
                      </c:pt>
                      <c:pt idx="7703">
                        <c:v>0</c:v>
                      </c:pt>
                      <c:pt idx="7704">
                        <c:v>0</c:v>
                      </c:pt>
                      <c:pt idx="7705">
                        <c:v>0</c:v>
                      </c:pt>
                      <c:pt idx="7706">
                        <c:v>0</c:v>
                      </c:pt>
                      <c:pt idx="7707">
                        <c:v>0</c:v>
                      </c:pt>
                      <c:pt idx="7708">
                        <c:v>0</c:v>
                      </c:pt>
                      <c:pt idx="7709">
                        <c:v>0</c:v>
                      </c:pt>
                      <c:pt idx="7710">
                        <c:v>0</c:v>
                      </c:pt>
                      <c:pt idx="7711">
                        <c:v>0</c:v>
                      </c:pt>
                      <c:pt idx="7712">
                        <c:v>0</c:v>
                      </c:pt>
                      <c:pt idx="7713">
                        <c:v>0</c:v>
                      </c:pt>
                      <c:pt idx="7714">
                        <c:v>0</c:v>
                      </c:pt>
                      <c:pt idx="7715">
                        <c:v>0</c:v>
                      </c:pt>
                      <c:pt idx="7716">
                        <c:v>0</c:v>
                      </c:pt>
                      <c:pt idx="7717">
                        <c:v>0</c:v>
                      </c:pt>
                      <c:pt idx="7718">
                        <c:v>0</c:v>
                      </c:pt>
                      <c:pt idx="7719">
                        <c:v>0</c:v>
                      </c:pt>
                      <c:pt idx="7720">
                        <c:v>0</c:v>
                      </c:pt>
                      <c:pt idx="7721">
                        <c:v>0</c:v>
                      </c:pt>
                      <c:pt idx="7722">
                        <c:v>0</c:v>
                      </c:pt>
                      <c:pt idx="7723">
                        <c:v>0</c:v>
                      </c:pt>
                      <c:pt idx="7724">
                        <c:v>0</c:v>
                      </c:pt>
                      <c:pt idx="7725">
                        <c:v>0</c:v>
                      </c:pt>
                      <c:pt idx="7726">
                        <c:v>0</c:v>
                      </c:pt>
                      <c:pt idx="7727">
                        <c:v>0</c:v>
                      </c:pt>
                      <c:pt idx="7728">
                        <c:v>0</c:v>
                      </c:pt>
                      <c:pt idx="7729">
                        <c:v>0</c:v>
                      </c:pt>
                      <c:pt idx="7730">
                        <c:v>0</c:v>
                      </c:pt>
                      <c:pt idx="7731">
                        <c:v>0</c:v>
                      </c:pt>
                      <c:pt idx="7732">
                        <c:v>0</c:v>
                      </c:pt>
                      <c:pt idx="7733">
                        <c:v>0</c:v>
                      </c:pt>
                      <c:pt idx="7734">
                        <c:v>0</c:v>
                      </c:pt>
                      <c:pt idx="7735">
                        <c:v>0</c:v>
                      </c:pt>
                      <c:pt idx="7736">
                        <c:v>0</c:v>
                      </c:pt>
                      <c:pt idx="7737">
                        <c:v>0</c:v>
                      </c:pt>
                      <c:pt idx="7738">
                        <c:v>0</c:v>
                      </c:pt>
                      <c:pt idx="7739">
                        <c:v>0</c:v>
                      </c:pt>
                      <c:pt idx="7740">
                        <c:v>0</c:v>
                      </c:pt>
                      <c:pt idx="7741">
                        <c:v>0</c:v>
                      </c:pt>
                      <c:pt idx="7742">
                        <c:v>0</c:v>
                      </c:pt>
                      <c:pt idx="7743">
                        <c:v>0</c:v>
                      </c:pt>
                      <c:pt idx="7744">
                        <c:v>0</c:v>
                      </c:pt>
                      <c:pt idx="7745">
                        <c:v>0</c:v>
                      </c:pt>
                      <c:pt idx="7746">
                        <c:v>0</c:v>
                      </c:pt>
                      <c:pt idx="7747">
                        <c:v>0</c:v>
                      </c:pt>
                      <c:pt idx="7748">
                        <c:v>0</c:v>
                      </c:pt>
                      <c:pt idx="7749">
                        <c:v>0</c:v>
                      </c:pt>
                      <c:pt idx="7750">
                        <c:v>0</c:v>
                      </c:pt>
                      <c:pt idx="7751">
                        <c:v>0</c:v>
                      </c:pt>
                      <c:pt idx="7752">
                        <c:v>0</c:v>
                      </c:pt>
                      <c:pt idx="7753">
                        <c:v>0</c:v>
                      </c:pt>
                      <c:pt idx="7754">
                        <c:v>0</c:v>
                      </c:pt>
                      <c:pt idx="7755">
                        <c:v>0</c:v>
                      </c:pt>
                      <c:pt idx="7756">
                        <c:v>0</c:v>
                      </c:pt>
                      <c:pt idx="7757">
                        <c:v>0</c:v>
                      </c:pt>
                      <c:pt idx="7758">
                        <c:v>0</c:v>
                      </c:pt>
                      <c:pt idx="7759">
                        <c:v>0</c:v>
                      </c:pt>
                      <c:pt idx="7760">
                        <c:v>0</c:v>
                      </c:pt>
                      <c:pt idx="7761">
                        <c:v>0</c:v>
                      </c:pt>
                      <c:pt idx="7762">
                        <c:v>0</c:v>
                      </c:pt>
                      <c:pt idx="7763">
                        <c:v>0</c:v>
                      </c:pt>
                      <c:pt idx="7764">
                        <c:v>0</c:v>
                      </c:pt>
                      <c:pt idx="7765">
                        <c:v>0</c:v>
                      </c:pt>
                      <c:pt idx="7766">
                        <c:v>0</c:v>
                      </c:pt>
                      <c:pt idx="7767">
                        <c:v>0</c:v>
                      </c:pt>
                      <c:pt idx="7768">
                        <c:v>0</c:v>
                      </c:pt>
                      <c:pt idx="7769">
                        <c:v>0</c:v>
                      </c:pt>
                      <c:pt idx="7770">
                        <c:v>0</c:v>
                      </c:pt>
                      <c:pt idx="7771">
                        <c:v>0</c:v>
                      </c:pt>
                      <c:pt idx="7772">
                        <c:v>0</c:v>
                      </c:pt>
                      <c:pt idx="7773">
                        <c:v>0</c:v>
                      </c:pt>
                      <c:pt idx="7774">
                        <c:v>0</c:v>
                      </c:pt>
                      <c:pt idx="7775">
                        <c:v>0</c:v>
                      </c:pt>
                      <c:pt idx="7776">
                        <c:v>0</c:v>
                      </c:pt>
                      <c:pt idx="7777">
                        <c:v>0</c:v>
                      </c:pt>
                      <c:pt idx="7778">
                        <c:v>0</c:v>
                      </c:pt>
                      <c:pt idx="7779">
                        <c:v>0</c:v>
                      </c:pt>
                      <c:pt idx="7780">
                        <c:v>0</c:v>
                      </c:pt>
                      <c:pt idx="7781">
                        <c:v>0</c:v>
                      </c:pt>
                      <c:pt idx="7782">
                        <c:v>0</c:v>
                      </c:pt>
                      <c:pt idx="7783">
                        <c:v>0</c:v>
                      </c:pt>
                      <c:pt idx="7784">
                        <c:v>0</c:v>
                      </c:pt>
                      <c:pt idx="7785">
                        <c:v>0</c:v>
                      </c:pt>
                      <c:pt idx="7786">
                        <c:v>0</c:v>
                      </c:pt>
                      <c:pt idx="7787">
                        <c:v>0</c:v>
                      </c:pt>
                      <c:pt idx="7788">
                        <c:v>0</c:v>
                      </c:pt>
                      <c:pt idx="7789">
                        <c:v>0</c:v>
                      </c:pt>
                      <c:pt idx="7790">
                        <c:v>0</c:v>
                      </c:pt>
                      <c:pt idx="7791">
                        <c:v>0</c:v>
                      </c:pt>
                      <c:pt idx="7792">
                        <c:v>0</c:v>
                      </c:pt>
                      <c:pt idx="7793">
                        <c:v>0</c:v>
                      </c:pt>
                      <c:pt idx="7794">
                        <c:v>0</c:v>
                      </c:pt>
                      <c:pt idx="7795">
                        <c:v>0</c:v>
                      </c:pt>
                      <c:pt idx="7796">
                        <c:v>0</c:v>
                      </c:pt>
                      <c:pt idx="7797">
                        <c:v>0</c:v>
                      </c:pt>
                      <c:pt idx="7798">
                        <c:v>0</c:v>
                      </c:pt>
                      <c:pt idx="7799">
                        <c:v>0</c:v>
                      </c:pt>
                      <c:pt idx="7800">
                        <c:v>0</c:v>
                      </c:pt>
                      <c:pt idx="7801">
                        <c:v>0</c:v>
                      </c:pt>
                      <c:pt idx="7802">
                        <c:v>0</c:v>
                      </c:pt>
                      <c:pt idx="7803">
                        <c:v>0</c:v>
                      </c:pt>
                      <c:pt idx="7804">
                        <c:v>0</c:v>
                      </c:pt>
                      <c:pt idx="7805">
                        <c:v>0</c:v>
                      </c:pt>
                      <c:pt idx="7806">
                        <c:v>0</c:v>
                      </c:pt>
                      <c:pt idx="7807">
                        <c:v>0</c:v>
                      </c:pt>
                      <c:pt idx="7808">
                        <c:v>0</c:v>
                      </c:pt>
                      <c:pt idx="7809">
                        <c:v>0</c:v>
                      </c:pt>
                      <c:pt idx="7810">
                        <c:v>0</c:v>
                      </c:pt>
                      <c:pt idx="7811">
                        <c:v>0</c:v>
                      </c:pt>
                      <c:pt idx="7812">
                        <c:v>0</c:v>
                      </c:pt>
                      <c:pt idx="7813">
                        <c:v>0</c:v>
                      </c:pt>
                      <c:pt idx="7814">
                        <c:v>0</c:v>
                      </c:pt>
                      <c:pt idx="7815">
                        <c:v>0</c:v>
                      </c:pt>
                      <c:pt idx="7816">
                        <c:v>0</c:v>
                      </c:pt>
                      <c:pt idx="7817">
                        <c:v>0</c:v>
                      </c:pt>
                      <c:pt idx="7818">
                        <c:v>0</c:v>
                      </c:pt>
                      <c:pt idx="7819">
                        <c:v>0</c:v>
                      </c:pt>
                      <c:pt idx="7820">
                        <c:v>0</c:v>
                      </c:pt>
                      <c:pt idx="7821">
                        <c:v>0</c:v>
                      </c:pt>
                      <c:pt idx="7822">
                        <c:v>0</c:v>
                      </c:pt>
                      <c:pt idx="7823">
                        <c:v>0</c:v>
                      </c:pt>
                      <c:pt idx="7824">
                        <c:v>0</c:v>
                      </c:pt>
                      <c:pt idx="7825">
                        <c:v>0</c:v>
                      </c:pt>
                      <c:pt idx="7826">
                        <c:v>0</c:v>
                      </c:pt>
                      <c:pt idx="7827">
                        <c:v>0</c:v>
                      </c:pt>
                      <c:pt idx="7828">
                        <c:v>0</c:v>
                      </c:pt>
                      <c:pt idx="7829">
                        <c:v>0</c:v>
                      </c:pt>
                      <c:pt idx="7830">
                        <c:v>0</c:v>
                      </c:pt>
                      <c:pt idx="7831">
                        <c:v>0</c:v>
                      </c:pt>
                      <c:pt idx="7832">
                        <c:v>0</c:v>
                      </c:pt>
                      <c:pt idx="7833">
                        <c:v>0</c:v>
                      </c:pt>
                      <c:pt idx="7834">
                        <c:v>0</c:v>
                      </c:pt>
                      <c:pt idx="7835">
                        <c:v>0</c:v>
                      </c:pt>
                      <c:pt idx="7836">
                        <c:v>0</c:v>
                      </c:pt>
                      <c:pt idx="7837">
                        <c:v>0</c:v>
                      </c:pt>
                      <c:pt idx="7838">
                        <c:v>0</c:v>
                      </c:pt>
                      <c:pt idx="7839">
                        <c:v>0</c:v>
                      </c:pt>
                      <c:pt idx="7840">
                        <c:v>0</c:v>
                      </c:pt>
                      <c:pt idx="7841">
                        <c:v>0</c:v>
                      </c:pt>
                      <c:pt idx="7842">
                        <c:v>0</c:v>
                      </c:pt>
                      <c:pt idx="7843">
                        <c:v>0</c:v>
                      </c:pt>
                      <c:pt idx="7844">
                        <c:v>0</c:v>
                      </c:pt>
                      <c:pt idx="7845">
                        <c:v>0</c:v>
                      </c:pt>
                      <c:pt idx="7846">
                        <c:v>0</c:v>
                      </c:pt>
                      <c:pt idx="7847">
                        <c:v>0</c:v>
                      </c:pt>
                      <c:pt idx="7848">
                        <c:v>0</c:v>
                      </c:pt>
                      <c:pt idx="7849">
                        <c:v>0</c:v>
                      </c:pt>
                      <c:pt idx="7850">
                        <c:v>0</c:v>
                      </c:pt>
                      <c:pt idx="7851">
                        <c:v>0</c:v>
                      </c:pt>
                      <c:pt idx="7852">
                        <c:v>0</c:v>
                      </c:pt>
                      <c:pt idx="7853">
                        <c:v>0</c:v>
                      </c:pt>
                      <c:pt idx="7854">
                        <c:v>0</c:v>
                      </c:pt>
                      <c:pt idx="7855">
                        <c:v>0</c:v>
                      </c:pt>
                      <c:pt idx="7856">
                        <c:v>0</c:v>
                      </c:pt>
                      <c:pt idx="7857">
                        <c:v>0</c:v>
                      </c:pt>
                      <c:pt idx="7858">
                        <c:v>0</c:v>
                      </c:pt>
                      <c:pt idx="7859">
                        <c:v>0</c:v>
                      </c:pt>
                      <c:pt idx="7860">
                        <c:v>0</c:v>
                      </c:pt>
                      <c:pt idx="7861">
                        <c:v>0</c:v>
                      </c:pt>
                      <c:pt idx="7862">
                        <c:v>0</c:v>
                      </c:pt>
                      <c:pt idx="7863">
                        <c:v>0</c:v>
                      </c:pt>
                      <c:pt idx="7864">
                        <c:v>0</c:v>
                      </c:pt>
                      <c:pt idx="7865">
                        <c:v>0</c:v>
                      </c:pt>
                      <c:pt idx="7866">
                        <c:v>0</c:v>
                      </c:pt>
                      <c:pt idx="7867">
                        <c:v>0</c:v>
                      </c:pt>
                      <c:pt idx="7868">
                        <c:v>0</c:v>
                      </c:pt>
                      <c:pt idx="7869">
                        <c:v>0</c:v>
                      </c:pt>
                      <c:pt idx="7870">
                        <c:v>0</c:v>
                      </c:pt>
                      <c:pt idx="7871">
                        <c:v>0</c:v>
                      </c:pt>
                      <c:pt idx="7872">
                        <c:v>0</c:v>
                      </c:pt>
                      <c:pt idx="7873">
                        <c:v>0</c:v>
                      </c:pt>
                      <c:pt idx="7874">
                        <c:v>0</c:v>
                      </c:pt>
                      <c:pt idx="7875">
                        <c:v>0</c:v>
                      </c:pt>
                      <c:pt idx="7876">
                        <c:v>0</c:v>
                      </c:pt>
                      <c:pt idx="7877">
                        <c:v>0</c:v>
                      </c:pt>
                      <c:pt idx="7878">
                        <c:v>0</c:v>
                      </c:pt>
                      <c:pt idx="7879">
                        <c:v>0</c:v>
                      </c:pt>
                      <c:pt idx="7880">
                        <c:v>0</c:v>
                      </c:pt>
                      <c:pt idx="7881">
                        <c:v>0</c:v>
                      </c:pt>
                      <c:pt idx="7882">
                        <c:v>0</c:v>
                      </c:pt>
                      <c:pt idx="7883">
                        <c:v>0</c:v>
                      </c:pt>
                      <c:pt idx="7884">
                        <c:v>0</c:v>
                      </c:pt>
                      <c:pt idx="7885">
                        <c:v>0</c:v>
                      </c:pt>
                      <c:pt idx="7886">
                        <c:v>0</c:v>
                      </c:pt>
                      <c:pt idx="7887">
                        <c:v>0</c:v>
                      </c:pt>
                      <c:pt idx="7888">
                        <c:v>0</c:v>
                      </c:pt>
                      <c:pt idx="7889">
                        <c:v>0</c:v>
                      </c:pt>
                      <c:pt idx="7890">
                        <c:v>0</c:v>
                      </c:pt>
                      <c:pt idx="7891">
                        <c:v>0</c:v>
                      </c:pt>
                      <c:pt idx="7892">
                        <c:v>0</c:v>
                      </c:pt>
                      <c:pt idx="7893">
                        <c:v>0</c:v>
                      </c:pt>
                      <c:pt idx="7894">
                        <c:v>0</c:v>
                      </c:pt>
                      <c:pt idx="7895">
                        <c:v>0</c:v>
                      </c:pt>
                      <c:pt idx="7896">
                        <c:v>0</c:v>
                      </c:pt>
                      <c:pt idx="7897">
                        <c:v>0</c:v>
                      </c:pt>
                      <c:pt idx="7898">
                        <c:v>0</c:v>
                      </c:pt>
                      <c:pt idx="7899">
                        <c:v>0</c:v>
                      </c:pt>
                      <c:pt idx="7900">
                        <c:v>0</c:v>
                      </c:pt>
                      <c:pt idx="7901">
                        <c:v>0</c:v>
                      </c:pt>
                      <c:pt idx="7902">
                        <c:v>0</c:v>
                      </c:pt>
                      <c:pt idx="7903">
                        <c:v>0</c:v>
                      </c:pt>
                      <c:pt idx="7904">
                        <c:v>0</c:v>
                      </c:pt>
                      <c:pt idx="7905">
                        <c:v>0</c:v>
                      </c:pt>
                      <c:pt idx="7906">
                        <c:v>0</c:v>
                      </c:pt>
                      <c:pt idx="7907">
                        <c:v>0</c:v>
                      </c:pt>
                      <c:pt idx="7908">
                        <c:v>0</c:v>
                      </c:pt>
                      <c:pt idx="7909">
                        <c:v>0</c:v>
                      </c:pt>
                      <c:pt idx="7910">
                        <c:v>0</c:v>
                      </c:pt>
                      <c:pt idx="7911">
                        <c:v>0</c:v>
                      </c:pt>
                      <c:pt idx="7912">
                        <c:v>0</c:v>
                      </c:pt>
                      <c:pt idx="7913">
                        <c:v>0</c:v>
                      </c:pt>
                      <c:pt idx="7914">
                        <c:v>0</c:v>
                      </c:pt>
                      <c:pt idx="7915">
                        <c:v>0</c:v>
                      </c:pt>
                      <c:pt idx="7916">
                        <c:v>0</c:v>
                      </c:pt>
                      <c:pt idx="7917">
                        <c:v>0</c:v>
                      </c:pt>
                      <c:pt idx="7918">
                        <c:v>0</c:v>
                      </c:pt>
                      <c:pt idx="7919">
                        <c:v>0</c:v>
                      </c:pt>
                      <c:pt idx="7920">
                        <c:v>0</c:v>
                      </c:pt>
                      <c:pt idx="7921">
                        <c:v>0</c:v>
                      </c:pt>
                      <c:pt idx="7922">
                        <c:v>0</c:v>
                      </c:pt>
                      <c:pt idx="7923">
                        <c:v>0</c:v>
                      </c:pt>
                      <c:pt idx="7924">
                        <c:v>0</c:v>
                      </c:pt>
                      <c:pt idx="7925">
                        <c:v>0</c:v>
                      </c:pt>
                      <c:pt idx="7926">
                        <c:v>0</c:v>
                      </c:pt>
                      <c:pt idx="7927">
                        <c:v>0</c:v>
                      </c:pt>
                      <c:pt idx="7928">
                        <c:v>0</c:v>
                      </c:pt>
                      <c:pt idx="7929">
                        <c:v>0</c:v>
                      </c:pt>
                      <c:pt idx="7930">
                        <c:v>0</c:v>
                      </c:pt>
                      <c:pt idx="7931">
                        <c:v>0</c:v>
                      </c:pt>
                      <c:pt idx="7932">
                        <c:v>0</c:v>
                      </c:pt>
                      <c:pt idx="7933">
                        <c:v>0</c:v>
                      </c:pt>
                      <c:pt idx="7934">
                        <c:v>0</c:v>
                      </c:pt>
                      <c:pt idx="7935">
                        <c:v>0</c:v>
                      </c:pt>
                      <c:pt idx="7936">
                        <c:v>0</c:v>
                      </c:pt>
                      <c:pt idx="7937">
                        <c:v>0</c:v>
                      </c:pt>
                      <c:pt idx="7938">
                        <c:v>0</c:v>
                      </c:pt>
                      <c:pt idx="7939">
                        <c:v>0</c:v>
                      </c:pt>
                      <c:pt idx="7940">
                        <c:v>0</c:v>
                      </c:pt>
                      <c:pt idx="7941">
                        <c:v>0</c:v>
                      </c:pt>
                      <c:pt idx="7942">
                        <c:v>0</c:v>
                      </c:pt>
                      <c:pt idx="7943">
                        <c:v>0</c:v>
                      </c:pt>
                      <c:pt idx="7944">
                        <c:v>0</c:v>
                      </c:pt>
                      <c:pt idx="7945">
                        <c:v>0</c:v>
                      </c:pt>
                      <c:pt idx="7946">
                        <c:v>0</c:v>
                      </c:pt>
                      <c:pt idx="7947">
                        <c:v>0</c:v>
                      </c:pt>
                      <c:pt idx="7948">
                        <c:v>0</c:v>
                      </c:pt>
                      <c:pt idx="7949">
                        <c:v>0</c:v>
                      </c:pt>
                      <c:pt idx="7950">
                        <c:v>0</c:v>
                      </c:pt>
                      <c:pt idx="7951">
                        <c:v>0</c:v>
                      </c:pt>
                      <c:pt idx="7952">
                        <c:v>0</c:v>
                      </c:pt>
                      <c:pt idx="7953">
                        <c:v>0</c:v>
                      </c:pt>
                      <c:pt idx="7954">
                        <c:v>0</c:v>
                      </c:pt>
                      <c:pt idx="7955">
                        <c:v>0</c:v>
                      </c:pt>
                      <c:pt idx="7956">
                        <c:v>0</c:v>
                      </c:pt>
                      <c:pt idx="7957">
                        <c:v>0</c:v>
                      </c:pt>
                      <c:pt idx="7958">
                        <c:v>0</c:v>
                      </c:pt>
                      <c:pt idx="7959">
                        <c:v>0</c:v>
                      </c:pt>
                      <c:pt idx="7960">
                        <c:v>0</c:v>
                      </c:pt>
                      <c:pt idx="7961">
                        <c:v>0</c:v>
                      </c:pt>
                      <c:pt idx="7962">
                        <c:v>0</c:v>
                      </c:pt>
                      <c:pt idx="7963">
                        <c:v>0</c:v>
                      </c:pt>
                      <c:pt idx="7964">
                        <c:v>0</c:v>
                      </c:pt>
                      <c:pt idx="7965">
                        <c:v>0</c:v>
                      </c:pt>
                      <c:pt idx="7966">
                        <c:v>0</c:v>
                      </c:pt>
                      <c:pt idx="7967">
                        <c:v>0</c:v>
                      </c:pt>
                      <c:pt idx="7968">
                        <c:v>0</c:v>
                      </c:pt>
                      <c:pt idx="7969">
                        <c:v>0</c:v>
                      </c:pt>
                      <c:pt idx="7970">
                        <c:v>0</c:v>
                      </c:pt>
                      <c:pt idx="7971">
                        <c:v>0</c:v>
                      </c:pt>
                      <c:pt idx="7972">
                        <c:v>0</c:v>
                      </c:pt>
                      <c:pt idx="7973">
                        <c:v>0</c:v>
                      </c:pt>
                      <c:pt idx="7974">
                        <c:v>0</c:v>
                      </c:pt>
                      <c:pt idx="7975">
                        <c:v>0</c:v>
                      </c:pt>
                      <c:pt idx="7976">
                        <c:v>0</c:v>
                      </c:pt>
                      <c:pt idx="7977">
                        <c:v>0</c:v>
                      </c:pt>
                      <c:pt idx="7978">
                        <c:v>0</c:v>
                      </c:pt>
                      <c:pt idx="7979">
                        <c:v>0</c:v>
                      </c:pt>
                      <c:pt idx="7980">
                        <c:v>0</c:v>
                      </c:pt>
                      <c:pt idx="7981">
                        <c:v>0</c:v>
                      </c:pt>
                      <c:pt idx="7982">
                        <c:v>0</c:v>
                      </c:pt>
                      <c:pt idx="7983">
                        <c:v>0</c:v>
                      </c:pt>
                      <c:pt idx="7984">
                        <c:v>0</c:v>
                      </c:pt>
                      <c:pt idx="7985">
                        <c:v>0</c:v>
                      </c:pt>
                      <c:pt idx="7986">
                        <c:v>0</c:v>
                      </c:pt>
                      <c:pt idx="7987">
                        <c:v>0</c:v>
                      </c:pt>
                      <c:pt idx="7988">
                        <c:v>0</c:v>
                      </c:pt>
                      <c:pt idx="7989">
                        <c:v>0</c:v>
                      </c:pt>
                      <c:pt idx="7990">
                        <c:v>0</c:v>
                      </c:pt>
                      <c:pt idx="7991">
                        <c:v>0</c:v>
                      </c:pt>
                      <c:pt idx="7992">
                        <c:v>0</c:v>
                      </c:pt>
                      <c:pt idx="7993">
                        <c:v>0</c:v>
                      </c:pt>
                      <c:pt idx="7994">
                        <c:v>0</c:v>
                      </c:pt>
                      <c:pt idx="7995">
                        <c:v>0</c:v>
                      </c:pt>
                      <c:pt idx="7996">
                        <c:v>0</c:v>
                      </c:pt>
                      <c:pt idx="7997">
                        <c:v>0</c:v>
                      </c:pt>
                      <c:pt idx="7998">
                        <c:v>0</c:v>
                      </c:pt>
                      <c:pt idx="7999">
                        <c:v>0</c:v>
                      </c:pt>
                      <c:pt idx="8000">
                        <c:v>0</c:v>
                      </c:pt>
                      <c:pt idx="8001">
                        <c:v>0</c:v>
                      </c:pt>
                      <c:pt idx="8002">
                        <c:v>0</c:v>
                      </c:pt>
                      <c:pt idx="8003">
                        <c:v>0</c:v>
                      </c:pt>
                      <c:pt idx="8004">
                        <c:v>0</c:v>
                      </c:pt>
                      <c:pt idx="8005">
                        <c:v>0</c:v>
                      </c:pt>
                      <c:pt idx="8006">
                        <c:v>0</c:v>
                      </c:pt>
                      <c:pt idx="8007">
                        <c:v>0</c:v>
                      </c:pt>
                      <c:pt idx="8008">
                        <c:v>0</c:v>
                      </c:pt>
                      <c:pt idx="8009">
                        <c:v>0</c:v>
                      </c:pt>
                      <c:pt idx="8010">
                        <c:v>0</c:v>
                      </c:pt>
                      <c:pt idx="8011">
                        <c:v>0</c:v>
                      </c:pt>
                      <c:pt idx="8012">
                        <c:v>0</c:v>
                      </c:pt>
                      <c:pt idx="8013">
                        <c:v>0</c:v>
                      </c:pt>
                      <c:pt idx="8014">
                        <c:v>0</c:v>
                      </c:pt>
                      <c:pt idx="8015">
                        <c:v>0</c:v>
                      </c:pt>
                      <c:pt idx="8016">
                        <c:v>0</c:v>
                      </c:pt>
                      <c:pt idx="8017">
                        <c:v>0</c:v>
                      </c:pt>
                      <c:pt idx="8018">
                        <c:v>0</c:v>
                      </c:pt>
                      <c:pt idx="8019">
                        <c:v>0</c:v>
                      </c:pt>
                      <c:pt idx="8020">
                        <c:v>0</c:v>
                      </c:pt>
                      <c:pt idx="8021">
                        <c:v>0</c:v>
                      </c:pt>
                      <c:pt idx="8022">
                        <c:v>0</c:v>
                      </c:pt>
                      <c:pt idx="8023">
                        <c:v>0</c:v>
                      </c:pt>
                      <c:pt idx="8024">
                        <c:v>0</c:v>
                      </c:pt>
                      <c:pt idx="8025">
                        <c:v>0</c:v>
                      </c:pt>
                      <c:pt idx="8026">
                        <c:v>0</c:v>
                      </c:pt>
                      <c:pt idx="8027">
                        <c:v>0</c:v>
                      </c:pt>
                      <c:pt idx="8028">
                        <c:v>0</c:v>
                      </c:pt>
                      <c:pt idx="8029">
                        <c:v>0</c:v>
                      </c:pt>
                      <c:pt idx="8030">
                        <c:v>0</c:v>
                      </c:pt>
                      <c:pt idx="8031">
                        <c:v>0</c:v>
                      </c:pt>
                      <c:pt idx="8032">
                        <c:v>0</c:v>
                      </c:pt>
                      <c:pt idx="8033">
                        <c:v>0</c:v>
                      </c:pt>
                      <c:pt idx="8034">
                        <c:v>0</c:v>
                      </c:pt>
                      <c:pt idx="8035">
                        <c:v>0</c:v>
                      </c:pt>
                      <c:pt idx="8036">
                        <c:v>0</c:v>
                      </c:pt>
                      <c:pt idx="8037">
                        <c:v>0</c:v>
                      </c:pt>
                      <c:pt idx="8038">
                        <c:v>0</c:v>
                      </c:pt>
                      <c:pt idx="8039">
                        <c:v>0</c:v>
                      </c:pt>
                      <c:pt idx="8040">
                        <c:v>0</c:v>
                      </c:pt>
                      <c:pt idx="8041">
                        <c:v>0</c:v>
                      </c:pt>
                      <c:pt idx="8042">
                        <c:v>0</c:v>
                      </c:pt>
                      <c:pt idx="8043">
                        <c:v>0</c:v>
                      </c:pt>
                      <c:pt idx="8044">
                        <c:v>0</c:v>
                      </c:pt>
                      <c:pt idx="8045">
                        <c:v>0</c:v>
                      </c:pt>
                      <c:pt idx="8046">
                        <c:v>0</c:v>
                      </c:pt>
                      <c:pt idx="8047">
                        <c:v>0</c:v>
                      </c:pt>
                      <c:pt idx="8048">
                        <c:v>0</c:v>
                      </c:pt>
                      <c:pt idx="8049">
                        <c:v>0</c:v>
                      </c:pt>
                      <c:pt idx="8050">
                        <c:v>0</c:v>
                      </c:pt>
                      <c:pt idx="8051">
                        <c:v>0</c:v>
                      </c:pt>
                      <c:pt idx="8052">
                        <c:v>0</c:v>
                      </c:pt>
                      <c:pt idx="8053">
                        <c:v>0</c:v>
                      </c:pt>
                      <c:pt idx="8054">
                        <c:v>0</c:v>
                      </c:pt>
                      <c:pt idx="8055">
                        <c:v>0</c:v>
                      </c:pt>
                      <c:pt idx="8056">
                        <c:v>0</c:v>
                      </c:pt>
                      <c:pt idx="8057">
                        <c:v>0</c:v>
                      </c:pt>
                      <c:pt idx="8058">
                        <c:v>0</c:v>
                      </c:pt>
                      <c:pt idx="8059">
                        <c:v>0</c:v>
                      </c:pt>
                      <c:pt idx="8060">
                        <c:v>0</c:v>
                      </c:pt>
                      <c:pt idx="8061">
                        <c:v>0</c:v>
                      </c:pt>
                      <c:pt idx="8062">
                        <c:v>0</c:v>
                      </c:pt>
                      <c:pt idx="8063">
                        <c:v>0</c:v>
                      </c:pt>
                      <c:pt idx="8064">
                        <c:v>0</c:v>
                      </c:pt>
                      <c:pt idx="8065">
                        <c:v>0</c:v>
                      </c:pt>
                      <c:pt idx="8066">
                        <c:v>0</c:v>
                      </c:pt>
                      <c:pt idx="8067">
                        <c:v>0</c:v>
                      </c:pt>
                      <c:pt idx="8068">
                        <c:v>0</c:v>
                      </c:pt>
                      <c:pt idx="8069">
                        <c:v>0</c:v>
                      </c:pt>
                      <c:pt idx="8070">
                        <c:v>0</c:v>
                      </c:pt>
                      <c:pt idx="8071">
                        <c:v>0</c:v>
                      </c:pt>
                      <c:pt idx="8072">
                        <c:v>0</c:v>
                      </c:pt>
                      <c:pt idx="8073">
                        <c:v>0</c:v>
                      </c:pt>
                      <c:pt idx="8074">
                        <c:v>0</c:v>
                      </c:pt>
                      <c:pt idx="8075">
                        <c:v>0</c:v>
                      </c:pt>
                      <c:pt idx="8076">
                        <c:v>0</c:v>
                      </c:pt>
                      <c:pt idx="8077">
                        <c:v>0</c:v>
                      </c:pt>
                      <c:pt idx="8078">
                        <c:v>0</c:v>
                      </c:pt>
                      <c:pt idx="8079">
                        <c:v>0</c:v>
                      </c:pt>
                      <c:pt idx="8080">
                        <c:v>0</c:v>
                      </c:pt>
                      <c:pt idx="8081">
                        <c:v>0</c:v>
                      </c:pt>
                      <c:pt idx="8082">
                        <c:v>0</c:v>
                      </c:pt>
                      <c:pt idx="8083">
                        <c:v>0</c:v>
                      </c:pt>
                      <c:pt idx="8084">
                        <c:v>0</c:v>
                      </c:pt>
                      <c:pt idx="8085">
                        <c:v>0</c:v>
                      </c:pt>
                      <c:pt idx="8086">
                        <c:v>0</c:v>
                      </c:pt>
                      <c:pt idx="8087">
                        <c:v>0</c:v>
                      </c:pt>
                      <c:pt idx="8088">
                        <c:v>0</c:v>
                      </c:pt>
                      <c:pt idx="8089">
                        <c:v>0</c:v>
                      </c:pt>
                      <c:pt idx="8090">
                        <c:v>0</c:v>
                      </c:pt>
                      <c:pt idx="8091">
                        <c:v>0</c:v>
                      </c:pt>
                      <c:pt idx="8092">
                        <c:v>0</c:v>
                      </c:pt>
                      <c:pt idx="8093">
                        <c:v>0</c:v>
                      </c:pt>
                      <c:pt idx="8094">
                        <c:v>0</c:v>
                      </c:pt>
                      <c:pt idx="8095">
                        <c:v>0</c:v>
                      </c:pt>
                      <c:pt idx="8096">
                        <c:v>0</c:v>
                      </c:pt>
                      <c:pt idx="8097">
                        <c:v>0</c:v>
                      </c:pt>
                      <c:pt idx="8098">
                        <c:v>0</c:v>
                      </c:pt>
                      <c:pt idx="8099">
                        <c:v>0</c:v>
                      </c:pt>
                      <c:pt idx="8100">
                        <c:v>0</c:v>
                      </c:pt>
                      <c:pt idx="8101">
                        <c:v>0</c:v>
                      </c:pt>
                      <c:pt idx="8102">
                        <c:v>0</c:v>
                      </c:pt>
                      <c:pt idx="8103">
                        <c:v>0</c:v>
                      </c:pt>
                      <c:pt idx="8104">
                        <c:v>0</c:v>
                      </c:pt>
                      <c:pt idx="8105">
                        <c:v>0</c:v>
                      </c:pt>
                      <c:pt idx="8106">
                        <c:v>0</c:v>
                      </c:pt>
                      <c:pt idx="8107">
                        <c:v>0</c:v>
                      </c:pt>
                      <c:pt idx="8108">
                        <c:v>0</c:v>
                      </c:pt>
                      <c:pt idx="8109">
                        <c:v>0</c:v>
                      </c:pt>
                      <c:pt idx="8110">
                        <c:v>0</c:v>
                      </c:pt>
                      <c:pt idx="8111">
                        <c:v>0</c:v>
                      </c:pt>
                      <c:pt idx="8112">
                        <c:v>0</c:v>
                      </c:pt>
                      <c:pt idx="8113">
                        <c:v>0</c:v>
                      </c:pt>
                      <c:pt idx="8114">
                        <c:v>0</c:v>
                      </c:pt>
                      <c:pt idx="8115">
                        <c:v>0</c:v>
                      </c:pt>
                      <c:pt idx="8116">
                        <c:v>0</c:v>
                      </c:pt>
                      <c:pt idx="8117">
                        <c:v>0</c:v>
                      </c:pt>
                      <c:pt idx="8118">
                        <c:v>0</c:v>
                      </c:pt>
                      <c:pt idx="8119">
                        <c:v>0</c:v>
                      </c:pt>
                      <c:pt idx="8120">
                        <c:v>0</c:v>
                      </c:pt>
                      <c:pt idx="8121">
                        <c:v>0</c:v>
                      </c:pt>
                      <c:pt idx="8122">
                        <c:v>0</c:v>
                      </c:pt>
                      <c:pt idx="8123">
                        <c:v>0</c:v>
                      </c:pt>
                      <c:pt idx="8124">
                        <c:v>0</c:v>
                      </c:pt>
                      <c:pt idx="8125">
                        <c:v>0</c:v>
                      </c:pt>
                      <c:pt idx="8126">
                        <c:v>0</c:v>
                      </c:pt>
                      <c:pt idx="8127">
                        <c:v>0</c:v>
                      </c:pt>
                      <c:pt idx="8128">
                        <c:v>0</c:v>
                      </c:pt>
                      <c:pt idx="8129">
                        <c:v>0</c:v>
                      </c:pt>
                      <c:pt idx="8130">
                        <c:v>0</c:v>
                      </c:pt>
                      <c:pt idx="8131">
                        <c:v>0</c:v>
                      </c:pt>
                      <c:pt idx="8132">
                        <c:v>0</c:v>
                      </c:pt>
                      <c:pt idx="8133">
                        <c:v>0</c:v>
                      </c:pt>
                      <c:pt idx="8134">
                        <c:v>0</c:v>
                      </c:pt>
                      <c:pt idx="8135">
                        <c:v>0</c:v>
                      </c:pt>
                      <c:pt idx="8136">
                        <c:v>0</c:v>
                      </c:pt>
                      <c:pt idx="8137">
                        <c:v>0</c:v>
                      </c:pt>
                      <c:pt idx="8138">
                        <c:v>0</c:v>
                      </c:pt>
                      <c:pt idx="8139">
                        <c:v>0</c:v>
                      </c:pt>
                      <c:pt idx="8140">
                        <c:v>0</c:v>
                      </c:pt>
                      <c:pt idx="8141">
                        <c:v>0</c:v>
                      </c:pt>
                      <c:pt idx="8142">
                        <c:v>0</c:v>
                      </c:pt>
                      <c:pt idx="8143">
                        <c:v>0</c:v>
                      </c:pt>
                      <c:pt idx="8144">
                        <c:v>0</c:v>
                      </c:pt>
                      <c:pt idx="8145">
                        <c:v>0</c:v>
                      </c:pt>
                      <c:pt idx="8146">
                        <c:v>0</c:v>
                      </c:pt>
                      <c:pt idx="8147">
                        <c:v>0</c:v>
                      </c:pt>
                      <c:pt idx="8148">
                        <c:v>0</c:v>
                      </c:pt>
                      <c:pt idx="8149">
                        <c:v>0</c:v>
                      </c:pt>
                      <c:pt idx="8150">
                        <c:v>0</c:v>
                      </c:pt>
                      <c:pt idx="8151">
                        <c:v>0</c:v>
                      </c:pt>
                      <c:pt idx="8152">
                        <c:v>0</c:v>
                      </c:pt>
                      <c:pt idx="8153">
                        <c:v>0</c:v>
                      </c:pt>
                      <c:pt idx="8154">
                        <c:v>0</c:v>
                      </c:pt>
                      <c:pt idx="8155">
                        <c:v>0</c:v>
                      </c:pt>
                      <c:pt idx="8156">
                        <c:v>0</c:v>
                      </c:pt>
                      <c:pt idx="8157">
                        <c:v>0</c:v>
                      </c:pt>
                      <c:pt idx="8158">
                        <c:v>0</c:v>
                      </c:pt>
                      <c:pt idx="8159">
                        <c:v>0</c:v>
                      </c:pt>
                      <c:pt idx="8160">
                        <c:v>0</c:v>
                      </c:pt>
                      <c:pt idx="8161">
                        <c:v>0</c:v>
                      </c:pt>
                      <c:pt idx="8162">
                        <c:v>0</c:v>
                      </c:pt>
                      <c:pt idx="8163">
                        <c:v>0</c:v>
                      </c:pt>
                      <c:pt idx="8164">
                        <c:v>0</c:v>
                      </c:pt>
                      <c:pt idx="8165">
                        <c:v>0</c:v>
                      </c:pt>
                      <c:pt idx="8166">
                        <c:v>0</c:v>
                      </c:pt>
                      <c:pt idx="8167">
                        <c:v>0</c:v>
                      </c:pt>
                      <c:pt idx="8168">
                        <c:v>0</c:v>
                      </c:pt>
                      <c:pt idx="8169">
                        <c:v>0</c:v>
                      </c:pt>
                      <c:pt idx="8170">
                        <c:v>0</c:v>
                      </c:pt>
                      <c:pt idx="8171">
                        <c:v>0</c:v>
                      </c:pt>
                      <c:pt idx="8172">
                        <c:v>0</c:v>
                      </c:pt>
                      <c:pt idx="8173">
                        <c:v>0</c:v>
                      </c:pt>
                      <c:pt idx="8174">
                        <c:v>0</c:v>
                      </c:pt>
                      <c:pt idx="8175">
                        <c:v>0</c:v>
                      </c:pt>
                      <c:pt idx="8176">
                        <c:v>0</c:v>
                      </c:pt>
                      <c:pt idx="8177">
                        <c:v>0</c:v>
                      </c:pt>
                      <c:pt idx="8178">
                        <c:v>0</c:v>
                      </c:pt>
                      <c:pt idx="8179">
                        <c:v>0</c:v>
                      </c:pt>
                      <c:pt idx="8180">
                        <c:v>0</c:v>
                      </c:pt>
                      <c:pt idx="8181">
                        <c:v>0</c:v>
                      </c:pt>
                      <c:pt idx="8182">
                        <c:v>0</c:v>
                      </c:pt>
                      <c:pt idx="8183">
                        <c:v>0</c:v>
                      </c:pt>
                      <c:pt idx="8184">
                        <c:v>0</c:v>
                      </c:pt>
                      <c:pt idx="8185">
                        <c:v>0</c:v>
                      </c:pt>
                      <c:pt idx="8186">
                        <c:v>0</c:v>
                      </c:pt>
                      <c:pt idx="8187">
                        <c:v>0</c:v>
                      </c:pt>
                      <c:pt idx="8188">
                        <c:v>0</c:v>
                      </c:pt>
                      <c:pt idx="8189">
                        <c:v>0</c:v>
                      </c:pt>
                      <c:pt idx="8190">
                        <c:v>0</c:v>
                      </c:pt>
                      <c:pt idx="8191">
                        <c:v>0</c:v>
                      </c:pt>
                      <c:pt idx="8192">
                        <c:v>0</c:v>
                      </c:pt>
                      <c:pt idx="8193">
                        <c:v>0</c:v>
                      </c:pt>
                      <c:pt idx="8194">
                        <c:v>0</c:v>
                      </c:pt>
                      <c:pt idx="8195">
                        <c:v>0</c:v>
                      </c:pt>
                      <c:pt idx="8196">
                        <c:v>0</c:v>
                      </c:pt>
                      <c:pt idx="8197">
                        <c:v>0</c:v>
                      </c:pt>
                      <c:pt idx="8198">
                        <c:v>0</c:v>
                      </c:pt>
                      <c:pt idx="8199">
                        <c:v>0</c:v>
                      </c:pt>
                      <c:pt idx="8200">
                        <c:v>0</c:v>
                      </c:pt>
                      <c:pt idx="8201">
                        <c:v>0</c:v>
                      </c:pt>
                      <c:pt idx="8202">
                        <c:v>0</c:v>
                      </c:pt>
                      <c:pt idx="8203">
                        <c:v>0</c:v>
                      </c:pt>
                      <c:pt idx="8204">
                        <c:v>0</c:v>
                      </c:pt>
                      <c:pt idx="8205">
                        <c:v>0</c:v>
                      </c:pt>
                      <c:pt idx="8206">
                        <c:v>0</c:v>
                      </c:pt>
                      <c:pt idx="8207">
                        <c:v>0</c:v>
                      </c:pt>
                      <c:pt idx="8208">
                        <c:v>0</c:v>
                      </c:pt>
                      <c:pt idx="8209">
                        <c:v>0</c:v>
                      </c:pt>
                      <c:pt idx="8210">
                        <c:v>0</c:v>
                      </c:pt>
                      <c:pt idx="8211">
                        <c:v>0</c:v>
                      </c:pt>
                      <c:pt idx="8212">
                        <c:v>0</c:v>
                      </c:pt>
                      <c:pt idx="8213">
                        <c:v>0</c:v>
                      </c:pt>
                      <c:pt idx="8214">
                        <c:v>0</c:v>
                      </c:pt>
                      <c:pt idx="8215">
                        <c:v>0</c:v>
                      </c:pt>
                      <c:pt idx="8216">
                        <c:v>0</c:v>
                      </c:pt>
                      <c:pt idx="8217">
                        <c:v>0</c:v>
                      </c:pt>
                      <c:pt idx="8218">
                        <c:v>0</c:v>
                      </c:pt>
                      <c:pt idx="8219">
                        <c:v>0</c:v>
                      </c:pt>
                      <c:pt idx="8220">
                        <c:v>0</c:v>
                      </c:pt>
                      <c:pt idx="8221">
                        <c:v>0</c:v>
                      </c:pt>
                      <c:pt idx="8222">
                        <c:v>0</c:v>
                      </c:pt>
                      <c:pt idx="8223">
                        <c:v>0</c:v>
                      </c:pt>
                      <c:pt idx="8224">
                        <c:v>0</c:v>
                      </c:pt>
                      <c:pt idx="8225">
                        <c:v>0</c:v>
                      </c:pt>
                      <c:pt idx="8226">
                        <c:v>0</c:v>
                      </c:pt>
                      <c:pt idx="8227">
                        <c:v>0</c:v>
                      </c:pt>
                      <c:pt idx="8228">
                        <c:v>0</c:v>
                      </c:pt>
                      <c:pt idx="8229">
                        <c:v>0</c:v>
                      </c:pt>
                      <c:pt idx="8230">
                        <c:v>0</c:v>
                      </c:pt>
                      <c:pt idx="8231">
                        <c:v>0</c:v>
                      </c:pt>
                      <c:pt idx="8232">
                        <c:v>0</c:v>
                      </c:pt>
                      <c:pt idx="8233">
                        <c:v>0</c:v>
                      </c:pt>
                      <c:pt idx="8234">
                        <c:v>0</c:v>
                      </c:pt>
                      <c:pt idx="8235">
                        <c:v>0</c:v>
                      </c:pt>
                      <c:pt idx="8236">
                        <c:v>0</c:v>
                      </c:pt>
                      <c:pt idx="8237">
                        <c:v>0</c:v>
                      </c:pt>
                      <c:pt idx="8238">
                        <c:v>0</c:v>
                      </c:pt>
                      <c:pt idx="8239">
                        <c:v>0</c:v>
                      </c:pt>
                      <c:pt idx="8240">
                        <c:v>0</c:v>
                      </c:pt>
                      <c:pt idx="8241">
                        <c:v>0</c:v>
                      </c:pt>
                      <c:pt idx="8242">
                        <c:v>0</c:v>
                      </c:pt>
                      <c:pt idx="8243">
                        <c:v>0</c:v>
                      </c:pt>
                      <c:pt idx="8244">
                        <c:v>0</c:v>
                      </c:pt>
                      <c:pt idx="8245">
                        <c:v>0</c:v>
                      </c:pt>
                      <c:pt idx="8246">
                        <c:v>0</c:v>
                      </c:pt>
                      <c:pt idx="8247">
                        <c:v>0</c:v>
                      </c:pt>
                      <c:pt idx="8248">
                        <c:v>0</c:v>
                      </c:pt>
                      <c:pt idx="8249">
                        <c:v>0</c:v>
                      </c:pt>
                      <c:pt idx="8250">
                        <c:v>0</c:v>
                      </c:pt>
                      <c:pt idx="8251">
                        <c:v>0</c:v>
                      </c:pt>
                      <c:pt idx="8252">
                        <c:v>0</c:v>
                      </c:pt>
                      <c:pt idx="8253">
                        <c:v>0</c:v>
                      </c:pt>
                      <c:pt idx="8254">
                        <c:v>0</c:v>
                      </c:pt>
                      <c:pt idx="8255">
                        <c:v>0</c:v>
                      </c:pt>
                      <c:pt idx="8256">
                        <c:v>0</c:v>
                      </c:pt>
                      <c:pt idx="8257">
                        <c:v>0</c:v>
                      </c:pt>
                      <c:pt idx="8258">
                        <c:v>0</c:v>
                      </c:pt>
                      <c:pt idx="8259">
                        <c:v>0</c:v>
                      </c:pt>
                      <c:pt idx="8260">
                        <c:v>0</c:v>
                      </c:pt>
                      <c:pt idx="8261">
                        <c:v>0</c:v>
                      </c:pt>
                      <c:pt idx="8262">
                        <c:v>0</c:v>
                      </c:pt>
                      <c:pt idx="8263">
                        <c:v>0</c:v>
                      </c:pt>
                      <c:pt idx="8264">
                        <c:v>0</c:v>
                      </c:pt>
                      <c:pt idx="8265">
                        <c:v>0</c:v>
                      </c:pt>
                      <c:pt idx="8266">
                        <c:v>0</c:v>
                      </c:pt>
                      <c:pt idx="8267">
                        <c:v>0</c:v>
                      </c:pt>
                      <c:pt idx="8268">
                        <c:v>0</c:v>
                      </c:pt>
                      <c:pt idx="8269">
                        <c:v>0</c:v>
                      </c:pt>
                      <c:pt idx="8270">
                        <c:v>0</c:v>
                      </c:pt>
                      <c:pt idx="8271">
                        <c:v>0</c:v>
                      </c:pt>
                      <c:pt idx="8272">
                        <c:v>0</c:v>
                      </c:pt>
                      <c:pt idx="8273">
                        <c:v>0</c:v>
                      </c:pt>
                      <c:pt idx="8274">
                        <c:v>0</c:v>
                      </c:pt>
                      <c:pt idx="8275">
                        <c:v>0</c:v>
                      </c:pt>
                      <c:pt idx="8276">
                        <c:v>0</c:v>
                      </c:pt>
                      <c:pt idx="8277">
                        <c:v>0</c:v>
                      </c:pt>
                      <c:pt idx="8278">
                        <c:v>0</c:v>
                      </c:pt>
                      <c:pt idx="8279">
                        <c:v>0</c:v>
                      </c:pt>
                      <c:pt idx="8280">
                        <c:v>0</c:v>
                      </c:pt>
                      <c:pt idx="8281">
                        <c:v>0</c:v>
                      </c:pt>
                      <c:pt idx="8282">
                        <c:v>0</c:v>
                      </c:pt>
                      <c:pt idx="8283">
                        <c:v>0</c:v>
                      </c:pt>
                      <c:pt idx="8284">
                        <c:v>0</c:v>
                      </c:pt>
                      <c:pt idx="8285">
                        <c:v>0</c:v>
                      </c:pt>
                      <c:pt idx="8286">
                        <c:v>0</c:v>
                      </c:pt>
                      <c:pt idx="8287">
                        <c:v>0</c:v>
                      </c:pt>
                      <c:pt idx="8288">
                        <c:v>0</c:v>
                      </c:pt>
                      <c:pt idx="8289">
                        <c:v>0</c:v>
                      </c:pt>
                      <c:pt idx="8290">
                        <c:v>0</c:v>
                      </c:pt>
                      <c:pt idx="8291">
                        <c:v>0</c:v>
                      </c:pt>
                      <c:pt idx="8292">
                        <c:v>0</c:v>
                      </c:pt>
                      <c:pt idx="8293">
                        <c:v>0</c:v>
                      </c:pt>
                      <c:pt idx="8294">
                        <c:v>0</c:v>
                      </c:pt>
                      <c:pt idx="8295">
                        <c:v>0</c:v>
                      </c:pt>
                      <c:pt idx="8296">
                        <c:v>0</c:v>
                      </c:pt>
                      <c:pt idx="8297">
                        <c:v>0</c:v>
                      </c:pt>
                      <c:pt idx="8298">
                        <c:v>0</c:v>
                      </c:pt>
                      <c:pt idx="8299">
                        <c:v>0</c:v>
                      </c:pt>
                      <c:pt idx="8300">
                        <c:v>0</c:v>
                      </c:pt>
                      <c:pt idx="8301">
                        <c:v>0</c:v>
                      </c:pt>
                      <c:pt idx="8302">
                        <c:v>0</c:v>
                      </c:pt>
                      <c:pt idx="8303">
                        <c:v>0</c:v>
                      </c:pt>
                      <c:pt idx="8304">
                        <c:v>0</c:v>
                      </c:pt>
                      <c:pt idx="8305">
                        <c:v>0</c:v>
                      </c:pt>
                      <c:pt idx="8306">
                        <c:v>0</c:v>
                      </c:pt>
                      <c:pt idx="8307">
                        <c:v>0</c:v>
                      </c:pt>
                      <c:pt idx="8308">
                        <c:v>0</c:v>
                      </c:pt>
                      <c:pt idx="8309">
                        <c:v>0</c:v>
                      </c:pt>
                      <c:pt idx="8310">
                        <c:v>0</c:v>
                      </c:pt>
                      <c:pt idx="8311">
                        <c:v>0</c:v>
                      </c:pt>
                      <c:pt idx="8312">
                        <c:v>0</c:v>
                      </c:pt>
                      <c:pt idx="8313">
                        <c:v>0</c:v>
                      </c:pt>
                      <c:pt idx="8314">
                        <c:v>0</c:v>
                      </c:pt>
                      <c:pt idx="8315">
                        <c:v>0</c:v>
                      </c:pt>
                      <c:pt idx="8316">
                        <c:v>0</c:v>
                      </c:pt>
                      <c:pt idx="8317">
                        <c:v>0</c:v>
                      </c:pt>
                      <c:pt idx="8318">
                        <c:v>0</c:v>
                      </c:pt>
                      <c:pt idx="8319">
                        <c:v>0</c:v>
                      </c:pt>
                      <c:pt idx="8320">
                        <c:v>0</c:v>
                      </c:pt>
                      <c:pt idx="8321">
                        <c:v>0</c:v>
                      </c:pt>
                      <c:pt idx="8322">
                        <c:v>0</c:v>
                      </c:pt>
                      <c:pt idx="8323">
                        <c:v>0</c:v>
                      </c:pt>
                      <c:pt idx="8324">
                        <c:v>0</c:v>
                      </c:pt>
                      <c:pt idx="8325">
                        <c:v>0</c:v>
                      </c:pt>
                      <c:pt idx="8326">
                        <c:v>0</c:v>
                      </c:pt>
                      <c:pt idx="8327">
                        <c:v>0</c:v>
                      </c:pt>
                      <c:pt idx="8328">
                        <c:v>0</c:v>
                      </c:pt>
                      <c:pt idx="8329">
                        <c:v>0</c:v>
                      </c:pt>
                      <c:pt idx="8330">
                        <c:v>0</c:v>
                      </c:pt>
                      <c:pt idx="8331">
                        <c:v>0</c:v>
                      </c:pt>
                      <c:pt idx="8332">
                        <c:v>0</c:v>
                      </c:pt>
                      <c:pt idx="8333">
                        <c:v>0</c:v>
                      </c:pt>
                      <c:pt idx="8334">
                        <c:v>0</c:v>
                      </c:pt>
                      <c:pt idx="8335">
                        <c:v>0</c:v>
                      </c:pt>
                      <c:pt idx="8336">
                        <c:v>0</c:v>
                      </c:pt>
                      <c:pt idx="8337">
                        <c:v>0</c:v>
                      </c:pt>
                      <c:pt idx="8338">
                        <c:v>0</c:v>
                      </c:pt>
                      <c:pt idx="8339">
                        <c:v>0</c:v>
                      </c:pt>
                      <c:pt idx="8340">
                        <c:v>0</c:v>
                      </c:pt>
                      <c:pt idx="8341">
                        <c:v>0</c:v>
                      </c:pt>
                      <c:pt idx="8342">
                        <c:v>0</c:v>
                      </c:pt>
                      <c:pt idx="8343">
                        <c:v>0</c:v>
                      </c:pt>
                      <c:pt idx="8344">
                        <c:v>0</c:v>
                      </c:pt>
                      <c:pt idx="8345">
                        <c:v>0</c:v>
                      </c:pt>
                      <c:pt idx="8346">
                        <c:v>0</c:v>
                      </c:pt>
                      <c:pt idx="8347">
                        <c:v>0</c:v>
                      </c:pt>
                      <c:pt idx="8348">
                        <c:v>0</c:v>
                      </c:pt>
                      <c:pt idx="8349">
                        <c:v>0</c:v>
                      </c:pt>
                      <c:pt idx="8350">
                        <c:v>0</c:v>
                      </c:pt>
                      <c:pt idx="8351">
                        <c:v>0</c:v>
                      </c:pt>
                      <c:pt idx="8352">
                        <c:v>0</c:v>
                      </c:pt>
                      <c:pt idx="8353">
                        <c:v>0</c:v>
                      </c:pt>
                      <c:pt idx="8354">
                        <c:v>0</c:v>
                      </c:pt>
                      <c:pt idx="8355">
                        <c:v>0</c:v>
                      </c:pt>
                      <c:pt idx="8356">
                        <c:v>0</c:v>
                      </c:pt>
                      <c:pt idx="8357">
                        <c:v>0</c:v>
                      </c:pt>
                      <c:pt idx="8358">
                        <c:v>0</c:v>
                      </c:pt>
                      <c:pt idx="8359">
                        <c:v>0</c:v>
                      </c:pt>
                      <c:pt idx="8360">
                        <c:v>0</c:v>
                      </c:pt>
                      <c:pt idx="8361">
                        <c:v>0</c:v>
                      </c:pt>
                      <c:pt idx="8362">
                        <c:v>0</c:v>
                      </c:pt>
                      <c:pt idx="8363">
                        <c:v>0</c:v>
                      </c:pt>
                      <c:pt idx="8364">
                        <c:v>0</c:v>
                      </c:pt>
                      <c:pt idx="8365">
                        <c:v>0</c:v>
                      </c:pt>
                      <c:pt idx="8366">
                        <c:v>0</c:v>
                      </c:pt>
                      <c:pt idx="8367">
                        <c:v>0</c:v>
                      </c:pt>
                      <c:pt idx="8368">
                        <c:v>0</c:v>
                      </c:pt>
                      <c:pt idx="8369">
                        <c:v>0</c:v>
                      </c:pt>
                      <c:pt idx="8370">
                        <c:v>0</c:v>
                      </c:pt>
                      <c:pt idx="8371">
                        <c:v>0</c:v>
                      </c:pt>
                      <c:pt idx="8372">
                        <c:v>0</c:v>
                      </c:pt>
                      <c:pt idx="8373">
                        <c:v>0</c:v>
                      </c:pt>
                      <c:pt idx="8374">
                        <c:v>0</c:v>
                      </c:pt>
                      <c:pt idx="8375">
                        <c:v>0</c:v>
                      </c:pt>
                      <c:pt idx="8376">
                        <c:v>0</c:v>
                      </c:pt>
                      <c:pt idx="8377">
                        <c:v>0</c:v>
                      </c:pt>
                      <c:pt idx="8378">
                        <c:v>0</c:v>
                      </c:pt>
                      <c:pt idx="8379">
                        <c:v>0</c:v>
                      </c:pt>
                      <c:pt idx="8380">
                        <c:v>0</c:v>
                      </c:pt>
                      <c:pt idx="8381">
                        <c:v>0</c:v>
                      </c:pt>
                      <c:pt idx="8382">
                        <c:v>0</c:v>
                      </c:pt>
                      <c:pt idx="8383">
                        <c:v>0</c:v>
                      </c:pt>
                      <c:pt idx="8384">
                        <c:v>0</c:v>
                      </c:pt>
                      <c:pt idx="8385">
                        <c:v>0</c:v>
                      </c:pt>
                      <c:pt idx="8386">
                        <c:v>0</c:v>
                      </c:pt>
                      <c:pt idx="8387">
                        <c:v>0</c:v>
                      </c:pt>
                      <c:pt idx="8388">
                        <c:v>0</c:v>
                      </c:pt>
                      <c:pt idx="8389">
                        <c:v>0</c:v>
                      </c:pt>
                      <c:pt idx="8390">
                        <c:v>0</c:v>
                      </c:pt>
                      <c:pt idx="8391">
                        <c:v>0</c:v>
                      </c:pt>
                      <c:pt idx="8392">
                        <c:v>0</c:v>
                      </c:pt>
                      <c:pt idx="8393">
                        <c:v>0</c:v>
                      </c:pt>
                      <c:pt idx="8394">
                        <c:v>0</c:v>
                      </c:pt>
                      <c:pt idx="8395">
                        <c:v>0</c:v>
                      </c:pt>
                      <c:pt idx="8396">
                        <c:v>0</c:v>
                      </c:pt>
                      <c:pt idx="8397">
                        <c:v>0</c:v>
                      </c:pt>
                      <c:pt idx="8398">
                        <c:v>0</c:v>
                      </c:pt>
                      <c:pt idx="8399">
                        <c:v>0</c:v>
                      </c:pt>
                      <c:pt idx="8400">
                        <c:v>0</c:v>
                      </c:pt>
                      <c:pt idx="8401">
                        <c:v>0</c:v>
                      </c:pt>
                      <c:pt idx="8402">
                        <c:v>0</c:v>
                      </c:pt>
                      <c:pt idx="8403">
                        <c:v>0</c:v>
                      </c:pt>
                      <c:pt idx="8404">
                        <c:v>0</c:v>
                      </c:pt>
                      <c:pt idx="8405">
                        <c:v>0</c:v>
                      </c:pt>
                      <c:pt idx="8406">
                        <c:v>0</c:v>
                      </c:pt>
                      <c:pt idx="8407">
                        <c:v>0</c:v>
                      </c:pt>
                      <c:pt idx="8408">
                        <c:v>0</c:v>
                      </c:pt>
                      <c:pt idx="8409">
                        <c:v>0</c:v>
                      </c:pt>
                      <c:pt idx="8410">
                        <c:v>0</c:v>
                      </c:pt>
                      <c:pt idx="8411">
                        <c:v>0</c:v>
                      </c:pt>
                      <c:pt idx="8412">
                        <c:v>0</c:v>
                      </c:pt>
                      <c:pt idx="8413">
                        <c:v>0</c:v>
                      </c:pt>
                      <c:pt idx="8414">
                        <c:v>0</c:v>
                      </c:pt>
                      <c:pt idx="8415">
                        <c:v>0</c:v>
                      </c:pt>
                      <c:pt idx="8416">
                        <c:v>0</c:v>
                      </c:pt>
                      <c:pt idx="8417">
                        <c:v>0</c:v>
                      </c:pt>
                      <c:pt idx="8418">
                        <c:v>0</c:v>
                      </c:pt>
                      <c:pt idx="8419">
                        <c:v>0</c:v>
                      </c:pt>
                      <c:pt idx="8420">
                        <c:v>0</c:v>
                      </c:pt>
                      <c:pt idx="8421">
                        <c:v>0</c:v>
                      </c:pt>
                      <c:pt idx="8422">
                        <c:v>0</c:v>
                      </c:pt>
                      <c:pt idx="8423">
                        <c:v>0</c:v>
                      </c:pt>
                      <c:pt idx="8424">
                        <c:v>0</c:v>
                      </c:pt>
                      <c:pt idx="8425">
                        <c:v>0</c:v>
                      </c:pt>
                      <c:pt idx="8426">
                        <c:v>0</c:v>
                      </c:pt>
                      <c:pt idx="8427">
                        <c:v>0</c:v>
                      </c:pt>
                      <c:pt idx="8428">
                        <c:v>0</c:v>
                      </c:pt>
                      <c:pt idx="8429">
                        <c:v>0</c:v>
                      </c:pt>
                      <c:pt idx="8430">
                        <c:v>0</c:v>
                      </c:pt>
                      <c:pt idx="8431">
                        <c:v>0</c:v>
                      </c:pt>
                      <c:pt idx="8432">
                        <c:v>0</c:v>
                      </c:pt>
                      <c:pt idx="8433">
                        <c:v>0</c:v>
                      </c:pt>
                      <c:pt idx="8434">
                        <c:v>0</c:v>
                      </c:pt>
                      <c:pt idx="8435">
                        <c:v>0</c:v>
                      </c:pt>
                      <c:pt idx="8436">
                        <c:v>0</c:v>
                      </c:pt>
                      <c:pt idx="8437">
                        <c:v>0</c:v>
                      </c:pt>
                      <c:pt idx="8438">
                        <c:v>0</c:v>
                      </c:pt>
                      <c:pt idx="8439">
                        <c:v>0</c:v>
                      </c:pt>
                      <c:pt idx="8440">
                        <c:v>0</c:v>
                      </c:pt>
                      <c:pt idx="8441">
                        <c:v>0</c:v>
                      </c:pt>
                      <c:pt idx="8442">
                        <c:v>0</c:v>
                      </c:pt>
                      <c:pt idx="8443">
                        <c:v>0</c:v>
                      </c:pt>
                      <c:pt idx="8444">
                        <c:v>0</c:v>
                      </c:pt>
                      <c:pt idx="8445">
                        <c:v>0</c:v>
                      </c:pt>
                      <c:pt idx="8446">
                        <c:v>0</c:v>
                      </c:pt>
                      <c:pt idx="8447">
                        <c:v>0</c:v>
                      </c:pt>
                      <c:pt idx="8448">
                        <c:v>0</c:v>
                      </c:pt>
                      <c:pt idx="8449">
                        <c:v>0</c:v>
                      </c:pt>
                      <c:pt idx="8450">
                        <c:v>0</c:v>
                      </c:pt>
                      <c:pt idx="8451">
                        <c:v>0</c:v>
                      </c:pt>
                      <c:pt idx="8452">
                        <c:v>0</c:v>
                      </c:pt>
                      <c:pt idx="8453">
                        <c:v>0</c:v>
                      </c:pt>
                      <c:pt idx="8454">
                        <c:v>0</c:v>
                      </c:pt>
                      <c:pt idx="8455">
                        <c:v>0</c:v>
                      </c:pt>
                      <c:pt idx="8456">
                        <c:v>0</c:v>
                      </c:pt>
                      <c:pt idx="8457">
                        <c:v>0</c:v>
                      </c:pt>
                      <c:pt idx="8458">
                        <c:v>0</c:v>
                      </c:pt>
                      <c:pt idx="8459">
                        <c:v>0</c:v>
                      </c:pt>
                      <c:pt idx="8460">
                        <c:v>0</c:v>
                      </c:pt>
                      <c:pt idx="8461">
                        <c:v>0</c:v>
                      </c:pt>
                      <c:pt idx="8462">
                        <c:v>0</c:v>
                      </c:pt>
                      <c:pt idx="8463">
                        <c:v>0</c:v>
                      </c:pt>
                      <c:pt idx="8464">
                        <c:v>0</c:v>
                      </c:pt>
                      <c:pt idx="8465">
                        <c:v>0</c:v>
                      </c:pt>
                      <c:pt idx="8466">
                        <c:v>0</c:v>
                      </c:pt>
                      <c:pt idx="8467">
                        <c:v>0</c:v>
                      </c:pt>
                      <c:pt idx="8468">
                        <c:v>0</c:v>
                      </c:pt>
                      <c:pt idx="8469">
                        <c:v>0</c:v>
                      </c:pt>
                      <c:pt idx="8470">
                        <c:v>0</c:v>
                      </c:pt>
                      <c:pt idx="8471">
                        <c:v>0</c:v>
                      </c:pt>
                      <c:pt idx="8472">
                        <c:v>0</c:v>
                      </c:pt>
                      <c:pt idx="8473">
                        <c:v>0</c:v>
                      </c:pt>
                      <c:pt idx="8474">
                        <c:v>0</c:v>
                      </c:pt>
                      <c:pt idx="8475">
                        <c:v>0</c:v>
                      </c:pt>
                      <c:pt idx="8476">
                        <c:v>0</c:v>
                      </c:pt>
                      <c:pt idx="8477">
                        <c:v>0</c:v>
                      </c:pt>
                      <c:pt idx="8478">
                        <c:v>0</c:v>
                      </c:pt>
                      <c:pt idx="8479">
                        <c:v>0</c:v>
                      </c:pt>
                      <c:pt idx="8480">
                        <c:v>0</c:v>
                      </c:pt>
                      <c:pt idx="8481">
                        <c:v>0</c:v>
                      </c:pt>
                      <c:pt idx="8482">
                        <c:v>0</c:v>
                      </c:pt>
                      <c:pt idx="8483">
                        <c:v>0</c:v>
                      </c:pt>
                      <c:pt idx="8484">
                        <c:v>0</c:v>
                      </c:pt>
                      <c:pt idx="8485">
                        <c:v>0</c:v>
                      </c:pt>
                      <c:pt idx="8486">
                        <c:v>0</c:v>
                      </c:pt>
                      <c:pt idx="8487">
                        <c:v>0</c:v>
                      </c:pt>
                      <c:pt idx="8488">
                        <c:v>0</c:v>
                      </c:pt>
                      <c:pt idx="8489">
                        <c:v>0</c:v>
                      </c:pt>
                      <c:pt idx="8490">
                        <c:v>0</c:v>
                      </c:pt>
                      <c:pt idx="8491">
                        <c:v>0</c:v>
                      </c:pt>
                      <c:pt idx="8492">
                        <c:v>0</c:v>
                      </c:pt>
                      <c:pt idx="8493">
                        <c:v>0</c:v>
                      </c:pt>
                      <c:pt idx="8494">
                        <c:v>0</c:v>
                      </c:pt>
                      <c:pt idx="8495">
                        <c:v>0</c:v>
                      </c:pt>
                      <c:pt idx="8496">
                        <c:v>0</c:v>
                      </c:pt>
                      <c:pt idx="8497">
                        <c:v>0</c:v>
                      </c:pt>
                      <c:pt idx="8498">
                        <c:v>0</c:v>
                      </c:pt>
                      <c:pt idx="8499">
                        <c:v>0</c:v>
                      </c:pt>
                      <c:pt idx="8500">
                        <c:v>0</c:v>
                      </c:pt>
                      <c:pt idx="8501">
                        <c:v>0</c:v>
                      </c:pt>
                      <c:pt idx="8502">
                        <c:v>0</c:v>
                      </c:pt>
                      <c:pt idx="8503">
                        <c:v>0</c:v>
                      </c:pt>
                      <c:pt idx="8504">
                        <c:v>0</c:v>
                      </c:pt>
                      <c:pt idx="8505">
                        <c:v>0</c:v>
                      </c:pt>
                      <c:pt idx="8506">
                        <c:v>0</c:v>
                      </c:pt>
                      <c:pt idx="8507">
                        <c:v>0</c:v>
                      </c:pt>
                      <c:pt idx="8508">
                        <c:v>0</c:v>
                      </c:pt>
                      <c:pt idx="8509">
                        <c:v>0</c:v>
                      </c:pt>
                      <c:pt idx="8510">
                        <c:v>0</c:v>
                      </c:pt>
                      <c:pt idx="8511">
                        <c:v>0</c:v>
                      </c:pt>
                      <c:pt idx="8512">
                        <c:v>0</c:v>
                      </c:pt>
                      <c:pt idx="8513">
                        <c:v>0</c:v>
                      </c:pt>
                      <c:pt idx="8514">
                        <c:v>0</c:v>
                      </c:pt>
                      <c:pt idx="8515">
                        <c:v>0</c:v>
                      </c:pt>
                      <c:pt idx="8516">
                        <c:v>0</c:v>
                      </c:pt>
                      <c:pt idx="8517">
                        <c:v>0</c:v>
                      </c:pt>
                      <c:pt idx="8518">
                        <c:v>0</c:v>
                      </c:pt>
                      <c:pt idx="8519">
                        <c:v>0</c:v>
                      </c:pt>
                      <c:pt idx="8520">
                        <c:v>0</c:v>
                      </c:pt>
                      <c:pt idx="8521">
                        <c:v>0</c:v>
                      </c:pt>
                      <c:pt idx="8522">
                        <c:v>0</c:v>
                      </c:pt>
                      <c:pt idx="8523">
                        <c:v>0</c:v>
                      </c:pt>
                      <c:pt idx="8524">
                        <c:v>0</c:v>
                      </c:pt>
                      <c:pt idx="8525">
                        <c:v>0</c:v>
                      </c:pt>
                      <c:pt idx="8526">
                        <c:v>0</c:v>
                      </c:pt>
                      <c:pt idx="8527">
                        <c:v>0</c:v>
                      </c:pt>
                      <c:pt idx="8528">
                        <c:v>0</c:v>
                      </c:pt>
                      <c:pt idx="8529">
                        <c:v>0</c:v>
                      </c:pt>
                      <c:pt idx="8530">
                        <c:v>0</c:v>
                      </c:pt>
                      <c:pt idx="8531">
                        <c:v>0</c:v>
                      </c:pt>
                      <c:pt idx="8532">
                        <c:v>0</c:v>
                      </c:pt>
                      <c:pt idx="8533">
                        <c:v>0</c:v>
                      </c:pt>
                      <c:pt idx="8534">
                        <c:v>0</c:v>
                      </c:pt>
                      <c:pt idx="8535">
                        <c:v>0</c:v>
                      </c:pt>
                      <c:pt idx="8536">
                        <c:v>0</c:v>
                      </c:pt>
                      <c:pt idx="8537">
                        <c:v>0</c:v>
                      </c:pt>
                      <c:pt idx="8538">
                        <c:v>0</c:v>
                      </c:pt>
                      <c:pt idx="8539">
                        <c:v>0</c:v>
                      </c:pt>
                      <c:pt idx="8540">
                        <c:v>0</c:v>
                      </c:pt>
                      <c:pt idx="8541">
                        <c:v>0</c:v>
                      </c:pt>
                      <c:pt idx="8542">
                        <c:v>0</c:v>
                      </c:pt>
                      <c:pt idx="8543">
                        <c:v>0</c:v>
                      </c:pt>
                      <c:pt idx="8544">
                        <c:v>0</c:v>
                      </c:pt>
                      <c:pt idx="8545">
                        <c:v>0</c:v>
                      </c:pt>
                      <c:pt idx="8546">
                        <c:v>0</c:v>
                      </c:pt>
                      <c:pt idx="8547">
                        <c:v>0</c:v>
                      </c:pt>
                      <c:pt idx="8548">
                        <c:v>0</c:v>
                      </c:pt>
                      <c:pt idx="8549">
                        <c:v>0</c:v>
                      </c:pt>
                      <c:pt idx="8550">
                        <c:v>0</c:v>
                      </c:pt>
                      <c:pt idx="8551">
                        <c:v>0</c:v>
                      </c:pt>
                      <c:pt idx="8552">
                        <c:v>0</c:v>
                      </c:pt>
                      <c:pt idx="8553">
                        <c:v>0</c:v>
                      </c:pt>
                      <c:pt idx="8554">
                        <c:v>0</c:v>
                      </c:pt>
                      <c:pt idx="8555">
                        <c:v>0</c:v>
                      </c:pt>
                      <c:pt idx="8556">
                        <c:v>0</c:v>
                      </c:pt>
                      <c:pt idx="8557">
                        <c:v>0</c:v>
                      </c:pt>
                      <c:pt idx="8558">
                        <c:v>0</c:v>
                      </c:pt>
                      <c:pt idx="8559">
                        <c:v>0</c:v>
                      </c:pt>
                      <c:pt idx="8560">
                        <c:v>0</c:v>
                      </c:pt>
                      <c:pt idx="8561">
                        <c:v>0</c:v>
                      </c:pt>
                      <c:pt idx="8562">
                        <c:v>0</c:v>
                      </c:pt>
                      <c:pt idx="8563">
                        <c:v>0</c:v>
                      </c:pt>
                      <c:pt idx="8564">
                        <c:v>0</c:v>
                      </c:pt>
                      <c:pt idx="8565">
                        <c:v>0</c:v>
                      </c:pt>
                      <c:pt idx="8566">
                        <c:v>0</c:v>
                      </c:pt>
                      <c:pt idx="8567">
                        <c:v>0</c:v>
                      </c:pt>
                      <c:pt idx="8568">
                        <c:v>0</c:v>
                      </c:pt>
                      <c:pt idx="8569">
                        <c:v>0</c:v>
                      </c:pt>
                      <c:pt idx="8570">
                        <c:v>0</c:v>
                      </c:pt>
                      <c:pt idx="8571">
                        <c:v>0</c:v>
                      </c:pt>
                      <c:pt idx="8572">
                        <c:v>0</c:v>
                      </c:pt>
                      <c:pt idx="8573">
                        <c:v>0</c:v>
                      </c:pt>
                      <c:pt idx="8574">
                        <c:v>0</c:v>
                      </c:pt>
                      <c:pt idx="8575">
                        <c:v>0</c:v>
                      </c:pt>
                      <c:pt idx="8576">
                        <c:v>0</c:v>
                      </c:pt>
                      <c:pt idx="8577">
                        <c:v>0</c:v>
                      </c:pt>
                      <c:pt idx="8578">
                        <c:v>0</c:v>
                      </c:pt>
                      <c:pt idx="8579">
                        <c:v>0</c:v>
                      </c:pt>
                      <c:pt idx="8580">
                        <c:v>0</c:v>
                      </c:pt>
                      <c:pt idx="8581">
                        <c:v>0</c:v>
                      </c:pt>
                      <c:pt idx="8582">
                        <c:v>0</c:v>
                      </c:pt>
                      <c:pt idx="8583">
                        <c:v>0</c:v>
                      </c:pt>
                      <c:pt idx="8584">
                        <c:v>0</c:v>
                      </c:pt>
                      <c:pt idx="8585">
                        <c:v>0</c:v>
                      </c:pt>
                      <c:pt idx="8586">
                        <c:v>0</c:v>
                      </c:pt>
                      <c:pt idx="8587">
                        <c:v>0</c:v>
                      </c:pt>
                      <c:pt idx="8588">
                        <c:v>0</c:v>
                      </c:pt>
                      <c:pt idx="8589">
                        <c:v>0</c:v>
                      </c:pt>
                      <c:pt idx="8590">
                        <c:v>0</c:v>
                      </c:pt>
                      <c:pt idx="8591">
                        <c:v>0</c:v>
                      </c:pt>
                      <c:pt idx="8592">
                        <c:v>0</c:v>
                      </c:pt>
                      <c:pt idx="8593">
                        <c:v>0</c:v>
                      </c:pt>
                      <c:pt idx="8594">
                        <c:v>0</c:v>
                      </c:pt>
                      <c:pt idx="8595">
                        <c:v>0</c:v>
                      </c:pt>
                      <c:pt idx="8596">
                        <c:v>0</c:v>
                      </c:pt>
                      <c:pt idx="8597">
                        <c:v>0</c:v>
                      </c:pt>
                      <c:pt idx="8598">
                        <c:v>0</c:v>
                      </c:pt>
                      <c:pt idx="8599">
                        <c:v>0</c:v>
                      </c:pt>
                      <c:pt idx="8600">
                        <c:v>0</c:v>
                      </c:pt>
                      <c:pt idx="8601">
                        <c:v>0</c:v>
                      </c:pt>
                      <c:pt idx="8602">
                        <c:v>0</c:v>
                      </c:pt>
                      <c:pt idx="8603">
                        <c:v>0</c:v>
                      </c:pt>
                      <c:pt idx="8604">
                        <c:v>0</c:v>
                      </c:pt>
                      <c:pt idx="8605">
                        <c:v>0</c:v>
                      </c:pt>
                      <c:pt idx="8606">
                        <c:v>0</c:v>
                      </c:pt>
                      <c:pt idx="8607">
                        <c:v>0</c:v>
                      </c:pt>
                      <c:pt idx="8608">
                        <c:v>0</c:v>
                      </c:pt>
                      <c:pt idx="8609">
                        <c:v>0</c:v>
                      </c:pt>
                      <c:pt idx="8610">
                        <c:v>0</c:v>
                      </c:pt>
                      <c:pt idx="8611">
                        <c:v>0</c:v>
                      </c:pt>
                      <c:pt idx="8612">
                        <c:v>0</c:v>
                      </c:pt>
                      <c:pt idx="8613">
                        <c:v>0</c:v>
                      </c:pt>
                      <c:pt idx="8614">
                        <c:v>0</c:v>
                      </c:pt>
                      <c:pt idx="8615">
                        <c:v>0</c:v>
                      </c:pt>
                      <c:pt idx="8616">
                        <c:v>0</c:v>
                      </c:pt>
                      <c:pt idx="8617">
                        <c:v>0</c:v>
                      </c:pt>
                      <c:pt idx="8618">
                        <c:v>0</c:v>
                      </c:pt>
                      <c:pt idx="8619">
                        <c:v>0</c:v>
                      </c:pt>
                      <c:pt idx="8620">
                        <c:v>0</c:v>
                      </c:pt>
                      <c:pt idx="8621">
                        <c:v>0</c:v>
                      </c:pt>
                      <c:pt idx="8622">
                        <c:v>0</c:v>
                      </c:pt>
                      <c:pt idx="8623">
                        <c:v>0</c:v>
                      </c:pt>
                      <c:pt idx="8624">
                        <c:v>0</c:v>
                      </c:pt>
                      <c:pt idx="8625">
                        <c:v>0</c:v>
                      </c:pt>
                      <c:pt idx="8626">
                        <c:v>0</c:v>
                      </c:pt>
                      <c:pt idx="8627">
                        <c:v>0</c:v>
                      </c:pt>
                      <c:pt idx="8628">
                        <c:v>0</c:v>
                      </c:pt>
                      <c:pt idx="8629">
                        <c:v>0</c:v>
                      </c:pt>
                      <c:pt idx="8630">
                        <c:v>0</c:v>
                      </c:pt>
                      <c:pt idx="8631">
                        <c:v>0</c:v>
                      </c:pt>
                      <c:pt idx="8632">
                        <c:v>0</c:v>
                      </c:pt>
                      <c:pt idx="8633">
                        <c:v>0</c:v>
                      </c:pt>
                      <c:pt idx="8634">
                        <c:v>0</c:v>
                      </c:pt>
                      <c:pt idx="8635">
                        <c:v>0</c:v>
                      </c:pt>
                      <c:pt idx="8636">
                        <c:v>0</c:v>
                      </c:pt>
                      <c:pt idx="8637">
                        <c:v>0</c:v>
                      </c:pt>
                      <c:pt idx="8638">
                        <c:v>0</c:v>
                      </c:pt>
                      <c:pt idx="8639">
                        <c:v>0</c:v>
                      </c:pt>
                      <c:pt idx="8640">
                        <c:v>0</c:v>
                      </c:pt>
                      <c:pt idx="8641">
                        <c:v>0</c:v>
                      </c:pt>
                      <c:pt idx="8642">
                        <c:v>0</c:v>
                      </c:pt>
                      <c:pt idx="8643">
                        <c:v>0</c:v>
                      </c:pt>
                      <c:pt idx="8644">
                        <c:v>0</c:v>
                      </c:pt>
                      <c:pt idx="8645">
                        <c:v>0</c:v>
                      </c:pt>
                      <c:pt idx="8646">
                        <c:v>0</c:v>
                      </c:pt>
                      <c:pt idx="8647">
                        <c:v>0</c:v>
                      </c:pt>
                      <c:pt idx="8648">
                        <c:v>0</c:v>
                      </c:pt>
                      <c:pt idx="8649">
                        <c:v>0</c:v>
                      </c:pt>
                      <c:pt idx="8650">
                        <c:v>0</c:v>
                      </c:pt>
                      <c:pt idx="8651">
                        <c:v>0</c:v>
                      </c:pt>
                      <c:pt idx="8652">
                        <c:v>0</c:v>
                      </c:pt>
                      <c:pt idx="8653">
                        <c:v>0</c:v>
                      </c:pt>
                      <c:pt idx="8654">
                        <c:v>0</c:v>
                      </c:pt>
                      <c:pt idx="8655">
                        <c:v>0</c:v>
                      </c:pt>
                      <c:pt idx="8656">
                        <c:v>0</c:v>
                      </c:pt>
                      <c:pt idx="8657">
                        <c:v>0</c:v>
                      </c:pt>
                      <c:pt idx="8658">
                        <c:v>0</c:v>
                      </c:pt>
                      <c:pt idx="8659">
                        <c:v>0</c:v>
                      </c:pt>
                      <c:pt idx="8660">
                        <c:v>0</c:v>
                      </c:pt>
                      <c:pt idx="8661">
                        <c:v>0</c:v>
                      </c:pt>
                      <c:pt idx="8662">
                        <c:v>0</c:v>
                      </c:pt>
                      <c:pt idx="8663">
                        <c:v>0</c:v>
                      </c:pt>
                      <c:pt idx="8664">
                        <c:v>0</c:v>
                      </c:pt>
                      <c:pt idx="8665">
                        <c:v>0</c:v>
                      </c:pt>
                      <c:pt idx="8666">
                        <c:v>0</c:v>
                      </c:pt>
                      <c:pt idx="8667">
                        <c:v>0</c:v>
                      </c:pt>
                      <c:pt idx="8668">
                        <c:v>0</c:v>
                      </c:pt>
                      <c:pt idx="8669">
                        <c:v>0</c:v>
                      </c:pt>
                      <c:pt idx="8670">
                        <c:v>0</c:v>
                      </c:pt>
                      <c:pt idx="8671">
                        <c:v>0</c:v>
                      </c:pt>
                      <c:pt idx="8672">
                        <c:v>0</c:v>
                      </c:pt>
                      <c:pt idx="8673">
                        <c:v>0</c:v>
                      </c:pt>
                      <c:pt idx="8674">
                        <c:v>0</c:v>
                      </c:pt>
                      <c:pt idx="8675">
                        <c:v>0</c:v>
                      </c:pt>
                      <c:pt idx="8676">
                        <c:v>0</c:v>
                      </c:pt>
                      <c:pt idx="8677">
                        <c:v>0</c:v>
                      </c:pt>
                      <c:pt idx="8678">
                        <c:v>0</c:v>
                      </c:pt>
                      <c:pt idx="8679">
                        <c:v>0</c:v>
                      </c:pt>
                      <c:pt idx="8680">
                        <c:v>0</c:v>
                      </c:pt>
                      <c:pt idx="8681">
                        <c:v>0</c:v>
                      </c:pt>
                      <c:pt idx="8682">
                        <c:v>0</c:v>
                      </c:pt>
                      <c:pt idx="8683">
                        <c:v>0</c:v>
                      </c:pt>
                      <c:pt idx="8684">
                        <c:v>0</c:v>
                      </c:pt>
                      <c:pt idx="8685">
                        <c:v>0</c:v>
                      </c:pt>
                      <c:pt idx="8686">
                        <c:v>0</c:v>
                      </c:pt>
                      <c:pt idx="8687">
                        <c:v>0</c:v>
                      </c:pt>
                      <c:pt idx="8688">
                        <c:v>0</c:v>
                      </c:pt>
                      <c:pt idx="8689">
                        <c:v>0</c:v>
                      </c:pt>
                      <c:pt idx="8690">
                        <c:v>0</c:v>
                      </c:pt>
                      <c:pt idx="8691">
                        <c:v>0</c:v>
                      </c:pt>
                      <c:pt idx="8692">
                        <c:v>0</c:v>
                      </c:pt>
                      <c:pt idx="8693">
                        <c:v>0</c:v>
                      </c:pt>
                      <c:pt idx="8694">
                        <c:v>0</c:v>
                      </c:pt>
                      <c:pt idx="8695">
                        <c:v>0</c:v>
                      </c:pt>
                      <c:pt idx="8696">
                        <c:v>0</c:v>
                      </c:pt>
                      <c:pt idx="8697">
                        <c:v>0</c:v>
                      </c:pt>
                      <c:pt idx="8698">
                        <c:v>0</c:v>
                      </c:pt>
                      <c:pt idx="8699">
                        <c:v>0</c:v>
                      </c:pt>
                      <c:pt idx="8700">
                        <c:v>0</c:v>
                      </c:pt>
                      <c:pt idx="8701">
                        <c:v>0</c:v>
                      </c:pt>
                      <c:pt idx="8702">
                        <c:v>0</c:v>
                      </c:pt>
                      <c:pt idx="8703">
                        <c:v>0</c:v>
                      </c:pt>
                      <c:pt idx="8704">
                        <c:v>0</c:v>
                      </c:pt>
                      <c:pt idx="8705">
                        <c:v>0</c:v>
                      </c:pt>
                      <c:pt idx="8706">
                        <c:v>0</c:v>
                      </c:pt>
                      <c:pt idx="8707">
                        <c:v>0</c:v>
                      </c:pt>
                      <c:pt idx="8708">
                        <c:v>0</c:v>
                      </c:pt>
                      <c:pt idx="8709">
                        <c:v>0</c:v>
                      </c:pt>
                      <c:pt idx="8710">
                        <c:v>0</c:v>
                      </c:pt>
                      <c:pt idx="8711">
                        <c:v>0</c:v>
                      </c:pt>
                      <c:pt idx="8712">
                        <c:v>0</c:v>
                      </c:pt>
                      <c:pt idx="8713">
                        <c:v>0</c:v>
                      </c:pt>
                      <c:pt idx="8714">
                        <c:v>0</c:v>
                      </c:pt>
                      <c:pt idx="8715">
                        <c:v>0</c:v>
                      </c:pt>
                      <c:pt idx="8716">
                        <c:v>0</c:v>
                      </c:pt>
                      <c:pt idx="8717">
                        <c:v>0</c:v>
                      </c:pt>
                      <c:pt idx="8718">
                        <c:v>0</c:v>
                      </c:pt>
                      <c:pt idx="8719">
                        <c:v>0</c:v>
                      </c:pt>
                      <c:pt idx="8720">
                        <c:v>0</c:v>
                      </c:pt>
                      <c:pt idx="8721">
                        <c:v>0</c:v>
                      </c:pt>
                      <c:pt idx="8722">
                        <c:v>0</c:v>
                      </c:pt>
                      <c:pt idx="8723">
                        <c:v>0</c:v>
                      </c:pt>
                      <c:pt idx="8724">
                        <c:v>0</c:v>
                      </c:pt>
                      <c:pt idx="8725">
                        <c:v>0</c:v>
                      </c:pt>
                      <c:pt idx="8726">
                        <c:v>0</c:v>
                      </c:pt>
                      <c:pt idx="8727">
                        <c:v>0</c:v>
                      </c:pt>
                      <c:pt idx="8728">
                        <c:v>0</c:v>
                      </c:pt>
                      <c:pt idx="8729">
                        <c:v>0</c:v>
                      </c:pt>
                      <c:pt idx="8730">
                        <c:v>0</c:v>
                      </c:pt>
                      <c:pt idx="8731">
                        <c:v>0</c:v>
                      </c:pt>
                      <c:pt idx="8732">
                        <c:v>0</c:v>
                      </c:pt>
                      <c:pt idx="8733">
                        <c:v>0</c:v>
                      </c:pt>
                      <c:pt idx="8734">
                        <c:v>0</c:v>
                      </c:pt>
                      <c:pt idx="8735">
                        <c:v>0</c:v>
                      </c:pt>
                      <c:pt idx="8736">
                        <c:v>0</c:v>
                      </c:pt>
                      <c:pt idx="8737">
                        <c:v>0</c:v>
                      </c:pt>
                      <c:pt idx="8738">
                        <c:v>0</c:v>
                      </c:pt>
                      <c:pt idx="8739">
                        <c:v>0</c:v>
                      </c:pt>
                      <c:pt idx="8740">
                        <c:v>0</c:v>
                      </c:pt>
                      <c:pt idx="8741">
                        <c:v>0</c:v>
                      </c:pt>
                      <c:pt idx="8742">
                        <c:v>0</c:v>
                      </c:pt>
                      <c:pt idx="8743">
                        <c:v>0</c:v>
                      </c:pt>
                      <c:pt idx="8744">
                        <c:v>0</c:v>
                      </c:pt>
                      <c:pt idx="8745">
                        <c:v>0</c:v>
                      </c:pt>
                      <c:pt idx="8746">
                        <c:v>0</c:v>
                      </c:pt>
                      <c:pt idx="8747">
                        <c:v>0</c:v>
                      </c:pt>
                      <c:pt idx="8748">
                        <c:v>0</c:v>
                      </c:pt>
                      <c:pt idx="8749">
                        <c:v>0</c:v>
                      </c:pt>
                      <c:pt idx="8750">
                        <c:v>0</c:v>
                      </c:pt>
                      <c:pt idx="8751">
                        <c:v>0</c:v>
                      </c:pt>
                      <c:pt idx="8752">
                        <c:v>0</c:v>
                      </c:pt>
                      <c:pt idx="8753">
                        <c:v>0</c:v>
                      </c:pt>
                      <c:pt idx="8754">
                        <c:v>0</c:v>
                      </c:pt>
                      <c:pt idx="8755">
                        <c:v>0</c:v>
                      </c:pt>
                      <c:pt idx="8756">
                        <c:v>0</c:v>
                      </c:pt>
                      <c:pt idx="8757">
                        <c:v>0</c:v>
                      </c:pt>
                      <c:pt idx="8758">
                        <c:v>0</c:v>
                      </c:pt>
                      <c:pt idx="8759">
                        <c:v>0</c:v>
                      </c:pt>
                      <c:pt idx="8760">
                        <c:v>0</c:v>
                      </c:pt>
                      <c:pt idx="8761">
                        <c:v>0</c:v>
                      </c:pt>
                      <c:pt idx="8762">
                        <c:v>0</c:v>
                      </c:pt>
                      <c:pt idx="8763">
                        <c:v>0</c:v>
                      </c:pt>
                      <c:pt idx="8764">
                        <c:v>0</c:v>
                      </c:pt>
                      <c:pt idx="8765">
                        <c:v>0</c:v>
                      </c:pt>
                      <c:pt idx="8766">
                        <c:v>0</c:v>
                      </c:pt>
                      <c:pt idx="8767">
                        <c:v>0</c:v>
                      </c:pt>
                      <c:pt idx="8768">
                        <c:v>0</c:v>
                      </c:pt>
                      <c:pt idx="8769">
                        <c:v>0</c:v>
                      </c:pt>
                      <c:pt idx="8770">
                        <c:v>0</c:v>
                      </c:pt>
                      <c:pt idx="8771">
                        <c:v>0</c:v>
                      </c:pt>
                      <c:pt idx="8772">
                        <c:v>0</c:v>
                      </c:pt>
                      <c:pt idx="8773">
                        <c:v>0</c:v>
                      </c:pt>
                      <c:pt idx="8774">
                        <c:v>0</c:v>
                      </c:pt>
                      <c:pt idx="8775">
                        <c:v>0</c:v>
                      </c:pt>
                      <c:pt idx="8776">
                        <c:v>0</c:v>
                      </c:pt>
                      <c:pt idx="8777">
                        <c:v>0</c:v>
                      </c:pt>
                      <c:pt idx="8778">
                        <c:v>0</c:v>
                      </c:pt>
                      <c:pt idx="8779">
                        <c:v>0</c:v>
                      </c:pt>
                      <c:pt idx="8780">
                        <c:v>0</c:v>
                      </c:pt>
                      <c:pt idx="8781">
                        <c:v>0</c:v>
                      </c:pt>
                      <c:pt idx="8782">
                        <c:v>0</c:v>
                      </c:pt>
                      <c:pt idx="8783">
                        <c:v>0</c:v>
                      </c:pt>
                      <c:pt idx="8784">
                        <c:v>0</c:v>
                      </c:pt>
                      <c:pt idx="8785">
                        <c:v>0</c:v>
                      </c:pt>
                      <c:pt idx="8786">
                        <c:v>0</c:v>
                      </c:pt>
                      <c:pt idx="8787">
                        <c:v>0</c:v>
                      </c:pt>
                      <c:pt idx="8788">
                        <c:v>0</c:v>
                      </c:pt>
                      <c:pt idx="8789">
                        <c:v>0</c:v>
                      </c:pt>
                      <c:pt idx="8790">
                        <c:v>0</c:v>
                      </c:pt>
                      <c:pt idx="8791">
                        <c:v>0</c:v>
                      </c:pt>
                      <c:pt idx="8792">
                        <c:v>0</c:v>
                      </c:pt>
                      <c:pt idx="8793">
                        <c:v>0</c:v>
                      </c:pt>
                      <c:pt idx="8794">
                        <c:v>0</c:v>
                      </c:pt>
                      <c:pt idx="8795">
                        <c:v>0</c:v>
                      </c:pt>
                      <c:pt idx="8796">
                        <c:v>0</c:v>
                      </c:pt>
                      <c:pt idx="8797">
                        <c:v>0</c:v>
                      </c:pt>
                      <c:pt idx="8798">
                        <c:v>0</c:v>
                      </c:pt>
                      <c:pt idx="8799">
                        <c:v>0</c:v>
                      </c:pt>
                      <c:pt idx="8800">
                        <c:v>0</c:v>
                      </c:pt>
                      <c:pt idx="8801">
                        <c:v>0</c:v>
                      </c:pt>
                      <c:pt idx="8802">
                        <c:v>0</c:v>
                      </c:pt>
                      <c:pt idx="8803">
                        <c:v>0</c:v>
                      </c:pt>
                      <c:pt idx="8804">
                        <c:v>0</c:v>
                      </c:pt>
                      <c:pt idx="8805">
                        <c:v>0</c:v>
                      </c:pt>
                      <c:pt idx="8806">
                        <c:v>0</c:v>
                      </c:pt>
                      <c:pt idx="8807">
                        <c:v>0</c:v>
                      </c:pt>
                      <c:pt idx="8808">
                        <c:v>0</c:v>
                      </c:pt>
                      <c:pt idx="8809">
                        <c:v>0</c:v>
                      </c:pt>
                      <c:pt idx="8810">
                        <c:v>0</c:v>
                      </c:pt>
                      <c:pt idx="8811">
                        <c:v>0</c:v>
                      </c:pt>
                      <c:pt idx="8812">
                        <c:v>0</c:v>
                      </c:pt>
                      <c:pt idx="8813">
                        <c:v>0</c:v>
                      </c:pt>
                      <c:pt idx="8814">
                        <c:v>0</c:v>
                      </c:pt>
                      <c:pt idx="8815">
                        <c:v>0</c:v>
                      </c:pt>
                      <c:pt idx="8816">
                        <c:v>0</c:v>
                      </c:pt>
                      <c:pt idx="8817">
                        <c:v>0</c:v>
                      </c:pt>
                      <c:pt idx="8818">
                        <c:v>0</c:v>
                      </c:pt>
                      <c:pt idx="8819">
                        <c:v>0</c:v>
                      </c:pt>
                      <c:pt idx="8820">
                        <c:v>0</c:v>
                      </c:pt>
                      <c:pt idx="8821">
                        <c:v>0</c:v>
                      </c:pt>
                      <c:pt idx="8822">
                        <c:v>0</c:v>
                      </c:pt>
                      <c:pt idx="8823">
                        <c:v>0</c:v>
                      </c:pt>
                      <c:pt idx="8824">
                        <c:v>0</c:v>
                      </c:pt>
                      <c:pt idx="8825">
                        <c:v>0</c:v>
                      </c:pt>
                      <c:pt idx="8826">
                        <c:v>0</c:v>
                      </c:pt>
                      <c:pt idx="8827">
                        <c:v>0</c:v>
                      </c:pt>
                      <c:pt idx="8828">
                        <c:v>0</c:v>
                      </c:pt>
                      <c:pt idx="8829">
                        <c:v>0</c:v>
                      </c:pt>
                      <c:pt idx="8830">
                        <c:v>0</c:v>
                      </c:pt>
                      <c:pt idx="8831">
                        <c:v>0</c:v>
                      </c:pt>
                      <c:pt idx="8832">
                        <c:v>0</c:v>
                      </c:pt>
                      <c:pt idx="8833">
                        <c:v>0</c:v>
                      </c:pt>
                      <c:pt idx="8834">
                        <c:v>0</c:v>
                      </c:pt>
                      <c:pt idx="8835">
                        <c:v>0</c:v>
                      </c:pt>
                      <c:pt idx="8836">
                        <c:v>0</c:v>
                      </c:pt>
                      <c:pt idx="8837">
                        <c:v>0</c:v>
                      </c:pt>
                      <c:pt idx="8838">
                        <c:v>0</c:v>
                      </c:pt>
                      <c:pt idx="8839">
                        <c:v>0</c:v>
                      </c:pt>
                      <c:pt idx="8840">
                        <c:v>0</c:v>
                      </c:pt>
                      <c:pt idx="8841">
                        <c:v>0</c:v>
                      </c:pt>
                      <c:pt idx="8842">
                        <c:v>0</c:v>
                      </c:pt>
                      <c:pt idx="8843">
                        <c:v>0</c:v>
                      </c:pt>
                      <c:pt idx="8844">
                        <c:v>0</c:v>
                      </c:pt>
                      <c:pt idx="8845">
                        <c:v>0</c:v>
                      </c:pt>
                      <c:pt idx="8846">
                        <c:v>0</c:v>
                      </c:pt>
                      <c:pt idx="8847">
                        <c:v>0</c:v>
                      </c:pt>
                      <c:pt idx="8848">
                        <c:v>0</c:v>
                      </c:pt>
                      <c:pt idx="8849">
                        <c:v>0</c:v>
                      </c:pt>
                      <c:pt idx="8850">
                        <c:v>0</c:v>
                      </c:pt>
                      <c:pt idx="8851">
                        <c:v>0</c:v>
                      </c:pt>
                      <c:pt idx="8852">
                        <c:v>0</c:v>
                      </c:pt>
                      <c:pt idx="8853">
                        <c:v>0</c:v>
                      </c:pt>
                      <c:pt idx="8854">
                        <c:v>0</c:v>
                      </c:pt>
                      <c:pt idx="8855">
                        <c:v>0</c:v>
                      </c:pt>
                      <c:pt idx="8856">
                        <c:v>0</c:v>
                      </c:pt>
                      <c:pt idx="8857">
                        <c:v>0</c:v>
                      </c:pt>
                      <c:pt idx="8858">
                        <c:v>0</c:v>
                      </c:pt>
                      <c:pt idx="8859">
                        <c:v>0</c:v>
                      </c:pt>
                      <c:pt idx="8860">
                        <c:v>0</c:v>
                      </c:pt>
                      <c:pt idx="8861">
                        <c:v>0</c:v>
                      </c:pt>
                      <c:pt idx="8862">
                        <c:v>0</c:v>
                      </c:pt>
                      <c:pt idx="8863">
                        <c:v>0</c:v>
                      </c:pt>
                      <c:pt idx="8864">
                        <c:v>0</c:v>
                      </c:pt>
                      <c:pt idx="8865">
                        <c:v>0</c:v>
                      </c:pt>
                      <c:pt idx="8866">
                        <c:v>0</c:v>
                      </c:pt>
                      <c:pt idx="8867">
                        <c:v>0</c:v>
                      </c:pt>
                      <c:pt idx="8868">
                        <c:v>0</c:v>
                      </c:pt>
                      <c:pt idx="8869">
                        <c:v>0</c:v>
                      </c:pt>
                      <c:pt idx="8870">
                        <c:v>0</c:v>
                      </c:pt>
                      <c:pt idx="8871">
                        <c:v>0</c:v>
                      </c:pt>
                      <c:pt idx="8872">
                        <c:v>0</c:v>
                      </c:pt>
                      <c:pt idx="8873">
                        <c:v>0</c:v>
                      </c:pt>
                      <c:pt idx="8874">
                        <c:v>0</c:v>
                      </c:pt>
                      <c:pt idx="8875">
                        <c:v>0</c:v>
                      </c:pt>
                      <c:pt idx="8876">
                        <c:v>0</c:v>
                      </c:pt>
                      <c:pt idx="8877">
                        <c:v>0</c:v>
                      </c:pt>
                      <c:pt idx="8878">
                        <c:v>0</c:v>
                      </c:pt>
                      <c:pt idx="8879">
                        <c:v>0</c:v>
                      </c:pt>
                      <c:pt idx="8880">
                        <c:v>0</c:v>
                      </c:pt>
                      <c:pt idx="8881">
                        <c:v>0</c:v>
                      </c:pt>
                      <c:pt idx="8882">
                        <c:v>0</c:v>
                      </c:pt>
                      <c:pt idx="8883">
                        <c:v>0</c:v>
                      </c:pt>
                      <c:pt idx="8884">
                        <c:v>0</c:v>
                      </c:pt>
                      <c:pt idx="8885">
                        <c:v>0</c:v>
                      </c:pt>
                      <c:pt idx="8886">
                        <c:v>0</c:v>
                      </c:pt>
                      <c:pt idx="8887">
                        <c:v>0</c:v>
                      </c:pt>
                      <c:pt idx="8888">
                        <c:v>0</c:v>
                      </c:pt>
                      <c:pt idx="8889">
                        <c:v>0</c:v>
                      </c:pt>
                      <c:pt idx="8890">
                        <c:v>0</c:v>
                      </c:pt>
                      <c:pt idx="8891">
                        <c:v>0</c:v>
                      </c:pt>
                      <c:pt idx="8892">
                        <c:v>0</c:v>
                      </c:pt>
                      <c:pt idx="8893">
                        <c:v>0</c:v>
                      </c:pt>
                      <c:pt idx="8894">
                        <c:v>0</c:v>
                      </c:pt>
                      <c:pt idx="8895">
                        <c:v>0</c:v>
                      </c:pt>
                      <c:pt idx="8896">
                        <c:v>0</c:v>
                      </c:pt>
                      <c:pt idx="8897">
                        <c:v>0</c:v>
                      </c:pt>
                      <c:pt idx="8898">
                        <c:v>0</c:v>
                      </c:pt>
                      <c:pt idx="8899">
                        <c:v>0</c:v>
                      </c:pt>
                      <c:pt idx="8900">
                        <c:v>0</c:v>
                      </c:pt>
                      <c:pt idx="8901">
                        <c:v>0</c:v>
                      </c:pt>
                      <c:pt idx="8902">
                        <c:v>0</c:v>
                      </c:pt>
                      <c:pt idx="8903">
                        <c:v>0</c:v>
                      </c:pt>
                      <c:pt idx="8904">
                        <c:v>0</c:v>
                      </c:pt>
                      <c:pt idx="8905">
                        <c:v>0</c:v>
                      </c:pt>
                      <c:pt idx="8906">
                        <c:v>0</c:v>
                      </c:pt>
                      <c:pt idx="8907">
                        <c:v>0</c:v>
                      </c:pt>
                      <c:pt idx="8908">
                        <c:v>0</c:v>
                      </c:pt>
                      <c:pt idx="8909">
                        <c:v>0</c:v>
                      </c:pt>
                      <c:pt idx="8910">
                        <c:v>0</c:v>
                      </c:pt>
                      <c:pt idx="8911">
                        <c:v>0</c:v>
                      </c:pt>
                      <c:pt idx="8912">
                        <c:v>0</c:v>
                      </c:pt>
                      <c:pt idx="8913">
                        <c:v>0</c:v>
                      </c:pt>
                      <c:pt idx="8914">
                        <c:v>0</c:v>
                      </c:pt>
                      <c:pt idx="8915">
                        <c:v>0</c:v>
                      </c:pt>
                      <c:pt idx="8916">
                        <c:v>0</c:v>
                      </c:pt>
                      <c:pt idx="8917">
                        <c:v>0</c:v>
                      </c:pt>
                      <c:pt idx="8918">
                        <c:v>0</c:v>
                      </c:pt>
                      <c:pt idx="8919">
                        <c:v>0</c:v>
                      </c:pt>
                      <c:pt idx="8920">
                        <c:v>0</c:v>
                      </c:pt>
                      <c:pt idx="8921">
                        <c:v>0</c:v>
                      </c:pt>
                      <c:pt idx="8922">
                        <c:v>0</c:v>
                      </c:pt>
                      <c:pt idx="8923">
                        <c:v>0</c:v>
                      </c:pt>
                      <c:pt idx="8924">
                        <c:v>0</c:v>
                      </c:pt>
                      <c:pt idx="8925">
                        <c:v>0</c:v>
                      </c:pt>
                      <c:pt idx="8926">
                        <c:v>0</c:v>
                      </c:pt>
                      <c:pt idx="8927">
                        <c:v>0</c:v>
                      </c:pt>
                      <c:pt idx="8928">
                        <c:v>0</c:v>
                      </c:pt>
                      <c:pt idx="8929">
                        <c:v>0</c:v>
                      </c:pt>
                      <c:pt idx="8930">
                        <c:v>0</c:v>
                      </c:pt>
                      <c:pt idx="8931">
                        <c:v>0</c:v>
                      </c:pt>
                      <c:pt idx="8932">
                        <c:v>0</c:v>
                      </c:pt>
                      <c:pt idx="8933">
                        <c:v>0</c:v>
                      </c:pt>
                      <c:pt idx="8934">
                        <c:v>0</c:v>
                      </c:pt>
                      <c:pt idx="8935">
                        <c:v>0</c:v>
                      </c:pt>
                      <c:pt idx="8936">
                        <c:v>0</c:v>
                      </c:pt>
                      <c:pt idx="8937">
                        <c:v>0</c:v>
                      </c:pt>
                      <c:pt idx="8938">
                        <c:v>0</c:v>
                      </c:pt>
                      <c:pt idx="8939">
                        <c:v>0</c:v>
                      </c:pt>
                      <c:pt idx="8940">
                        <c:v>0</c:v>
                      </c:pt>
                      <c:pt idx="8941">
                        <c:v>0</c:v>
                      </c:pt>
                      <c:pt idx="8942">
                        <c:v>0</c:v>
                      </c:pt>
                      <c:pt idx="8943">
                        <c:v>0</c:v>
                      </c:pt>
                      <c:pt idx="8944">
                        <c:v>0</c:v>
                      </c:pt>
                      <c:pt idx="8945">
                        <c:v>0</c:v>
                      </c:pt>
                      <c:pt idx="8946">
                        <c:v>0</c:v>
                      </c:pt>
                      <c:pt idx="8947">
                        <c:v>0</c:v>
                      </c:pt>
                      <c:pt idx="8948">
                        <c:v>0</c:v>
                      </c:pt>
                      <c:pt idx="8949">
                        <c:v>0</c:v>
                      </c:pt>
                      <c:pt idx="8950">
                        <c:v>0</c:v>
                      </c:pt>
                      <c:pt idx="8951">
                        <c:v>0</c:v>
                      </c:pt>
                      <c:pt idx="8952">
                        <c:v>0</c:v>
                      </c:pt>
                      <c:pt idx="8953">
                        <c:v>0</c:v>
                      </c:pt>
                      <c:pt idx="8954">
                        <c:v>0</c:v>
                      </c:pt>
                      <c:pt idx="8955">
                        <c:v>0</c:v>
                      </c:pt>
                      <c:pt idx="8956">
                        <c:v>0</c:v>
                      </c:pt>
                      <c:pt idx="8957">
                        <c:v>0</c:v>
                      </c:pt>
                      <c:pt idx="8958">
                        <c:v>0</c:v>
                      </c:pt>
                      <c:pt idx="8959">
                        <c:v>0</c:v>
                      </c:pt>
                      <c:pt idx="8960">
                        <c:v>0</c:v>
                      </c:pt>
                      <c:pt idx="8961">
                        <c:v>0</c:v>
                      </c:pt>
                      <c:pt idx="8962">
                        <c:v>0</c:v>
                      </c:pt>
                      <c:pt idx="8963">
                        <c:v>0</c:v>
                      </c:pt>
                      <c:pt idx="8964">
                        <c:v>0</c:v>
                      </c:pt>
                      <c:pt idx="8965">
                        <c:v>0</c:v>
                      </c:pt>
                      <c:pt idx="8966">
                        <c:v>0</c:v>
                      </c:pt>
                      <c:pt idx="8967">
                        <c:v>0</c:v>
                      </c:pt>
                      <c:pt idx="8968">
                        <c:v>0</c:v>
                      </c:pt>
                      <c:pt idx="8969">
                        <c:v>0</c:v>
                      </c:pt>
                      <c:pt idx="8970">
                        <c:v>0</c:v>
                      </c:pt>
                      <c:pt idx="8971">
                        <c:v>0</c:v>
                      </c:pt>
                      <c:pt idx="8972">
                        <c:v>0</c:v>
                      </c:pt>
                      <c:pt idx="8973">
                        <c:v>0</c:v>
                      </c:pt>
                      <c:pt idx="8974">
                        <c:v>0</c:v>
                      </c:pt>
                      <c:pt idx="8975">
                        <c:v>0</c:v>
                      </c:pt>
                      <c:pt idx="8976">
                        <c:v>0</c:v>
                      </c:pt>
                      <c:pt idx="8977">
                        <c:v>0</c:v>
                      </c:pt>
                      <c:pt idx="8978">
                        <c:v>0</c:v>
                      </c:pt>
                      <c:pt idx="8979">
                        <c:v>0</c:v>
                      </c:pt>
                      <c:pt idx="8980">
                        <c:v>0</c:v>
                      </c:pt>
                      <c:pt idx="8981">
                        <c:v>0</c:v>
                      </c:pt>
                      <c:pt idx="8982">
                        <c:v>0</c:v>
                      </c:pt>
                      <c:pt idx="8983">
                        <c:v>0</c:v>
                      </c:pt>
                      <c:pt idx="8984">
                        <c:v>0</c:v>
                      </c:pt>
                      <c:pt idx="8985">
                        <c:v>0</c:v>
                      </c:pt>
                      <c:pt idx="8986">
                        <c:v>0</c:v>
                      </c:pt>
                      <c:pt idx="8987">
                        <c:v>0</c:v>
                      </c:pt>
                      <c:pt idx="8988">
                        <c:v>0</c:v>
                      </c:pt>
                      <c:pt idx="8989">
                        <c:v>0</c:v>
                      </c:pt>
                      <c:pt idx="8990">
                        <c:v>0</c:v>
                      </c:pt>
                      <c:pt idx="8991">
                        <c:v>0</c:v>
                      </c:pt>
                      <c:pt idx="8992">
                        <c:v>0</c:v>
                      </c:pt>
                      <c:pt idx="8993">
                        <c:v>0</c:v>
                      </c:pt>
                      <c:pt idx="8994">
                        <c:v>0</c:v>
                      </c:pt>
                      <c:pt idx="8995">
                        <c:v>0</c:v>
                      </c:pt>
                      <c:pt idx="8996">
                        <c:v>0</c:v>
                      </c:pt>
                      <c:pt idx="8997">
                        <c:v>0</c:v>
                      </c:pt>
                      <c:pt idx="8998">
                        <c:v>0</c:v>
                      </c:pt>
                      <c:pt idx="8999">
                        <c:v>0</c:v>
                      </c:pt>
                      <c:pt idx="9000">
                        <c:v>0</c:v>
                      </c:pt>
                      <c:pt idx="9001">
                        <c:v>0</c:v>
                      </c:pt>
                      <c:pt idx="9002">
                        <c:v>0</c:v>
                      </c:pt>
                      <c:pt idx="9003">
                        <c:v>0</c:v>
                      </c:pt>
                      <c:pt idx="9004">
                        <c:v>0</c:v>
                      </c:pt>
                      <c:pt idx="9005">
                        <c:v>0</c:v>
                      </c:pt>
                      <c:pt idx="9006">
                        <c:v>0</c:v>
                      </c:pt>
                      <c:pt idx="9007">
                        <c:v>0</c:v>
                      </c:pt>
                      <c:pt idx="9008">
                        <c:v>0</c:v>
                      </c:pt>
                      <c:pt idx="9009">
                        <c:v>0</c:v>
                      </c:pt>
                      <c:pt idx="9010">
                        <c:v>0</c:v>
                      </c:pt>
                      <c:pt idx="9011">
                        <c:v>0</c:v>
                      </c:pt>
                      <c:pt idx="9012">
                        <c:v>0</c:v>
                      </c:pt>
                      <c:pt idx="9013">
                        <c:v>0</c:v>
                      </c:pt>
                      <c:pt idx="9014">
                        <c:v>0</c:v>
                      </c:pt>
                      <c:pt idx="9015">
                        <c:v>0</c:v>
                      </c:pt>
                      <c:pt idx="9016">
                        <c:v>0</c:v>
                      </c:pt>
                      <c:pt idx="9017">
                        <c:v>0</c:v>
                      </c:pt>
                      <c:pt idx="9018">
                        <c:v>0</c:v>
                      </c:pt>
                      <c:pt idx="9019">
                        <c:v>0</c:v>
                      </c:pt>
                      <c:pt idx="9020">
                        <c:v>0</c:v>
                      </c:pt>
                      <c:pt idx="9021">
                        <c:v>0</c:v>
                      </c:pt>
                      <c:pt idx="9022">
                        <c:v>0</c:v>
                      </c:pt>
                      <c:pt idx="9023">
                        <c:v>0</c:v>
                      </c:pt>
                      <c:pt idx="9024">
                        <c:v>0</c:v>
                      </c:pt>
                      <c:pt idx="9025">
                        <c:v>0</c:v>
                      </c:pt>
                      <c:pt idx="9026">
                        <c:v>0</c:v>
                      </c:pt>
                      <c:pt idx="9027">
                        <c:v>0</c:v>
                      </c:pt>
                      <c:pt idx="9028">
                        <c:v>0</c:v>
                      </c:pt>
                      <c:pt idx="9029">
                        <c:v>0</c:v>
                      </c:pt>
                      <c:pt idx="9030">
                        <c:v>0</c:v>
                      </c:pt>
                      <c:pt idx="9031">
                        <c:v>0</c:v>
                      </c:pt>
                      <c:pt idx="9032">
                        <c:v>0</c:v>
                      </c:pt>
                      <c:pt idx="9033">
                        <c:v>0</c:v>
                      </c:pt>
                      <c:pt idx="9034">
                        <c:v>0</c:v>
                      </c:pt>
                      <c:pt idx="9035">
                        <c:v>0</c:v>
                      </c:pt>
                      <c:pt idx="9036">
                        <c:v>0</c:v>
                      </c:pt>
                      <c:pt idx="9037">
                        <c:v>0</c:v>
                      </c:pt>
                      <c:pt idx="9038">
                        <c:v>0</c:v>
                      </c:pt>
                      <c:pt idx="9039">
                        <c:v>0</c:v>
                      </c:pt>
                      <c:pt idx="9040">
                        <c:v>0</c:v>
                      </c:pt>
                      <c:pt idx="9041">
                        <c:v>0</c:v>
                      </c:pt>
                      <c:pt idx="9042">
                        <c:v>0</c:v>
                      </c:pt>
                      <c:pt idx="9043">
                        <c:v>0</c:v>
                      </c:pt>
                      <c:pt idx="9044">
                        <c:v>0</c:v>
                      </c:pt>
                      <c:pt idx="9045">
                        <c:v>0</c:v>
                      </c:pt>
                      <c:pt idx="9046">
                        <c:v>0</c:v>
                      </c:pt>
                      <c:pt idx="9047">
                        <c:v>0</c:v>
                      </c:pt>
                      <c:pt idx="9048">
                        <c:v>0</c:v>
                      </c:pt>
                      <c:pt idx="9049">
                        <c:v>0</c:v>
                      </c:pt>
                      <c:pt idx="9050">
                        <c:v>0</c:v>
                      </c:pt>
                      <c:pt idx="9051">
                        <c:v>0</c:v>
                      </c:pt>
                      <c:pt idx="9052">
                        <c:v>0</c:v>
                      </c:pt>
                      <c:pt idx="9053">
                        <c:v>0</c:v>
                      </c:pt>
                      <c:pt idx="9054">
                        <c:v>0</c:v>
                      </c:pt>
                      <c:pt idx="9055">
                        <c:v>0</c:v>
                      </c:pt>
                      <c:pt idx="9056">
                        <c:v>0</c:v>
                      </c:pt>
                      <c:pt idx="9057">
                        <c:v>0</c:v>
                      </c:pt>
                      <c:pt idx="9058">
                        <c:v>0</c:v>
                      </c:pt>
                      <c:pt idx="9059">
                        <c:v>0</c:v>
                      </c:pt>
                      <c:pt idx="9060">
                        <c:v>0</c:v>
                      </c:pt>
                      <c:pt idx="9061">
                        <c:v>0</c:v>
                      </c:pt>
                      <c:pt idx="9062">
                        <c:v>0</c:v>
                      </c:pt>
                      <c:pt idx="9063">
                        <c:v>0</c:v>
                      </c:pt>
                      <c:pt idx="9064">
                        <c:v>0</c:v>
                      </c:pt>
                      <c:pt idx="9065">
                        <c:v>0</c:v>
                      </c:pt>
                      <c:pt idx="9066">
                        <c:v>0</c:v>
                      </c:pt>
                      <c:pt idx="9067">
                        <c:v>0</c:v>
                      </c:pt>
                      <c:pt idx="9068">
                        <c:v>0</c:v>
                      </c:pt>
                      <c:pt idx="9069">
                        <c:v>0</c:v>
                      </c:pt>
                      <c:pt idx="9070">
                        <c:v>0</c:v>
                      </c:pt>
                      <c:pt idx="9071">
                        <c:v>0</c:v>
                      </c:pt>
                      <c:pt idx="9072">
                        <c:v>0</c:v>
                      </c:pt>
                      <c:pt idx="9073">
                        <c:v>0</c:v>
                      </c:pt>
                      <c:pt idx="9074">
                        <c:v>0</c:v>
                      </c:pt>
                      <c:pt idx="9075">
                        <c:v>0</c:v>
                      </c:pt>
                      <c:pt idx="9076">
                        <c:v>0</c:v>
                      </c:pt>
                      <c:pt idx="9077">
                        <c:v>0</c:v>
                      </c:pt>
                      <c:pt idx="9078">
                        <c:v>0</c:v>
                      </c:pt>
                      <c:pt idx="9079">
                        <c:v>0</c:v>
                      </c:pt>
                      <c:pt idx="9080">
                        <c:v>0</c:v>
                      </c:pt>
                      <c:pt idx="9081">
                        <c:v>0</c:v>
                      </c:pt>
                      <c:pt idx="9082">
                        <c:v>0</c:v>
                      </c:pt>
                      <c:pt idx="9083">
                        <c:v>0</c:v>
                      </c:pt>
                      <c:pt idx="9084">
                        <c:v>0</c:v>
                      </c:pt>
                      <c:pt idx="9085">
                        <c:v>0</c:v>
                      </c:pt>
                      <c:pt idx="9086">
                        <c:v>0</c:v>
                      </c:pt>
                      <c:pt idx="9087">
                        <c:v>0</c:v>
                      </c:pt>
                      <c:pt idx="9088">
                        <c:v>0</c:v>
                      </c:pt>
                      <c:pt idx="9089">
                        <c:v>0</c:v>
                      </c:pt>
                      <c:pt idx="9090">
                        <c:v>0</c:v>
                      </c:pt>
                      <c:pt idx="9091">
                        <c:v>0</c:v>
                      </c:pt>
                      <c:pt idx="9092">
                        <c:v>0</c:v>
                      </c:pt>
                      <c:pt idx="9093">
                        <c:v>0</c:v>
                      </c:pt>
                      <c:pt idx="9094">
                        <c:v>0</c:v>
                      </c:pt>
                      <c:pt idx="9095">
                        <c:v>0</c:v>
                      </c:pt>
                      <c:pt idx="9096">
                        <c:v>0</c:v>
                      </c:pt>
                      <c:pt idx="9097">
                        <c:v>0</c:v>
                      </c:pt>
                      <c:pt idx="9098">
                        <c:v>0</c:v>
                      </c:pt>
                      <c:pt idx="9099">
                        <c:v>0</c:v>
                      </c:pt>
                      <c:pt idx="9100">
                        <c:v>0</c:v>
                      </c:pt>
                      <c:pt idx="9101">
                        <c:v>0</c:v>
                      </c:pt>
                      <c:pt idx="9102">
                        <c:v>0</c:v>
                      </c:pt>
                      <c:pt idx="9103">
                        <c:v>0</c:v>
                      </c:pt>
                      <c:pt idx="9104">
                        <c:v>0</c:v>
                      </c:pt>
                      <c:pt idx="9105">
                        <c:v>0</c:v>
                      </c:pt>
                      <c:pt idx="9106">
                        <c:v>0</c:v>
                      </c:pt>
                      <c:pt idx="9107">
                        <c:v>0</c:v>
                      </c:pt>
                      <c:pt idx="9108">
                        <c:v>0</c:v>
                      </c:pt>
                      <c:pt idx="9109">
                        <c:v>0</c:v>
                      </c:pt>
                      <c:pt idx="9110">
                        <c:v>0</c:v>
                      </c:pt>
                      <c:pt idx="9111">
                        <c:v>0</c:v>
                      </c:pt>
                      <c:pt idx="9112">
                        <c:v>0</c:v>
                      </c:pt>
                      <c:pt idx="9113">
                        <c:v>0</c:v>
                      </c:pt>
                      <c:pt idx="9114">
                        <c:v>0</c:v>
                      </c:pt>
                      <c:pt idx="9115">
                        <c:v>0</c:v>
                      </c:pt>
                      <c:pt idx="9116">
                        <c:v>0</c:v>
                      </c:pt>
                      <c:pt idx="9117">
                        <c:v>0</c:v>
                      </c:pt>
                      <c:pt idx="9118">
                        <c:v>0</c:v>
                      </c:pt>
                      <c:pt idx="9119">
                        <c:v>0</c:v>
                      </c:pt>
                      <c:pt idx="9120">
                        <c:v>0</c:v>
                      </c:pt>
                      <c:pt idx="9121">
                        <c:v>0</c:v>
                      </c:pt>
                      <c:pt idx="9122">
                        <c:v>0</c:v>
                      </c:pt>
                      <c:pt idx="9123">
                        <c:v>0</c:v>
                      </c:pt>
                      <c:pt idx="9124">
                        <c:v>0</c:v>
                      </c:pt>
                      <c:pt idx="9125">
                        <c:v>0</c:v>
                      </c:pt>
                      <c:pt idx="9126">
                        <c:v>0</c:v>
                      </c:pt>
                      <c:pt idx="9127">
                        <c:v>0</c:v>
                      </c:pt>
                      <c:pt idx="9128">
                        <c:v>0</c:v>
                      </c:pt>
                      <c:pt idx="9129">
                        <c:v>0</c:v>
                      </c:pt>
                      <c:pt idx="9130">
                        <c:v>0</c:v>
                      </c:pt>
                      <c:pt idx="9131">
                        <c:v>0</c:v>
                      </c:pt>
                      <c:pt idx="9132">
                        <c:v>0</c:v>
                      </c:pt>
                      <c:pt idx="9133">
                        <c:v>0</c:v>
                      </c:pt>
                      <c:pt idx="9134">
                        <c:v>0</c:v>
                      </c:pt>
                      <c:pt idx="9135">
                        <c:v>0</c:v>
                      </c:pt>
                      <c:pt idx="9136">
                        <c:v>0</c:v>
                      </c:pt>
                      <c:pt idx="9137">
                        <c:v>0</c:v>
                      </c:pt>
                      <c:pt idx="9138">
                        <c:v>0</c:v>
                      </c:pt>
                      <c:pt idx="9139">
                        <c:v>0</c:v>
                      </c:pt>
                      <c:pt idx="9140">
                        <c:v>0</c:v>
                      </c:pt>
                      <c:pt idx="9141">
                        <c:v>0</c:v>
                      </c:pt>
                      <c:pt idx="9142">
                        <c:v>0</c:v>
                      </c:pt>
                      <c:pt idx="9143">
                        <c:v>0</c:v>
                      </c:pt>
                      <c:pt idx="9144">
                        <c:v>0</c:v>
                      </c:pt>
                      <c:pt idx="9145">
                        <c:v>0</c:v>
                      </c:pt>
                      <c:pt idx="9146">
                        <c:v>0</c:v>
                      </c:pt>
                      <c:pt idx="9147">
                        <c:v>0</c:v>
                      </c:pt>
                      <c:pt idx="9148">
                        <c:v>0</c:v>
                      </c:pt>
                      <c:pt idx="9149">
                        <c:v>0</c:v>
                      </c:pt>
                      <c:pt idx="9150">
                        <c:v>0</c:v>
                      </c:pt>
                      <c:pt idx="9151">
                        <c:v>0</c:v>
                      </c:pt>
                      <c:pt idx="9152">
                        <c:v>0</c:v>
                      </c:pt>
                      <c:pt idx="9153">
                        <c:v>0</c:v>
                      </c:pt>
                      <c:pt idx="9154">
                        <c:v>0</c:v>
                      </c:pt>
                      <c:pt idx="9155">
                        <c:v>0</c:v>
                      </c:pt>
                      <c:pt idx="9156">
                        <c:v>0</c:v>
                      </c:pt>
                      <c:pt idx="9157">
                        <c:v>0</c:v>
                      </c:pt>
                      <c:pt idx="9158">
                        <c:v>0</c:v>
                      </c:pt>
                      <c:pt idx="9159">
                        <c:v>0</c:v>
                      </c:pt>
                      <c:pt idx="9160">
                        <c:v>0</c:v>
                      </c:pt>
                      <c:pt idx="9161">
                        <c:v>0</c:v>
                      </c:pt>
                      <c:pt idx="9162">
                        <c:v>0</c:v>
                      </c:pt>
                      <c:pt idx="9163">
                        <c:v>0</c:v>
                      </c:pt>
                      <c:pt idx="9164">
                        <c:v>0</c:v>
                      </c:pt>
                      <c:pt idx="9165">
                        <c:v>0</c:v>
                      </c:pt>
                      <c:pt idx="9166">
                        <c:v>0</c:v>
                      </c:pt>
                      <c:pt idx="9167">
                        <c:v>0</c:v>
                      </c:pt>
                      <c:pt idx="9168">
                        <c:v>0</c:v>
                      </c:pt>
                      <c:pt idx="9169">
                        <c:v>0</c:v>
                      </c:pt>
                      <c:pt idx="9170">
                        <c:v>0</c:v>
                      </c:pt>
                      <c:pt idx="9171">
                        <c:v>0</c:v>
                      </c:pt>
                      <c:pt idx="9172">
                        <c:v>0</c:v>
                      </c:pt>
                      <c:pt idx="9173">
                        <c:v>0</c:v>
                      </c:pt>
                      <c:pt idx="9174">
                        <c:v>0</c:v>
                      </c:pt>
                      <c:pt idx="9175">
                        <c:v>0</c:v>
                      </c:pt>
                      <c:pt idx="9176">
                        <c:v>0</c:v>
                      </c:pt>
                      <c:pt idx="9177">
                        <c:v>0</c:v>
                      </c:pt>
                      <c:pt idx="9178">
                        <c:v>0</c:v>
                      </c:pt>
                      <c:pt idx="9179">
                        <c:v>0</c:v>
                      </c:pt>
                      <c:pt idx="9180">
                        <c:v>0</c:v>
                      </c:pt>
                      <c:pt idx="9181">
                        <c:v>0</c:v>
                      </c:pt>
                      <c:pt idx="9182">
                        <c:v>0</c:v>
                      </c:pt>
                      <c:pt idx="9183">
                        <c:v>0</c:v>
                      </c:pt>
                      <c:pt idx="9184">
                        <c:v>0</c:v>
                      </c:pt>
                      <c:pt idx="9185">
                        <c:v>0</c:v>
                      </c:pt>
                      <c:pt idx="9186">
                        <c:v>0</c:v>
                      </c:pt>
                      <c:pt idx="9187">
                        <c:v>0</c:v>
                      </c:pt>
                      <c:pt idx="9188">
                        <c:v>0</c:v>
                      </c:pt>
                      <c:pt idx="9189">
                        <c:v>0</c:v>
                      </c:pt>
                      <c:pt idx="9190">
                        <c:v>0</c:v>
                      </c:pt>
                      <c:pt idx="9191">
                        <c:v>0</c:v>
                      </c:pt>
                      <c:pt idx="9192">
                        <c:v>0</c:v>
                      </c:pt>
                      <c:pt idx="9193">
                        <c:v>0</c:v>
                      </c:pt>
                      <c:pt idx="9194">
                        <c:v>0</c:v>
                      </c:pt>
                      <c:pt idx="9195">
                        <c:v>0</c:v>
                      </c:pt>
                      <c:pt idx="9196">
                        <c:v>0</c:v>
                      </c:pt>
                      <c:pt idx="9197">
                        <c:v>0</c:v>
                      </c:pt>
                      <c:pt idx="9198">
                        <c:v>0</c:v>
                      </c:pt>
                      <c:pt idx="9199">
                        <c:v>0</c:v>
                      </c:pt>
                      <c:pt idx="9200">
                        <c:v>0</c:v>
                      </c:pt>
                      <c:pt idx="9201">
                        <c:v>0</c:v>
                      </c:pt>
                      <c:pt idx="9202">
                        <c:v>0</c:v>
                      </c:pt>
                      <c:pt idx="9203">
                        <c:v>0</c:v>
                      </c:pt>
                      <c:pt idx="9204">
                        <c:v>0</c:v>
                      </c:pt>
                      <c:pt idx="9205">
                        <c:v>0</c:v>
                      </c:pt>
                      <c:pt idx="9206">
                        <c:v>0</c:v>
                      </c:pt>
                      <c:pt idx="9207">
                        <c:v>0</c:v>
                      </c:pt>
                      <c:pt idx="9208">
                        <c:v>0</c:v>
                      </c:pt>
                      <c:pt idx="9209">
                        <c:v>0</c:v>
                      </c:pt>
                      <c:pt idx="9210">
                        <c:v>0</c:v>
                      </c:pt>
                      <c:pt idx="9211">
                        <c:v>0</c:v>
                      </c:pt>
                      <c:pt idx="9212">
                        <c:v>0</c:v>
                      </c:pt>
                      <c:pt idx="9213">
                        <c:v>0</c:v>
                      </c:pt>
                      <c:pt idx="9214">
                        <c:v>0</c:v>
                      </c:pt>
                      <c:pt idx="9215">
                        <c:v>0</c:v>
                      </c:pt>
                      <c:pt idx="9216">
                        <c:v>0</c:v>
                      </c:pt>
                      <c:pt idx="9217">
                        <c:v>0</c:v>
                      </c:pt>
                      <c:pt idx="9218">
                        <c:v>0</c:v>
                      </c:pt>
                      <c:pt idx="9219">
                        <c:v>0</c:v>
                      </c:pt>
                      <c:pt idx="9220">
                        <c:v>0</c:v>
                      </c:pt>
                      <c:pt idx="9221">
                        <c:v>0</c:v>
                      </c:pt>
                      <c:pt idx="9222">
                        <c:v>0</c:v>
                      </c:pt>
                      <c:pt idx="9223">
                        <c:v>0</c:v>
                      </c:pt>
                      <c:pt idx="9224">
                        <c:v>0</c:v>
                      </c:pt>
                      <c:pt idx="9225">
                        <c:v>0</c:v>
                      </c:pt>
                      <c:pt idx="9226">
                        <c:v>0</c:v>
                      </c:pt>
                      <c:pt idx="9227">
                        <c:v>0</c:v>
                      </c:pt>
                      <c:pt idx="9228">
                        <c:v>0</c:v>
                      </c:pt>
                      <c:pt idx="9229">
                        <c:v>0</c:v>
                      </c:pt>
                      <c:pt idx="9230">
                        <c:v>0</c:v>
                      </c:pt>
                      <c:pt idx="9231">
                        <c:v>0</c:v>
                      </c:pt>
                      <c:pt idx="9232">
                        <c:v>0</c:v>
                      </c:pt>
                      <c:pt idx="9233">
                        <c:v>0</c:v>
                      </c:pt>
                      <c:pt idx="9234">
                        <c:v>0</c:v>
                      </c:pt>
                      <c:pt idx="9235">
                        <c:v>0</c:v>
                      </c:pt>
                      <c:pt idx="9236">
                        <c:v>0</c:v>
                      </c:pt>
                      <c:pt idx="9237">
                        <c:v>0</c:v>
                      </c:pt>
                      <c:pt idx="9238">
                        <c:v>0</c:v>
                      </c:pt>
                      <c:pt idx="9239">
                        <c:v>0</c:v>
                      </c:pt>
                      <c:pt idx="9240">
                        <c:v>0</c:v>
                      </c:pt>
                      <c:pt idx="9241">
                        <c:v>0</c:v>
                      </c:pt>
                      <c:pt idx="9242">
                        <c:v>0</c:v>
                      </c:pt>
                      <c:pt idx="9243">
                        <c:v>0</c:v>
                      </c:pt>
                      <c:pt idx="9244">
                        <c:v>0</c:v>
                      </c:pt>
                      <c:pt idx="9245">
                        <c:v>0</c:v>
                      </c:pt>
                      <c:pt idx="9246">
                        <c:v>0</c:v>
                      </c:pt>
                      <c:pt idx="9247">
                        <c:v>0</c:v>
                      </c:pt>
                      <c:pt idx="9248">
                        <c:v>0</c:v>
                      </c:pt>
                      <c:pt idx="9249">
                        <c:v>0</c:v>
                      </c:pt>
                      <c:pt idx="9250">
                        <c:v>0</c:v>
                      </c:pt>
                      <c:pt idx="9251">
                        <c:v>0</c:v>
                      </c:pt>
                      <c:pt idx="9252">
                        <c:v>0</c:v>
                      </c:pt>
                      <c:pt idx="9253">
                        <c:v>0</c:v>
                      </c:pt>
                      <c:pt idx="9254">
                        <c:v>0</c:v>
                      </c:pt>
                      <c:pt idx="9255">
                        <c:v>0</c:v>
                      </c:pt>
                      <c:pt idx="9256">
                        <c:v>0</c:v>
                      </c:pt>
                      <c:pt idx="9257">
                        <c:v>0</c:v>
                      </c:pt>
                      <c:pt idx="9258">
                        <c:v>0</c:v>
                      </c:pt>
                      <c:pt idx="9259">
                        <c:v>0</c:v>
                      </c:pt>
                      <c:pt idx="9260">
                        <c:v>0</c:v>
                      </c:pt>
                      <c:pt idx="9261">
                        <c:v>0</c:v>
                      </c:pt>
                      <c:pt idx="9262">
                        <c:v>0</c:v>
                      </c:pt>
                      <c:pt idx="9263">
                        <c:v>0</c:v>
                      </c:pt>
                      <c:pt idx="9264">
                        <c:v>0</c:v>
                      </c:pt>
                      <c:pt idx="9265">
                        <c:v>0</c:v>
                      </c:pt>
                      <c:pt idx="9266">
                        <c:v>0</c:v>
                      </c:pt>
                      <c:pt idx="9267">
                        <c:v>0</c:v>
                      </c:pt>
                      <c:pt idx="9268">
                        <c:v>0</c:v>
                      </c:pt>
                      <c:pt idx="9269">
                        <c:v>0</c:v>
                      </c:pt>
                      <c:pt idx="9270">
                        <c:v>0</c:v>
                      </c:pt>
                      <c:pt idx="9271">
                        <c:v>0</c:v>
                      </c:pt>
                      <c:pt idx="9272">
                        <c:v>0</c:v>
                      </c:pt>
                      <c:pt idx="9273">
                        <c:v>0</c:v>
                      </c:pt>
                      <c:pt idx="9274">
                        <c:v>0</c:v>
                      </c:pt>
                      <c:pt idx="9275">
                        <c:v>0</c:v>
                      </c:pt>
                      <c:pt idx="9276">
                        <c:v>0</c:v>
                      </c:pt>
                      <c:pt idx="9277">
                        <c:v>0</c:v>
                      </c:pt>
                      <c:pt idx="9278">
                        <c:v>0</c:v>
                      </c:pt>
                      <c:pt idx="9279">
                        <c:v>0</c:v>
                      </c:pt>
                      <c:pt idx="9280">
                        <c:v>0</c:v>
                      </c:pt>
                      <c:pt idx="9281">
                        <c:v>0</c:v>
                      </c:pt>
                      <c:pt idx="9282">
                        <c:v>0</c:v>
                      </c:pt>
                      <c:pt idx="9283">
                        <c:v>0</c:v>
                      </c:pt>
                      <c:pt idx="9284">
                        <c:v>0</c:v>
                      </c:pt>
                      <c:pt idx="9285">
                        <c:v>0</c:v>
                      </c:pt>
                      <c:pt idx="9286">
                        <c:v>0</c:v>
                      </c:pt>
                      <c:pt idx="9287">
                        <c:v>0</c:v>
                      </c:pt>
                      <c:pt idx="9288">
                        <c:v>0</c:v>
                      </c:pt>
                      <c:pt idx="9289">
                        <c:v>0</c:v>
                      </c:pt>
                      <c:pt idx="9290">
                        <c:v>0</c:v>
                      </c:pt>
                      <c:pt idx="9291">
                        <c:v>0</c:v>
                      </c:pt>
                      <c:pt idx="9292">
                        <c:v>0</c:v>
                      </c:pt>
                      <c:pt idx="9293">
                        <c:v>0</c:v>
                      </c:pt>
                      <c:pt idx="9294">
                        <c:v>0</c:v>
                      </c:pt>
                      <c:pt idx="9295">
                        <c:v>0</c:v>
                      </c:pt>
                      <c:pt idx="9296">
                        <c:v>0</c:v>
                      </c:pt>
                      <c:pt idx="9297">
                        <c:v>0</c:v>
                      </c:pt>
                      <c:pt idx="9298">
                        <c:v>0</c:v>
                      </c:pt>
                      <c:pt idx="9299">
                        <c:v>0</c:v>
                      </c:pt>
                      <c:pt idx="9300">
                        <c:v>0</c:v>
                      </c:pt>
                      <c:pt idx="9301">
                        <c:v>0</c:v>
                      </c:pt>
                      <c:pt idx="9302">
                        <c:v>0</c:v>
                      </c:pt>
                      <c:pt idx="9303">
                        <c:v>0</c:v>
                      </c:pt>
                      <c:pt idx="9304">
                        <c:v>0</c:v>
                      </c:pt>
                      <c:pt idx="9305">
                        <c:v>0</c:v>
                      </c:pt>
                      <c:pt idx="9306">
                        <c:v>0</c:v>
                      </c:pt>
                      <c:pt idx="9307">
                        <c:v>0</c:v>
                      </c:pt>
                      <c:pt idx="9308">
                        <c:v>0</c:v>
                      </c:pt>
                      <c:pt idx="9309">
                        <c:v>0</c:v>
                      </c:pt>
                      <c:pt idx="9310">
                        <c:v>0</c:v>
                      </c:pt>
                      <c:pt idx="9311">
                        <c:v>0</c:v>
                      </c:pt>
                      <c:pt idx="9312">
                        <c:v>0</c:v>
                      </c:pt>
                      <c:pt idx="9313">
                        <c:v>0</c:v>
                      </c:pt>
                      <c:pt idx="9314">
                        <c:v>0</c:v>
                      </c:pt>
                      <c:pt idx="9315">
                        <c:v>0</c:v>
                      </c:pt>
                      <c:pt idx="9316">
                        <c:v>0</c:v>
                      </c:pt>
                      <c:pt idx="9317">
                        <c:v>0</c:v>
                      </c:pt>
                      <c:pt idx="9318">
                        <c:v>0</c:v>
                      </c:pt>
                      <c:pt idx="9319">
                        <c:v>0</c:v>
                      </c:pt>
                      <c:pt idx="9320">
                        <c:v>0</c:v>
                      </c:pt>
                      <c:pt idx="9321">
                        <c:v>0</c:v>
                      </c:pt>
                      <c:pt idx="9322">
                        <c:v>0</c:v>
                      </c:pt>
                      <c:pt idx="9323">
                        <c:v>0</c:v>
                      </c:pt>
                      <c:pt idx="9324">
                        <c:v>0</c:v>
                      </c:pt>
                      <c:pt idx="9325">
                        <c:v>0</c:v>
                      </c:pt>
                      <c:pt idx="9326">
                        <c:v>0</c:v>
                      </c:pt>
                      <c:pt idx="9327">
                        <c:v>0</c:v>
                      </c:pt>
                      <c:pt idx="9328">
                        <c:v>0</c:v>
                      </c:pt>
                      <c:pt idx="9329">
                        <c:v>0</c:v>
                      </c:pt>
                      <c:pt idx="9330">
                        <c:v>0</c:v>
                      </c:pt>
                      <c:pt idx="9331">
                        <c:v>0</c:v>
                      </c:pt>
                      <c:pt idx="9332">
                        <c:v>0</c:v>
                      </c:pt>
                      <c:pt idx="9333">
                        <c:v>0</c:v>
                      </c:pt>
                      <c:pt idx="9334">
                        <c:v>0</c:v>
                      </c:pt>
                      <c:pt idx="9335">
                        <c:v>0</c:v>
                      </c:pt>
                      <c:pt idx="9336">
                        <c:v>0</c:v>
                      </c:pt>
                      <c:pt idx="9337">
                        <c:v>0</c:v>
                      </c:pt>
                      <c:pt idx="9338">
                        <c:v>0</c:v>
                      </c:pt>
                      <c:pt idx="9339">
                        <c:v>0</c:v>
                      </c:pt>
                      <c:pt idx="9340">
                        <c:v>0</c:v>
                      </c:pt>
                      <c:pt idx="9341">
                        <c:v>0</c:v>
                      </c:pt>
                      <c:pt idx="9342">
                        <c:v>0</c:v>
                      </c:pt>
                      <c:pt idx="9343">
                        <c:v>0</c:v>
                      </c:pt>
                      <c:pt idx="9344">
                        <c:v>0</c:v>
                      </c:pt>
                      <c:pt idx="9345">
                        <c:v>0</c:v>
                      </c:pt>
                      <c:pt idx="9346">
                        <c:v>0</c:v>
                      </c:pt>
                      <c:pt idx="9347">
                        <c:v>0</c:v>
                      </c:pt>
                      <c:pt idx="9348">
                        <c:v>0</c:v>
                      </c:pt>
                      <c:pt idx="9349">
                        <c:v>0</c:v>
                      </c:pt>
                      <c:pt idx="9350">
                        <c:v>0</c:v>
                      </c:pt>
                      <c:pt idx="9351">
                        <c:v>0</c:v>
                      </c:pt>
                      <c:pt idx="9352">
                        <c:v>0</c:v>
                      </c:pt>
                      <c:pt idx="9353">
                        <c:v>0</c:v>
                      </c:pt>
                      <c:pt idx="9354">
                        <c:v>0</c:v>
                      </c:pt>
                      <c:pt idx="9355">
                        <c:v>0</c:v>
                      </c:pt>
                      <c:pt idx="9356">
                        <c:v>0</c:v>
                      </c:pt>
                      <c:pt idx="9357">
                        <c:v>0</c:v>
                      </c:pt>
                      <c:pt idx="9358">
                        <c:v>0</c:v>
                      </c:pt>
                      <c:pt idx="9359">
                        <c:v>0</c:v>
                      </c:pt>
                      <c:pt idx="9360">
                        <c:v>0</c:v>
                      </c:pt>
                      <c:pt idx="9361">
                        <c:v>0</c:v>
                      </c:pt>
                      <c:pt idx="9362">
                        <c:v>0</c:v>
                      </c:pt>
                      <c:pt idx="9363">
                        <c:v>0</c:v>
                      </c:pt>
                      <c:pt idx="9364">
                        <c:v>0</c:v>
                      </c:pt>
                      <c:pt idx="9365">
                        <c:v>0</c:v>
                      </c:pt>
                      <c:pt idx="9366">
                        <c:v>0</c:v>
                      </c:pt>
                      <c:pt idx="9367">
                        <c:v>0</c:v>
                      </c:pt>
                      <c:pt idx="9368">
                        <c:v>0</c:v>
                      </c:pt>
                      <c:pt idx="9369">
                        <c:v>0</c:v>
                      </c:pt>
                      <c:pt idx="9370">
                        <c:v>0</c:v>
                      </c:pt>
                      <c:pt idx="9371">
                        <c:v>0</c:v>
                      </c:pt>
                      <c:pt idx="9372">
                        <c:v>0</c:v>
                      </c:pt>
                      <c:pt idx="9373">
                        <c:v>0</c:v>
                      </c:pt>
                      <c:pt idx="9374">
                        <c:v>0</c:v>
                      </c:pt>
                      <c:pt idx="9375">
                        <c:v>0</c:v>
                      </c:pt>
                      <c:pt idx="9376">
                        <c:v>0</c:v>
                      </c:pt>
                      <c:pt idx="9377">
                        <c:v>0</c:v>
                      </c:pt>
                      <c:pt idx="9378">
                        <c:v>0</c:v>
                      </c:pt>
                      <c:pt idx="9379">
                        <c:v>0</c:v>
                      </c:pt>
                      <c:pt idx="9380">
                        <c:v>0</c:v>
                      </c:pt>
                      <c:pt idx="9381">
                        <c:v>0</c:v>
                      </c:pt>
                      <c:pt idx="9382">
                        <c:v>0</c:v>
                      </c:pt>
                      <c:pt idx="9383">
                        <c:v>0</c:v>
                      </c:pt>
                      <c:pt idx="9384">
                        <c:v>0</c:v>
                      </c:pt>
                      <c:pt idx="9385">
                        <c:v>0</c:v>
                      </c:pt>
                      <c:pt idx="9386">
                        <c:v>0</c:v>
                      </c:pt>
                      <c:pt idx="9387">
                        <c:v>0</c:v>
                      </c:pt>
                      <c:pt idx="9388">
                        <c:v>0</c:v>
                      </c:pt>
                      <c:pt idx="9389">
                        <c:v>0</c:v>
                      </c:pt>
                      <c:pt idx="9390">
                        <c:v>0</c:v>
                      </c:pt>
                      <c:pt idx="9391">
                        <c:v>0</c:v>
                      </c:pt>
                      <c:pt idx="9392">
                        <c:v>0</c:v>
                      </c:pt>
                      <c:pt idx="9393">
                        <c:v>0</c:v>
                      </c:pt>
                      <c:pt idx="9394">
                        <c:v>0</c:v>
                      </c:pt>
                      <c:pt idx="9395">
                        <c:v>0</c:v>
                      </c:pt>
                      <c:pt idx="9396">
                        <c:v>0</c:v>
                      </c:pt>
                      <c:pt idx="9397">
                        <c:v>0</c:v>
                      </c:pt>
                      <c:pt idx="9398">
                        <c:v>0</c:v>
                      </c:pt>
                      <c:pt idx="9399">
                        <c:v>0</c:v>
                      </c:pt>
                      <c:pt idx="9400">
                        <c:v>0</c:v>
                      </c:pt>
                      <c:pt idx="9401">
                        <c:v>0</c:v>
                      </c:pt>
                      <c:pt idx="9402">
                        <c:v>0</c:v>
                      </c:pt>
                      <c:pt idx="9403">
                        <c:v>0</c:v>
                      </c:pt>
                      <c:pt idx="9404">
                        <c:v>0</c:v>
                      </c:pt>
                      <c:pt idx="9405">
                        <c:v>0</c:v>
                      </c:pt>
                      <c:pt idx="9406">
                        <c:v>0</c:v>
                      </c:pt>
                      <c:pt idx="9407">
                        <c:v>0</c:v>
                      </c:pt>
                      <c:pt idx="9408">
                        <c:v>0</c:v>
                      </c:pt>
                      <c:pt idx="9409">
                        <c:v>0</c:v>
                      </c:pt>
                      <c:pt idx="9410">
                        <c:v>0</c:v>
                      </c:pt>
                      <c:pt idx="9411">
                        <c:v>0</c:v>
                      </c:pt>
                      <c:pt idx="9412">
                        <c:v>0</c:v>
                      </c:pt>
                      <c:pt idx="9413">
                        <c:v>0</c:v>
                      </c:pt>
                      <c:pt idx="9414">
                        <c:v>0</c:v>
                      </c:pt>
                      <c:pt idx="9415">
                        <c:v>0</c:v>
                      </c:pt>
                      <c:pt idx="9416">
                        <c:v>0</c:v>
                      </c:pt>
                      <c:pt idx="9417">
                        <c:v>0</c:v>
                      </c:pt>
                      <c:pt idx="9418">
                        <c:v>0</c:v>
                      </c:pt>
                      <c:pt idx="9419">
                        <c:v>0</c:v>
                      </c:pt>
                      <c:pt idx="9420">
                        <c:v>0</c:v>
                      </c:pt>
                      <c:pt idx="9421">
                        <c:v>0</c:v>
                      </c:pt>
                      <c:pt idx="9422">
                        <c:v>0</c:v>
                      </c:pt>
                      <c:pt idx="9423">
                        <c:v>0</c:v>
                      </c:pt>
                      <c:pt idx="9424">
                        <c:v>0</c:v>
                      </c:pt>
                      <c:pt idx="9425">
                        <c:v>0</c:v>
                      </c:pt>
                      <c:pt idx="9426">
                        <c:v>0</c:v>
                      </c:pt>
                      <c:pt idx="9427">
                        <c:v>0</c:v>
                      </c:pt>
                      <c:pt idx="9428">
                        <c:v>0</c:v>
                      </c:pt>
                      <c:pt idx="9429">
                        <c:v>0</c:v>
                      </c:pt>
                      <c:pt idx="9430">
                        <c:v>0</c:v>
                      </c:pt>
                      <c:pt idx="9431">
                        <c:v>0</c:v>
                      </c:pt>
                      <c:pt idx="9432">
                        <c:v>0</c:v>
                      </c:pt>
                      <c:pt idx="9433">
                        <c:v>0</c:v>
                      </c:pt>
                      <c:pt idx="9434">
                        <c:v>0</c:v>
                      </c:pt>
                      <c:pt idx="9435">
                        <c:v>0</c:v>
                      </c:pt>
                      <c:pt idx="9436">
                        <c:v>0</c:v>
                      </c:pt>
                      <c:pt idx="9437">
                        <c:v>0</c:v>
                      </c:pt>
                      <c:pt idx="9438">
                        <c:v>0</c:v>
                      </c:pt>
                      <c:pt idx="9439">
                        <c:v>0</c:v>
                      </c:pt>
                      <c:pt idx="9440">
                        <c:v>0</c:v>
                      </c:pt>
                      <c:pt idx="9441">
                        <c:v>0</c:v>
                      </c:pt>
                      <c:pt idx="9442">
                        <c:v>0</c:v>
                      </c:pt>
                      <c:pt idx="9443">
                        <c:v>0</c:v>
                      </c:pt>
                      <c:pt idx="9444">
                        <c:v>0</c:v>
                      </c:pt>
                      <c:pt idx="9445">
                        <c:v>0</c:v>
                      </c:pt>
                      <c:pt idx="9446">
                        <c:v>0</c:v>
                      </c:pt>
                      <c:pt idx="9447">
                        <c:v>0</c:v>
                      </c:pt>
                      <c:pt idx="9448">
                        <c:v>0</c:v>
                      </c:pt>
                      <c:pt idx="9449">
                        <c:v>0</c:v>
                      </c:pt>
                      <c:pt idx="9450">
                        <c:v>0</c:v>
                      </c:pt>
                      <c:pt idx="9451">
                        <c:v>0</c:v>
                      </c:pt>
                      <c:pt idx="9452">
                        <c:v>0</c:v>
                      </c:pt>
                      <c:pt idx="9453">
                        <c:v>0</c:v>
                      </c:pt>
                      <c:pt idx="9454">
                        <c:v>0</c:v>
                      </c:pt>
                      <c:pt idx="9455">
                        <c:v>0</c:v>
                      </c:pt>
                      <c:pt idx="9456">
                        <c:v>0</c:v>
                      </c:pt>
                      <c:pt idx="9457">
                        <c:v>0</c:v>
                      </c:pt>
                      <c:pt idx="9458">
                        <c:v>0</c:v>
                      </c:pt>
                      <c:pt idx="9459">
                        <c:v>0</c:v>
                      </c:pt>
                      <c:pt idx="9460">
                        <c:v>0</c:v>
                      </c:pt>
                      <c:pt idx="9461">
                        <c:v>0</c:v>
                      </c:pt>
                      <c:pt idx="9462">
                        <c:v>0</c:v>
                      </c:pt>
                      <c:pt idx="9463">
                        <c:v>0</c:v>
                      </c:pt>
                      <c:pt idx="9464">
                        <c:v>0</c:v>
                      </c:pt>
                      <c:pt idx="9465">
                        <c:v>0</c:v>
                      </c:pt>
                      <c:pt idx="9466">
                        <c:v>0</c:v>
                      </c:pt>
                      <c:pt idx="9467">
                        <c:v>0</c:v>
                      </c:pt>
                      <c:pt idx="9468">
                        <c:v>0</c:v>
                      </c:pt>
                      <c:pt idx="9469">
                        <c:v>0</c:v>
                      </c:pt>
                      <c:pt idx="9470">
                        <c:v>0</c:v>
                      </c:pt>
                      <c:pt idx="9471">
                        <c:v>0</c:v>
                      </c:pt>
                      <c:pt idx="9472">
                        <c:v>0</c:v>
                      </c:pt>
                      <c:pt idx="9473">
                        <c:v>0</c:v>
                      </c:pt>
                      <c:pt idx="9474">
                        <c:v>0</c:v>
                      </c:pt>
                      <c:pt idx="9475">
                        <c:v>0</c:v>
                      </c:pt>
                      <c:pt idx="9476">
                        <c:v>0</c:v>
                      </c:pt>
                      <c:pt idx="9477">
                        <c:v>0</c:v>
                      </c:pt>
                      <c:pt idx="9478">
                        <c:v>0</c:v>
                      </c:pt>
                      <c:pt idx="9479">
                        <c:v>0</c:v>
                      </c:pt>
                      <c:pt idx="9480">
                        <c:v>0</c:v>
                      </c:pt>
                      <c:pt idx="9481">
                        <c:v>0</c:v>
                      </c:pt>
                      <c:pt idx="9482">
                        <c:v>0</c:v>
                      </c:pt>
                      <c:pt idx="9483">
                        <c:v>0</c:v>
                      </c:pt>
                      <c:pt idx="9484">
                        <c:v>0</c:v>
                      </c:pt>
                      <c:pt idx="9485">
                        <c:v>0</c:v>
                      </c:pt>
                      <c:pt idx="9486">
                        <c:v>0</c:v>
                      </c:pt>
                      <c:pt idx="9487">
                        <c:v>0</c:v>
                      </c:pt>
                      <c:pt idx="9488">
                        <c:v>0</c:v>
                      </c:pt>
                      <c:pt idx="9489">
                        <c:v>0</c:v>
                      </c:pt>
                      <c:pt idx="9490">
                        <c:v>0</c:v>
                      </c:pt>
                      <c:pt idx="9491">
                        <c:v>0</c:v>
                      </c:pt>
                      <c:pt idx="9492">
                        <c:v>0</c:v>
                      </c:pt>
                      <c:pt idx="9493">
                        <c:v>0</c:v>
                      </c:pt>
                      <c:pt idx="9494">
                        <c:v>0</c:v>
                      </c:pt>
                      <c:pt idx="9495">
                        <c:v>0</c:v>
                      </c:pt>
                      <c:pt idx="9496">
                        <c:v>0</c:v>
                      </c:pt>
                      <c:pt idx="9497">
                        <c:v>0</c:v>
                      </c:pt>
                      <c:pt idx="9498">
                        <c:v>0</c:v>
                      </c:pt>
                      <c:pt idx="9499">
                        <c:v>0</c:v>
                      </c:pt>
                      <c:pt idx="9500">
                        <c:v>0</c:v>
                      </c:pt>
                      <c:pt idx="9501">
                        <c:v>0</c:v>
                      </c:pt>
                      <c:pt idx="9502">
                        <c:v>0</c:v>
                      </c:pt>
                      <c:pt idx="9503">
                        <c:v>0</c:v>
                      </c:pt>
                      <c:pt idx="9504">
                        <c:v>0</c:v>
                      </c:pt>
                      <c:pt idx="9505">
                        <c:v>0</c:v>
                      </c:pt>
                      <c:pt idx="9506">
                        <c:v>0</c:v>
                      </c:pt>
                      <c:pt idx="9507">
                        <c:v>0</c:v>
                      </c:pt>
                      <c:pt idx="9508">
                        <c:v>0</c:v>
                      </c:pt>
                      <c:pt idx="9509">
                        <c:v>0</c:v>
                      </c:pt>
                      <c:pt idx="9510">
                        <c:v>0</c:v>
                      </c:pt>
                      <c:pt idx="9511">
                        <c:v>0</c:v>
                      </c:pt>
                      <c:pt idx="9512">
                        <c:v>0</c:v>
                      </c:pt>
                      <c:pt idx="9513">
                        <c:v>0</c:v>
                      </c:pt>
                      <c:pt idx="9514">
                        <c:v>0</c:v>
                      </c:pt>
                      <c:pt idx="9515">
                        <c:v>0</c:v>
                      </c:pt>
                      <c:pt idx="9516">
                        <c:v>0</c:v>
                      </c:pt>
                      <c:pt idx="9517">
                        <c:v>0</c:v>
                      </c:pt>
                      <c:pt idx="9518">
                        <c:v>0</c:v>
                      </c:pt>
                      <c:pt idx="9519">
                        <c:v>0</c:v>
                      </c:pt>
                      <c:pt idx="9520">
                        <c:v>0</c:v>
                      </c:pt>
                      <c:pt idx="9521">
                        <c:v>0</c:v>
                      </c:pt>
                      <c:pt idx="9522">
                        <c:v>0</c:v>
                      </c:pt>
                      <c:pt idx="9523">
                        <c:v>0</c:v>
                      </c:pt>
                      <c:pt idx="9524">
                        <c:v>0</c:v>
                      </c:pt>
                      <c:pt idx="9525">
                        <c:v>0</c:v>
                      </c:pt>
                      <c:pt idx="9526">
                        <c:v>0</c:v>
                      </c:pt>
                      <c:pt idx="9527">
                        <c:v>0</c:v>
                      </c:pt>
                      <c:pt idx="9528">
                        <c:v>0</c:v>
                      </c:pt>
                      <c:pt idx="9529">
                        <c:v>0</c:v>
                      </c:pt>
                      <c:pt idx="9530">
                        <c:v>0</c:v>
                      </c:pt>
                      <c:pt idx="9531">
                        <c:v>0</c:v>
                      </c:pt>
                      <c:pt idx="9532">
                        <c:v>0</c:v>
                      </c:pt>
                      <c:pt idx="9533">
                        <c:v>0</c:v>
                      </c:pt>
                      <c:pt idx="9534">
                        <c:v>0</c:v>
                      </c:pt>
                      <c:pt idx="9535">
                        <c:v>0</c:v>
                      </c:pt>
                      <c:pt idx="9536">
                        <c:v>0</c:v>
                      </c:pt>
                      <c:pt idx="9537">
                        <c:v>0</c:v>
                      </c:pt>
                      <c:pt idx="9538">
                        <c:v>0</c:v>
                      </c:pt>
                      <c:pt idx="9539">
                        <c:v>0</c:v>
                      </c:pt>
                      <c:pt idx="9540">
                        <c:v>0</c:v>
                      </c:pt>
                      <c:pt idx="9541">
                        <c:v>0</c:v>
                      </c:pt>
                      <c:pt idx="9542">
                        <c:v>0</c:v>
                      </c:pt>
                      <c:pt idx="9543">
                        <c:v>0</c:v>
                      </c:pt>
                      <c:pt idx="9544">
                        <c:v>0</c:v>
                      </c:pt>
                      <c:pt idx="9545">
                        <c:v>0</c:v>
                      </c:pt>
                      <c:pt idx="9546">
                        <c:v>0</c:v>
                      </c:pt>
                      <c:pt idx="9547">
                        <c:v>0</c:v>
                      </c:pt>
                      <c:pt idx="9548">
                        <c:v>0</c:v>
                      </c:pt>
                      <c:pt idx="9549">
                        <c:v>0</c:v>
                      </c:pt>
                      <c:pt idx="9550">
                        <c:v>0</c:v>
                      </c:pt>
                      <c:pt idx="9551">
                        <c:v>0</c:v>
                      </c:pt>
                      <c:pt idx="9552">
                        <c:v>0</c:v>
                      </c:pt>
                      <c:pt idx="9553">
                        <c:v>0</c:v>
                      </c:pt>
                      <c:pt idx="9554">
                        <c:v>0</c:v>
                      </c:pt>
                      <c:pt idx="9555">
                        <c:v>0</c:v>
                      </c:pt>
                      <c:pt idx="9556">
                        <c:v>0</c:v>
                      </c:pt>
                      <c:pt idx="9557">
                        <c:v>0</c:v>
                      </c:pt>
                      <c:pt idx="9558">
                        <c:v>0</c:v>
                      </c:pt>
                      <c:pt idx="9559">
                        <c:v>0</c:v>
                      </c:pt>
                      <c:pt idx="9560">
                        <c:v>0</c:v>
                      </c:pt>
                      <c:pt idx="9561">
                        <c:v>0</c:v>
                      </c:pt>
                      <c:pt idx="9562">
                        <c:v>0</c:v>
                      </c:pt>
                      <c:pt idx="9563">
                        <c:v>0</c:v>
                      </c:pt>
                      <c:pt idx="9564">
                        <c:v>0</c:v>
                      </c:pt>
                      <c:pt idx="9565">
                        <c:v>0</c:v>
                      </c:pt>
                      <c:pt idx="9566">
                        <c:v>0</c:v>
                      </c:pt>
                      <c:pt idx="9567">
                        <c:v>0</c:v>
                      </c:pt>
                      <c:pt idx="9568">
                        <c:v>0</c:v>
                      </c:pt>
                      <c:pt idx="9569">
                        <c:v>0</c:v>
                      </c:pt>
                      <c:pt idx="9570">
                        <c:v>0</c:v>
                      </c:pt>
                      <c:pt idx="9571">
                        <c:v>0</c:v>
                      </c:pt>
                      <c:pt idx="9572">
                        <c:v>0</c:v>
                      </c:pt>
                      <c:pt idx="9573">
                        <c:v>0</c:v>
                      </c:pt>
                      <c:pt idx="9574">
                        <c:v>0</c:v>
                      </c:pt>
                      <c:pt idx="9575">
                        <c:v>0</c:v>
                      </c:pt>
                      <c:pt idx="9576">
                        <c:v>0</c:v>
                      </c:pt>
                      <c:pt idx="9577">
                        <c:v>0</c:v>
                      </c:pt>
                      <c:pt idx="9578">
                        <c:v>0</c:v>
                      </c:pt>
                      <c:pt idx="9579">
                        <c:v>0</c:v>
                      </c:pt>
                      <c:pt idx="9580">
                        <c:v>0</c:v>
                      </c:pt>
                      <c:pt idx="9581">
                        <c:v>0</c:v>
                      </c:pt>
                      <c:pt idx="9582">
                        <c:v>0</c:v>
                      </c:pt>
                      <c:pt idx="9583">
                        <c:v>0</c:v>
                      </c:pt>
                      <c:pt idx="9584">
                        <c:v>0</c:v>
                      </c:pt>
                      <c:pt idx="9585">
                        <c:v>0</c:v>
                      </c:pt>
                      <c:pt idx="9586">
                        <c:v>0</c:v>
                      </c:pt>
                      <c:pt idx="9587">
                        <c:v>0</c:v>
                      </c:pt>
                      <c:pt idx="9588">
                        <c:v>0</c:v>
                      </c:pt>
                      <c:pt idx="9589">
                        <c:v>0</c:v>
                      </c:pt>
                      <c:pt idx="9590">
                        <c:v>0</c:v>
                      </c:pt>
                      <c:pt idx="9591">
                        <c:v>0</c:v>
                      </c:pt>
                      <c:pt idx="9592">
                        <c:v>0</c:v>
                      </c:pt>
                      <c:pt idx="9593">
                        <c:v>0</c:v>
                      </c:pt>
                      <c:pt idx="9594">
                        <c:v>0</c:v>
                      </c:pt>
                      <c:pt idx="9595">
                        <c:v>0</c:v>
                      </c:pt>
                      <c:pt idx="9596">
                        <c:v>0</c:v>
                      </c:pt>
                      <c:pt idx="9597">
                        <c:v>0</c:v>
                      </c:pt>
                      <c:pt idx="9598">
                        <c:v>0</c:v>
                      </c:pt>
                      <c:pt idx="9599">
                        <c:v>0</c:v>
                      </c:pt>
                      <c:pt idx="9600">
                        <c:v>0</c:v>
                      </c:pt>
                      <c:pt idx="9601">
                        <c:v>0</c:v>
                      </c:pt>
                      <c:pt idx="9602">
                        <c:v>0</c:v>
                      </c:pt>
                      <c:pt idx="9603">
                        <c:v>0</c:v>
                      </c:pt>
                      <c:pt idx="9604">
                        <c:v>0</c:v>
                      </c:pt>
                      <c:pt idx="9605">
                        <c:v>0</c:v>
                      </c:pt>
                      <c:pt idx="9606">
                        <c:v>0</c:v>
                      </c:pt>
                      <c:pt idx="9607">
                        <c:v>0</c:v>
                      </c:pt>
                      <c:pt idx="9608">
                        <c:v>0</c:v>
                      </c:pt>
                      <c:pt idx="9609">
                        <c:v>0</c:v>
                      </c:pt>
                      <c:pt idx="9610">
                        <c:v>0</c:v>
                      </c:pt>
                      <c:pt idx="9611">
                        <c:v>0</c:v>
                      </c:pt>
                      <c:pt idx="9612">
                        <c:v>0</c:v>
                      </c:pt>
                      <c:pt idx="9613">
                        <c:v>0</c:v>
                      </c:pt>
                      <c:pt idx="9614">
                        <c:v>0</c:v>
                      </c:pt>
                      <c:pt idx="9615">
                        <c:v>0</c:v>
                      </c:pt>
                      <c:pt idx="9616">
                        <c:v>0</c:v>
                      </c:pt>
                      <c:pt idx="9617">
                        <c:v>0</c:v>
                      </c:pt>
                      <c:pt idx="9618">
                        <c:v>0</c:v>
                      </c:pt>
                      <c:pt idx="9619">
                        <c:v>0</c:v>
                      </c:pt>
                      <c:pt idx="9620">
                        <c:v>0</c:v>
                      </c:pt>
                      <c:pt idx="9621">
                        <c:v>0</c:v>
                      </c:pt>
                      <c:pt idx="9622">
                        <c:v>0</c:v>
                      </c:pt>
                      <c:pt idx="9623">
                        <c:v>0</c:v>
                      </c:pt>
                      <c:pt idx="9624">
                        <c:v>0</c:v>
                      </c:pt>
                      <c:pt idx="9625">
                        <c:v>0</c:v>
                      </c:pt>
                      <c:pt idx="9626">
                        <c:v>0</c:v>
                      </c:pt>
                      <c:pt idx="9627">
                        <c:v>0</c:v>
                      </c:pt>
                      <c:pt idx="9628">
                        <c:v>0</c:v>
                      </c:pt>
                      <c:pt idx="9629">
                        <c:v>0</c:v>
                      </c:pt>
                      <c:pt idx="9630">
                        <c:v>0</c:v>
                      </c:pt>
                      <c:pt idx="9631">
                        <c:v>0</c:v>
                      </c:pt>
                      <c:pt idx="9632">
                        <c:v>0</c:v>
                      </c:pt>
                      <c:pt idx="9633">
                        <c:v>0</c:v>
                      </c:pt>
                      <c:pt idx="9634">
                        <c:v>0</c:v>
                      </c:pt>
                      <c:pt idx="9635">
                        <c:v>0</c:v>
                      </c:pt>
                      <c:pt idx="9636">
                        <c:v>0</c:v>
                      </c:pt>
                      <c:pt idx="9637">
                        <c:v>0</c:v>
                      </c:pt>
                      <c:pt idx="9638">
                        <c:v>0</c:v>
                      </c:pt>
                      <c:pt idx="9639">
                        <c:v>0</c:v>
                      </c:pt>
                      <c:pt idx="9640">
                        <c:v>0</c:v>
                      </c:pt>
                      <c:pt idx="9641">
                        <c:v>0</c:v>
                      </c:pt>
                      <c:pt idx="9642">
                        <c:v>0</c:v>
                      </c:pt>
                      <c:pt idx="9643">
                        <c:v>0</c:v>
                      </c:pt>
                      <c:pt idx="9644">
                        <c:v>0</c:v>
                      </c:pt>
                      <c:pt idx="9645">
                        <c:v>0</c:v>
                      </c:pt>
                      <c:pt idx="9646">
                        <c:v>0</c:v>
                      </c:pt>
                      <c:pt idx="9647">
                        <c:v>0</c:v>
                      </c:pt>
                      <c:pt idx="9648">
                        <c:v>0</c:v>
                      </c:pt>
                      <c:pt idx="9649">
                        <c:v>0</c:v>
                      </c:pt>
                      <c:pt idx="9650">
                        <c:v>0</c:v>
                      </c:pt>
                      <c:pt idx="9651">
                        <c:v>0</c:v>
                      </c:pt>
                      <c:pt idx="9652">
                        <c:v>0</c:v>
                      </c:pt>
                      <c:pt idx="9653">
                        <c:v>0</c:v>
                      </c:pt>
                      <c:pt idx="9654">
                        <c:v>0</c:v>
                      </c:pt>
                      <c:pt idx="9655">
                        <c:v>0</c:v>
                      </c:pt>
                      <c:pt idx="9656">
                        <c:v>0</c:v>
                      </c:pt>
                      <c:pt idx="9657">
                        <c:v>0</c:v>
                      </c:pt>
                      <c:pt idx="9658">
                        <c:v>0</c:v>
                      </c:pt>
                      <c:pt idx="9659">
                        <c:v>0</c:v>
                      </c:pt>
                      <c:pt idx="9660">
                        <c:v>0</c:v>
                      </c:pt>
                      <c:pt idx="9661">
                        <c:v>0</c:v>
                      </c:pt>
                      <c:pt idx="9662">
                        <c:v>0</c:v>
                      </c:pt>
                      <c:pt idx="9663">
                        <c:v>0</c:v>
                      </c:pt>
                      <c:pt idx="9664">
                        <c:v>0</c:v>
                      </c:pt>
                      <c:pt idx="9665">
                        <c:v>0</c:v>
                      </c:pt>
                      <c:pt idx="9666">
                        <c:v>0</c:v>
                      </c:pt>
                      <c:pt idx="9667">
                        <c:v>0</c:v>
                      </c:pt>
                      <c:pt idx="9668">
                        <c:v>0</c:v>
                      </c:pt>
                      <c:pt idx="9669">
                        <c:v>0</c:v>
                      </c:pt>
                      <c:pt idx="9670">
                        <c:v>0</c:v>
                      </c:pt>
                      <c:pt idx="9671">
                        <c:v>0</c:v>
                      </c:pt>
                      <c:pt idx="9672">
                        <c:v>0</c:v>
                      </c:pt>
                      <c:pt idx="9673">
                        <c:v>0</c:v>
                      </c:pt>
                      <c:pt idx="9674">
                        <c:v>0</c:v>
                      </c:pt>
                      <c:pt idx="9675">
                        <c:v>0</c:v>
                      </c:pt>
                      <c:pt idx="9676">
                        <c:v>0</c:v>
                      </c:pt>
                      <c:pt idx="9677">
                        <c:v>0</c:v>
                      </c:pt>
                      <c:pt idx="9678">
                        <c:v>0</c:v>
                      </c:pt>
                      <c:pt idx="9679">
                        <c:v>0</c:v>
                      </c:pt>
                      <c:pt idx="9680">
                        <c:v>0</c:v>
                      </c:pt>
                      <c:pt idx="9681">
                        <c:v>0</c:v>
                      </c:pt>
                      <c:pt idx="9682">
                        <c:v>0</c:v>
                      </c:pt>
                      <c:pt idx="9683">
                        <c:v>0</c:v>
                      </c:pt>
                      <c:pt idx="9684">
                        <c:v>0</c:v>
                      </c:pt>
                      <c:pt idx="9685">
                        <c:v>0</c:v>
                      </c:pt>
                      <c:pt idx="9686">
                        <c:v>0</c:v>
                      </c:pt>
                      <c:pt idx="9687">
                        <c:v>0</c:v>
                      </c:pt>
                      <c:pt idx="9688">
                        <c:v>0</c:v>
                      </c:pt>
                      <c:pt idx="9689">
                        <c:v>0</c:v>
                      </c:pt>
                      <c:pt idx="9690">
                        <c:v>0</c:v>
                      </c:pt>
                      <c:pt idx="9691">
                        <c:v>0</c:v>
                      </c:pt>
                      <c:pt idx="9692">
                        <c:v>0</c:v>
                      </c:pt>
                      <c:pt idx="9693">
                        <c:v>0</c:v>
                      </c:pt>
                      <c:pt idx="9694">
                        <c:v>0</c:v>
                      </c:pt>
                      <c:pt idx="9695">
                        <c:v>0</c:v>
                      </c:pt>
                      <c:pt idx="9696">
                        <c:v>0</c:v>
                      </c:pt>
                      <c:pt idx="9697">
                        <c:v>0</c:v>
                      </c:pt>
                      <c:pt idx="9698">
                        <c:v>0</c:v>
                      </c:pt>
                      <c:pt idx="9699">
                        <c:v>0</c:v>
                      </c:pt>
                      <c:pt idx="9700">
                        <c:v>0</c:v>
                      </c:pt>
                      <c:pt idx="9701">
                        <c:v>0</c:v>
                      </c:pt>
                      <c:pt idx="9702">
                        <c:v>0</c:v>
                      </c:pt>
                      <c:pt idx="9703">
                        <c:v>0</c:v>
                      </c:pt>
                      <c:pt idx="9704">
                        <c:v>0</c:v>
                      </c:pt>
                      <c:pt idx="9705">
                        <c:v>0</c:v>
                      </c:pt>
                      <c:pt idx="9706">
                        <c:v>0</c:v>
                      </c:pt>
                      <c:pt idx="9707">
                        <c:v>0</c:v>
                      </c:pt>
                      <c:pt idx="9708">
                        <c:v>0</c:v>
                      </c:pt>
                      <c:pt idx="9709">
                        <c:v>0</c:v>
                      </c:pt>
                      <c:pt idx="9710">
                        <c:v>0</c:v>
                      </c:pt>
                      <c:pt idx="9711">
                        <c:v>0</c:v>
                      </c:pt>
                      <c:pt idx="9712">
                        <c:v>0</c:v>
                      </c:pt>
                      <c:pt idx="9713">
                        <c:v>0</c:v>
                      </c:pt>
                      <c:pt idx="9714">
                        <c:v>0</c:v>
                      </c:pt>
                      <c:pt idx="9715">
                        <c:v>0</c:v>
                      </c:pt>
                      <c:pt idx="9716">
                        <c:v>0</c:v>
                      </c:pt>
                      <c:pt idx="9717">
                        <c:v>0</c:v>
                      </c:pt>
                      <c:pt idx="9718">
                        <c:v>0</c:v>
                      </c:pt>
                      <c:pt idx="9719">
                        <c:v>0</c:v>
                      </c:pt>
                      <c:pt idx="9720">
                        <c:v>0</c:v>
                      </c:pt>
                      <c:pt idx="9721">
                        <c:v>0</c:v>
                      </c:pt>
                      <c:pt idx="9722">
                        <c:v>0</c:v>
                      </c:pt>
                      <c:pt idx="9723">
                        <c:v>0</c:v>
                      </c:pt>
                      <c:pt idx="9724">
                        <c:v>0</c:v>
                      </c:pt>
                      <c:pt idx="9725">
                        <c:v>0</c:v>
                      </c:pt>
                      <c:pt idx="9726">
                        <c:v>0</c:v>
                      </c:pt>
                      <c:pt idx="9727">
                        <c:v>0</c:v>
                      </c:pt>
                      <c:pt idx="9728">
                        <c:v>0</c:v>
                      </c:pt>
                      <c:pt idx="9729">
                        <c:v>0</c:v>
                      </c:pt>
                      <c:pt idx="9730">
                        <c:v>0</c:v>
                      </c:pt>
                      <c:pt idx="9731">
                        <c:v>0</c:v>
                      </c:pt>
                      <c:pt idx="9732">
                        <c:v>0</c:v>
                      </c:pt>
                      <c:pt idx="9733">
                        <c:v>0</c:v>
                      </c:pt>
                      <c:pt idx="9734">
                        <c:v>0</c:v>
                      </c:pt>
                      <c:pt idx="9735">
                        <c:v>0</c:v>
                      </c:pt>
                      <c:pt idx="9736">
                        <c:v>0</c:v>
                      </c:pt>
                      <c:pt idx="9737">
                        <c:v>0</c:v>
                      </c:pt>
                      <c:pt idx="9738">
                        <c:v>0</c:v>
                      </c:pt>
                      <c:pt idx="9739">
                        <c:v>0</c:v>
                      </c:pt>
                      <c:pt idx="9740">
                        <c:v>0</c:v>
                      </c:pt>
                      <c:pt idx="9741">
                        <c:v>0</c:v>
                      </c:pt>
                      <c:pt idx="9742">
                        <c:v>0</c:v>
                      </c:pt>
                      <c:pt idx="9743">
                        <c:v>0</c:v>
                      </c:pt>
                      <c:pt idx="9744">
                        <c:v>0</c:v>
                      </c:pt>
                      <c:pt idx="9745">
                        <c:v>0</c:v>
                      </c:pt>
                      <c:pt idx="9746">
                        <c:v>0</c:v>
                      </c:pt>
                      <c:pt idx="9747">
                        <c:v>0</c:v>
                      </c:pt>
                      <c:pt idx="9748">
                        <c:v>0</c:v>
                      </c:pt>
                      <c:pt idx="9749">
                        <c:v>0</c:v>
                      </c:pt>
                      <c:pt idx="9750">
                        <c:v>0</c:v>
                      </c:pt>
                      <c:pt idx="9751">
                        <c:v>0</c:v>
                      </c:pt>
                      <c:pt idx="9752">
                        <c:v>0</c:v>
                      </c:pt>
                      <c:pt idx="9753">
                        <c:v>0</c:v>
                      </c:pt>
                      <c:pt idx="9754">
                        <c:v>0</c:v>
                      </c:pt>
                      <c:pt idx="9755">
                        <c:v>0</c:v>
                      </c:pt>
                      <c:pt idx="9756">
                        <c:v>0</c:v>
                      </c:pt>
                      <c:pt idx="9757">
                        <c:v>0</c:v>
                      </c:pt>
                      <c:pt idx="9758">
                        <c:v>0</c:v>
                      </c:pt>
                      <c:pt idx="9759">
                        <c:v>0</c:v>
                      </c:pt>
                      <c:pt idx="9760">
                        <c:v>0</c:v>
                      </c:pt>
                      <c:pt idx="9761">
                        <c:v>0</c:v>
                      </c:pt>
                      <c:pt idx="9762">
                        <c:v>0</c:v>
                      </c:pt>
                      <c:pt idx="9763">
                        <c:v>0</c:v>
                      </c:pt>
                      <c:pt idx="9764">
                        <c:v>0</c:v>
                      </c:pt>
                      <c:pt idx="9765">
                        <c:v>0</c:v>
                      </c:pt>
                      <c:pt idx="9766">
                        <c:v>0</c:v>
                      </c:pt>
                      <c:pt idx="9767">
                        <c:v>0</c:v>
                      </c:pt>
                      <c:pt idx="9768">
                        <c:v>0</c:v>
                      </c:pt>
                      <c:pt idx="9769">
                        <c:v>0</c:v>
                      </c:pt>
                      <c:pt idx="9770">
                        <c:v>0</c:v>
                      </c:pt>
                      <c:pt idx="9771">
                        <c:v>0</c:v>
                      </c:pt>
                      <c:pt idx="9772">
                        <c:v>0</c:v>
                      </c:pt>
                      <c:pt idx="9773">
                        <c:v>0</c:v>
                      </c:pt>
                      <c:pt idx="9774">
                        <c:v>0</c:v>
                      </c:pt>
                      <c:pt idx="9775">
                        <c:v>0</c:v>
                      </c:pt>
                      <c:pt idx="9776">
                        <c:v>0</c:v>
                      </c:pt>
                      <c:pt idx="9777">
                        <c:v>0</c:v>
                      </c:pt>
                      <c:pt idx="9778">
                        <c:v>0</c:v>
                      </c:pt>
                      <c:pt idx="9779">
                        <c:v>0</c:v>
                      </c:pt>
                      <c:pt idx="9780">
                        <c:v>0</c:v>
                      </c:pt>
                      <c:pt idx="9781">
                        <c:v>0</c:v>
                      </c:pt>
                      <c:pt idx="9782">
                        <c:v>0</c:v>
                      </c:pt>
                      <c:pt idx="9783">
                        <c:v>0</c:v>
                      </c:pt>
                      <c:pt idx="9784">
                        <c:v>0</c:v>
                      </c:pt>
                      <c:pt idx="9785">
                        <c:v>0</c:v>
                      </c:pt>
                      <c:pt idx="9786">
                        <c:v>0</c:v>
                      </c:pt>
                      <c:pt idx="9787">
                        <c:v>0</c:v>
                      </c:pt>
                      <c:pt idx="9788">
                        <c:v>0</c:v>
                      </c:pt>
                      <c:pt idx="9789">
                        <c:v>0</c:v>
                      </c:pt>
                      <c:pt idx="9790">
                        <c:v>0</c:v>
                      </c:pt>
                      <c:pt idx="9791">
                        <c:v>0</c:v>
                      </c:pt>
                      <c:pt idx="9792">
                        <c:v>0</c:v>
                      </c:pt>
                      <c:pt idx="9793">
                        <c:v>0</c:v>
                      </c:pt>
                      <c:pt idx="9794">
                        <c:v>0</c:v>
                      </c:pt>
                      <c:pt idx="9795">
                        <c:v>0</c:v>
                      </c:pt>
                      <c:pt idx="9796">
                        <c:v>0</c:v>
                      </c:pt>
                      <c:pt idx="9797">
                        <c:v>0</c:v>
                      </c:pt>
                      <c:pt idx="9798">
                        <c:v>0</c:v>
                      </c:pt>
                      <c:pt idx="9799">
                        <c:v>0</c:v>
                      </c:pt>
                      <c:pt idx="9800">
                        <c:v>0</c:v>
                      </c:pt>
                      <c:pt idx="9801">
                        <c:v>0</c:v>
                      </c:pt>
                      <c:pt idx="9802">
                        <c:v>0</c:v>
                      </c:pt>
                      <c:pt idx="9803">
                        <c:v>0</c:v>
                      </c:pt>
                      <c:pt idx="9804">
                        <c:v>0</c:v>
                      </c:pt>
                      <c:pt idx="9805">
                        <c:v>0</c:v>
                      </c:pt>
                      <c:pt idx="9806">
                        <c:v>0</c:v>
                      </c:pt>
                      <c:pt idx="9807">
                        <c:v>0</c:v>
                      </c:pt>
                      <c:pt idx="9808">
                        <c:v>0</c:v>
                      </c:pt>
                      <c:pt idx="9809">
                        <c:v>0</c:v>
                      </c:pt>
                      <c:pt idx="9810">
                        <c:v>0</c:v>
                      </c:pt>
                      <c:pt idx="9811">
                        <c:v>0</c:v>
                      </c:pt>
                      <c:pt idx="9812">
                        <c:v>0</c:v>
                      </c:pt>
                      <c:pt idx="9813">
                        <c:v>0</c:v>
                      </c:pt>
                      <c:pt idx="9814">
                        <c:v>0</c:v>
                      </c:pt>
                      <c:pt idx="9815">
                        <c:v>0</c:v>
                      </c:pt>
                      <c:pt idx="9816">
                        <c:v>0</c:v>
                      </c:pt>
                      <c:pt idx="9817">
                        <c:v>0</c:v>
                      </c:pt>
                      <c:pt idx="9818">
                        <c:v>0</c:v>
                      </c:pt>
                      <c:pt idx="9819">
                        <c:v>0</c:v>
                      </c:pt>
                      <c:pt idx="9820">
                        <c:v>0</c:v>
                      </c:pt>
                      <c:pt idx="9821">
                        <c:v>0</c:v>
                      </c:pt>
                      <c:pt idx="9822">
                        <c:v>0</c:v>
                      </c:pt>
                      <c:pt idx="9823">
                        <c:v>0</c:v>
                      </c:pt>
                      <c:pt idx="9824">
                        <c:v>0</c:v>
                      </c:pt>
                      <c:pt idx="9825">
                        <c:v>0</c:v>
                      </c:pt>
                      <c:pt idx="9826">
                        <c:v>0</c:v>
                      </c:pt>
                      <c:pt idx="9827">
                        <c:v>0</c:v>
                      </c:pt>
                      <c:pt idx="9828">
                        <c:v>0</c:v>
                      </c:pt>
                      <c:pt idx="9829">
                        <c:v>0</c:v>
                      </c:pt>
                      <c:pt idx="9830">
                        <c:v>0</c:v>
                      </c:pt>
                      <c:pt idx="9831">
                        <c:v>0</c:v>
                      </c:pt>
                      <c:pt idx="9832">
                        <c:v>0</c:v>
                      </c:pt>
                      <c:pt idx="9833">
                        <c:v>0</c:v>
                      </c:pt>
                      <c:pt idx="9834">
                        <c:v>0</c:v>
                      </c:pt>
                      <c:pt idx="9835">
                        <c:v>0</c:v>
                      </c:pt>
                      <c:pt idx="9836">
                        <c:v>0</c:v>
                      </c:pt>
                      <c:pt idx="9837">
                        <c:v>0</c:v>
                      </c:pt>
                      <c:pt idx="9838">
                        <c:v>0</c:v>
                      </c:pt>
                      <c:pt idx="9839">
                        <c:v>0</c:v>
                      </c:pt>
                      <c:pt idx="9840">
                        <c:v>0</c:v>
                      </c:pt>
                      <c:pt idx="9841">
                        <c:v>0</c:v>
                      </c:pt>
                      <c:pt idx="9842">
                        <c:v>0</c:v>
                      </c:pt>
                      <c:pt idx="9843">
                        <c:v>0</c:v>
                      </c:pt>
                      <c:pt idx="9844">
                        <c:v>0</c:v>
                      </c:pt>
                      <c:pt idx="9845">
                        <c:v>0</c:v>
                      </c:pt>
                      <c:pt idx="9846">
                        <c:v>0</c:v>
                      </c:pt>
                      <c:pt idx="9847">
                        <c:v>0</c:v>
                      </c:pt>
                      <c:pt idx="9848">
                        <c:v>0</c:v>
                      </c:pt>
                      <c:pt idx="9849">
                        <c:v>0</c:v>
                      </c:pt>
                      <c:pt idx="9850">
                        <c:v>0</c:v>
                      </c:pt>
                      <c:pt idx="9851">
                        <c:v>0</c:v>
                      </c:pt>
                      <c:pt idx="9852">
                        <c:v>0</c:v>
                      </c:pt>
                      <c:pt idx="9853">
                        <c:v>0</c:v>
                      </c:pt>
                      <c:pt idx="9854">
                        <c:v>0</c:v>
                      </c:pt>
                      <c:pt idx="9855">
                        <c:v>0</c:v>
                      </c:pt>
                      <c:pt idx="9856">
                        <c:v>0</c:v>
                      </c:pt>
                      <c:pt idx="9857">
                        <c:v>0</c:v>
                      </c:pt>
                      <c:pt idx="9858">
                        <c:v>0</c:v>
                      </c:pt>
                      <c:pt idx="9859">
                        <c:v>0</c:v>
                      </c:pt>
                      <c:pt idx="9860">
                        <c:v>0</c:v>
                      </c:pt>
                      <c:pt idx="9861">
                        <c:v>0</c:v>
                      </c:pt>
                      <c:pt idx="9862">
                        <c:v>0</c:v>
                      </c:pt>
                      <c:pt idx="9863">
                        <c:v>0</c:v>
                      </c:pt>
                      <c:pt idx="9864">
                        <c:v>0</c:v>
                      </c:pt>
                      <c:pt idx="9865">
                        <c:v>0</c:v>
                      </c:pt>
                      <c:pt idx="9866">
                        <c:v>0</c:v>
                      </c:pt>
                      <c:pt idx="9867">
                        <c:v>0</c:v>
                      </c:pt>
                      <c:pt idx="9868">
                        <c:v>0</c:v>
                      </c:pt>
                      <c:pt idx="9869">
                        <c:v>0</c:v>
                      </c:pt>
                      <c:pt idx="9870">
                        <c:v>0</c:v>
                      </c:pt>
                      <c:pt idx="9871">
                        <c:v>0</c:v>
                      </c:pt>
                      <c:pt idx="9872">
                        <c:v>0</c:v>
                      </c:pt>
                      <c:pt idx="9873">
                        <c:v>0</c:v>
                      </c:pt>
                      <c:pt idx="9874">
                        <c:v>0</c:v>
                      </c:pt>
                      <c:pt idx="9875">
                        <c:v>0</c:v>
                      </c:pt>
                      <c:pt idx="9876">
                        <c:v>0</c:v>
                      </c:pt>
                      <c:pt idx="9877">
                        <c:v>0</c:v>
                      </c:pt>
                      <c:pt idx="9878">
                        <c:v>0</c:v>
                      </c:pt>
                      <c:pt idx="9879">
                        <c:v>0</c:v>
                      </c:pt>
                      <c:pt idx="9880">
                        <c:v>0</c:v>
                      </c:pt>
                      <c:pt idx="9881">
                        <c:v>0</c:v>
                      </c:pt>
                      <c:pt idx="9882">
                        <c:v>0</c:v>
                      </c:pt>
                      <c:pt idx="9883">
                        <c:v>0</c:v>
                      </c:pt>
                      <c:pt idx="9884">
                        <c:v>0</c:v>
                      </c:pt>
                      <c:pt idx="9885">
                        <c:v>0</c:v>
                      </c:pt>
                      <c:pt idx="9886">
                        <c:v>0</c:v>
                      </c:pt>
                      <c:pt idx="9887">
                        <c:v>0</c:v>
                      </c:pt>
                      <c:pt idx="9888">
                        <c:v>0</c:v>
                      </c:pt>
                      <c:pt idx="9889">
                        <c:v>0</c:v>
                      </c:pt>
                      <c:pt idx="9890">
                        <c:v>0</c:v>
                      </c:pt>
                      <c:pt idx="9891">
                        <c:v>0</c:v>
                      </c:pt>
                      <c:pt idx="9892">
                        <c:v>0</c:v>
                      </c:pt>
                      <c:pt idx="9893">
                        <c:v>0</c:v>
                      </c:pt>
                      <c:pt idx="9894">
                        <c:v>0</c:v>
                      </c:pt>
                      <c:pt idx="9895">
                        <c:v>0</c:v>
                      </c:pt>
                      <c:pt idx="9896">
                        <c:v>0</c:v>
                      </c:pt>
                      <c:pt idx="9897">
                        <c:v>0</c:v>
                      </c:pt>
                      <c:pt idx="9898">
                        <c:v>0</c:v>
                      </c:pt>
                      <c:pt idx="9899">
                        <c:v>0</c:v>
                      </c:pt>
                      <c:pt idx="9900">
                        <c:v>0</c:v>
                      </c:pt>
                      <c:pt idx="9901">
                        <c:v>0</c:v>
                      </c:pt>
                      <c:pt idx="9902">
                        <c:v>0</c:v>
                      </c:pt>
                      <c:pt idx="9903">
                        <c:v>0</c:v>
                      </c:pt>
                      <c:pt idx="9904">
                        <c:v>0</c:v>
                      </c:pt>
                      <c:pt idx="9905">
                        <c:v>0</c:v>
                      </c:pt>
                      <c:pt idx="9906">
                        <c:v>0</c:v>
                      </c:pt>
                      <c:pt idx="9907">
                        <c:v>0</c:v>
                      </c:pt>
                      <c:pt idx="9908">
                        <c:v>0</c:v>
                      </c:pt>
                      <c:pt idx="9909">
                        <c:v>0</c:v>
                      </c:pt>
                      <c:pt idx="9910">
                        <c:v>0</c:v>
                      </c:pt>
                      <c:pt idx="9911">
                        <c:v>0</c:v>
                      </c:pt>
                      <c:pt idx="9912">
                        <c:v>0</c:v>
                      </c:pt>
                      <c:pt idx="9913">
                        <c:v>0</c:v>
                      </c:pt>
                      <c:pt idx="9914">
                        <c:v>0</c:v>
                      </c:pt>
                      <c:pt idx="9915">
                        <c:v>0</c:v>
                      </c:pt>
                      <c:pt idx="9916">
                        <c:v>0</c:v>
                      </c:pt>
                      <c:pt idx="9917">
                        <c:v>0</c:v>
                      </c:pt>
                      <c:pt idx="9918">
                        <c:v>0</c:v>
                      </c:pt>
                      <c:pt idx="9919">
                        <c:v>0</c:v>
                      </c:pt>
                      <c:pt idx="9920">
                        <c:v>0</c:v>
                      </c:pt>
                      <c:pt idx="9921">
                        <c:v>0</c:v>
                      </c:pt>
                      <c:pt idx="9922">
                        <c:v>0</c:v>
                      </c:pt>
                      <c:pt idx="9923">
                        <c:v>0</c:v>
                      </c:pt>
                      <c:pt idx="9924">
                        <c:v>0</c:v>
                      </c:pt>
                      <c:pt idx="9925">
                        <c:v>0</c:v>
                      </c:pt>
                      <c:pt idx="9926">
                        <c:v>0</c:v>
                      </c:pt>
                      <c:pt idx="9927">
                        <c:v>0</c:v>
                      </c:pt>
                      <c:pt idx="9928">
                        <c:v>0</c:v>
                      </c:pt>
                      <c:pt idx="9929">
                        <c:v>0</c:v>
                      </c:pt>
                      <c:pt idx="9930">
                        <c:v>0</c:v>
                      </c:pt>
                      <c:pt idx="9931">
                        <c:v>0</c:v>
                      </c:pt>
                      <c:pt idx="9932">
                        <c:v>0</c:v>
                      </c:pt>
                      <c:pt idx="9933">
                        <c:v>0</c:v>
                      </c:pt>
                      <c:pt idx="9934">
                        <c:v>0</c:v>
                      </c:pt>
                      <c:pt idx="9935">
                        <c:v>0</c:v>
                      </c:pt>
                      <c:pt idx="9936">
                        <c:v>0</c:v>
                      </c:pt>
                      <c:pt idx="9937">
                        <c:v>0</c:v>
                      </c:pt>
                      <c:pt idx="9938">
                        <c:v>0</c:v>
                      </c:pt>
                      <c:pt idx="9939">
                        <c:v>0</c:v>
                      </c:pt>
                      <c:pt idx="9940">
                        <c:v>0</c:v>
                      </c:pt>
                      <c:pt idx="9941">
                        <c:v>0</c:v>
                      </c:pt>
                      <c:pt idx="9942">
                        <c:v>0</c:v>
                      </c:pt>
                      <c:pt idx="9943">
                        <c:v>0</c:v>
                      </c:pt>
                      <c:pt idx="9944">
                        <c:v>0</c:v>
                      </c:pt>
                      <c:pt idx="9945">
                        <c:v>0</c:v>
                      </c:pt>
                      <c:pt idx="9946">
                        <c:v>0</c:v>
                      </c:pt>
                      <c:pt idx="9947">
                        <c:v>0</c:v>
                      </c:pt>
                      <c:pt idx="9948">
                        <c:v>0</c:v>
                      </c:pt>
                      <c:pt idx="9949">
                        <c:v>0</c:v>
                      </c:pt>
                      <c:pt idx="9950">
                        <c:v>0</c:v>
                      </c:pt>
                      <c:pt idx="9951">
                        <c:v>0</c:v>
                      </c:pt>
                      <c:pt idx="9952">
                        <c:v>0</c:v>
                      </c:pt>
                      <c:pt idx="9953">
                        <c:v>0</c:v>
                      </c:pt>
                      <c:pt idx="9954">
                        <c:v>0</c:v>
                      </c:pt>
                      <c:pt idx="9955">
                        <c:v>0</c:v>
                      </c:pt>
                      <c:pt idx="9956">
                        <c:v>0</c:v>
                      </c:pt>
                      <c:pt idx="9957">
                        <c:v>0</c:v>
                      </c:pt>
                      <c:pt idx="9958">
                        <c:v>0</c:v>
                      </c:pt>
                      <c:pt idx="9959">
                        <c:v>0</c:v>
                      </c:pt>
                      <c:pt idx="9960">
                        <c:v>0</c:v>
                      </c:pt>
                      <c:pt idx="9961">
                        <c:v>0</c:v>
                      </c:pt>
                      <c:pt idx="9962">
                        <c:v>0</c:v>
                      </c:pt>
                      <c:pt idx="9963">
                        <c:v>0</c:v>
                      </c:pt>
                      <c:pt idx="9964">
                        <c:v>0</c:v>
                      </c:pt>
                      <c:pt idx="9965">
                        <c:v>0</c:v>
                      </c:pt>
                      <c:pt idx="9966">
                        <c:v>0</c:v>
                      </c:pt>
                      <c:pt idx="9967">
                        <c:v>0</c:v>
                      </c:pt>
                      <c:pt idx="9968">
                        <c:v>0</c:v>
                      </c:pt>
                      <c:pt idx="9969">
                        <c:v>0</c:v>
                      </c:pt>
                      <c:pt idx="9970">
                        <c:v>0</c:v>
                      </c:pt>
                      <c:pt idx="9971">
                        <c:v>0</c:v>
                      </c:pt>
                      <c:pt idx="9972">
                        <c:v>0</c:v>
                      </c:pt>
                      <c:pt idx="9973">
                        <c:v>0</c:v>
                      </c:pt>
                      <c:pt idx="9974">
                        <c:v>0</c:v>
                      </c:pt>
                      <c:pt idx="9975">
                        <c:v>0</c:v>
                      </c:pt>
                      <c:pt idx="9976">
                        <c:v>0</c:v>
                      </c:pt>
                      <c:pt idx="9977">
                        <c:v>0</c:v>
                      </c:pt>
                      <c:pt idx="9978">
                        <c:v>0</c:v>
                      </c:pt>
                      <c:pt idx="9979">
                        <c:v>0</c:v>
                      </c:pt>
                      <c:pt idx="9980">
                        <c:v>0</c:v>
                      </c:pt>
                      <c:pt idx="9981">
                        <c:v>0</c:v>
                      </c:pt>
                      <c:pt idx="9982">
                        <c:v>0</c:v>
                      </c:pt>
                      <c:pt idx="9983">
                        <c:v>0</c:v>
                      </c:pt>
                      <c:pt idx="9984">
                        <c:v>0</c:v>
                      </c:pt>
                      <c:pt idx="9985">
                        <c:v>0</c:v>
                      </c:pt>
                      <c:pt idx="9986">
                        <c:v>0</c:v>
                      </c:pt>
                      <c:pt idx="9987">
                        <c:v>0</c:v>
                      </c:pt>
                      <c:pt idx="9988">
                        <c:v>0</c:v>
                      </c:pt>
                      <c:pt idx="9989">
                        <c:v>0</c:v>
                      </c:pt>
                      <c:pt idx="9990">
                        <c:v>0</c:v>
                      </c:pt>
                      <c:pt idx="9991">
                        <c:v>0</c:v>
                      </c:pt>
                      <c:pt idx="9992">
                        <c:v>0</c:v>
                      </c:pt>
                      <c:pt idx="9993">
                        <c:v>0</c:v>
                      </c:pt>
                      <c:pt idx="9994">
                        <c:v>0</c:v>
                      </c:pt>
                      <c:pt idx="9995">
                        <c:v>0</c:v>
                      </c:pt>
                      <c:pt idx="9996">
                        <c:v>0</c:v>
                      </c:pt>
                      <c:pt idx="9997">
                        <c:v>0</c:v>
                      </c:pt>
                      <c:pt idx="9998">
                        <c:v>0</c:v>
                      </c:pt>
                      <c:pt idx="9999">
                        <c:v>0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60D5-4B4A-903E-ACD09385A331}"/>
                  </c:ext>
                </c:extLst>
              </c15:ser>
            </c15:filteredLineSeries>
          </c:ext>
        </c:extLst>
      </c:lineChart>
      <c:valAx>
        <c:axId val="600018703"/>
        <c:scaling>
          <c:orientation val="minMax"/>
          <c:max val="10"/>
          <c:min val="-10"/>
        </c:scaling>
        <c:delete val="0"/>
        <c:axPos val="l"/>
        <c:majorGridlines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0"/>
        <c:axPos val="b"/>
        <c:numFmt formatCode="General" sourceLinked="0"/>
        <c:majorTickMark val="cross"/>
        <c:minorTickMark val="cross"/>
        <c:tickLblPos val="none"/>
        <c:spPr>
          <a:ln>
            <a:noFill/>
          </a:ln>
        </c:spPr>
        <c:crossAx val="600018703"/>
        <c:crosses val="autoZero"/>
        <c:auto val="1"/>
        <c:lblAlgn val="ctr"/>
        <c:lblOffset val="100"/>
        <c:noMultiLvlLbl val="1"/>
      </c:catAx>
    </c:plotArea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nl-NL"/>
              <a:t>After Maintenance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$3</c:f>
              <c:strCache>
                <c:ptCount val="1"/>
                <c:pt idx="0">
                  <c:v>6640-102788</c:v>
                </c:pt>
              </c:strCache>
            </c:strRef>
          </c:tx>
          <c:spPr>
            <a:ln w="3175">
              <a:solidFill>
                <a:srgbClr val="1F77B4"/>
              </a:solidFill>
              <a:round/>
            </a:ln>
          </c:spPr>
          <c:marker>
            <c:symbol val="none"/>
          </c:marker>
          <c:cat>
            <c:strRef>
              <c:f>Data!$A$4:$A$10003</c:f>
              <c:strCache>
                <c:ptCount val="10000"/>
                <c:pt idx="0">
                  <c:v>0.010-0.017</c:v>
                </c:pt>
                <c:pt idx="1">
                  <c:v>0.017-0.023</c:v>
                </c:pt>
                <c:pt idx="2">
                  <c:v>0.023-0.030</c:v>
                </c:pt>
                <c:pt idx="3">
                  <c:v>0.030-0.037</c:v>
                </c:pt>
                <c:pt idx="4">
                  <c:v>0.037-0.044</c:v>
                </c:pt>
                <c:pt idx="5">
                  <c:v>0.044-0.050</c:v>
                </c:pt>
                <c:pt idx="6">
                  <c:v>0.050-0.057</c:v>
                </c:pt>
                <c:pt idx="7">
                  <c:v>0.057-0.064</c:v>
                </c:pt>
                <c:pt idx="8">
                  <c:v>0.064-0.070</c:v>
                </c:pt>
                <c:pt idx="9">
                  <c:v>0.070-0.077</c:v>
                </c:pt>
                <c:pt idx="10">
                  <c:v>0.077-0.084</c:v>
                </c:pt>
                <c:pt idx="11">
                  <c:v>0.084-0.091</c:v>
                </c:pt>
                <c:pt idx="12">
                  <c:v>0.091-0.097</c:v>
                </c:pt>
                <c:pt idx="13">
                  <c:v>0.097-0.104</c:v>
                </c:pt>
                <c:pt idx="14">
                  <c:v>0.104-0.111</c:v>
                </c:pt>
                <c:pt idx="15">
                  <c:v>0.111-0.117</c:v>
                </c:pt>
                <c:pt idx="16">
                  <c:v>0.117-0.124</c:v>
                </c:pt>
                <c:pt idx="17">
                  <c:v>0.124-0.131</c:v>
                </c:pt>
                <c:pt idx="18">
                  <c:v>0.131-0.138</c:v>
                </c:pt>
                <c:pt idx="19">
                  <c:v>0.138-0.144</c:v>
                </c:pt>
                <c:pt idx="20">
                  <c:v>0.144-0.151</c:v>
                </c:pt>
                <c:pt idx="21">
                  <c:v>0.151-0.158</c:v>
                </c:pt>
                <c:pt idx="22">
                  <c:v>0.158-0.164</c:v>
                </c:pt>
                <c:pt idx="23">
                  <c:v>0.164-0.171</c:v>
                </c:pt>
                <c:pt idx="24">
                  <c:v>0.171-0.178</c:v>
                </c:pt>
                <c:pt idx="25">
                  <c:v>0.178-0.184</c:v>
                </c:pt>
                <c:pt idx="26">
                  <c:v>0.184-0.191</c:v>
                </c:pt>
                <c:pt idx="27">
                  <c:v>0.191-0.198</c:v>
                </c:pt>
                <c:pt idx="28">
                  <c:v>0.198-0.205</c:v>
                </c:pt>
                <c:pt idx="29">
                  <c:v>0.205-0.211</c:v>
                </c:pt>
                <c:pt idx="30">
                  <c:v>0.211-0.218</c:v>
                </c:pt>
                <c:pt idx="31">
                  <c:v>0.218-0.225</c:v>
                </c:pt>
                <c:pt idx="32">
                  <c:v>0.225-0.231</c:v>
                </c:pt>
                <c:pt idx="33">
                  <c:v>0.231-0.238</c:v>
                </c:pt>
                <c:pt idx="34">
                  <c:v>0.238-0.245</c:v>
                </c:pt>
                <c:pt idx="35">
                  <c:v>0.245-0.252</c:v>
                </c:pt>
                <c:pt idx="36">
                  <c:v>0.252-0.258</c:v>
                </c:pt>
                <c:pt idx="37">
                  <c:v>0.258-0.265</c:v>
                </c:pt>
                <c:pt idx="38">
                  <c:v>0.265-0.272</c:v>
                </c:pt>
                <c:pt idx="39">
                  <c:v>0.272-0.278</c:v>
                </c:pt>
                <c:pt idx="40">
                  <c:v>0.278-0.285</c:v>
                </c:pt>
                <c:pt idx="41">
                  <c:v>0.285-0.292</c:v>
                </c:pt>
                <c:pt idx="42">
                  <c:v>0.292-0.299</c:v>
                </c:pt>
                <c:pt idx="43">
                  <c:v>0.299-0.305</c:v>
                </c:pt>
                <c:pt idx="44">
                  <c:v>0.305-0.312</c:v>
                </c:pt>
                <c:pt idx="45">
                  <c:v>0.312-0.319</c:v>
                </c:pt>
                <c:pt idx="46">
                  <c:v>0.319-0.325</c:v>
                </c:pt>
                <c:pt idx="47">
                  <c:v>0.325-0.332</c:v>
                </c:pt>
                <c:pt idx="48">
                  <c:v>0.332-0.339</c:v>
                </c:pt>
                <c:pt idx="49">
                  <c:v>0.339-0.346</c:v>
                </c:pt>
                <c:pt idx="50">
                  <c:v>0.346-0.352</c:v>
                </c:pt>
                <c:pt idx="51">
                  <c:v>0.352-0.359</c:v>
                </c:pt>
                <c:pt idx="52">
                  <c:v>0.359-0.366</c:v>
                </c:pt>
                <c:pt idx="53">
                  <c:v>0.366-0.372</c:v>
                </c:pt>
                <c:pt idx="54">
                  <c:v>0.372-0.379</c:v>
                </c:pt>
                <c:pt idx="55">
                  <c:v>0.379-0.386</c:v>
                </c:pt>
                <c:pt idx="56">
                  <c:v>0.386-0.393</c:v>
                </c:pt>
                <c:pt idx="57">
                  <c:v>0.393-0.399</c:v>
                </c:pt>
                <c:pt idx="58">
                  <c:v>0.399-0.406</c:v>
                </c:pt>
                <c:pt idx="59">
                  <c:v>0.406-0.413</c:v>
                </c:pt>
                <c:pt idx="60">
                  <c:v>0.413-0.419</c:v>
                </c:pt>
                <c:pt idx="61">
                  <c:v>0.419-0.426</c:v>
                </c:pt>
                <c:pt idx="62">
                  <c:v>0.426-0.433</c:v>
                </c:pt>
                <c:pt idx="63">
                  <c:v>0.433-0.439</c:v>
                </c:pt>
                <c:pt idx="64">
                  <c:v>0.439-0.446</c:v>
                </c:pt>
                <c:pt idx="65">
                  <c:v>0.446-0.453</c:v>
                </c:pt>
                <c:pt idx="66">
                  <c:v>0.453-0.460</c:v>
                </c:pt>
                <c:pt idx="67">
                  <c:v>0.460-0.466</c:v>
                </c:pt>
                <c:pt idx="68">
                  <c:v>0.466-0.473</c:v>
                </c:pt>
                <c:pt idx="69">
                  <c:v>0.473-0.480</c:v>
                </c:pt>
                <c:pt idx="70">
                  <c:v>0.480-0.486</c:v>
                </c:pt>
                <c:pt idx="71">
                  <c:v>0.486-0.493</c:v>
                </c:pt>
                <c:pt idx="72">
                  <c:v>0.493-0.500</c:v>
                </c:pt>
                <c:pt idx="73">
                  <c:v>0.500-0.507</c:v>
                </c:pt>
                <c:pt idx="74">
                  <c:v>0.507-0.513</c:v>
                </c:pt>
                <c:pt idx="75">
                  <c:v>0.513-0.520</c:v>
                </c:pt>
                <c:pt idx="76">
                  <c:v>0.520-0.527</c:v>
                </c:pt>
                <c:pt idx="77">
                  <c:v>0.527-0.533</c:v>
                </c:pt>
                <c:pt idx="78">
                  <c:v>0.533-0.540</c:v>
                </c:pt>
                <c:pt idx="79">
                  <c:v>0.540-0.547</c:v>
                </c:pt>
                <c:pt idx="80">
                  <c:v>0.547-0.554</c:v>
                </c:pt>
                <c:pt idx="81">
                  <c:v>0.554-0.560</c:v>
                </c:pt>
                <c:pt idx="82">
                  <c:v>0.560-0.567</c:v>
                </c:pt>
                <c:pt idx="83">
                  <c:v>0.567-0.574</c:v>
                </c:pt>
                <c:pt idx="84">
                  <c:v>0.574-0.580</c:v>
                </c:pt>
                <c:pt idx="85">
                  <c:v>0.580-0.587</c:v>
                </c:pt>
                <c:pt idx="86">
                  <c:v>0.587-0.594</c:v>
                </c:pt>
                <c:pt idx="87">
                  <c:v>0.594-0.601</c:v>
                </c:pt>
                <c:pt idx="88">
                  <c:v>0.601-0.607</c:v>
                </c:pt>
                <c:pt idx="89">
                  <c:v>0.607-0.614</c:v>
                </c:pt>
                <c:pt idx="90">
                  <c:v>0.614-0.621</c:v>
                </c:pt>
                <c:pt idx="91">
                  <c:v>0.621-0.627</c:v>
                </c:pt>
                <c:pt idx="92">
                  <c:v>0.627-0.634</c:v>
                </c:pt>
                <c:pt idx="93">
                  <c:v>0.634-0.641</c:v>
                </c:pt>
                <c:pt idx="94">
                  <c:v>0.641-0.648</c:v>
                </c:pt>
                <c:pt idx="95">
                  <c:v>0.648-0.654</c:v>
                </c:pt>
                <c:pt idx="96">
                  <c:v>0.654-0.661</c:v>
                </c:pt>
                <c:pt idx="97">
                  <c:v>0.661-0.668</c:v>
                </c:pt>
                <c:pt idx="98">
                  <c:v>0.668-0.674</c:v>
                </c:pt>
                <c:pt idx="99">
                  <c:v>0.674-0.681</c:v>
                </c:pt>
                <c:pt idx="100">
                  <c:v>0.681-0.688</c:v>
                </c:pt>
                <c:pt idx="101">
                  <c:v>0.688-0.695</c:v>
                </c:pt>
                <c:pt idx="102">
                  <c:v>0.695-0.701</c:v>
                </c:pt>
                <c:pt idx="103">
                  <c:v>0.701-0.708</c:v>
                </c:pt>
                <c:pt idx="104">
                  <c:v>0.708-0.715</c:v>
                </c:pt>
                <c:pt idx="105">
                  <c:v>0.715-0.721</c:v>
                </c:pt>
                <c:pt idx="106">
                  <c:v>0.721-0.728</c:v>
                </c:pt>
                <c:pt idx="107">
                  <c:v>0.728-0.735</c:v>
                </c:pt>
                <c:pt idx="108">
                  <c:v>0.735-0.741</c:v>
                </c:pt>
                <c:pt idx="109">
                  <c:v>0.741-0.748</c:v>
                </c:pt>
                <c:pt idx="110">
                  <c:v>0.748-0.755</c:v>
                </c:pt>
                <c:pt idx="111">
                  <c:v>0.755-0.762</c:v>
                </c:pt>
                <c:pt idx="112">
                  <c:v>0.762-0.768</c:v>
                </c:pt>
                <c:pt idx="113">
                  <c:v>0.768-0.775</c:v>
                </c:pt>
                <c:pt idx="114">
                  <c:v>0.775-0.782</c:v>
                </c:pt>
                <c:pt idx="115">
                  <c:v>0.782-0.788</c:v>
                </c:pt>
                <c:pt idx="116">
                  <c:v>0.788-0.795</c:v>
                </c:pt>
                <c:pt idx="117">
                  <c:v>0.795-0.802</c:v>
                </c:pt>
                <c:pt idx="118">
                  <c:v>0.802-0.809</c:v>
                </c:pt>
                <c:pt idx="119">
                  <c:v>0.809-0.815</c:v>
                </c:pt>
                <c:pt idx="120">
                  <c:v>0.815-0.822</c:v>
                </c:pt>
                <c:pt idx="121">
                  <c:v>0.822-0.829</c:v>
                </c:pt>
                <c:pt idx="122">
                  <c:v>0.829-0.835</c:v>
                </c:pt>
                <c:pt idx="123">
                  <c:v>0.835-0.842</c:v>
                </c:pt>
                <c:pt idx="124">
                  <c:v>0.842-0.849</c:v>
                </c:pt>
                <c:pt idx="125">
                  <c:v>0.849-0.856</c:v>
                </c:pt>
                <c:pt idx="126">
                  <c:v>0.856-0.862</c:v>
                </c:pt>
                <c:pt idx="127">
                  <c:v>0.862-0.869</c:v>
                </c:pt>
                <c:pt idx="128">
                  <c:v>0.869-0.876</c:v>
                </c:pt>
                <c:pt idx="129">
                  <c:v>0.876-0.882</c:v>
                </c:pt>
                <c:pt idx="130">
                  <c:v>0.882-0.889</c:v>
                </c:pt>
                <c:pt idx="131">
                  <c:v>0.889-0.896</c:v>
                </c:pt>
                <c:pt idx="132">
                  <c:v>0.896-0.903</c:v>
                </c:pt>
                <c:pt idx="133">
                  <c:v>0.903-0.909</c:v>
                </c:pt>
                <c:pt idx="134">
                  <c:v>0.909-0.916</c:v>
                </c:pt>
                <c:pt idx="135">
                  <c:v>0.916-0.923</c:v>
                </c:pt>
                <c:pt idx="136">
                  <c:v>0.923-0.929</c:v>
                </c:pt>
                <c:pt idx="137">
                  <c:v>0.929-0.936</c:v>
                </c:pt>
                <c:pt idx="138">
                  <c:v>0.936-0.943</c:v>
                </c:pt>
                <c:pt idx="139">
                  <c:v>0.943-0.950</c:v>
                </c:pt>
                <c:pt idx="140">
                  <c:v>0.950-0.956</c:v>
                </c:pt>
                <c:pt idx="141">
                  <c:v>0.956-0.963</c:v>
                </c:pt>
                <c:pt idx="142">
                  <c:v>0.963-0.970</c:v>
                </c:pt>
                <c:pt idx="143">
                  <c:v>0.970-0.976</c:v>
                </c:pt>
                <c:pt idx="144">
                  <c:v>0.976-0.983</c:v>
                </c:pt>
                <c:pt idx="145">
                  <c:v>0.983-0.990</c:v>
                </c:pt>
                <c:pt idx="146">
                  <c:v>0.990-0.996</c:v>
                </c:pt>
                <c:pt idx="147">
                  <c:v>0.996-1.003</c:v>
                </c:pt>
                <c:pt idx="148">
                  <c:v>1.003-1.010</c:v>
                </c:pt>
                <c:pt idx="149">
                  <c:v>1.010-1.017</c:v>
                </c:pt>
                <c:pt idx="150">
                  <c:v>1.017-1.023</c:v>
                </c:pt>
                <c:pt idx="151">
                  <c:v>1.023-1.030</c:v>
                </c:pt>
                <c:pt idx="152">
                  <c:v>1.030-1.037</c:v>
                </c:pt>
                <c:pt idx="153">
                  <c:v>1.037-1.043</c:v>
                </c:pt>
                <c:pt idx="154">
                  <c:v>1.043-1.050</c:v>
                </c:pt>
                <c:pt idx="155">
                  <c:v>1.050-1.057</c:v>
                </c:pt>
                <c:pt idx="156">
                  <c:v>1.057-1.064</c:v>
                </c:pt>
                <c:pt idx="157">
                  <c:v>1.064-1.070</c:v>
                </c:pt>
                <c:pt idx="158">
                  <c:v>1.070-1.077</c:v>
                </c:pt>
                <c:pt idx="159">
                  <c:v>1.077-1.084</c:v>
                </c:pt>
                <c:pt idx="160">
                  <c:v>1.084-1.090</c:v>
                </c:pt>
                <c:pt idx="161">
                  <c:v>1.090-1.097</c:v>
                </c:pt>
                <c:pt idx="162">
                  <c:v>1.097-1.104</c:v>
                </c:pt>
                <c:pt idx="163">
                  <c:v>1.104-1.111</c:v>
                </c:pt>
                <c:pt idx="164">
                  <c:v>1.111-1.117</c:v>
                </c:pt>
                <c:pt idx="165">
                  <c:v>1.117-1.124</c:v>
                </c:pt>
                <c:pt idx="166">
                  <c:v>1.124-1.131</c:v>
                </c:pt>
                <c:pt idx="167">
                  <c:v>1.131-1.137</c:v>
                </c:pt>
                <c:pt idx="168">
                  <c:v>1.137-1.144</c:v>
                </c:pt>
                <c:pt idx="169">
                  <c:v>1.144-1.151</c:v>
                </c:pt>
                <c:pt idx="170">
                  <c:v>1.151-1.158</c:v>
                </c:pt>
                <c:pt idx="171">
                  <c:v>1.158-1.164</c:v>
                </c:pt>
                <c:pt idx="172">
                  <c:v>1.164-1.171</c:v>
                </c:pt>
                <c:pt idx="173">
                  <c:v>1.171-1.178</c:v>
                </c:pt>
                <c:pt idx="174">
                  <c:v>1.178-1.184</c:v>
                </c:pt>
                <c:pt idx="175">
                  <c:v>1.184-1.191</c:v>
                </c:pt>
                <c:pt idx="176">
                  <c:v>1.191-1.198</c:v>
                </c:pt>
                <c:pt idx="177">
                  <c:v>1.198-1.205</c:v>
                </c:pt>
                <c:pt idx="178">
                  <c:v>1.205-1.211</c:v>
                </c:pt>
                <c:pt idx="179">
                  <c:v>1.211-1.218</c:v>
                </c:pt>
                <c:pt idx="180">
                  <c:v>1.218-1.225</c:v>
                </c:pt>
                <c:pt idx="181">
                  <c:v>1.225-1.231</c:v>
                </c:pt>
                <c:pt idx="182">
                  <c:v>1.231-1.238</c:v>
                </c:pt>
                <c:pt idx="183">
                  <c:v>1.238-1.245</c:v>
                </c:pt>
                <c:pt idx="184">
                  <c:v>1.245-1.251</c:v>
                </c:pt>
                <c:pt idx="185">
                  <c:v>1.251-1.258</c:v>
                </c:pt>
                <c:pt idx="186">
                  <c:v>1.258-1.265</c:v>
                </c:pt>
                <c:pt idx="187">
                  <c:v>1.265-1.272</c:v>
                </c:pt>
                <c:pt idx="188">
                  <c:v>1.272-1.278</c:v>
                </c:pt>
                <c:pt idx="189">
                  <c:v>1.278-1.285</c:v>
                </c:pt>
                <c:pt idx="190">
                  <c:v>1.285-1.292</c:v>
                </c:pt>
                <c:pt idx="191">
                  <c:v>1.292-1.298</c:v>
                </c:pt>
                <c:pt idx="192">
                  <c:v>1.298-1.305</c:v>
                </c:pt>
                <c:pt idx="193">
                  <c:v>1.305-1.312</c:v>
                </c:pt>
                <c:pt idx="194">
                  <c:v>1.312-1.319</c:v>
                </c:pt>
                <c:pt idx="195">
                  <c:v>1.319-1.325</c:v>
                </c:pt>
                <c:pt idx="196">
                  <c:v>1.325-1.332</c:v>
                </c:pt>
                <c:pt idx="197">
                  <c:v>1.332-1.339</c:v>
                </c:pt>
                <c:pt idx="198">
                  <c:v>1.339-1.345</c:v>
                </c:pt>
                <c:pt idx="199">
                  <c:v>1.345-1.352</c:v>
                </c:pt>
                <c:pt idx="200">
                  <c:v>1.352-1.359</c:v>
                </c:pt>
                <c:pt idx="201">
                  <c:v>1.359-1.366</c:v>
                </c:pt>
                <c:pt idx="202">
                  <c:v>1.366-1.372</c:v>
                </c:pt>
                <c:pt idx="203">
                  <c:v>1.372-1.379</c:v>
                </c:pt>
                <c:pt idx="204">
                  <c:v>1.379-1.386</c:v>
                </c:pt>
                <c:pt idx="205">
                  <c:v>1.386-1.392</c:v>
                </c:pt>
                <c:pt idx="206">
                  <c:v>1.392-1.399</c:v>
                </c:pt>
                <c:pt idx="207">
                  <c:v>1.399-1.406</c:v>
                </c:pt>
                <c:pt idx="208">
                  <c:v>1.406-1.413</c:v>
                </c:pt>
                <c:pt idx="209">
                  <c:v>1.413-1.419</c:v>
                </c:pt>
                <c:pt idx="210">
                  <c:v>1.419-1.426</c:v>
                </c:pt>
                <c:pt idx="211">
                  <c:v>1.426-1.433</c:v>
                </c:pt>
                <c:pt idx="212">
                  <c:v>1.433-1.439</c:v>
                </c:pt>
                <c:pt idx="213">
                  <c:v>1.439-1.446</c:v>
                </c:pt>
                <c:pt idx="214">
                  <c:v>1.446-1.453</c:v>
                </c:pt>
                <c:pt idx="215">
                  <c:v>1.453-1.460</c:v>
                </c:pt>
                <c:pt idx="216">
                  <c:v>1.460-1.466</c:v>
                </c:pt>
                <c:pt idx="217">
                  <c:v>1.466-1.473</c:v>
                </c:pt>
                <c:pt idx="218">
                  <c:v>1.473-1.480</c:v>
                </c:pt>
                <c:pt idx="219">
                  <c:v>1.480-1.486</c:v>
                </c:pt>
                <c:pt idx="220">
                  <c:v>1.486-1.493</c:v>
                </c:pt>
                <c:pt idx="221">
                  <c:v>1.493-1.500</c:v>
                </c:pt>
                <c:pt idx="222">
                  <c:v>1.500-1.507</c:v>
                </c:pt>
                <c:pt idx="223">
                  <c:v>1.507-1.513</c:v>
                </c:pt>
                <c:pt idx="224">
                  <c:v>1.513-1.520</c:v>
                </c:pt>
                <c:pt idx="225">
                  <c:v>1.520-1.527</c:v>
                </c:pt>
                <c:pt idx="226">
                  <c:v>1.527-1.533</c:v>
                </c:pt>
                <c:pt idx="227">
                  <c:v>1.533-1.540</c:v>
                </c:pt>
                <c:pt idx="228">
                  <c:v>1.540-1.547</c:v>
                </c:pt>
                <c:pt idx="229">
                  <c:v>1.547-1.553</c:v>
                </c:pt>
                <c:pt idx="230">
                  <c:v>1.553-1.560</c:v>
                </c:pt>
                <c:pt idx="231">
                  <c:v>1.560-1.567</c:v>
                </c:pt>
                <c:pt idx="232">
                  <c:v>1.567-1.574</c:v>
                </c:pt>
                <c:pt idx="233">
                  <c:v>1.574-1.580</c:v>
                </c:pt>
                <c:pt idx="234">
                  <c:v>1.580-1.587</c:v>
                </c:pt>
                <c:pt idx="235">
                  <c:v>1.587-1.594</c:v>
                </c:pt>
                <c:pt idx="236">
                  <c:v>1.594-1.600</c:v>
                </c:pt>
                <c:pt idx="237">
                  <c:v>1.600-1.607</c:v>
                </c:pt>
                <c:pt idx="238">
                  <c:v>1.607-1.614</c:v>
                </c:pt>
                <c:pt idx="239">
                  <c:v>1.614-1.621</c:v>
                </c:pt>
                <c:pt idx="240">
                  <c:v>1.621-1.627</c:v>
                </c:pt>
                <c:pt idx="241">
                  <c:v>1.627-1.634</c:v>
                </c:pt>
                <c:pt idx="242">
                  <c:v>1.634-1.641</c:v>
                </c:pt>
                <c:pt idx="243">
                  <c:v>1.641-1.647</c:v>
                </c:pt>
                <c:pt idx="244">
                  <c:v>1.647-1.654</c:v>
                </c:pt>
                <c:pt idx="245">
                  <c:v>1.654-1.661</c:v>
                </c:pt>
                <c:pt idx="246">
                  <c:v>1.661-1.668</c:v>
                </c:pt>
                <c:pt idx="247">
                  <c:v>1.668-1.674</c:v>
                </c:pt>
                <c:pt idx="248">
                  <c:v>1.674-1.681</c:v>
                </c:pt>
                <c:pt idx="249">
                  <c:v>1.681-1.688</c:v>
                </c:pt>
                <c:pt idx="250">
                  <c:v>1.688-1.694</c:v>
                </c:pt>
                <c:pt idx="251">
                  <c:v>1.694-1.701</c:v>
                </c:pt>
                <c:pt idx="252">
                  <c:v>1.701-1.708</c:v>
                </c:pt>
                <c:pt idx="253">
                  <c:v>1.708-1.715</c:v>
                </c:pt>
                <c:pt idx="254">
                  <c:v>1.715-1.721</c:v>
                </c:pt>
                <c:pt idx="255">
                  <c:v>1.721-1.728</c:v>
                </c:pt>
                <c:pt idx="256">
                  <c:v>1.728-1.735</c:v>
                </c:pt>
                <c:pt idx="257">
                  <c:v>1.735-1.741</c:v>
                </c:pt>
                <c:pt idx="258">
                  <c:v>1.741-1.748</c:v>
                </c:pt>
                <c:pt idx="259">
                  <c:v>1.748-1.755</c:v>
                </c:pt>
                <c:pt idx="260">
                  <c:v>1.755-1.762</c:v>
                </c:pt>
                <c:pt idx="261">
                  <c:v>1.762-1.768</c:v>
                </c:pt>
                <c:pt idx="262">
                  <c:v>1.768-1.775</c:v>
                </c:pt>
                <c:pt idx="263">
                  <c:v>1.775-1.782</c:v>
                </c:pt>
                <c:pt idx="264">
                  <c:v>1.782-1.788</c:v>
                </c:pt>
                <c:pt idx="265">
                  <c:v>1.788-1.795</c:v>
                </c:pt>
                <c:pt idx="266">
                  <c:v>1.795-1.802</c:v>
                </c:pt>
                <c:pt idx="267">
                  <c:v>1.802-1.808</c:v>
                </c:pt>
                <c:pt idx="268">
                  <c:v>1.808-1.815</c:v>
                </c:pt>
                <c:pt idx="269">
                  <c:v>1.815-1.822</c:v>
                </c:pt>
                <c:pt idx="270">
                  <c:v>1.822-1.829</c:v>
                </c:pt>
                <c:pt idx="271">
                  <c:v>1.829-1.835</c:v>
                </c:pt>
                <c:pt idx="272">
                  <c:v>1.835-1.842</c:v>
                </c:pt>
                <c:pt idx="273">
                  <c:v>1.842-1.849</c:v>
                </c:pt>
                <c:pt idx="274">
                  <c:v>1.849-1.855</c:v>
                </c:pt>
                <c:pt idx="275">
                  <c:v>1.855-1.862</c:v>
                </c:pt>
                <c:pt idx="276">
                  <c:v>1.862-1.869</c:v>
                </c:pt>
                <c:pt idx="277">
                  <c:v>1.869-1.876</c:v>
                </c:pt>
                <c:pt idx="278">
                  <c:v>1.876-1.882</c:v>
                </c:pt>
                <c:pt idx="279">
                  <c:v>1.882-1.889</c:v>
                </c:pt>
                <c:pt idx="280">
                  <c:v>1.889-1.896</c:v>
                </c:pt>
                <c:pt idx="281">
                  <c:v>1.896-1.902</c:v>
                </c:pt>
                <c:pt idx="282">
                  <c:v>1.902-1.909</c:v>
                </c:pt>
                <c:pt idx="283">
                  <c:v>1.909-1.916</c:v>
                </c:pt>
                <c:pt idx="284">
                  <c:v>1.916-1.923</c:v>
                </c:pt>
                <c:pt idx="285">
                  <c:v>1.923-1.929</c:v>
                </c:pt>
                <c:pt idx="286">
                  <c:v>1.929-1.936</c:v>
                </c:pt>
                <c:pt idx="287">
                  <c:v>1.936-1.943</c:v>
                </c:pt>
                <c:pt idx="288">
                  <c:v>1.943-1.949</c:v>
                </c:pt>
                <c:pt idx="289">
                  <c:v>1.949-1.956</c:v>
                </c:pt>
                <c:pt idx="290">
                  <c:v>1.956-1.963</c:v>
                </c:pt>
                <c:pt idx="291">
                  <c:v>1.963-1.970</c:v>
                </c:pt>
                <c:pt idx="292">
                  <c:v>1.970-1.976</c:v>
                </c:pt>
                <c:pt idx="293">
                  <c:v>1.976-1.983</c:v>
                </c:pt>
                <c:pt idx="294">
                  <c:v>1.983-1.990</c:v>
                </c:pt>
                <c:pt idx="295">
                  <c:v>1.990-1.996</c:v>
                </c:pt>
                <c:pt idx="296">
                  <c:v>1.996-2.003</c:v>
                </c:pt>
                <c:pt idx="297">
                  <c:v>2.003-2.010</c:v>
                </c:pt>
                <c:pt idx="298">
                  <c:v>2.010-2.017</c:v>
                </c:pt>
                <c:pt idx="299">
                  <c:v>2.017-2.023</c:v>
                </c:pt>
                <c:pt idx="300">
                  <c:v>2.023-2.030</c:v>
                </c:pt>
                <c:pt idx="301">
                  <c:v>2.030-2.037</c:v>
                </c:pt>
                <c:pt idx="302">
                  <c:v>2.037-2.043</c:v>
                </c:pt>
                <c:pt idx="303">
                  <c:v>2.043-2.050</c:v>
                </c:pt>
                <c:pt idx="304">
                  <c:v>2.050-2.057</c:v>
                </c:pt>
                <c:pt idx="305">
                  <c:v>2.057-2.064</c:v>
                </c:pt>
                <c:pt idx="306">
                  <c:v>2.064-2.070</c:v>
                </c:pt>
                <c:pt idx="307">
                  <c:v>2.070-2.077</c:v>
                </c:pt>
                <c:pt idx="308">
                  <c:v>2.077-2.084</c:v>
                </c:pt>
                <c:pt idx="309">
                  <c:v>2.084-2.090</c:v>
                </c:pt>
                <c:pt idx="310">
                  <c:v>2.090-2.097</c:v>
                </c:pt>
                <c:pt idx="311">
                  <c:v>2.097-2.104</c:v>
                </c:pt>
                <c:pt idx="312">
                  <c:v>2.104-2.110</c:v>
                </c:pt>
                <c:pt idx="313">
                  <c:v>2.110-2.117</c:v>
                </c:pt>
                <c:pt idx="314">
                  <c:v>2.117-2.124</c:v>
                </c:pt>
                <c:pt idx="315">
                  <c:v>2.124-2.131</c:v>
                </c:pt>
                <c:pt idx="316">
                  <c:v>2.131-2.137</c:v>
                </c:pt>
                <c:pt idx="317">
                  <c:v>2.137-2.144</c:v>
                </c:pt>
                <c:pt idx="318">
                  <c:v>2.144-2.151</c:v>
                </c:pt>
                <c:pt idx="319">
                  <c:v>2.151-2.157</c:v>
                </c:pt>
                <c:pt idx="320">
                  <c:v>2.157-2.164</c:v>
                </c:pt>
                <c:pt idx="321">
                  <c:v>2.164-2.171</c:v>
                </c:pt>
                <c:pt idx="322">
                  <c:v>2.171-2.178</c:v>
                </c:pt>
                <c:pt idx="323">
                  <c:v>2.178-2.184</c:v>
                </c:pt>
                <c:pt idx="324">
                  <c:v>2.184-2.191</c:v>
                </c:pt>
                <c:pt idx="325">
                  <c:v>2.191-2.198</c:v>
                </c:pt>
                <c:pt idx="326">
                  <c:v>2.198-2.204</c:v>
                </c:pt>
                <c:pt idx="327">
                  <c:v>2.204-2.211</c:v>
                </c:pt>
                <c:pt idx="328">
                  <c:v>2.211-2.218</c:v>
                </c:pt>
                <c:pt idx="329">
                  <c:v>2.218-2.225</c:v>
                </c:pt>
                <c:pt idx="330">
                  <c:v>2.225-2.231</c:v>
                </c:pt>
                <c:pt idx="331">
                  <c:v>2.231-2.238</c:v>
                </c:pt>
                <c:pt idx="332">
                  <c:v>2.238-2.245</c:v>
                </c:pt>
                <c:pt idx="333">
                  <c:v>2.245-2.251</c:v>
                </c:pt>
                <c:pt idx="334">
                  <c:v>2.251-2.258</c:v>
                </c:pt>
                <c:pt idx="335">
                  <c:v>2.258-2.265</c:v>
                </c:pt>
                <c:pt idx="336">
                  <c:v>2.265-2.272</c:v>
                </c:pt>
                <c:pt idx="337">
                  <c:v>2.272-2.278</c:v>
                </c:pt>
                <c:pt idx="338">
                  <c:v>2.278-2.285</c:v>
                </c:pt>
                <c:pt idx="339">
                  <c:v>2.285-2.292</c:v>
                </c:pt>
                <c:pt idx="340">
                  <c:v>2.292-2.298</c:v>
                </c:pt>
                <c:pt idx="341">
                  <c:v>2.298-2.305</c:v>
                </c:pt>
                <c:pt idx="342">
                  <c:v>2.305-2.312</c:v>
                </c:pt>
                <c:pt idx="343">
                  <c:v>2.312-2.319</c:v>
                </c:pt>
                <c:pt idx="344">
                  <c:v>2.319-2.325</c:v>
                </c:pt>
                <c:pt idx="345">
                  <c:v>2.325-2.332</c:v>
                </c:pt>
                <c:pt idx="346">
                  <c:v>2.332-2.339</c:v>
                </c:pt>
                <c:pt idx="347">
                  <c:v>2.339-2.345</c:v>
                </c:pt>
                <c:pt idx="348">
                  <c:v>2.345-2.352</c:v>
                </c:pt>
                <c:pt idx="349">
                  <c:v>2.352-2.359</c:v>
                </c:pt>
                <c:pt idx="350">
                  <c:v>2.359-2.365</c:v>
                </c:pt>
                <c:pt idx="351">
                  <c:v>2.365-2.372</c:v>
                </c:pt>
                <c:pt idx="352">
                  <c:v>2.372-2.379</c:v>
                </c:pt>
                <c:pt idx="353">
                  <c:v>2.379-2.386</c:v>
                </c:pt>
                <c:pt idx="354">
                  <c:v>2.386-2.392</c:v>
                </c:pt>
                <c:pt idx="355">
                  <c:v>2.392-2.399</c:v>
                </c:pt>
                <c:pt idx="356">
                  <c:v>2.399-2.406</c:v>
                </c:pt>
                <c:pt idx="357">
                  <c:v>2.406-2.412</c:v>
                </c:pt>
                <c:pt idx="358">
                  <c:v>2.412-2.419</c:v>
                </c:pt>
                <c:pt idx="359">
                  <c:v>2.419-2.426</c:v>
                </c:pt>
                <c:pt idx="360">
                  <c:v>2.426-2.433</c:v>
                </c:pt>
                <c:pt idx="361">
                  <c:v>2.433-2.439</c:v>
                </c:pt>
                <c:pt idx="362">
                  <c:v>2.439-2.446</c:v>
                </c:pt>
                <c:pt idx="363">
                  <c:v>2.446-2.453</c:v>
                </c:pt>
                <c:pt idx="364">
                  <c:v>2.453-2.459</c:v>
                </c:pt>
                <c:pt idx="365">
                  <c:v>2.459-2.466</c:v>
                </c:pt>
                <c:pt idx="366">
                  <c:v>2.466-2.473</c:v>
                </c:pt>
                <c:pt idx="367">
                  <c:v>2.473-2.480</c:v>
                </c:pt>
                <c:pt idx="368">
                  <c:v>2.480-2.486</c:v>
                </c:pt>
                <c:pt idx="369">
                  <c:v>2.486-2.493</c:v>
                </c:pt>
                <c:pt idx="370">
                  <c:v>2.493-2.500</c:v>
                </c:pt>
                <c:pt idx="371">
                  <c:v>2.500-2.506</c:v>
                </c:pt>
                <c:pt idx="372">
                  <c:v>2.506-2.513</c:v>
                </c:pt>
                <c:pt idx="373">
                  <c:v>2.513-2.520</c:v>
                </c:pt>
                <c:pt idx="374">
                  <c:v>2.520-2.527</c:v>
                </c:pt>
                <c:pt idx="375">
                  <c:v>2.527-2.533</c:v>
                </c:pt>
                <c:pt idx="376">
                  <c:v>2.533-2.540</c:v>
                </c:pt>
                <c:pt idx="377">
                  <c:v>2.540-2.547</c:v>
                </c:pt>
                <c:pt idx="378">
                  <c:v>2.547-2.553</c:v>
                </c:pt>
                <c:pt idx="379">
                  <c:v>2.553-2.560</c:v>
                </c:pt>
                <c:pt idx="380">
                  <c:v>2.560-2.567</c:v>
                </c:pt>
                <c:pt idx="381">
                  <c:v>2.567-2.574</c:v>
                </c:pt>
                <c:pt idx="382">
                  <c:v>2.574-2.580</c:v>
                </c:pt>
                <c:pt idx="383">
                  <c:v>2.580-2.587</c:v>
                </c:pt>
                <c:pt idx="384">
                  <c:v>2.587-2.594</c:v>
                </c:pt>
                <c:pt idx="385">
                  <c:v>2.594-2.600</c:v>
                </c:pt>
                <c:pt idx="386">
                  <c:v>2.600-2.607</c:v>
                </c:pt>
                <c:pt idx="387">
                  <c:v>2.607-2.614</c:v>
                </c:pt>
                <c:pt idx="388">
                  <c:v>2.614-2.621</c:v>
                </c:pt>
                <c:pt idx="389">
                  <c:v>2.621-2.627</c:v>
                </c:pt>
                <c:pt idx="390">
                  <c:v>2.627-2.634</c:v>
                </c:pt>
                <c:pt idx="391">
                  <c:v>2.634-2.641</c:v>
                </c:pt>
                <c:pt idx="392">
                  <c:v>2.641-2.647</c:v>
                </c:pt>
                <c:pt idx="393">
                  <c:v>2.647-2.654</c:v>
                </c:pt>
                <c:pt idx="394">
                  <c:v>2.654-2.661</c:v>
                </c:pt>
                <c:pt idx="395">
                  <c:v>2.661-2.667</c:v>
                </c:pt>
                <c:pt idx="396">
                  <c:v>2.667-2.674</c:v>
                </c:pt>
                <c:pt idx="397">
                  <c:v>2.674-2.681</c:v>
                </c:pt>
                <c:pt idx="398">
                  <c:v>2.681-2.688</c:v>
                </c:pt>
                <c:pt idx="399">
                  <c:v>2.688-2.694</c:v>
                </c:pt>
                <c:pt idx="400">
                  <c:v>2.694-2.701</c:v>
                </c:pt>
                <c:pt idx="401">
                  <c:v>2.701-2.708</c:v>
                </c:pt>
                <c:pt idx="402">
                  <c:v>2.708-2.714</c:v>
                </c:pt>
                <c:pt idx="403">
                  <c:v>2.714-2.721</c:v>
                </c:pt>
                <c:pt idx="404">
                  <c:v>2.721-2.728</c:v>
                </c:pt>
                <c:pt idx="405">
                  <c:v>2.728-2.735</c:v>
                </c:pt>
                <c:pt idx="406">
                  <c:v>2.735-2.741</c:v>
                </c:pt>
                <c:pt idx="407">
                  <c:v>2.741-2.748</c:v>
                </c:pt>
                <c:pt idx="408">
                  <c:v>2.748-2.755</c:v>
                </c:pt>
                <c:pt idx="409">
                  <c:v>2.755-2.761</c:v>
                </c:pt>
                <c:pt idx="410">
                  <c:v>2.761-2.768</c:v>
                </c:pt>
                <c:pt idx="411">
                  <c:v>2.768-2.775</c:v>
                </c:pt>
                <c:pt idx="412">
                  <c:v>2.775-2.782</c:v>
                </c:pt>
                <c:pt idx="413">
                  <c:v>2.782-2.788</c:v>
                </c:pt>
                <c:pt idx="414">
                  <c:v>2.788-2.795</c:v>
                </c:pt>
                <c:pt idx="415">
                  <c:v>2.795-2.802</c:v>
                </c:pt>
                <c:pt idx="416">
                  <c:v>2.802-2.808</c:v>
                </c:pt>
                <c:pt idx="417">
                  <c:v>2.808-2.815</c:v>
                </c:pt>
                <c:pt idx="418">
                  <c:v>2.815-2.822</c:v>
                </c:pt>
                <c:pt idx="419">
                  <c:v>2.822-2.829</c:v>
                </c:pt>
                <c:pt idx="420">
                  <c:v>2.829-2.835</c:v>
                </c:pt>
                <c:pt idx="421">
                  <c:v>2.835-2.842</c:v>
                </c:pt>
                <c:pt idx="422">
                  <c:v>2.842-2.849</c:v>
                </c:pt>
                <c:pt idx="423">
                  <c:v>2.849-2.855</c:v>
                </c:pt>
                <c:pt idx="424">
                  <c:v>2.855-2.862</c:v>
                </c:pt>
                <c:pt idx="425">
                  <c:v>2.862-2.869</c:v>
                </c:pt>
                <c:pt idx="426">
                  <c:v>2.869-2.876</c:v>
                </c:pt>
                <c:pt idx="427">
                  <c:v>2.876-2.882</c:v>
                </c:pt>
                <c:pt idx="428">
                  <c:v>2.882-2.889</c:v>
                </c:pt>
                <c:pt idx="429">
                  <c:v>2.889-2.896</c:v>
                </c:pt>
                <c:pt idx="430">
                  <c:v>2.896-2.902</c:v>
                </c:pt>
                <c:pt idx="431">
                  <c:v>2.902-2.909</c:v>
                </c:pt>
                <c:pt idx="432">
                  <c:v>2.909-2.916</c:v>
                </c:pt>
                <c:pt idx="433">
                  <c:v>2.916-2.922</c:v>
                </c:pt>
                <c:pt idx="434">
                  <c:v>2.922-2.929</c:v>
                </c:pt>
                <c:pt idx="435">
                  <c:v>2.929-2.936</c:v>
                </c:pt>
                <c:pt idx="436">
                  <c:v>2.936-2.943</c:v>
                </c:pt>
                <c:pt idx="437">
                  <c:v>2.943-2.949</c:v>
                </c:pt>
                <c:pt idx="438">
                  <c:v>2.949-2.956</c:v>
                </c:pt>
                <c:pt idx="439">
                  <c:v>2.956-2.963</c:v>
                </c:pt>
                <c:pt idx="440">
                  <c:v>2.963-2.969</c:v>
                </c:pt>
                <c:pt idx="441">
                  <c:v>2.969-2.976</c:v>
                </c:pt>
                <c:pt idx="442">
                  <c:v>2.976-2.983</c:v>
                </c:pt>
                <c:pt idx="443">
                  <c:v>2.983-2.990</c:v>
                </c:pt>
                <c:pt idx="444">
                  <c:v>2.990-2.996</c:v>
                </c:pt>
                <c:pt idx="445">
                  <c:v>2.996-3.003</c:v>
                </c:pt>
                <c:pt idx="446">
                  <c:v>3.003-3.010</c:v>
                </c:pt>
                <c:pt idx="447">
                  <c:v>3.010-3.016</c:v>
                </c:pt>
                <c:pt idx="448">
                  <c:v>3.016-3.023</c:v>
                </c:pt>
                <c:pt idx="449">
                  <c:v>3.023-3.030</c:v>
                </c:pt>
                <c:pt idx="450">
                  <c:v>3.030-3.037</c:v>
                </c:pt>
                <c:pt idx="451">
                  <c:v>3.037-3.043</c:v>
                </c:pt>
                <c:pt idx="452">
                  <c:v>3.043-3.050</c:v>
                </c:pt>
                <c:pt idx="453">
                  <c:v>3.050-3.057</c:v>
                </c:pt>
                <c:pt idx="454">
                  <c:v>3.057-3.063</c:v>
                </c:pt>
                <c:pt idx="455">
                  <c:v>3.063-3.070</c:v>
                </c:pt>
                <c:pt idx="456">
                  <c:v>3.070-3.077</c:v>
                </c:pt>
                <c:pt idx="457">
                  <c:v>3.077-3.084</c:v>
                </c:pt>
                <c:pt idx="458">
                  <c:v>3.084-3.090</c:v>
                </c:pt>
                <c:pt idx="459">
                  <c:v>3.090-3.097</c:v>
                </c:pt>
                <c:pt idx="460">
                  <c:v>3.097-3.104</c:v>
                </c:pt>
                <c:pt idx="461">
                  <c:v>3.104-3.110</c:v>
                </c:pt>
                <c:pt idx="462">
                  <c:v>3.110-3.117</c:v>
                </c:pt>
                <c:pt idx="463">
                  <c:v>3.117-3.124</c:v>
                </c:pt>
                <c:pt idx="464">
                  <c:v>3.124-3.131</c:v>
                </c:pt>
                <c:pt idx="465">
                  <c:v>3.131-3.137</c:v>
                </c:pt>
                <c:pt idx="466">
                  <c:v>3.137-3.144</c:v>
                </c:pt>
                <c:pt idx="467">
                  <c:v>3.144-3.151</c:v>
                </c:pt>
                <c:pt idx="468">
                  <c:v>3.151-3.157</c:v>
                </c:pt>
                <c:pt idx="469">
                  <c:v>3.157-3.164</c:v>
                </c:pt>
                <c:pt idx="470">
                  <c:v>3.164-3.171</c:v>
                </c:pt>
                <c:pt idx="471">
                  <c:v>3.171-3.177</c:v>
                </c:pt>
                <c:pt idx="472">
                  <c:v>3.177-3.184</c:v>
                </c:pt>
                <c:pt idx="473">
                  <c:v>3.184-3.191</c:v>
                </c:pt>
                <c:pt idx="474">
                  <c:v>3.191-3.198</c:v>
                </c:pt>
                <c:pt idx="475">
                  <c:v>3.198-3.204</c:v>
                </c:pt>
                <c:pt idx="476">
                  <c:v>3.204-3.211</c:v>
                </c:pt>
                <c:pt idx="477">
                  <c:v>3.211-3.218</c:v>
                </c:pt>
                <c:pt idx="478">
                  <c:v>3.218-3.224</c:v>
                </c:pt>
                <c:pt idx="479">
                  <c:v>3.224-3.231</c:v>
                </c:pt>
                <c:pt idx="480">
                  <c:v>3.231-3.238</c:v>
                </c:pt>
                <c:pt idx="481">
                  <c:v>3.238-3.245</c:v>
                </c:pt>
                <c:pt idx="482">
                  <c:v>3.245-3.251</c:v>
                </c:pt>
                <c:pt idx="483">
                  <c:v>3.251-3.258</c:v>
                </c:pt>
                <c:pt idx="484">
                  <c:v>3.258-3.265</c:v>
                </c:pt>
                <c:pt idx="485">
                  <c:v>3.265-3.271</c:v>
                </c:pt>
                <c:pt idx="486">
                  <c:v>3.271-3.278</c:v>
                </c:pt>
                <c:pt idx="487">
                  <c:v>3.278-3.285</c:v>
                </c:pt>
                <c:pt idx="488">
                  <c:v>3.285-3.292</c:v>
                </c:pt>
                <c:pt idx="489">
                  <c:v>3.292-3.298</c:v>
                </c:pt>
                <c:pt idx="490">
                  <c:v>3.298-3.305</c:v>
                </c:pt>
                <c:pt idx="491">
                  <c:v>3.305-3.312</c:v>
                </c:pt>
                <c:pt idx="492">
                  <c:v>3.312-3.318</c:v>
                </c:pt>
                <c:pt idx="493">
                  <c:v>3.318-3.325</c:v>
                </c:pt>
                <c:pt idx="494">
                  <c:v>3.325-3.332</c:v>
                </c:pt>
                <c:pt idx="495">
                  <c:v>3.332-3.339</c:v>
                </c:pt>
                <c:pt idx="496">
                  <c:v>3.339-3.345</c:v>
                </c:pt>
                <c:pt idx="497">
                  <c:v>3.345-3.352</c:v>
                </c:pt>
                <c:pt idx="498">
                  <c:v>3.352-3.359</c:v>
                </c:pt>
                <c:pt idx="499">
                  <c:v>3.359-3.365</c:v>
                </c:pt>
                <c:pt idx="500">
                  <c:v>3.365-3.372</c:v>
                </c:pt>
                <c:pt idx="501">
                  <c:v>3.372-3.379</c:v>
                </c:pt>
                <c:pt idx="502">
                  <c:v>3.379-3.386</c:v>
                </c:pt>
                <c:pt idx="503">
                  <c:v>3.386-3.392</c:v>
                </c:pt>
                <c:pt idx="504">
                  <c:v>3.392-3.399</c:v>
                </c:pt>
                <c:pt idx="505">
                  <c:v>3.399-3.406</c:v>
                </c:pt>
                <c:pt idx="506">
                  <c:v>3.406-3.412</c:v>
                </c:pt>
                <c:pt idx="507">
                  <c:v>3.412-3.419</c:v>
                </c:pt>
                <c:pt idx="508">
                  <c:v>3.419-3.426</c:v>
                </c:pt>
                <c:pt idx="509">
                  <c:v>3.426-3.433</c:v>
                </c:pt>
                <c:pt idx="510">
                  <c:v>3.433-3.439</c:v>
                </c:pt>
                <c:pt idx="511">
                  <c:v>3.439-3.446</c:v>
                </c:pt>
                <c:pt idx="512">
                  <c:v>3.446-3.453</c:v>
                </c:pt>
                <c:pt idx="513">
                  <c:v>3.453-3.459</c:v>
                </c:pt>
                <c:pt idx="514">
                  <c:v>3.459-3.466</c:v>
                </c:pt>
                <c:pt idx="515">
                  <c:v>3.466-3.473</c:v>
                </c:pt>
                <c:pt idx="516">
                  <c:v>3.473-3.479</c:v>
                </c:pt>
                <c:pt idx="517">
                  <c:v>3.479-3.486</c:v>
                </c:pt>
                <c:pt idx="518">
                  <c:v>3.486-3.493</c:v>
                </c:pt>
                <c:pt idx="519">
                  <c:v>3.493-3.500</c:v>
                </c:pt>
                <c:pt idx="520">
                  <c:v>3.500-3.506</c:v>
                </c:pt>
                <c:pt idx="521">
                  <c:v>3.506-3.513</c:v>
                </c:pt>
                <c:pt idx="522">
                  <c:v>3.513-3.520</c:v>
                </c:pt>
                <c:pt idx="523">
                  <c:v>3.520-3.526</c:v>
                </c:pt>
                <c:pt idx="524">
                  <c:v>3.526-3.533</c:v>
                </c:pt>
                <c:pt idx="525">
                  <c:v>3.533-3.540</c:v>
                </c:pt>
                <c:pt idx="526">
                  <c:v>3.540-3.547</c:v>
                </c:pt>
                <c:pt idx="527">
                  <c:v>3.547-3.553</c:v>
                </c:pt>
                <c:pt idx="528">
                  <c:v>3.553-3.560</c:v>
                </c:pt>
                <c:pt idx="529">
                  <c:v>3.560-3.567</c:v>
                </c:pt>
                <c:pt idx="530">
                  <c:v>3.567-3.573</c:v>
                </c:pt>
                <c:pt idx="531">
                  <c:v>3.573-3.580</c:v>
                </c:pt>
                <c:pt idx="532">
                  <c:v>3.580-3.587</c:v>
                </c:pt>
                <c:pt idx="533">
                  <c:v>3.587-3.594</c:v>
                </c:pt>
                <c:pt idx="534">
                  <c:v>3.594-3.600</c:v>
                </c:pt>
                <c:pt idx="535">
                  <c:v>3.600-3.607</c:v>
                </c:pt>
                <c:pt idx="536">
                  <c:v>3.607-3.614</c:v>
                </c:pt>
                <c:pt idx="537">
                  <c:v>3.614-3.620</c:v>
                </c:pt>
                <c:pt idx="538">
                  <c:v>3.620-3.627</c:v>
                </c:pt>
                <c:pt idx="539">
                  <c:v>3.627-3.634</c:v>
                </c:pt>
                <c:pt idx="540">
                  <c:v>3.634-3.641</c:v>
                </c:pt>
                <c:pt idx="541">
                  <c:v>3.641-3.647</c:v>
                </c:pt>
                <c:pt idx="542">
                  <c:v>3.647-3.654</c:v>
                </c:pt>
                <c:pt idx="543">
                  <c:v>3.654-3.661</c:v>
                </c:pt>
                <c:pt idx="544">
                  <c:v>3.661-3.667</c:v>
                </c:pt>
                <c:pt idx="545">
                  <c:v>3.667-3.674</c:v>
                </c:pt>
                <c:pt idx="546">
                  <c:v>3.674-3.681</c:v>
                </c:pt>
                <c:pt idx="547">
                  <c:v>3.681-3.688</c:v>
                </c:pt>
                <c:pt idx="548">
                  <c:v>3.688-3.694</c:v>
                </c:pt>
                <c:pt idx="549">
                  <c:v>3.694-3.701</c:v>
                </c:pt>
                <c:pt idx="550">
                  <c:v>3.701-3.708</c:v>
                </c:pt>
                <c:pt idx="551">
                  <c:v>3.708-3.714</c:v>
                </c:pt>
                <c:pt idx="552">
                  <c:v>3.714-3.721</c:v>
                </c:pt>
                <c:pt idx="553">
                  <c:v>3.721-3.728</c:v>
                </c:pt>
                <c:pt idx="554">
                  <c:v>3.728-3.734</c:v>
                </c:pt>
                <c:pt idx="555">
                  <c:v>3.734-3.741</c:v>
                </c:pt>
                <c:pt idx="556">
                  <c:v>3.741-3.748</c:v>
                </c:pt>
                <c:pt idx="557">
                  <c:v>3.748-3.755</c:v>
                </c:pt>
                <c:pt idx="558">
                  <c:v>3.755-3.761</c:v>
                </c:pt>
                <c:pt idx="559">
                  <c:v>3.761-3.768</c:v>
                </c:pt>
                <c:pt idx="560">
                  <c:v>3.768-3.775</c:v>
                </c:pt>
                <c:pt idx="561">
                  <c:v>3.775-3.781</c:v>
                </c:pt>
                <c:pt idx="562">
                  <c:v>3.781-3.788</c:v>
                </c:pt>
                <c:pt idx="563">
                  <c:v>3.788-3.795</c:v>
                </c:pt>
                <c:pt idx="564">
                  <c:v>3.795-3.802</c:v>
                </c:pt>
                <c:pt idx="565">
                  <c:v>3.802-3.808</c:v>
                </c:pt>
                <c:pt idx="566">
                  <c:v>3.808-3.815</c:v>
                </c:pt>
                <c:pt idx="567">
                  <c:v>3.815-3.822</c:v>
                </c:pt>
                <c:pt idx="568">
                  <c:v>3.822-3.828</c:v>
                </c:pt>
                <c:pt idx="569">
                  <c:v>3.828-3.835</c:v>
                </c:pt>
                <c:pt idx="570">
                  <c:v>3.835-3.842</c:v>
                </c:pt>
                <c:pt idx="571">
                  <c:v>3.842-3.849</c:v>
                </c:pt>
                <c:pt idx="572">
                  <c:v>3.849-3.855</c:v>
                </c:pt>
                <c:pt idx="573">
                  <c:v>3.855-3.862</c:v>
                </c:pt>
                <c:pt idx="574">
                  <c:v>3.862-3.869</c:v>
                </c:pt>
                <c:pt idx="575">
                  <c:v>3.869-3.875</c:v>
                </c:pt>
                <c:pt idx="576">
                  <c:v>3.875-3.882</c:v>
                </c:pt>
                <c:pt idx="577">
                  <c:v>3.882-3.889</c:v>
                </c:pt>
                <c:pt idx="578">
                  <c:v>3.889-3.896</c:v>
                </c:pt>
                <c:pt idx="579">
                  <c:v>3.896-3.902</c:v>
                </c:pt>
                <c:pt idx="580">
                  <c:v>3.902-3.909</c:v>
                </c:pt>
                <c:pt idx="581">
                  <c:v>3.909-3.916</c:v>
                </c:pt>
                <c:pt idx="582">
                  <c:v>3.916-3.922</c:v>
                </c:pt>
                <c:pt idx="583">
                  <c:v>3.922-3.929</c:v>
                </c:pt>
                <c:pt idx="584">
                  <c:v>3.929-3.936</c:v>
                </c:pt>
                <c:pt idx="585">
                  <c:v>3.936-3.943</c:v>
                </c:pt>
                <c:pt idx="586">
                  <c:v>3.943-3.949</c:v>
                </c:pt>
                <c:pt idx="587">
                  <c:v>3.949-3.956</c:v>
                </c:pt>
                <c:pt idx="588">
                  <c:v>3.956-3.963</c:v>
                </c:pt>
                <c:pt idx="589">
                  <c:v>3.963-3.969</c:v>
                </c:pt>
                <c:pt idx="590">
                  <c:v>3.969-3.976</c:v>
                </c:pt>
                <c:pt idx="591">
                  <c:v>3.976-3.983</c:v>
                </c:pt>
                <c:pt idx="592">
                  <c:v>3.983-3.990</c:v>
                </c:pt>
                <c:pt idx="593">
                  <c:v>3.990-3.996</c:v>
                </c:pt>
                <c:pt idx="594">
                  <c:v>3.996-4.003</c:v>
                </c:pt>
                <c:pt idx="595">
                  <c:v>4.003-4.010</c:v>
                </c:pt>
                <c:pt idx="596">
                  <c:v>4.010-4.016</c:v>
                </c:pt>
                <c:pt idx="597">
                  <c:v>4.016-4.023</c:v>
                </c:pt>
                <c:pt idx="598">
                  <c:v>4.023-4.030</c:v>
                </c:pt>
                <c:pt idx="599">
                  <c:v>4.030-4.036</c:v>
                </c:pt>
                <c:pt idx="600">
                  <c:v>4.036-4.043</c:v>
                </c:pt>
                <c:pt idx="601">
                  <c:v>4.043-4.050</c:v>
                </c:pt>
                <c:pt idx="602">
                  <c:v>4.050-4.057</c:v>
                </c:pt>
                <c:pt idx="603">
                  <c:v>4.057-4.063</c:v>
                </c:pt>
                <c:pt idx="604">
                  <c:v>4.063-4.070</c:v>
                </c:pt>
                <c:pt idx="605">
                  <c:v>4.070-4.077</c:v>
                </c:pt>
                <c:pt idx="606">
                  <c:v>4.077-4.083</c:v>
                </c:pt>
                <c:pt idx="607">
                  <c:v>4.083-4.090</c:v>
                </c:pt>
                <c:pt idx="608">
                  <c:v>4.090-4.097</c:v>
                </c:pt>
                <c:pt idx="609">
                  <c:v>4.097-4.104</c:v>
                </c:pt>
                <c:pt idx="610">
                  <c:v>4.104-4.110</c:v>
                </c:pt>
                <c:pt idx="611">
                  <c:v>4.110-4.117</c:v>
                </c:pt>
                <c:pt idx="612">
                  <c:v>4.117-4.124</c:v>
                </c:pt>
                <c:pt idx="613">
                  <c:v>4.124-4.130</c:v>
                </c:pt>
                <c:pt idx="614">
                  <c:v>4.130-4.137</c:v>
                </c:pt>
                <c:pt idx="615">
                  <c:v>4.137-4.144</c:v>
                </c:pt>
                <c:pt idx="616">
                  <c:v>4.144-4.151</c:v>
                </c:pt>
                <c:pt idx="617">
                  <c:v>4.151-4.157</c:v>
                </c:pt>
                <c:pt idx="618">
                  <c:v>4.157-4.164</c:v>
                </c:pt>
                <c:pt idx="619">
                  <c:v>4.164-4.171</c:v>
                </c:pt>
                <c:pt idx="620">
                  <c:v>4.171-4.177</c:v>
                </c:pt>
                <c:pt idx="621">
                  <c:v>4.177-4.184</c:v>
                </c:pt>
                <c:pt idx="622">
                  <c:v>4.184-4.191</c:v>
                </c:pt>
                <c:pt idx="623">
                  <c:v>4.191-4.198</c:v>
                </c:pt>
                <c:pt idx="624">
                  <c:v>4.198-4.204</c:v>
                </c:pt>
                <c:pt idx="625">
                  <c:v>4.204-4.211</c:v>
                </c:pt>
                <c:pt idx="626">
                  <c:v>4.211-4.218</c:v>
                </c:pt>
                <c:pt idx="627">
                  <c:v>4.218-4.224</c:v>
                </c:pt>
                <c:pt idx="628">
                  <c:v>4.224-4.231</c:v>
                </c:pt>
                <c:pt idx="629">
                  <c:v>4.231-4.238</c:v>
                </c:pt>
                <c:pt idx="630">
                  <c:v>4.238-4.245</c:v>
                </c:pt>
                <c:pt idx="631">
                  <c:v>4.245-4.251</c:v>
                </c:pt>
                <c:pt idx="632">
                  <c:v>4.251-4.258</c:v>
                </c:pt>
                <c:pt idx="633">
                  <c:v>4.258-4.265</c:v>
                </c:pt>
                <c:pt idx="634">
                  <c:v>4.265-4.271</c:v>
                </c:pt>
                <c:pt idx="635">
                  <c:v>4.271-4.278</c:v>
                </c:pt>
                <c:pt idx="636">
                  <c:v>4.278-4.285</c:v>
                </c:pt>
                <c:pt idx="637">
                  <c:v>4.285-4.291</c:v>
                </c:pt>
                <c:pt idx="638">
                  <c:v>4.291-4.298</c:v>
                </c:pt>
                <c:pt idx="639">
                  <c:v>4.298-4.305</c:v>
                </c:pt>
                <c:pt idx="640">
                  <c:v>4.305-4.312</c:v>
                </c:pt>
                <c:pt idx="641">
                  <c:v>4.312-4.318</c:v>
                </c:pt>
                <c:pt idx="642">
                  <c:v>4.318-4.325</c:v>
                </c:pt>
                <c:pt idx="643">
                  <c:v>4.325-4.332</c:v>
                </c:pt>
                <c:pt idx="644">
                  <c:v>4.332-4.338</c:v>
                </c:pt>
                <c:pt idx="645">
                  <c:v>4.338-4.345</c:v>
                </c:pt>
                <c:pt idx="646">
                  <c:v>4.345-4.352</c:v>
                </c:pt>
                <c:pt idx="647">
                  <c:v>4.352-4.359</c:v>
                </c:pt>
                <c:pt idx="648">
                  <c:v>4.359-4.365</c:v>
                </c:pt>
                <c:pt idx="649">
                  <c:v>4.365-4.372</c:v>
                </c:pt>
                <c:pt idx="650">
                  <c:v>4.372-4.379</c:v>
                </c:pt>
                <c:pt idx="651">
                  <c:v>4.379-4.385</c:v>
                </c:pt>
                <c:pt idx="652">
                  <c:v>4.385-4.392</c:v>
                </c:pt>
                <c:pt idx="653">
                  <c:v>4.392-4.399</c:v>
                </c:pt>
                <c:pt idx="654">
                  <c:v>4.399-4.406</c:v>
                </c:pt>
                <c:pt idx="655">
                  <c:v>4.406-4.412</c:v>
                </c:pt>
                <c:pt idx="656">
                  <c:v>4.412-4.419</c:v>
                </c:pt>
                <c:pt idx="657">
                  <c:v>4.419-4.426</c:v>
                </c:pt>
                <c:pt idx="658">
                  <c:v>4.426-4.432</c:v>
                </c:pt>
                <c:pt idx="659">
                  <c:v>4.432-4.439</c:v>
                </c:pt>
                <c:pt idx="660">
                  <c:v>4.439-4.446</c:v>
                </c:pt>
                <c:pt idx="661">
                  <c:v>4.446-4.453</c:v>
                </c:pt>
                <c:pt idx="662">
                  <c:v>4.453-4.459</c:v>
                </c:pt>
                <c:pt idx="663">
                  <c:v>4.459-4.466</c:v>
                </c:pt>
                <c:pt idx="664">
                  <c:v>4.466-4.473</c:v>
                </c:pt>
                <c:pt idx="665">
                  <c:v>4.473-4.479</c:v>
                </c:pt>
                <c:pt idx="666">
                  <c:v>4.479-4.486</c:v>
                </c:pt>
                <c:pt idx="667">
                  <c:v>4.486-4.493</c:v>
                </c:pt>
                <c:pt idx="668">
                  <c:v>4.493-4.500</c:v>
                </c:pt>
                <c:pt idx="669">
                  <c:v>4.500-4.506</c:v>
                </c:pt>
                <c:pt idx="670">
                  <c:v>4.506-4.513</c:v>
                </c:pt>
                <c:pt idx="671">
                  <c:v>4.513-4.520</c:v>
                </c:pt>
                <c:pt idx="672">
                  <c:v>4.520-4.526</c:v>
                </c:pt>
                <c:pt idx="673">
                  <c:v>4.526-4.533</c:v>
                </c:pt>
                <c:pt idx="674">
                  <c:v>4.533-4.540</c:v>
                </c:pt>
                <c:pt idx="675">
                  <c:v>4.540-4.547</c:v>
                </c:pt>
                <c:pt idx="676">
                  <c:v>4.547-4.553</c:v>
                </c:pt>
                <c:pt idx="677">
                  <c:v>4.553-4.560</c:v>
                </c:pt>
                <c:pt idx="678">
                  <c:v>4.560-4.567</c:v>
                </c:pt>
                <c:pt idx="679">
                  <c:v>4.567-4.573</c:v>
                </c:pt>
                <c:pt idx="680">
                  <c:v>4.573-4.580</c:v>
                </c:pt>
                <c:pt idx="681">
                  <c:v>4.580-4.587</c:v>
                </c:pt>
                <c:pt idx="682">
                  <c:v>4.587-4.593</c:v>
                </c:pt>
                <c:pt idx="683">
                  <c:v>4.593-4.600</c:v>
                </c:pt>
                <c:pt idx="684">
                  <c:v>4.600-4.607</c:v>
                </c:pt>
                <c:pt idx="685">
                  <c:v>4.607-4.614</c:v>
                </c:pt>
                <c:pt idx="686">
                  <c:v>4.614-4.620</c:v>
                </c:pt>
                <c:pt idx="687">
                  <c:v>4.620-4.627</c:v>
                </c:pt>
                <c:pt idx="688">
                  <c:v>4.627-4.634</c:v>
                </c:pt>
                <c:pt idx="689">
                  <c:v>4.634-4.640</c:v>
                </c:pt>
                <c:pt idx="690">
                  <c:v>4.640-4.647</c:v>
                </c:pt>
                <c:pt idx="691">
                  <c:v>4.647-4.654</c:v>
                </c:pt>
                <c:pt idx="692">
                  <c:v>4.654-4.661</c:v>
                </c:pt>
                <c:pt idx="693">
                  <c:v>4.661-4.667</c:v>
                </c:pt>
                <c:pt idx="694">
                  <c:v>4.667-4.674</c:v>
                </c:pt>
                <c:pt idx="695">
                  <c:v>4.674-4.681</c:v>
                </c:pt>
                <c:pt idx="696">
                  <c:v>4.681-4.687</c:v>
                </c:pt>
                <c:pt idx="697">
                  <c:v>4.687-4.694</c:v>
                </c:pt>
                <c:pt idx="698">
                  <c:v>4.694-4.701</c:v>
                </c:pt>
                <c:pt idx="699">
                  <c:v>4.701-4.708</c:v>
                </c:pt>
                <c:pt idx="700">
                  <c:v>4.708-4.714</c:v>
                </c:pt>
                <c:pt idx="701">
                  <c:v>4.714-4.721</c:v>
                </c:pt>
                <c:pt idx="702">
                  <c:v>4.721-4.728</c:v>
                </c:pt>
                <c:pt idx="703">
                  <c:v>4.728-4.734</c:v>
                </c:pt>
                <c:pt idx="704">
                  <c:v>4.734-4.741</c:v>
                </c:pt>
                <c:pt idx="705">
                  <c:v>4.741-4.748</c:v>
                </c:pt>
                <c:pt idx="706">
                  <c:v>4.748-4.755</c:v>
                </c:pt>
                <c:pt idx="707">
                  <c:v>4.755-4.761</c:v>
                </c:pt>
                <c:pt idx="708">
                  <c:v>4.761-4.768</c:v>
                </c:pt>
                <c:pt idx="709">
                  <c:v>4.768-4.775</c:v>
                </c:pt>
                <c:pt idx="710">
                  <c:v>4.775-4.781</c:v>
                </c:pt>
                <c:pt idx="711">
                  <c:v>4.781-4.788</c:v>
                </c:pt>
                <c:pt idx="712">
                  <c:v>4.788-4.795</c:v>
                </c:pt>
                <c:pt idx="713">
                  <c:v>4.795-4.802</c:v>
                </c:pt>
                <c:pt idx="714">
                  <c:v>4.802-4.808</c:v>
                </c:pt>
                <c:pt idx="715">
                  <c:v>4.808-4.815</c:v>
                </c:pt>
                <c:pt idx="716">
                  <c:v>4.815-4.822</c:v>
                </c:pt>
                <c:pt idx="717">
                  <c:v>4.822-4.828</c:v>
                </c:pt>
                <c:pt idx="718">
                  <c:v>4.828-4.835</c:v>
                </c:pt>
                <c:pt idx="719">
                  <c:v>4.835-4.842</c:v>
                </c:pt>
                <c:pt idx="720">
                  <c:v>4.842-4.848</c:v>
                </c:pt>
                <c:pt idx="721">
                  <c:v>4.848-4.855</c:v>
                </c:pt>
                <c:pt idx="722">
                  <c:v>4.855-4.862</c:v>
                </c:pt>
                <c:pt idx="723">
                  <c:v>4.862-4.869</c:v>
                </c:pt>
                <c:pt idx="724">
                  <c:v>4.869-4.875</c:v>
                </c:pt>
                <c:pt idx="725">
                  <c:v>4.875-4.882</c:v>
                </c:pt>
                <c:pt idx="726">
                  <c:v>4.882-4.889</c:v>
                </c:pt>
                <c:pt idx="727">
                  <c:v>4.889-4.895</c:v>
                </c:pt>
                <c:pt idx="728">
                  <c:v>4.895-4.902</c:v>
                </c:pt>
                <c:pt idx="729">
                  <c:v>4.902-4.909</c:v>
                </c:pt>
                <c:pt idx="730">
                  <c:v>4.909-4.916</c:v>
                </c:pt>
                <c:pt idx="731">
                  <c:v>4.916-4.922</c:v>
                </c:pt>
                <c:pt idx="732">
                  <c:v>4.922-4.929</c:v>
                </c:pt>
                <c:pt idx="733">
                  <c:v>4.929-4.936</c:v>
                </c:pt>
                <c:pt idx="734">
                  <c:v>4.936-4.942</c:v>
                </c:pt>
                <c:pt idx="735">
                  <c:v>4.942-4.949</c:v>
                </c:pt>
                <c:pt idx="736">
                  <c:v>4.949-4.956</c:v>
                </c:pt>
                <c:pt idx="737">
                  <c:v>4.956-4.963</c:v>
                </c:pt>
                <c:pt idx="738">
                  <c:v>4.963-4.969</c:v>
                </c:pt>
                <c:pt idx="739">
                  <c:v>4.969-4.976</c:v>
                </c:pt>
                <c:pt idx="740">
                  <c:v>4.976-4.983</c:v>
                </c:pt>
                <c:pt idx="741">
                  <c:v>4.983-4.989</c:v>
                </c:pt>
                <c:pt idx="742">
                  <c:v>4.989-4.996</c:v>
                </c:pt>
                <c:pt idx="743">
                  <c:v>4.996-5.003</c:v>
                </c:pt>
                <c:pt idx="744">
                  <c:v>5.003-5.010</c:v>
                </c:pt>
                <c:pt idx="745">
                  <c:v>5.010-5.016</c:v>
                </c:pt>
                <c:pt idx="746">
                  <c:v>5.016-5.023</c:v>
                </c:pt>
                <c:pt idx="747">
                  <c:v>5.023-5.030</c:v>
                </c:pt>
                <c:pt idx="748">
                  <c:v>5.030-5.036</c:v>
                </c:pt>
                <c:pt idx="749">
                  <c:v>5.036-5.043</c:v>
                </c:pt>
                <c:pt idx="750">
                  <c:v>5.043-5.050</c:v>
                </c:pt>
                <c:pt idx="751">
                  <c:v>5.050-5.057</c:v>
                </c:pt>
                <c:pt idx="752">
                  <c:v>5.057-5.063</c:v>
                </c:pt>
                <c:pt idx="753">
                  <c:v>5.063-5.070</c:v>
                </c:pt>
                <c:pt idx="754">
                  <c:v>5.070-5.077</c:v>
                </c:pt>
                <c:pt idx="755">
                  <c:v>5.077-5.083</c:v>
                </c:pt>
                <c:pt idx="756">
                  <c:v>5.083-5.090</c:v>
                </c:pt>
                <c:pt idx="757">
                  <c:v>5.090-5.097</c:v>
                </c:pt>
                <c:pt idx="758">
                  <c:v>5.097-5.103</c:v>
                </c:pt>
                <c:pt idx="759">
                  <c:v>5.103-5.110</c:v>
                </c:pt>
                <c:pt idx="760">
                  <c:v>5.110-5.117</c:v>
                </c:pt>
                <c:pt idx="761">
                  <c:v>5.117-5.124</c:v>
                </c:pt>
                <c:pt idx="762">
                  <c:v>5.124-5.130</c:v>
                </c:pt>
                <c:pt idx="763">
                  <c:v>5.130-5.137</c:v>
                </c:pt>
                <c:pt idx="764">
                  <c:v>5.137-5.144</c:v>
                </c:pt>
                <c:pt idx="765">
                  <c:v>5.144-5.150</c:v>
                </c:pt>
                <c:pt idx="766">
                  <c:v>5.150-5.157</c:v>
                </c:pt>
                <c:pt idx="767">
                  <c:v>5.157-5.164</c:v>
                </c:pt>
                <c:pt idx="768">
                  <c:v>5.164-5.171</c:v>
                </c:pt>
                <c:pt idx="769">
                  <c:v>5.171-5.177</c:v>
                </c:pt>
                <c:pt idx="770">
                  <c:v>5.177-5.184</c:v>
                </c:pt>
                <c:pt idx="771">
                  <c:v>5.184-5.191</c:v>
                </c:pt>
                <c:pt idx="772">
                  <c:v>5.191-5.197</c:v>
                </c:pt>
                <c:pt idx="773">
                  <c:v>5.197-5.204</c:v>
                </c:pt>
                <c:pt idx="774">
                  <c:v>5.204-5.211</c:v>
                </c:pt>
                <c:pt idx="775">
                  <c:v>5.211-5.218</c:v>
                </c:pt>
                <c:pt idx="776">
                  <c:v>5.218-5.224</c:v>
                </c:pt>
                <c:pt idx="777">
                  <c:v>5.224-5.231</c:v>
                </c:pt>
                <c:pt idx="778">
                  <c:v>5.231-5.238</c:v>
                </c:pt>
                <c:pt idx="779">
                  <c:v>5.238-5.244</c:v>
                </c:pt>
                <c:pt idx="780">
                  <c:v>5.244-5.251</c:v>
                </c:pt>
                <c:pt idx="781">
                  <c:v>5.251-5.258</c:v>
                </c:pt>
                <c:pt idx="782">
                  <c:v>5.258-5.265</c:v>
                </c:pt>
                <c:pt idx="783">
                  <c:v>5.265-5.271</c:v>
                </c:pt>
                <c:pt idx="784">
                  <c:v>5.271-5.278</c:v>
                </c:pt>
                <c:pt idx="785">
                  <c:v>5.278-5.285</c:v>
                </c:pt>
                <c:pt idx="786">
                  <c:v>5.285-5.291</c:v>
                </c:pt>
                <c:pt idx="787">
                  <c:v>5.291-5.298</c:v>
                </c:pt>
                <c:pt idx="788">
                  <c:v>5.298-5.305</c:v>
                </c:pt>
                <c:pt idx="789">
                  <c:v>5.305-5.312</c:v>
                </c:pt>
                <c:pt idx="790">
                  <c:v>5.312-5.318</c:v>
                </c:pt>
                <c:pt idx="791">
                  <c:v>5.318-5.325</c:v>
                </c:pt>
                <c:pt idx="792">
                  <c:v>5.325-5.332</c:v>
                </c:pt>
                <c:pt idx="793">
                  <c:v>5.332-5.338</c:v>
                </c:pt>
                <c:pt idx="794">
                  <c:v>5.338-5.345</c:v>
                </c:pt>
                <c:pt idx="795">
                  <c:v>5.345-5.352</c:v>
                </c:pt>
                <c:pt idx="796">
                  <c:v>5.352-5.359</c:v>
                </c:pt>
                <c:pt idx="797">
                  <c:v>5.359-5.365</c:v>
                </c:pt>
                <c:pt idx="798">
                  <c:v>5.365-5.372</c:v>
                </c:pt>
                <c:pt idx="799">
                  <c:v>5.372-5.379</c:v>
                </c:pt>
                <c:pt idx="800">
                  <c:v>5.379-5.385</c:v>
                </c:pt>
                <c:pt idx="801">
                  <c:v>5.385-5.392</c:v>
                </c:pt>
                <c:pt idx="802">
                  <c:v>5.392-5.399</c:v>
                </c:pt>
                <c:pt idx="803">
                  <c:v>5.399-5.405</c:v>
                </c:pt>
                <c:pt idx="804">
                  <c:v>5.405-5.412</c:v>
                </c:pt>
                <c:pt idx="805">
                  <c:v>5.412-5.419</c:v>
                </c:pt>
                <c:pt idx="806">
                  <c:v>5.419-5.426</c:v>
                </c:pt>
                <c:pt idx="807">
                  <c:v>5.426-5.432</c:v>
                </c:pt>
                <c:pt idx="808">
                  <c:v>5.432-5.439</c:v>
                </c:pt>
                <c:pt idx="809">
                  <c:v>5.439-5.446</c:v>
                </c:pt>
                <c:pt idx="810">
                  <c:v>5.446-5.452</c:v>
                </c:pt>
                <c:pt idx="811">
                  <c:v>5.452-5.459</c:v>
                </c:pt>
                <c:pt idx="812">
                  <c:v>5.459-5.466</c:v>
                </c:pt>
                <c:pt idx="813">
                  <c:v>5.466-5.473</c:v>
                </c:pt>
                <c:pt idx="814">
                  <c:v>5.473-5.479</c:v>
                </c:pt>
                <c:pt idx="815">
                  <c:v>5.479-5.486</c:v>
                </c:pt>
                <c:pt idx="816">
                  <c:v>5.486-5.493</c:v>
                </c:pt>
                <c:pt idx="817">
                  <c:v>5.493-5.499</c:v>
                </c:pt>
                <c:pt idx="818">
                  <c:v>5.499-5.506</c:v>
                </c:pt>
                <c:pt idx="819">
                  <c:v>5.506-5.513</c:v>
                </c:pt>
                <c:pt idx="820">
                  <c:v>5.513-5.520</c:v>
                </c:pt>
                <c:pt idx="821">
                  <c:v>5.520-5.526</c:v>
                </c:pt>
                <c:pt idx="822">
                  <c:v>5.526-5.533</c:v>
                </c:pt>
                <c:pt idx="823">
                  <c:v>5.533-5.540</c:v>
                </c:pt>
                <c:pt idx="824">
                  <c:v>5.540-5.546</c:v>
                </c:pt>
                <c:pt idx="825">
                  <c:v>5.546-5.553</c:v>
                </c:pt>
                <c:pt idx="826">
                  <c:v>5.553-5.560</c:v>
                </c:pt>
                <c:pt idx="827">
                  <c:v>5.560-5.567</c:v>
                </c:pt>
                <c:pt idx="828">
                  <c:v>5.567-5.573</c:v>
                </c:pt>
                <c:pt idx="829">
                  <c:v>5.573-5.580</c:v>
                </c:pt>
                <c:pt idx="830">
                  <c:v>5.580-5.587</c:v>
                </c:pt>
                <c:pt idx="831">
                  <c:v>5.587-5.593</c:v>
                </c:pt>
                <c:pt idx="832">
                  <c:v>5.593-5.600</c:v>
                </c:pt>
                <c:pt idx="833">
                  <c:v>5.600-5.607</c:v>
                </c:pt>
                <c:pt idx="834">
                  <c:v>5.607-5.614</c:v>
                </c:pt>
                <c:pt idx="835">
                  <c:v>5.614-5.620</c:v>
                </c:pt>
                <c:pt idx="836">
                  <c:v>5.620-5.627</c:v>
                </c:pt>
                <c:pt idx="837">
                  <c:v>5.627-5.634</c:v>
                </c:pt>
                <c:pt idx="838">
                  <c:v>5.634-5.640</c:v>
                </c:pt>
                <c:pt idx="839">
                  <c:v>5.640-5.647</c:v>
                </c:pt>
                <c:pt idx="840">
                  <c:v>5.647-5.654</c:v>
                </c:pt>
                <c:pt idx="841">
                  <c:v>5.654-5.660</c:v>
                </c:pt>
                <c:pt idx="842">
                  <c:v>5.660-5.667</c:v>
                </c:pt>
                <c:pt idx="843">
                  <c:v>5.667-5.674</c:v>
                </c:pt>
                <c:pt idx="844">
                  <c:v>5.674-5.681</c:v>
                </c:pt>
                <c:pt idx="845">
                  <c:v>5.681-5.687</c:v>
                </c:pt>
                <c:pt idx="846">
                  <c:v>5.687-5.694</c:v>
                </c:pt>
                <c:pt idx="847">
                  <c:v>5.694-5.701</c:v>
                </c:pt>
                <c:pt idx="848">
                  <c:v>5.701-5.707</c:v>
                </c:pt>
                <c:pt idx="849">
                  <c:v>5.707-5.714</c:v>
                </c:pt>
                <c:pt idx="850">
                  <c:v>5.714-5.721</c:v>
                </c:pt>
                <c:pt idx="851">
                  <c:v>5.721-5.728</c:v>
                </c:pt>
                <c:pt idx="852">
                  <c:v>5.728-5.734</c:v>
                </c:pt>
                <c:pt idx="853">
                  <c:v>5.734-5.741</c:v>
                </c:pt>
                <c:pt idx="854">
                  <c:v>5.741-5.748</c:v>
                </c:pt>
                <c:pt idx="855">
                  <c:v>5.748-5.754</c:v>
                </c:pt>
                <c:pt idx="856">
                  <c:v>5.754-5.761</c:v>
                </c:pt>
                <c:pt idx="857">
                  <c:v>5.761-5.768</c:v>
                </c:pt>
                <c:pt idx="858">
                  <c:v>5.768-5.775</c:v>
                </c:pt>
                <c:pt idx="859">
                  <c:v>5.775-5.781</c:v>
                </c:pt>
                <c:pt idx="860">
                  <c:v>5.781-5.788</c:v>
                </c:pt>
                <c:pt idx="861">
                  <c:v>5.788-5.795</c:v>
                </c:pt>
                <c:pt idx="862">
                  <c:v>5.795-5.801</c:v>
                </c:pt>
                <c:pt idx="863">
                  <c:v>5.801-5.808</c:v>
                </c:pt>
                <c:pt idx="864">
                  <c:v>5.808-5.815</c:v>
                </c:pt>
                <c:pt idx="865">
                  <c:v>5.815-5.822</c:v>
                </c:pt>
                <c:pt idx="866">
                  <c:v>5.822-5.828</c:v>
                </c:pt>
                <c:pt idx="867">
                  <c:v>5.828-5.835</c:v>
                </c:pt>
                <c:pt idx="868">
                  <c:v>5.835-5.842</c:v>
                </c:pt>
                <c:pt idx="869">
                  <c:v>5.842-5.848</c:v>
                </c:pt>
                <c:pt idx="870">
                  <c:v>5.848-5.855</c:v>
                </c:pt>
                <c:pt idx="871">
                  <c:v>5.855-5.862</c:v>
                </c:pt>
                <c:pt idx="872">
                  <c:v>5.862-5.869</c:v>
                </c:pt>
                <c:pt idx="873">
                  <c:v>5.869-5.875</c:v>
                </c:pt>
                <c:pt idx="874">
                  <c:v>5.875-5.882</c:v>
                </c:pt>
                <c:pt idx="875">
                  <c:v>5.882-5.889</c:v>
                </c:pt>
                <c:pt idx="876">
                  <c:v>5.889-5.895</c:v>
                </c:pt>
                <c:pt idx="877">
                  <c:v>5.895-5.902</c:v>
                </c:pt>
                <c:pt idx="878">
                  <c:v>5.902-5.909</c:v>
                </c:pt>
                <c:pt idx="879">
                  <c:v>5.909-5.916</c:v>
                </c:pt>
                <c:pt idx="880">
                  <c:v>5.916-5.922</c:v>
                </c:pt>
                <c:pt idx="881">
                  <c:v>5.922-5.929</c:v>
                </c:pt>
                <c:pt idx="882">
                  <c:v>5.929-5.936</c:v>
                </c:pt>
                <c:pt idx="883">
                  <c:v>5.936-5.942</c:v>
                </c:pt>
                <c:pt idx="884">
                  <c:v>5.942-5.949</c:v>
                </c:pt>
                <c:pt idx="885">
                  <c:v>5.949-5.956</c:v>
                </c:pt>
                <c:pt idx="886">
                  <c:v>5.956-5.962</c:v>
                </c:pt>
                <c:pt idx="887">
                  <c:v>5.962-5.969</c:v>
                </c:pt>
                <c:pt idx="888">
                  <c:v>5.969-5.976</c:v>
                </c:pt>
                <c:pt idx="889">
                  <c:v>5.976-5.983</c:v>
                </c:pt>
                <c:pt idx="890">
                  <c:v>5.983-5.989</c:v>
                </c:pt>
                <c:pt idx="891">
                  <c:v>5.989-5.996</c:v>
                </c:pt>
                <c:pt idx="892">
                  <c:v>5.996-6.003</c:v>
                </c:pt>
                <c:pt idx="893">
                  <c:v>6.003-6.009</c:v>
                </c:pt>
                <c:pt idx="894">
                  <c:v>6.009-6.016</c:v>
                </c:pt>
                <c:pt idx="895">
                  <c:v>6.016-6.023</c:v>
                </c:pt>
                <c:pt idx="896">
                  <c:v>6.023-6.030</c:v>
                </c:pt>
                <c:pt idx="897">
                  <c:v>6.030-6.036</c:v>
                </c:pt>
                <c:pt idx="898">
                  <c:v>6.036-6.043</c:v>
                </c:pt>
                <c:pt idx="899">
                  <c:v>6.043-6.050</c:v>
                </c:pt>
                <c:pt idx="900">
                  <c:v>6.050-6.056</c:v>
                </c:pt>
                <c:pt idx="901">
                  <c:v>6.056-6.063</c:v>
                </c:pt>
                <c:pt idx="902">
                  <c:v>6.063-6.070</c:v>
                </c:pt>
                <c:pt idx="903">
                  <c:v>6.070-6.077</c:v>
                </c:pt>
                <c:pt idx="904">
                  <c:v>6.077-6.083</c:v>
                </c:pt>
                <c:pt idx="905">
                  <c:v>6.083-6.090</c:v>
                </c:pt>
                <c:pt idx="906">
                  <c:v>6.090-6.097</c:v>
                </c:pt>
                <c:pt idx="907">
                  <c:v>6.097-6.103</c:v>
                </c:pt>
                <c:pt idx="908">
                  <c:v>6.103-6.110</c:v>
                </c:pt>
                <c:pt idx="909">
                  <c:v>6.110-6.117</c:v>
                </c:pt>
                <c:pt idx="910">
                  <c:v>6.117-6.124</c:v>
                </c:pt>
                <c:pt idx="911">
                  <c:v>6.124-6.130</c:v>
                </c:pt>
                <c:pt idx="912">
                  <c:v>6.130-6.137</c:v>
                </c:pt>
                <c:pt idx="913">
                  <c:v>6.137-6.144</c:v>
                </c:pt>
                <c:pt idx="914">
                  <c:v>6.144-6.150</c:v>
                </c:pt>
                <c:pt idx="915">
                  <c:v>6.150-6.157</c:v>
                </c:pt>
                <c:pt idx="916">
                  <c:v>6.157-6.164</c:v>
                </c:pt>
                <c:pt idx="917">
                  <c:v>6.164-6.171</c:v>
                </c:pt>
                <c:pt idx="918">
                  <c:v>6.171-6.177</c:v>
                </c:pt>
                <c:pt idx="919">
                  <c:v>6.177-6.184</c:v>
                </c:pt>
                <c:pt idx="920">
                  <c:v>6.184-6.191</c:v>
                </c:pt>
                <c:pt idx="921">
                  <c:v>6.191-6.197</c:v>
                </c:pt>
                <c:pt idx="922">
                  <c:v>6.197-6.204</c:v>
                </c:pt>
                <c:pt idx="923">
                  <c:v>6.204-6.211</c:v>
                </c:pt>
                <c:pt idx="924">
                  <c:v>6.211-6.217</c:v>
                </c:pt>
                <c:pt idx="925">
                  <c:v>6.217-6.224</c:v>
                </c:pt>
                <c:pt idx="926">
                  <c:v>6.224-6.231</c:v>
                </c:pt>
                <c:pt idx="927">
                  <c:v>6.231-6.238</c:v>
                </c:pt>
                <c:pt idx="928">
                  <c:v>6.238-6.244</c:v>
                </c:pt>
                <c:pt idx="929">
                  <c:v>6.244-6.251</c:v>
                </c:pt>
                <c:pt idx="930">
                  <c:v>6.251-6.258</c:v>
                </c:pt>
                <c:pt idx="931">
                  <c:v>6.258-6.264</c:v>
                </c:pt>
                <c:pt idx="932">
                  <c:v>6.264-6.271</c:v>
                </c:pt>
                <c:pt idx="933">
                  <c:v>6.271-6.278</c:v>
                </c:pt>
                <c:pt idx="934">
                  <c:v>6.278-6.285</c:v>
                </c:pt>
                <c:pt idx="935">
                  <c:v>6.285-6.291</c:v>
                </c:pt>
                <c:pt idx="936">
                  <c:v>6.291-6.298</c:v>
                </c:pt>
                <c:pt idx="937">
                  <c:v>6.298-6.305</c:v>
                </c:pt>
                <c:pt idx="938">
                  <c:v>6.305-6.311</c:v>
                </c:pt>
                <c:pt idx="939">
                  <c:v>6.311-6.318</c:v>
                </c:pt>
                <c:pt idx="940">
                  <c:v>6.318-6.325</c:v>
                </c:pt>
                <c:pt idx="941">
                  <c:v>6.325-6.332</c:v>
                </c:pt>
                <c:pt idx="942">
                  <c:v>6.332-6.338</c:v>
                </c:pt>
                <c:pt idx="943">
                  <c:v>6.338-6.345</c:v>
                </c:pt>
                <c:pt idx="944">
                  <c:v>6.345-6.352</c:v>
                </c:pt>
                <c:pt idx="945">
                  <c:v>6.352-6.358</c:v>
                </c:pt>
                <c:pt idx="946">
                  <c:v>6.358-6.365</c:v>
                </c:pt>
                <c:pt idx="947">
                  <c:v>6.365-6.372</c:v>
                </c:pt>
                <c:pt idx="948">
                  <c:v>6.372-6.379</c:v>
                </c:pt>
                <c:pt idx="949">
                  <c:v>6.379-6.385</c:v>
                </c:pt>
                <c:pt idx="950">
                  <c:v>6.385-6.392</c:v>
                </c:pt>
                <c:pt idx="951">
                  <c:v>6.392-6.399</c:v>
                </c:pt>
                <c:pt idx="952">
                  <c:v>6.399-6.405</c:v>
                </c:pt>
                <c:pt idx="953">
                  <c:v>6.405-6.412</c:v>
                </c:pt>
                <c:pt idx="954">
                  <c:v>6.412-6.419</c:v>
                </c:pt>
                <c:pt idx="955">
                  <c:v>6.419-6.426</c:v>
                </c:pt>
                <c:pt idx="956">
                  <c:v>6.426-6.432</c:v>
                </c:pt>
                <c:pt idx="957">
                  <c:v>6.432-6.439</c:v>
                </c:pt>
                <c:pt idx="958">
                  <c:v>6.439-6.446</c:v>
                </c:pt>
                <c:pt idx="959">
                  <c:v>6.446-6.452</c:v>
                </c:pt>
                <c:pt idx="960">
                  <c:v>6.452-6.459</c:v>
                </c:pt>
                <c:pt idx="961">
                  <c:v>6.459-6.466</c:v>
                </c:pt>
                <c:pt idx="962">
                  <c:v>6.466-6.473</c:v>
                </c:pt>
                <c:pt idx="963">
                  <c:v>6.473-6.479</c:v>
                </c:pt>
                <c:pt idx="964">
                  <c:v>6.479-6.486</c:v>
                </c:pt>
                <c:pt idx="965">
                  <c:v>6.486-6.493</c:v>
                </c:pt>
                <c:pt idx="966">
                  <c:v>6.493-6.499</c:v>
                </c:pt>
                <c:pt idx="967">
                  <c:v>6.499-6.506</c:v>
                </c:pt>
                <c:pt idx="968">
                  <c:v>6.506-6.513</c:v>
                </c:pt>
                <c:pt idx="969">
                  <c:v>6.513-6.519</c:v>
                </c:pt>
                <c:pt idx="970">
                  <c:v>6.519-6.526</c:v>
                </c:pt>
                <c:pt idx="971">
                  <c:v>6.526-6.533</c:v>
                </c:pt>
                <c:pt idx="972">
                  <c:v>6.533-6.540</c:v>
                </c:pt>
                <c:pt idx="973">
                  <c:v>6.540-6.546</c:v>
                </c:pt>
                <c:pt idx="974">
                  <c:v>6.546-6.553</c:v>
                </c:pt>
                <c:pt idx="975">
                  <c:v>6.553-6.560</c:v>
                </c:pt>
                <c:pt idx="976">
                  <c:v>6.560-6.566</c:v>
                </c:pt>
                <c:pt idx="977">
                  <c:v>6.566-6.573</c:v>
                </c:pt>
                <c:pt idx="978">
                  <c:v>6.573-6.580</c:v>
                </c:pt>
                <c:pt idx="979">
                  <c:v>6.580-6.587</c:v>
                </c:pt>
                <c:pt idx="980">
                  <c:v>6.587-6.593</c:v>
                </c:pt>
                <c:pt idx="981">
                  <c:v>6.593-6.600</c:v>
                </c:pt>
                <c:pt idx="982">
                  <c:v>6.600-6.607</c:v>
                </c:pt>
                <c:pt idx="983">
                  <c:v>6.607-6.613</c:v>
                </c:pt>
                <c:pt idx="984">
                  <c:v>6.613-6.620</c:v>
                </c:pt>
                <c:pt idx="985">
                  <c:v>6.620-6.627</c:v>
                </c:pt>
                <c:pt idx="986">
                  <c:v>6.627-6.634</c:v>
                </c:pt>
                <c:pt idx="987">
                  <c:v>6.634-6.640</c:v>
                </c:pt>
                <c:pt idx="988">
                  <c:v>6.640-6.647</c:v>
                </c:pt>
                <c:pt idx="989">
                  <c:v>6.647-6.654</c:v>
                </c:pt>
                <c:pt idx="990">
                  <c:v>6.654-6.660</c:v>
                </c:pt>
                <c:pt idx="991">
                  <c:v>6.660-6.667</c:v>
                </c:pt>
                <c:pt idx="992">
                  <c:v>6.667-6.674</c:v>
                </c:pt>
                <c:pt idx="993">
                  <c:v>6.674-6.681</c:v>
                </c:pt>
                <c:pt idx="994">
                  <c:v>6.681-6.687</c:v>
                </c:pt>
                <c:pt idx="995">
                  <c:v>6.687-6.694</c:v>
                </c:pt>
                <c:pt idx="996">
                  <c:v>6.694-6.701</c:v>
                </c:pt>
                <c:pt idx="997">
                  <c:v>6.701-6.707</c:v>
                </c:pt>
                <c:pt idx="998">
                  <c:v>6.707-6.714</c:v>
                </c:pt>
                <c:pt idx="999">
                  <c:v>6.714-6.721</c:v>
                </c:pt>
                <c:pt idx="1000">
                  <c:v>6.721-6.728</c:v>
                </c:pt>
                <c:pt idx="1001">
                  <c:v>6.728-6.734</c:v>
                </c:pt>
                <c:pt idx="1002">
                  <c:v>6.734-6.741</c:v>
                </c:pt>
                <c:pt idx="1003">
                  <c:v>6.741-6.748</c:v>
                </c:pt>
                <c:pt idx="1004">
                  <c:v>6.748-6.754</c:v>
                </c:pt>
                <c:pt idx="1005">
                  <c:v>6.754-6.761</c:v>
                </c:pt>
                <c:pt idx="1006">
                  <c:v>6.761-6.768</c:v>
                </c:pt>
                <c:pt idx="1007">
                  <c:v>6.768-6.774</c:v>
                </c:pt>
                <c:pt idx="1008">
                  <c:v>6.774-6.781</c:v>
                </c:pt>
                <c:pt idx="1009">
                  <c:v>6.781-6.788</c:v>
                </c:pt>
                <c:pt idx="1010">
                  <c:v>6.788-6.795</c:v>
                </c:pt>
                <c:pt idx="1011">
                  <c:v>6.795-6.801</c:v>
                </c:pt>
                <c:pt idx="1012">
                  <c:v>6.801-6.808</c:v>
                </c:pt>
                <c:pt idx="1013">
                  <c:v>6.808-6.815</c:v>
                </c:pt>
                <c:pt idx="1014">
                  <c:v>6.815-6.821</c:v>
                </c:pt>
                <c:pt idx="1015">
                  <c:v>6.821-6.828</c:v>
                </c:pt>
                <c:pt idx="1016">
                  <c:v>6.828-6.835</c:v>
                </c:pt>
                <c:pt idx="1017">
                  <c:v>6.835-6.842</c:v>
                </c:pt>
                <c:pt idx="1018">
                  <c:v>6.842-6.848</c:v>
                </c:pt>
                <c:pt idx="1019">
                  <c:v>6.848-6.855</c:v>
                </c:pt>
                <c:pt idx="1020">
                  <c:v>6.855-6.862</c:v>
                </c:pt>
                <c:pt idx="1021">
                  <c:v>6.862-6.868</c:v>
                </c:pt>
                <c:pt idx="1022">
                  <c:v>6.868-6.875</c:v>
                </c:pt>
                <c:pt idx="1023">
                  <c:v>6.875-6.882</c:v>
                </c:pt>
                <c:pt idx="1024">
                  <c:v>6.882-6.889</c:v>
                </c:pt>
                <c:pt idx="1025">
                  <c:v>6.889-6.895</c:v>
                </c:pt>
                <c:pt idx="1026">
                  <c:v>6.895-6.902</c:v>
                </c:pt>
                <c:pt idx="1027">
                  <c:v>6.902-6.909</c:v>
                </c:pt>
                <c:pt idx="1028">
                  <c:v>6.909-6.915</c:v>
                </c:pt>
                <c:pt idx="1029">
                  <c:v>6.915-6.922</c:v>
                </c:pt>
                <c:pt idx="1030">
                  <c:v>6.922-6.929</c:v>
                </c:pt>
                <c:pt idx="1031">
                  <c:v>6.929-6.936</c:v>
                </c:pt>
                <c:pt idx="1032">
                  <c:v>6.936-6.942</c:v>
                </c:pt>
                <c:pt idx="1033">
                  <c:v>6.942-6.949</c:v>
                </c:pt>
                <c:pt idx="1034">
                  <c:v>6.949-6.956</c:v>
                </c:pt>
                <c:pt idx="1035">
                  <c:v>6.956-6.962</c:v>
                </c:pt>
                <c:pt idx="1036">
                  <c:v>6.962-6.969</c:v>
                </c:pt>
                <c:pt idx="1037">
                  <c:v>6.969-6.976</c:v>
                </c:pt>
                <c:pt idx="1038">
                  <c:v>6.976-6.983</c:v>
                </c:pt>
                <c:pt idx="1039">
                  <c:v>6.983-6.989</c:v>
                </c:pt>
                <c:pt idx="1040">
                  <c:v>6.989-6.996</c:v>
                </c:pt>
                <c:pt idx="1041">
                  <c:v>6.996-7.003</c:v>
                </c:pt>
                <c:pt idx="1042">
                  <c:v>7.003-7.009</c:v>
                </c:pt>
                <c:pt idx="1043">
                  <c:v>7.009-7.016</c:v>
                </c:pt>
                <c:pt idx="1044">
                  <c:v>7.016-7.023</c:v>
                </c:pt>
                <c:pt idx="1045">
                  <c:v>7.023-7.029</c:v>
                </c:pt>
                <c:pt idx="1046">
                  <c:v>7.029-7.036</c:v>
                </c:pt>
                <c:pt idx="1047">
                  <c:v>7.036-7.043</c:v>
                </c:pt>
                <c:pt idx="1048">
                  <c:v>7.043-7.050</c:v>
                </c:pt>
                <c:pt idx="1049">
                  <c:v>7.050-7.056</c:v>
                </c:pt>
                <c:pt idx="1050">
                  <c:v>7.056-7.063</c:v>
                </c:pt>
                <c:pt idx="1051">
                  <c:v>7.063-7.070</c:v>
                </c:pt>
                <c:pt idx="1052">
                  <c:v>7.070-7.076</c:v>
                </c:pt>
                <c:pt idx="1053">
                  <c:v>7.076-7.083</c:v>
                </c:pt>
                <c:pt idx="1054">
                  <c:v>7.083-7.090</c:v>
                </c:pt>
                <c:pt idx="1055">
                  <c:v>7.090-7.097</c:v>
                </c:pt>
                <c:pt idx="1056">
                  <c:v>7.097-7.103</c:v>
                </c:pt>
                <c:pt idx="1057">
                  <c:v>7.103-7.110</c:v>
                </c:pt>
                <c:pt idx="1058">
                  <c:v>7.110-7.117</c:v>
                </c:pt>
                <c:pt idx="1059">
                  <c:v>7.117-7.123</c:v>
                </c:pt>
                <c:pt idx="1060">
                  <c:v>7.123-7.130</c:v>
                </c:pt>
                <c:pt idx="1061">
                  <c:v>7.130-7.137</c:v>
                </c:pt>
                <c:pt idx="1062">
                  <c:v>7.137-7.144</c:v>
                </c:pt>
                <c:pt idx="1063">
                  <c:v>7.144-7.150</c:v>
                </c:pt>
                <c:pt idx="1064">
                  <c:v>7.150-7.157</c:v>
                </c:pt>
                <c:pt idx="1065">
                  <c:v>7.157-7.164</c:v>
                </c:pt>
                <c:pt idx="1066">
                  <c:v>7.164-7.170</c:v>
                </c:pt>
                <c:pt idx="1067">
                  <c:v>7.170-7.177</c:v>
                </c:pt>
                <c:pt idx="1068">
                  <c:v>7.177-7.184</c:v>
                </c:pt>
                <c:pt idx="1069">
                  <c:v>7.184-7.191</c:v>
                </c:pt>
                <c:pt idx="1070">
                  <c:v>7.191-7.197</c:v>
                </c:pt>
                <c:pt idx="1071">
                  <c:v>7.197-7.204</c:v>
                </c:pt>
                <c:pt idx="1072">
                  <c:v>7.204-7.211</c:v>
                </c:pt>
                <c:pt idx="1073">
                  <c:v>7.211-7.217</c:v>
                </c:pt>
                <c:pt idx="1074">
                  <c:v>7.217-7.224</c:v>
                </c:pt>
                <c:pt idx="1075">
                  <c:v>7.224-7.231</c:v>
                </c:pt>
                <c:pt idx="1076">
                  <c:v>7.231-7.238</c:v>
                </c:pt>
                <c:pt idx="1077">
                  <c:v>7.238-7.244</c:v>
                </c:pt>
                <c:pt idx="1078">
                  <c:v>7.244-7.251</c:v>
                </c:pt>
                <c:pt idx="1079">
                  <c:v>7.251-7.258</c:v>
                </c:pt>
                <c:pt idx="1080">
                  <c:v>7.258-7.264</c:v>
                </c:pt>
                <c:pt idx="1081">
                  <c:v>7.264-7.271</c:v>
                </c:pt>
                <c:pt idx="1082">
                  <c:v>7.271-7.278</c:v>
                </c:pt>
                <c:pt idx="1083">
                  <c:v>7.278-7.285</c:v>
                </c:pt>
                <c:pt idx="1084">
                  <c:v>7.285-7.291</c:v>
                </c:pt>
                <c:pt idx="1085">
                  <c:v>7.291-7.298</c:v>
                </c:pt>
                <c:pt idx="1086">
                  <c:v>7.298-7.305</c:v>
                </c:pt>
                <c:pt idx="1087">
                  <c:v>7.305-7.311</c:v>
                </c:pt>
                <c:pt idx="1088">
                  <c:v>7.311-7.318</c:v>
                </c:pt>
                <c:pt idx="1089">
                  <c:v>7.318-7.325</c:v>
                </c:pt>
                <c:pt idx="1090">
                  <c:v>7.325-7.331</c:v>
                </c:pt>
                <c:pt idx="1091">
                  <c:v>7.331-7.338</c:v>
                </c:pt>
                <c:pt idx="1092">
                  <c:v>7.338-7.345</c:v>
                </c:pt>
                <c:pt idx="1093">
                  <c:v>7.345-7.352</c:v>
                </c:pt>
                <c:pt idx="1094">
                  <c:v>7.352-7.358</c:v>
                </c:pt>
                <c:pt idx="1095">
                  <c:v>7.358-7.365</c:v>
                </c:pt>
                <c:pt idx="1096">
                  <c:v>7.365-7.372</c:v>
                </c:pt>
                <c:pt idx="1097">
                  <c:v>7.372-7.378</c:v>
                </c:pt>
                <c:pt idx="1098">
                  <c:v>7.378-7.385</c:v>
                </c:pt>
                <c:pt idx="1099">
                  <c:v>7.385-7.392</c:v>
                </c:pt>
                <c:pt idx="1100">
                  <c:v>7.392-7.399</c:v>
                </c:pt>
                <c:pt idx="1101">
                  <c:v>7.399-7.405</c:v>
                </c:pt>
                <c:pt idx="1102">
                  <c:v>7.405-7.412</c:v>
                </c:pt>
                <c:pt idx="1103">
                  <c:v>7.412-7.419</c:v>
                </c:pt>
                <c:pt idx="1104">
                  <c:v>7.419-7.425</c:v>
                </c:pt>
                <c:pt idx="1105">
                  <c:v>7.425-7.432</c:v>
                </c:pt>
                <c:pt idx="1106">
                  <c:v>7.432-7.439</c:v>
                </c:pt>
                <c:pt idx="1107">
                  <c:v>7.439-7.446</c:v>
                </c:pt>
                <c:pt idx="1108">
                  <c:v>7.446-7.452</c:v>
                </c:pt>
                <c:pt idx="1109">
                  <c:v>7.452-7.459</c:v>
                </c:pt>
                <c:pt idx="1110">
                  <c:v>7.459-7.466</c:v>
                </c:pt>
                <c:pt idx="1111">
                  <c:v>7.466-7.472</c:v>
                </c:pt>
                <c:pt idx="1112">
                  <c:v>7.472-7.479</c:v>
                </c:pt>
                <c:pt idx="1113">
                  <c:v>7.479-7.486</c:v>
                </c:pt>
                <c:pt idx="1114">
                  <c:v>7.486-7.493</c:v>
                </c:pt>
                <c:pt idx="1115">
                  <c:v>7.493-7.499</c:v>
                </c:pt>
                <c:pt idx="1116">
                  <c:v>7.499-7.506</c:v>
                </c:pt>
                <c:pt idx="1117">
                  <c:v>7.506-7.513</c:v>
                </c:pt>
                <c:pt idx="1118">
                  <c:v>7.513-7.519</c:v>
                </c:pt>
                <c:pt idx="1119">
                  <c:v>7.519-7.526</c:v>
                </c:pt>
                <c:pt idx="1120">
                  <c:v>7.526-7.533</c:v>
                </c:pt>
                <c:pt idx="1121">
                  <c:v>7.533-7.540</c:v>
                </c:pt>
                <c:pt idx="1122">
                  <c:v>7.540-7.546</c:v>
                </c:pt>
                <c:pt idx="1123">
                  <c:v>7.546-7.553</c:v>
                </c:pt>
                <c:pt idx="1124">
                  <c:v>7.553-7.560</c:v>
                </c:pt>
                <c:pt idx="1125">
                  <c:v>7.560-7.566</c:v>
                </c:pt>
                <c:pt idx="1126">
                  <c:v>7.566-7.573</c:v>
                </c:pt>
                <c:pt idx="1127">
                  <c:v>7.573-7.580</c:v>
                </c:pt>
                <c:pt idx="1128">
                  <c:v>7.580-7.586</c:v>
                </c:pt>
                <c:pt idx="1129">
                  <c:v>7.586-7.593</c:v>
                </c:pt>
                <c:pt idx="1130">
                  <c:v>7.593-7.600</c:v>
                </c:pt>
                <c:pt idx="1131">
                  <c:v>7.600-7.607</c:v>
                </c:pt>
                <c:pt idx="1132">
                  <c:v>7.607-7.613</c:v>
                </c:pt>
                <c:pt idx="1133">
                  <c:v>7.613-7.620</c:v>
                </c:pt>
                <c:pt idx="1134">
                  <c:v>7.620-7.627</c:v>
                </c:pt>
                <c:pt idx="1135">
                  <c:v>7.627-7.633</c:v>
                </c:pt>
                <c:pt idx="1136">
                  <c:v>7.633-7.640</c:v>
                </c:pt>
                <c:pt idx="1137">
                  <c:v>7.640-7.647</c:v>
                </c:pt>
                <c:pt idx="1138">
                  <c:v>7.647-7.654</c:v>
                </c:pt>
                <c:pt idx="1139">
                  <c:v>7.654-7.660</c:v>
                </c:pt>
                <c:pt idx="1140">
                  <c:v>7.660-7.667</c:v>
                </c:pt>
                <c:pt idx="1141">
                  <c:v>7.667-7.674</c:v>
                </c:pt>
                <c:pt idx="1142">
                  <c:v>7.674-7.680</c:v>
                </c:pt>
                <c:pt idx="1143">
                  <c:v>7.680-7.687</c:v>
                </c:pt>
                <c:pt idx="1144">
                  <c:v>7.687-7.694</c:v>
                </c:pt>
                <c:pt idx="1145">
                  <c:v>7.694-7.701</c:v>
                </c:pt>
                <c:pt idx="1146">
                  <c:v>7.701-7.707</c:v>
                </c:pt>
                <c:pt idx="1147">
                  <c:v>7.707-7.714</c:v>
                </c:pt>
                <c:pt idx="1148">
                  <c:v>7.714-7.721</c:v>
                </c:pt>
                <c:pt idx="1149">
                  <c:v>7.721-7.727</c:v>
                </c:pt>
                <c:pt idx="1150">
                  <c:v>7.727-7.734</c:v>
                </c:pt>
                <c:pt idx="1151">
                  <c:v>7.734-7.741</c:v>
                </c:pt>
                <c:pt idx="1152">
                  <c:v>7.741-7.748</c:v>
                </c:pt>
                <c:pt idx="1153">
                  <c:v>7.748-7.754</c:v>
                </c:pt>
                <c:pt idx="1154">
                  <c:v>7.754-7.761</c:v>
                </c:pt>
                <c:pt idx="1155">
                  <c:v>7.761-7.768</c:v>
                </c:pt>
                <c:pt idx="1156">
                  <c:v>7.768-7.774</c:v>
                </c:pt>
                <c:pt idx="1157">
                  <c:v>7.774-7.781</c:v>
                </c:pt>
                <c:pt idx="1158">
                  <c:v>7.781-7.788</c:v>
                </c:pt>
                <c:pt idx="1159">
                  <c:v>7.788-7.795</c:v>
                </c:pt>
                <c:pt idx="1160">
                  <c:v>7.795-7.801</c:v>
                </c:pt>
                <c:pt idx="1161">
                  <c:v>7.801-7.808</c:v>
                </c:pt>
                <c:pt idx="1162">
                  <c:v>7.808-7.815</c:v>
                </c:pt>
                <c:pt idx="1163">
                  <c:v>7.815-7.821</c:v>
                </c:pt>
                <c:pt idx="1164">
                  <c:v>7.821-7.828</c:v>
                </c:pt>
                <c:pt idx="1165">
                  <c:v>7.828-7.835</c:v>
                </c:pt>
                <c:pt idx="1166">
                  <c:v>7.835-7.842</c:v>
                </c:pt>
                <c:pt idx="1167">
                  <c:v>7.842-7.848</c:v>
                </c:pt>
                <c:pt idx="1168">
                  <c:v>7.848-7.855</c:v>
                </c:pt>
                <c:pt idx="1169">
                  <c:v>7.855-7.862</c:v>
                </c:pt>
                <c:pt idx="1170">
                  <c:v>7.862-7.868</c:v>
                </c:pt>
                <c:pt idx="1171">
                  <c:v>7.868-7.875</c:v>
                </c:pt>
                <c:pt idx="1172">
                  <c:v>7.875-7.882</c:v>
                </c:pt>
                <c:pt idx="1173">
                  <c:v>7.882-7.888</c:v>
                </c:pt>
                <c:pt idx="1174">
                  <c:v>7.888-7.895</c:v>
                </c:pt>
                <c:pt idx="1175">
                  <c:v>7.895-7.902</c:v>
                </c:pt>
                <c:pt idx="1176">
                  <c:v>7.902-7.909</c:v>
                </c:pt>
                <c:pt idx="1177">
                  <c:v>7.909-7.915</c:v>
                </c:pt>
                <c:pt idx="1178">
                  <c:v>7.915-7.922</c:v>
                </c:pt>
                <c:pt idx="1179">
                  <c:v>7.922-7.929</c:v>
                </c:pt>
                <c:pt idx="1180">
                  <c:v>7.929-7.935</c:v>
                </c:pt>
                <c:pt idx="1181">
                  <c:v>7.935-7.942</c:v>
                </c:pt>
                <c:pt idx="1182">
                  <c:v>7.942-7.949</c:v>
                </c:pt>
                <c:pt idx="1183">
                  <c:v>7.949-7.956</c:v>
                </c:pt>
                <c:pt idx="1184">
                  <c:v>7.956-7.962</c:v>
                </c:pt>
                <c:pt idx="1185">
                  <c:v>7.962-7.969</c:v>
                </c:pt>
                <c:pt idx="1186">
                  <c:v>7.969-7.976</c:v>
                </c:pt>
                <c:pt idx="1187">
                  <c:v>7.976-7.982</c:v>
                </c:pt>
                <c:pt idx="1188">
                  <c:v>7.982-7.989</c:v>
                </c:pt>
                <c:pt idx="1189">
                  <c:v>7.989-7.996</c:v>
                </c:pt>
                <c:pt idx="1190">
                  <c:v>7.996-8.003</c:v>
                </c:pt>
                <c:pt idx="1191">
                  <c:v>8.003-8.009</c:v>
                </c:pt>
                <c:pt idx="1192">
                  <c:v>8.009-8.016</c:v>
                </c:pt>
                <c:pt idx="1193">
                  <c:v>8.016-8.023</c:v>
                </c:pt>
                <c:pt idx="1194">
                  <c:v>8.023-8.029</c:v>
                </c:pt>
                <c:pt idx="1195">
                  <c:v>8.029-8.036</c:v>
                </c:pt>
                <c:pt idx="1196">
                  <c:v>8.036-8.043</c:v>
                </c:pt>
                <c:pt idx="1197">
                  <c:v>8.043-8.050</c:v>
                </c:pt>
                <c:pt idx="1198">
                  <c:v>8.050-8.056</c:v>
                </c:pt>
                <c:pt idx="1199">
                  <c:v>8.056-8.063</c:v>
                </c:pt>
                <c:pt idx="1200">
                  <c:v>8.063-8.070</c:v>
                </c:pt>
                <c:pt idx="1201">
                  <c:v>8.070-8.076</c:v>
                </c:pt>
                <c:pt idx="1202">
                  <c:v>8.076-8.083</c:v>
                </c:pt>
                <c:pt idx="1203">
                  <c:v>8.083-8.090</c:v>
                </c:pt>
                <c:pt idx="1204">
                  <c:v>8.090-8.097</c:v>
                </c:pt>
                <c:pt idx="1205">
                  <c:v>8.097-8.103</c:v>
                </c:pt>
                <c:pt idx="1206">
                  <c:v>8.103-8.110</c:v>
                </c:pt>
                <c:pt idx="1207">
                  <c:v>8.110-8.117</c:v>
                </c:pt>
                <c:pt idx="1208">
                  <c:v>8.117-8.123</c:v>
                </c:pt>
                <c:pt idx="1209">
                  <c:v>8.123-8.130</c:v>
                </c:pt>
                <c:pt idx="1210">
                  <c:v>8.130-8.137</c:v>
                </c:pt>
                <c:pt idx="1211">
                  <c:v>8.137-8.143</c:v>
                </c:pt>
                <c:pt idx="1212">
                  <c:v>8.143-8.150</c:v>
                </c:pt>
                <c:pt idx="1213">
                  <c:v>8.150-8.157</c:v>
                </c:pt>
                <c:pt idx="1214">
                  <c:v>8.157-8.164</c:v>
                </c:pt>
                <c:pt idx="1215">
                  <c:v>8.164-8.170</c:v>
                </c:pt>
                <c:pt idx="1216">
                  <c:v>8.170-8.177</c:v>
                </c:pt>
                <c:pt idx="1217">
                  <c:v>8.177-8.184</c:v>
                </c:pt>
                <c:pt idx="1218">
                  <c:v>8.184-8.190</c:v>
                </c:pt>
                <c:pt idx="1219">
                  <c:v>8.190-8.197</c:v>
                </c:pt>
                <c:pt idx="1220">
                  <c:v>8.197-8.204</c:v>
                </c:pt>
                <c:pt idx="1221">
                  <c:v>8.204-8.211</c:v>
                </c:pt>
                <c:pt idx="1222">
                  <c:v>8.211-8.217</c:v>
                </c:pt>
                <c:pt idx="1223">
                  <c:v>8.217-8.224</c:v>
                </c:pt>
                <c:pt idx="1224">
                  <c:v>8.224-8.231</c:v>
                </c:pt>
                <c:pt idx="1225">
                  <c:v>8.231-8.237</c:v>
                </c:pt>
                <c:pt idx="1226">
                  <c:v>8.237-8.244</c:v>
                </c:pt>
                <c:pt idx="1227">
                  <c:v>8.244-8.251</c:v>
                </c:pt>
                <c:pt idx="1228">
                  <c:v>8.251-8.258</c:v>
                </c:pt>
                <c:pt idx="1229">
                  <c:v>8.258-8.264</c:v>
                </c:pt>
                <c:pt idx="1230">
                  <c:v>8.264-8.271</c:v>
                </c:pt>
                <c:pt idx="1231">
                  <c:v>8.271-8.278</c:v>
                </c:pt>
                <c:pt idx="1232">
                  <c:v>8.278-8.284</c:v>
                </c:pt>
                <c:pt idx="1233">
                  <c:v>8.284-8.291</c:v>
                </c:pt>
                <c:pt idx="1234">
                  <c:v>8.291-8.298</c:v>
                </c:pt>
                <c:pt idx="1235">
                  <c:v>8.298-8.305</c:v>
                </c:pt>
                <c:pt idx="1236">
                  <c:v>8.305-8.311</c:v>
                </c:pt>
                <c:pt idx="1237">
                  <c:v>8.311-8.318</c:v>
                </c:pt>
                <c:pt idx="1238">
                  <c:v>8.318-8.325</c:v>
                </c:pt>
                <c:pt idx="1239">
                  <c:v>8.325-8.331</c:v>
                </c:pt>
                <c:pt idx="1240">
                  <c:v>8.331-8.338</c:v>
                </c:pt>
                <c:pt idx="1241">
                  <c:v>8.338-8.345</c:v>
                </c:pt>
                <c:pt idx="1242">
                  <c:v>8.345-8.352</c:v>
                </c:pt>
                <c:pt idx="1243">
                  <c:v>8.352-8.358</c:v>
                </c:pt>
                <c:pt idx="1244">
                  <c:v>8.358-8.365</c:v>
                </c:pt>
                <c:pt idx="1245">
                  <c:v>8.365-8.372</c:v>
                </c:pt>
                <c:pt idx="1246">
                  <c:v>8.372-8.378</c:v>
                </c:pt>
                <c:pt idx="1247">
                  <c:v>8.378-8.385</c:v>
                </c:pt>
                <c:pt idx="1248">
                  <c:v>8.385-8.392</c:v>
                </c:pt>
                <c:pt idx="1249">
                  <c:v>8.392-8.398</c:v>
                </c:pt>
                <c:pt idx="1250">
                  <c:v>8.398-8.405</c:v>
                </c:pt>
                <c:pt idx="1251">
                  <c:v>8.405-8.412</c:v>
                </c:pt>
                <c:pt idx="1252">
                  <c:v>8.412-8.419</c:v>
                </c:pt>
                <c:pt idx="1253">
                  <c:v>8.419-8.425</c:v>
                </c:pt>
                <c:pt idx="1254">
                  <c:v>8.425-8.432</c:v>
                </c:pt>
                <c:pt idx="1255">
                  <c:v>8.432-8.439</c:v>
                </c:pt>
                <c:pt idx="1256">
                  <c:v>8.439-8.445</c:v>
                </c:pt>
                <c:pt idx="1257">
                  <c:v>8.445-8.452</c:v>
                </c:pt>
                <c:pt idx="1258">
                  <c:v>8.452-8.459</c:v>
                </c:pt>
                <c:pt idx="1259">
                  <c:v>8.459-8.466</c:v>
                </c:pt>
                <c:pt idx="1260">
                  <c:v>8.466-8.472</c:v>
                </c:pt>
                <c:pt idx="1261">
                  <c:v>8.472-8.479</c:v>
                </c:pt>
                <c:pt idx="1262">
                  <c:v>8.479-8.486</c:v>
                </c:pt>
                <c:pt idx="1263">
                  <c:v>8.486-8.492</c:v>
                </c:pt>
                <c:pt idx="1264">
                  <c:v>8.492-8.499</c:v>
                </c:pt>
                <c:pt idx="1265">
                  <c:v>8.499-8.506</c:v>
                </c:pt>
                <c:pt idx="1266">
                  <c:v>8.506-8.513</c:v>
                </c:pt>
                <c:pt idx="1267">
                  <c:v>8.513-8.519</c:v>
                </c:pt>
                <c:pt idx="1268">
                  <c:v>8.519-8.526</c:v>
                </c:pt>
                <c:pt idx="1269">
                  <c:v>8.526-8.533</c:v>
                </c:pt>
                <c:pt idx="1270">
                  <c:v>8.533-8.539</c:v>
                </c:pt>
                <c:pt idx="1271">
                  <c:v>8.539-8.546</c:v>
                </c:pt>
                <c:pt idx="1272">
                  <c:v>8.546-8.553</c:v>
                </c:pt>
                <c:pt idx="1273">
                  <c:v>8.553-8.560</c:v>
                </c:pt>
                <c:pt idx="1274">
                  <c:v>8.560-8.566</c:v>
                </c:pt>
                <c:pt idx="1275">
                  <c:v>8.566-8.573</c:v>
                </c:pt>
                <c:pt idx="1276">
                  <c:v>8.573-8.580</c:v>
                </c:pt>
                <c:pt idx="1277">
                  <c:v>8.580-8.586</c:v>
                </c:pt>
                <c:pt idx="1278">
                  <c:v>8.586-8.593</c:v>
                </c:pt>
                <c:pt idx="1279">
                  <c:v>8.593-8.600</c:v>
                </c:pt>
                <c:pt idx="1280">
                  <c:v>8.600-8.607</c:v>
                </c:pt>
                <c:pt idx="1281">
                  <c:v>8.607-8.613</c:v>
                </c:pt>
                <c:pt idx="1282">
                  <c:v>8.613-8.620</c:v>
                </c:pt>
                <c:pt idx="1283">
                  <c:v>8.620-8.627</c:v>
                </c:pt>
                <c:pt idx="1284">
                  <c:v>8.627-8.633</c:v>
                </c:pt>
                <c:pt idx="1285">
                  <c:v>8.633-8.640</c:v>
                </c:pt>
                <c:pt idx="1286">
                  <c:v>8.640-8.647</c:v>
                </c:pt>
                <c:pt idx="1287">
                  <c:v>8.647-8.654</c:v>
                </c:pt>
                <c:pt idx="1288">
                  <c:v>8.654-8.660</c:v>
                </c:pt>
                <c:pt idx="1289">
                  <c:v>8.660-8.667</c:v>
                </c:pt>
                <c:pt idx="1290">
                  <c:v>8.667-8.674</c:v>
                </c:pt>
                <c:pt idx="1291">
                  <c:v>8.674-8.680</c:v>
                </c:pt>
                <c:pt idx="1292">
                  <c:v>8.680-8.687</c:v>
                </c:pt>
                <c:pt idx="1293">
                  <c:v>8.687-8.694</c:v>
                </c:pt>
                <c:pt idx="1294">
                  <c:v>8.694-8.700</c:v>
                </c:pt>
                <c:pt idx="1295">
                  <c:v>8.700-8.707</c:v>
                </c:pt>
                <c:pt idx="1296">
                  <c:v>8.707-8.714</c:v>
                </c:pt>
                <c:pt idx="1297">
                  <c:v>8.714-8.721</c:v>
                </c:pt>
                <c:pt idx="1298">
                  <c:v>8.721-8.727</c:v>
                </c:pt>
                <c:pt idx="1299">
                  <c:v>8.727-8.734</c:v>
                </c:pt>
                <c:pt idx="1300">
                  <c:v>8.734-8.741</c:v>
                </c:pt>
                <c:pt idx="1301">
                  <c:v>8.741-8.747</c:v>
                </c:pt>
                <c:pt idx="1302">
                  <c:v>8.747-8.754</c:v>
                </c:pt>
                <c:pt idx="1303">
                  <c:v>8.754-8.761</c:v>
                </c:pt>
                <c:pt idx="1304">
                  <c:v>8.761-8.768</c:v>
                </c:pt>
                <c:pt idx="1305">
                  <c:v>8.768-8.774</c:v>
                </c:pt>
                <c:pt idx="1306">
                  <c:v>8.774-8.781</c:v>
                </c:pt>
                <c:pt idx="1307">
                  <c:v>8.781-8.788</c:v>
                </c:pt>
                <c:pt idx="1308">
                  <c:v>8.788-8.794</c:v>
                </c:pt>
                <c:pt idx="1309">
                  <c:v>8.794-8.801</c:v>
                </c:pt>
                <c:pt idx="1310">
                  <c:v>8.801-8.808</c:v>
                </c:pt>
                <c:pt idx="1311">
                  <c:v>8.808-8.815</c:v>
                </c:pt>
                <c:pt idx="1312">
                  <c:v>8.815-8.821</c:v>
                </c:pt>
                <c:pt idx="1313">
                  <c:v>8.821-8.828</c:v>
                </c:pt>
                <c:pt idx="1314">
                  <c:v>8.828-8.835</c:v>
                </c:pt>
                <c:pt idx="1315">
                  <c:v>8.835-8.841</c:v>
                </c:pt>
                <c:pt idx="1316">
                  <c:v>8.841-8.848</c:v>
                </c:pt>
                <c:pt idx="1317">
                  <c:v>8.848-8.855</c:v>
                </c:pt>
                <c:pt idx="1318">
                  <c:v>8.855-8.862</c:v>
                </c:pt>
                <c:pt idx="1319">
                  <c:v>8.862-8.868</c:v>
                </c:pt>
                <c:pt idx="1320">
                  <c:v>8.868-8.875</c:v>
                </c:pt>
                <c:pt idx="1321">
                  <c:v>8.875-8.882</c:v>
                </c:pt>
                <c:pt idx="1322">
                  <c:v>8.882-8.888</c:v>
                </c:pt>
                <c:pt idx="1323">
                  <c:v>8.888-8.895</c:v>
                </c:pt>
                <c:pt idx="1324">
                  <c:v>8.895-8.902</c:v>
                </c:pt>
                <c:pt idx="1325">
                  <c:v>8.902-8.909</c:v>
                </c:pt>
                <c:pt idx="1326">
                  <c:v>8.909-8.915</c:v>
                </c:pt>
                <c:pt idx="1327">
                  <c:v>8.915-8.922</c:v>
                </c:pt>
                <c:pt idx="1328">
                  <c:v>8.922-8.929</c:v>
                </c:pt>
                <c:pt idx="1329">
                  <c:v>8.929-8.935</c:v>
                </c:pt>
                <c:pt idx="1330">
                  <c:v>8.935-8.942</c:v>
                </c:pt>
                <c:pt idx="1331">
                  <c:v>8.942-8.949</c:v>
                </c:pt>
                <c:pt idx="1332">
                  <c:v>8.949-8.955</c:v>
                </c:pt>
                <c:pt idx="1333">
                  <c:v>8.955-8.962</c:v>
                </c:pt>
                <c:pt idx="1334">
                  <c:v>8.962-8.969</c:v>
                </c:pt>
                <c:pt idx="1335">
                  <c:v>8.969-8.976</c:v>
                </c:pt>
                <c:pt idx="1336">
                  <c:v>8.976-8.982</c:v>
                </c:pt>
                <c:pt idx="1337">
                  <c:v>8.982-8.989</c:v>
                </c:pt>
                <c:pt idx="1338">
                  <c:v>8.989-8.996</c:v>
                </c:pt>
                <c:pt idx="1339">
                  <c:v>8.996-9.002</c:v>
                </c:pt>
                <c:pt idx="1340">
                  <c:v>9.002-9.009</c:v>
                </c:pt>
                <c:pt idx="1341">
                  <c:v>9.009-9.016</c:v>
                </c:pt>
                <c:pt idx="1342">
                  <c:v>9.016-9.023</c:v>
                </c:pt>
                <c:pt idx="1343">
                  <c:v>9.023-9.029</c:v>
                </c:pt>
                <c:pt idx="1344">
                  <c:v>9.029-9.036</c:v>
                </c:pt>
                <c:pt idx="1345">
                  <c:v>9.036-9.043</c:v>
                </c:pt>
                <c:pt idx="1346">
                  <c:v>9.043-9.049</c:v>
                </c:pt>
                <c:pt idx="1347">
                  <c:v>9.049-9.056</c:v>
                </c:pt>
                <c:pt idx="1348">
                  <c:v>9.056-9.063</c:v>
                </c:pt>
                <c:pt idx="1349">
                  <c:v>9.063-9.070</c:v>
                </c:pt>
                <c:pt idx="1350">
                  <c:v>9.070-9.076</c:v>
                </c:pt>
                <c:pt idx="1351">
                  <c:v>9.076-9.083</c:v>
                </c:pt>
                <c:pt idx="1352">
                  <c:v>9.083-9.090</c:v>
                </c:pt>
                <c:pt idx="1353">
                  <c:v>9.090-9.096</c:v>
                </c:pt>
                <c:pt idx="1354">
                  <c:v>9.096-9.103</c:v>
                </c:pt>
                <c:pt idx="1355">
                  <c:v>9.103-9.110</c:v>
                </c:pt>
                <c:pt idx="1356">
                  <c:v>9.110-9.117</c:v>
                </c:pt>
                <c:pt idx="1357">
                  <c:v>9.117-9.123</c:v>
                </c:pt>
                <c:pt idx="1358">
                  <c:v>9.123-9.130</c:v>
                </c:pt>
                <c:pt idx="1359">
                  <c:v>9.130-9.137</c:v>
                </c:pt>
                <c:pt idx="1360">
                  <c:v>9.137-9.143</c:v>
                </c:pt>
                <c:pt idx="1361">
                  <c:v>9.143-9.150</c:v>
                </c:pt>
                <c:pt idx="1362">
                  <c:v>9.150-9.157</c:v>
                </c:pt>
                <c:pt idx="1363">
                  <c:v>9.157-9.164</c:v>
                </c:pt>
                <c:pt idx="1364">
                  <c:v>9.164-9.170</c:v>
                </c:pt>
                <c:pt idx="1365">
                  <c:v>9.170-9.177</c:v>
                </c:pt>
                <c:pt idx="1366">
                  <c:v>9.177-9.184</c:v>
                </c:pt>
                <c:pt idx="1367">
                  <c:v>9.184-9.190</c:v>
                </c:pt>
                <c:pt idx="1368">
                  <c:v>9.190-9.197</c:v>
                </c:pt>
                <c:pt idx="1369">
                  <c:v>9.197-9.204</c:v>
                </c:pt>
                <c:pt idx="1370">
                  <c:v>9.204-9.211</c:v>
                </c:pt>
                <c:pt idx="1371">
                  <c:v>9.211-9.217</c:v>
                </c:pt>
                <c:pt idx="1372">
                  <c:v>9.217-9.224</c:v>
                </c:pt>
                <c:pt idx="1373">
                  <c:v>9.224-9.231</c:v>
                </c:pt>
                <c:pt idx="1374">
                  <c:v>9.231-9.237</c:v>
                </c:pt>
                <c:pt idx="1375">
                  <c:v>9.237-9.244</c:v>
                </c:pt>
                <c:pt idx="1376">
                  <c:v>9.244-9.251</c:v>
                </c:pt>
                <c:pt idx="1377">
                  <c:v>9.251-9.257</c:v>
                </c:pt>
                <c:pt idx="1378">
                  <c:v>9.257-9.264</c:v>
                </c:pt>
                <c:pt idx="1379">
                  <c:v>9.264-9.271</c:v>
                </c:pt>
                <c:pt idx="1380">
                  <c:v>9.271-9.278</c:v>
                </c:pt>
                <c:pt idx="1381">
                  <c:v>9.278-9.284</c:v>
                </c:pt>
                <c:pt idx="1382">
                  <c:v>9.284-9.291</c:v>
                </c:pt>
                <c:pt idx="1383">
                  <c:v>9.291-9.298</c:v>
                </c:pt>
                <c:pt idx="1384">
                  <c:v>9.298-9.304</c:v>
                </c:pt>
                <c:pt idx="1385">
                  <c:v>9.304-9.311</c:v>
                </c:pt>
                <c:pt idx="1386">
                  <c:v>9.311-9.318</c:v>
                </c:pt>
                <c:pt idx="1387">
                  <c:v>9.318-9.325</c:v>
                </c:pt>
                <c:pt idx="1388">
                  <c:v>9.325-9.331</c:v>
                </c:pt>
                <c:pt idx="1389">
                  <c:v>9.331-9.338</c:v>
                </c:pt>
                <c:pt idx="1390">
                  <c:v>9.338-9.345</c:v>
                </c:pt>
                <c:pt idx="1391">
                  <c:v>9.345-9.351</c:v>
                </c:pt>
                <c:pt idx="1392">
                  <c:v>9.351-9.358</c:v>
                </c:pt>
                <c:pt idx="1393">
                  <c:v>9.358-9.365</c:v>
                </c:pt>
                <c:pt idx="1394">
                  <c:v>9.365-9.372</c:v>
                </c:pt>
                <c:pt idx="1395">
                  <c:v>9.372-9.378</c:v>
                </c:pt>
                <c:pt idx="1396">
                  <c:v>9.378-9.385</c:v>
                </c:pt>
                <c:pt idx="1397">
                  <c:v>9.385-9.392</c:v>
                </c:pt>
                <c:pt idx="1398">
                  <c:v>9.392-9.398</c:v>
                </c:pt>
                <c:pt idx="1399">
                  <c:v>9.398-9.405</c:v>
                </c:pt>
                <c:pt idx="1400">
                  <c:v>9.405-9.412</c:v>
                </c:pt>
                <c:pt idx="1401">
                  <c:v>9.412-9.419</c:v>
                </c:pt>
                <c:pt idx="1402">
                  <c:v>9.419-9.425</c:v>
                </c:pt>
                <c:pt idx="1403">
                  <c:v>9.425-9.432</c:v>
                </c:pt>
                <c:pt idx="1404">
                  <c:v>9.432-9.439</c:v>
                </c:pt>
                <c:pt idx="1405">
                  <c:v>9.439-9.445</c:v>
                </c:pt>
                <c:pt idx="1406">
                  <c:v>9.445-9.452</c:v>
                </c:pt>
                <c:pt idx="1407">
                  <c:v>9.452-9.459</c:v>
                </c:pt>
                <c:pt idx="1408">
                  <c:v>9.459-9.466</c:v>
                </c:pt>
                <c:pt idx="1409">
                  <c:v>9.466-9.472</c:v>
                </c:pt>
                <c:pt idx="1410">
                  <c:v>9.472-9.479</c:v>
                </c:pt>
                <c:pt idx="1411">
                  <c:v>9.479-9.486</c:v>
                </c:pt>
                <c:pt idx="1412">
                  <c:v>9.486-9.492</c:v>
                </c:pt>
                <c:pt idx="1413">
                  <c:v>9.492-9.499</c:v>
                </c:pt>
                <c:pt idx="1414">
                  <c:v>9.499-9.506</c:v>
                </c:pt>
                <c:pt idx="1415">
                  <c:v>9.506-9.512</c:v>
                </c:pt>
                <c:pt idx="1416">
                  <c:v>9.512-9.519</c:v>
                </c:pt>
                <c:pt idx="1417">
                  <c:v>9.519-9.526</c:v>
                </c:pt>
                <c:pt idx="1418">
                  <c:v>9.526-9.533</c:v>
                </c:pt>
                <c:pt idx="1419">
                  <c:v>9.533-9.539</c:v>
                </c:pt>
                <c:pt idx="1420">
                  <c:v>9.539-9.546</c:v>
                </c:pt>
                <c:pt idx="1421">
                  <c:v>9.546-9.553</c:v>
                </c:pt>
                <c:pt idx="1422">
                  <c:v>9.553-9.559</c:v>
                </c:pt>
                <c:pt idx="1423">
                  <c:v>9.559-9.566</c:v>
                </c:pt>
                <c:pt idx="1424">
                  <c:v>9.566-9.573</c:v>
                </c:pt>
                <c:pt idx="1425">
                  <c:v>9.573-9.580</c:v>
                </c:pt>
                <c:pt idx="1426">
                  <c:v>9.580-9.586</c:v>
                </c:pt>
                <c:pt idx="1427">
                  <c:v>9.586-9.593</c:v>
                </c:pt>
                <c:pt idx="1428">
                  <c:v>9.593-9.600</c:v>
                </c:pt>
                <c:pt idx="1429">
                  <c:v>9.600-9.606</c:v>
                </c:pt>
                <c:pt idx="1430">
                  <c:v>9.606-9.613</c:v>
                </c:pt>
                <c:pt idx="1431">
                  <c:v>9.613-9.620</c:v>
                </c:pt>
                <c:pt idx="1432">
                  <c:v>9.620-9.627</c:v>
                </c:pt>
                <c:pt idx="1433">
                  <c:v>9.627-9.633</c:v>
                </c:pt>
                <c:pt idx="1434">
                  <c:v>9.633-9.640</c:v>
                </c:pt>
                <c:pt idx="1435">
                  <c:v>9.640-9.647</c:v>
                </c:pt>
                <c:pt idx="1436">
                  <c:v>9.647-9.653</c:v>
                </c:pt>
                <c:pt idx="1437">
                  <c:v>9.653-9.660</c:v>
                </c:pt>
                <c:pt idx="1438">
                  <c:v>9.660-9.667</c:v>
                </c:pt>
                <c:pt idx="1439">
                  <c:v>9.667-9.674</c:v>
                </c:pt>
                <c:pt idx="1440">
                  <c:v>9.674-9.680</c:v>
                </c:pt>
                <c:pt idx="1441">
                  <c:v>9.680-9.687</c:v>
                </c:pt>
                <c:pt idx="1442">
                  <c:v>9.687-9.694</c:v>
                </c:pt>
                <c:pt idx="1443">
                  <c:v>9.694-9.700</c:v>
                </c:pt>
                <c:pt idx="1444">
                  <c:v>9.700-9.707</c:v>
                </c:pt>
                <c:pt idx="1445">
                  <c:v>9.707-9.714</c:v>
                </c:pt>
                <c:pt idx="1446">
                  <c:v>9.714-9.721</c:v>
                </c:pt>
                <c:pt idx="1447">
                  <c:v>9.721-9.727</c:v>
                </c:pt>
                <c:pt idx="1448">
                  <c:v>9.727-9.734</c:v>
                </c:pt>
                <c:pt idx="1449">
                  <c:v>9.734-9.741</c:v>
                </c:pt>
                <c:pt idx="1450">
                  <c:v>9.741-9.747</c:v>
                </c:pt>
                <c:pt idx="1451">
                  <c:v>9.747-9.754</c:v>
                </c:pt>
                <c:pt idx="1452">
                  <c:v>9.754-9.761</c:v>
                </c:pt>
                <c:pt idx="1453">
                  <c:v>9.761-9.768</c:v>
                </c:pt>
                <c:pt idx="1454">
                  <c:v>9.768-9.774</c:v>
                </c:pt>
                <c:pt idx="1455">
                  <c:v>9.774-9.781</c:v>
                </c:pt>
                <c:pt idx="1456">
                  <c:v>9.781-9.788</c:v>
                </c:pt>
                <c:pt idx="1457">
                  <c:v>9.788-9.794</c:v>
                </c:pt>
                <c:pt idx="1458">
                  <c:v>9.794-9.801</c:v>
                </c:pt>
                <c:pt idx="1459">
                  <c:v>9.801-9.808</c:v>
                </c:pt>
                <c:pt idx="1460">
                  <c:v>9.808-9.814</c:v>
                </c:pt>
                <c:pt idx="1461">
                  <c:v>9.814-9.821</c:v>
                </c:pt>
                <c:pt idx="1462">
                  <c:v>9.821-9.828</c:v>
                </c:pt>
                <c:pt idx="1463">
                  <c:v>9.828-9.835</c:v>
                </c:pt>
                <c:pt idx="1464">
                  <c:v>9.835-9.841</c:v>
                </c:pt>
                <c:pt idx="1465">
                  <c:v>9.841-9.848</c:v>
                </c:pt>
                <c:pt idx="1466">
                  <c:v>9.848-9.855</c:v>
                </c:pt>
                <c:pt idx="1467">
                  <c:v>9.855-9.861</c:v>
                </c:pt>
                <c:pt idx="1468">
                  <c:v>9.861-9.868</c:v>
                </c:pt>
                <c:pt idx="1469">
                  <c:v>9.868-9.875</c:v>
                </c:pt>
                <c:pt idx="1470">
                  <c:v>9.875-9.882</c:v>
                </c:pt>
                <c:pt idx="1471">
                  <c:v>9.882-9.888</c:v>
                </c:pt>
                <c:pt idx="1472">
                  <c:v>9.888-9.895</c:v>
                </c:pt>
                <c:pt idx="1473">
                  <c:v>9.895-9.902</c:v>
                </c:pt>
                <c:pt idx="1474">
                  <c:v>9.902-9.908</c:v>
                </c:pt>
                <c:pt idx="1475">
                  <c:v>9.908-9.915</c:v>
                </c:pt>
                <c:pt idx="1476">
                  <c:v>9.915-9.922</c:v>
                </c:pt>
                <c:pt idx="1477">
                  <c:v>9.922-9.929</c:v>
                </c:pt>
                <c:pt idx="1478">
                  <c:v>9.929-9.935</c:v>
                </c:pt>
                <c:pt idx="1479">
                  <c:v>9.935-9.942</c:v>
                </c:pt>
                <c:pt idx="1480">
                  <c:v>9.942-9.949</c:v>
                </c:pt>
                <c:pt idx="1481">
                  <c:v>9.949-9.955</c:v>
                </c:pt>
                <c:pt idx="1482">
                  <c:v>9.955-9.962</c:v>
                </c:pt>
                <c:pt idx="1483">
                  <c:v>9.962-9.969</c:v>
                </c:pt>
                <c:pt idx="1484">
                  <c:v>9.969-9.976</c:v>
                </c:pt>
                <c:pt idx="1485">
                  <c:v>9.976-9.982</c:v>
                </c:pt>
                <c:pt idx="1486">
                  <c:v>9.982-9.989</c:v>
                </c:pt>
                <c:pt idx="1487">
                  <c:v>9.989-9.996</c:v>
                </c:pt>
                <c:pt idx="1488">
                  <c:v>9.996-10.002</c:v>
                </c:pt>
                <c:pt idx="1489">
                  <c:v>10.002-10.009</c:v>
                </c:pt>
                <c:pt idx="1490">
                  <c:v>10.009-10.016</c:v>
                </c:pt>
                <c:pt idx="1491">
                  <c:v>10.016-10.023</c:v>
                </c:pt>
                <c:pt idx="1492">
                  <c:v>10.023-10.029</c:v>
                </c:pt>
                <c:pt idx="1493">
                  <c:v>10.029-10.036</c:v>
                </c:pt>
                <c:pt idx="1494">
                  <c:v>10.036-10.043</c:v>
                </c:pt>
                <c:pt idx="1495">
                  <c:v>10.043-10.049</c:v>
                </c:pt>
                <c:pt idx="1496">
                  <c:v>10.049-10.056</c:v>
                </c:pt>
                <c:pt idx="1497">
                  <c:v>10.056-10.063</c:v>
                </c:pt>
                <c:pt idx="1498">
                  <c:v>10.063-10.069</c:v>
                </c:pt>
                <c:pt idx="1499">
                  <c:v>10.069-10.076</c:v>
                </c:pt>
                <c:pt idx="1500">
                  <c:v>10.076-10.083</c:v>
                </c:pt>
                <c:pt idx="1501">
                  <c:v>10.083-10.090</c:v>
                </c:pt>
                <c:pt idx="1502">
                  <c:v>10.090-10.096</c:v>
                </c:pt>
                <c:pt idx="1503">
                  <c:v>10.096-10.103</c:v>
                </c:pt>
                <c:pt idx="1504">
                  <c:v>10.103-10.110</c:v>
                </c:pt>
                <c:pt idx="1505">
                  <c:v>10.110-10.116</c:v>
                </c:pt>
                <c:pt idx="1506">
                  <c:v>10.116-10.123</c:v>
                </c:pt>
                <c:pt idx="1507">
                  <c:v>10.123-10.130</c:v>
                </c:pt>
                <c:pt idx="1508">
                  <c:v>10.130-10.137</c:v>
                </c:pt>
                <c:pt idx="1509">
                  <c:v>10.137-10.143</c:v>
                </c:pt>
                <c:pt idx="1510">
                  <c:v>10.143-10.150</c:v>
                </c:pt>
                <c:pt idx="1511">
                  <c:v>10.150-10.157</c:v>
                </c:pt>
                <c:pt idx="1512">
                  <c:v>10.157-10.163</c:v>
                </c:pt>
                <c:pt idx="1513">
                  <c:v>10.163-10.170</c:v>
                </c:pt>
                <c:pt idx="1514">
                  <c:v>10.170-10.177</c:v>
                </c:pt>
                <c:pt idx="1515">
                  <c:v>10.177-10.184</c:v>
                </c:pt>
                <c:pt idx="1516">
                  <c:v>10.184-10.190</c:v>
                </c:pt>
                <c:pt idx="1517">
                  <c:v>10.190-10.197</c:v>
                </c:pt>
                <c:pt idx="1518">
                  <c:v>10.197-10.204</c:v>
                </c:pt>
                <c:pt idx="1519">
                  <c:v>10.204-10.210</c:v>
                </c:pt>
                <c:pt idx="1520">
                  <c:v>10.210-10.217</c:v>
                </c:pt>
                <c:pt idx="1521">
                  <c:v>10.217-10.224</c:v>
                </c:pt>
                <c:pt idx="1522">
                  <c:v>10.224-10.231</c:v>
                </c:pt>
                <c:pt idx="1523">
                  <c:v>10.231-10.237</c:v>
                </c:pt>
                <c:pt idx="1524">
                  <c:v>10.237-10.244</c:v>
                </c:pt>
                <c:pt idx="1525">
                  <c:v>10.244-10.251</c:v>
                </c:pt>
                <c:pt idx="1526">
                  <c:v>10.251-10.257</c:v>
                </c:pt>
                <c:pt idx="1527">
                  <c:v>10.257-10.264</c:v>
                </c:pt>
                <c:pt idx="1528">
                  <c:v>10.264-10.271</c:v>
                </c:pt>
                <c:pt idx="1529">
                  <c:v>10.271-10.278</c:v>
                </c:pt>
                <c:pt idx="1530">
                  <c:v>10.278-10.284</c:v>
                </c:pt>
                <c:pt idx="1531">
                  <c:v>10.284-10.291</c:v>
                </c:pt>
                <c:pt idx="1532">
                  <c:v>10.291-10.298</c:v>
                </c:pt>
                <c:pt idx="1533">
                  <c:v>10.298-10.304</c:v>
                </c:pt>
                <c:pt idx="1534">
                  <c:v>10.304-10.311</c:v>
                </c:pt>
                <c:pt idx="1535">
                  <c:v>10.311-10.318</c:v>
                </c:pt>
                <c:pt idx="1536">
                  <c:v>10.318-10.324</c:v>
                </c:pt>
                <c:pt idx="1537">
                  <c:v>10.324-10.331</c:v>
                </c:pt>
                <c:pt idx="1538">
                  <c:v>10.331-10.338</c:v>
                </c:pt>
                <c:pt idx="1539">
                  <c:v>10.338-10.345</c:v>
                </c:pt>
                <c:pt idx="1540">
                  <c:v>10.345-10.351</c:v>
                </c:pt>
                <c:pt idx="1541">
                  <c:v>10.351-10.358</c:v>
                </c:pt>
                <c:pt idx="1542">
                  <c:v>10.358-10.365</c:v>
                </c:pt>
                <c:pt idx="1543">
                  <c:v>10.365-10.371</c:v>
                </c:pt>
                <c:pt idx="1544">
                  <c:v>10.371-10.378</c:v>
                </c:pt>
                <c:pt idx="1545">
                  <c:v>10.378-10.385</c:v>
                </c:pt>
                <c:pt idx="1546">
                  <c:v>10.385-10.392</c:v>
                </c:pt>
                <c:pt idx="1547">
                  <c:v>10.392-10.398</c:v>
                </c:pt>
                <c:pt idx="1548">
                  <c:v>10.398-10.405</c:v>
                </c:pt>
                <c:pt idx="1549">
                  <c:v>10.405-10.412</c:v>
                </c:pt>
                <c:pt idx="1550">
                  <c:v>10.412-10.418</c:v>
                </c:pt>
                <c:pt idx="1551">
                  <c:v>10.418-10.425</c:v>
                </c:pt>
                <c:pt idx="1552">
                  <c:v>10.425-10.432</c:v>
                </c:pt>
                <c:pt idx="1553">
                  <c:v>10.432-10.439</c:v>
                </c:pt>
                <c:pt idx="1554">
                  <c:v>10.439-10.445</c:v>
                </c:pt>
                <c:pt idx="1555">
                  <c:v>10.445-10.452</c:v>
                </c:pt>
                <c:pt idx="1556">
                  <c:v>10.452-10.459</c:v>
                </c:pt>
                <c:pt idx="1557">
                  <c:v>10.459-10.465</c:v>
                </c:pt>
                <c:pt idx="1558">
                  <c:v>10.465-10.472</c:v>
                </c:pt>
                <c:pt idx="1559">
                  <c:v>10.472-10.479</c:v>
                </c:pt>
                <c:pt idx="1560">
                  <c:v>10.479-10.486</c:v>
                </c:pt>
                <c:pt idx="1561">
                  <c:v>10.486-10.492</c:v>
                </c:pt>
                <c:pt idx="1562">
                  <c:v>10.492-10.499</c:v>
                </c:pt>
                <c:pt idx="1563">
                  <c:v>10.499-10.506</c:v>
                </c:pt>
                <c:pt idx="1564">
                  <c:v>10.506-10.512</c:v>
                </c:pt>
                <c:pt idx="1565">
                  <c:v>10.512-10.519</c:v>
                </c:pt>
                <c:pt idx="1566">
                  <c:v>10.519-10.526</c:v>
                </c:pt>
                <c:pt idx="1567">
                  <c:v>10.526-10.533</c:v>
                </c:pt>
                <c:pt idx="1568">
                  <c:v>10.533-10.539</c:v>
                </c:pt>
                <c:pt idx="1569">
                  <c:v>10.539-10.546</c:v>
                </c:pt>
                <c:pt idx="1570">
                  <c:v>10.546-10.553</c:v>
                </c:pt>
                <c:pt idx="1571">
                  <c:v>10.553-10.559</c:v>
                </c:pt>
                <c:pt idx="1572">
                  <c:v>10.559-10.566</c:v>
                </c:pt>
                <c:pt idx="1573">
                  <c:v>10.566-10.573</c:v>
                </c:pt>
                <c:pt idx="1574">
                  <c:v>10.573-10.580</c:v>
                </c:pt>
                <c:pt idx="1575">
                  <c:v>10.580-10.586</c:v>
                </c:pt>
                <c:pt idx="1576">
                  <c:v>10.586-10.593</c:v>
                </c:pt>
                <c:pt idx="1577">
                  <c:v>10.593-10.600</c:v>
                </c:pt>
                <c:pt idx="1578">
                  <c:v>10.600-10.606</c:v>
                </c:pt>
                <c:pt idx="1579">
                  <c:v>10.606-10.613</c:v>
                </c:pt>
                <c:pt idx="1580">
                  <c:v>10.613-10.620</c:v>
                </c:pt>
                <c:pt idx="1581">
                  <c:v>10.620-10.626</c:v>
                </c:pt>
                <c:pt idx="1582">
                  <c:v>10.626-10.633</c:v>
                </c:pt>
                <c:pt idx="1583">
                  <c:v>10.633-10.640</c:v>
                </c:pt>
                <c:pt idx="1584">
                  <c:v>10.640-10.647</c:v>
                </c:pt>
                <c:pt idx="1585">
                  <c:v>10.647-10.653</c:v>
                </c:pt>
                <c:pt idx="1586">
                  <c:v>10.653-10.660</c:v>
                </c:pt>
                <c:pt idx="1587">
                  <c:v>10.660-10.667</c:v>
                </c:pt>
                <c:pt idx="1588">
                  <c:v>10.667-10.673</c:v>
                </c:pt>
                <c:pt idx="1589">
                  <c:v>10.673-10.680</c:v>
                </c:pt>
                <c:pt idx="1590">
                  <c:v>10.680-10.687</c:v>
                </c:pt>
                <c:pt idx="1591">
                  <c:v>10.687-10.694</c:v>
                </c:pt>
                <c:pt idx="1592">
                  <c:v>10.694-10.700</c:v>
                </c:pt>
                <c:pt idx="1593">
                  <c:v>10.700-10.707</c:v>
                </c:pt>
                <c:pt idx="1594">
                  <c:v>10.707-10.714</c:v>
                </c:pt>
                <c:pt idx="1595">
                  <c:v>10.714-10.720</c:v>
                </c:pt>
                <c:pt idx="1596">
                  <c:v>10.720-10.727</c:v>
                </c:pt>
                <c:pt idx="1597">
                  <c:v>10.727-10.734</c:v>
                </c:pt>
                <c:pt idx="1598">
                  <c:v>10.734-10.741</c:v>
                </c:pt>
                <c:pt idx="1599">
                  <c:v>10.741-10.747</c:v>
                </c:pt>
                <c:pt idx="1600">
                  <c:v>10.747-10.754</c:v>
                </c:pt>
                <c:pt idx="1601">
                  <c:v>10.754-10.761</c:v>
                </c:pt>
                <c:pt idx="1602">
                  <c:v>10.761-10.767</c:v>
                </c:pt>
                <c:pt idx="1603">
                  <c:v>10.767-10.774</c:v>
                </c:pt>
                <c:pt idx="1604">
                  <c:v>10.774-10.781</c:v>
                </c:pt>
                <c:pt idx="1605">
                  <c:v>10.781-10.788</c:v>
                </c:pt>
                <c:pt idx="1606">
                  <c:v>10.788-10.794</c:v>
                </c:pt>
                <c:pt idx="1607">
                  <c:v>10.794-10.801</c:v>
                </c:pt>
                <c:pt idx="1608">
                  <c:v>10.801-10.808</c:v>
                </c:pt>
                <c:pt idx="1609">
                  <c:v>10.808-10.814</c:v>
                </c:pt>
                <c:pt idx="1610">
                  <c:v>10.814-10.821</c:v>
                </c:pt>
                <c:pt idx="1611">
                  <c:v>10.821-10.828</c:v>
                </c:pt>
                <c:pt idx="1612">
                  <c:v>10.828-10.835</c:v>
                </c:pt>
                <c:pt idx="1613">
                  <c:v>10.835-10.841</c:v>
                </c:pt>
                <c:pt idx="1614">
                  <c:v>10.841-10.848</c:v>
                </c:pt>
                <c:pt idx="1615">
                  <c:v>10.848-10.855</c:v>
                </c:pt>
                <c:pt idx="1616">
                  <c:v>10.855-10.861</c:v>
                </c:pt>
                <c:pt idx="1617">
                  <c:v>10.861-10.868</c:v>
                </c:pt>
                <c:pt idx="1618">
                  <c:v>10.868-10.875</c:v>
                </c:pt>
                <c:pt idx="1619">
                  <c:v>10.875-10.881</c:v>
                </c:pt>
                <c:pt idx="1620">
                  <c:v>10.881-10.888</c:v>
                </c:pt>
                <c:pt idx="1621">
                  <c:v>10.888-10.895</c:v>
                </c:pt>
                <c:pt idx="1622">
                  <c:v>10.895-10.902</c:v>
                </c:pt>
                <c:pt idx="1623">
                  <c:v>10.902-10.908</c:v>
                </c:pt>
                <c:pt idx="1624">
                  <c:v>10.908-10.915</c:v>
                </c:pt>
                <c:pt idx="1625">
                  <c:v>10.915-10.922</c:v>
                </c:pt>
                <c:pt idx="1626">
                  <c:v>10.922-10.928</c:v>
                </c:pt>
                <c:pt idx="1627">
                  <c:v>10.928-10.935</c:v>
                </c:pt>
                <c:pt idx="1628">
                  <c:v>10.935-10.942</c:v>
                </c:pt>
                <c:pt idx="1629">
                  <c:v>10.942-10.949</c:v>
                </c:pt>
                <c:pt idx="1630">
                  <c:v>10.949-10.955</c:v>
                </c:pt>
                <c:pt idx="1631">
                  <c:v>10.955-10.962</c:v>
                </c:pt>
                <c:pt idx="1632">
                  <c:v>10.962-10.969</c:v>
                </c:pt>
                <c:pt idx="1633">
                  <c:v>10.969-10.975</c:v>
                </c:pt>
                <c:pt idx="1634">
                  <c:v>10.975-10.982</c:v>
                </c:pt>
                <c:pt idx="1635">
                  <c:v>10.982-10.989</c:v>
                </c:pt>
                <c:pt idx="1636">
                  <c:v>10.989-10.996</c:v>
                </c:pt>
                <c:pt idx="1637">
                  <c:v>10.996-11.002</c:v>
                </c:pt>
                <c:pt idx="1638">
                  <c:v>11.002-11.009</c:v>
                </c:pt>
                <c:pt idx="1639">
                  <c:v>11.009-11.016</c:v>
                </c:pt>
                <c:pt idx="1640">
                  <c:v>11.016-11.022</c:v>
                </c:pt>
                <c:pt idx="1641">
                  <c:v>11.022-11.029</c:v>
                </c:pt>
                <c:pt idx="1642">
                  <c:v>11.029-11.036</c:v>
                </c:pt>
                <c:pt idx="1643">
                  <c:v>11.036-11.043</c:v>
                </c:pt>
                <c:pt idx="1644">
                  <c:v>11.043-11.049</c:v>
                </c:pt>
                <c:pt idx="1645">
                  <c:v>11.049-11.056</c:v>
                </c:pt>
                <c:pt idx="1646">
                  <c:v>11.056-11.063</c:v>
                </c:pt>
                <c:pt idx="1647">
                  <c:v>11.063-11.069</c:v>
                </c:pt>
                <c:pt idx="1648">
                  <c:v>11.069-11.076</c:v>
                </c:pt>
                <c:pt idx="1649">
                  <c:v>11.076-11.083</c:v>
                </c:pt>
                <c:pt idx="1650">
                  <c:v>11.083-11.090</c:v>
                </c:pt>
                <c:pt idx="1651">
                  <c:v>11.090-11.096</c:v>
                </c:pt>
                <c:pt idx="1652">
                  <c:v>11.096-11.103</c:v>
                </c:pt>
                <c:pt idx="1653">
                  <c:v>11.103-11.110</c:v>
                </c:pt>
                <c:pt idx="1654">
                  <c:v>11.110-11.116</c:v>
                </c:pt>
                <c:pt idx="1655">
                  <c:v>11.116-11.123</c:v>
                </c:pt>
                <c:pt idx="1656">
                  <c:v>11.123-11.130</c:v>
                </c:pt>
                <c:pt idx="1657">
                  <c:v>11.130-11.137</c:v>
                </c:pt>
                <c:pt idx="1658">
                  <c:v>11.137-11.143</c:v>
                </c:pt>
                <c:pt idx="1659">
                  <c:v>11.143-11.150</c:v>
                </c:pt>
                <c:pt idx="1660">
                  <c:v>11.150-11.157</c:v>
                </c:pt>
                <c:pt idx="1661">
                  <c:v>11.157-11.163</c:v>
                </c:pt>
                <c:pt idx="1662">
                  <c:v>11.163-11.170</c:v>
                </c:pt>
                <c:pt idx="1663">
                  <c:v>11.170-11.177</c:v>
                </c:pt>
                <c:pt idx="1664">
                  <c:v>11.177-11.183</c:v>
                </c:pt>
                <c:pt idx="1665">
                  <c:v>11.183-11.190</c:v>
                </c:pt>
                <c:pt idx="1666">
                  <c:v>11.190-11.197</c:v>
                </c:pt>
                <c:pt idx="1667">
                  <c:v>11.197-11.204</c:v>
                </c:pt>
                <c:pt idx="1668">
                  <c:v>11.204-11.210</c:v>
                </c:pt>
                <c:pt idx="1669">
                  <c:v>11.210-11.217</c:v>
                </c:pt>
                <c:pt idx="1670">
                  <c:v>11.217-11.224</c:v>
                </c:pt>
                <c:pt idx="1671">
                  <c:v>11.224-11.230</c:v>
                </c:pt>
                <c:pt idx="1672">
                  <c:v>11.230-11.237</c:v>
                </c:pt>
                <c:pt idx="1673">
                  <c:v>11.237-11.244</c:v>
                </c:pt>
                <c:pt idx="1674">
                  <c:v>11.244-11.251</c:v>
                </c:pt>
                <c:pt idx="1675">
                  <c:v>11.251-11.257</c:v>
                </c:pt>
                <c:pt idx="1676">
                  <c:v>11.257-11.264</c:v>
                </c:pt>
                <c:pt idx="1677">
                  <c:v>11.264-11.271</c:v>
                </c:pt>
                <c:pt idx="1678">
                  <c:v>11.271-11.277</c:v>
                </c:pt>
                <c:pt idx="1679">
                  <c:v>11.277-11.284</c:v>
                </c:pt>
                <c:pt idx="1680">
                  <c:v>11.284-11.291</c:v>
                </c:pt>
                <c:pt idx="1681">
                  <c:v>11.291-11.298</c:v>
                </c:pt>
                <c:pt idx="1682">
                  <c:v>11.298-11.304</c:v>
                </c:pt>
                <c:pt idx="1683">
                  <c:v>11.304-11.311</c:v>
                </c:pt>
                <c:pt idx="1684">
                  <c:v>11.311-11.318</c:v>
                </c:pt>
                <c:pt idx="1685">
                  <c:v>11.318-11.324</c:v>
                </c:pt>
                <c:pt idx="1686">
                  <c:v>11.324-11.331</c:v>
                </c:pt>
                <c:pt idx="1687">
                  <c:v>11.331-11.338</c:v>
                </c:pt>
                <c:pt idx="1688">
                  <c:v>11.338-11.345</c:v>
                </c:pt>
                <c:pt idx="1689">
                  <c:v>11.345-11.351</c:v>
                </c:pt>
                <c:pt idx="1690">
                  <c:v>11.351-11.358</c:v>
                </c:pt>
                <c:pt idx="1691">
                  <c:v>11.358-11.365</c:v>
                </c:pt>
                <c:pt idx="1692">
                  <c:v>11.365-11.371</c:v>
                </c:pt>
                <c:pt idx="1693">
                  <c:v>11.371-11.378</c:v>
                </c:pt>
                <c:pt idx="1694">
                  <c:v>11.378-11.385</c:v>
                </c:pt>
                <c:pt idx="1695">
                  <c:v>11.385-11.392</c:v>
                </c:pt>
                <c:pt idx="1696">
                  <c:v>11.392-11.398</c:v>
                </c:pt>
                <c:pt idx="1697">
                  <c:v>11.398-11.405</c:v>
                </c:pt>
                <c:pt idx="1698">
                  <c:v>11.405-11.412</c:v>
                </c:pt>
                <c:pt idx="1699">
                  <c:v>11.412-11.418</c:v>
                </c:pt>
                <c:pt idx="1700">
                  <c:v>11.418-11.425</c:v>
                </c:pt>
                <c:pt idx="1701">
                  <c:v>11.425-11.432</c:v>
                </c:pt>
                <c:pt idx="1702">
                  <c:v>11.432-11.438</c:v>
                </c:pt>
                <c:pt idx="1703">
                  <c:v>11.438-11.445</c:v>
                </c:pt>
                <c:pt idx="1704">
                  <c:v>11.445-11.452</c:v>
                </c:pt>
                <c:pt idx="1705">
                  <c:v>11.452-11.459</c:v>
                </c:pt>
                <c:pt idx="1706">
                  <c:v>11.459-11.465</c:v>
                </c:pt>
                <c:pt idx="1707">
                  <c:v>11.465-11.472</c:v>
                </c:pt>
                <c:pt idx="1708">
                  <c:v>11.472-11.479</c:v>
                </c:pt>
                <c:pt idx="1709">
                  <c:v>11.479-11.485</c:v>
                </c:pt>
                <c:pt idx="1710">
                  <c:v>11.485-11.492</c:v>
                </c:pt>
                <c:pt idx="1711">
                  <c:v>11.492-11.499</c:v>
                </c:pt>
                <c:pt idx="1712">
                  <c:v>11.499-11.506</c:v>
                </c:pt>
                <c:pt idx="1713">
                  <c:v>11.506-11.512</c:v>
                </c:pt>
                <c:pt idx="1714">
                  <c:v>11.512-11.519</c:v>
                </c:pt>
                <c:pt idx="1715">
                  <c:v>11.519-11.526</c:v>
                </c:pt>
                <c:pt idx="1716">
                  <c:v>11.526-11.532</c:v>
                </c:pt>
                <c:pt idx="1717">
                  <c:v>11.532-11.539</c:v>
                </c:pt>
                <c:pt idx="1718">
                  <c:v>11.539-11.546</c:v>
                </c:pt>
                <c:pt idx="1719">
                  <c:v>11.546-11.553</c:v>
                </c:pt>
                <c:pt idx="1720">
                  <c:v>11.553-11.559</c:v>
                </c:pt>
                <c:pt idx="1721">
                  <c:v>11.559-11.566</c:v>
                </c:pt>
                <c:pt idx="1722">
                  <c:v>11.566-11.573</c:v>
                </c:pt>
                <c:pt idx="1723">
                  <c:v>11.573-11.579</c:v>
                </c:pt>
                <c:pt idx="1724">
                  <c:v>11.579-11.586</c:v>
                </c:pt>
                <c:pt idx="1725">
                  <c:v>11.586-11.593</c:v>
                </c:pt>
                <c:pt idx="1726">
                  <c:v>11.593-11.600</c:v>
                </c:pt>
                <c:pt idx="1727">
                  <c:v>11.600-11.606</c:v>
                </c:pt>
                <c:pt idx="1728">
                  <c:v>11.606-11.613</c:v>
                </c:pt>
                <c:pt idx="1729">
                  <c:v>11.613-11.620</c:v>
                </c:pt>
                <c:pt idx="1730">
                  <c:v>11.620-11.626</c:v>
                </c:pt>
                <c:pt idx="1731">
                  <c:v>11.626-11.633</c:v>
                </c:pt>
                <c:pt idx="1732">
                  <c:v>11.633-11.640</c:v>
                </c:pt>
                <c:pt idx="1733">
                  <c:v>11.640-11.647</c:v>
                </c:pt>
                <c:pt idx="1734">
                  <c:v>11.647-11.653</c:v>
                </c:pt>
                <c:pt idx="1735">
                  <c:v>11.653-11.660</c:v>
                </c:pt>
                <c:pt idx="1736">
                  <c:v>11.660-11.667</c:v>
                </c:pt>
                <c:pt idx="1737">
                  <c:v>11.667-11.673</c:v>
                </c:pt>
                <c:pt idx="1738">
                  <c:v>11.673-11.680</c:v>
                </c:pt>
                <c:pt idx="1739">
                  <c:v>11.680-11.687</c:v>
                </c:pt>
                <c:pt idx="1740">
                  <c:v>11.687-11.694</c:v>
                </c:pt>
                <c:pt idx="1741">
                  <c:v>11.694-11.700</c:v>
                </c:pt>
                <c:pt idx="1742">
                  <c:v>11.700-11.707</c:v>
                </c:pt>
                <c:pt idx="1743">
                  <c:v>11.707-11.714</c:v>
                </c:pt>
                <c:pt idx="1744">
                  <c:v>11.714-11.720</c:v>
                </c:pt>
                <c:pt idx="1745">
                  <c:v>11.720-11.727</c:v>
                </c:pt>
                <c:pt idx="1746">
                  <c:v>11.727-11.734</c:v>
                </c:pt>
                <c:pt idx="1747">
                  <c:v>11.734-11.740</c:v>
                </c:pt>
                <c:pt idx="1748">
                  <c:v>11.740-11.747</c:v>
                </c:pt>
                <c:pt idx="1749">
                  <c:v>11.747-11.754</c:v>
                </c:pt>
                <c:pt idx="1750">
                  <c:v>11.754-11.761</c:v>
                </c:pt>
                <c:pt idx="1751">
                  <c:v>11.761-11.767</c:v>
                </c:pt>
                <c:pt idx="1752">
                  <c:v>11.767-11.774</c:v>
                </c:pt>
                <c:pt idx="1753">
                  <c:v>11.774-11.781</c:v>
                </c:pt>
                <c:pt idx="1754">
                  <c:v>11.781-11.787</c:v>
                </c:pt>
                <c:pt idx="1755">
                  <c:v>11.787-11.794</c:v>
                </c:pt>
                <c:pt idx="1756">
                  <c:v>11.794-11.801</c:v>
                </c:pt>
                <c:pt idx="1757">
                  <c:v>11.801-11.808</c:v>
                </c:pt>
                <c:pt idx="1758">
                  <c:v>11.808-11.814</c:v>
                </c:pt>
                <c:pt idx="1759">
                  <c:v>11.814-11.821</c:v>
                </c:pt>
                <c:pt idx="1760">
                  <c:v>11.821-11.828</c:v>
                </c:pt>
                <c:pt idx="1761">
                  <c:v>11.828-11.834</c:v>
                </c:pt>
                <c:pt idx="1762">
                  <c:v>11.834-11.841</c:v>
                </c:pt>
                <c:pt idx="1763">
                  <c:v>11.841-11.848</c:v>
                </c:pt>
                <c:pt idx="1764">
                  <c:v>11.848-11.855</c:v>
                </c:pt>
                <c:pt idx="1765">
                  <c:v>11.855-11.861</c:v>
                </c:pt>
                <c:pt idx="1766">
                  <c:v>11.861-11.868</c:v>
                </c:pt>
                <c:pt idx="1767">
                  <c:v>11.868-11.875</c:v>
                </c:pt>
                <c:pt idx="1768">
                  <c:v>11.875-11.881</c:v>
                </c:pt>
                <c:pt idx="1769">
                  <c:v>11.881-11.888</c:v>
                </c:pt>
                <c:pt idx="1770">
                  <c:v>11.888-11.895</c:v>
                </c:pt>
                <c:pt idx="1771">
                  <c:v>11.895-11.902</c:v>
                </c:pt>
                <c:pt idx="1772">
                  <c:v>11.902-11.908</c:v>
                </c:pt>
                <c:pt idx="1773">
                  <c:v>11.908-11.915</c:v>
                </c:pt>
                <c:pt idx="1774">
                  <c:v>11.915-11.922</c:v>
                </c:pt>
                <c:pt idx="1775">
                  <c:v>11.922-11.928</c:v>
                </c:pt>
                <c:pt idx="1776">
                  <c:v>11.928-11.935</c:v>
                </c:pt>
                <c:pt idx="1777">
                  <c:v>11.935-11.942</c:v>
                </c:pt>
                <c:pt idx="1778">
                  <c:v>11.942-11.949</c:v>
                </c:pt>
                <c:pt idx="1779">
                  <c:v>11.949-11.955</c:v>
                </c:pt>
                <c:pt idx="1780">
                  <c:v>11.955-11.962</c:v>
                </c:pt>
                <c:pt idx="1781">
                  <c:v>11.962-11.969</c:v>
                </c:pt>
                <c:pt idx="1782">
                  <c:v>11.969-11.975</c:v>
                </c:pt>
                <c:pt idx="1783">
                  <c:v>11.975-11.982</c:v>
                </c:pt>
                <c:pt idx="1784">
                  <c:v>11.982-11.989</c:v>
                </c:pt>
                <c:pt idx="1785">
                  <c:v>11.989-11.995</c:v>
                </c:pt>
                <c:pt idx="1786">
                  <c:v>11.995-12.002</c:v>
                </c:pt>
                <c:pt idx="1787">
                  <c:v>12.002-12.009</c:v>
                </c:pt>
                <c:pt idx="1788">
                  <c:v>12.009-12.016</c:v>
                </c:pt>
                <c:pt idx="1789">
                  <c:v>12.016-12.022</c:v>
                </c:pt>
                <c:pt idx="1790">
                  <c:v>12.022-12.029</c:v>
                </c:pt>
                <c:pt idx="1791">
                  <c:v>12.029-12.036</c:v>
                </c:pt>
                <c:pt idx="1792">
                  <c:v>12.036-12.042</c:v>
                </c:pt>
                <c:pt idx="1793">
                  <c:v>12.042-12.049</c:v>
                </c:pt>
                <c:pt idx="1794">
                  <c:v>12.049-12.056</c:v>
                </c:pt>
                <c:pt idx="1795">
                  <c:v>12.056-12.063</c:v>
                </c:pt>
                <c:pt idx="1796">
                  <c:v>12.063-12.069</c:v>
                </c:pt>
                <c:pt idx="1797">
                  <c:v>12.069-12.076</c:v>
                </c:pt>
                <c:pt idx="1798">
                  <c:v>12.076-12.083</c:v>
                </c:pt>
                <c:pt idx="1799">
                  <c:v>12.083-12.089</c:v>
                </c:pt>
                <c:pt idx="1800">
                  <c:v>12.089-12.096</c:v>
                </c:pt>
                <c:pt idx="1801">
                  <c:v>12.096-12.103</c:v>
                </c:pt>
                <c:pt idx="1802">
                  <c:v>12.103-12.110</c:v>
                </c:pt>
                <c:pt idx="1803">
                  <c:v>12.110-12.116</c:v>
                </c:pt>
                <c:pt idx="1804">
                  <c:v>12.116-12.123</c:v>
                </c:pt>
                <c:pt idx="1805">
                  <c:v>12.123-12.130</c:v>
                </c:pt>
                <c:pt idx="1806">
                  <c:v>12.130-12.136</c:v>
                </c:pt>
                <c:pt idx="1807">
                  <c:v>12.136-12.143</c:v>
                </c:pt>
                <c:pt idx="1808">
                  <c:v>12.143-12.150</c:v>
                </c:pt>
                <c:pt idx="1809">
                  <c:v>12.150-12.157</c:v>
                </c:pt>
                <c:pt idx="1810">
                  <c:v>12.157-12.163</c:v>
                </c:pt>
                <c:pt idx="1811">
                  <c:v>12.163-12.170</c:v>
                </c:pt>
                <c:pt idx="1812">
                  <c:v>12.170-12.177</c:v>
                </c:pt>
                <c:pt idx="1813">
                  <c:v>12.177-12.183</c:v>
                </c:pt>
                <c:pt idx="1814">
                  <c:v>12.183-12.190</c:v>
                </c:pt>
                <c:pt idx="1815">
                  <c:v>12.190-12.197</c:v>
                </c:pt>
                <c:pt idx="1816">
                  <c:v>12.197-12.204</c:v>
                </c:pt>
                <c:pt idx="1817">
                  <c:v>12.204-12.210</c:v>
                </c:pt>
                <c:pt idx="1818">
                  <c:v>12.210-12.217</c:v>
                </c:pt>
                <c:pt idx="1819">
                  <c:v>12.217-12.224</c:v>
                </c:pt>
                <c:pt idx="1820">
                  <c:v>12.224-12.230</c:v>
                </c:pt>
                <c:pt idx="1821">
                  <c:v>12.230-12.237</c:v>
                </c:pt>
                <c:pt idx="1822">
                  <c:v>12.237-12.244</c:v>
                </c:pt>
                <c:pt idx="1823">
                  <c:v>12.244-12.250</c:v>
                </c:pt>
                <c:pt idx="1824">
                  <c:v>12.250-12.257</c:v>
                </c:pt>
                <c:pt idx="1825">
                  <c:v>12.257-12.264</c:v>
                </c:pt>
                <c:pt idx="1826">
                  <c:v>12.264-12.271</c:v>
                </c:pt>
                <c:pt idx="1827">
                  <c:v>12.271-12.277</c:v>
                </c:pt>
                <c:pt idx="1828">
                  <c:v>12.277-12.284</c:v>
                </c:pt>
                <c:pt idx="1829">
                  <c:v>12.284-12.291</c:v>
                </c:pt>
                <c:pt idx="1830">
                  <c:v>12.291-12.297</c:v>
                </c:pt>
                <c:pt idx="1831">
                  <c:v>12.297-12.304</c:v>
                </c:pt>
                <c:pt idx="1832">
                  <c:v>12.304-12.311</c:v>
                </c:pt>
                <c:pt idx="1833">
                  <c:v>12.311-12.318</c:v>
                </c:pt>
                <c:pt idx="1834">
                  <c:v>12.318-12.324</c:v>
                </c:pt>
                <c:pt idx="1835">
                  <c:v>12.324-12.331</c:v>
                </c:pt>
                <c:pt idx="1836">
                  <c:v>12.331-12.338</c:v>
                </c:pt>
                <c:pt idx="1837">
                  <c:v>12.338-12.344</c:v>
                </c:pt>
                <c:pt idx="1838">
                  <c:v>12.344-12.351</c:v>
                </c:pt>
                <c:pt idx="1839">
                  <c:v>12.351-12.358</c:v>
                </c:pt>
                <c:pt idx="1840">
                  <c:v>12.358-12.365</c:v>
                </c:pt>
                <c:pt idx="1841">
                  <c:v>12.365-12.371</c:v>
                </c:pt>
                <c:pt idx="1842">
                  <c:v>12.371-12.378</c:v>
                </c:pt>
                <c:pt idx="1843">
                  <c:v>12.378-12.385</c:v>
                </c:pt>
                <c:pt idx="1844">
                  <c:v>12.385-12.391</c:v>
                </c:pt>
                <c:pt idx="1845">
                  <c:v>12.391-12.398</c:v>
                </c:pt>
                <c:pt idx="1846">
                  <c:v>12.398-12.405</c:v>
                </c:pt>
                <c:pt idx="1847">
                  <c:v>12.405-12.412</c:v>
                </c:pt>
                <c:pt idx="1848">
                  <c:v>12.412-12.418</c:v>
                </c:pt>
                <c:pt idx="1849">
                  <c:v>12.418-12.425</c:v>
                </c:pt>
                <c:pt idx="1850">
                  <c:v>12.425-12.432</c:v>
                </c:pt>
                <c:pt idx="1851">
                  <c:v>12.432-12.438</c:v>
                </c:pt>
                <c:pt idx="1852">
                  <c:v>12.438-12.445</c:v>
                </c:pt>
                <c:pt idx="1853">
                  <c:v>12.445-12.452</c:v>
                </c:pt>
                <c:pt idx="1854">
                  <c:v>12.452-12.459</c:v>
                </c:pt>
                <c:pt idx="1855">
                  <c:v>12.459-12.465</c:v>
                </c:pt>
                <c:pt idx="1856">
                  <c:v>12.465-12.472</c:v>
                </c:pt>
                <c:pt idx="1857">
                  <c:v>12.472-12.479</c:v>
                </c:pt>
                <c:pt idx="1858">
                  <c:v>12.479-12.485</c:v>
                </c:pt>
                <c:pt idx="1859">
                  <c:v>12.485-12.492</c:v>
                </c:pt>
                <c:pt idx="1860">
                  <c:v>12.492-12.499</c:v>
                </c:pt>
                <c:pt idx="1861">
                  <c:v>12.499-12.506</c:v>
                </c:pt>
                <c:pt idx="1862">
                  <c:v>12.506-12.512</c:v>
                </c:pt>
                <c:pt idx="1863">
                  <c:v>12.512-12.519</c:v>
                </c:pt>
                <c:pt idx="1864">
                  <c:v>12.519-12.526</c:v>
                </c:pt>
                <c:pt idx="1865">
                  <c:v>12.526-12.532</c:v>
                </c:pt>
                <c:pt idx="1866">
                  <c:v>12.532-12.539</c:v>
                </c:pt>
                <c:pt idx="1867">
                  <c:v>12.539-12.546</c:v>
                </c:pt>
                <c:pt idx="1868">
                  <c:v>12.546-12.552</c:v>
                </c:pt>
                <c:pt idx="1869">
                  <c:v>12.552-12.559</c:v>
                </c:pt>
                <c:pt idx="1870">
                  <c:v>12.559-12.566</c:v>
                </c:pt>
                <c:pt idx="1871">
                  <c:v>12.566-12.573</c:v>
                </c:pt>
                <c:pt idx="1872">
                  <c:v>12.573-12.579</c:v>
                </c:pt>
                <c:pt idx="1873">
                  <c:v>12.579-12.586</c:v>
                </c:pt>
                <c:pt idx="1874">
                  <c:v>12.586-12.593</c:v>
                </c:pt>
                <c:pt idx="1875">
                  <c:v>12.593-12.599</c:v>
                </c:pt>
                <c:pt idx="1876">
                  <c:v>12.599-12.606</c:v>
                </c:pt>
                <c:pt idx="1877">
                  <c:v>12.606-12.613</c:v>
                </c:pt>
                <c:pt idx="1878">
                  <c:v>12.613-12.620</c:v>
                </c:pt>
                <c:pt idx="1879">
                  <c:v>12.620-12.626</c:v>
                </c:pt>
                <c:pt idx="1880">
                  <c:v>12.626-12.633</c:v>
                </c:pt>
                <c:pt idx="1881">
                  <c:v>12.633-12.640</c:v>
                </c:pt>
                <c:pt idx="1882">
                  <c:v>12.640-12.646</c:v>
                </c:pt>
                <c:pt idx="1883">
                  <c:v>12.646-12.653</c:v>
                </c:pt>
                <c:pt idx="1884">
                  <c:v>12.653-12.660</c:v>
                </c:pt>
                <c:pt idx="1885">
                  <c:v>12.660-12.667</c:v>
                </c:pt>
                <c:pt idx="1886">
                  <c:v>12.667-12.673</c:v>
                </c:pt>
                <c:pt idx="1887">
                  <c:v>12.673-12.680</c:v>
                </c:pt>
                <c:pt idx="1888">
                  <c:v>12.680-12.687</c:v>
                </c:pt>
                <c:pt idx="1889">
                  <c:v>12.687-12.693</c:v>
                </c:pt>
                <c:pt idx="1890">
                  <c:v>12.693-12.700</c:v>
                </c:pt>
                <c:pt idx="1891">
                  <c:v>12.700-12.707</c:v>
                </c:pt>
                <c:pt idx="1892">
                  <c:v>12.707-12.714</c:v>
                </c:pt>
                <c:pt idx="1893">
                  <c:v>12.714-12.720</c:v>
                </c:pt>
                <c:pt idx="1894">
                  <c:v>12.720-12.727</c:v>
                </c:pt>
                <c:pt idx="1895">
                  <c:v>12.727-12.734</c:v>
                </c:pt>
                <c:pt idx="1896">
                  <c:v>12.734-12.740</c:v>
                </c:pt>
                <c:pt idx="1897">
                  <c:v>12.740-12.747</c:v>
                </c:pt>
                <c:pt idx="1898">
                  <c:v>12.747-12.754</c:v>
                </c:pt>
                <c:pt idx="1899">
                  <c:v>12.754-12.761</c:v>
                </c:pt>
                <c:pt idx="1900">
                  <c:v>12.761-12.767</c:v>
                </c:pt>
                <c:pt idx="1901">
                  <c:v>12.767-12.774</c:v>
                </c:pt>
                <c:pt idx="1902">
                  <c:v>12.774-12.781</c:v>
                </c:pt>
                <c:pt idx="1903">
                  <c:v>12.781-12.787</c:v>
                </c:pt>
                <c:pt idx="1904">
                  <c:v>12.787-12.794</c:v>
                </c:pt>
                <c:pt idx="1905">
                  <c:v>12.794-12.801</c:v>
                </c:pt>
                <c:pt idx="1906">
                  <c:v>12.801-12.807</c:v>
                </c:pt>
                <c:pt idx="1907">
                  <c:v>12.807-12.814</c:v>
                </c:pt>
                <c:pt idx="1908">
                  <c:v>12.814-12.821</c:v>
                </c:pt>
                <c:pt idx="1909">
                  <c:v>12.821-12.828</c:v>
                </c:pt>
                <c:pt idx="1910">
                  <c:v>12.828-12.834</c:v>
                </c:pt>
                <c:pt idx="1911">
                  <c:v>12.834-12.841</c:v>
                </c:pt>
                <c:pt idx="1912">
                  <c:v>12.841-12.848</c:v>
                </c:pt>
                <c:pt idx="1913">
                  <c:v>12.848-12.854</c:v>
                </c:pt>
                <c:pt idx="1914">
                  <c:v>12.854-12.861</c:v>
                </c:pt>
                <c:pt idx="1915">
                  <c:v>12.861-12.868</c:v>
                </c:pt>
                <c:pt idx="1916">
                  <c:v>12.868-12.875</c:v>
                </c:pt>
                <c:pt idx="1917">
                  <c:v>12.875-12.881</c:v>
                </c:pt>
                <c:pt idx="1918">
                  <c:v>12.881-12.888</c:v>
                </c:pt>
                <c:pt idx="1919">
                  <c:v>12.888-12.895</c:v>
                </c:pt>
                <c:pt idx="1920">
                  <c:v>12.895-12.901</c:v>
                </c:pt>
                <c:pt idx="1921">
                  <c:v>12.901-12.908</c:v>
                </c:pt>
                <c:pt idx="1922">
                  <c:v>12.908-12.915</c:v>
                </c:pt>
                <c:pt idx="1923">
                  <c:v>12.915-12.922</c:v>
                </c:pt>
                <c:pt idx="1924">
                  <c:v>12.922-12.928</c:v>
                </c:pt>
                <c:pt idx="1925">
                  <c:v>12.928-12.935</c:v>
                </c:pt>
                <c:pt idx="1926">
                  <c:v>12.935-12.942</c:v>
                </c:pt>
                <c:pt idx="1927">
                  <c:v>12.942-12.948</c:v>
                </c:pt>
                <c:pt idx="1928">
                  <c:v>12.948-12.955</c:v>
                </c:pt>
                <c:pt idx="1929">
                  <c:v>12.955-12.962</c:v>
                </c:pt>
                <c:pt idx="1930">
                  <c:v>12.962-12.969</c:v>
                </c:pt>
                <c:pt idx="1931">
                  <c:v>12.969-12.975</c:v>
                </c:pt>
                <c:pt idx="1932">
                  <c:v>12.975-12.982</c:v>
                </c:pt>
                <c:pt idx="1933">
                  <c:v>12.982-12.989</c:v>
                </c:pt>
                <c:pt idx="1934">
                  <c:v>12.989-12.995</c:v>
                </c:pt>
                <c:pt idx="1935">
                  <c:v>12.995-13.002</c:v>
                </c:pt>
                <c:pt idx="1936">
                  <c:v>13.002-13.009</c:v>
                </c:pt>
                <c:pt idx="1937">
                  <c:v>13.009-13.016</c:v>
                </c:pt>
                <c:pt idx="1938">
                  <c:v>13.016-13.022</c:v>
                </c:pt>
                <c:pt idx="1939">
                  <c:v>13.022-13.029</c:v>
                </c:pt>
                <c:pt idx="1940">
                  <c:v>13.029-13.036</c:v>
                </c:pt>
                <c:pt idx="1941">
                  <c:v>13.036-13.042</c:v>
                </c:pt>
                <c:pt idx="1942">
                  <c:v>13.042-13.049</c:v>
                </c:pt>
                <c:pt idx="1943">
                  <c:v>13.049-13.056</c:v>
                </c:pt>
                <c:pt idx="1944">
                  <c:v>13.056-13.063</c:v>
                </c:pt>
                <c:pt idx="1945">
                  <c:v>13.063-13.069</c:v>
                </c:pt>
                <c:pt idx="1946">
                  <c:v>13.069-13.076</c:v>
                </c:pt>
                <c:pt idx="1947">
                  <c:v>13.076-13.083</c:v>
                </c:pt>
                <c:pt idx="1948">
                  <c:v>13.083-13.089</c:v>
                </c:pt>
                <c:pt idx="1949">
                  <c:v>13.089-13.096</c:v>
                </c:pt>
                <c:pt idx="1950">
                  <c:v>13.096-13.103</c:v>
                </c:pt>
                <c:pt idx="1951">
                  <c:v>13.103-13.109</c:v>
                </c:pt>
                <c:pt idx="1952">
                  <c:v>13.109-13.116</c:v>
                </c:pt>
                <c:pt idx="1953">
                  <c:v>13.116-13.123</c:v>
                </c:pt>
                <c:pt idx="1954">
                  <c:v>13.123-13.130</c:v>
                </c:pt>
                <c:pt idx="1955">
                  <c:v>13.130-13.136</c:v>
                </c:pt>
                <c:pt idx="1956">
                  <c:v>13.136-13.143</c:v>
                </c:pt>
                <c:pt idx="1957">
                  <c:v>13.143-13.150</c:v>
                </c:pt>
                <c:pt idx="1958">
                  <c:v>13.150-13.156</c:v>
                </c:pt>
                <c:pt idx="1959">
                  <c:v>13.156-13.163</c:v>
                </c:pt>
                <c:pt idx="1960">
                  <c:v>13.163-13.170</c:v>
                </c:pt>
                <c:pt idx="1961">
                  <c:v>13.170-13.177</c:v>
                </c:pt>
                <c:pt idx="1962">
                  <c:v>13.177-13.183</c:v>
                </c:pt>
                <c:pt idx="1963">
                  <c:v>13.183-13.190</c:v>
                </c:pt>
                <c:pt idx="1964">
                  <c:v>13.190-13.197</c:v>
                </c:pt>
                <c:pt idx="1965">
                  <c:v>13.197-13.203</c:v>
                </c:pt>
                <c:pt idx="1966">
                  <c:v>13.203-13.210</c:v>
                </c:pt>
                <c:pt idx="1967">
                  <c:v>13.210-13.217</c:v>
                </c:pt>
                <c:pt idx="1968">
                  <c:v>13.217-13.224</c:v>
                </c:pt>
                <c:pt idx="1969">
                  <c:v>13.224-13.230</c:v>
                </c:pt>
                <c:pt idx="1970">
                  <c:v>13.230-13.237</c:v>
                </c:pt>
                <c:pt idx="1971">
                  <c:v>13.237-13.244</c:v>
                </c:pt>
                <c:pt idx="1972">
                  <c:v>13.244-13.250</c:v>
                </c:pt>
                <c:pt idx="1973">
                  <c:v>13.250-13.257</c:v>
                </c:pt>
                <c:pt idx="1974">
                  <c:v>13.257-13.264</c:v>
                </c:pt>
                <c:pt idx="1975">
                  <c:v>13.264-13.271</c:v>
                </c:pt>
                <c:pt idx="1976">
                  <c:v>13.271-13.277</c:v>
                </c:pt>
                <c:pt idx="1977">
                  <c:v>13.277-13.284</c:v>
                </c:pt>
                <c:pt idx="1978">
                  <c:v>13.284-13.291</c:v>
                </c:pt>
                <c:pt idx="1979">
                  <c:v>13.291-13.297</c:v>
                </c:pt>
                <c:pt idx="1980">
                  <c:v>13.297-13.304</c:v>
                </c:pt>
                <c:pt idx="1981">
                  <c:v>13.304-13.311</c:v>
                </c:pt>
                <c:pt idx="1982">
                  <c:v>13.311-13.318</c:v>
                </c:pt>
                <c:pt idx="1983">
                  <c:v>13.318-13.324</c:v>
                </c:pt>
                <c:pt idx="1984">
                  <c:v>13.324-13.331</c:v>
                </c:pt>
                <c:pt idx="1985">
                  <c:v>13.331-13.338</c:v>
                </c:pt>
                <c:pt idx="1986">
                  <c:v>13.338-13.344</c:v>
                </c:pt>
                <c:pt idx="1987">
                  <c:v>13.344-13.351</c:v>
                </c:pt>
                <c:pt idx="1988">
                  <c:v>13.351-13.358</c:v>
                </c:pt>
                <c:pt idx="1989">
                  <c:v>13.358-13.364</c:v>
                </c:pt>
                <c:pt idx="1990">
                  <c:v>13.364-13.371</c:v>
                </c:pt>
                <c:pt idx="1991">
                  <c:v>13.371-13.378</c:v>
                </c:pt>
                <c:pt idx="1992">
                  <c:v>13.378-13.385</c:v>
                </c:pt>
                <c:pt idx="1993">
                  <c:v>13.385-13.391</c:v>
                </c:pt>
                <c:pt idx="1994">
                  <c:v>13.391-13.398</c:v>
                </c:pt>
                <c:pt idx="1995">
                  <c:v>13.398-13.405</c:v>
                </c:pt>
                <c:pt idx="1996">
                  <c:v>13.405-13.411</c:v>
                </c:pt>
                <c:pt idx="1997">
                  <c:v>13.411-13.418</c:v>
                </c:pt>
                <c:pt idx="1998">
                  <c:v>13.418-13.425</c:v>
                </c:pt>
                <c:pt idx="1999">
                  <c:v>13.425-13.432</c:v>
                </c:pt>
                <c:pt idx="2000">
                  <c:v>13.432-13.438</c:v>
                </c:pt>
                <c:pt idx="2001">
                  <c:v>13.438-13.445</c:v>
                </c:pt>
                <c:pt idx="2002">
                  <c:v>13.445-13.452</c:v>
                </c:pt>
                <c:pt idx="2003">
                  <c:v>13.452-13.458</c:v>
                </c:pt>
                <c:pt idx="2004">
                  <c:v>13.458-13.465</c:v>
                </c:pt>
                <c:pt idx="2005">
                  <c:v>13.465-13.472</c:v>
                </c:pt>
                <c:pt idx="2006">
                  <c:v>13.472-13.479</c:v>
                </c:pt>
                <c:pt idx="2007">
                  <c:v>13.479-13.485</c:v>
                </c:pt>
                <c:pt idx="2008">
                  <c:v>13.485-13.492</c:v>
                </c:pt>
                <c:pt idx="2009">
                  <c:v>13.492-13.499</c:v>
                </c:pt>
                <c:pt idx="2010">
                  <c:v>13.499-13.505</c:v>
                </c:pt>
                <c:pt idx="2011">
                  <c:v>13.505-13.512</c:v>
                </c:pt>
                <c:pt idx="2012">
                  <c:v>13.512-13.519</c:v>
                </c:pt>
                <c:pt idx="2013">
                  <c:v>13.519-13.526</c:v>
                </c:pt>
                <c:pt idx="2014">
                  <c:v>13.526-13.532</c:v>
                </c:pt>
                <c:pt idx="2015">
                  <c:v>13.532-13.539</c:v>
                </c:pt>
                <c:pt idx="2016">
                  <c:v>13.539-13.546</c:v>
                </c:pt>
                <c:pt idx="2017">
                  <c:v>13.546-13.552</c:v>
                </c:pt>
                <c:pt idx="2018">
                  <c:v>13.552-13.559</c:v>
                </c:pt>
                <c:pt idx="2019">
                  <c:v>13.559-13.566</c:v>
                </c:pt>
                <c:pt idx="2020">
                  <c:v>13.566-13.573</c:v>
                </c:pt>
                <c:pt idx="2021">
                  <c:v>13.573-13.579</c:v>
                </c:pt>
                <c:pt idx="2022">
                  <c:v>13.579-13.586</c:v>
                </c:pt>
                <c:pt idx="2023">
                  <c:v>13.586-13.593</c:v>
                </c:pt>
                <c:pt idx="2024">
                  <c:v>13.593-13.599</c:v>
                </c:pt>
                <c:pt idx="2025">
                  <c:v>13.599-13.606</c:v>
                </c:pt>
                <c:pt idx="2026">
                  <c:v>13.606-13.613</c:v>
                </c:pt>
                <c:pt idx="2027">
                  <c:v>13.613-13.620</c:v>
                </c:pt>
                <c:pt idx="2028">
                  <c:v>13.620-13.626</c:v>
                </c:pt>
                <c:pt idx="2029">
                  <c:v>13.626-13.633</c:v>
                </c:pt>
                <c:pt idx="2030">
                  <c:v>13.633-13.640</c:v>
                </c:pt>
                <c:pt idx="2031">
                  <c:v>13.640-13.646</c:v>
                </c:pt>
                <c:pt idx="2032">
                  <c:v>13.646-13.653</c:v>
                </c:pt>
                <c:pt idx="2033">
                  <c:v>13.653-13.660</c:v>
                </c:pt>
                <c:pt idx="2034">
                  <c:v>13.660-13.666</c:v>
                </c:pt>
                <c:pt idx="2035">
                  <c:v>13.666-13.673</c:v>
                </c:pt>
                <c:pt idx="2036">
                  <c:v>13.673-13.680</c:v>
                </c:pt>
                <c:pt idx="2037">
                  <c:v>13.680-13.687</c:v>
                </c:pt>
                <c:pt idx="2038">
                  <c:v>13.687-13.693</c:v>
                </c:pt>
                <c:pt idx="2039">
                  <c:v>13.693-13.700</c:v>
                </c:pt>
                <c:pt idx="2040">
                  <c:v>13.700-13.707</c:v>
                </c:pt>
                <c:pt idx="2041">
                  <c:v>13.707-13.713</c:v>
                </c:pt>
                <c:pt idx="2042">
                  <c:v>13.713-13.720</c:v>
                </c:pt>
                <c:pt idx="2043">
                  <c:v>13.720-13.727</c:v>
                </c:pt>
                <c:pt idx="2044">
                  <c:v>13.727-13.734</c:v>
                </c:pt>
                <c:pt idx="2045">
                  <c:v>13.734-13.740</c:v>
                </c:pt>
                <c:pt idx="2046">
                  <c:v>13.740-13.747</c:v>
                </c:pt>
                <c:pt idx="2047">
                  <c:v>13.747-13.754</c:v>
                </c:pt>
                <c:pt idx="2048">
                  <c:v>13.754-13.760</c:v>
                </c:pt>
                <c:pt idx="2049">
                  <c:v>13.760-13.767</c:v>
                </c:pt>
                <c:pt idx="2050">
                  <c:v>13.767-13.774</c:v>
                </c:pt>
                <c:pt idx="2051">
                  <c:v>13.774-13.781</c:v>
                </c:pt>
                <c:pt idx="2052">
                  <c:v>13.781-13.787</c:v>
                </c:pt>
                <c:pt idx="2053">
                  <c:v>13.787-13.794</c:v>
                </c:pt>
                <c:pt idx="2054">
                  <c:v>13.794-13.801</c:v>
                </c:pt>
                <c:pt idx="2055">
                  <c:v>13.801-13.807</c:v>
                </c:pt>
                <c:pt idx="2056">
                  <c:v>13.807-13.814</c:v>
                </c:pt>
                <c:pt idx="2057">
                  <c:v>13.814-13.821</c:v>
                </c:pt>
                <c:pt idx="2058">
                  <c:v>13.821-13.828</c:v>
                </c:pt>
                <c:pt idx="2059">
                  <c:v>13.828-13.834</c:v>
                </c:pt>
                <c:pt idx="2060">
                  <c:v>13.834-13.841</c:v>
                </c:pt>
                <c:pt idx="2061">
                  <c:v>13.841-13.848</c:v>
                </c:pt>
                <c:pt idx="2062">
                  <c:v>13.848-13.854</c:v>
                </c:pt>
                <c:pt idx="2063">
                  <c:v>13.854-13.861</c:v>
                </c:pt>
                <c:pt idx="2064">
                  <c:v>13.861-13.868</c:v>
                </c:pt>
                <c:pt idx="2065">
                  <c:v>13.868-13.875</c:v>
                </c:pt>
                <c:pt idx="2066">
                  <c:v>13.875-13.881</c:v>
                </c:pt>
                <c:pt idx="2067">
                  <c:v>13.881-13.888</c:v>
                </c:pt>
                <c:pt idx="2068">
                  <c:v>13.888-13.895</c:v>
                </c:pt>
                <c:pt idx="2069">
                  <c:v>13.895-13.901</c:v>
                </c:pt>
                <c:pt idx="2070">
                  <c:v>13.901-13.908</c:v>
                </c:pt>
                <c:pt idx="2071">
                  <c:v>13.908-13.915</c:v>
                </c:pt>
                <c:pt idx="2072">
                  <c:v>13.915-13.921</c:v>
                </c:pt>
                <c:pt idx="2073">
                  <c:v>13.921-13.928</c:v>
                </c:pt>
                <c:pt idx="2074">
                  <c:v>13.928-13.935</c:v>
                </c:pt>
                <c:pt idx="2075">
                  <c:v>13.935-13.942</c:v>
                </c:pt>
                <c:pt idx="2076">
                  <c:v>13.942-13.948</c:v>
                </c:pt>
                <c:pt idx="2077">
                  <c:v>13.948-13.955</c:v>
                </c:pt>
                <c:pt idx="2078">
                  <c:v>13.955-13.962</c:v>
                </c:pt>
                <c:pt idx="2079">
                  <c:v>13.962-13.968</c:v>
                </c:pt>
                <c:pt idx="2080">
                  <c:v>13.968-13.975</c:v>
                </c:pt>
                <c:pt idx="2081">
                  <c:v>13.975-13.982</c:v>
                </c:pt>
                <c:pt idx="2082">
                  <c:v>13.982-13.989</c:v>
                </c:pt>
                <c:pt idx="2083">
                  <c:v>13.989-13.995</c:v>
                </c:pt>
                <c:pt idx="2084">
                  <c:v>13.995-14.002</c:v>
                </c:pt>
                <c:pt idx="2085">
                  <c:v>14.002-14.009</c:v>
                </c:pt>
                <c:pt idx="2086">
                  <c:v>14.009-14.015</c:v>
                </c:pt>
                <c:pt idx="2087">
                  <c:v>14.015-14.022</c:v>
                </c:pt>
                <c:pt idx="2088">
                  <c:v>14.022-14.029</c:v>
                </c:pt>
                <c:pt idx="2089">
                  <c:v>14.029-14.036</c:v>
                </c:pt>
                <c:pt idx="2090">
                  <c:v>14.036-14.042</c:v>
                </c:pt>
                <c:pt idx="2091">
                  <c:v>14.042-14.049</c:v>
                </c:pt>
                <c:pt idx="2092">
                  <c:v>14.049-14.056</c:v>
                </c:pt>
                <c:pt idx="2093">
                  <c:v>14.056-14.062</c:v>
                </c:pt>
                <c:pt idx="2094">
                  <c:v>14.062-14.069</c:v>
                </c:pt>
                <c:pt idx="2095">
                  <c:v>14.069-14.076</c:v>
                </c:pt>
                <c:pt idx="2096">
                  <c:v>14.076-14.083</c:v>
                </c:pt>
                <c:pt idx="2097">
                  <c:v>14.083-14.089</c:v>
                </c:pt>
                <c:pt idx="2098">
                  <c:v>14.089-14.096</c:v>
                </c:pt>
                <c:pt idx="2099">
                  <c:v>14.096-14.103</c:v>
                </c:pt>
                <c:pt idx="2100">
                  <c:v>14.103-14.109</c:v>
                </c:pt>
                <c:pt idx="2101">
                  <c:v>14.109-14.116</c:v>
                </c:pt>
                <c:pt idx="2102">
                  <c:v>14.116-14.123</c:v>
                </c:pt>
                <c:pt idx="2103">
                  <c:v>14.123-14.130</c:v>
                </c:pt>
                <c:pt idx="2104">
                  <c:v>14.130-14.136</c:v>
                </c:pt>
                <c:pt idx="2105">
                  <c:v>14.136-14.143</c:v>
                </c:pt>
                <c:pt idx="2106">
                  <c:v>14.143-14.150</c:v>
                </c:pt>
                <c:pt idx="2107">
                  <c:v>14.150-14.156</c:v>
                </c:pt>
                <c:pt idx="2108">
                  <c:v>14.156-14.163</c:v>
                </c:pt>
                <c:pt idx="2109">
                  <c:v>14.163-14.170</c:v>
                </c:pt>
                <c:pt idx="2110">
                  <c:v>14.170-14.176</c:v>
                </c:pt>
                <c:pt idx="2111">
                  <c:v>14.176-14.183</c:v>
                </c:pt>
                <c:pt idx="2112">
                  <c:v>14.183-14.190</c:v>
                </c:pt>
                <c:pt idx="2113">
                  <c:v>14.190-14.197</c:v>
                </c:pt>
                <c:pt idx="2114">
                  <c:v>14.197-14.203</c:v>
                </c:pt>
                <c:pt idx="2115">
                  <c:v>14.203-14.210</c:v>
                </c:pt>
                <c:pt idx="2116">
                  <c:v>14.210-14.217</c:v>
                </c:pt>
                <c:pt idx="2117">
                  <c:v>14.217-14.223</c:v>
                </c:pt>
                <c:pt idx="2118">
                  <c:v>14.223-14.230</c:v>
                </c:pt>
                <c:pt idx="2119">
                  <c:v>14.230-14.237</c:v>
                </c:pt>
                <c:pt idx="2120">
                  <c:v>14.237-14.244</c:v>
                </c:pt>
                <c:pt idx="2121">
                  <c:v>14.244-14.250</c:v>
                </c:pt>
                <c:pt idx="2122">
                  <c:v>14.250-14.257</c:v>
                </c:pt>
                <c:pt idx="2123">
                  <c:v>14.257-14.264</c:v>
                </c:pt>
                <c:pt idx="2124">
                  <c:v>14.264-14.270</c:v>
                </c:pt>
                <c:pt idx="2125">
                  <c:v>14.270-14.277</c:v>
                </c:pt>
                <c:pt idx="2126">
                  <c:v>14.277-14.284</c:v>
                </c:pt>
                <c:pt idx="2127">
                  <c:v>14.284-14.291</c:v>
                </c:pt>
                <c:pt idx="2128">
                  <c:v>14.291-14.297</c:v>
                </c:pt>
                <c:pt idx="2129">
                  <c:v>14.297-14.304</c:v>
                </c:pt>
                <c:pt idx="2130">
                  <c:v>14.304-14.311</c:v>
                </c:pt>
                <c:pt idx="2131">
                  <c:v>14.311-14.317</c:v>
                </c:pt>
                <c:pt idx="2132">
                  <c:v>14.317-14.324</c:v>
                </c:pt>
                <c:pt idx="2133">
                  <c:v>14.324-14.331</c:v>
                </c:pt>
                <c:pt idx="2134">
                  <c:v>14.331-14.338</c:v>
                </c:pt>
                <c:pt idx="2135">
                  <c:v>14.338-14.344</c:v>
                </c:pt>
                <c:pt idx="2136">
                  <c:v>14.344-14.351</c:v>
                </c:pt>
                <c:pt idx="2137">
                  <c:v>14.351-14.358</c:v>
                </c:pt>
                <c:pt idx="2138">
                  <c:v>14.358-14.364</c:v>
                </c:pt>
                <c:pt idx="2139">
                  <c:v>14.364-14.371</c:v>
                </c:pt>
                <c:pt idx="2140">
                  <c:v>14.371-14.378</c:v>
                </c:pt>
                <c:pt idx="2141">
                  <c:v>14.378-14.385</c:v>
                </c:pt>
                <c:pt idx="2142">
                  <c:v>14.385-14.391</c:v>
                </c:pt>
                <c:pt idx="2143">
                  <c:v>14.391-14.398</c:v>
                </c:pt>
                <c:pt idx="2144">
                  <c:v>14.398-14.405</c:v>
                </c:pt>
                <c:pt idx="2145">
                  <c:v>14.405-14.411</c:v>
                </c:pt>
                <c:pt idx="2146">
                  <c:v>14.411-14.418</c:v>
                </c:pt>
                <c:pt idx="2147">
                  <c:v>14.418-14.425</c:v>
                </c:pt>
                <c:pt idx="2148">
                  <c:v>14.425-14.432</c:v>
                </c:pt>
                <c:pt idx="2149">
                  <c:v>14.432-14.438</c:v>
                </c:pt>
                <c:pt idx="2150">
                  <c:v>14.438-14.445</c:v>
                </c:pt>
                <c:pt idx="2151">
                  <c:v>14.445-14.452</c:v>
                </c:pt>
                <c:pt idx="2152">
                  <c:v>14.452-14.458</c:v>
                </c:pt>
                <c:pt idx="2153">
                  <c:v>14.458-14.465</c:v>
                </c:pt>
                <c:pt idx="2154">
                  <c:v>14.465-14.472</c:v>
                </c:pt>
                <c:pt idx="2155">
                  <c:v>14.472-14.478</c:v>
                </c:pt>
                <c:pt idx="2156">
                  <c:v>14.478-14.485</c:v>
                </c:pt>
                <c:pt idx="2157">
                  <c:v>14.485-14.492</c:v>
                </c:pt>
                <c:pt idx="2158">
                  <c:v>14.492-14.499</c:v>
                </c:pt>
                <c:pt idx="2159">
                  <c:v>14.499-14.505</c:v>
                </c:pt>
                <c:pt idx="2160">
                  <c:v>14.505-14.512</c:v>
                </c:pt>
                <c:pt idx="2161">
                  <c:v>14.512-14.519</c:v>
                </c:pt>
                <c:pt idx="2162">
                  <c:v>14.519-14.525</c:v>
                </c:pt>
                <c:pt idx="2163">
                  <c:v>14.525-14.532</c:v>
                </c:pt>
                <c:pt idx="2164">
                  <c:v>14.532-14.539</c:v>
                </c:pt>
                <c:pt idx="2165">
                  <c:v>14.539-14.546</c:v>
                </c:pt>
                <c:pt idx="2166">
                  <c:v>14.546-14.552</c:v>
                </c:pt>
                <c:pt idx="2167">
                  <c:v>14.552-14.559</c:v>
                </c:pt>
                <c:pt idx="2168">
                  <c:v>14.559-14.566</c:v>
                </c:pt>
                <c:pt idx="2169">
                  <c:v>14.566-14.572</c:v>
                </c:pt>
                <c:pt idx="2170">
                  <c:v>14.572-14.579</c:v>
                </c:pt>
                <c:pt idx="2171">
                  <c:v>14.579-14.586</c:v>
                </c:pt>
                <c:pt idx="2172">
                  <c:v>14.586-14.593</c:v>
                </c:pt>
                <c:pt idx="2173">
                  <c:v>14.593-14.599</c:v>
                </c:pt>
                <c:pt idx="2174">
                  <c:v>14.599-14.606</c:v>
                </c:pt>
                <c:pt idx="2175">
                  <c:v>14.606-14.613</c:v>
                </c:pt>
                <c:pt idx="2176">
                  <c:v>14.613-14.619</c:v>
                </c:pt>
                <c:pt idx="2177">
                  <c:v>14.619-14.626</c:v>
                </c:pt>
                <c:pt idx="2178">
                  <c:v>14.626-14.633</c:v>
                </c:pt>
                <c:pt idx="2179">
                  <c:v>14.633-14.640</c:v>
                </c:pt>
                <c:pt idx="2180">
                  <c:v>14.640-14.646</c:v>
                </c:pt>
                <c:pt idx="2181">
                  <c:v>14.646-14.653</c:v>
                </c:pt>
                <c:pt idx="2182">
                  <c:v>14.653-14.660</c:v>
                </c:pt>
                <c:pt idx="2183">
                  <c:v>14.660-14.666</c:v>
                </c:pt>
                <c:pt idx="2184">
                  <c:v>14.666-14.673</c:v>
                </c:pt>
                <c:pt idx="2185">
                  <c:v>14.673-14.680</c:v>
                </c:pt>
                <c:pt idx="2186">
                  <c:v>14.680-14.687</c:v>
                </c:pt>
                <c:pt idx="2187">
                  <c:v>14.687-14.693</c:v>
                </c:pt>
                <c:pt idx="2188">
                  <c:v>14.693-14.700</c:v>
                </c:pt>
                <c:pt idx="2189">
                  <c:v>14.700-14.707</c:v>
                </c:pt>
                <c:pt idx="2190">
                  <c:v>14.707-14.713</c:v>
                </c:pt>
                <c:pt idx="2191">
                  <c:v>14.713-14.720</c:v>
                </c:pt>
                <c:pt idx="2192">
                  <c:v>14.720-14.727</c:v>
                </c:pt>
                <c:pt idx="2193">
                  <c:v>14.727-14.733</c:v>
                </c:pt>
                <c:pt idx="2194">
                  <c:v>14.733-14.740</c:v>
                </c:pt>
                <c:pt idx="2195">
                  <c:v>14.740-14.747</c:v>
                </c:pt>
                <c:pt idx="2196">
                  <c:v>14.747-14.754</c:v>
                </c:pt>
                <c:pt idx="2197">
                  <c:v>14.754-14.760</c:v>
                </c:pt>
                <c:pt idx="2198">
                  <c:v>14.760-14.767</c:v>
                </c:pt>
                <c:pt idx="2199">
                  <c:v>14.767-14.774</c:v>
                </c:pt>
                <c:pt idx="2200">
                  <c:v>14.774-14.780</c:v>
                </c:pt>
                <c:pt idx="2201">
                  <c:v>14.780-14.787</c:v>
                </c:pt>
                <c:pt idx="2202">
                  <c:v>14.787-14.794</c:v>
                </c:pt>
                <c:pt idx="2203">
                  <c:v>14.794-14.801</c:v>
                </c:pt>
                <c:pt idx="2204">
                  <c:v>14.801-14.807</c:v>
                </c:pt>
                <c:pt idx="2205">
                  <c:v>14.807-14.814</c:v>
                </c:pt>
                <c:pt idx="2206">
                  <c:v>14.814-14.821</c:v>
                </c:pt>
                <c:pt idx="2207">
                  <c:v>14.821-14.827</c:v>
                </c:pt>
                <c:pt idx="2208">
                  <c:v>14.827-14.834</c:v>
                </c:pt>
                <c:pt idx="2209">
                  <c:v>14.834-14.841</c:v>
                </c:pt>
                <c:pt idx="2210">
                  <c:v>14.841-14.848</c:v>
                </c:pt>
                <c:pt idx="2211">
                  <c:v>14.848-14.854</c:v>
                </c:pt>
                <c:pt idx="2212">
                  <c:v>14.854-14.861</c:v>
                </c:pt>
                <c:pt idx="2213">
                  <c:v>14.861-14.868</c:v>
                </c:pt>
                <c:pt idx="2214">
                  <c:v>14.868-14.874</c:v>
                </c:pt>
                <c:pt idx="2215">
                  <c:v>14.874-14.881</c:v>
                </c:pt>
                <c:pt idx="2216">
                  <c:v>14.881-14.888</c:v>
                </c:pt>
                <c:pt idx="2217">
                  <c:v>14.888-14.895</c:v>
                </c:pt>
                <c:pt idx="2218">
                  <c:v>14.895-14.901</c:v>
                </c:pt>
                <c:pt idx="2219">
                  <c:v>14.901-14.908</c:v>
                </c:pt>
                <c:pt idx="2220">
                  <c:v>14.908-14.915</c:v>
                </c:pt>
                <c:pt idx="2221">
                  <c:v>14.915-14.921</c:v>
                </c:pt>
                <c:pt idx="2222">
                  <c:v>14.921-14.928</c:v>
                </c:pt>
                <c:pt idx="2223">
                  <c:v>14.928-14.935</c:v>
                </c:pt>
                <c:pt idx="2224">
                  <c:v>14.935-14.942</c:v>
                </c:pt>
                <c:pt idx="2225">
                  <c:v>14.942-14.948</c:v>
                </c:pt>
                <c:pt idx="2226">
                  <c:v>14.948-14.955</c:v>
                </c:pt>
                <c:pt idx="2227">
                  <c:v>14.955-14.962</c:v>
                </c:pt>
                <c:pt idx="2228">
                  <c:v>14.962-14.968</c:v>
                </c:pt>
                <c:pt idx="2229">
                  <c:v>14.968-14.975</c:v>
                </c:pt>
                <c:pt idx="2230">
                  <c:v>14.975-14.982</c:v>
                </c:pt>
                <c:pt idx="2231">
                  <c:v>14.982-14.989</c:v>
                </c:pt>
                <c:pt idx="2232">
                  <c:v>14.989-14.995</c:v>
                </c:pt>
                <c:pt idx="2233">
                  <c:v>14.995-15.002</c:v>
                </c:pt>
                <c:pt idx="2234">
                  <c:v>15.002-15.009</c:v>
                </c:pt>
                <c:pt idx="2235">
                  <c:v>15.009-15.015</c:v>
                </c:pt>
                <c:pt idx="2236">
                  <c:v>15.015-15.022</c:v>
                </c:pt>
                <c:pt idx="2237">
                  <c:v>15.022-15.029</c:v>
                </c:pt>
                <c:pt idx="2238">
                  <c:v>15.029-15.035</c:v>
                </c:pt>
                <c:pt idx="2239">
                  <c:v>15.035-15.042</c:v>
                </c:pt>
                <c:pt idx="2240">
                  <c:v>15.042-15.049</c:v>
                </c:pt>
                <c:pt idx="2241">
                  <c:v>15.049-15.056</c:v>
                </c:pt>
                <c:pt idx="2242">
                  <c:v>15.056-15.062</c:v>
                </c:pt>
                <c:pt idx="2243">
                  <c:v>15.062-15.069</c:v>
                </c:pt>
                <c:pt idx="2244">
                  <c:v>15.069-15.076</c:v>
                </c:pt>
                <c:pt idx="2245">
                  <c:v>15.076-15.082</c:v>
                </c:pt>
                <c:pt idx="2246">
                  <c:v>15.082-15.089</c:v>
                </c:pt>
                <c:pt idx="2247">
                  <c:v>15.089-15.096</c:v>
                </c:pt>
                <c:pt idx="2248">
                  <c:v>15.096-15.103</c:v>
                </c:pt>
                <c:pt idx="2249">
                  <c:v>15.103-15.109</c:v>
                </c:pt>
                <c:pt idx="2250">
                  <c:v>15.109-15.116</c:v>
                </c:pt>
                <c:pt idx="2251">
                  <c:v>15.116-15.123</c:v>
                </c:pt>
                <c:pt idx="2252">
                  <c:v>15.123-15.129</c:v>
                </c:pt>
                <c:pt idx="2253">
                  <c:v>15.129-15.136</c:v>
                </c:pt>
                <c:pt idx="2254">
                  <c:v>15.136-15.143</c:v>
                </c:pt>
                <c:pt idx="2255">
                  <c:v>15.143-15.150</c:v>
                </c:pt>
                <c:pt idx="2256">
                  <c:v>15.150-15.156</c:v>
                </c:pt>
                <c:pt idx="2257">
                  <c:v>15.156-15.163</c:v>
                </c:pt>
                <c:pt idx="2258">
                  <c:v>15.163-15.170</c:v>
                </c:pt>
                <c:pt idx="2259">
                  <c:v>15.170-15.176</c:v>
                </c:pt>
                <c:pt idx="2260">
                  <c:v>15.176-15.183</c:v>
                </c:pt>
                <c:pt idx="2261">
                  <c:v>15.183-15.190</c:v>
                </c:pt>
                <c:pt idx="2262">
                  <c:v>15.190-15.197</c:v>
                </c:pt>
                <c:pt idx="2263">
                  <c:v>15.197-15.203</c:v>
                </c:pt>
                <c:pt idx="2264">
                  <c:v>15.203-15.210</c:v>
                </c:pt>
                <c:pt idx="2265">
                  <c:v>15.210-15.217</c:v>
                </c:pt>
                <c:pt idx="2266">
                  <c:v>15.217-15.223</c:v>
                </c:pt>
                <c:pt idx="2267">
                  <c:v>15.223-15.230</c:v>
                </c:pt>
                <c:pt idx="2268">
                  <c:v>15.230-15.237</c:v>
                </c:pt>
                <c:pt idx="2269">
                  <c:v>15.237-15.244</c:v>
                </c:pt>
                <c:pt idx="2270">
                  <c:v>15.244-15.250</c:v>
                </c:pt>
                <c:pt idx="2271">
                  <c:v>15.250-15.257</c:v>
                </c:pt>
                <c:pt idx="2272">
                  <c:v>15.257-15.264</c:v>
                </c:pt>
                <c:pt idx="2273">
                  <c:v>15.264-15.270</c:v>
                </c:pt>
                <c:pt idx="2274">
                  <c:v>15.270-15.277</c:v>
                </c:pt>
                <c:pt idx="2275">
                  <c:v>15.277-15.284</c:v>
                </c:pt>
                <c:pt idx="2276">
                  <c:v>15.284-15.290</c:v>
                </c:pt>
                <c:pt idx="2277">
                  <c:v>15.290-15.297</c:v>
                </c:pt>
                <c:pt idx="2278">
                  <c:v>15.297-15.304</c:v>
                </c:pt>
                <c:pt idx="2279">
                  <c:v>15.304-15.311</c:v>
                </c:pt>
                <c:pt idx="2280">
                  <c:v>15.311-15.317</c:v>
                </c:pt>
                <c:pt idx="2281">
                  <c:v>15.317-15.324</c:v>
                </c:pt>
                <c:pt idx="2282">
                  <c:v>15.324-15.331</c:v>
                </c:pt>
                <c:pt idx="2283">
                  <c:v>15.331-15.337</c:v>
                </c:pt>
                <c:pt idx="2284">
                  <c:v>15.337-15.344</c:v>
                </c:pt>
                <c:pt idx="2285">
                  <c:v>15.344-15.351</c:v>
                </c:pt>
                <c:pt idx="2286">
                  <c:v>15.351-15.358</c:v>
                </c:pt>
                <c:pt idx="2287">
                  <c:v>15.358-15.364</c:v>
                </c:pt>
                <c:pt idx="2288">
                  <c:v>15.364-15.371</c:v>
                </c:pt>
                <c:pt idx="2289">
                  <c:v>15.371-15.378</c:v>
                </c:pt>
                <c:pt idx="2290">
                  <c:v>15.378-15.384</c:v>
                </c:pt>
                <c:pt idx="2291">
                  <c:v>15.384-15.391</c:v>
                </c:pt>
                <c:pt idx="2292">
                  <c:v>15.391-15.398</c:v>
                </c:pt>
                <c:pt idx="2293">
                  <c:v>15.398-15.405</c:v>
                </c:pt>
                <c:pt idx="2294">
                  <c:v>15.405-15.411</c:v>
                </c:pt>
                <c:pt idx="2295">
                  <c:v>15.411-15.418</c:v>
                </c:pt>
                <c:pt idx="2296">
                  <c:v>15.418-15.425</c:v>
                </c:pt>
                <c:pt idx="2297">
                  <c:v>15.425-15.431</c:v>
                </c:pt>
                <c:pt idx="2298">
                  <c:v>15.431-15.438</c:v>
                </c:pt>
                <c:pt idx="2299">
                  <c:v>15.438-15.445</c:v>
                </c:pt>
                <c:pt idx="2300">
                  <c:v>15.445-15.452</c:v>
                </c:pt>
                <c:pt idx="2301">
                  <c:v>15.452-15.458</c:v>
                </c:pt>
                <c:pt idx="2302">
                  <c:v>15.458-15.465</c:v>
                </c:pt>
                <c:pt idx="2303">
                  <c:v>15.465-15.472</c:v>
                </c:pt>
                <c:pt idx="2304">
                  <c:v>15.472-15.478</c:v>
                </c:pt>
                <c:pt idx="2305">
                  <c:v>15.478-15.485</c:v>
                </c:pt>
                <c:pt idx="2306">
                  <c:v>15.485-15.492</c:v>
                </c:pt>
                <c:pt idx="2307">
                  <c:v>15.492-15.499</c:v>
                </c:pt>
                <c:pt idx="2308">
                  <c:v>15.499-15.505</c:v>
                </c:pt>
                <c:pt idx="2309">
                  <c:v>15.505-15.512</c:v>
                </c:pt>
                <c:pt idx="2310">
                  <c:v>15.512-15.519</c:v>
                </c:pt>
                <c:pt idx="2311">
                  <c:v>15.519-15.525</c:v>
                </c:pt>
                <c:pt idx="2312">
                  <c:v>15.525-15.532</c:v>
                </c:pt>
                <c:pt idx="2313">
                  <c:v>15.532-15.539</c:v>
                </c:pt>
                <c:pt idx="2314">
                  <c:v>15.539-15.546</c:v>
                </c:pt>
                <c:pt idx="2315">
                  <c:v>15.546-15.552</c:v>
                </c:pt>
                <c:pt idx="2316">
                  <c:v>15.552-15.559</c:v>
                </c:pt>
                <c:pt idx="2317">
                  <c:v>15.559-15.566</c:v>
                </c:pt>
                <c:pt idx="2318">
                  <c:v>15.566-15.572</c:v>
                </c:pt>
                <c:pt idx="2319">
                  <c:v>15.572-15.579</c:v>
                </c:pt>
                <c:pt idx="2320">
                  <c:v>15.579-15.586</c:v>
                </c:pt>
                <c:pt idx="2321">
                  <c:v>15.586-15.592</c:v>
                </c:pt>
                <c:pt idx="2322">
                  <c:v>15.592-15.599</c:v>
                </c:pt>
                <c:pt idx="2323">
                  <c:v>15.599-15.606</c:v>
                </c:pt>
                <c:pt idx="2324">
                  <c:v>15.606-15.613</c:v>
                </c:pt>
                <c:pt idx="2325">
                  <c:v>15.613-15.619</c:v>
                </c:pt>
                <c:pt idx="2326">
                  <c:v>15.619-15.626</c:v>
                </c:pt>
                <c:pt idx="2327">
                  <c:v>15.626-15.633</c:v>
                </c:pt>
                <c:pt idx="2328">
                  <c:v>15.633-15.639</c:v>
                </c:pt>
                <c:pt idx="2329">
                  <c:v>15.639-15.646</c:v>
                </c:pt>
                <c:pt idx="2330">
                  <c:v>15.646-15.653</c:v>
                </c:pt>
                <c:pt idx="2331">
                  <c:v>15.653-15.660</c:v>
                </c:pt>
                <c:pt idx="2332">
                  <c:v>15.660-15.666</c:v>
                </c:pt>
                <c:pt idx="2333">
                  <c:v>15.666-15.673</c:v>
                </c:pt>
                <c:pt idx="2334">
                  <c:v>15.673-15.680</c:v>
                </c:pt>
                <c:pt idx="2335">
                  <c:v>15.680-15.686</c:v>
                </c:pt>
                <c:pt idx="2336">
                  <c:v>15.686-15.693</c:v>
                </c:pt>
                <c:pt idx="2337">
                  <c:v>15.693-15.700</c:v>
                </c:pt>
                <c:pt idx="2338">
                  <c:v>15.700-15.707</c:v>
                </c:pt>
                <c:pt idx="2339">
                  <c:v>15.707-15.713</c:v>
                </c:pt>
                <c:pt idx="2340">
                  <c:v>15.713-15.720</c:v>
                </c:pt>
                <c:pt idx="2341">
                  <c:v>15.720-15.727</c:v>
                </c:pt>
                <c:pt idx="2342">
                  <c:v>15.727-15.733</c:v>
                </c:pt>
                <c:pt idx="2343">
                  <c:v>15.733-15.740</c:v>
                </c:pt>
                <c:pt idx="2344">
                  <c:v>15.740-15.747</c:v>
                </c:pt>
                <c:pt idx="2345">
                  <c:v>15.747-15.754</c:v>
                </c:pt>
                <c:pt idx="2346">
                  <c:v>15.754-15.760</c:v>
                </c:pt>
                <c:pt idx="2347">
                  <c:v>15.760-15.767</c:v>
                </c:pt>
                <c:pt idx="2348">
                  <c:v>15.767-15.774</c:v>
                </c:pt>
                <c:pt idx="2349">
                  <c:v>15.774-15.780</c:v>
                </c:pt>
                <c:pt idx="2350">
                  <c:v>15.780-15.787</c:v>
                </c:pt>
                <c:pt idx="2351">
                  <c:v>15.787-15.794</c:v>
                </c:pt>
                <c:pt idx="2352">
                  <c:v>15.794-15.801</c:v>
                </c:pt>
                <c:pt idx="2353">
                  <c:v>15.801-15.807</c:v>
                </c:pt>
                <c:pt idx="2354">
                  <c:v>15.807-15.814</c:v>
                </c:pt>
                <c:pt idx="2355">
                  <c:v>15.814-15.821</c:v>
                </c:pt>
                <c:pt idx="2356">
                  <c:v>15.821-15.827</c:v>
                </c:pt>
                <c:pt idx="2357">
                  <c:v>15.827-15.834</c:v>
                </c:pt>
                <c:pt idx="2358">
                  <c:v>15.834-15.841</c:v>
                </c:pt>
                <c:pt idx="2359">
                  <c:v>15.841-15.847</c:v>
                </c:pt>
                <c:pt idx="2360">
                  <c:v>15.847-15.854</c:v>
                </c:pt>
                <c:pt idx="2361">
                  <c:v>15.854-15.861</c:v>
                </c:pt>
                <c:pt idx="2362">
                  <c:v>15.861-15.868</c:v>
                </c:pt>
                <c:pt idx="2363">
                  <c:v>15.868-15.874</c:v>
                </c:pt>
                <c:pt idx="2364">
                  <c:v>15.874-15.881</c:v>
                </c:pt>
                <c:pt idx="2365">
                  <c:v>15.881-15.888</c:v>
                </c:pt>
                <c:pt idx="2366">
                  <c:v>15.888-15.894</c:v>
                </c:pt>
                <c:pt idx="2367">
                  <c:v>15.894-15.901</c:v>
                </c:pt>
                <c:pt idx="2368">
                  <c:v>15.901-15.908</c:v>
                </c:pt>
                <c:pt idx="2369">
                  <c:v>15.908-15.915</c:v>
                </c:pt>
                <c:pt idx="2370">
                  <c:v>15.915-15.921</c:v>
                </c:pt>
                <c:pt idx="2371">
                  <c:v>15.921-15.928</c:v>
                </c:pt>
                <c:pt idx="2372">
                  <c:v>15.928-15.935</c:v>
                </c:pt>
                <c:pt idx="2373">
                  <c:v>15.935-15.941</c:v>
                </c:pt>
                <c:pt idx="2374">
                  <c:v>15.941-15.948</c:v>
                </c:pt>
                <c:pt idx="2375">
                  <c:v>15.948-15.955</c:v>
                </c:pt>
                <c:pt idx="2376">
                  <c:v>15.955-15.962</c:v>
                </c:pt>
                <c:pt idx="2377">
                  <c:v>15.962-15.968</c:v>
                </c:pt>
                <c:pt idx="2378">
                  <c:v>15.968-15.975</c:v>
                </c:pt>
                <c:pt idx="2379">
                  <c:v>15.975-15.982</c:v>
                </c:pt>
                <c:pt idx="2380">
                  <c:v>15.982-15.988</c:v>
                </c:pt>
                <c:pt idx="2381">
                  <c:v>15.988-15.995</c:v>
                </c:pt>
                <c:pt idx="2382">
                  <c:v>15.995-16.002</c:v>
                </c:pt>
                <c:pt idx="2383">
                  <c:v>16.002-16.009</c:v>
                </c:pt>
                <c:pt idx="2384">
                  <c:v>16.009-16.015</c:v>
                </c:pt>
                <c:pt idx="2385">
                  <c:v>16.015-16.022</c:v>
                </c:pt>
                <c:pt idx="2386">
                  <c:v>16.022-16.029</c:v>
                </c:pt>
                <c:pt idx="2387">
                  <c:v>16.029-16.035</c:v>
                </c:pt>
                <c:pt idx="2388">
                  <c:v>16.035-16.042</c:v>
                </c:pt>
                <c:pt idx="2389">
                  <c:v>16.042-16.049</c:v>
                </c:pt>
                <c:pt idx="2390">
                  <c:v>16.049-16.056</c:v>
                </c:pt>
                <c:pt idx="2391">
                  <c:v>16.056-16.062</c:v>
                </c:pt>
                <c:pt idx="2392">
                  <c:v>16.062-16.069</c:v>
                </c:pt>
                <c:pt idx="2393">
                  <c:v>16.069-16.076</c:v>
                </c:pt>
                <c:pt idx="2394">
                  <c:v>16.076-16.082</c:v>
                </c:pt>
                <c:pt idx="2395">
                  <c:v>16.082-16.089</c:v>
                </c:pt>
                <c:pt idx="2396">
                  <c:v>16.089-16.096</c:v>
                </c:pt>
                <c:pt idx="2397">
                  <c:v>16.096-16.102</c:v>
                </c:pt>
                <c:pt idx="2398">
                  <c:v>16.102-16.109</c:v>
                </c:pt>
                <c:pt idx="2399">
                  <c:v>16.109-16.116</c:v>
                </c:pt>
                <c:pt idx="2400">
                  <c:v>16.116-16.123</c:v>
                </c:pt>
                <c:pt idx="2401">
                  <c:v>16.123-16.129</c:v>
                </c:pt>
                <c:pt idx="2402">
                  <c:v>16.129-16.136</c:v>
                </c:pt>
                <c:pt idx="2403">
                  <c:v>16.136-16.143</c:v>
                </c:pt>
                <c:pt idx="2404">
                  <c:v>16.143-16.149</c:v>
                </c:pt>
                <c:pt idx="2405">
                  <c:v>16.149-16.156</c:v>
                </c:pt>
                <c:pt idx="2406">
                  <c:v>16.156-16.163</c:v>
                </c:pt>
                <c:pt idx="2407">
                  <c:v>16.163-16.170</c:v>
                </c:pt>
                <c:pt idx="2408">
                  <c:v>16.170-16.176</c:v>
                </c:pt>
                <c:pt idx="2409">
                  <c:v>16.176-16.183</c:v>
                </c:pt>
                <c:pt idx="2410">
                  <c:v>16.183-16.190</c:v>
                </c:pt>
                <c:pt idx="2411">
                  <c:v>16.190-16.196</c:v>
                </c:pt>
                <c:pt idx="2412">
                  <c:v>16.196-16.203</c:v>
                </c:pt>
                <c:pt idx="2413">
                  <c:v>16.203-16.210</c:v>
                </c:pt>
                <c:pt idx="2414">
                  <c:v>16.210-16.217</c:v>
                </c:pt>
                <c:pt idx="2415">
                  <c:v>16.217-16.223</c:v>
                </c:pt>
                <c:pt idx="2416">
                  <c:v>16.223-16.230</c:v>
                </c:pt>
                <c:pt idx="2417">
                  <c:v>16.230-16.237</c:v>
                </c:pt>
                <c:pt idx="2418">
                  <c:v>16.237-16.243</c:v>
                </c:pt>
                <c:pt idx="2419">
                  <c:v>16.243-16.250</c:v>
                </c:pt>
                <c:pt idx="2420">
                  <c:v>16.250-16.257</c:v>
                </c:pt>
                <c:pt idx="2421">
                  <c:v>16.257-16.264</c:v>
                </c:pt>
                <c:pt idx="2422">
                  <c:v>16.264-16.270</c:v>
                </c:pt>
                <c:pt idx="2423">
                  <c:v>16.270-16.277</c:v>
                </c:pt>
                <c:pt idx="2424">
                  <c:v>16.277-16.284</c:v>
                </c:pt>
                <c:pt idx="2425">
                  <c:v>16.284-16.290</c:v>
                </c:pt>
                <c:pt idx="2426">
                  <c:v>16.290-16.297</c:v>
                </c:pt>
                <c:pt idx="2427">
                  <c:v>16.297-16.304</c:v>
                </c:pt>
                <c:pt idx="2428">
                  <c:v>16.304-16.311</c:v>
                </c:pt>
                <c:pt idx="2429">
                  <c:v>16.311-16.317</c:v>
                </c:pt>
                <c:pt idx="2430">
                  <c:v>16.317-16.324</c:v>
                </c:pt>
                <c:pt idx="2431">
                  <c:v>16.324-16.331</c:v>
                </c:pt>
                <c:pt idx="2432">
                  <c:v>16.331-16.337</c:v>
                </c:pt>
                <c:pt idx="2433">
                  <c:v>16.337-16.344</c:v>
                </c:pt>
                <c:pt idx="2434">
                  <c:v>16.344-16.351</c:v>
                </c:pt>
                <c:pt idx="2435">
                  <c:v>16.351-16.358</c:v>
                </c:pt>
                <c:pt idx="2436">
                  <c:v>16.358-16.364</c:v>
                </c:pt>
                <c:pt idx="2437">
                  <c:v>16.364-16.371</c:v>
                </c:pt>
                <c:pt idx="2438">
                  <c:v>16.371-16.378</c:v>
                </c:pt>
                <c:pt idx="2439">
                  <c:v>16.378-16.384</c:v>
                </c:pt>
                <c:pt idx="2440">
                  <c:v>16.384-16.391</c:v>
                </c:pt>
                <c:pt idx="2441">
                  <c:v>16.391-16.398</c:v>
                </c:pt>
                <c:pt idx="2442">
                  <c:v>16.398-16.404</c:v>
                </c:pt>
                <c:pt idx="2443">
                  <c:v>16.404-16.411</c:v>
                </c:pt>
                <c:pt idx="2444">
                  <c:v>16.411-16.418</c:v>
                </c:pt>
                <c:pt idx="2445">
                  <c:v>16.418-16.425</c:v>
                </c:pt>
                <c:pt idx="2446">
                  <c:v>16.425-16.431</c:v>
                </c:pt>
                <c:pt idx="2447">
                  <c:v>16.431-16.438</c:v>
                </c:pt>
                <c:pt idx="2448">
                  <c:v>16.438-16.445</c:v>
                </c:pt>
                <c:pt idx="2449">
                  <c:v>16.445-16.451</c:v>
                </c:pt>
                <c:pt idx="2450">
                  <c:v>16.451-16.458</c:v>
                </c:pt>
                <c:pt idx="2451">
                  <c:v>16.458-16.465</c:v>
                </c:pt>
                <c:pt idx="2452">
                  <c:v>16.465-16.472</c:v>
                </c:pt>
                <c:pt idx="2453">
                  <c:v>16.472-16.478</c:v>
                </c:pt>
                <c:pt idx="2454">
                  <c:v>16.478-16.485</c:v>
                </c:pt>
                <c:pt idx="2455">
                  <c:v>16.485-16.492</c:v>
                </c:pt>
                <c:pt idx="2456">
                  <c:v>16.492-16.498</c:v>
                </c:pt>
                <c:pt idx="2457">
                  <c:v>16.498-16.505</c:v>
                </c:pt>
                <c:pt idx="2458">
                  <c:v>16.505-16.512</c:v>
                </c:pt>
                <c:pt idx="2459">
                  <c:v>16.512-16.519</c:v>
                </c:pt>
                <c:pt idx="2460">
                  <c:v>16.519-16.525</c:v>
                </c:pt>
                <c:pt idx="2461">
                  <c:v>16.525-16.532</c:v>
                </c:pt>
                <c:pt idx="2462">
                  <c:v>16.532-16.539</c:v>
                </c:pt>
                <c:pt idx="2463">
                  <c:v>16.539-16.545</c:v>
                </c:pt>
                <c:pt idx="2464">
                  <c:v>16.545-16.552</c:v>
                </c:pt>
                <c:pt idx="2465">
                  <c:v>16.552-16.559</c:v>
                </c:pt>
                <c:pt idx="2466">
                  <c:v>16.559-16.566</c:v>
                </c:pt>
                <c:pt idx="2467">
                  <c:v>16.566-16.572</c:v>
                </c:pt>
                <c:pt idx="2468">
                  <c:v>16.572-16.579</c:v>
                </c:pt>
                <c:pt idx="2469">
                  <c:v>16.579-16.586</c:v>
                </c:pt>
                <c:pt idx="2470">
                  <c:v>16.586-16.592</c:v>
                </c:pt>
                <c:pt idx="2471">
                  <c:v>16.592-16.599</c:v>
                </c:pt>
                <c:pt idx="2472">
                  <c:v>16.599-16.606</c:v>
                </c:pt>
                <c:pt idx="2473">
                  <c:v>16.606-16.613</c:v>
                </c:pt>
                <c:pt idx="2474">
                  <c:v>16.613-16.619</c:v>
                </c:pt>
                <c:pt idx="2475">
                  <c:v>16.619-16.626</c:v>
                </c:pt>
                <c:pt idx="2476">
                  <c:v>16.626-16.633</c:v>
                </c:pt>
                <c:pt idx="2477">
                  <c:v>16.633-16.639</c:v>
                </c:pt>
                <c:pt idx="2478">
                  <c:v>16.639-16.646</c:v>
                </c:pt>
                <c:pt idx="2479">
                  <c:v>16.646-16.653</c:v>
                </c:pt>
                <c:pt idx="2480">
                  <c:v>16.653-16.659</c:v>
                </c:pt>
                <c:pt idx="2481">
                  <c:v>16.659-16.666</c:v>
                </c:pt>
                <c:pt idx="2482">
                  <c:v>16.666-16.673</c:v>
                </c:pt>
                <c:pt idx="2483">
                  <c:v>16.673-16.680</c:v>
                </c:pt>
                <c:pt idx="2484">
                  <c:v>16.680-16.686</c:v>
                </c:pt>
                <c:pt idx="2485">
                  <c:v>16.686-16.693</c:v>
                </c:pt>
                <c:pt idx="2486">
                  <c:v>16.693-16.700</c:v>
                </c:pt>
                <c:pt idx="2487">
                  <c:v>16.700-16.706</c:v>
                </c:pt>
                <c:pt idx="2488">
                  <c:v>16.706-16.713</c:v>
                </c:pt>
                <c:pt idx="2489">
                  <c:v>16.713-16.720</c:v>
                </c:pt>
                <c:pt idx="2490">
                  <c:v>16.720-16.727</c:v>
                </c:pt>
                <c:pt idx="2491">
                  <c:v>16.727-16.733</c:v>
                </c:pt>
                <c:pt idx="2492">
                  <c:v>16.733-16.740</c:v>
                </c:pt>
                <c:pt idx="2493">
                  <c:v>16.740-16.747</c:v>
                </c:pt>
                <c:pt idx="2494">
                  <c:v>16.747-16.753</c:v>
                </c:pt>
                <c:pt idx="2495">
                  <c:v>16.753-16.760</c:v>
                </c:pt>
                <c:pt idx="2496">
                  <c:v>16.760-16.767</c:v>
                </c:pt>
                <c:pt idx="2497">
                  <c:v>16.767-16.774</c:v>
                </c:pt>
                <c:pt idx="2498">
                  <c:v>16.774-16.780</c:v>
                </c:pt>
                <c:pt idx="2499">
                  <c:v>16.780-16.787</c:v>
                </c:pt>
                <c:pt idx="2500">
                  <c:v>16.787-16.794</c:v>
                </c:pt>
                <c:pt idx="2501">
                  <c:v>16.794-16.800</c:v>
                </c:pt>
                <c:pt idx="2502">
                  <c:v>16.800-16.807</c:v>
                </c:pt>
                <c:pt idx="2503">
                  <c:v>16.807-16.814</c:v>
                </c:pt>
                <c:pt idx="2504">
                  <c:v>16.814-16.821</c:v>
                </c:pt>
                <c:pt idx="2505">
                  <c:v>16.821-16.827</c:v>
                </c:pt>
                <c:pt idx="2506">
                  <c:v>16.827-16.834</c:v>
                </c:pt>
                <c:pt idx="2507">
                  <c:v>16.834-16.841</c:v>
                </c:pt>
                <c:pt idx="2508">
                  <c:v>16.841-16.847</c:v>
                </c:pt>
                <c:pt idx="2509">
                  <c:v>16.847-16.854</c:v>
                </c:pt>
                <c:pt idx="2510">
                  <c:v>16.854-16.861</c:v>
                </c:pt>
                <c:pt idx="2511">
                  <c:v>16.861-16.868</c:v>
                </c:pt>
                <c:pt idx="2512">
                  <c:v>16.868-16.874</c:v>
                </c:pt>
                <c:pt idx="2513">
                  <c:v>16.874-16.881</c:v>
                </c:pt>
                <c:pt idx="2514">
                  <c:v>16.881-16.888</c:v>
                </c:pt>
                <c:pt idx="2515">
                  <c:v>16.888-16.894</c:v>
                </c:pt>
                <c:pt idx="2516">
                  <c:v>16.894-16.901</c:v>
                </c:pt>
                <c:pt idx="2517">
                  <c:v>16.901-16.908</c:v>
                </c:pt>
                <c:pt idx="2518">
                  <c:v>16.908-16.915</c:v>
                </c:pt>
                <c:pt idx="2519">
                  <c:v>16.915-16.921</c:v>
                </c:pt>
                <c:pt idx="2520">
                  <c:v>16.921-16.928</c:v>
                </c:pt>
                <c:pt idx="2521">
                  <c:v>16.928-16.935</c:v>
                </c:pt>
                <c:pt idx="2522">
                  <c:v>16.935-16.941</c:v>
                </c:pt>
                <c:pt idx="2523">
                  <c:v>16.941-16.948</c:v>
                </c:pt>
                <c:pt idx="2524">
                  <c:v>16.948-16.955</c:v>
                </c:pt>
                <c:pt idx="2525">
                  <c:v>16.955-16.961</c:v>
                </c:pt>
                <c:pt idx="2526">
                  <c:v>16.961-16.968</c:v>
                </c:pt>
                <c:pt idx="2527">
                  <c:v>16.968-16.975</c:v>
                </c:pt>
                <c:pt idx="2528">
                  <c:v>16.975-16.982</c:v>
                </c:pt>
                <c:pt idx="2529">
                  <c:v>16.982-16.988</c:v>
                </c:pt>
                <c:pt idx="2530">
                  <c:v>16.988-16.995</c:v>
                </c:pt>
                <c:pt idx="2531">
                  <c:v>16.995-17.002</c:v>
                </c:pt>
                <c:pt idx="2532">
                  <c:v>17.002-17.008</c:v>
                </c:pt>
                <c:pt idx="2533">
                  <c:v>17.008-17.015</c:v>
                </c:pt>
                <c:pt idx="2534">
                  <c:v>17.015-17.022</c:v>
                </c:pt>
                <c:pt idx="2535">
                  <c:v>17.022-17.029</c:v>
                </c:pt>
                <c:pt idx="2536">
                  <c:v>17.029-17.035</c:v>
                </c:pt>
                <c:pt idx="2537">
                  <c:v>17.035-17.042</c:v>
                </c:pt>
                <c:pt idx="2538">
                  <c:v>17.042-17.049</c:v>
                </c:pt>
                <c:pt idx="2539">
                  <c:v>17.049-17.055</c:v>
                </c:pt>
                <c:pt idx="2540">
                  <c:v>17.055-17.062</c:v>
                </c:pt>
                <c:pt idx="2541">
                  <c:v>17.062-17.069</c:v>
                </c:pt>
                <c:pt idx="2542">
                  <c:v>17.069-17.076</c:v>
                </c:pt>
                <c:pt idx="2543">
                  <c:v>17.076-17.082</c:v>
                </c:pt>
                <c:pt idx="2544">
                  <c:v>17.082-17.089</c:v>
                </c:pt>
                <c:pt idx="2545">
                  <c:v>17.089-17.096</c:v>
                </c:pt>
                <c:pt idx="2546">
                  <c:v>17.096-17.102</c:v>
                </c:pt>
                <c:pt idx="2547">
                  <c:v>17.102-17.109</c:v>
                </c:pt>
                <c:pt idx="2548">
                  <c:v>17.109-17.116</c:v>
                </c:pt>
                <c:pt idx="2549">
                  <c:v>17.116-17.123</c:v>
                </c:pt>
                <c:pt idx="2550">
                  <c:v>17.123-17.129</c:v>
                </c:pt>
                <c:pt idx="2551">
                  <c:v>17.129-17.136</c:v>
                </c:pt>
                <c:pt idx="2552">
                  <c:v>17.136-17.143</c:v>
                </c:pt>
                <c:pt idx="2553">
                  <c:v>17.143-17.149</c:v>
                </c:pt>
                <c:pt idx="2554">
                  <c:v>17.149-17.156</c:v>
                </c:pt>
                <c:pt idx="2555">
                  <c:v>17.156-17.163</c:v>
                </c:pt>
                <c:pt idx="2556">
                  <c:v>17.163-17.170</c:v>
                </c:pt>
                <c:pt idx="2557">
                  <c:v>17.170-17.176</c:v>
                </c:pt>
                <c:pt idx="2558">
                  <c:v>17.176-17.183</c:v>
                </c:pt>
                <c:pt idx="2559">
                  <c:v>17.183-17.190</c:v>
                </c:pt>
                <c:pt idx="2560">
                  <c:v>17.190-17.196</c:v>
                </c:pt>
                <c:pt idx="2561">
                  <c:v>17.196-17.203</c:v>
                </c:pt>
                <c:pt idx="2562">
                  <c:v>17.203-17.210</c:v>
                </c:pt>
                <c:pt idx="2563">
                  <c:v>17.210-17.216</c:v>
                </c:pt>
                <c:pt idx="2564">
                  <c:v>17.216-17.223</c:v>
                </c:pt>
                <c:pt idx="2565">
                  <c:v>17.223-17.230</c:v>
                </c:pt>
                <c:pt idx="2566">
                  <c:v>17.230-17.237</c:v>
                </c:pt>
                <c:pt idx="2567">
                  <c:v>17.237-17.243</c:v>
                </c:pt>
                <c:pt idx="2568">
                  <c:v>17.243-17.250</c:v>
                </c:pt>
                <c:pt idx="2569">
                  <c:v>17.250-17.257</c:v>
                </c:pt>
                <c:pt idx="2570">
                  <c:v>17.257-17.263</c:v>
                </c:pt>
                <c:pt idx="2571">
                  <c:v>17.263-17.270</c:v>
                </c:pt>
                <c:pt idx="2572">
                  <c:v>17.270-17.277</c:v>
                </c:pt>
                <c:pt idx="2573">
                  <c:v>17.277-17.284</c:v>
                </c:pt>
                <c:pt idx="2574">
                  <c:v>17.284-17.290</c:v>
                </c:pt>
                <c:pt idx="2575">
                  <c:v>17.290-17.297</c:v>
                </c:pt>
                <c:pt idx="2576">
                  <c:v>17.297-17.304</c:v>
                </c:pt>
                <c:pt idx="2577">
                  <c:v>17.304-17.310</c:v>
                </c:pt>
                <c:pt idx="2578">
                  <c:v>17.310-17.317</c:v>
                </c:pt>
                <c:pt idx="2579">
                  <c:v>17.317-17.324</c:v>
                </c:pt>
                <c:pt idx="2580">
                  <c:v>17.324-17.331</c:v>
                </c:pt>
                <c:pt idx="2581">
                  <c:v>17.331-17.337</c:v>
                </c:pt>
                <c:pt idx="2582">
                  <c:v>17.337-17.344</c:v>
                </c:pt>
                <c:pt idx="2583">
                  <c:v>17.344-17.351</c:v>
                </c:pt>
                <c:pt idx="2584">
                  <c:v>17.351-17.357</c:v>
                </c:pt>
                <c:pt idx="2585">
                  <c:v>17.357-17.364</c:v>
                </c:pt>
                <c:pt idx="2586">
                  <c:v>17.364-17.371</c:v>
                </c:pt>
                <c:pt idx="2587">
                  <c:v>17.371-17.378</c:v>
                </c:pt>
                <c:pt idx="2588">
                  <c:v>17.378-17.384</c:v>
                </c:pt>
                <c:pt idx="2589">
                  <c:v>17.384-17.391</c:v>
                </c:pt>
                <c:pt idx="2590">
                  <c:v>17.391-17.398</c:v>
                </c:pt>
                <c:pt idx="2591">
                  <c:v>17.398-17.404</c:v>
                </c:pt>
                <c:pt idx="2592">
                  <c:v>17.404-17.411</c:v>
                </c:pt>
                <c:pt idx="2593">
                  <c:v>17.411-17.418</c:v>
                </c:pt>
                <c:pt idx="2594">
                  <c:v>17.418-17.425</c:v>
                </c:pt>
                <c:pt idx="2595">
                  <c:v>17.425-17.431</c:v>
                </c:pt>
                <c:pt idx="2596">
                  <c:v>17.431-17.438</c:v>
                </c:pt>
                <c:pt idx="2597">
                  <c:v>17.438-17.445</c:v>
                </c:pt>
                <c:pt idx="2598">
                  <c:v>17.445-17.451</c:v>
                </c:pt>
                <c:pt idx="2599">
                  <c:v>17.451-17.458</c:v>
                </c:pt>
                <c:pt idx="2600">
                  <c:v>17.458-17.465</c:v>
                </c:pt>
                <c:pt idx="2601">
                  <c:v>17.465-17.472</c:v>
                </c:pt>
                <c:pt idx="2602">
                  <c:v>17.472-17.478</c:v>
                </c:pt>
                <c:pt idx="2603">
                  <c:v>17.478-17.485</c:v>
                </c:pt>
                <c:pt idx="2604">
                  <c:v>17.485-17.492</c:v>
                </c:pt>
                <c:pt idx="2605">
                  <c:v>17.492-17.498</c:v>
                </c:pt>
                <c:pt idx="2606">
                  <c:v>17.498-17.505</c:v>
                </c:pt>
                <c:pt idx="2607">
                  <c:v>17.505-17.512</c:v>
                </c:pt>
                <c:pt idx="2608">
                  <c:v>17.512-17.518</c:v>
                </c:pt>
                <c:pt idx="2609">
                  <c:v>17.518-17.525</c:v>
                </c:pt>
                <c:pt idx="2610">
                  <c:v>17.525-17.532</c:v>
                </c:pt>
                <c:pt idx="2611">
                  <c:v>17.532-17.539</c:v>
                </c:pt>
                <c:pt idx="2612">
                  <c:v>17.539-17.545</c:v>
                </c:pt>
                <c:pt idx="2613">
                  <c:v>17.545-17.552</c:v>
                </c:pt>
                <c:pt idx="2614">
                  <c:v>17.552-17.559</c:v>
                </c:pt>
                <c:pt idx="2615">
                  <c:v>17.559-17.565</c:v>
                </c:pt>
                <c:pt idx="2616">
                  <c:v>17.565-17.572</c:v>
                </c:pt>
                <c:pt idx="2617">
                  <c:v>17.572-17.579</c:v>
                </c:pt>
                <c:pt idx="2618">
                  <c:v>17.579-17.586</c:v>
                </c:pt>
                <c:pt idx="2619">
                  <c:v>17.586-17.592</c:v>
                </c:pt>
                <c:pt idx="2620">
                  <c:v>17.592-17.599</c:v>
                </c:pt>
                <c:pt idx="2621">
                  <c:v>17.599-17.606</c:v>
                </c:pt>
                <c:pt idx="2622">
                  <c:v>17.606-17.612</c:v>
                </c:pt>
                <c:pt idx="2623">
                  <c:v>17.612-17.619</c:v>
                </c:pt>
                <c:pt idx="2624">
                  <c:v>17.619-17.626</c:v>
                </c:pt>
                <c:pt idx="2625">
                  <c:v>17.626-17.633</c:v>
                </c:pt>
                <c:pt idx="2626">
                  <c:v>17.633-17.639</c:v>
                </c:pt>
                <c:pt idx="2627">
                  <c:v>17.639-17.646</c:v>
                </c:pt>
                <c:pt idx="2628">
                  <c:v>17.646-17.653</c:v>
                </c:pt>
                <c:pt idx="2629">
                  <c:v>17.653-17.659</c:v>
                </c:pt>
                <c:pt idx="2630">
                  <c:v>17.659-17.666</c:v>
                </c:pt>
                <c:pt idx="2631">
                  <c:v>17.666-17.673</c:v>
                </c:pt>
                <c:pt idx="2632">
                  <c:v>17.673-17.680</c:v>
                </c:pt>
                <c:pt idx="2633">
                  <c:v>17.680-17.686</c:v>
                </c:pt>
                <c:pt idx="2634">
                  <c:v>17.686-17.693</c:v>
                </c:pt>
                <c:pt idx="2635">
                  <c:v>17.693-17.700</c:v>
                </c:pt>
                <c:pt idx="2636">
                  <c:v>17.700-17.706</c:v>
                </c:pt>
                <c:pt idx="2637">
                  <c:v>17.706-17.713</c:v>
                </c:pt>
                <c:pt idx="2638">
                  <c:v>17.713-17.720</c:v>
                </c:pt>
                <c:pt idx="2639">
                  <c:v>17.720-17.727</c:v>
                </c:pt>
                <c:pt idx="2640">
                  <c:v>17.727-17.733</c:v>
                </c:pt>
                <c:pt idx="2641">
                  <c:v>17.733-17.740</c:v>
                </c:pt>
                <c:pt idx="2642">
                  <c:v>17.740-17.747</c:v>
                </c:pt>
                <c:pt idx="2643">
                  <c:v>17.747-17.753</c:v>
                </c:pt>
                <c:pt idx="2644">
                  <c:v>17.753-17.760</c:v>
                </c:pt>
                <c:pt idx="2645">
                  <c:v>17.760-17.767</c:v>
                </c:pt>
                <c:pt idx="2646">
                  <c:v>17.767-17.773</c:v>
                </c:pt>
                <c:pt idx="2647">
                  <c:v>17.773-17.780</c:v>
                </c:pt>
                <c:pt idx="2648">
                  <c:v>17.780-17.787</c:v>
                </c:pt>
                <c:pt idx="2649">
                  <c:v>17.787-17.794</c:v>
                </c:pt>
                <c:pt idx="2650">
                  <c:v>17.794-17.800</c:v>
                </c:pt>
                <c:pt idx="2651">
                  <c:v>17.800-17.807</c:v>
                </c:pt>
                <c:pt idx="2652">
                  <c:v>17.807-17.814</c:v>
                </c:pt>
                <c:pt idx="2653">
                  <c:v>17.814-17.820</c:v>
                </c:pt>
                <c:pt idx="2654">
                  <c:v>17.820-17.827</c:v>
                </c:pt>
                <c:pt idx="2655">
                  <c:v>17.827-17.834</c:v>
                </c:pt>
                <c:pt idx="2656">
                  <c:v>17.834-17.841</c:v>
                </c:pt>
                <c:pt idx="2657">
                  <c:v>17.841-17.847</c:v>
                </c:pt>
                <c:pt idx="2658">
                  <c:v>17.847-17.854</c:v>
                </c:pt>
                <c:pt idx="2659">
                  <c:v>17.854-17.861</c:v>
                </c:pt>
                <c:pt idx="2660">
                  <c:v>17.861-17.867</c:v>
                </c:pt>
                <c:pt idx="2661">
                  <c:v>17.867-17.874</c:v>
                </c:pt>
                <c:pt idx="2662">
                  <c:v>17.874-17.881</c:v>
                </c:pt>
                <c:pt idx="2663">
                  <c:v>17.881-17.888</c:v>
                </c:pt>
                <c:pt idx="2664">
                  <c:v>17.888-17.894</c:v>
                </c:pt>
                <c:pt idx="2665">
                  <c:v>17.894-17.901</c:v>
                </c:pt>
                <c:pt idx="2666">
                  <c:v>17.901-17.908</c:v>
                </c:pt>
                <c:pt idx="2667">
                  <c:v>17.908-17.914</c:v>
                </c:pt>
                <c:pt idx="2668">
                  <c:v>17.914-17.921</c:v>
                </c:pt>
                <c:pt idx="2669">
                  <c:v>17.921-17.928</c:v>
                </c:pt>
                <c:pt idx="2670">
                  <c:v>17.928-17.935</c:v>
                </c:pt>
                <c:pt idx="2671">
                  <c:v>17.935-17.941</c:v>
                </c:pt>
                <c:pt idx="2672">
                  <c:v>17.941-17.948</c:v>
                </c:pt>
                <c:pt idx="2673">
                  <c:v>17.948-17.955</c:v>
                </c:pt>
                <c:pt idx="2674">
                  <c:v>17.955-17.961</c:v>
                </c:pt>
                <c:pt idx="2675">
                  <c:v>17.961-17.968</c:v>
                </c:pt>
                <c:pt idx="2676">
                  <c:v>17.968-17.975</c:v>
                </c:pt>
                <c:pt idx="2677">
                  <c:v>17.975-17.982</c:v>
                </c:pt>
                <c:pt idx="2678">
                  <c:v>17.982-17.988</c:v>
                </c:pt>
                <c:pt idx="2679">
                  <c:v>17.988-17.995</c:v>
                </c:pt>
                <c:pt idx="2680">
                  <c:v>17.995-18.002</c:v>
                </c:pt>
                <c:pt idx="2681">
                  <c:v>18.002-18.008</c:v>
                </c:pt>
                <c:pt idx="2682">
                  <c:v>18.008-18.015</c:v>
                </c:pt>
                <c:pt idx="2683">
                  <c:v>18.015-18.022</c:v>
                </c:pt>
                <c:pt idx="2684">
                  <c:v>18.022-18.028</c:v>
                </c:pt>
                <c:pt idx="2685">
                  <c:v>18.028-18.035</c:v>
                </c:pt>
                <c:pt idx="2686">
                  <c:v>18.035-18.042</c:v>
                </c:pt>
                <c:pt idx="2687">
                  <c:v>18.042-18.049</c:v>
                </c:pt>
                <c:pt idx="2688">
                  <c:v>18.049-18.055</c:v>
                </c:pt>
                <c:pt idx="2689">
                  <c:v>18.055-18.062</c:v>
                </c:pt>
                <c:pt idx="2690">
                  <c:v>18.062-18.069</c:v>
                </c:pt>
                <c:pt idx="2691">
                  <c:v>18.069-18.075</c:v>
                </c:pt>
                <c:pt idx="2692">
                  <c:v>18.075-18.082</c:v>
                </c:pt>
                <c:pt idx="2693">
                  <c:v>18.082-18.089</c:v>
                </c:pt>
                <c:pt idx="2694">
                  <c:v>18.089-18.096</c:v>
                </c:pt>
                <c:pt idx="2695">
                  <c:v>18.096-18.102</c:v>
                </c:pt>
                <c:pt idx="2696">
                  <c:v>18.102-18.109</c:v>
                </c:pt>
                <c:pt idx="2697">
                  <c:v>18.109-18.116</c:v>
                </c:pt>
                <c:pt idx="2698">
                  <c:v>18.116-18.122</c:v>
                </c:pt>
                <c:pt idx="2699">
                  <c:v>18.122-18.129</c:v>
                </c:pt>
                <c:pt idx="2700">
                  <c:v>18.129-18.136</c:v>
                </c:pt>
                <c:pt idx="2701">
                  <c:v>18.136-18.143</c:v>
                </c:pt>
                <c:pt idx="2702">
                  <c:v>18.143-18.149</c:v>
                </c:pt>
                <c:pt idx="2703">
                  <c:v>18.149-18.156</c:v>
                </c:pt>
                <c:pt idx="2704">
                  <c:v>18.156-18.163</c:v>
                </c:pt>
                <c:pt idx="2705">
                  <c:v>18.163-18.169</c:v>
                </c:pt>
                <c:pt idx="2706">
                  <c:v>18.169-18.176</c:v>
                </c:pt>
                <c:pt idx="2707">
                  <c:v>18.176-18.183</c:v>
                </c:pt>
                <c:pt idx="2708">
                  <c:v>18.183-18.190</c:v>
                </c:pt>
                <c:pt idx="2709">
                  <c:v>18.190-18.196</c:v>
                </c:pt>
                <c:pt idx="2710">
                  <c:v>18.196-18.203</c:v>
                </c:pt>
                <c:pt idx="2711">
                  <c:v>18.203-18.210</c:v>
                </c:pt>
                <c:pt idx="2712">
                  <c:v>18.210-18.216</c:v>
                </c:pt>
                <c:pt idx="2713">
                  <c:v>18.216-18.223</c:v>
                </c:pt>
                <c:pt idx="2714">
                  <c:v>18.223-18.230</c:v>
                </c:pt>
                <c:pt idx="2715">
                  <c:v>18.230-18.237</c:v>
                </c:pt>
                <c:pt idx="2716">
                  <c:v>18.237-18.243</c:v>
                </c:pt>
                <c:pt idx="2717">
                  <c:v>18.243-18.250</c:v>
                </c:pt>
                <c:pt idx="2718">
                  <c:v>18.250-18.257</c:v>
                </c:pt>
                <c:pt idx="2719">
                  <c:v>18.257-18.263</c:v>
                </c:pt>
                <c:pt idx="2720">
                  <c:v>18.263-18.270</c:v>
                </c:pt>
                <c:pt idx="2721">
                  <c:v>18.270-18.277</c:v>
                </c:pt>
                <c:pt idx="2722">
                  <c:v>18.277-18.284</c:v>
                </c:pt>
                <c:pt idx="2723">
                  <c:v>18.284-18.290</c:v>
                </c:pt>
                <c:pt idx="2724">
                  <c:v>18.290-18.297</c:v>
                </c:pt>
                <c:pt idx="2725">
                  <c:v>18.297-18.304</c:v>
                </c:pt>
                <c:pt idx="2726">
                  <c:v>18.304-18.310</c:v>
                </c:pt>
                <c:pt idx="2727">
                  <c:v>18.310-18.317</c:v>
                </c:pt>
                <c:pt idx="2728">
                  <c:v>18.317-18.324</c:v>
                </c:pt>
                <c:pt idx="2729">
                  <c:v>18.324-18.330</c:v>
                </c:pt>
                <c:pt idx="2730">
                  <c:v>18.330-18.337</c:v>
                </c:pt>
                <c:pt idx="2731">
                  <c:v>18.337-18.344</c:v>
                </c:pt>
                <c:pt idx="2732">
                  <c:v>18.344-18.351</c:v>
                </c:pt>
                <c:pt idx="2733">
                  <c:v>18.351-18.357</c:v>
                </c:pt>
                <c:pt idx="2734">
                  <c:v>18.357-18.364</c:v>
                </c:pt>
                <c:pt idx="2735">
                  <c:v>18.364-18.371</c:v>
                </c:pt>
                <c:pt idx="2736">
                  <c:v>18.371-18.377</c:v>
                </c:pt>
                <c:pt idx="2737">
                  <c:v>18.377-18.384</c:v>
                </c:pt>
                <c:pt idx="2738">
                  <c:v>18.384-18.391</c:v>
                </c:pt>
                <c:pt idx="2739">
                  <c:v>18.391-18.398</c:v>
                </c:pt>
                <c:pt idx="2740">
                  <c:v>18.398-18.404</c:v>
                </c:pt>
                <c:pt idx="2741">
                  <c:v>18.404-18.411</c:v>
                </c:pt>
                <c:pt idx="2742">
                  <c:v>18.411-18.418</c:v>
                </c:pt>
                <c:pt idx="2743">
                  <c:v>18.418-18.424</c:v>
                </c:pt>
                <c:pt idx="2744">
                  <c:v>18.424-18.431</c:v>
                </c:pt>
                <c:pt idx="2745">
                  <c:v>18.431-18.438</c:v>
                </c:pt>
                <c:pt idx="2746">
                  <c:v>18.438-18.445</c:v>
                </c:pt>
                <c:pt idx="2747">
                  <c:v>18.445-18.451</c:v>
                </c:pt>
                <c:pt idx="2748">
                  <c:v>18.451-18.458</c:v>
                </c:pt>
                <c:pt idx="2749">
                  <c:v>18.458-18.465</c:v>
                </c:pt>
                <c:pt idx="2750">
                  <c:v>18.465-18.471</c:v>
                </c:pt>
                <c:pt idx="2751">
                  <c:v>18.471-18.478</c:v>
                </c:pt>
                <c:pt idx="2752">
                  <c:v>18.478-18.485</c:v>
                </c:pt>
                <c:pt idx="2753">
                  <c:v>18.485-18.492</c:v>
                </c:pt>
                <c:pt idx="2754">
                  <c:v>18.492-18.498</c:v>
                </c:pt>
                <c:pt idx="2755">
                  <c:v>18.498-18.505</c:v>
                </c:pt>
                <c:pt idx="2756">
                  <c:v>18.505-18.512</c:v>
                </c:pt>
                <c:pt idx="2757">
                  <c:v>18.512-18.518</c:v>
                </c:pt>
                <c:pt idx="2758">
                  <c:v>18.518-18.525</c:v>
                </c:pt>
                <c:pt idx="2759">
                  <c:v>18.525-18.532</c:v>
                </c:pt>
                <c:pt idx="2760">
                  <c:v>18.532-18.539</c:v>
                </c:pt>
                <c:pt idx="2761">
                  <c:v>18.539-18.545</c:v>
                </c:pt>
                <c:pt idx="2762">
                  <c:v>18.545-18.552</c:v>
                </c:pt>
                <c:pt idx="2763">
                  <c:v>18.552-18.559</c:v>
                </c:pt>
                <c:pt idx="2764">
                  <c:v>18.559-18.565</c:v>
                </c:pt>
                <c:pt idx="2765">
                  <c:v>18.565-18.572</c:v>
                </c:pt>
                <c:pt idx="2766">
                  <c:v>18.572-18.579</c:v>
                </c:pt>
                <c:pt idx="2767">
                  <c:v>18.579-18.585</c:v>
                </c:pt>
                <c:pt idx="2768">
                  <c:v>18.585-18.592</c:v>
                </c:pt>
                <c:pt idx="2769">
                  <c:v>18.592-18.599</c:v>
                </c:pt>
                <c:pt idx="2770">
                  <c:v>18.599-18.606</c:v>
                </c:pt>
                <c:pt idx="2771">
                  <c:v>18.606-18.612</c:v>
                </c:pt>
                <c:pt idx="2772">
                  <c:v>18.612-18.619</c:v>
                </c:pt>
                <c:pt idx="2773">
                  <c:v>18.619-18.626</c:v>
                </c:pt>
                <c:pt idx="2774">
                  <c:v>18.626-18.632</c:v>
                </c:pt>
                <c:pt idx="2775">
                  <c:v>18.632-18.639</c:v>
                </c:pt>
                <c:pt idx="2776">
                  <c:v>18.639-18.646</c:v>
                </c:pt>
                <c:pt idx="2777">
                  <c:v>18.646-18.653</c:v>
                </c:pt>
                <c:pt idx="2778">
                  <c:v>18.653-18.659</c:v>
                </c:pt>
                <c:pt idx="2779">
                  <c:v>18.659-18.666</c:v>
                </c:pt>
                <c:pt idx="2780">
                  <c:v>18.666-18.673</c:v>
                </c:pt>
                <c:pt idx="2781">
                  <c:v>18.673-18.679</c:v>
                </c:pt>
                <c:pt idx="2782">
                  <c:v>18.679-18.686</c:v>
                </c:pt>
                <c:pt idx="2783">
                  <c:v>18.686-18.693</c:v>
                </c:pt>
                <c:pt idx="2784">
                  <c:v>18.693-18.700</c:v>
                </c:pt>
                <c:pt idx="2785">
                  <c:v>18.700-18.706</c:v>
                </c:pt>
                <c:pt idx="2786">
                  <c:v>18.706-18.713</c:v>
                </c:pt>
                <c:pt idx="2787">
                  <c:v>18.713-18.720</c:v>
                </c:pt>
                <c:pt idx="2788">
                  <c:v>18.720-18.726</c:v>
                </c:pt>
                <c:pt idx="2789">
                  <c:v>18.726-18.733</c:v>
                </c:pt>
                <c:pt idx="2790">
                  <c:v>18.733-18.740</c:v>
                </c:pt>
                <c:pt idx="2791">
                  <c:v>18.740-18.747</c:v>
                </c:pt>
                <c:pt idx="2792">
                  <c:v>18.747-18.753</c:v>
                </c:pt>
                <c:pt idx="2793">
                  <c:v>18.753-18.760</c:v>
                </c:pt>
                <c:pt idx="2794">
                  <c:v>18.760-18.767</c:v>
                </c:pt>
                <c:pt idx="2795">
                  <c:v>18.767-18.773</c:v>
                </c:pt>
                <c:pt idx="2796">
                  <c:v>18.773-18.780</c:v>
                </c:pt>
                <c:pt idx="2797">
                  <c:v>18.780-18.787</c:v>
                </c:pt>
                <c:pt idx="2798">
                  <c:v>18.787-18.794</c:v>
                </c:pt>
                <c:pt idx="2799">
                  <c:v>18.794-18.800</c:v>
                </c:pt>
                <c:pt idx="2800">
                  <c:v>18.800-18.807</c:v>
                </c:pt>
                <c:pt idx="2801">
                  <c:v>18.807-18.814</c:v>
                </c:pt>
                <c:pt idx="2802">
                  <c:v>18.814-18.820</c:v>
                </c:pt>
                <c:pt idx="2803">
                  <c:v>18.820-18.827</c:v>
                </c:pt>
                <c:pt idx="2804">
                  <c:v>18.827-18.834</c:v>
                </c:pt>
                <c:pt idx="2805">
                  <c:v>18.834-18.841</c:v>
                </c:pt>
                <c:pt idx="2806">
                  <c:v>18.841-18.847</c:v>
                </c:pt>
                <c:pt idx="2807">
                  <c:v>18.847-18.854</c:v>
                </c:pt>
                <c:pt idx="2808">
                  <c:v>18.854-18.861</c:v>
                </c:pt>
                <c:pt idx="2809">
                  <c:v>18.861-18.867</c:v>
                </c:pt>
                <c:pt idx="2810">
                  <c:v>18.867-18.874</c:v>
                </c:pt>
                <c:pt idx="2811">
                  <c:v>18.874-18.881</c:v>
                </c:pt>
                <c:pt idx="2812">
                  <c:v>18.881-18.887</c:v>
                </c:pt>
                <c:pt idx="2813">
                  <c:v>18.887-18.894</c:v>
                </c:pt>
                <c:pt idx="2814">
                  <c:v>18.894-18.901</c:v>
                </c:pt>
                <c:pt idx="2815">
                  <c:v>18.901-18.908</c:v>
                </c:pt>
                <c:pt idx="2816">
                  <c:v>18.908-18.914</c:v>
                </c:pt>
                <c:pt idx="2817">
                  <c:v>18.914-18.921</c:v>
                </c:pt>
                <c:pt idx="2818">
                  <c:v>18.921-18.928</c:v>
                </c:pt>
                <c:pt idx="2819">
                  <c:v>18.928-18.934</c:v>
                </c:pt>
                <c:pt idx="2820">
                  <c:v>18.934-18.941</c:v>
                </c:pt>
                <c:pt idx="2821">
                  <c:v>18.941-18.948</c:v>
                </c:pt>
                <c:pt idx="2822">
                  <c:v>18.948-18.955</c:v>
                </c:pt>
                <c:pt idx="2823">
                  <c:v>18.955-18.961</c:v>
                </c:pt>
                <c:pt idx="2824">
                  <c:v>18.961-18.968</c:v>
                </c:pt>
                <c:pt idx="2825">
                  <c:v>18.968-18.975</c:v>
                </c:pt>
                <c:pt idx="2826">
                  <c:v>18.975-18.981</c:v>
                </c:pt>
                <c:pt idx="2827">
                  <c:v>18.981-18.988</c:v>
                </c:pt>
                <c:pt idx="2828">
                  <c:v>18.988-18.995</c:v>
                </c:pt>
                <c:pt idx="2829">
                  <c:v>18.995-19.002</c:v>
                </c:pt>
                <c:pt idx="2830">
                  <c:v>19.002-19.008</c:v>
                </c:pt>
                <c:pt idx="2831">
                  <c:v>19.008-19.015</c:v>
                </c:pt>
                <c:pt idx="2832">
                  <c:v>19.015-19.022</c:v>
                </c:pt>
                <c:pt idx="2833">
                  <c:v>19.022-19.028</c:v>
                </c:pt>
                <c:pt idx="2834">
                  <c:v>19.028-19.035</c:v>
                </c:pt>
                <c:pt idx="2835">
                  <c:v>19.035-19.042</c:v>
                </c:pt>
                <c:pt idx="2836">
                  <c:v>19.042-19.049</c:v>
                </c:pt>
                <c:pt idx="2837">
                  <c:v>19.049-19.055</c:v>
                </c:pt>
                <c:pt idx="2838">
                  <c:v>19.055-19.062</c:v>
                </c:pt>
                <c:pt idx="2839">
                  <c:v>19.062-19.069</c:v>
                </c:pt>
                <c:pt idx="2840">
                  <c:v>19.069-19.075</c:v>
                </c:pt>
                <c:pt idx="2841">
                  <c:v>19.075-19.082</c:v>
                </c:pt>
                <c:pt idx="2842">
                  <c:v>19.082-19.089</c:v>
                </c:pt>
                <c:pt idx="2843">
                  <c:v>19.089-19.096</c:v>
                </c:pt>
                <c:pt idx="2844">
                  <c:v>19.096-19.102</c:v>
                </c:pt>
                <c:pt idx="2845">
                  <c:v>19.102-19.109</c:v>
                </c:pt>
                <c:pt idx="2846">
                  <c:v>19.109-19.116</c:v>
                </c:pt>
                <c:pt idx="2847">
                  <c:v>19.116-19.122</c:v>
                </c:pt>
                <c:pt idx="2848">
                  <c:v>19.122-19.129</c:v>
                </c:pt>
                <c:pt idx="2849">
                  <c:v>19.129-19.136</c:v>
                </c:pt>
                <c:pt idx="2850">
                  <c:v>19.136-19.142</c:v>
                </c:pt>
                <c:pt idx="2851">
                  <c:v>19.142-19.149</c:v>
                </c:pt>
                <c:pt idx="2852">
                  <c:v>19.149-19.156</c:v>
                </c:pt>
                <c:pt idx="2853">
                  <c:v>19.156-19.163</c:v>
                </c:pt>
                <c:pt idx="2854">
                  <c:v>19.163-19.169</c:v>
                </c:pt>
                <c:pt idx="2855">
                  <c:v>19.169-19.176</c:v>
                </c:pt>
                <c:pt idx="2856">
                  <c:v>19.176-19.183</c:v>
                </c:pt>
                <c:pt idx="2857">
                  <c:v>19.183-19.189</c:v>
                </c:pt>
                <c:pt idx="2858">
                  <c:v>19.189-19.196</c:v>
                </c:pt>
                <c:pt idx="2859">
                  <c:v>19.196-19.203</c:v>
                </c:pt>
                <c:pt idx="2860">
                  <c:v>19.203-19.210</c:v>
                </c:pt>
                <c:pt idx="2861">
                  <c:v>19.210-19.216</c:v>
                </c:pt>
                <c:pt idx="2862">
                  <c:v>19.216-19.223</c:v>
                </c:pt>
                <c:pt idx="2863">
                  <c:v>19.223-19.230</c:v>
                </c:pt>
                <c:pt idx="2864">
                  <c:v>19.230-19.236</c:v>
                </c:pt>
                <c:pt idx="2865">
                  <c:v>19.236-19.243</c:v>
                </c:pt>
                <c:pt idx="2866">
                  <c:v>19.243-19.250</c:v>
                </c:pt>
                <c:pt idx="2867">
                  <c:v>19.250-19.257</c:v>
                </c:pt>
                <c:pt idx="2868">
                  <c:v>19.257-19.263</c:v>
                </c:pt>
                <c:pt idx="2869">
                  <c:v>19.263-19.270</c:v>
                </c:pt>
                <c:pt idx="2870">
                  <c:v>19.270-19.277</c:v>
                </c:pt>
                <c:pt idx="2871">
                  <c:v>19.277-19.283</c:v>
                </c:pt>
                <c:pt idx="2872">
                  <c:v>19.283-19.290</c:v>
                </c:pt>
                <c:pt idx="2873">
                  <c:v>19.290-19.297</c:v>
                </c:pt>
                <c:pt idx="2874">
                  <c:v>19.297-19.304</c:v>
                </c:pt>
                <c:pt idx="2875">
                  <c:v>19.304-19.310</c:v>
                </c:pt>
                <c:pt idx="2876">
                  <c:v>19.310-19.317</c:v>
                </c:pt>
                <c:pt idx="2877">
                  <c:v>19.317-19.324</c:v>
                </c:pt>
                <c:pt idx="2878">
                  <c:v>19.324-19.330</c:v>
                </c:pt>
                <c:pt idx="2879">
                  <c:v>19.330-19.337</c:v>
                </c:pt>
                <c:pt idx="2880">
                  <c:v>19.337-19.344</c:v>
                </c:pt>
                <c:pt idx="2881">
                  <c:v>19.344-19.351</c:v>
                </c:pt>
                <c:pt idx="2882">
                  <c:v>19.351-19.357</c:v>
                </c:pt>
                <c:pt idx="2883">
                  <c:v>19.357-19.364</c:v>
                </c:pt>
                <c:pt idx="2884">
                  <c:v>19.364-19.371</c:v>
                </c:pt>
                <c:pt idx="2885">
                  <c:v>19.371-19.377</c:v>
                </c:pt>
                <c:pt idx="2886">
                  <c:v>19.377-19.384</c:v>
                </c:pt>
                <c:pt idx="2887">
                  <c:v>19.384-19.391</c:v>
                </c:pt>
                <c:pt idx="2888">
                  <c:v>19.391-19.398</c:v>
                </c:pt>
                <c:pt idx="2889">
                  <c:v>19.398-19.404</c:v>
                </c:pt>
                <c:pt idx="2890">
                  <c:v>19.404-19.411</c:v>
                </c:pt>
                <c:pt idx="2891">
                  <c:v>19.411-19.418</c:v>
                </c:pt>
                <c:pt idx="2892">
                  <c:v>19.418-19.424</c:v>
                </c:pt>
                <c:pt idx="2893">
                  <c:v>19.424-19.431</c:v>
                </c:pt>
                <c:pt idx="2894">
                  <c:v>19.431-19.438</c:v>
                </c:pt>
                <c:pt idx="2895">
                  <c:v>19.438-19.444</c:v>
                </c:pt>
                <c:pt idx="2896">
                  <c:v>19.444-19.451</c:v>
                </c:pt>
                <c:pt idx="2897">
                  <c:v>19.451-19.458</c:v>
                </c:pt>
                <c:pt idx="2898">
                  <c:v>19.458-19.465</c:v>
                </c:pt>
                <c:pt idx="2899">
                  <c:v>19.465-19.471</c:v>
                </c:pt>
                <c:pt idx="2900">
                  <c:v>19.471-19.478</c:v>
                </c:pt>
                <c:pt idx="2901">
                  <c:v>19.478-19.485</c:v>
                </c:pt>
                <c:pt idx="2902">
                  <c:v>19.485-19.491</c:v>
                </c:pt>
                <c:pt idx="2903">
                  <c:v>19.491-19.498</c:v>
                </c:pt>
                <c:pt idx="2904">
                  <c:v>19.498-19.505</c:v>
                </c:pt>
                <c:pt idx="2905">
                  <c:v>19.505-19.512</c:v>
                </c:pt>
                <c:pt idx="2906">
                  <c:v>19.512-19.518</c:v>
                </c:pt>
                <c:pt idx="2907">
                  <c:v>19.518-19.525</c:v>
                </c:pt>
                <c:pt idx="2908">
                  <c:v>19.525-19.532</c:v>
                </c:pt>
                <c:pt idx="2909">
                  <c:v>19.532-19.538</c:v>
                </c:pt>
                <c:pt idx="2910">
                  <c:v>19.538-19.545</c:v>
                </c:pt>
                <c:pt idx="2911">
                  <c:v>19.545-19.552</c:v>
                </c:pt>
                <c:pt idx="2912">
                  <c:v>19.552-19.559</c:v>
                </c:pt>
                <c:pt idx="2913">
                  <c:v>19.559-19.565</c:v>
                </c:pt>
                <c:pt idx="2914">
                  <c:v>19.565-19.572</c:v>
                </c:pt>
                <c:pt idx="2915">
                  <c:v>19.572-19.579</c:v>
                </c:pt>
                <c:pt idx="2916">
                  <c:v>19.579-19.585</c:v>
                </c:pt>
                <c:pt idx="2917">
                  <c:v>19.585-19.592</c:v>
                </c:pt>
                <c:pt idx="2918">
                  <c:v>19.592-19.599</c:v>
                </c:pt>
                <c:pt idx="2919">
                  <c:v>19.599-19.606</c:v>
                </c:pt>
                <c:pt idx="2920">
                  <c:v>19.606-19.612</c:v>
                </c:pt>
                <c:pt idx="2921">
                  <c:v>19.612-19.619</c:v>
                </c:pt>
                <c:pt idx="2922">
                  <c:v>19.619-19.626</c:v>
                </c:pt>
                <c:pt idx="2923">
                  <c:v>19.626-19.632</c:v>
                </c:pt>
                <c:pt idx="2924">
                  <c:v>19.632-19.639</c:v>
                </c:pt>
                <c:pt idx="2925">
                  <c:v>19.639-19.646</c:v>
                </c:pt>
                <c:pt idx="2926">
                  <c:v>19.646-19.653</c:v>
                </c:pt>
                <c:pt idx="2927">
                  <c:v>19.653-19.659</c:v>
                </c:pt>
                <c:pt idx="2928">
                  <c:v>19.659-19.666</c:v>
                </c:pt>
                <c:pt idx="2929">
                  <c:v>19.666-19.673</c:v>
                </c:pt>
                <c:pt idx="2930">
                  <c:v>19.673-19.679</c:v>
                </c:pt>
                <c:pt idx="2931">
                  <c:v>19.679-19.686</c:v>
                </c:pt>
                <c:pt idx="2932">
                  <c:v>19.686-19.693</c:v>
                </c:pt>
                <c:pt idx="2933">
                  <c:v>19.693-19.699</c:v>
                </c:pt>
                <c:pt idx="2934">
                  <c:v>19.699-19.706</c:v>
                </c:pt>
                <c:pt idx="2935">
                  <c:v>19.706-19.713</c:v>
                </c:pt>
                <c:pt idx="2936">
                  <c:v>19.713-19.720</c:v>
                </c:pt>
                <c:pt idx="2937">
                  <c:v>19.720-19.726</c:v>
                </c:pt>
                <c:pt idx="2938">
                  <c:v>19.726-19.733</c:v>
                </c:pt>
                <c:pt idx="2939">
                  <c:v>19.733-19.740</c:v>
                </c:pt>
                <c:pt idx="2940">
                  <c:v>19.740-19.746</c:v>
                </c:pt>
                <c:pt idx="2941">
                  <c:v>19.746-19.753</c:v>
                </c:pt>
                <c:pt idx="2942">
                  <c:v>19.753-19.760</c:v>
                </c:pt>
                <c:pt idx="2943">
                  <c:v>19.760-19.767</c:v>
                </c:pt>
                <c:pt idx="2944">
                  <c:v>19.767-19.773</c:v>
                </c:pt>
                <c:pt idx="2945">
                  <c:v>19.773-19.780</c:v>
                </c:pt>
                <c:pt idx="2946">
                  <c:v>19.780-19.787</c:v>
                </c:pt>
                <c:pt idx="2947">
                  <c:v>19.787-19.793</c:v>
                </c:pt>
                <c:pt idx="2948">
                  <c:v>19.793-19.800</c:v>
                </c:pt>
                <c:pt idx="2949">
                  <c:v>19.800-19.807</c:v>
                </c:pt>
                <c:pt idx="2950">
                  <c:v>19.807-19.814</c:v>
                </c:pt>
                <c:pt idx="2951">
                  <c:v>19.814-19.820</c:v>
                </c:pt>
                <c:pt idx="2952">
                  <c:v>19.820-19.827</c:v>
                </c:pt>
                <c:pt idx="2953">
                  <c:v>19.827-19.834</c:v>
                </c:pt>
                <c:pt idx="2954">
                  <c:v>19.834-19.840</c:v>
                </c:pt>
                <c:pt idx="2955">
                  <c:v>19.840-19.847</c:v>
                </c:pt>
                <c:pt idx="2956">
                  <c:v>19.847-19.854</c:v>
                </c:pt>
                <c:pt idx="2957">
                  <c:v>19.854-19.861</c:v>
                </c:pt>
                <c:pt idx="2958">
                  <c:v>19.861-19.867</c:v>
                </c:pt>
                <c:pt idx="2959">
                  <c:v>19.867-19.874</c:v>
                </c:pt>
                <c:pt idx="2960">
                  <c:v>19.874-19.881</c:v>
                </c:pt>
                <c:pt idx="2961">
                  <c:v>19.881-19.887</c:v>
                </c:pt>
                <c:pt idx="2962">
                  <c:v>19.887-19.894</c:v>
                </c:pt>
                <c:pt idx="2963">
                  <c:v>19.894-19.901</c:v>
                </c:pt>
                <c:pt idx="2964">
                  <c:v>19.901-19.908</c:v>
                </c:pt>
                <c:pt idx="2965">
                  <c:v>19.908-19.914</c:v>
                </c:pt>
                <c:pt idx="2966">
                  <c:v>19.914-19.921</c:v>
                </c:pt>
                <c:pt idx="2967">
                  <c:v>19.921-19.928</c:v>
                </c:pt>
                <c:pt idx="2968">
                  <c:v>19.928-19.934</c:v>
                </c:pt>
                <c:pt idx="2969">
                  <c:v>19.934-19.941</c:v>
                </c:pt>
                <c:pt idx="2970">
                  <c:v>19.941-19.948</c:v>
                </c:pt>
                <c:pt idx="2971">
                  <c:v>19.948-19.954</c:v>
                </c:pt>
                <c:pt idx="2972">
                  <c:v>19.954-19.961</c:v>
                </c:pt>
                <c:pt idx="2973">
                  <c:v>19.961-19.968</c:v>
                </c:pt>
                <c:pt idx="2974">
                  <c:v>19.968-19.975</c:v>
                </c:pt>
                <c:pt idx="2975">
                  <c:v>19.975-19.981</c:v>
                </c:pt>
                <c:pt idx="2976">
                  <c:v>19.981-19.988</c:v>
                </c:pt>
                <c:pt idx="2977">
                  <c:v>19.988-19.995</c:v>
                </c:pt>
                <c:pt idx="2978">
                  <c:v>19.995-20.001</c:v>
                </c:pt>
                <c:pt idx="2979">
                  <c:v>20.001-20.008</c:v>
                </c:pt>
                <c:pt idx="2980">
                  <c:v>20.008-20.015</c:v>
                </c:pt>
                <c:pt idx="2981">
                  <c:v>20.015-20.022</c:v>
                </c:pt>
                <c:pt idx="2982">
                  <c:v>20.022-20.028</c:v>
                </c:pt>
                <c:pt idx="2983">
                  <c:v>20.028-20.035</c:v>
                </c:pt>
                <c:pt idx="2984">
                  <c:v>20.035-20.042</c:v>
                </c:pt>
                <c:pt idx="2985">
                  <c:v>20.042-20.048</c:v>
                </c:pt>
                <c:pt idx="2986">
                  <c:v>20.048-20.055</c:v>
                </c:pt>
                <c:pt idx="2987">
                  <c:v>20.055-20.062</c:v>
                </c:pt>
                <c:pt idx="2988">
                  <c:v>20.062-20.069</c:v>
                </c:pt>
                <c:pt idx="2989">
                  <c:v>20.069-20.075</c:v>
                </c:pt>
                <c:pt idx="2990">
                  <c:v>20.075-20.082</c:v>
                </c:pt>
                <c:pt idx="2991">
                  <c:v>20.082-20.089</c:v>
                </c:pt>
                <c:pt idx="2992">
                  <c:v>20.089-20.095</c:v>
                </c:pt>
                <c:pt idx="2993">
                  <c:v>20.095-20.102</c:v>
                </c:pt>
                <c:pt idx="2994">
                  <c:v>20.102-20.109</c:v>
                </c:pt>
                <c:pt idx="2995">
                  <c:v>20.109-20.116</c:v>
                </c:pt>
                <c:pt idx="2996">
                  <c:v>20.116-20.122</c:v>
                </c:pt>
                <c:pt idx="2997">
                  <c:v>20.122-20.129</c:v>
                </c:pt>
                <c:pt idx="2998">
                  <c:v>20.129-20.136</c:v>
                </c:pt>
                <c:pt idx="2999">
                  <c:v>20.136-20.142</c:v>
                </c:pt>
                <c:pt idx="3000">
                  <c:v>20.142-20.149</c:v>
                </c:pt>
                <c:pt idx="3001">
                  <c:v>20.149-20.156</c:v>
                </c:pt>
                <c:pt idx="3002">
                  <c:v>20.156-20.163</c:v>
                </c:pt>
                <c:pt idx="3003">
                  <c:v>20.163-20.169</c:v>
                </c:pt>
                <c:pt idx="3004">
                  <c:v>20.169-20.176</c:v>
                </c:pt>
                <c:pt idx="3005">
                  <c:v>20.176-20.183</c:v>
                </c:pt>
                <c:pt idx="3006">
                  <c:v>20.183-20.189</c:v>
                </c:pt>
                <c:pt idx="3007">
                  <c:v>20.189-20.196</c:v>
                </c:pt>
                <c:pt idx="3008">
                  <c:v>20.196-20.203</c:v>
                </c:pt>
                <c:pt idx="3009">
                  <c:v>20.203-20.210</c:v>
                </c:pt>
                <c:pt idx="3010">
                  <c:v>20.210-20.216</c:v>
                </c:pt>
                <c:pt idx="3011">
                  <c:v>20.216-20.223</c:v>
                </c:pt>
                <c:pt idx="3012">
                  <c:v>20.223-20.230</c:v>
                </c:pt>
                <c:pt idx="3013">
                  <c:v>20.230-20.236</c:v>
                </c:pt>
                <c:pt idx="3014">
                  <c:v>20.236-20.243</c:v>
                </c:pt>
                <c:pt idx="3015">
                  <c:v>20.243-20.250</c:v>
                </c:pt>
                <c:pt idx="3016">
                  <c:v>20.250-20.256</c:v>
                </c:pt>
                <c:pt idx="3017">
                  <c:v>20.256-20.263</c:v>
                </c:pt>
                <c:pt idx="3018">
                  <c:v>20.263-20.270</c:v>
                </c:pt>
                <c:pt idx="3019">
                  <c:v>20.270-20.277</c:v>
                </c:pt>
                <c:pt idx="3020">
                  <c:v>20.277-20.283</c:v>
                </c:pt>
                <c:pt idx="3021">
                  <c:v>20.283-20.290</c:v>
                </c:pt>
                <c:pt idx="3022">
                  <c:v>20.290-20.297</c:v>
                </c:pt>
                <c:pt idx="3023">
                  <c:v>20.297-20.303</c:v>
                </c:pt>
                <c:pt idx="3024">
                  <c:v>20.303-20.310</c:v>
                </c:pt>
                <c:pt idx="3025">
                  <c:v>20.310-20.317</c:v>
                </c:pt>
                <c:pt idx="3026">
                  <c:v>20.317-20.324</c:v>
                </c:pt>
                <c:pt idx="3027">
                  <c:v>20.324-20.330</c:v>
                </c:pt>
                <c:pt idx="3028">
                  <c:v>20.330-20.337</c:v>
                </c:pt>
                <c:pt idx="3029">
                  <c:v>20.337-20.344</c:v>
                </c:pt>
                <c:pt idx="3030">
                  <c:v>20.344-20.350</c:v>
                </c:pt>
                <c:pt idx="3031">
                  <c:v>20.350-20.357</c:v>
                </c:pt>
                <c:pt idx="3032">
                  <c:v>20.357-20.364</c:v>
                </c:pt>
                <c:pt idx="3033">
                  <c:v>20.364-20.371</c:v>
                </c:pt>
                <c:pt idx="3034">
                  <c:v>20.371-20.377</c:v>
                </c:pt>
                <c:pt idx="3035">
                  <c:v>20.377-20.384</c:v>
                </c:pt>
                <c:pt idx="3036">
                  <c:v>20.384-20.391</c:v>
                </c:pt>
                <c:pt idx="3037">
                  <c:v>20.391-20.397</c:v>
                </c:pt>
                <c:pt idx="3038">
                  <c:v>20.397-20.404</c:v>
                </c:pt>
                <c:pt idx="3039">
                  <c:v>20.404-20.411</c:v>
                </c:pt>
                <c:pt idx="3040">
                  <c:v>20.411-20.418</c:v>
                </c:pt>
                <c:pt idx="3041">
                  <c:v>20.418-20.424</c:v>
                </c:pt>
                <c:pt idx="3042">
                  <c:v>20.424-20.431</c:v>
                </c:pt>
                <c:pt idx="3043">
                  <c:v>20.431-20.438</c:v>
                </c:pt>
                <c:pt idx="3044">
                  <c:v>20.438-20.444</c:v>
                </c:pt>
                <c:pt idx="3045">
                  <c:v>20.444-20.451</c:v>
                </c:pt>
                <c:pt idx="3046">
                  <c:v>20.451-20.458</c:v>
                </c:pt>
                <c:pt idx="3047">
                  <c:v>20.458-20.465</c:v>
                </c:pt>
                <c:pt idx="3048">
                  <c:v>20.465-20.471</c:v>
                </c:pt>
                <c:pt idx="3049">
                  <c:v>20.471-20.478</c:v>
                </c:pt>
                <c:pt idx="3050">
                  <c:v>20.478-20.485</c:v>
                </c:pt>
                <c:pt idx="3051">
                  <c:v>20.485-20.491</c:v>
                </c:pt>
                <c:pt idx="3052">
                  <c:v>20.491-20.498</c:v>
                </c:pt>
                <c:pt idx="3053">
                  <c:v>20.498-20.505</c:v>
                </c:pt>
                <c:pt idx="3054">
                  <c:v>20.505-20.511</c:v>
                </c:pt>
                <c:pt idx="3055">
                  <c:v>20.511-20.518</c:v>
                </c:pt>
                <c:pt idx="3056">
                  <c:v>20.518-20.525</c:v>
                </c:pt>
                <c:pt idx="3057">
                  <c:v>20.525-20.532</c:v>
                </c:pt>
                <c:pt idx="3058">
                  <c:v>20.532-20.538</c:v>
                </c:pt>
                <c:pt idx="3059">
                  <c:v>20.538-20.545</c:v>
                </c:pt>
                <c:pt idx="3060">
                  <c:v>20.545-20.552</c:v>
                </c:pt>
                <c:pt idx="3061">
                  <c:v>20.552-20.558</c:v>
                </c:pt>
                <c:pt idx="3062">
                  <c:v>20.558-20.565</c:v>
                </c:pt>
                <c:pt idx="3063">
                  <c:v>20.565-20.572</c:v>
                </c:pt>
                <c:pt idx="3064">
                  <c:v>20.572-20.579</c:v>
                </c:pt>
                <c:pt idx="3065">
                  <c:v>20.579-20.585</c:v>
                </c:pt>
                <c:pt idx="3066">
                  <c:v>20.585-20.592</c:v>
                </c:pt>
                <c:pt idx="3067">
                  <c:v>20.592-20.599</c:v>
                </c:pt>
                <c:pt idx="3068">
                  <c:v>20.599-20.605</c:v>
                </c:pt>
                <c:pt idx="3069">
                  <c:v>20.605-20.612</c:v>
                </c:pt>
                <c:pt idx="3070">
                  <c:v>20.612-20.619</c:v>
                </c:pt>
                <c:pt idx="3071">
                  <c:v>20.619-20.626</c:v>
                </c:pt>
                <c:pt idx="3072">
                  <c:v>20.626-20.632</c:v>
                </c:pt>
                <c:pt idx="3073">
                  <c:v>20.632-20.639</c:v>
                </c:pt>
                <c:pt idx="3074">
                  <c:v>20.639-20.646</c:v>
                </c:pt>
                <c:pt idx="3075">
                  <c:v>20.646-20.652</c:v>
                </c:pt>
                <c:pt idx="3076">
                  <c:v>20.652-20.659</c:v>
                </c:pt>
                <c:pt idx="3077">
                  <c:v>20.659-20.666</c:v>
                </c:pt>
                <c:pt idx="3078">
                  <c:v>20.666-20.673</c:v>
                </c:pt>
                <c:pt idx="3079">
                  <c:v>20.673-20.679</c:v>
                </c:pt>
                <c:pt idx="3080">
                  <c:v>20.679-20.686</c:v>
                </c:pt>
                <c:pt idx="3081">
                  <c:v>20.686-20.693</c:v>
                </c:pt>
                <c:pt idx="3082">
                  <c:v>20.693-20.699</c:v>
                </c:pt>
                <c:pt idx="3083">
                  <c:v>20.699-20.706</c:v>
                </c:pt>
                <c:pt idx="3084">
                  <c:v>20.706-20.713</c:v>
                </c:pt>
                <c:pt idx="3085">
                  <c:v>20.713-20.720</c:v>
                </c:pt>
                <c:pt idx="3086">
                  <c:v>20.720-20.726</c:v>
                </c:pt>
                <c:pt idx="3087">
                  <c:v>20.726-20.733</c:v>
                </c:pt>
                <c:pt idx="3088">
                  <c:v>20.733-20.740</c:v>
                </c:pt>
                <c:pt idx="3089">
                  <c:v>20.740-20.746</c:v>
                </c:pt>
                <c:pt idx="3090">
                  <c:v>20.746-20.753</c:v>
                </c:pt>
                <c:pt idx="3091">
                  <c:v>20.753-20.760</c:v>
                </c:pt>
                <c:pt idx="3092">
                  <c:v>20.760-20.767</c:v>
                </c:pt>
                <c:pt idx="3093">
                  <c:v>20.767-20.773</c:v>
                </c:pt>
                <c:pt idx="3094">
                  <c:v>20.773-20.780</c:v>
                </c:pt>
                <c:pt idx="3095">
                  <c:v>20.780-20.787</c:v>
                </c:pt>
                <c:pt idx="3096">
                  <c:v>20.787-20.793</c:v>
                </c:pt>
                <c:pt idx="3097">
                  <c:v>20.793-20.800</c:v>
                </c:pt>
                <c:pt idx="3098">
                  <c:v>20.800-20.807</c:v>
                </c:pt>
                <c:pt idx="3099">
                  <c:v>20.807-20.813</c:v>
                </c:pt>
                <c:pt idx="3100">
                  <c:v>20.813-20.820</c:v>
                </c:pt>
                <c:pt idx="3101">
                  <c:v>20.820-20.827</c:v>
                </c:pt>
                <c:pt idx="3102">
                  <c:v>20.827-20.834</c:v>
                </c:pt>
                <c:pt idx="3103">
                  <c:v>20.834-20.840</c:v>
                </c:pt>
                <c:pt idx="3104">
                  <c:v>20.840-20.847</c:v>
                </c:pt>
                <c:pt idx="3105">
                  <c:v>20.847-20.854</c:v>
                </c:pt>
                <c:pt idx="3106">
                  <c:v>20.854-20.860</c:v>
                </c:pt>
                <c:pt idx="3107">
                  <c:v>20.860-20.867</c:v>
                </c:pt>
                <c:pt idx="3108">
                  <c:v>20.867-20.874</c:v>
                </c:pt>
                <c:pt idx="3109">
                  <c:v>20.874-20.881</c:v>
                </c:pt>
                <c:pt idx="3110">
                  <c:v>20.881-20.887</c:v>
                </c:pt>
                <c:pt idx="3111">
                  <c:v>20.887-20.894</c:v>
                </c:pt>
                <c:pt idx="3112">
                  <c:v>20.894-20.901</c:v>
                </c:pt>
                <c:pt idx="3113">
                  <c:v>20.901-20.907</c:v>
                </c:pt>
                <c:pt idx="3114">
                  <c:v>20.907-20.914</c:v>
                </c:pt>
                <c:pt idx="3115">
                  <c:v>20.914-20.921</c:v>
                </c:pt>
                <c:pt idx="3116">
                  <c:v>20.921-20.928</c:v>
                </c:pt>
                <c:pt idx="3117">
                  <c:v>20.928-20.934</c:v>
                </c:pt>
                <c:pt idx="3118">
                  <c:v>20.934-20.941</c:v>
                </c:pt>
                <c:pt idx="3119">
                  <c:v>20.941-20.948</c:v>
                </c:pt>
                <c:pt idx="3120">
                  <c:v>20.948-20.954</c:v>
                </c:pt>
                <c:pt idx="3121">
                  <c:v>20.954-20.961</c:v>
                </c:pt>
                <c:pt idx="3122">
                  <c:v>20.961-20.968</c:v>
                </c:pt>
                <c:pt idx="3123">
                  <c:v>20.968-20.975</c:v>
                </c:pt>
                <c:pt idx="3124">
                  <c:v>20.975-20.981</c:v>
                </c:pt>
                <c:pt idx="3125">
                  <c:v>20.981-20.988</c:v>
                </c:pt>
                <c:pt idx="3126">
                  <c:v>20.988-20.995</c:v>
                </c:pt>
                <c:pt idx="3127">
                  <c:v>20.995-21.001</c:v>
                </c:pt>
                <c:pt idx="3128">
                  <c:v>21.001-21.008</c:v>
                </c:pt>
                <c:pt idx="3129">
                  <c:v>21.008-21.015</c:v>
                </c:pt>
                <c:pt idx="3130">
                  <c:v>21.015-21.022</c:v>
                </c:pt>
                <c:pt idx="3131">
                  <c:v>21.022-21.028</c:v>
                </c:pt>
                <c:pt idx="3132">
                  <c:v>21.028-21.035</c:v>
                </c:pt>
                <c:pt idx="3133">
                  <c:v>21.035-21.042</c:v>
                </c:pt>
                <c:pt idx="3134">
                  <c:v>21.042-21.048</c:v>
                </c:pt>
                <c:pt idx="3135">
                  <c:v>21.048-21.055</c:v>
                </c:pt>
                <c:pt idx="3136">
                  <c:v>21.055-21.062</c:v>
                </c:pt>
                <c:pt idx="3137">
                  <c:v>21.062-21.068</c:v>
                </c:pt>
                <c:pt idx="3138">
                  <c:v>21.068-21.075</c:v>
                </c:pt>
                <c:pt idx="3139">
                  <c:v>21.075-21.082</c:v>
                </c:pt>
                <c:pt idx="3140">
                  <c:v>21.082-21.089</c:v>
                </c:pt>
                <c:pt idx="3141">
                  <c:v>21.089-21.095</c:v>
                </c:pt>
                <c:pt idx="3142">
                  <c:v>21.095-21.102</c:v>
                </c:pt>
                <c:pt idx="3143">
                  <c:v>21.102-21.109</c:v>
                </c:pt>
                <c:pt idx="3144">
                  <c:v>21.109-21.115</c:v>
                </c:pt>
                <c:pt idx="3145">
                  <c:v>21.115-21.122</c:v>
                </c:pt>
                <c:pt idx="3146">
                  <c:v>21.122-21.129</c:v>
                </c:pt>
                <c:pt idx="3147">
                  <c:v>21.129-21.136</c:v>
                </c:pt>
                <c:pt idx="3148">
                  <c:v>21.136-21.142</c:v>
                </c:pt>
                <c:pt idx="3149">
                  <c:v>21.142-21.149</c:v>
                </c:pt>
                <c:pt idx="3150">
                  <c:v>21.149-21.156</c:v>
                </c:pt>
                <c:pt idx="3151">
                  <c:v>21.156-21.162</c:v>
                </c:pt>
                <c:pt idx="3152">
                  <c:v>21.162-21.169</c:v>
                </c:pt>
                <c:pt idx="3153">
                  <c:v>21.169-21.176</c:v>
                </c:pt>
                <c:pt idx="3154">
                  <c:v>21.176-21.183</c:v>
                </c:pt>
                <c:pt idx="3155">
                  <c:v>21.183-21.189</c:v>
                </c:pt>
                <c:pt idx="3156">
                  <c:v>21.189-21.196</c:v>
                </c:pt>
                <c:pt idx="3157">
                  <c:v>21.196-21.203</c:v>
                </c:pt>
                <c:pt idx="3158">
                  <c:v>21.203-21.209</c:v>
                </c:pt>
                <c:pt idx="3159">
                  <c:v>21.209-21.216</c:v>
                </c:pt>
                <c:pt idx="3160">
                  <c:v>21.216-21.223</c:v>
                </c:pt>
                <c:pt idx="3161">
                  <c:v>21.223-21.230</c:v>
                </c:pt>
                <c:pt idx="3162">
                  <c:v>21.230-21.236</c:v>
                </c:pt>
                <c:pt idx="3163">
                  <c:v>21.236-21.243</c:v>
                </c:pt>
                <c:pt idx="3164">
                  <c:v>21.243-21.250</c:v>
                </c:pt>
                <c:pt idx="3165">
                  <c:v>21.250-21.256</c:v>
                </c:pt>
                <c:pt idx="3166">
                  <c:v>21.256-21.263</c:v>
                </c:pt>
                <c:pt idx="3167">
                  <c:v>21.263-21.270</c:v>
                </c:pt>
                <c:pt idx="3168">
                  <c:v>21.270-21.277</c:v>
                </c:pt>
                <c:pt idx="3169">
                  <c:v>21.277-21.283</c:v>
                </c:pt>
                <c:pt idx="3170">
                  <c:v>21.283-21.290</c:v>
                </c:pt>
                <c:pt idx="3171">
                  <c:v>21.290-21.297</c:v>
                </c:pt>
                <c:pt idx="3172">
                  <c:v>21.297-21.303</c:v>
                </c:pt>
                <c:pt idx="3173">
                  <c:v>21.303-21.310</c:v>
                </c:pt>
                <c:pt idx="3174">
                  <c:v>21.310-21.317</c:v>
                </c:pt>
                <c:pt idx="3175">
                  <c:v>21.317-21.324</c:v>
                </c:pt>
                <c:pt idx="3176">
                  <c:v>21.324-21.330</c:v>
                </c:pt>
                <c:pt idx="3177">
                  <c:v>21.330-21.337</c:v>
                </c:pt>
                <c:pt idx="3178">
                  <c:v>21.337-21.344</c:v>
                </c:pt>
                <c:pt idx="3179">
                  <c:v>21.344-21.350</c:v>
                </c:pt>
                <c:pt idx="3180">
                  <c:v>21.350-21.357</c:v>
                </c:pt>
                <c:pt idx="3181">
                  <c:v>21.357-21.364</c:v>
                </c:pt>
                <c:pt idx="3182">
                  <c:v>21.364-21.370</c:v>
                </c:pt>
                <c:pt idx="3183">
                  <c:v>21.370-21.377</c:v>
                </c:pt>
                <c:pt idx="3184">
                  <c:v>21.377-21.384</c:v>
                </c:pt>
                <c:pt idx="3185">
                  <c:v>21.384-21.391</c:v>
                </c:pt>
                <c:pt idx="3186">
                  <c:v>21.391-21.397</c:v>
                </c:pt>
                <c:pt idx="3187">
                  <c:v>21.397-21.404</c:v>
                </c:pt>
                <c:pt idx="3188">
                  <c:v>21.404-21.411</c:v>
                </c:pt>
                <c:pt idx="3189">
                  <c:v>21.411-21.417</c:v>
                </c:pt>
                <c:pt idx="3190">
                  <c:v>21.417-21.424</c:v>
                </c:pt>
                <c:pt idx="3191">
                  <c:v>21.424-21.431</c:v>
                </c:pt>
                <c:pt idx="3192">
                  <c:v>21.431-21.438</c:v>
                </c:pt>
                <c:pt idx="3193">
                  <c:v>21.438-21.444</c:v>
                </c:pt>
                <c:pt idx="3194">
                  <c:v>21.444-21.451</c:v>
                </c:pt>
                <c:pt idx="3195">
                  <c:v>21.451-21.458</c:v>
                </c:pt>
                <c:pt idx="3196">
                  <c:v>21.458-21.464</c:v>
                </c:pt>
                <c:pt idx="3197">
                  <c:v>21.464-21.471</c:v>
                </c:pt>
                <c:pt idx="3198">
                  <c:v>21.471-21.478</c:v>
                </c:pt>
                <c:pt idx="3199">
                  <c:v>21.478-21.485</c:v>
                </c:pt>
                <c:pt idx="3200">
                  <c:v>21.485-21.491</c:v>
                </c:pt>
                <c:pt idx="3201">
                  <c:v>21.491-21.498</c:v>
                </c:pt>
                <c:pt idx="3202">
                  <c:v>21.498-21.505</c:v>
                </c:pt>
                <c:pt idx="3203">
                  <c:v>21.505-21.511</c:v>
                </c:pt>
                <c:pt idx="3204">
                  <c:v>21.511-21.518</c:v>
                </c:pt>
                <c:pt idx="3205">
                  <c:v>21.518-21.525</c:v>
                </c:pt>
                <c:pt idx="3206">
                  <c:v>21.525-21.532</c:v>
                </c:pt>
                <c:pt idx="3207">
                  <c:v>21.532-21.538</c:v>
                </c:pt>
                <c:pt idx="3208">
                  <c:v>21.538-21.545</c:v>
                </c:pt>
                <c:pt idx="3209">
                  <c:v>21.545-21.552</c:v>
                </c:pt>
                <c:pt idx="3210">
                  <c:v>21.552-21.558</c:v>
                </c:pt>
                <c:pt idx="3211">
                  <c:v>21.558-21.565</c:v>
                </c:pt>
                <c:pt idx="3212">
                  <c:v>21.565-21.572</c:v>
                </c:pt>
                <c:pt idx="3213">
                  <c:v>21.572-21.579</c:v>
                </c:pt>
                <c:pt idx="3214">
                  <c:v>21.579-21.585</c:v>
                </c:pt>
                <c:pt idx="3215">
                  <c:v>21.585-21.592</c:v>
                </c:pt>
                <c:pt idx="3216">
                  <c:v>21.592-21.599</c:v>
                </c:pt>
                <c:pt idx="3217">
                  <c:v>21.599-21.605</c:v>
                </c:pt>
                <c:pt idx="3218">
                  <c:v>21.605-21.612</c:v>
                </c:pt>
                <c:pt idx="3219">
                  <c:v>21.612-21.619</c:v>
                </c:pt>
                <c:pt idx="3220">
                  <c:v>21.619-21.625</c:v>
                </c:pt>
                <c:pt idx="3221">
                  <c:v>21.625-21.632</c:v>
                </c:pt>
                <c:pt idx="3222">
                  <c:v>21.632-21.639</c:v>
                </c:pt>
                <c:pt idx="3223">
                  <c:v>21.639-21.646</c:v>
                </c:pt>
                <c:pt idx="3224">
                  <c:v>21.646-21.652</c:v>
                </c:pt>
                <c:pt idx="3225">
                  <c:v>21.652-21.659</c:v>
                </c:pt>
                <c:pt idx="3226">
                  <c:v>21.659-21.666</c:v>
                </c:pt>
                <c:pt idx="3227">
                  <c:v>21.666-21.672</c:v>
                </c:pt>
                <c:pt idx="3228">
                  <c:v>21.672-21.679</c:v>
                </c:pt>
                <c:pt idx="3229">
                  <c:v>21.679-21.686</c:v>
                </c:pt>
                <c:pt idx="3230">
                  <c:v>21.686-21.693</c:v>
                </c:pt>
                <c:pt idx="3231">
                  <c:v>21.693-21.699</c:v>
                </c:pt>
                <c:pt idx="3232">
                  <c:v>21.699-21.706</c:v>
                </c:pt>
                <c:pt idx="3233">
                  <c:v>21.706-21.713</c:v>
                </c:pt>
                <c:pt idx="3234">
                  <c:v>21.713-21.719</c:v>
                </c:pt>
                <c:pt idx="3235">
                  <c:v>21.719-21.726</c:v>
                </c:pt>
                <c:pt idx="3236">
                  <c:v>21.726-21.733</c:v>
                </c:pt>
                <c:pt idx="3237">
                  <c:v>21.733-21.740</c:v>
                </c:pt>
                <c:pt idx="3238">
                  <c:v>21.740-21.746</c:v>
                </c:pt>
                <c:pt idx="3239">
                  <c:v>21.746-21.753</c:v>
                </c:pt>
                <c:pt idx="3240">
                  <c:v>21.753-21.760</c:v>
                </c:pt>
                <c:pt idx="3241">
                  <c:v>21.760-21.766</c:v>
                </c:pt>
                <c:pt idx="3242">
                  <c:v>21.766-21.773</c:v>
                </c:pt>
                <c:pt idx="3243">
                  <c:v>21.773-21.780</c:v>
                </c:pt>
                <c:pt idx="3244">
                  <c:v>21.780-21.787</c:v>
                </c:pt>
                <c:pt idx="3245">
                  <c:v>21.787-21.793</c:v>
                </c:pt>
                <c:pt idx="3246">
                  <c:v>21.793-21.800</c:v>
                </c:pt>
                <c:pt idx="3247">
                  <c:v>21.800-21.807</c:v>
                </c:pt>
                <c:pt idx="3248">
                  <c:v>21.807-21.813</c:v>
                </c:pt>
                <c:pt idx="3249">
                  <c:v>21.813-21.820</c:v>
                </c:pt>
                <c:pt idx="3250">
                  <c:v>21.820-21.827</c:v>
                </c:pt>
                <c:pt idx="3251">
                  <c:v>21.827-21.834</c:v>
                </c:pt>
                <c:pt idx="3252">
                  <c:v>21.834-21.840</c:v>
                </c:pt>
                <c:pt idx="3253">
                  <c:v>21.840-21.847</c:v>
                </c:pt>
                <c:pt idx="3254">
                  <c:v>21.847-21.854</c:v>
                </c:pt>
                <c:pt idx="3255">
                  <c:v>21.854-21.860</c:v>
                </c:pt>
                <c:pt idx="3256">
                  <c:v>21.860-21.867</c:v>
                </c:pt>
                <c:pt idx="3257">
                  <c:v>21.867-21.874</c:v>
                </c:pt>
                <c:pt idx="3258">
                  <c:v>21.874-21.880</c:v>
                </c:pt>
                <c:pt idx="3259">
                  <c:v>21.880-21.887</c:v>
                </c:pt>
                <c:pt idx="3260">
                  <c:v>21.887-21.894</c:v>
                </c:pt>
                <c:pt idx="3261">
                  <c:v>21.894-21.901</c:v>
                </c:pt>
                <c:pt idx="3262">
                  <c:v>21.901-21.907</c:v>
                </c:pt>
                <c:pt idx="3263">
                  <c:v>21.907-21.914</c:v>
                </c:pt>
                <c:pt idx="3264">
                  <c:v>21.914-21.921</c:v>
                </c:pt>
                <c:pt idx="3265">
                  <c:v>21.921-21.927</c:v>
                </c:pt>
                <c:pt idx="3266">
                  <c:v>21.927-21.934</c:v>
                </c:pt>
                <c:pt idx="3267">
                  <c:v>21.934-21.941</c:v>
                </c:pt>
                <c:pt idx="3268">
                  <c:v>21.941-21.948</c:v>
                </c:pt>
                <c:pt idx="3269">
                  <c:v>21.948-21.954</c:v>
                </c:pt>
                <c:pt idx="3270">
                  <c:v>21.954-21.961</c:v>
                </c:pt>
                <c:pt idx="3271">
                  <c:v>21.961-21.968</c:v>
                </c:pt>
                <c:pt idx="3272">
                  <c:v>21.968-21.974</c:v>
                </c:pt>
                <c:pt idx="3273">
                  <c:v>21.974-21.981</c:v>
                </c:pt>
                <c:pt idx="3274">
                  <c:v>21.981-21.988</c:v>
                </c:pt>
                <c:pt idx="3275">
                  <c:v>21.988-21.995</c:v>
                </c:pt>
                <c:pt idx="3276">
                  <c:v>21.995-22.001</c:v>
                </c:pt>
                <c:pt idx="3277">
                  <c:v>22.001-22.008</c:v>
                </c:pt>
                <c:pt idx="3278">
                  <c:v>22.008-22.015</c:v>
                </c:pt>
                <c:pt idx="3279">
                  <c:v>22.015-22.021</c:v>
                </c:pt>
                <c:pt idx="3280">
                  <c:v>22.021-22.028</c:v>
                </c:pt>
                <c:pt idx="3281">
                  <c:v>22.028-22.035</c:v>
                </c:pt>
                <c:pt idx="3282">
                  <c:v>22.035-22.042</c:v>
                </c:pt>
                <c:pt idx="3283">
                  <c:v>22.042-22.048</c:v>
                </c:pt>
                <c:pt idx="3284">
                  <c:v>22.048-22.055</c:v>
                </c:pt>
                <c:pt idx="3285">
                  <c:v>22.055-22.062</c:v>
                </c:pt>
                <c:pt idx="3286">
                  <c:v>22.062-22.068</c:v>
                </c:pt>
                <c:pt idx="3287">
                  <c:v>22.068-22.075</c:v>
                </c:pt>
                <c:pt idx="3288">
                  <c:v>22.075-22.082</c:v>
                </c:pt>
                <c:pt idx="3289">
                  <c:v>22.082-22.089</c:v>
                </c:pt>
                <c:pt idx="3290">
                  <c:v>22.089-22.095</c:v>
                </c:pt>
                <c:pt idx="3291">
                  <c:v>22.095-22.102</c:v>
                </c:pt>
                <c:pt idx="3292">
                  <c:v>22.102-22.109</c:v>
                </c:pt>
                <c:pt idx="3293">
                  <c:v>22.109-22.115</c:v>
                </c:pt>
                <c:pt idx="3294">
                  <c:v>22.115-22.122</c:v>
                </c:pt>
                <c:pt idx="3295">
                  <c:v>22.122-22.129</c:v>
                </c:pt>
                <c:pt idx="3296">
                  <c:v>22.129-22.136</c:v>
                </c:pt>
                <c:pt idx="3297">
                  <c:v>22.136-22.142</c:v>
                </c:pt>
                <c:pt idx="3298">
                  <c:v>22.142-22.149</c:v>
                </c:pt>
                <c:pt idx="3299">
                  <c:v>22.149-22.156</c:v>
                </c:pt>
                <c:pt idx="3300">
                  <c:v>22.156-22.162</c:v>
                </c:pt>
                <c:pt idx="3301">
                  <c:v>22.162-22.169</c:v>
                </c:pt>
                <c:pt idx="3302">
                  <c:v>22.169-22.176</c:v>
                </c:pt>
                <c:pt idx="3303">
                  <c:v>22.176-22.182</c:v>
                </c:pt>
                <c:pt idx="3304">
                  <c:v>22.182-22.189</c:v>
                </c:pt>
                <c:pt idx="3305">
                  <c:v>22.189-22.196</c:v>
                </c:pt>
                <c:pt idx="3306">
                  <c:v>22.196-22.203</c:v>
                </c:pt>
                <c:pt idx="3307">
                  <c:v>22.203-22.209</c:v>
                </c:pt>
                <c:pt idx="3308">
                  <c:v>22.209-22.216</c:v>
                </c:pt>
                <c:pt idx="3309">
                  <c:v>22.216-22.223</c:v>
                </c:pt>
                <c:pt idx="3310">
                  <c:v>22.223-22.229</c:v>
                </c:pt>
                <c:pt idx="3311">
                  <c:v>22.229-22.236</c:v>
                </c:pt>
                <c:pt idx="3312">
                  <c:v>22.236-22.243</c:v>
                </c:pt>
                <c:pt idx="3313">
                  <c:v>22.243-22.250</c:v>
                </c:pt>
                <c:pt idx="3314">
                  <c:v>22.250-22.256</c:v>
                </c:pt>
                <c:pt idx="3315">
                  <c:v>22.256-22.263</c:v>
                </c:pt>
                <c:pt idx="3316">
                  <c:v>22.263-22.270</c:v>
                </c:pt>
                <c:pt idx="3317">
                  <c:v>22.270-22.276</c:v>
                </c:pt>
                <c:pt idx="3318">
                  <c:v>22.276-22.283</c:v>
                </c:pt>
                <c:pt idx="3319">
                  <c:v>22.283-22.290</c:v>
                </c:pt>
                <c:pt idx="3320">
                  <c:v>22.290-22.297</c:v>
                </c:pt>
                <c:pt idx="3321">
                  <c:v>22.297-22.303</c:v>
                </c:pt>
                <c:pt idx="3322">
                  <c:v>22.303-22.310</c:v>
                </c:pt>
                <c:pt idx="3323">
                  <c:v>22.310-22.317</c:v>
                </c:pt>
                <c:pt idx="3324">
                  <c:v>22.317-22.323</c:v>
                </c:pt>
                <c:pt idx="3325">
                  <c:v>22.323-22.330</c:v>
                </c:pt>
                <c:pt idx="3326">
                  <c:v>22.330-22.337</c:v>
                </c:pt>
                <c:pt idx="3327">
                  <c:v>22.337-22.344</c:v>
                </c:pt>
                <c:pt idx="3328">
                  <c:v>22.344-22.350</c:v>
                </c:pt>
                <c:pt idx="3329">
                  <c:v>22.350-22.357</c:v>
                </c:pt>
                <c:pt idx="3330">
                  <c:v>22.357-22.364</c:v>
                </c:pt>
                <c:pt idx="3331">
                  <c:v>22.364-22.370</c:v>
                </c:pt>
                <c:pt idx="3332">
                  <c:v>22.370-22.377</c:v>
                </c:pt>
                <c:pt idx="3333">
                  <c:v>22.377-22.384</c:v>
                </c:pt>
                <c:pt idx="3334">
                  <c:v>22.384-22.391</c:v>
                </c:pt>
                <c:pt idx="3335">
                  <c:v>22.391-22.397</c:v>
                </c:pt>
                <c:pt idx="3336">
                  <c:v>22.397-22.404</c:v>
                </c:pt>
                <c:pt idx="3337">
                  <c:v>22.404-22.411</c:v>
                </c:pt>
                <c:pt idx="3338">
                  <c:v>22.411-22.417</c:v>
                </c:pt>
                <c:pt idx="3339">
                  <c:v>22.417-22.424</c:v>
                </c:pt>
                <c:pt idx="3340">
                  <c:v>22.424-22.431</c:v>
                </c:pt>
                <c:pt idx="3341">
                  <c:v>22.431-22.437</c:v>
                </c:pt>
                <c:pt idx="3342">
                  <c:v>22.437-22.444</c:v>
                </c:pt>
                <c:pt idx="3343">
                  <c:v>22.444-22.451</c:v>
                </c:pt>
                <c:pt idx="3344">
                  <c:v>22.451-22.458</c:v>
                </c:pt>
                <c:pt idx="3345">
                  <c:v>22.458-22.464</c:v>
                </c:pt>
                <c:pt idx="3346">
                  <c:v>22.464-22.471</c:v>
                </c:pt>
                <c:pt idx="3347">
                  <c:v>22.471-22.478</c:v>
                </c:pt>
                <c:pt idx="3348">
                  <c:v>22.478-22.484</c:v>
                </c:pt>
                <c:pt idx="3349">
                  <c:v>22.484-22.491</c:v>
                </c:pt>
                <c:pt idx="3350">
                  <c:v>22.491-22.498</c:v>
                </c:pt>
                <c:pt idx="3351">
                  <c:v>22.498-22.505</c:v>
                </c:pt>
                <c:pt idx="3352">
                  <c:v>22.505-22.511</c:v>
                </c:pt>
                <c:pt idx="3353">
                  <c:v>22.511-22.518</c:v>
                </c:pt>
                <c:pt idx="3354">
                  <c:v>22.518-22.525</c:v>
                </c:pt>
                <c:pt idx="3355">
                  <c:v>22.525-22.531</c:v>
                </c:pt>
                <c:pt idx="3356">
                  <c:v>22.531-22.538</c:v>
                </c:pt>
                <c:pt idx="3357">
                  <c:v>22.538-22.545</c:v>
                </c:pt>
                <c:pt idx="3358">
                  <c:v>22.545-22.552</c:v>
                </c:pt>
                <c:pt idx="3359">
                  <c:v>22.552-22.558</c:v>
                </c:pt>
                <c:pt idx="3360">
                  <c:v>22.558-22.565</c:v>
                </c:pt>
                <c:pt idx="3361">
                  <c:v>22.565-22.572</c:v>
                </c:pt>
                <c:pt idx="3362">
                  <c:v>22.572-22.578</c:v>
                </c:pt>
                <c:pt idx="3363">
                  <c:v>22.578-22.585</c:v>
                </c:pt>
                <c:pt idx="3364">
                  <c:v>22.585-22.592</c:v>
                </c:pt>
                <c:pt idx="3365">
                  <c:v>22.592-22.599</c:v>
                </c:pt>
                <c:pt idx="3366">
                  <c:v>22.599-22.605</c:v>
                </c:pt>
                <c:pt idx="3367">
                  <c:v>22.605-22.612</c:v>
                </c:pt>
                <c:pt idx="3368">
                  <c:v>22.612-22.619</c:v>
                </c:pt>
                <c:pt idx="3369">
                  <c:v>22.619-22.625</c:v>
                </c:pt>
                <c:pt idx="3370">
                  <c:v>22.625-22.632</c:v>
                </c:pt>
                <c:pt idx="3371">
                  <c:v>22.632-22.639</c:v>
                </c:pt>
                <c:pt idx="3372">
                  <c:v>22.639-22.646</c:v>
                </c:pt>
                <c:pt idx="3373">
                  <c:v>22.646-22.652</c:v>
                </c:pt>
                <c:pt idx="3374">
                  <c:v>22.652-22.659</c:v>
                </c:pt>
                <c:pt idx="3375">
                  <c:v>22.659-22.666</c:v>
                </c:pt>
                <c:pt idx="3376">
                  <c:v>22.666-22.672</c:v>
                </c:pt>
                <c:pt idx="3377">
                  <c:v>22.672-22.679</c:v>
                </c:pt>
                <c:pt idx="3378">
                  <c:v>22.679-22.686</c:v>
                </c:pt>
                <c:pt idx="3379">
                  <c:v>22.686-22.693</c:v>
                </c:pt>
                <c:pt idx="3380">
                  <c:v>22.693-22.699</c:v>
                </c:pt>
                <c:pt idx="3381">
                  <c:v>22.699-22.706</c:v>
                </c:pt>
                <c:pt idx="3382">
                  <c:v>22.706-22.713</c:v>
                </c:pt>
                <c:pt idx="3383">
                  <c:v>22.713-22.719</c:v>
                </c:pt>
                <c:pt idx="3384">
                  <c:v>22.719-22.726</c:v>
                </c:pt>
                <c:pt idx="3385">
                  <c:v>22.726-22.733</c:v>
                </c:pt>
                <c:pt idx="3386">
                  <c:v>22.733-22.739</c:v>
                </c:pt>
                <c:pt idx="3387">
                  <c:v>22.739-22.746</c:v>
                </c:pt>
                <c:pt idx="3388">
                  <c:v>22.746-22.753</c:v>
                </c:pt>
                <c:pt idx="3389">
                  <c:v>22.753-22.760</c:v>
                </c:pt>
                <c:pt idx="3390">
                  <c:v>22.760-22.766</c:v>
                </c:pt>
                <c:pt idx="3391">
                  <c:v>22.766-22.773</c:v>
                </c:pt>
                <c:pt idx="3392">
                  <c:v>22.773-22.780</c:v>
                </c:pt>
                <c:pt idx="3393">
                  <c:v>22.780-22.786</c:v>
                </c:pt>
                <c:pt idx="3394">
                  <c:v>22.786-22.793</c:v>
                </c:pt>
                <c:pt idx="3395">
                  <c:v>22.793-22.800</c:v>
                </c:pt>
                <c:pt idx="3396">
                  <c:v>22.800-22.807</c:v>
                </c:pt>
                <c:pt idx="3397">
                  <c:v>22.807-22.813</c:v>
                </c:pt>
                <c:pt idx="3398">
                  <c:v>22.813-22.820</c:v>
                </c:pt>
                <c:pt idx="3399">
                  <c:v>22.820-22.827</c:v>
                </c:pt>
                <c:pt idx="3400">
                  <c:v>22.827-22.833</c:v>
                </c:pt>
                <c:pt idx="3401">
                  <c:v>22.833-22.840</c:v>
                </c:pt>
                <c:pt idx="3402">
                  <c:v>22.840-22.847</c:v>
                </c:pt>
                <c:pt idx="3403">
                  <c:v>22.847-22.854</c:v>
                </c:pt>
                <c:pt idx="3404">
                  <c:v>22.854-22.860</c:v>
                </c:pt>
                <c:pt idx="3405">
                  <c:v>22.860-22.867</c:v>
                </c:pt>
                <c:pt idx="3406">
                  <c:v>22.867-22.874</c:v>
                </c:pt>
                <c:pt idx="3407">
                  <c:v>22.874-22.880</c:v>
                </c:pt>
                <c:pt idx="3408">
                  <c:v>22.880-22.887</c:v>
                </c:pt>
                <c:pt idx="3409">
                  <c:v>22.887-22.894</c:v>
                </c:pt>
                <c:pt idx="3410">
                  <c:v>22.894-22.901</c:v>
                </c:pt>
                <c:pt idx="3411">
                  <c:v>22.901-22.907</c:v>
                </c:pt>
                <c:pt idx="3412">
                  <c:v>22.907-22.914</c:v>
                </c:pt>
                <c:pt idx="3413">
                  <c:v>22.914-22.921</c:v>
                </c:pt>
                <c:pt idx="3414">
                  <c:v>22.921-22.927</c:v>
                </c:pt>
                <c:pt idx="3415">
                  <c:v>22.927-22.934</c:v>
                </c:pt>
                <c:pt idx="3416">
                  <c:v>22.934-22.941</c:v>
                </c:pt>
                <c:pt idx="3417">
                  <c:v>22.941-22.948</c:v>
                </c:pt>
                <c:pt idx="3418">
                  <c:v>22.948-22.954</c:v>
                </c:pt>
                <c:pt idx="3419">
                  <c:v>22.954-22.961</c:v>
                </c:pt>
                <c:pt idx="3420">
                  <c:v>22.961-22.968</c:v>
                </c:pt>
                <c:pt idx="3421">
                  <c:v>22.968-22.974</c:v>
                </c:pt>
                <c:pt idx="3422">
                  <c:v>22.974-22.981</c:v>
                </c:pt>
                <c:pt idx="3423">
                  <c:v>22.981-22.988</c:v>
                </c:pt>
                <c:pt idx="3424">
                  <c:v>22.988-22.994</c:v>
                </c:pt>
                <c:pt idx="3425">
                  <c:v>22.994-23.001</c:v>
                </c:pt>
                <c:pt idx="3426">
                  <c:v>23.001-23.008</c:v>
                </c:pt>
                <c:pt idx="3427">
                  <c:v>23.008-23.015</c:v>
                </c:pt>
                <c:pt idx="3428">
                  <c:v>23.015-23.021</c:v>
                </c:pt>
                <c:pt idx="3429">
                  <c:v>23.021-23.028</c:v>
                </c:pt>
                <c:pt idx="3430">
                  <c:v>23.028-23.035</c:v>
                </c:pt>
                <c:pt idx="3431">
                  <c:v>23.035-23.041</c:v>
                </c:pt>
                <c:pt idx="3432">
                  <c:v>23.041-23.048</c:v>
                </c:pt>
                <c:pt idx="3433">
                  <c:v>23.048-23.055</c:v>
                </c:pt>
                <c:pt idx="3434">
                  <c:v>23.055-23.062</c:v>
                </c:pt>
                <c:pt idx="3435">
                  <c:v>23.062-23.068</c:v>
                </c:pt>
                <c:pt idx="3436">
                  <c:v>23.068-23.075</c:v>
                </c:pt>
                <c:pt idx="3437">
                  <c:v>23.075-23.082</c:v>
                </c:pt>
                <c:pt idx="3438">
                  <c:v>23.082-23.088</c:v>
                </c:pt>
                <c:pt idx="3439">
                  <c:v>23.088-23.095</c:v>
                </c:pt>
                <c:pt idx="3440">
                  <c:v>23.095-23.102</c:v>
                </c:pt>
                <c:pt idx="3441">
                  <c:v>23.102-23.109</c:v>
                </c:pt>
                <c:pt idx="3442">
                  <c:v>23.109-23.115</c:v>
                </c:pt>
                <c:pt idx="3443">
                  <c:v>23.115-23.122</c:v>
                </c:pt>
                <c:pt idx="3444">
                  <c:v>23.122-23.129</c:v>
                </c:pt>
                <c:pt idx="3445">
                  <c:v>23.129-23.135</c:v>
                </c:pt>
                <c:pt idx="3446">
                  <c:v>23.135-23.142</c:v>
                </c:pt>
                <c:pt idx="3447">
                  <c:v>23.142-23.149</c:v>
                </c:pt>
                <c:pt idx="3448">
                  <c:v>23.149-23.156</c:v>
                </c:pt>
                <c:pt idx="3449">
                  <c:v>23.156-23.162</c:v>
                </c:pt>
                <c:pt idx="3450">
                  <c:v>23.162-23.169</c:v>
                </c:pt>
                <c:pt idx="3451">
                  <c:v>23.169-23.176</c:v>
                </c:pt>
                <c:pt idx="3452">
                  <c:v>23.176-23.182</c:v>
                </c:pt>
                <c:pt idx="3453">
                  <c:v>23.182-23.189</c:v>
                </c:pt>
                <c:pt idx="3454">
                  <c:v>23.189-23.196</c:v>
                </c:pt>
                <c:pt idx="3455">
                  <c:v>23.196-23.203</c:v>
                </c:pt>
                <c:pt idx="3456">
                  <c:v>23.203-23.209</c:v>
                </c:pt>
                <c:pt idx="3457">
                  <c:v>23.209-23.216</c:v>
                </c:pt>
                <c:pt idx="3458">
                  <c:v>23.216-23.223</c:v>
                </c:pt>
                <c:pt idx="3459">
                  <c:v>23.223-23.229</c:v>
                </c:pt>
                <c:pt idx="3460">
                  <c:v>23.229-23.236</c:v>
                </c:pt>
                <c:pt idx="3461">
                  <c:v>23.236-23.243</c:v>
                </c:pt>
                <c:pt idx="3462">
                  <c:v>23.243-23.250</c:v>
                </c:pt>
                <c:pt idx="3463">
                  <c:v>23.250-23.256</c:v>
                </c:pt>
                <c:pt idx="3464">
                  <c:v>23.256-23.263</c:v>
                </c:pt>
                <c:pt idx="3465">
                  <c:v>23.263-23.270</c:v>
                </c:pt>
                <c:pt idx="3466">
                  <c:v>23.270-23.276</c:v>
                </c:pt>
                <c:pt idx="3467">
                  <c:v>23.276-23.283</c:v>
                </c:pt>
                <c:pt idx="3468">
                  <c:v>23.283-23.290</c:v>
                </c:pt>
                <c:pt idx="3469">
                  <c:v>23.290-23.296</c:v>
                </c:pt>
                <c:pt idx="3470">
                  <c:v>23.296-23.303</c:v>
                </c:pt>
                <c:pt idx="3471">
                  <c:v>23.303-23.310</c:v>
                </c:pt>
                <c:pt idx="3472">
                  <c:v>23.310-23.317</c:v>
                </c:pt>
                <c:pt idx="3473">
                  <c:v>23.317-23.323</c:v>
                </c:pt>
                <c:pt idx="3474">
                  <c:v>23.323-23.330</c:v>
                </c:pt>
                <c:pt idx="3475">
                  <c:v>23.330-23.337</c:v>
                </c:pt>
                <c:pt idx="3476">
                  <c:v>23.337-23.343</c:v>
                </c:pt>
                <c:pt idx="3477">
                  <c:v>23.343-23.350</c:v>
                </c:pt>
                <c:pt idx="3478">
                  <c:v>23.350-23.357</c:v>
                </c:pt>
                <c:pt idx="3479">
                  <c:v>23.357-23.364</c:v>
                </c:pt>
                <c:pt idx="3480">
                  <c:v>23.364-23.370</c:v>
                </c:pt>
                <c:pt idx="3481">
                  <c:v>23.370-23.377</c:v>
                </c:pt>
                <c:pt idx="3482">
                  <c:v>23.377-23.384</c:v>
                </c:pt>
                <c:pt idx="3483">
                  <c:v>23.384-23.390</c:v>
                </c:pt>
                <c:pt idx="3484">
                  <c:v>23.390-23.397</c:v>
                </c:pt>
                <c:pt idx="3485">
                  <c:v>23.397-23.404</c:v>
                </c:pt>
                <c:pt idx="3486">
                  <c:v>23.404-23.411</c:v>
                </c:pt>
                <c:pt idx="3487">
                  <c:v>23.411-23.417</c:v>
                </c:pt>
                <c:pt idx="3488">
                  <c:v>23.417-23.424</c:v>
                </c:pt>
                <c:pt idx="3489">
                  <c:v>23.424-23.431</c:v>
                </c:pt>
                <c:pt idx="3490">
                  <c:v>23.431-23.437</c:v>
                </c:pt>
                <c:pt idx="3491">
                  <c:v>23.437-23.444</c:v>
                </c:pt>
                <c:pt idx="3492">
                  <c:v>23.444-23.451</c:v>
                </c:pt>
                <c:pt idx="3493">
                  <c:v>23.451-23.458</c:v>
                </c:pt>
                <c:pt idx="3494">
                  <c:v>23.458-23.464</c:v>
                </c:pt>
                <c:pt idx="3495">
                  <c:v>23.464-23.471</c:v>
                </c:pt>
                <c:pt idx="3496">
                  <c:v>23.471-23.478</c:v>
                </c:pt>
                <c:pt idx="3497">
                  <c:v>23.478-23.484</c:v>
                </c:pt>
                <c:pt idx="3498">
                  <c:v>23.484-23.491</c:v>
                </c:pt>
                <c:pt idx="3499">
                  <c:v>23.491-23.498</c:v>
                </c:pt>
                <c:pt idx="3500">
                  <c:v>23.498-23.505</c:v>
                </c:pt>
                <c:pt idx="3501">
                  <c:v>23.505-23.511</c:v>
                </c:pt>
                <c:pt idx="3502">
                  <c:v>23.511-23.518</c:v>
                </c:pt>
                <c:pt idx="3503">
                  <c:v>23.518-23.525</c:v>
                </c:pt>
                <c:pt idx="3504">
                  <c:v>23.525-23.531</c:v>
                </c:pt>
                <c:pt idx="3505">
                  <c:v>23.531-23.538</c:v>
                </c:pt>
                <c:pt idx="3506">
                  <c:v>23.538-23.545</c:v>
                </c:pt>
                <c:pt idx="3507">
                  <c:v>23.545-23.551</c:v>
                </c:pt>
                <c:pt idx="3508">
                  <c:v>23.551-23.558</c:v>
                </c:pt>
                <c:pt idx="3509">
                  <c:v>23.558-23.565</c:v>
                </c:pt>
                <c:pt idx="3510">
                  <c:v>23.565-23.572</c:v>
                </c:pt>
                <c:pt idx="3511">
                  <c:v>23.572-23.578</c:v>
                </c:pt>
                <c:pt idx="3512">
                  <c:v>23.578-23.585</c:v>
                </c:pt>
                <c:pt idx="3513">
                  <c:v>23.585-23.592</c:v>
                </c:pt>
                <c:pt idx="3514">
                  <c:v>23.592-23.598</c:v>
                </c:pt>
                <c:pt idx="3515">
                  <c:v>23.598-23.605</c:v>
                </c:pt>
                <c:pt idx="3516">
                  <c:v>23.605-23.612</c:v>
                </c:pt>
                <c:pt idx="3517">
                  <c:v>23.612-23.619</c:v>
                </c:pt>
                <c:pt idx="3518">
                  <c:v>23.619-23.625</c:v>
                </c:pt>
                <c:pt idx="3519">
                  <c:v>23.625-23.632</c:v>
                </c:pt>
                <c:pt idx="3520">
                  <c:v>23.632-23.639</c:v>
                </c:pt>
                <c:pt idx="3521">
                  <c:v>23.639-23.645</c:v>
                </c:pt>
                <c:pt idx="3522">
                  <c:v>23.645-23.652</c:v>
                </c:pt>
                <c:pt idx="3523">
                  <c:v>23.652-23.659</c:v>
                </c:pt>
                <c:pt idx="3524">
                  <c:v>23.659-23.666</c:v>
                </c:pt>
                <c:pt idx="3525">
                  <c:v>23.666-23.672</c:v>
                </c:pt>
                <c:pt idx="3526">
                  <c:v>23.672-23.679</c:v>
                </c:pt>
                <c:pt idx="3527">
                  <c:v>23.679-23.686</c:v>
                </c:pt>
                <c:pt idx="3528">
                  <c:v>23.686-23.692</c:v>
                </c:pt>
                <c:pt idx="3529">
                  <c:v>23.692-23.699</c:v>
                </c:pt>
                <c:pt idx="3530">
                  <c:v>23.699-23.706</c:v>
                </c:pt>
                <c:pt idx="3531">
                  <c:v>23.706-23.713</c:v>
                </c:pt>
                <c:pt idx="3532">
                  <c:v>23.713-23.719</c:v>
                </c:pt>
                <c:pt idx="3533">
                  <c:v>23.719-23.726</c:v>
                </c:pt>
                <c:pt idx="3534">
                  <c:v>23.726-23.733</c:v>
                </c:pt>
                <c:pt idx="3535">
                  <c:v>23.733-23.739</c:v>
                </c:pt>
                <c:pt idx="3536">
                  <c:v>23.739-23.746</c:v>
                </c:pt>
                <c:pt idx="3537">
                  <c:v>23.746-23.753</c:v>
                </c:pt>
                <c:pt idx="3538">
                  <c:v>23.753-23.760</c:v>
                </c:pt>
                <c:pt idx="3539">
                  <c:v>23.760-23.766</c:v>
                </c:pt>
                <c:pt idx="3540">
                  <c:v>23.766-23.773</c:v>
                </c:pt>
                <c:pt idx="3541">
                  <c:v>23.773-23.780</c:v>
                </c:pt>
                <c:pt idx="3542">
                  <c:v>23.780-23.786</c:v>
                </c:pt>
                <c:pt idx="3543">
                  <c:v>23.786-23.793</c:v>
                </c:pt>
                <c:pt idx="3544">
                  <c:v>23.793-23.800</c:v>
                </c:pt>
                <c:pt idx="3545">
                  <c:v>23.800-23.806</c:v>
                </c:pt>
                <c:pt idx="3546">
                  <c:v>23.806-23.813</c:v>
                </c:pt>
                <c:pt idx="3547">
                  <c:v>23.813-23.820</c:v>
                </c:pt>
                <c:pt idx="3548">
                  <c:v>23.820-23.827</c:v>
                </c:pt>
                <c:pt idx="3549">
                  <c:v>23.827-23.833</c:v>
                </c:pt>
                <c:pt idx="3550">
                  <c:v>23.833-23.840</c:v>
                </c:pt>
                <c:pt idx="3551">
                  <c:v>23.840-23.847</c:v>
                </c:pt>
                <c:pt idx="3552">
                  <c:v>23.847-23.853</c:v>
                </c:pt>
                <c:pt idx="3553">
                  <c:v>23.853-23.860</c:v>
                </c:pt>
                <c:pt idx="3554">
                  <c:v>23.860-23.867</c:v>
                </c:pt>
                <c:pt idx="3555">
                  <c:v>23.867-23.874</c:v>
                </c:pt>
                <c:pt idx="3556">
                  <c:v>23.874-23.880</c:v>
                </c:pt>
                <c:pt idx="3557">
                  <c:v>23.880-23.887</c:v>
                </c:pt>
                <c:pt idx="3558">
                  <c:v>23.887-23.894</c:v>
                </c:pt>
                <c:pt idx="3559">
                  <c:v>23.894-23.900</c:v>
                </c:pt>
                <c:pt idx="3560">
                  <c:v>23.900-23.907</c:v>
                </c:pt>
                <c:pt idx="3561">
                  <c:v>23.907-23.914</c:v>
                </c:pt>
                <c:pt idx="3562">
                  <c:v>23.914-23.921</c:v>
                </c:pt>
                <c:pt idx="3563">
                  <c:v>23.921-23.927</c:v>
                </c:pt>
                <c:pt idx="3564">
                  <c:v>23.927-23.934</c:v>
                </c:pt>
                <c:pt idx="3565">
                  <c:v>23.934-23.941</c:v>
                </c:pt>
                <c:pt idx="3566">
                  <c:v>23.941-23.947</c:v>
                </c:pt>
                <c:pt idx="3567">
                  <c:v>23.947-23.954</c:v>
                </c:pt>
                <c:pt idx="3568">
                  <c:v>23.954-23.961</c:v>
                </c:pt>
                <c:pt idx="3569">
                  <c:v>23.961-23.968</c:v>
                </c:pt>
                <c:pt idx="3570">
                  <c:v>23.968-23.974</c:v>
                </c:pt>
                <c:pt idx="3571">
                  <c:v>23.974-23.981</c:v>
                </c:pt>
                <c:pt idx="3572">
                  <c:v>23.981-23.988</c:v>
                </c:pt>
                <c:pt idx="3573">
                  <c:v>23.988-23.994</c:v>
                </c:pt>
                <c:pt idx="3574">
                  <c:v>23.994-24.001</c:v>
                </c:pt>
                <c:pt idx="3575">
                  <c:v>24.001-24.008</c:v>
                </c:pt>
                <c:pt idx="3576">
                  <c:v>24.008-24.015</c:v>
                </c:pt>
                <c:pt idx="3577">
                  <c:v>24.015-24.021</c:v>
                </c:pt>
                <c:pt idx="3578">
                  <c:v>24.021-24.028</c:v>
                </c:pt>
                <c:pt idx="3579">
                  <c:v>24.028-24.035</c:v>
                </c:pt>
                <c:pt idx="3580">
                  <c:v>24.035-24.041</c:v>
                </c:pt>
                <c:pt idx="3581">
                  <c:v>24.041-24.048</c:v>
                </c:pt>
                <c:pt idx="3582">
                  <c:v>24.048-24.055</c:v>
                </c:pt>
                <c:pt idx="3583">
                  <c:v>24.055-24.062</c:v>
                </c:pt>
                <c:pt idx="3584">
                  <c:v>24.062-24.068</c:v>
                </c:pt>
                <c:pt idx="3585">
                  <c:v>24.068-24.075</c:v>
                </c:pt>
                <c:pt idx="3586">
                  <c:v>24.075-24.082</c:v>
                </c:pt>
                <c:pt idx="3587">
                  <c:v>24.082-24.088</c:v>
                </c:pt>
                <c:pt idx="3588">
                  <c:v>24.088-24.095</c:v>
                </c:pt>
                <c:pt idx="3589">
                  <c:v>24.095-24.102</c:v>
                </c:pt>
                <c:pt idx="3590">
                  <c:v>24.102-24.108</c:v>
                </c:pt>
                <c:pt idx="3591">
                  <c:v>24.108-24.115</c:v>
                </c:pt>
                <c:pt idx="3592">
                  <c:v>24.115-24.122</c:v>
                </c:pt>
                <c:pt idx="3593">
                  <c:v>24.122-24.129</c:v>
                </c:pt>
                <c:pt idx="3594">
                  <c:v>24.129-24.135</c:v>
                </c:pt>
                <c:pt idx="3595">
                  <c:v>24.135-24.142</c:v>
                </c:pt>
                <c:pt idx="3596">
                  <c:v>24.142-24.149</c:v>
                </c:pt>
                <c:pt idx="3597">
                  <c:v>24.149-24.155</c:v>
                </c:pt>
                <c:pt idx="3598">
                  <c:v>24.155-24.162</c:v>
                </c:pt>
                <c:pt idx="3599">
                  <c:v>24.162-24.169</c:v>
                </c:pt>
                <c:pt idx="3600">
                  <c:v>24.169-24.176</c:v>
                </c:pt>
                <c:pt idx="3601">
                  <c:v>24.176-24.182</c:v>
                </c:pt>
                <c:pt idx="3602">
                  <c:v>24.182-24.189</c:v>
                </c:pt>
                <c:pt idx="3603">
                  <c:v>24.189-24.196</c:v>
                </c:pt>
                <c:pt idx="3604">
                  <c:v>24.196-24.202</c:v>
                </c:pt>
                <c:pt idx="3605">
                  <c:v>24.202-24.209</c:v>
                </c:pt>
                <c:pt idx="3606">
                  <c:v>24.209-24.216</c:v>
                </c:pt>
                <c:pt idx="3607">
                  <c:v>24.216-24.223</c:v>
                </c:pt>
                <c:pt idx="3608">
                  <c:v>24.223-24.229</c:v>
                </c:pt>
                <c:pt idx="3609">
                  <c:v>24.229-24.236</c:v>
                </c:pt>
                <c:pt idx="3610">
                  <c:v>24.236-24.243</c:v>
                </c:pt>
                <c:pt idx="3611">
                  <c:v>24.243-24.249</c:v>
                </c:pt>
                <c:pt idx="3612">
                  <c:v>24.249-24.256</c:v>
                </c:pt>
                <c:pt idx="3613">
                  <c:v>24.256-24.263</c:v>
                </c:pt>
                <c:pt idx="3614">
                  <c:v>24.263-24.270</c:v>
                </c:pt>
                <c:pt idx="3615">
                  <c:v>24.270-24.276</c:v>
                </c:pt>
                <c:pt idx="3616">
                  <c:v>24.276-24.283</c:v>
                </c:pt>
                <c:pt idx="3617">
                  <c:v>24.283-24.290</c:v>
                </c:pt>
                <c:pt idx="3618">
                  <c:v>24.290-24.296</c:v>
                </c:pt>
                <c:pt idx="3619">
                  <c:v>24.296-24.303</c:v>
                </c:pt>
                <c:pt idx="3620">
                  <c:v>24.303-24.310</c:v>
                </c:pt>
                <c:pt idx="3621">
                  <c:v>24.310-24.317</c:v>
                </c:pt>
                <c:pt idx="3622">
                  <c:v>24.317-24.323</c:v>
                </c:pt>
                <c:pt idx="3623">
                  <c:v>24.323-24.330</c:v>
                </c:pt>
                <c:pt idx="3624">
                  <c:v>24.330-24.337</c:v>
                </c:pt>
                <c:pt idx="3625">
                  <c:v>24.337-24.343</c:v>
                </c:pt>
                <c:pt idx="3626">
                  <c:v>24.343-24.350</c:v>
                </c:pt>
                <c:pt idx="3627">
                  <c:v>24.350-24.357</c:v>
                </c:pt>
                <c:pt idx="3628">
                  <c:v>24.357-24.363</c:v>
                </c:pt>
                <c:pt idx="3629">
                  <c:v>24.363-24.370</c:v>
                </c:pt>
                <c:pt idx="3630">
                  <c:v>24.370-24.377</c:v>
                </c:pt>
                <c:pt idx="3631">
                  <c:v>24.377-24.384</c:v>
                </c:pt>
                <c:pt idx="3632">
                  <c:v>24.384-24.390</c:v>
                </c:pt>
                <c:pt idx="3633">
                  <c:v>24.390-24.397</c:v>
                </c:pt>
                <c:pt idx="3634">
                  <c:v>24.397-24.404</c:v>
                </c:pt>
                <c:pt idx="3635">
                  <c:v>24.404-24.410</c:v>
                </c:pt>
                <c:pt idx="3636">
                  <c:v>24.410-24.417</c:v>
                </c:pt>
                <c:pt idx="3637">
                  <c:v>24.417-24.424</c:v>
                </c:pt>
                <c:pt idx="3638">
                  <c:v>24.424-24.431</c:v>
                </c:pt>
                <c:pt idx="3639">
                  <c:v>24.431-24.437</c:v>
                </c:pt>
                <c:pt idx="3640">
                  <c:v>24.437-24.444</c:v>
                </c:pt>
                <c:pt idx="3641">
                  <c:v>24.444-24.451</c:v>
                </c:pt>
                <c:pt idx="3642">
                  <c:v>24.451-24.457</c:v>
                </c:pt>
                <c:pt idx="3643">
                  <c:v>24.457-24.464</c:v>
                </c:pt>
                <c:pt idx="3644">
                  <c:v>24.464-24.471</c:v>
                </c:pt>
                <c:pt idx="3645">
                  <c:v>24.471-24.478</c:v>
                </c:pt>
                <c:pt idx="3646">
                  <c:v>24.478-24.484</c:v>
                </c:pt>
                <c:pt idx="3647">
                  <c:v>24.484-24.491</c:v>
                </c:pt>
                <c:pt idx="3648">
                  <c:v>24.491-24.498</c:v>
                </c:pt>
                <c:pt idx="3649">
                  <c:v>24.498-24.504</c:v>
                </c:pt>
                <c:pt idx="3650">
                  <c:v>24.504-24.511</c:v>
                </c:pt>
                <c:pt idx="3651">
                  <c:v>24.511-24.518</c:v>
                </c:pt>
                <c:pt idx="3652">
                  <c:v>24.518-24.525</c:v>
                </c:pt>
                <c:pt idx="3653">
                  <c:v>24.525-24.531</c:v>
                </c:pt>
                <c:pt idx="3654">
                  <c:v>24.531-24.538</c:v>
                </c:pt>
                <c:pt idx="3655">
                  <c:v>24.538-24.545</c:v>
                </c:pt>
                <c:pt idx="3656">
                  <c:v>24.545-24.551</c:v>
                </c:pt>
                <c:pt idx="3657">
                  <c:v>24.551-24.558</c:v>
                </c:pt>
                <c:pt idx="3658">
                  <c:v>24.558-24.565</c:v>
                </c:pt>
                <c:pt idx="3659">
                  <c:v>24.565-24.572</c:v>
                </c:pt>
                <c:pt idx="3660">
                  <c:v>24.572-24.578</c:v>
                </c:pt>
                <c:pt idx="3661">
                  <c:v>24.578-24.585</c:v>
                </c:pt>
                <c:pt idx="3662">
                  <c:v>24.585-24.592</c:v>
                </c:pt>
                <c:pt idx="3663">
                  <c:v>24.592-24.598</c:v>
                </c:pt>
                <c:pt idx="3664">
                  <c:v>24.598-24.605</c:v>
                </c:pt>
                <c:pt idx="3665">
                  <c:v>24.605-24.612</c:v>
                </c:pt>
                <c:pt idx="3666">
                  <c:v>24.612-24.619</c:v>
                </c:pt>
                <c:pt idx="3667">
                  <c:v>24.619-24.625</c:v>
                </c:pt>
                <c:pt idx="3668">
                  <c:v>24.625-24.632</c:v>
                </c:pt>
                <c:pt idx="3669">
                  <c:v>24.632-24.639</c:v>
                </c:pt>
                <c:pt idx="3670">
                  <c:v>24.639-24.645</c:v>
                </c:pt>
                <c:pt idx="3671">
                  <c:v>24.645-24.652</c:v>
                </c:pt>
                <c:pt idx="3672">
                  <c:v>24.652-24.659</c:v>
                </c:pt>
                <c:pt idx="3673">
                  <c:v>24.659-24.665</c:v>
                </c:pt>
                <c:pt idx="3674">
                  <c:v>24.665-24.672</c:v>
                </c:pt>
                <c:pt idx="3675">
                  <c:v>24.672-24.679</c:v>
                </c:pt>
                <c:pt idx="3676">
                  <c:v>24.679-24.686</c:v>
                </c:pt>
                <c:pt idx="3677">
                  <c:v>24.686-24.692</c:v>
                </c:pt>
                <c:pt idx="3678">
                  <c:v>24.692-24.699</c:v>
                </c:pt>
                <c:pt idx="3679">
                  <c:v>24.699-24.706</c:v>
                </c:pt>
                <c:pt idx="3680">
                  <c:v>24.706-24.712</c:v>
                </c:pt>
                <c:pt idx="3681">
                  <c:v>24.712-24.719</c:v>
                </c:pt>
                <c:pt idx="3682">
                  <c:v>24.719-24.726</c:v>
                </c:pt>
                <c:pt idx="3683">
                  <c:v>24.726-24.733</c:v>
                </c:pt>
                <c:pt idx="3684">
                  <c:v>24.733-24.739</c:v>
                </c:pt>
                <c:pt idx="3685">
                  <c:v>24.739-24.746</c:v>
                </c:pt>
                <c:pt idx="3686">
                  <c:v>24.746-24.753</c:v>
                </c:pt>
                <c:pt idx="3687">
                  <c:v>24.753-24.759</c:v>
                </c:pt>
                <c:pt idx="3688">
                  <c:v>24.759-24.766</c:v>
                </c:pt>
                <c:pt idx="3689">
                  <c:v>24.766-24.773</c:v>
                </c:pt>
                <c:pt idx="3690">
                  <c:v>24.773-24.780</c:v>
                </c:pt>
                <c:pt idx="3691">
                  <c:v>24.780-24.786</c:v>
                </c:pt>
                <c:pt idx="3692">
                  <c:v>24.786-24.793</c:v>
                </c:pt>
                <c:pt idx="3693">
                  <c:v>24.793-24.800</c:v>
                </c:pt>
                <c:pt idx="3694">
                  <c:v>24.800-24.806</c:v>
                </c:pt>
                <c:pt idx="3695">
                  <c:v>24.806-24.813</c:v>
                </c:pt>
                <c:pt idx="3696">
                  <c:v>24.813-24.820</c:v>
                </c:pt>
                <c:pt idx="3697">
                  <c:v>24.820-24.827</c:v>
                </c:pt>
                <c:pt idx="3698">
                  <c:v>24.827-24.833</c:v>
                </c:pt>
                <c:pt idx="3699">
                  <c:v>24.833-24.840</c:v>
                </c:pt>
                <c:pt idx="3700">
                  <c:v>24.840-24.847</c:v>
                </c:pt>
                <c:pt idx="3701">
                  <c:v>24.847-24.853</c:v>
                </c:pt>
                <c:pt idx="3702">
                  <c:v>24.853-24.860</c:v>
                </c:pt>
                <c:pt idx="3703">
                  <c:v>24.860-24.867</c:v>
                </c:pt>
                <c:pt idx="3704">
                  <c:v>24.867-24.874</c:v>
                </c:pt>
                <c:pt idx="3705">
                  <c:v>24.874-24.880</c:v>
                </c:pt>
                <c:pt idx="3706">
                  <c:v>24.880-24.887</c:v>
                </c:pt>
                <c:pt idx="3707">
                  <c:v>24.887-24.894</c:v>
                </c:pt>
                <c:pt idx="3708">
                  <c:v>24.894-24.900</c:v>
                </c:pt>
                <c:pt idx="3709">
                  <c:v>24.900-24.907</c:v>
                </c:pt>
                <c:pt idx="3710">
                  <c:v>24.907-24.914</c:v>
                </c:pt>
                <c:pt idx="3711">
                  <c:v>24.914-24.920</c:v>
                </c:pt>
                <c:pt idx="3712">
                  <c:v>24.920-24.927</c:v>
                </c:pt>
                <c:pt idx="3713">
                  <c:v>24.927-24.934</c:v>
                </c:pt>
                <c:pt idx="3714">
                  <c:v>24.934-24.941</c:v>
                </c:pt>
                <c:pt idx="3715">
                  <c:v>24.941-24.947</c:v>
                </c:pt>
                <c:pt idx="3716">
                  <c:v>24.947-24.954</c:v>
                </c:pt>
                <c:pt idx="3717">
                  <c:v>24.954-24.961</c:v>
                </c:pt>
                <c:pt idx="3718">
                  <c:v>24.961-24.967</c:v>
                </c:pt>
                <c:pt idx="3719">
                  <c:v>24.967-24.974</c:v>
                </c:pt>
                <c:pt idx="3720">
                  <c:v>24.974-24.981</c:v>
                </c:pt>
                <c:pt idx="3721">
                  <c:v>24.981-24.988</c:v>
                </c:pt>
                <c:pt idx="3722">
                  <c:v>24.988-24.994</c:v>
                </c:pt>
                <c:pt idx="3723">
                  <c:v>24.994-25.001</c:v>
                </c:pt>
                <c:pt idx="3724">
                  <c:v>25.001-25.008</c:v>
                </c:pt>
                <c:pt idx="3725">
                  <c:v>25.008-25.014</c:v>
                </c:pt>
                <c:pt idx="3726">
                  <c:v>25.014-25.021</c:v>
                </c:pt>
                <c:pt idx="3727">
                  <c:v>25.021-25.028</c:v>
                </c:pt>
                <c:pt idx="3728">
                  <c:v>25.028-25.035</c:v>
                </c:pt>
                <c:pt idx="3729">
                  <c:v>25.035-25.041</c:v>
                </c:pt>
                <c:pt idx="3730">
                  <c:v>25.041-25.048</c:v>
                </c:pt>
                <c:pt idx="3731">
                  <c:v>25.048-25.055</c:v>
                </c:pt>
                <c:pt idx="3732">
                  <c:v>25.055-25.061</c:v>
                </c:pt>
                <c:pt idx="3733">
                  <c:v>25.061-25.068</c:v>
                </c:pt>
                <c:pt idx="3734">
                  <c:v>25.068-25.075</c:v>
                </c:pt>
                <c:pt idx="3735">
                  <c:v>25.075-25.082</c:v>
                </c:pt>
                <c:pt idx="3736">
                  <c:v>25.082-25.088</c:v>
                </c:pt>
                <c:pt idx="3737">
                  <c:v>25.088-25.095</c:v>
                </c:pt>
                <c:pt idx="3738">
                  <c:v>25.095-25.102</c:v>
                </c:pt>
                <c:pt idx="3739">
                  <c:v>25.102-25.108</c:v>
                </c:pt>
                <c:pt idx="3740">
                  <c:v>25.108-25.115</c:v>
                </c:pt>
                <c:pt idx="3741">
                  <c:v>25.115-25.122</c:v>
                </c:pt>
                <c:pt idx="3742">
                  <c:v>25.122-25.129</c:v>
                </c:pt>
                <c:pt idx="3743">
                  <c:v>25.129-25.135</c:v>
                </c:pt>
                <c:pt idx="3744">
                  <c:v>25.135-25.142</c:v>
                </c:pt>
                <c:pt idx="3745">
                  <c:v>25.142-25.149</c:v>
                </c:pt>
                <c:pt idx="3746">
                  <c:v>25.149-25.155</c:v>
                </c:pt>
                <c:pt idx="3747">
                  <c:v>25.155-25.162</c:v>
                </c:pt>
                <c:pt idx="3748">
                  <c:v>25.162-25.169</c:v>
                </c:pt>
                <c:pt idx="3749">
                  <c:v>25.169-25.176</c:v>
                </c:pt>
                <c:pt idx="3750">
                  <c:v>25.176-25.182</c:v>
                </c:pt>
                <c:pt idx="3751">
                  <c:v>25.182-25.189</c:v>
                </c:pt>
                <c:pt idx="3752">
                  <c:v>25.189-25.196</c:v>
                </c:pt>
                <c:pt idx="3753">
                  <c:v>25.196-25.202</c:v>
                </c:pt>
                <c:pt idx="3754">
                  <c:v>25.202-25.209</c:v>
                </c:pt>
                <c:pt idx="3755">
                  <c:v>25.209-25.216</c:v>
                </c:pt>
                <c:pt idx="3756">
                  <c:v>25.216-25.222</c:v>
                </c:pt>
                <c:pt idx="3757">
                  <c:v>25.222-25.229</c:v>
                </c:pt>
                <c:pt idx="3758">
                  <c:v>25.229-25.236</c:v>
                </c:pt>
                <c:pt idx="3759">
                  <c:v>25.236-25.243</c:v>
                </c:pt>
                <c:pt idx="3760">
                  <c:v>25.243-25.249</c:v>
                </c:pt>
                <c:pt idx="3761">
                  <c:v>25.249-25.256</c:v>
                </c:pt>
                <c:pt idx="3762">
                  <c:v>25.256-25.263</c:v>
                </c:pt>
                <c:pt idx="3763">
                  <c:v>25.263-25.269</c:v>
                </c:pt>
                <c:pt idx="3764">
                  <c:v>25.269-25.276</c:v>
                </c:pt>
                <c:pt idx="3765">
                  <c:v>25.276-25.283</c:v>
                </c:pt>
                <c:pt idx="3766">
                  <c:v>25.283-25.290</c:v>
                </c:pt>
                <c:pt idx="3767">
                  <c:v>25.290-25.296</c:v>
                </c:pt>
                <c:pt idx="3768">
                  <c:v>25.296-25.303</c:v>
                </c:pt>
                <c:pt idx="3769">
                  <c:v>25.303-25.310</c:v>
                </c:pt>
                <c:pt idx="3770">
                  <c:v>25.310-25.316</c:v>
                </c:pt>
                <c:pt idx="3771">
                  <c:v>25.316-25.323</c:v>
                </c:pt>
                <c:pt idx="3772">
                  <c:v>25.323-25.330</c:v>
                </c:pt>
                <c:pt idx="3773">
                  <c:v>25.330-25.337</c:v>
                </c:pt>
                <c:pt idx="3774">
                  <c:v>25.337-25.343</c:v>
                </c:pt>
                <c:pt idx="3775">
                  <c:v>25.343-25.350</c:v>
                </c:pt>
                <c:pt idx="3776">
                  <c:v>25.350-25.357</c:v>
                </c:pt>
                <c:pt idx="3777">
                  <c:v>25.357-25.363</c:v>
                </c:pt>
                <c:pt idx="3778">
                  <c:v>25.363-25.370</c:v>
                </c:pt>
                <c:pt idx="3779">
                  <c:v>25.370-25.377</c:v>
                </c:pt>
                <c:pt idx="3780">
                  <c:v>25.377-25.384</c:v>
                </c:pt>
                <c:pt idx="3781">
                  <c:v>25.384-25.390</c:v>
                </c:pt>
                <c:pt idx="3782">
                  <c:v>25.390-25.397</c:v>
                </c:pt>
                <c:pt idx="3783">
                  <c:v>25.397-25.404</c:v>
                </c:pt>
                <c:pt idx="3784">
                  <c:v>25.404-25.410</c:v>
                </c:pt>
                <c:pt idx="3785">
                  <c:v>25.410-25.417</c:v>
                </c:pt>
                <c:pt idx="3786">
                  <c:v>25.417-25.424</c:v>
                </c:pt>
                <c:pt idx="3787">
                  <c:v>25.424-25.431</c:v>
                </c:pt>
                <c:pt idx="3788">
                  <c:v>25.431-25.437</c:v>
                </c:pt>
                <c:pt idx="3789">
                  <c:v>25.437-25.444</c:v>
                </c:pt>
                <c:pt idx="3790">
                  <c:v>25.444-25.451</c:v>
                </c:pt>
                <c:pt idx="3791">
                  <c:v>25.451-25.457</c:v>
                </c:pt>
                <c:pt idx="3792">
                  <c:v>25.457-25.464</c:v>
                </c:pt>
                <c:pt idx="3793">
                  <c:v>25.464-25.471</c:v>
                </c:pt>
                <c:pt idx="3794">
                  <c:v>25.471-25.477</c:v>
                </c:pt>
                <c:pt idx="3795">
                  <c:v>25.477-25.484</c:v>
                </c:pt>
                <c:pt idx="3796">
                  <c:v>25.484-25.491</c:v>
                </c:pt>
                <c:pt idx="3797">
                  <c:v>25.491-25.498</c:v>
                </c:pt>
                <c:pt idx="3798">
                  <c:v>25.498-25.504</c:v>
                </c:pt>
                <c:pt idx="3799">
                  <c:v>25.504-25.511</c:v>
                </c:pt>
                <c:pt idx="3800">
                  <c:v>25.511-25.518</c:v>
                </c:pt>
                <c:pt idx="3801">
                  <c:v>25.518-25.524</c:v>
                </c:pt>
                <c:pt idx="3802">
                  <c:v>25.524-25.531</c:v>
                </c:pt>
                <c:pt idx="3803">
                  <c:v>25.531-25.538</c:v>
                </c:pt>
                <c:pt idx="3804">
                  <c:v>25.538-25.545</c:v>
                </c:pt>
                <c:pt idx="3805">
                  <c:v>25.545-25.551</c:v>
                </c:pt>
                <c:pt idx="3806">
                  <c:v>25.551-25.558</c:v>
                </c:pt>
                <c:pt idx="3807">
                  <c:v>25.558-25.565</c:v>
                </c:pt>
                <c:pt idx="3808">
                  <c:v>25.565-25.571</c:v>
                </c:pt>
                <c:pt idx="3809">
                  <c:v>25.571-25.578</c:v>
                </c:pt>
                <c:pt idx="3810">
                  <c:v>25.578-25.585</c:v>
                </c:pt>
                <c:pt idx="3811">
                  <c:v>25.585-25.592</c:v>
                </c:pt>
                <c:pt idx="3812">
                  <c:v>25.592-25.598</c:v>
                </c:pt>
                <c:pt idx="3813">
                  <c:v>25.598-25.605</c:v>
                </c:pt>
                <c:pt idx="3814">
                  <c:v>25.605-25.612</c:v>
                </c:pt>
                <c:pt idx="3815">
                  <c:v>25.612-25.618</c:v>
                </c:pt>
                <c:pt idx="3816">
                  <c:v>25.618-25.625</c:v>
                </c:pt>
                <c:pt idx="3817">
                  <c:v>25.625-25.632</c:v>
                </c:pt>
                <c:pt idx="3818">
                  <c:v>25.632-25.639</c:v>
                </c:pt>
                <c:pt idx="3819">
                  <c:v>25.639-25.645</c:v>
                </c:pt>
                <c:pt idx="3820">
                  <c:v>25.645-25.652</c:v>
                </c:pt>
                <c:pt idx="3821">
                  <c:v>25.652-25.659</c:v>
                </c:pt>
                <c:pt idx="3822">
                  <c:v>25.659-25.665</c:v>
                </c:pt>
                <c:pt idx="3823">
                  <c:v>25.665-25.672</c:v>
                </c:pt>
                <c:pt idx="3824">
                  <c:v>25.672-25.679</c:v>
                </c:pt>
                <c:pt idx="3825">
                  <c:v>25.679-25.686</c:v>
                </c:pt>
                <c:pt idx="3826">
                  <c:v>25.686-25.692</c:v>
                </c:pt>
                <c:pt idx="3827">
                  <c:v>25.692-25.699</c:v>
                </c:pt>
                <c:pt idx="3828">
                  <c:v>25.699-25.706</c:v>
                </c:pt>
                <c:pt idx="3829">
                  <c:v>25.706-25.712</c:v>
                </c:pt>
                <c:pt idx="3830">
                  <c:v>25.712-25.719</c:v>
                </c:pt>
                <c:pt idx="3831">
                  <c:v>25.719-25.726</c:v>
                </c:pt>
                <c:pt idx="3832">
                  <c:v>25.726-25.732</c:v>
                </c:pt>
                <c:pt idx="3833">
                  <c:v>25.732-25.739</c:v>
                </c:pt>
                <c:pt idx="3834">
                  <c:v>25.739-25.746</c:v>
                </c:pt>
                <c:pt idx="3835">
                  <c:v>25.746-25.753</c:v>
                </c:pt>
                <c:pt idx="3836">
                  <c:v>25.753-25.759</c:v>
                </c:pt>
                <c:pt idx="3837">
                  <c:v>25.759-25.766</c:v>
                </c:pt>
                <c:pt idx="3838">
                  <c:v>25.766-25.773</c:v>
                </c:pt>
                <c:pt idx="3839">
                  <c:v>25.773-25.779</c:v>
                </c:pt>
                <c:pt idx="3840">
                  <c:v>25.779-25.786</c:v>
                </c:pt>
                <c:pt idx="3841">
                  <c:v>25.786-25.793</c:v>
                </c:pt>
                <c:pt idx="3842">
                  <c:v>25.793-25.800</c:v>
                </c:pt>
                <c:pt idx="3843">
                  <c:v>25.800-25.806</c:v>
                </c:pt>
                <c:pt idx="3844">
                  <c:v>25.806-25.813</c:v>
                </c:pt>
                <c:pt idx="3845">
                  <c:v>25.813-25.820</c:v>
                </c:pt>
                <c:pt idx="3846">
                  <c:v>25.820-25.826</c:v>
                </c:pt>
                <c:pt idx="3847">
                  <c:v>25.826-25.833</c:v>
                </c:pt>
                <c:pt idx="3848">
                  <c:v>25.833-25.840</c:v>
                </c:pt>
                <c:pt idx="3849">
                  <c:v>25.840-25.847</c:v>
                </c:pt>
                <c:pt idx="3850">
                  <c:v>25.847-25.853</c:v>
                </c:pt>
                <c:pt idx="3851">
                  <c:v>25.853-25.860</c:v>
                </c:pt>
                <c:pt idx="3852">
                  <c:v>25.860-25.867</c:v>
                </c:pt>
                <c:pt idx="3853">
                  <c:v>25.867-25.873</c:v>
                </c:pt>
                <c:pt idx="3854">
                  <c:v>25.873-25.880</c:v>
                </c:pt>
                <c:pt idx="3855">
                  <c:v>25.880-25.887</c:v>
                </c:pt>
                <c:pt idx="3856">
                  <c:v>25.887-25.894</c:v>
                </c:pt>
                <c:pt idx="3857">
                  <c:v>25.894-25.900</c:v>
                </c:pt>
                <c:pt idx="3858">
                  <c:v>25.900-25.907</c:v>
                </c:pt>
                <c:pt idx="3859">
                  <c:v>25.907-25.914</c:v>
                </c:pt>
                <c:pt idx="3860">
                  <c:v>25.914-25.920</c:v>
                </c:pt>
                <c:pt idx="3861">
                  <c:v>25.920-25.927</c:v>
                </c:pt>
                <c:pt idx="3862">
                  <c:v>25.927-25.934</c:v>
                </c:pt>
                <c:pt idx="3863">
                  <c:v>25.934-25.941</c:v>
                </c:pt>
                <c:pt idx="3864">
                  <c:v>25.941-25.947</c:v>
                </c:pt>
                <c:pt idx="3865">
                  <c:v>25.947-25.954</c:v>
                </c:pt>
                <c:pt idx="3866">
                  <c:v>25.954-25.961</c:v>
                </c:pt>
                <c:pt idx="3867">
                  <c:v>25.961-25.967</c:v>
                </c:pt>
                <c:pt idx="3868">
                  <c:v>25.967-25.974</c:v>
                </c:pt>
                <c:pt idx="3869">
                  <c:v>25.974-25.981</c:v>
                </c:pt>
                <c:pt idx="3870">
                  <c:v>25.981-25.988</c:v>
                </c:pt>
                <c:pt idx="3871">
                  <c:v>25.988-25.994</c:v>
                </c:pt>
                <c:pt idx="3872">
                  <c:v>25.994-26.001</c:v>
                </c:pt>
                <c:pt idx="3873">
                  <c:v>26.001-26.008</c:v>
                </c:pt>
                <c:pt idx="3874">
                  <c:v>26.008-26.014</c:v>
                </c:pt>
                <c:pt idx="3875">
                  <c:v>26.014-26.021</c:v>
                </c:pt>
                <c:pt idx="3876">
                  <c:v>26.021-26.028</c:v>
                </c:pt>
                <c:pt idx="3877">
                  <c:v>26.028-26.034</c:v>
                </c:pt>
                <c:pt idx="3878">
                  <c:v>26.034-26.041</c:v>
                </c:pt>
                <c:pt idx="3879">
                  <c:v>26.041-26.048</c:v>
                </c:pt>
                <c:pt idx="3880">
                  <c:v>26.048-26.055</c:v>
                </c:pt>
                <c:pt idx="3881">
                  <c:v>26.055-26.061</c:v>
                </c:pt>
                <c:pt idx="3882">
                  <c:v>26.061-26.068</c:v>
                </c:pt>
                <c:pt idx="3883">
                  <c:v>26.068-26.075</c:v>
                </c:pt>
                <c:pt idx="3884">
                  <c:v>26.075-26.081</c:v>
                </c:pt>
                <c:pt idx="3885">
                  <c:v>26.081-26.088</c:v>
                </c:pt>
                <c:pt idx="3886">
                  <c:v>26.088-26.095</c:v>
                </c:pt>
                <c:pt idx="3887">
                  <c:v>26.095-26.102</c:v>
                </c:pt>
                <c:pt idx="3888">
                  <c:v>26.102-26.108</c:v>
                </c:pt>
                <c:pt idx="3889">
                  <c:v>26.108-26.115</c:v>
                </c:pt>
                <c:pt idx="3890">
                  <c:v>26.115-26.122</c:v>
                </c:pt>
                <c:pt idx="3891">
                  <c:v>26.122-26.128</c:v>
                </c:pt>
                <c:pt idx="3892">
                  <c:v>26.128-26.135</c:v>
                </c:pt>
                <c:pt idx="3893">
                  <c:v>26.135-26.142</c:v>
                </c:pt>
                <c:pt idx="3894">
                  <c:v>26.142-26.149</c:v>
                </c:pt>
                <c:pt idx="3895">
                  <c:v>26.149-26.155</c:v>
                </c:pt>
                <c:pt idx="3896">
                  <c:v>26.155-26.162</c:v>
                </c:pt>
                <c:pt idx="3897">
                  <c:v>26.162-26.169</c:v>
                </c:pt>
                <c:pt idx="3898">
                  <c:v>26.169-26.175</c:v>
                </c:pt>
                <c:pt idx="3899">
                  <c:v>26.175-26.182</c:v>
                </c:pt>
                <c:pt idx="3900">
                  <c:v>26.182-26.189</c:v>
                </c:pt>
                <c:pt idx="3901">
                  <c:v>26.189-26.196</c:v>
                </c:pt>
                <c:pt idx="3902">
                  <c:v>26.196-26.202</c:v>
                </c:pt>
                <c:pt idx="3903">
                  <c:v>26.202-26.209</c:v>
                </c:pt>
                <c:pt idx="3904">
                  <c:v>26.209-26.216</c:v>
                </c:pt>
                <c:pt idx="3905">
                  <c:v>26.216-26.222</c:v>
                </c:pt>
                <c:pt idx="3906">
                  <c:v>26.222-26.229</c:v>
                </c:pt>
                <c:pt idx="3907">
                  <c:v>26.229-26.236</c:v>
                </c:pt>
                <c:pt idx="3908">
                  <c:v>26.236-26.243</c:v>
                </c:pt>
                <c:pt idx="3909">
                  <c:v>26.243-26.249</c:v>
                </c:pt>
                <c:pt idx="3910">
                  <c:v>26.249-26.256</c:v>
                </c:pt>
                <c:pt idx="3911">
                  <c:v>26.256-26.263</c:v>
                </c:pt>
                <c:pt idx="3912">
                  <c:v>26.263-26.269</c:v>
                </c:pt>
                <c:pt idx="3913">
                  <c:v>26.269-26.276</c:v>
                </c:pt>
                <c:pt idx="3914">
                  <c:v>26.276-26.283</c:v>
                </c:pt>
                <c:pt idx="3915">
                  <c:v>26.283-26.289</c:v>
                </c:pt>
                <c:pt idx="3916">
                  <c:v>26.289-26.296</c:v>
                </c:pt>
                <c:pt idx="3917">
                  <c:v>26.296-26.303</c:v>
                </c:pt>
                <c:pt idx="3918">
                  <c:v>26.303-26.310</c:v>
                </c:pt>
                <c:pt idx="3919">
                  <c:v>26.310-26.316</c:v>
                </c:pt>
                <c:pt idx="3920">
                  <c:v>26.316-26.323</c:v>
                </c:pt>
                <c:pt idx="3921">
                  <c:v>26.323-26.330</c:v>
                </c:pt>
                <c:pt idx="3922">
                  <c:v>26.330-26.336</c:v>
                </c:pt>
                <c:pt idx="3923">
                  <c:v>26.336-26.343</c:v>
                </c:pt>
                <c:pt idx="3924">
                  <c:v>26.343-26.350</c:v>
                </c:pt>
                <c:pt idx="3925">
                  <c:v>26.350-26.357</c:v>
                </c:pt>
                <c:pt idx="3926">
                  <c:v>26.357-26.363</c:v>
                </c:pt>
                <c:pt idx="3927">
                  <c:v>26.363-26.370</c:v>
                </c:pt>
                <c:pt idx="3928">
                  <c:v>26.370-26.377</c:v>
                </c:pt>
                <c:pt idx="3929">
                  <c:v>26.377-26.383</c:v>
                </c:pt>
                <c:pt idx="3930">
                  <c:v>26.383-26.390</c:v>
                </c:pt>
                <c:pt idx="3931">
                  <c:v>26.390-26.397</c:v>
                </c:pt>
                <c:pt idx="3932">
                  <c:v>26.397-26.404</c:v>
                </c:pt>
                <c:pt idx="3933">
                  <c:v>26.404-26.410</c:v>
                </c:pt>
                <c:pt idx="3934">
                  <c:v>26.410-26.417</c:v>
                </c:pt>
                <c:pt idx="3935">
                  <c:v>26.417-26.424</c:v>
                </c:pt>
                <c:pt idx="3936">
                  <c:v>26.424-26.430</c:v>
                </c:pt>
                <c:pt idx="3937">
                  <c:v>26.430-26.437</c:v>
                </c:pt>
                <c:pt idx="3938">
                  <c:v>26.437-26.444</c:v>
                </c:pt>
                <c:pt idx="3939">
                  <c:v>26.444-26.451</c:v>
                </c:pt>
                <c:pt idx="3940">
                  <c:v>26.451-26.457</c:v>
                </c:pt>
                <c:pt idx="3941">
                  <c:v>26.457-26.464</c:v>
                </c:pt>
                <c:pt idx="3942">
                  <c:v>26.464-26.471</c:v>
                </c:pt>
                <c:pt idx="3943">
                  <c:v>26.471-26.477</c:v>
                </c:pt>
                <c:pt idx="3944">
                  <c:v>26.477-26.484</c:v>
                </c:pt>
                <c:pt idx="3945">
                  <c:v>26.484-26.491</c:v>
                </c:pt>
                <c:pt idx="3946">
                  <c:v>26.491-26.498</c:v>
                </c:pt>
                <c:pt idx="3947">
                  <c:v>26.498-26.504</c:v>
                </c:pt>
                <c:pt idx="3948">
                  <c:v>26.504-26.511</c:v>
                </c:pt>
                <c:pt idx="3949">
                  <c:v>26.511-26.518</c:v>
                </c:pt>
                <c:pt idx="3950">
                  <c:v>26.518-26.524</c:v>
                </c:pt>
                <c:pt idx="3951">
                  <c:v>26.524-26.531</c:v>
                </c:pt>
                <c:pt idx="3952">
                  <c:v>26.531-26.538</c:v>
                </c:pt>
                <c:pt idx="3953">
                  <c:v>26.538-26.545</c:v>
                </c:pt>
                <c:pt idx="3954">
                  <c:v>26.545-26.551</c:v>
                </c:pt>
                <c:pt idx="3955">
                  <c:v>26.551-26.558</c:v>
                </c:pt>
                <c:pt idx="3956">
                  <c:v>26.558-26.565</c:v>
                </c:pt>
                <c:pt idx="3957">
                  <c:v>26.565-26.571</c:v>
                </c:pt>
                <c:pt idx="3958">
                  <c:v>26.571-26.578</c:v>
                </c:pt>
                <c:pt idx="3959">
                  <c:v>26.578-26.585</c:v>
                </c:pt>
                <c:pt idx="3960">
                  <c:v>26.585-26.591</c:v>
                </c:pt>
                <c:pt idx="3961">
                  <c:v>26.591-26.598</c:v>
                </c:pt>
                <c:pt idx="3962">
                  <c:v>26.598-26.605</c:v>
                </c:pt>
                <c:pt idx="3963">
                  <c:v>26.605-26.612</c:v>
                </c:pt>
                <c:pt idx="3964">
                  <c:v>26.612-26.618</c:v>
                </c:pt>
                <c:pt idx="3965">
                  <c:v>26.618-26.625</c:v>
                </c:pt>
                <c:pt idx="3966">
                  <c:v>26.625-26.632</c:v>
                </c:pt>
                <c:pt idx="3967">
                  <c:v>26.632-26.638</c:v>
                </c:pt>
                <c:pt idx="3968">
                  <c:v>26.638-26.645</c:v>
                </c:pt>
                <c:pt idx="3969">
                  <c:v>26.645-26.652</c:v>
                </c:pt>
                <c:pt idx="3970">
                  <c:v>26.652-26.659</c:v>
                </c:pt>
                <c:pt idx="3971">
                  <c:v>26.659-26.665</c:v>
                </c:pt>
                <c:pt idx="3972">
                  <c:v>26.665-26.672</c:v>
                </c:pt>
                <c:pt idx="3973">
                  <c:v>26.672-26.679</c:v>
                </c:pt>
                <c:pt idx="3974">
                  <c:v>26.679-26.685</c:v>
                </c:pt>
                <c:pt idx="3975">
                  <c:v>26.685-26.692</c:v>
                </c:pt>
                <c:pt idx="3976">
                  <c:v>26.692-26.699</c:v>
                </c:pt>
                <c:pt idx="3977">
                  <c:v>26.699-26.706</c:v>
                </c:pt>
                <c:pt idx="3978">
                  <c:v>26.706-26.712</c:v>
                </c:pt>
                <c:pt idx="3979">
                  <c:v>26.712-26.719</c:v>
                </c:pt>
                <c:pt idx="3980">
                  <c:v>26.719-26.726</c:v>
                </c:pt>
                <c:pt idx="3981">
                  <c:v>26.726-26.732</c:v>
                </c:pt>
                <c:pt idx="3982">
                  <c:v>26.732-26.739</c:v>
                </c:pt>
                <c:pt idx="3983">
                  <c:v>26.739-26.746</c:v>
                </c:pt>
                <c:pt idx="3984">
                  <c:v>26.746-26.753</c:v>
                </c:pt>
                <c:pt idx="3985">
                  <c:v>26.753-26.759</c:v>
                </c:pt>
                <c:pt idx="3986">
                  <c:v>26.759-26.766</c:v>
                </c:pt>
                <c:pt idx="3987">
                  <c:v>26.766-26.773</c:v>
                </c:pt>
                <c:pt idx="3988">
                  <c:v>26.773-26.779</c:v>
                </c:pt>
                <c:pt idx="3989">
                  <c:v>26.779-26.786</c:v>
                </c:pt>
                <c:pt idx="3990">
                  <c:v>26.786-26.793</c:v>
                </c:pt>
                <c:pt idx="3991">
                  <c:v>26.793-26.800</c:v>
                </c:pt>
                <c:pt idx="3992">
                  <c:v>26.800-26.806</c:v>
                </c:pt>
                <c:pt idx="3993">
                  <c:v>26.806-26.813</c:v>
                </c:pt>
                <c:pt idx="3994">
                  <c:v>26.813-26.820</c:v>
                </c:pt>
                <c:pt idx="3995">
                  <c:v>26.820-26.826</c:v>
                </c:pt>
                <c:pt idx="3996">
                  <c:v>26.826-26.833</c:v>
                </c:pt>
                <c:pt idx="3997">
                  <c:v>26.833-26.840</c:v>
                </c:pt>
                <c:pt idx="3998">
                  <c:v>26.840-26.846</c:v>
                </c:pt>
                <c:pt idx="3999">
                  <c:v>26.846-26.853</c:v>
                </c:pt>
                <c:pt idx="4000">
                  <c:v>26.853-26.860</c:v>
                </c:pt>
                <c:pt idx="4001">
                  <c:v>26.860-26.867</c:v>
                </c:pt>
                <c:pt idx="4002">
                  <c:v>26.867-26.873</c:v>
                </c:pt>
                <c:pt idx="4003">
                  <c:v>26.873-26.880</c:v>
                </c:pt>
                <c:pt idx="4004">
                  <c:v>26.880-26.887</c:v>
                </c:pt>
                <c:pt idx="4005">
                  <c:v>26.887-26.893</c:v>
                </c:pt>
                <c:pt idx="4006">
                  <c:v>26.893-26.900</c:v>
                </c:pt>
                <c:pt idx="4007">
                  <c:v>26.900-26.907</c:v>
                </c:pt>
                <c:pt idx="4008">
                  <c:v>26.907-26.914</c:v>
                </c:pt>
                <c:pt idx="4009">
                  <c:v>26.914-26.920</c:v>
                </c:pt>
                <c:pt idx="4010">
                  <c:v>26.920-26.927</c:v>
                </c:pt>
                <c:pt idx="4011">
                  <c:v>26.927-26.934</c:v>
                </c:pt>
                <c:pt idx="4012">
                  <c:v>26.934-26.940</c:v>
                </c:pt>
                <c:pt idx="4013">
                  <c:v>26.940-26.947</c:v>
                </c:pt>
                <c:pt idx="4014">
                  <c:v>26.947-26.954</c:v>
                </c:pt>
                <c:pt idx="4015">
                  <c:v>26.954-26.961</c:v>
                </c:pt>
                <c:pt idx="4016">
                  <c:v>26.961-26.967</c:v>
                </c:pt>
                <c:pt idx="4017">
                  <c:v>26.967-26.974</c:v>
                </c:pt>
                <c:pt idx="4018">
                  <c:v>26.974-26.981</c:v>
                </c:pt>
                <c:pt idx="4019">
                  <c:v>26.981-26.987</c:v>
                </c:pt>
                <c:pt idx="4020">
                  <c:v>26.987-26.994</c:v>
                </c:pt>
                <c:pt idx="4021">
                  <c:v>26.994-27.001</c:v>
                </c:pt>
                <c:pt idx="4022">
                  <c:v>27.001-27.008</c:v>
                </c:pt>
                <c:pt idx="4023">
                  <c:v>27.008-27.014</c:v>
                </c:pt>
                <c:pt idx="4024">
                  <c:v>27.014-27.021</c:v>
                </c:pt>
                <c:pt idx="4025">
                  <c:v>27.021-27.028</c:v>
                </c:pt>
                <c:pt idx="4026">
                  <c:v>27.028-27.034</c:v>
                </c:pt>
                <c:pt idx="4027">
                  <c:v>27.034-27.041</c:v>
                </c:pt>
                <c:pt idx="4028">
                  <c:v>27.041-27.048</c:v>
                </c:pt>
                <c:pt idx="4029">
                  <c:v>27.048-27.055</c:v>
                </c:pt>
                <c:pt idx="4030">
                  <c:v>27.055-27.061</c:v>
                </c:pt>
                <c:pt idx="4031">
                  <c:v>27.061-27.068</c:v>
                </c:pt>
                <c:pt idx="4032">
                  <c:v>27.068-27.075</c:v>
                </c:pt>
                <c:pt idx="4033">
                  <c:v>27.075-27.081</c:v>
                </c:pt>
                <c:pt idx="4034">
                  <c:v>27.081-27.088</c:v>
                </c:pt>
                <c:pt idx="4035">
                  <c:v>27.088-27.095</c:v>
                </c:pt>
                <c:pt idx="4036">
                  <c:v>27.095-27.101</c:v>
                </c:pt>
                <c:pt idx="4037">
                  <c:v>27.101-27.108</c:v>
                </c:pt>
                <c:pt idx="4038">
                  <c:v>27.108-27.115</c:v>
                </c:pt>
                <c:pt idx="4039">
                  <c:v>27.115-27.122</c:v>
                </c:pt>
                <c:pt idx="4040">
                  <c:v>27.122-27.128</c:v>
                </c:pt>
                <c:pt idx="4041">
                  <c:v>27.128-27.135</c:v>
                </c:pt>
                <c:pt idx="4042">
                  <c:v>27.135-27.142</c:v>
                </c:pt>
                <c:pt idx="4043">
                  <c:v>27.142-27.148</c:v>
                </c:pt>
                <c:pt idx="4044">
                  <c:v>27.148-27.155</c:v>
                </c:pt>
                <c:pt idx="4045">
                  <c:v>27.155-27.162</c:v>
                </c:pt>
                <c:pt idx="4046">
                  <c:v>27.162-27.169</c:v>
                </c:pt>
                <c:pt idx="4047">
                  <c:v>27.169-27.175</c:v>
                </c:pt>
                <c:pt idx="4048">
                  <c:v>27.175-27.182</c:v>
                </c:pt>
                <c:pt idx="4049">
                  <c:v>27.182-27.189</c:v>
                </c:pt>
                <c:pt idx="4050">
                  <c:v>27.189-27.195</c:v>
                </c:pt>
                <c:pt idx="4051">
                  <c:v>27.195-27.202</c:v>
                </c:pt>
                <c:pt idx="4052">
                  <c:v>27.202-27.209</c:v>
                </c:pt>
                <c:pt idx="4053">
                  <c:v>27.209-27.216</c:v>
                </c:pt>
                <c:pt idx="4054">
                  <c:v>27.216-27.222</c:v>
                </c:pt>
                <c:pt idx="4055">
                  <c:v>27.222-27.229</c:v>
                </c:pt>
                <c:pt idx="4056">
                  <c:v>27.229-27.236</c:v>
                </c:pt>
                <c:pt idx="4057">
                  <c:v>27.236-27.242</c:v>
                </c:pt>
                <c:pt idx="4058">
                  <c:v>27.242-27.249</c:v>
                </c:pt>
                <c:pt idx="4059">
                  <c:v>27.249-27.256</c:v>
                </c:pt>
                <c:pt idx="4060">
                  <c:v>27.256-27.263</c:v>
                </c:pt>
                <c:pt idx="4061">
                  <c:v>27.263-27.269</c:v>
                </c:pt>
                <c:pt idx="4062">
                  <c:v>27.269-27.276</c:v>
                </c:pt>
                <c:pt idx="4063">
                  <c:v>27.276-27.283</c:v>
                </c:pt>
                <c:pt idx="4064">
                  <c:v>27.283-27.289</c:v>
                </c:pt>
                <c:pt idx="4065">
                  <c:v>27.289-27.296</c:v>
                </c:pt>
                <c:pt idx="4066">
                  <c:v>27.296-27.303</c:v>
                </c:pt>
                <c:pt idx="4067">
                  <c:v>27.303-27.310</c:v>
                </c:pt>
                <c:pt idx="4068">
                  <c:v>27.310-27.316</c:v>
                </c:pt>
                <c:pt idx="4069">
                  <c:v>27.316-27.323</c:v>
                </c:pt>
                <c:pt idx="4070">
                  <c:v>27.323-27.330</c:v>
                </c:pt>
                <c:pt idx="4071">
                  <c:v>27.330-27.336</c:v>
                </c:pt>
                <c:pt idx="4072">
                  <c:v>27.336-27.343</c:v>
                </c:pt>
                <c:pt idx="4073">
                  <c:v>27.343-27.350</c:v>
                </c:pt>
                <c:pt idx="4074">
                  <c:v>27.350-27.357</c:v>
                </c:pt>
                <c:pt idx="4075">
                  <c:v>27.357-27.363</c:v>
                </c:pt>
                <c:pt idx="4076">
                  <c:v>27.363-27.370</c:v>
                </c:pt>
                <c:pt idx="4077">
                  <c:v>27.370-27.377</c:v>
                </c:pt>
                <c:pt idx="4078">
                  <c:v>27.377-27.383</c:v>
                </c:pt>
                <c:pt idx="4079">
                  <c:v>27.383-27.390</c:v>
                </c:pt>
                <c:pt idx="4080">
                  <c:v>27.390-27.397</c:v>
                </c:pt>
                <c:pt idx="4081">
                  <c:v>27.397-27.403</c:v>
                </c:pt>
                <c:pt idx="4082">
                  <c:v>27.403-27.410</c:v>
                </c:pt>
                <c:pt idx="4083">
                  <c:v>27.410-27.417</c:v>
                </c:pt>
                <c:pt idx="4084">
                  <c:v>27.417-27.424</c:v>
                </c:pt>
                <c:pt idx="4085">
                  <c:v>27.424-27.430</c:v>
                </c:pt>
                <c:pt idx="4086">
                  <c:v>27.430-27.437</c:v>
                </c:pt>
                <c:pt idx="4087">
                  <c:v>27.437-27.444</c:v>
                </c:pt>
                <c:pt idx="4088">
                  <c:v>27.444-27.450</c:v>
                </c:pt>
                <c:pt idx="4089">
                  <c:v>27.450-27.457</c:v>
                </c:pt>
                <c:pt idx="4090">
                  <c:v>27.457-27.464</c:v>
                </c:pt>
                <c:pt idx="4091">
                  <c:v>27.464-27.471</c:v>
                </c:pt>
                <c:pt idx="4092">
                  <c:v>27.471-27.477</c:v>
                </c:pt>
                <c:pt idx="4093">
                  <c:v>27.477-27.484</c:v>
                </c:pt>
                <c:pt idx="4094">
                  <c:v>27.484-27.491</c:v>
                </c:pt>
                <c:pt idx="4095">
                  <c:v>27.491-27.497</c:v>
                </c:pt>
                <c:pt idx="4096">
                  <c:v>27.497-27.504</c:v>
                </c:pt>
                <c:pt idx="4097">
                  <c:v>27.504-27.511</c:v>
                </c:pt>
                <c:pt idx="4098">
                  <c:v>27.511-27.518</c:v>
                </c:pt>
                <c:pt idx="4099">
                  <c:v>27.518-27.524</c:v>
                </c:pt>
                <c:pt idx="4100">
                  <c:v>27.524-27.531</c:v>
                </c:pt>
                <c:pt idx="4101">
                  <c:v>27.531-27.538</c:v>
                </c:pt>
                <c:pt idx="4102">
                  <c:v>27.538-27.544</c:v>
                </c:pt>
                <c:pt idx="4103">
                  <c:v>27.544-27.551</c:v>
                </c:pt>
                <c:pt idx="4104">
                  <c:v>27.551-27.558</c:v>
                </c:pt>
                <c:pt idx="4105">
                  <c:v>27.558-27.565</c:v>
                </c:pt>
                <c:pt idx="4106">
                  <c:v>27.565-27.571</c:v>
                </c:pt>
                <c:pt idx="4107">
                  <c:v>27.571-27.578</c:v>
                </c:pt>
                <c:pt idx="4108">
                  <c:v>27.578-27.585</c:v>
                </c:pt>
                <c:pt idx="4109">
                  <c:v>27.585-27.591</c:v>
                </c:pt>
                <c:pt idx="4110">
                  <c:v>27.591-27.598</c:v>
                </c:pt>
                <c:pt idx="4111">
                  <c:v>27.598-27.605</c:v>
                </c:pt>
                <c:pt idx="4112">
                  <c:v>27.605-27.612</c:v>
                </c:pt>
                <c:pt idx="4113">
                  <c:v>27.612-27.618</c:v>
                </c:pt>
                <c:pt idx="4114">
                  <c:v>27.618-27.625</c:v>
                </c:pt>
                <c:pt idx="4115">
                  <c:v>27.625-27.632</c:v>
                </c:pt>
                <c:pt idx="4116">
                  <c:v>27.632-27.638</c:v>
                </c:pt>
                <c:pt idx="4117">
                  <c:v>27.638-27.645</c:v>
                </c:pt>
                <c:pt idx="4118">
                  <c:v>27.645-27.652</c:v>
                </c:pt>
                <c:pt idx="4119">
                  <c:v>27.652-27.658</c:v>
                </c:pt>
                <c:pt idx="4120">
                  <c:v>27.658-27.665</c:v>
                </c:pt>
                <c:pt idx="4121">
                  <c:v>27.665-27.672</c:v>
                </c:pt>
                <c:pt idx="4122">
                  <c:v>27.672-27.679</c:v>
                </c:pt>
                <c:pt idx="4123">
                  <c:v>27.679-27.685</c:v>
                </c:pt>
                <c:pt idx="4124">
                  <c:v>27.685-27.692</c:v>
                </c:pt>
                <c:pt idx="4125">
                  <c:v>27.692-27.699</c:v>
                </c:pt>
                <c:pt idx="4126">
                  <c:v>27.699-27.705</c:v>
                </c:pt>
                <c:pt idx="4127">
                  <c:v>27.705-27.712</c:v>
                </c:pt>
                <c:pt idx="4128">
                  <c:v>27.712-27.719</c:v>
                </c:pt>
                <c:pt idx="4129">
                  <c:v>27.719-27.726</c:v>
                </c:pt>
                <c:pt idx="4130">
                  <c:v>27.726-27.732</c:v>
                </c:pt>
                <c:pt idx="4131">
                  <c:v>27.732-27.739</c:v>
                </c:pt>
                <c:pt idx="4132">
                  <c:v>27.739-27.746</c:v>
                </c:pt>
                <c:pt idx="4133">
                  <c:v>27.746-27.752</c:v>
                </c:pt>
                <c:pt idx="4134">
                  <c:v>27.752-27.759</c:v>
                </c:pt>
                <c:pt idx="4135">
                  <c:v>27.759-27.766</c:v>
                </c:pt>
                <c:pt idx="4136">
                  <c:v>27.766-27.773</c:v>
                </c:pt>
                <c:pt idx="4137">
                  <c:v>27.773-27.779</c:v>
                </c:pt>
                <c:pt idx="4138">
                  <c:v>27.779-27.786</c:v>
                </c:pt>
                <c:pt idx="4139">
                  <c:v>27.786-27.793</c:v>
                </c:pt>
                <c:pt idx="4140">
                  <c:v>27.793-27.799</c:v>
                </c:pt>
                <c:pt idx="4141">
                  <c:v>27.799-27.806</c:v>
                </c:pt>
                <c:pt idx="4142">
                  <c:v>27.806-27.813</c:v>
                </c:pt>
                <c:pt idx="4143">
                  <c:v>27.813-27.820</c:v>
                </c:pt>
                <c:pt idx="4144">
                  <c:v>27.820-27.826</c:v>
                </c:pt>
                <c:pt idx="4145">
                  <c:v>27.826-27.833</c:v>
                </c:pt>
                <c:pt idx="4146">
                  <c:v>27.833-27.840</c:v>
                </c:pt>
                <c:pt idx="4147">
                  <c:v>27.840-27.846</c:v>
                </c:pt>
                <c:pt idx="4148">
                  <c:v>27.846-27.853</c:v>
                </c:pt>
                <c:pt idx="4149">
                  <c:v>27.853-27.860</c:v>
                </c:pt>
                <c:pt idx="4150">
                  <c:v>27.860-27.867</c:v>
                </c:pt>
                <c:pt idx="4151">
                  <c:v>27.867-27.873</c:v>
                </c:pt>
                <c:pt idx="4152">
                  <c:v>27.873-27.880</c:v>
                </c:pt>
                <c:pt idx="4153">
                  <c:v>27.880-27.887</c:v>
                </c:pt>
                <c:pt idx="4154">
                  <c:v>27.887-27.893</c:v>
                </c:pt>
                <c:pt idx="4155">
                  <c:v>27.893-27.900</c:v>
                </c:pt>
                <c:pt idx="4156">
                  <c:v>27.900-27.907</c:v>
                </c:pt>
                <c:pt idx="4157">
                  <c:v>27.907-27.914</c:v>
                </c:pt>
                <c:pt idx="4158">
                  <c:v>27.914-27.920</c:v>
                </c:pt>
                <c:pt idx="4159">
                  <c:v>27.920-27.927</c:v>
                </c:pt>
                <c:pt idx="4160">
                  <c:v>27.927-27.934</c:v>
                </c:pt>
                <c:pt idx="4161">
                  <c:v>27.934-27.940</c:v>
                </c:pt>
                <c:pt idx="4162">
                  <c:v>27.940-27.947</c:v>
                </c:pt>
                <c:pt idx="4163">
                  <c:v>27.947-27.954</c:v>
                </c:pt>
                <c:pt idx="4164">
                  <c:v>27.954-27.960</c:v>
                </c:pt>
                <c:pt idx="4165">
                  <c:v>27.960-27.967</c:v>
                </c:pt>
                <c:pt idx="4166">
                  <c:v>27.967-27.974</c:v>
                </c:pt>
                <c:pt idx="4167">
                  <c:v>27.974-27.981</c:v>
                </c:pt>
                <c:pt idx="4168">
                  <c:v>27.981-27.987</c:v>
                </c:pt>
                <c:pt idx="4169">
                  <c:v>27.987-27.994</c:v>
                </c:pt>
                <c:pt idx="4170">
                  <c:v>27.994-28.001</c:v>
                </c:pt>
                <c:pt idx="4171">
                  <c:v>28.001-28.007</c:v>
                </c:pt>
                <c:pt idx="4172">
                  <c:v>28.007-28.014</c:v>
                </c:pt>
                <c:pt idx="4173">
                  <c:v>28.014-28.021</c:v>
                </c:pt>
                <c:pt idx="4174">
                  <c:v>28.021-28.028</c:v>
                </c:pt>
                <c:pt idx="4175">
                  <c:v>28.028-28.034</c:v>
                </c:pt>
                <c:pt idx="4176">
                  <c:v>28.034-28.041</c:v>
                </c:pt>
                <c:pt idx="4177">
                  <c:v>28.041-28.048</c:v>
                </c:pt>
                <c:pt idx="4178">
                  <c:v>28.048-28.054</c:v>
                </c:pt>
                <c:pt idx="4179">
                  <c:v>28.054-28.061</c:v>
                </c:pt>
                <c:pt idx="4180">
                  <c:v>28.061-28.068</c:v>
                </c:pt>
                <c:pt idx="4181">
                  <c:v>28.068-28.075</c:v>
                </c:pt>
                <c:pt idx="4182">
                  <c:v>28.075-28.081</c:v>
                </c:pt>
                <c:pt idx="4183">
                  <c:v>28.081-28.088</c:v>
                </c:pt>
                <c:pt idx="4184">
                  <c:v>28.088-28.095</c:v>
                </c:pt>
                <c:pt idx="4185">
                  <c:v>28.095-28.101</c:v>
                </c:pt>
                <c:pt idx="4186">
                  <c:v>28.101-28.108</c:v>
                </c:pt>
                <c:pt idx="4187">
                  <c:v>28.108-28.115</c:v>
                </c:pt>
                <c:pt idx="4188">
                  <c:v>28.115-28.122</c:v>
                </c:pt>
                <c:pt idx="4189">
                  <c:v>28.122-28.128</c:v>
                </c:pt>
                <c:pt idx="4190">
                  <c:v>28.128-28.135</c:v>
                </c:pt>
                <c:pt idx="4191">
                  <c:v>28.135-28.142</c:v>
                </c:pt>
                <c:pt idx="4192">
                  <c:v>28.142-28.148</c:v>
                </c:pt>
                <c:pt idx="4193">
                  <c:v>28.148-28.155</c:v>
                </c:pt>
                <c:pt idx="4194">
                  <c:v>28.155-28.162</c:v>
                </c:pt>
                <c:pt idx="4195">
                  <c:v>28.162-28.169</c:v>
                </c:pt>
                <c:pt idx="4196">
                  <c:v>28.169-28.175</c:v>
                </c:pt>
                <c:pt idx="4197">
                  <c:v>28.175-28.182</c:v>
                </c:pt>
                <c:pt idx="4198">
                  <c:v>28.182-28.189</c:v>
                </c:pt>
                <c:pt idx="4199">
                  <c:v>28.189-28.195</c:v>
                </c:pt>
                <c:pt idx="4200">
                  <c:v>28.195-28.202</c:v>
                </c:pt>
                <c:pt idx="4201">
                  <c:v>28.202-28.209</c:v>
                </c:pt>
                <c:pt idx="4202">
                  <c:v>28.209-28.215</c:v>
                </c:pt>
                <c:pt idx="4203">
                  <c:v>28.215-28.222</c:v>
                </c:pt>
                <c:pt idx="4204">
                  <c:v>28.222-28.229</c:v>
                </c:pt>
                <c:pt idx="4205">
                  <c:v>28.229-28.236</c:v>
                </c:pt>
                <c:pt idx="4206">
                  <c:v>28.236-28.242</c:v>
                </c:pt>
                <c:pt idx="4207">
                  <c:v>28.242-28.249</c:v>
                </c:pt>
                <c:pt idx="4208">
                  <c:v>28.249-28.256</c:v>
                </c:pt>
                <c:pt idx="4209">
                  <c:v>28.256-28.262</c:v>
                </c:pt>
                <c:pt idx="4210">
                  <c:v>28.262-28.269</c:v>
                </c:pt>
                <c:pt idx="4211">
                  <c:v>28.269-28.276</c:v>
                </c:pt>
                <c:pt idx="4212">
                  <c:v>28.276-28.283</c:v>
                </c:pt>
                <c:pt idx="4213">
                  <c:v>28.283-28.289</c:v>
                </c:pt>
                <c:pt idx="4214">
                  <c:v>28.289-28.296</c:v>
                </c:pt>
                <c:pt idx="4215">
                  <c:v>28.296-28.303</c:v>
                </c:pt>
                <c:pt idx="4216">
                  <c:v>28.303-28.309</c:v>
                </c:pt>
                <c:pt idx="4217">
                  <c:v>28.309-28.316</c:v>
                </c:pt>
                <c:pt idx="4218">
                  <c:v>28.316-28.323</c:v>
                </c:pt>
                <c:pt idx="4219">
                  <c:v>28.323-28.330</c:v>
                </c:pt>
                <c:pt idx="4220">
                  <c:v>28.330-28.336</c:v>
                </c:pt>
                <c:pt idx="4221">
                  <c:v>28.336-28.343</c:v>
                </c:pt>
                <c:pt idx="4222">
                  <c:v>28.343-28.350</c:v>
                </c:pt>
                <c:pt idx="4223">
                  <c:v>28.350-28.356</c:v>
                </c:pt>
                <c:pt idx="4224">
                  <c:v>28.356-28.363</c:v>
                </c:pt>
                <c:pt idx="4225">
                  <c:v>28.363-28.370</c:v>
                </c:pt>
                <c:pt idx="4226">
                  <c:v>28.370-28.377</c:v>
                </c:pt>
                <c:pt idx="4227">
                  <c:v>28.377-28.383</c:v>
                </c:pt>
                <c:pt idx="4228">
                  <c:v>28.383-28.390</c:v>
                </c:pt>
                <c:pt idx="4229">
                  <c:v>28.390-28.397</c:v>
                </c:pt>
                <c:pt idx="4230">
                  <c:v>28.397-28.403</c:v>
                </c:pt>
                <c:pt idx="4231">
                  <c:v>28.403-28.410</c:v>
                </c:pt>
                <c:pt idx="4232">
                  <c:v>28.410-28.417</c:v>
                </c:pt>
                <c:pt idx="4233">
                  <c:v>28.417-28.424</c:v>
                </c:pt>
                <c:pt idx="4234">
                  <c:v>28.424-28.430</c:v>
                </c:pt>
                <c:pt idx="4235">
                  <c:v>28.430-28.437</c:v>
                </c:pt>
                <c:pt idx="4236">
                  <c:v>28.437-28.444</c:v>
                </c:pt>
                <c:pt idx="4237">
                  <c:v>28.444-28.450</c:v>
                </c:pt>
                <c:pt idx="4238">
                  <c:v>28.450-28.457</c:v>
                </c:pt>
                <c:pt idx="4239">
                  <c:v>28.457-28.464</c:v>
                </c:pt>
                <c:pt idx="4240">
                  <c:v>28.464-28.471</c:v>
                </c:pt>
                <c:pt idx="4241">
                  <c:v>28.471-28.477</c:v>
                </c:pt>
                <c:pt idx="4242">
                  <c:v>28.477-28.484</c:v>
                </c:pt>
                <c:pt idx="4243">
                  <c:v>28.484-28.491</c:v>
                </c:pt>
                <c:pt idx="4244">
                  <c:v>28.491-28.497</c:v>
                </c:pt>
                <c:pt idx="4245">
                  <c:v>28.497-28.504</c:v>
                </c:pt>
                <c:pt idx="4246">
                  <c:v>28.504-28.511</c:v>
                </c:pt>
                <c:pt idx="4247">
                  <c:v>28.511-28.517</c:v>
                </c:pt>
                <c:pt idx="4248">
                  <c:v>28.517-28.524</c:v>
                </c:pt>
                <c:pt idx="4249">
                  <c:v>28.524-28.531</c:v>
                </c:pt>
                <c:pt idx="4250">
                  <c:v>28.531-28.538</c:v>
                </c:pt>
                <c:pt idx="4251">
                  <c:v>28.538-28.544</c:v>
                </c:pt>
                <c:pt idx="4252">
                  <c:v>28.544-28.551</c:v>
                </c:pt>
                <c:pt idx="4253">
                  <c:v>28.551-28.558</c:v>
                </c:pt>
                <c:pt idx="4254">
                  <c:v>28.558-28.564</c:v>
                </c:pt>
                <c:pt idx="4255">
                  <c:v>28.564-28.571</c:v>
                </c:pt>
                <c:pt idx="4256">
                  <c:v>28.571-28.578</c:v>
                </c:pt>
                <c:pt idx="4257">
                  <c:v>28.578-28.585</c:v>
                </c:pt>
                <c:pt idx="4258">
                  <c:v>28.585-28.591</c:v>
                </c:pt>
                <c:pt idx="4259">
                  <c:v>28.591-28.598</c:v>
                </c:pt>
                <c:pt idx="4260">
                  <c:v>28.598-28.605</c:v>
                </c:pt>
                <c:pt idx="4261">
                  <c:v>28.605-28.611</c:v>
                </c:pt>
                <c:pt idx="4262">
                  <c:v>28.611-28.618</c:v>
                </c:pt>
                <c:pt idx="4263">
                  <c:v>28.618-28.625</c:v>
                </c:pt>
                <c:pt idx="4264">
                  <c:v>28.625-28.632</c:v>
                </c:pt>
                <c:pt idx="4265">
                  <c:v>28.632-28.638</c:v>
                </c:pt>
                <c:pt idx="4266">
                  <c:v>28.638-28.645</c:v>
                </c:pt>
                <c:pt idx="4267">
                  <c:v>28.645-28.652</c:v>
                </c:pt>
                <c:pt idx="4268">
                  <c:v>28.652-28.658</c:v>
                </c:pt>
                <c:pt idx="4269">
                  <c:v>28.658-28.665</c:v>
                </c:pt>
                <c:pt idx="4270">
                  <c:v>28.665-28.672</c:v>
                </c:pt>
                <c:pt idx="4271">
                  <c:v>28.672-28.679</c:v>
                </c:pt>
                <c:pt idx="4272">
                  <c:v>28.679-28.685</c:v>
                </c:pt>
                <c:pt idx="4273">
                  <c:v>28.685-28.692</c:v>
                </c:pt>
                <c:pt idx="4274">
                  <c:v>28.692-28.699</c:v>
                </c:pt>
                <c:pt idx="4275">
                  <c:v>28.699-28.705</c:v>
                </c:pt>
                <c:pt idx="4276">
                  <c:v>28.705-28.712</c:v>
                </c:pt>
                <c:pt idx="4277">
                  <c:v>28.712-28.719</c:v>
                </c:pt>
                <c:pt idx="4278">
                  <c:v>28.719-28.726</c:v>
                </c:pt>
                <c:pt idx="4279">
                  <c:v>28.726-28.732</c:v>
                </c:pt>
                <c:pt idx="4280">
                  <c:v>28.732-28.739</c:v>
                </c:pt>
                <c:pt idx="4281">
                  <c:v>28.739-28.746</c:v>
                </c:pt>
                <c:pt idx="4282">
                  <c:v>28.746-28.752</c:v>
                </c:pt>
                <c:pt idx="4283">
                  <c:v>28.752-28.759</c:v>
                </c:pt>
                <c:pt idx="4284">
                  <c:v>28.759-28.766</c:v>
                </c:pt>
                <c:pt idx="4285">
                  <c:v>28.766-28.772</c:v>
                </c:pt>
                <c:pt idx="4286">
                  <c:v>28.772-28.779</c:v>
                </c:pt>
                <c:pt idx="4287">
                  <c:v>28.779-28.786</c:v>
                </c:pt>
                <c:pt idx="4288">
                  <c:v>28.786-28.793</c:v>
                </c:pt>
                <c:pt idx="4289">
                  <c:v>28.793-28.799</c:v>
                </c:pt>
                <c:pt idx="4290">
                  <c:v>28.799-28.806</c:v>
                </c:pt>
                <c:pt idx="4291">
                  <c:v>28.806-28.813</c:v>
                </c:pt>
                <c:pt idx="4292">
                  <c:v>28.813-28.819</c:v>
                </c:pt>
                <c:pt idx="4293">
                  <c:v>28.819-28.826</c:v>
                </c:pt>
                <c:pt idx="4294">
                  <c:v>28.826-28.833</c:v>
                </c:pt>
                <c:pt idx="4295">
                  <c:v>28.833-28.840</c:v>
                </c:pt>
                <c:pt idx="4296">
                  <c:v>28.840-28.846</c:v>
                </c:pt>
                <c:pt idx="4297">
                  <c:v>28.846-28.853</c:v>
                </c:pt>
                <c:pt idx="4298">
                  <c:v>28.853-28.860</c:v>
                </c:pt>
                <c:pt idx="4299">
                  <c:v>28.860-28.866</c:v>
                </c:pt>
                <c:pt idx="4300">
                  <c:v>28.866-28.873</c:v>
                </c:pt>
                <c:pt idx="4301">
                  <c:v>28.873-28.880</c:v>
                </c:pt>
                <c:pt idx="4302">
                  <c:v>28.880-28.887</c:v>
                </c:pt>
                <c:pt idx="4303">
                  <c:v>28.887-28.893</c:v>
                </c:pt>
                <c:pt idx="4304">
                  <c:v>28.893-28.900</c:v>
                </c:pt>
                <c:pt idx="4305">
                  <c:v>28.900-28.907</c:v>
                </c:pt>
                <c:pt idx="4306">
                  <c:v>28.907-28.913</c:v>
                </c:pt>
                <c:pt idx="4307">
                  <c:v>28.913-28.920</c:v>
                </c:pt>
                <c:pt idx="4308">
                  <c:v>28.920-28.927</c:v>
                </c:pt>
                <c:pt idx="4309">
                  <c:v>28.927-28.934</c:v>
                </c:pt>
                <c:pt idx="4310">
                  <c:v>28.934-28.940</c:v>
                </c:pt>
                <c:pt idx="4311">
                  <c:v>28.940-28.947</c:v>
                </c:pt>
                <c:pt idx="4312">
                  <c:v>28.947-28.954</c:v>
                </c:pt>
                <c:pt idx="4313">
                  <c:v>28.954-28.960</c:v>
                </c:pt>
                <c:pt idx="4314">
                  <c:v>28.960-28.967</c:v>
                </c:pt>
                <c:pt idx="4315">
                  <c:v>28.967-28.974</c:v>
                </c:pt>
                <c:pt idx="4316">
                  <c:v>28.974-28.981</c:v>
                </c:pt>
                <c:pt idx="4317">
                  <c:v>28.981-28.987</c:v>
                </c:pt>
                <c:pt idx="4318">
                  <c:v>28.987-28.994</c:v>
                </c:pt>
                <c:pt idx="4319">
                  <c:v>28.994-29.001</c:v>
                </c:pt>
                <c:pt idx="4320">
                  <c:v>29.001-29.007</c:v>
                </c:pt>
                <c:pt idx="4321">
                  <c:v>29.007-29.014</c:v>
                </c:pt>
                <c:pt idx="4322">
                  <c:v>29.014-29.021</c:v>
                </c:pt>
                <c:pt idx="4323">
                  <c:v>29.021-29.027</c:v>
                </c:pt>
                <c:pt idx="4324">
                  <c:v>29.027-29.034</c:v>
                </c:pt>
                <c:pt idx="4325">
                  <c:v>29.034-29.041</c:v>
                </c:pt>
                <c:pt idx="4326">
                  <c:v>29.041-29.048</c:v>
                </c:pt>
                <c:pt idx="4327">
                  <c:v>29.048-29.054</c:v>
                </c:pt>
                <c:pt idx="4328">
                  <c:v>29.054-29.061</c:v>
                </c:pt>
                <c:pt idx="4329">
                  <c:v>29.061-29.068</c:v>
                </c:pt>
                <c:pt idx="4330">
                  <c:v>29.068-29.074</c:v>
                </c:pt>
                <c:pt idx="4331">
                  <c:v>29.074-29.081</c:v>
                </c:pt>
                <c:pt idx="4332">
                  <c:v>29.081-29.088</c:v>
                </c:pt>
                <c:pt idx="4333">
                  <c:v>29.088-29.095</c:v>
                </c:pt>
                <c:pt idx="4334">
                  <c:v>29.095-29.101</c:v>
                </c:pt>
                <c:pt idx="4335">
                  <c:v>29.101-29.108</c:v>
                </c:pt>
                <c:pt idx="4336">
                  <c:v>29.108-29.115</c:v>
                </c:pt>
                <c:pt idx="4337">
                  <c:v>29.115-29.121</c:v>
                </c:pt>
                <c:pt idx="4338">
                  <c:v>29.121-29.128</c:v>
                </c:pt>
                <c:pt idx="4339">
                  <c:v>29.128-29.135</c:v>
                </c:pt>
                <c:pt idx="4340">
                  <c:v>29.135-29.142</c:v>
                </c:pt>
                <c:pt idx="4341">
                  <c:v>29.142-29.148</c:v>
                </c:pt>
                <c:pt idx="4342">
                  <c:v>29.148-29.155</c:v>
                </c:pt>
                <c:pt idx="4343">
                  <c:v>29.155-29.162</c:v>
                </c:pt>
                <c:pt idx="4344">
                  <c:v>29.162-29.168</c:v>
                </c:pt>
                <c:pt idx="4345">
                  <c:v>29.168-29.175</c:v>
                </c:pt>
                <c:pt idx="4346">
                  <c:v>29.175-29.182</c:v>
                </c:pt>
                <c:pt idx="4347">
                  <c:v>29.182-29.189</c:v>
                </c:pt>
                <c:pt idx="4348">
                  <c:v>29.189-29.195</c:v>
                </c:pt>
                <c:pt idx="4349">
                  <c:v>29.195-29.202</c:v>
                </c:pt>
                <c:pt idx="4350">
                  <c:v>29.202-29.209</c:v>
                </c:pt>
                <c:pt idx="4351">
                  <c:v>29.209-29.215</c:v>
                </c:pt>
                <c:pt idx="4352">
                  <c:v>29.215-29.222</c:v>
                </c:pt>
                <c:pt idx="4353">
                  <c:v>29.222-29.229</c:v>
                </c:pt>
                <c:pt idx="4354">
                  <c:v>29.229-29.236</c:v>
                </c:pt>
                <c:pt idx="4355">
                  <c:v>29.236-29.242</c:v>
                </c:pt>
                <c:pt idx="4356">
                  <c:v>29.242-29.249</c:v>
                </c:pt>
                <c:pt idx="4357">
                  <c:v>29.249-29.256</c:v>
                </c:pt>
                <c:pt idx="4358">
                  <c:v>29.256-29.262</c:v>
                </c:pt>
                <c:pt idx="4359">
                  <c:v>29.262-29.269</c:v>
                </c:pt>
                <c:pt idx="4360">
                  <c:v>29.269-29.276</c:v>
                </c:pt>
                <c:pt idx="4361">
                  <c:v>29.276-29.283</c:v>
                </c:pt>
                <c:pt idx="4362">
                  <c:v>29.283-29.289</c:v>
                </c:pt>
                <c:pt idx="4363">
                  <c:v>29.289-29.296</c:v>
                </c:pt>
                <c:pt idx="4364">
                  <c:v>29.296-29.303</c:v>
                </c:pt>
                <c:pt idx="4365">
                  <c:v>29.303-29.309</c:v>
                </c:pt>
                <c:pt idx="4366">
                  <c:v>29.309-29.316</c:v>
                </c:pt>
                <c:pt idx="4367">
                  <c:v>29.316-29.323</c:v>
                </c:pt>
                <c:pt idx="4368">
                  <c:v>29.323-29.329</c:v>
                </c:pt>
                <c:pt idx="4369">
                  <c:v>29.329-29.336</c:v>
                </c:pt>
                <c:pt idx="4370">
                  <c:v>29.336-29.343</c:v>
                </c:pt>
                <c:pt idx="4371">
                  <c:v>29.343-29.350</c:v>
                </c:pt>
                <c:pt idx="4372">
                  <c:v>29.350-29.356</c:v>
                </c:pt>
                <c:pt idx="4373">
                  <c:v>29.356-29.363</c:v>
                </c:pt>
                <c:pt idx="4374">
                  <c:v>29.363-29.370</c:v>
                </c:pt>
                <c:pt idx="4375">
                  <c:v>29.370-29.376</c:v>
                </c:pt>
                <c:pt idx="4376">
                  <c:v>29.376-29.383</c:v>
                </c:pt>
                <c:pt idx="4377">
                  <c:v>29.383-29.390</c:v>
                </c:pt>
                <c:pt idx="4378">
                  <c:v>29.390-29.397</c:v>
                </c:pt>
                <c:pt idx="4379">
                  <c:v>29.397-29.403</c:v>
                </c:pt>
                <c:pt idx="4380">
                  <c:v>29.403-29.410</c:v>
                </c:pt>
                <c:pt idx="4381">
                  <c:v>29.410-29.417</c:v>
                </c:pt>
                <c:pt idx="4382">
                  <c:v>29.417-29.423</c:v>
                </c:pt>
                <c:pt idx="4383">
                  <c:v>29.423-29.430</c:v>
                </c:pt>
                <c:pt idx="4384">
                  <c:v>29.430-29.437</c:v>
                </c:pt>
                <c:pt idx="4385">
                  <c:v>29.437-29.444</c:v>
                </c:pt>
                <c:pt idx="4386">
                  <c:v>29.444-29.450</c:v>
                </c:pt>
                <c:pt idx="4387">
                  <c:v>29.450-29.457</c:v>
                </c:pt>
                <c:pt idx="4388">
                  <c:v>29.457-29.464</c:v>
                </c:pt>
                <c:pt idx="4389">
                  <c:v>29.464-29.470</c:v>
                </c:pt>
                <c:pt idx="4390">
                  <c:v>29.470-29.477</c:v>
                </c:pt>
                <c:pt idx="4391">
                  <c:v>29.477-29.484</c:v>
                </c:pt>
                <c:pt idx="4392">
                  <c:v>29.484-29.491</c:v>
                </c:pt>
                <c:pt idx="4393">
                  <c:v>29.491-29.497</c:v>
                </c:pt>
                <c:pt idx="4394">
                  <c:v>29.497-29.504</c:v>
                </c:pt>
                <c:pt idx="4395">
                  <c:v>29.504-29.511</c:v>
                </c:pt>
                <c:pt idx="4396">
                  <c:v>29.511-29.517</c:v>
                </c:pt>
                <c:pt idx="4397">
                  <c:v>29.517-29.524</c:v>
                </c:pt>
                <c:pt idx="4398">
                  <c:v>29.524-29.531</c:v>
                </c:pt>
                <c:pt idx="4399">
                  <c:v>29.531-29.538</c:v>
                </c:pt>
                <c:pt idx="4400">
                  <c:v>29.538-29.544</c:v>
                </c:pt>
                <c:pt idx="4401">
                  <c:v>29.544-29.551</c:v>
                </c:pt>
                <c:pt idx="4402">
                  <c:v>29.551-29.558</c:v>
                </c:pt>
                <c:pt idx="4403">
                  <c:v>29.558-29.564</c:v>
                </c:pt>
                <c:pt idx="4404">
                  <c:v>29.564-29.571</c:v>
                </c:pt>
                <c:pt idx="4405">
                  <c:v>29.571-29.578</c:v>
                </c:pt>
                <c:pt idx="4406">
                  <c:v>29.578-29.584</c:v>
                </c:pt>
                <c:pt idx="4407">
                  <c:v>29.584-29.591</c:v>
                </c:pt>
                <c:pt idx="4408">
                  <c:v>29.591-29.598</c:v>
                </c:pt>
                <c:pt idx="4409">
                  <c:v>29.598-29.605</c:v>
                </c:pt>
                <c:pt idx="4410">
                  <c:v>29.605-29.611</c:v>
                </c:pt>
                <c:pt idx="4411">
                  <c:v>29.611-29.618</c:v>
                </c:pt>
                <c:pt idx="4412">
                  <c:v>29.618-29.625</c:v>
                </c:pt>
                <c:pt idx="4413">
                  <c:v>29.625-29.631</c:v>
                </c:pt>
                <c:pt idx="4414">
                  <c:v>29.631-29.638</c:v>
                </c:pt>
                <c:pt idx="4415">
                  <c:v>29.638-29.645</c:v>
                </c:pt>
                <c:pt idx="4416">
                  <c:v>29.645-29.652</c:v>
                </c:pt>
                <c:pt idx="4417">
                  <c:v>29.652-29.658</c:v>
                </c:pt>
                <c:pt idx="4418">
                  <c:v>29.658-29.665</c:v>
                </c:pt>
                <c:pt idx="4419">
                  <c:v>29.665-29.672</c:v>
                </c:pt>
                <c:pt idx="4420">
                  <c:v>29.672-29.678</c:v>
                </c:pt>
                <c:pt idx="4421">
                  <c:v>29.678-29.685</c:v>
                </c:pt>
                <c:pt idx="4422">
                  <c:v>29.685-29.692</c:v>
                </c:pt>
                <c:pt idx="4423">
                  <c:v>29.692-29.699</c:v>
                </c:pt>
                <c:pt idx="4424">
                  <c:v>29.699-29.705</c:v>
                </c:pt>
                <c:pt idx="4425">
                  <c:v>29.705-29.712</c:v>
                </c:pt>
                <c:pt idx="4426">
                  <c:v>29.712-29.719</c:v>
                </c:pt>
                <c:pt idx="4427">
                  <c:v>29.719-29.725</c:v>
                </c:pt>
                <c:pt idx="4428">
                  <c:v>29.725-29.732</c:v>
                </c:pt>
                <c:pt idx="4429">
                  <c:v>29.732-29.739</c:v>
                </c:pt>
                <c:pt idx="4430">
                  <c:v>29.739-29.746</c:v>
                </c:pt>
                <c:pt idx="4431">
                  <c:v>29.746-29.752</c:v>
                </c:pt>
                <c:pt idx="4432">
                  <c:v>29.752-29.759</c:v>
                </c:pt>
                <c:pt idx="4433">
                  <c:v>29.759-29.766</c:v>
                </c:pt>
                <c:pt idx="4434">
                  <c:v>29.766-29.772</c:v>
                </c:pt>
                <c:pt idx="4435">
                  <c:v>29.772-29.779</c:v>
                </c:pt>
                <c:pt idx="4436">
                  <c:v>29.779-29.786</c:v>
                </c:pt>
                <c:pt idx="4437">
                  <c:v>29.786-29.793</c:v>
                </c:pt>
                <c:pt idx="4438">
                  <c:v>29.793-29.799</c:v>
                </c:pt>
                <c:pt idx="4439">
                  <c:v>29.799-29.806</c:v>
                </c:pt>
                <c:pt idx="4440">
                  <c:v>29.806-29.813</c:v>
                </c:pt>
                <c:pt idx="4441">
                  <c:v>29.813-29.819</c:v>
                </c:pt>
                <c:pt idx="4442">
                  <c:v>29.819-29.826</c:v>
                </c:pt>
                <c:pt idx="4443">
                  <c:v>29.826-29.833</c:v>
                </c:pt>
                <c:pt idx="4444">
                  <c:v>29.833-29.840</c:v>
                </c:pt>
                <c:pt idx="4445">
                  <c:v>29.840-29.846</c:v>
                </c:pt>
                <c:pt idx="4446">
                  <c:v>29.846-29.853</c:v>
                </c:pt>
                <c:pt idx="4447">
                  <c:v>29.853-29.860</c:v>
                </c:pt>
                <c:pt idx="4448">
                  <c:v>29.860-29.866</c:v>
                </c:pt>
                <c:pt idx="4449">
                  <c:v>29.866-29.873</c:v>
                </c:pt>
                <c:pt idx="4450">
                  <c:v>29.873-29.880</c:v>
                </c:pt>
                <c:pt idx="4451">
                  <c:v>29.880-29.886</c:v>
                </c:pt>
                <c:pt idx="4452">
                  <c:v>29.886-29.893</c:v>
                </c:pt>
                <c:pt idx="4453">
                  <c:v>29.893-29.900</c:v>
                </c:pt>
                <c:pt idx="4454">
                  <c:v>29.900-29.907</c:v>
                </c:pt>
                <c:pt idx="4455">
                  <c:v>29.907-29.913</c:v>
                </c:pt>
                <c:pt idx="4456">
                  <c:v>29.913-29.920</c:v>
                </c:pt>
                <c:pt idx="4457">
                  <c:v>29.920-29.927</c:v>
                </c:pt>
                <c:pt idx="4458">
                  <c:v>29.927-29.933</c:v>
                </c:pt>
                <c:pt idx="4459">
                  <c:v>29.933-29.940</c:v>
                </c:pt>
                <c:pt idx="4460">
                  <c:v>29.940-29.947</c:v>
                </c:pt>
                <c:pt idx="4461">
                  <c:v>29.947-29.954</c:v>
                </c:pt>
                <c:pt idx="4462">
                  <c:v>29.954-29.960</c:v>
                </c:pt>
                <c:pt idx="4463">
                  <c:v>29.960-29.967</c:v>
                </c:pt>
                <c:pt idx="4464">
                  <c:v>29.967-29.974</c:v>
                </c:pt>
                <c:pt idx="4465">
                  <c:v>29.974-29.980</c:v>
                </c:pt>
                <c:pt idx="4466">
                  <c:v>29.980-29.987</c:v>
                </c:pt>
                <c:pt idx="4467">
                  <c:v>29.987-29.994</c:v>
                </c:pt>
                <c:pt idx="4468">
                  <c:v>29.994-30.001</c:v>
                </c:pt>
                <c:pt idx="4469">
                  <c:v>30.001-30.007</c:v>
                </c:pt>
                <c:pt idx="4470">
                  <c:v>30.007-30.014</c:v>
                </c:pt>
                <c:pt idx="4471">
                  <c:v>30.014-30.021</c:v>
                </c:pt>
                <c:pt idx="4472">
                  <c:v>30.021-30.027</c:v>
                </c:pt>
                <c:pt idx="4473">
                  <c:v>30.027-30.034</c:v>
                </c:pt>
                <c:pt idx="4474">
                  <c:v>30.034-30.041</c:v>
                </c:pt>
                <c:pt idx="4475">
                  <c:v>30.041-30.048</c:v>
                </c:pt>
                <c:pt idx="4476">
                  <c:v>30.048-30.054</c:v>
                </c:pt>
                <c:pt idx="4477">
                  <c:v>30.054-30.061</c:v>
                </c:pt>
                <c:pt idx="4478">
                  <c:v>30.061-30.068</c:v>
                </c:pt>
                <c:pt idx="4479">
                  <c:v>30.068-30.074</c:v>
                </c:pt>
                <c:pt idx="4480">
                  <c:v>30.074-30.081</c:v>
                </c:pt>
                <c:pt idx="4481">
                  <c:v>30.081-30.088</c:v>
                </c:pt>
                <c:pt idx="4482">
                  <c:v>30.088-30.095</c:v>
                </c:pt>
                <c:pt idx="4483">
                  <c:v>30.095-30.101</c:v>
                </c:pt>
                <c:pt idx="4484">
                  <c:v>30.101-30.108</c:v>
                </c:pt>
                <c:pt idx="4485">
                  <c:v>30.108-30.115</c:v>
                </c:pt>
                <c:pt idx="4486">
                  <c:v>30.115-30.121</c:v>
                </c:pt>
                <c:pt idx="4487">
                  <c:v>30.121-30.128</c:v>
                </c:pt>
                <c:pt idx="4488">
                  <c:v>30.128-30.135</c:v>
                </c:pt>
                <c:pt idx="4489">
                  <c:v>30.135-30.141</c:v>
                </c:pt>
                <c:pt idx="4490">
                  <c:v>30.141-30.148</c:v>
                </c:pt>
                <c:pt idx="4491">
                  <c:v>30.148-30.155</c:v>
                </c:pt>
                <c:pt idx="4492">
                  <c:v>30.155-30.162</c:v>
                </c:pt>
                <c:pt idx="4493">
                  <c:v>30.162-30.168</c:v>
                </c:pt>
                <c:pt idx="4494">
                  <c:v>30.168-30.175</c:v>
                </c:pt>
                <c:pt idx="4495">
                  <c:v>30.175-30.182</c:v>
                </c:pt>
                <c:pt idx="4496">
                  <c:v>30.182-30.188</c:v>
                </c:pt>
                <c:pt idx="4497">
                  <c:v>30.188-30.195</c:v>
                </c:pt>
                <c:pt idx="4498">
                  <c:v>30.195-30.202</c:v>
                </c:pt>
                <c:pt idx="4499">
                  <c:v>30.202-30.209</c:v>
                </c:pt>
                <c:pt idx="4500">
                  <c:v>30.209-30.215</c:v>
                </c:pt>
                <c:pt idx="4501">
                  <c:v>30.215-30.222</c:v>
                </c:pt>
                <c:pt idx="4502">
                  <c:v>30.222-30.229</c:v>
                </c:pt>
                <c:pt idx="4503">
                  <c:v>30.229-30.235</c:v>
                </c:pt>
                <c:pt idx="4504">
                  <c:v>30.235-30.242</c:v>
                </c:pt>
                <c:pt idx="4505">
                  <c:v>30.242-30.249</c:v>
                </c:pt>
                <c:pt idx="4506">
                  <c:v>30.249-30.256</c:v>
                </c:pt>
                <c:pt idx="4507">
                  <c:v>30.256-30.262</c:v>
                </c:pt>
                <c:pt idx="4508">
                  <c:v>30.262-30.269</c:v>
                </c:pt>
                <c:pt idx="4509">
                  <c:v>30.269-30.276</c:v>
                </c:pt>
                <c:pt idx="4510">
                  <c:v>30.276-30.282</c:v>
                </c:pt>
                <c:pt idx="4511">
                  <c:v>30.282-30.289</c:v>
                </c:pt>
                <c:pt idx="4512">
                  <c:v>30.289-30.296</c:v>
                </c:pt>
                <c:pt idx="4513">
                  <c:v>30.296-30.303</c:v>
                </c:pt>
                <c:pt idx="4514">
                  <c:v>30.303-30.309</c:v>
                </c:pt>
                <c:pt idx="4515">
                  <c:v>30.309-30.316</c:v>
                </c:pt>
                <c:pt idx="4516">
                  <c:v>30.316-30.323</c:v>
                </c:pt>
                <c:pt idx="4517">
                  <c:v>30.323-30.329</c:v>
                </c:pt>
                <c:pt idx="4518">
                  <c:v>30.329-30.336</c:v>
                </c:pt>
                <c:pt idx="4519">
                  <c:v>30.336-30.343</c:v>
                </c:pt>
                <c:pt idx="4520">
                  <c:v>30.343-30.350</c:v>
                </c:pt>
                <c:pt idx="4521">
                  <c:v>30.350-30.356</c:v>
                </c:pt>
                <c:pt idx="4522">
                  <c:v>30.356-30.363</c:v>
                </c:pt>
                <c:pt idx="4523">
                  <c:v>30.363-30.370</c:v>
                </c:pt>
                <c:pt idx="4524">
                  <c:v>30.370-30.376</c:v>
                </c:pt>
                <c:pt idx="4525">
                  <c:v>30.376-30.383</c:v>
                </c:pt>
                <c:pt idx="4526">
                  <c:v>30.383-30.390</c:v>
                </c:pt>
                <c:pt idx="4527">
                  <c:v>30.390-30.397</c:v>
                </c:pt>
                <c:pt idx="4528">
                  <c:v>30.397-30.403</c:v>
                </c:pt>
                <c:pt idx="4529">
                  <c:v>30.403-30.410</c:v>
                </c:pt>
                <c:pt idx="4530">
                  <c:v>30.410-30.417</c:v>
                </c:pt>
                <c:pt idx="4531">
                  <c:v>30.417-30.423</c:v>
                </c:pt>
                <c:pt idx="4532">
                  <c:v>30.423-30.430</c:v>
                </c:pt>
                <c:pt idx="4533">
                  <c:v>30.430-30.437</c:v>
                </c:pt>
                <c:pt idx="4534">
                  <c:v>30.437-30.443</c:v>
                </c:pt>
                <c:pt idx="4535">
                  <c:v>30.443-30.450</c:v>
                </c:pt>
                <c:pt idx="4536">
                  <c:v>30.450-30.457</c:v>
                </c:pt>
                <c:pt idx="4537">
                  <c:v>30.457-30.464</c:v>
                </c:pt>
                <c:pt idx="4538">
                  <c:v>30.464-30.470</c:v>
                </c:pt>
                <c:pt idx="4539">
                  <c:v>30.470-30.477</c:v>
                </c:pt>
                <c:pt idx="4540">
                  <c:v>30.477-30.484</c:v>
                </c:pt>
                <c:pt idx="4541">
                  <c:v>30.484-30.490</c:v>
                </c:pt>
                <c:pt idx="4542">
                  <c:v>30.490-30.497</c:v>
                </c:pt>
                <c:pt idx="4543">
                  <c:v>30.497-30.504</c:v>
                </c:pt>
                <c:pt idx="4544">
                  <c:v>30.504-30.511</c:v>
                </c:pt>
                <c:pt idx="4545">
                  <c:v>30.511-30.517</c:v>
                </c:pt>
                <c:pt idx="4546">
                  <c:v>30.517-30.524</c:v>
                </c:pt>
                <c:pt idx="4547">
                  <c:v>30.524-30.531</c:v>
                </c:pt>
                <c:pt idx="4548">
                  <c:v>30.531-30.537</c:v>
                </c:pt>
                <c:pt idx="4549">
                  <c:v>30.537-30.544</c:v>
                </c:pt>
                <c:pt idx="4550">
                  <c:v>30.544-30.551</c:v>
                </c:pt>
                <c:pt idx="4551">
                  <c:v>30.551-30.558</c:v>
                </c:pt>
                <c:pt idx="4552">
                  <c:v>30.558-30.564</c:v>
                </c:pt>
                <c:pt idx="4553">
                  <c:v>30.564-30.571</c:v>
                </c:pt>
                <c:pt idx="4554">
                  <c:v>30.571-30.578</c:v>
                </c:pt>
                <c:pt idx="4555">
                  <c:v>30.578-30.584</c:v>
                </c:pt>
                <c:pt idx="4556">
                  <c:v>30.584-30.591</c:v>
                </c:pt>
                <c:pt idx="4557">
                  <c:v>30.591-30.598</c:v>
                </c:pt>
                <c:pt idx="4558">
                  <c:v>30.598-30.605</c:v>
                </c:pt>
                <c:pt idx="4559">
                  <c:v>30.605-30.611</c:v>
                </c:pt>
                <c:pt idx="4560">
                  <c:v>30.611-30.618</c:v>
                </c:pt>
                <c:pt idx="4561">
                  <c:v>30.618-30.625</c:v>
                </c:pt>
                <c:pt idx="4562">
                  <c:v>30.625-30.631</c:v>
                </c:pt>
                <c:pt idx="4563">
                  <c:v>30.631-30.638</c:v>
                </c:pt>
                <c:pt idx="4564">
                  <c:v>30.638-30.645</c:v>
                </c:pt>
                <c:pt idx="4565">
                  <c:v>30.645-30.652</c:v>
                </c:pt>
                <c:pt idx="4566">
                  <c:v>30.652-30.658</c:v>
                </c:pt>
                <c:pt idx="4567">
                  <c:v>30.658-30.665</c:v>
                </c:pt>
                <c:pt idx="4568">
                  <c:v>30.665-30.672</c:v>
                </c:pt>
                <c:pt idx="4569">
                  <c:v>30.672-30.678</c:v>
                </c:pt>
                <c:pt idx="4570">
                  <c:v>30.678-30.685</c:v>
                </c:pt>
                <c:pt idx="4571">
                  <c:v>30.685-30.692</c:v>
                </c:pt>
                <c:pt idx="4572">
                  <c:v>30.692-30.698</c:v>
                </c:pt>
                <c:pt idx="4573">
                  <c:v>30.698-30.705</c:v>
                </c:pt>
                <c:pt idx="4574">
                  <c:v>30.705-30.712</c:v>
                </c:pt>
                <c:pt idx="4575">
                  <c:v>30.712-30.719</c:v>
                </c:pt>
                <c:pt idx="4576">
                  <c:v>30.719-30.725</c:v>
                </c:pt>
                <c:pt idx="4577">
                  <c:v>30.725-30.732</c:v>
                </c:pt>
                <c:pt idx="4578">
                  <c:v>30.732-30.739</c:v>
                </c:pt>
                <c:pt idx="4579">
                  <c:v>30.739-30.745</c:v>
                </c:pt>
                <c:pt idx="4580">
                  <c:v>30.745-30.752</c:v>
                </c:pt>
                <c:pt idx="4581">
                  <c:v>30.752-30.759</c:v>
                </c:pt>
                <c:pt idx="4582">
                  <c:v>30.759-30.766</c:v>
                </c:pt>
                <c:pt idx="4583">
                  <c:v>30.766-30.772</c:v>
                </c:pt>
                <c:pt idx="4584">
                  <c:v>30.772-30.779</c:v>
                </c:pt>
                <c:pt idx="4585">
                  <c:v>30.779-30.786</c:v>
                </c:pt>
                <c:pt idx="4586">
                  <c:v>30.786-30.792</c:v>
                </c:pt>
                <c:pt idx="4587">
                  <c:v>30.792-30.799</c:v>
                </c:pt>
                <c:pt idx="4588">
                  <c:v>30.799-30.806</c:v>
                </c:pt>
                <c:pt idx="4589">
                  <c:v>30.806-30.813</c:v>
                </c:pt>
                <c:pt idx="4590">
                  <c:v>30.813-30.819</c:v>
                </c:pt>
                <c:pt idx="4591">
                  <c:v>30.819-30.826</c:v>
                </c:pt>
                <c:pt idx="4592">
                  <c:v>30.826-30.833</c:v>
                </c:pt>
                <c:pt idx="4593">
                  <c:v>30.833-30.839</c:v>
                </c:pt>
                <c:pt idx="4594">
                  <c:v>30.839-30.846</c:v>
                </c:pt>
                <c:pt idx="4595">
                  <c:v>30.846-30.853</c:v>
                </c:pt>
                <c:pt idx="4596">
                  <c:v>30.853-30.860</c:v>
                </c:pt>
                <c:pt idx="4597">
                  <c:v>30.860-30.866</c:v>
                </c:pt>
                <c:pt idx="4598">
                  <c:v>30.866-30.873</c:v>
                </c:pt>
                <c:pt idx="4599">
                  <c:v>30.873-30.880</c:v>
                </c:pt>
                <c:pt idx="4600">
                  <c:v>30.880-30.886</c:v>
                </c:pt>
                <c:pt idx="4601">
                  <c:v>30.886-30.893</c:v>
                </c:pt>
                <c:pt idx="4602">
                  <c:v>30.893-30.900</c:v>
                </c:pt>
                <c:pt idx="4603">
                  <c:v>30.900-30.907</c:v>
                </c:pt>
                <c:pt idx="4604">
                  <c:v>30.907-30.913</c:v>
                </c:pt>
                <c:pt idx="4605">
                  <c:v>30.913-30.920</c:v>
                </c:pt>
                <c:pt idx="4606">
                  <c:v>30.920-30.927</c:v>
                </c:pt>
                <c:pt idx="4607">
                  <c:v>30.927-30.933</c:v>
                </c:pt>
                <c:pt idx="4608">
                  <c:v>30.933-30.940</c:v>
                </c:pt>
                <c:pt idx="4609">
                  <c:v>30.940-30.947</c:v>
                </c:pt>
                <c:pt idx="4610">
                  <c:v>30.947-30.953</c:v>
                </c:pt>
                <c:pt idx="4611">
                  <c:v>30.953-30.960</c:v>
                </c:pt>
                <c:pt idx="4612">
                  <c:v>30.960-30.967</c:v>
                </c:pt>
                <c:pt idx="4613">
                  <c:v>30.967-30.974</c:v>
                </c:pt>
                <c:pt idx="4614">
                  <c:v>30.974-30.980</c:v>
                </c:pt>
                <c:pt idx="4615">
                  <c:v>30.980-30.987</c:v>
                </c:pt>
                <c:pt idx="4616">
                  <c:v>30.987-30.994</c:v>
                </c:pt>
                <c:pt idx="4617">
                  <c:v>30.994-31.000</c:v>
                </c:pt>
                <c:pt idx="4618">
                  <c:v>31.000-31.007</c:v>
                </c:pt>
                <c:pt idx="4619">
                  <c:v>31.007-31.014</c:v>
                </c:pt>
                <c:pt idx="4620">
                  <c:v>31.014-31.021</c:v>
                </c:pt>
                <c:pt idx="4621">
                  <c:v>31.021-31.027</c:v>
                </c:pt>
                <c:pt idx="4622">
                  <c:v>31.027-31.034</c:v>
                </c:pt>
                <c:pt idx="4623">
                  <c:v>31.034-31.041</c:v>
                </c:pt>
                <c:pt idx="4624">
                  <c:v>31.041-31.047</c:v>
                </c:pt>
                <c:pt idx="4625">
                  <c:v>31.047-31.054</c:v>
                </c:pt>
                <c:pt idx="4626">
                  <c:v>31.054-31.061</c:v>
                </c:pt>
                <c:pt idx="4627">
                  <c:v>31.061-31.068</c:v>
                </c:pt>
                <c:pt idx="4628">
                  <c:v>31.068-31.074</c:v>
                </c:pt>
                <c:pt idx="4629">
                  <c:v>31.074-31.081</c:v>
                </c:pt>
                <c:pt idx="4630">
                  <c:v>31.081-31.088</c:v>
                </c:pt>
                <c:pt idx="4631">
                  <c:v>31.088-31.094</c:v>
                </c:pt>
                <c:pt idx="4632">
                  <c:v>31.094-31.101</c:v>
                </c:pt>
                <c:pt idx="4633">
                  <c:v>31.101-31.108</c:v>
                </c:pt>
                <c:pt idx="4634">
                  <c:v>31.108-31.115</c:v>
                </c:pt>
                <c:pt idx="4635">
                  <c:v>31.115-31.121</c:v>
                </c:pt>
                <c:pt idx="4636">
                  <c:v>31.121-31.128</c:v>
                </c:pt>
                <c:pt idx="4637">
                  <c:v>31.128-31.135</c:v>
                </c:pt>
                <c:pt idx="4638">
                  <c:v>31.135-31.141</c:v>
                </c:pt>
                <c:pt idx="4639">
                  <c:v>31.141-31.148</c:v>
                </c:pt>
                <c:pt idx="4640">
                  <c:v>31.148-31.155</c:v>
                </c:pt>
                <c:pt idx="4641">
                  <c:v>31.155-31.162</c:v>
                </c:pt>
                <c:pt idx="4642">
                  <c:v>31.162-31.168</c:v>
                </c:pt>
                <c:pt idx="4643">
                  <c:v>31.168-31.175</c:v>
                </c:pt>
                <c:pt idx="4644">
                  <c:v>31.175-31.182</c:v>
                </c:pt>
                <c:pt idx="4645">
                  <c:v>31.182-31.188</c:v>
                </c:pt>
                <c:pt idx="4646">
                  <c:v>31.188-31.195</c:v>
                </c:pt>
                <c:pt idx="4647">
                  <c:v>31.195-31.202</c:v>
                </c:pt>
                <c:pt idx="4648">
                  <c:v>31.202-31.209</c:v>
                </c:pt>
                <c:pt idx="4649">
                  <c:v>31.209-31.215</c:v>
                </c:pt>
                <c:pt idx="4650">
                  <c:v>31.215-31.222</c:v>
                </c:pt>
                <c:pt idx="4651">
                  <c:v>31.222-31.229</c:v>
                </c:pt>
                <c:pt idx="4652">
                  <c:v>31.229-31.235</c:v>
                </c:pt>
                <c:pt idx="4653">
                  <c:v>31.235-31.242</c:v>
                </c:pt>
                <c:pt idx="4654">
                  <c:v>31.242-31.249</c:v>
                </c:pt>
                <c:pt idx="4655">
                  <c:v>31.249-31.255</c:v>
                </c:pt>
                <c:pt idx="4656">
                  <c:v>31.255-31.262</c:v>
                </c:pt>
                <c:pt idx="4657">
                  <c:v>31.262-31.269</c:v>
                </c:pt>
                <c:pt idx="4658">
                  <c:v>31.269-31.276</c:v>
                </c:pt>
                <c:pt idx="4659">
                  <c:v>31.276-31.282</c:v>
                </c:pt>
                <c:pt idx="4660">
                  <c:v>31.282-31.289</c:v>
                </c:pt>
                <c:pt idx="4661">
                  <c:v>31.289-31.296</c:v>
                </c:pt>
                <c:pt idx="4662">
                  <c:v>31.296-31.302</c:v>
                </c:pt>
                <c:pt idx="4663">
                  <c:v>31.302-31.309</c:v>
                </c:pt>
                <c:pt idx="4664">
                  <c:v>31.309-31.316</c:v>
                </c:pt>
                <c:pt idx="4665">
                  <c:v>31.316-31.323</c:v>
                </c:pt>
                <c:pt idx="4666">
                  <c:v>31.323-31.329</c:v>
                </c:pt>
                <c:pt idx="4667">
                  <c:v>31.329-31.336</c:v>
                </c:pt>
                <c:pt idx="4668">
                  <c:v>31.336-31.343</c:v>
                </c:pt>
                <c:pt idx="4669">
                  <c:v>31.343-31.349</c:v>
                </c:pt>
                <c:pt idx="4670">
                  <c:v>31.349-31.356</c:v>
                </c:pt>
                <c:pt idx="4671">
                  <c:v>31.356-31.363</c:v>
                </c:pt>
                <c:pt idx="4672">
                  <c:v>31.363-31.370</c:v>
                </c:pt>
                <c:pt idx="4673">
                  <c:v>31.370-31.376</c:v>
                </c:pt>
                <c:pt idx="4674">
                  <c:v>31.376-31.383</c:v>
                </c:pt>
                <c:pt idx="4675">
                  <c:v>31.383-31.390</c:v>
                </c:pt>
                <c:pt idx="4676">
                  <c:v>31.390-31.396</c:v>
                </c:pt>
                <c:pt idx="4677">
                  <c:v>31.396-31.403</c:v>
                </c:pt>
                <c:pt idx="4678">
                  <c:v>31.403-31.410</c:v>
                </c:pt>
                <c:pt idx="4679">
                  <c:v>31.410-31.417</c:v>
                </c:pt>
                <c:pt idx="4680">
                  <c:v>31.417-31.423</c:v>
                </c:pt>
                <c:pt idx="4681">
                  <c:v>31.423-31.430</c:v>
                </c:pt>
                <c:pt idx="4682">
                  <c:v>31.430-31.437</c:v>
                </c:pt>
                <c:pt idx="4683">
                  <c:v>31.437-31.443</c:v>
                </c:pt>
                <c:pt idx="4684">
                  <c:v>31.443-31.450</c:v>
                </c:pt>
                <c:pt idx="4685">
                  <c:v>31.450-31.457</c:v>
                </c:pt>
                <c:pt idx="4686">
                  <c:v>31.457-31.464</c:v>
                </c:pt>
                <c:pt idx="4687">
                  <c:v>31.464-31.470</c:v>
                </c:pt>
                <c:pt idx="4688">
                  <c:v>31.470-31.477</c:v>
                </c:pt>
                <c:pt idx="4689">
                  <c:v>31.477-31.484</c:v>
                </c:pt>
                <c:pt idx="4690">
                  <c:v>31.484-31.490</c:v>
                </c:pt>
                <c:pt idx="4691">
                  <c:v>31.490-31.497</c:v>
                </c:pt>
                <c:pt idx="4692">
                  <c:v>31.497-31.504</c:v>
                </c:pt>
                <c:pt idx="4693">
                  <c:v>31.504-31.510</c:v>
                </c:pt>
                <c:pt idx="4694">
                  <c:v>31.510-31.517</c:v>
                </c:pt>
                <c:pt idx="4695">
                  <c:v>31.517-31.524</c:v>
                </c:pt>
                <c:pt idx="4696">
                  <c:v>31.524-31.531</c:v>
                </c:pt>
                <c:pt idx="4697">
                  <c:v>31.531-31.537</c:v>
                </c:pt>
                <c:pt idx="4698">
                  <c:v>31.537-31.544</c:v>
                </c:pt>
                <c:pt idx="4699">
                  <c:v>31.544-31.551</c:v>
                </c:pt>
                <c:pt idx="4700">
                  <c:v>31.551-31.557</c:v>
                </c:pt>
                <c:pt idx="4701">
                  <c:v>31.557-31.564</c:v>
                </c:pt>
                <c:pt idx="4702">
                  <c:v>31.564-31.571</c:v>
                </c:pt>
                <c:pt idx="4703">
                  <c:v>31.571-31.578</c:v>
                </c:pt>
                <c:pt idx="4704">
                  <c:v>31.578-31.584</c:v>
                </c:pt>
                <c:pt idx="4705">
                  <c:v>31.584-31.591</c:v>
                </c:pt>
                <c:pt idx="4706">
                  <c:v>31.591-31.598</c:v>
                </c:pt>
                <c:pt idx="4707">
                  <c:v>31.598-31.604</c:v>
                </c:pt>
                <c:pt idx="4708">
                  <c:v>31.604-31.611</c:v>
                </c:pt>
                <c:pt idx="4709">
                  <c:v>31.611-31.618</c:v>
                </c:pt>
                <c:pt idx="4710">
                  <c:v>31.618-31.625</c:v>
                </c:pt>
                <c:pt idx="4711">
                  <c:v>31.625-31.631</c:v>
                </c:pt>
                <c:pt idx="4712">
                  <c:v>31.631-31.638</c:v>
                </c:pt>
                <c:pt idx="4713">
                  <c:v>31.638-31.645</c:v>
                </c:pt>
                <c:pt idx="4714">
                  <c:v>31.645-31.651</c:v>
                </c:pt>
                <c:pt idx="4715">
                  <c:v>31.651-31.658</c:v>
                </c:pt>
                <c:pt idx="4716">
                  <c:v>31.658-31.665</c:v>
                </c:pt>
                <c:pt idx="4717">
                  <c:v>31.665-31.672</c:v>
                </c:pt>
                <c:pt idx="4718">
                  <c:v>31.672-31.678</c:v>
                </c:pt>
                <c:pt idx="4719">
                  <c:v>31.678-31.685</c:v>
                </c:pt>
                <c:pt idx="4720">
                  <c:v>31.685-31.692</c:v>
                </c:pt>
                <c:pt idx="4721">
                  <c:v>31.692-31.698</c:v>
                </c:pt>
                <c:pt idx="4722">
                  <c:v>31.698-31.705</c:v>
                </c:pt>
                <c:pt idx="4723">
                  <c:v>31.705-31.712</c:v>
                </c:pt>
                <c:pt idx="4724">
                  <c:v>31.712-31.719</c:v>
                </c:pt>
                <c:pt idx="4725">
                  <c:v>31.719-31.725</c:v>
                </c:pt>
                <c:pt idx="4726">
                  <c:v>31.725-31.732</c:v>
                </c:pt>
                <c:pt idx="4727">
                  <c:v>31.732-31.739</c:v>
                </c:pt>
                <c:pt idx="4728">
                  <c:v>31.739-31.745</c:v>
                </c:pt>
                <c:pt idx="4729">
                  <c:v>31.745-31.752</c:v>
                </c:pt>
                <c:pt idx="4730">
                  <c:v>31.752-31.759</c:v>
                </c:pt>
                <c:pt idx="4731">
                  <c:v>31.759-31.766</c:v>
                </c:pt>
                <c:pt idx="4732">
                  <c:v>31.766-31.772</c:v>
                </c:pt>
                <c:pt idx="4733">
                  <c:v>31.772-31.779</c:v>
                </c:pt>
                <c:pt idx="4734">
                  <c:v>31.779-31.786</c:v>
                </c:pt>
                <c:pt idx="4735">
                  <c:v>31.786-31.792</c:v>
                </c:pt>
                <c:pt idx="4736">
                  <c:v>31.792-31.799</c:v>
                </c:pt>
                <c:pt idx="4737">
                  <c:v>31.799-31.806</c:v>
                </c:pt>
                <c:pt idx="4738">
                  <c:v>31.806-31.812</c:v>
                </c:pt>
                <c:pt idx="4739">
                  <c:v>31.812-31.819</c:v>
                </c:pt>
                <c:pt idx="4740">
                  <c:v>31.819-31.826</c:v>
                </c:pt>
                <c:pt idx="4741">
                  <c:v>31.826-31.833</c:v>
                </c:pt>
                <c:pt idx="4742">
                  <c:v>31.833-31.839</c:v>
                </c:pt>
                <c:pt idx="4743">
                  <c:v>31.839-31.846</c:v>
                </c:pt>
                <c:pt idx="4744">
                  <c:v>31.846-31.853</c:v>
                </c:pt>
                <c:pt idx="4745">
                  <c:v>31.853-31.859</c:v>
                </c:pt>
                <c:pt idx="4746">
                  <c:v>31.859-31.866</c:v>
                </c:pt>
                <c:pt idx="4747">
                  <c:v>31.866-31.873</c:v>
                </c:pt>
                <c:pt idx="4748">
                  <c:v>31.873-31.880</c:v>
                </c:pt>
                <c:pt idx="4749">
                  <c:v>31.880-31.886</c:v>
                </c:pt>
                <c:pt idx="4750">
                  <c:v>31.886-31.893</c:v>
                </c:pt>
                <c:pt idx="4751">
                  <c:v>31.893-31.900</c:v>
                </c:pt>
                <c:pt idx="4752">
                  <c:v>31.900-31.906</c:v>
                </c:pt>
                <c:pt idx="4753">
                  <c:v>31.906-31.913</c:v>
                </c:pt>
                <c:pt idx="4754">
                  <c:v>31.913-31.920</c:v>
                </c:pt>
                <c:pt idx="4755">
                  <c:v>31.920-31.927</c:v>
                </c:pt>
                <c:pt idx="4756">
                  <c:v>31.927-31.933</c:v>
                </c:pt>
                <c:pt idx="4757">
                  <c:v>31.933-31.940</c:v>
                </c:pt>
                <c:pt idx="4758">
                  <c:v>31.940-31.947</c:v>
                </c:pt>
                <c:pt idx="4759">
                  <c:v>31.947-31.953</c:v>
                </c:pt>
                <c:pt idx="4760">
                  <c:v>31.953-31.960</c:v>
                </c:pt>
                <c:pt idx="4761">
                  <c:v>31.960-31.967</c:v>
                </c:pt>
                <c:pt idx="4762">
                  <c:v>31.967-31.974</c:v>
                </c:pt>
                <c:pt idx="4763">
                  <c:v>31.974-31.980</c:v>
                </c:pt>
                <c:pt idx="4764">
                  <c:v>31.980-31.987</c:v>
                </c:pt>
                <c:pt idx="4765">
                  <c:v>31.987-31.994</c:v>
                </c:pt>
                <c:pt idx="4766">
                  <c:v>31.994-32.000</c:v>
                </c:pt>
                <c:pt idx="4767">
                  <c:v>32.000-32.007</c:v>
                </c:pt>
                <c:pt idx="4768">
                  <c:v>32.007-32.014</c:v>
                </c:pt>
                <c:pt idx="4769">
                  <c:v>32.014-32.021</c:v>
                </c:pt>
                <c:pt idx="4770">
                  <c:v>32.021-32.027</c:v>
                </c:pt>
                <c:pt idx="4771">
                  <c:v>32.027-32.034</c:v>
                </c:pt>
                <c:pt idx="4772">
                  <c:v>32.034-32.041</c:v>
                </c:pt>
                <c:pt idx="4773">
                  <c:v>32.041-32.047</c:v>
                </c:pt>
                <c:pt idx="4774">
                  <c:v>32.047-32.054</c:v>
                </c:pt>
                <c:pt idx="4775">
                  <c:v>32.054-32.061</c:v>
                </c:pt>
                <c:pt idx="4776">
                  <c:v>32.061-32.067</c:v>
                </c:pt>
                <c:pt idx="4777">
                  <c:v>32.067-32.074</c:v>
                </c:pt>
                <c:pt idx="4778">
                  <c:v>32.074-32.081</c:v>
                </c:pt>
                <c:pt idx="4779">
                  <c:v>32.081-32.088</c:v>
                </c:pt>
                <c:pt idx="4780">
                  <c:v>32.088-32.094</c:v>
                </c:pt>
                <c:pt idx="4781">
                  <c:v>32.094-32.101</c:v>
                </c:pt>
                <c:pt idx="4782">
                  <c:v>32.101-32.108</c:v>
                </c:pt>
                <c:pt idx="4783">
                  <c:v>32.108-32.114</c:v>
                </c:pt>
                <c:pt idx="4784">
                  <c:v>32.114-32.121</c:v>
                </c:pt>
                <c:pt idx="4785">
                  <c:v>32.121-32.128</c:v>
                </c:pt>
                <c:pt idx="4786">
                  <c:v>32.128-32.135</c:v>
                </c:pt>
                <c:pt idx="4787">
                  <c:v>32.135-32.141</c:v>
                </c:pt>
                <c:pt idx="4788">
                  <c:v>32.141-32.148</c:v>
                </c:pt>
                <c:pt idx="4789">
                  <c:v>32.148-32.155</c:v>
                </c:pt>
                <c:pt idx="4790">
                  <c:v>32.155-32.161</c:v>
                </c:pt>
                <c:pt idx="4791">
                  <c:v>32.161-32.168</c:v>
                </c:pt>
                <c:pt idx="4792">
                  <c:v>32.168-32.175</c:v>
                </c:pt>
                <c:pt idx="4793">
                  <c:v>32.175-32.182</c:v>
                </c:pt>
                <c:pt idx="4794">
                  <c:v>32.182-32.188</c:v>
                </c:pt>
                <c:pt idx="4795">
                  <c:v>32.188-32.195</c:v>
                </c:pt>
                <c:pt idx="4796">
                  <c:v>32.195-32.202</c:v>
                </c:pt>
                <c:pt idx="4797">
                  <c:v>32.202-32.208</c:v>
                </c:pt>
                <c:pt idx="4798">
                  <c:v>32.208-32.215</c:v>
                </c:pt>
                <c:pt idx="4799">
                  <c:v>32.215-32.222</c:v>
                </c:pt>
                <c:pt idx="4800">
                  <c:v>32.222-32.229</c:v>
                </c:pt>
                <c:pt idx="4801">
                  <c:v>32.229-32.235</c:v>
                </c:pt>
                <c:pt idx="4802">
                  <c:v>32.235-32.242</c:v>
                </c:pt>
                <c:pt idx="4803">
                  <c:v>32.242-32.249</c:v>
                </c:pt>
                <c:pt idx="4804">
                  <c:v>32.249-32.255</c:v>
                </c:pt>
                <c:pt idx="4805">
                  <c:v>32.255-32.262</c:v>
                </c:pt>
                <c:pt idx="4806">
                  <c:v>32.262-32.269</c:v>
                </c:pt>
                <c:pt idx="4807">
                  <c:v>32.269-32.276</c:v>
                </c:pt>
                <c:pt idx="4808">
                  <c:v>32.276-32.282</c:v>
                </c:pt>
                <c:pt idx="4809">
                  <c:v>32.282-32.289</c:v>
                </c:pt>
                <c:pt idx="4810">
                  <c:v>32.289-32.296</c:v>
                </c:pt>
                <c:pt idx="4811">
                  <c:v>32.296-32.302</c:v>
                </c:pt>
                <c:pt idx="4812">
                  <c:v>32.302-32.309</c:v>
                </c:pt>
                <c:pt idx="4813">
                  <c:v>32.309-32.316</c:v>
                </c:pt>
                <c:pt idx="4814">
                  <c:v>32.316-32.323</c:v>
                </c:pt>
                <c:pt idx="4815">
                  <c:v>32.323-32.329</c:v>
                </c:pt>
                <c:pt idx="4816">
                  <c:v>32.329-32.336</c:v>
                </c:pt>
                <c:pt idx="4817">
                  <c:v>32.336-32.343</c:v>
                </c:pt>
                <c:pt idx="4818">
                  <c:v>32.343-32.349</c:v>
                </c:pt>
                <c:pt idx="4819">
                  <c:v>32.349-32.356</c:v>
                </c:pt>
                <c:pt idx="4820">
                  <c:v>32.356-32.363</c:v>
                </c:pt>
                <c:pt idx="4821">
                  <c:v>32.363-32.369</c:v>
                </c:pt>
                <c:pt idx="4822">
                  <c:v>32.369-32.376</c:v>
                </c:pt>
                <c:pt idx="4823">
                  <c:v>32.376-32.383</c:v>
                </c:pt>
                <c:pt idx="4824">
                  <c:v>32.383-32.390</c:v>
                </c:pt>
                <c:pt idx="4825">
                  <c:v>32.390-32.396</c:v>
                </c:pt>
                <c:pt idx="4826">
                  <c:v>32.396-32.403</c:v>
                </c:pt>
                <c:pt idx="4827">
                  <c:v>32.403-32.410</c:v>
                </c:pt>
                <c:pt idx="4828">
                  <c:v>32.410-32.416</c:v>
                </c:pt>
                <c:pt idx="4829">
                  <c:v>32.416-32.423</c:v>
                </c:pt>
                <c:pt idx="4830">
                  <c:v>32.423-32.430</c:v>
                </c:pt>
                <c:pt idx="4831">
                  <c:v>32.430-32.437</c:v>
                </c:pt>
                <c:pt idx="4832">
                  <c:v>32.437-32.443</c:v>
                </c:pt>
                <c:pt idx="4833">
                  <c:v>32.443-32.450</c:v>
                </c:pt>
                <c:pt idx="4834">
                  <c:v>32.450-32.457</c:v>
                </c:pt>
                <c:pt idx="4835">
                  <c:v>32.457-32.463</c:v>
                </c:pt>
                <c:pt idx="4836">
                  <c:v>32.463-32.470</c:v>
                </c:pt>
                <c:pt idx="4837">
                  <c:v>32.470-32.477</c:v>
                </c:pt>
                <c:pt idx="4838">
                  <c:v>32.477-32.484</c:v>
                </c:pt>
                <c:pt idx="4839">
                  <c:v>32.484-32.490</c:v>
                </c:pt>
                <c:pt idx="4840">
                  <c:v>32.490-32.497</c:v>
                </c:pt>
                <c:pt idx="4841">
                  <c:v>32.497-32.504</c:v>
                </c:pt>
                <c:pt idx="4842">
                  <c:v>32.504-32.510</c:v>
                </c:pt>
                <c:pt idx="4843">
                  <c:v>32.510-32.517</c:v>
                </c:pt>
                <c:pt idx="4844">
                  <c:v>32.517-32.524</c:v>
                </c:pt>
                <c:pt idx="4845">
                  <c:v>32.524-32.531</c:v>
                </c:pt>
                <c:pt idx="4846">
                  <c:v>32.531-32.537</c:v>
                </c:pt>
                <c:pt idx="4847">
                  <c:v>32.537-32.544</c:v>
                </c:pt>
                <c:pt idx="4848">
                  <c:v>32.544-32.551</c:v>
                </c:pt>
                <c:pt idx="4849">
                  <c:v>32.551-32.557</c:v>
                </c:pt>
                <c:pt idx="4850">
                  <c:v>32.557-32.564</c:v>
                </c:pt>
                <c:pt idx="4851">
                  <c:v>32.564-32.571</c:v>
                </c:pt>
                <c:pt idx="4852">
                  <c:v>32.571-32.578</c:v>
                </c:pt>
                <c:pt idx="4853">
                  <c:v>32.578-32.584</c:v>
                </c:pt>
                <c:pt idx="4854">
                  <c:v>32.584-32.591</c:v>
                </c:pt>
                <c:pt idx="4855">
                  <c:v>32.591-32.598</c:v>
                </c:pt>
                <c:pt idx="4856">
                  <c:v>32.598-32.604</c:v>
                </c:pt>
                <c:pt idx="4857">
                  <c:v>32.604-32.611</c:v>
                </c:pt>
                <c:pt idx="4858">
                  <c:v>32.611-32.618</c:v>
                </c:pt>
                <c:pt idx="4859">
                  <c:v>32.618-32.624</c:v>
                </c:pt>
                <c:pt idx="4860">
                  <c:v>32.624-32.631</c:v>
                </c:pt>
                <c:pt idx="4861">
                  <c:v>32.631-32.638</c:v>
                </c:pt>
                <c:pt idx="4862">
                  <c:v>32.638-32.645</c:v>
                </c:pt>
                <c:pt idx="4863">
                  <c:v>32.645-32.651</c:v>
                </c:pt>
                <c:pt idx="4864">
                  <c:v>32.651-32.658</c:v>
                </c:pt>
                <c:pt idx="4865">
                  <c:v>32.658-32.665</c:v>
                </c:pt>
                <c:pt idx="4866">
                  <c:v>32.665-32.671</c:v>
                </c:pt>
                <c:pt idx="4867">
                  <c:v>32.671-32.678</c:v>
                </c:pt>
                <c:pt idx="4868">
                  <c:v>32.678-32.685</c:v>
                </c:pt>
                <c:pt idx="4869">
                  <c:v>32.685-32.692</c:v>
                </c:pt>
                <c:pt idx="4870">
                  <c:v>32.692-32.698</c:v>
                </c:pt>
                <c:pt idx="4871">
                  <c:v>32.698-32.705</c:v>
                </c:pt>
                <c:pt idx="4872">
                  <c:v>32.705-32.712</c:v>
                </c:pt>
                <c:pt idx="4873">
                  <c:v>32.712-32.718</c:v>
                </c:pt>
                <c:pt idx="4874">
                  <c:v>32.718-32.725</c:v>
                </c:pt>
                <c:pt idx="4875">
                  <c:v>32.725-32.732</c:v>
                </c:pt>
                <c:pt idx="4876">
                  <c:v>32.732-32.739</c:v>
                </c:pt>
                <c:pt idx="4877">
                  <c:v>32.739-32.745</c:v>
                </c:pt>
                <c:pt idx="4878">
                  <c:v>32.745-32.752</c:v>
                </c:pt>
                <c:pt idx="4879">
                  <c:v>32.752-32.759</c:v>
                </c:pt>
                <c:pt idx="4880">
                  <c:v>32.759-32.765</c:v>
                </c:pt>
                <c:pt idx="4881">
                  <c:v>32.765-32.772</c:v>
                </c:pt>
                <c:pt idx="4882">
                  <c:v>32.772-32.779</c:v>
                </c:pt>
                <c:pt idx="4883">
                  <c:v>32.779-32.786</c:v>
                </c:pt>
                <c:pt idx="4884">
                  <c:v>32.786-32.792</c:v>
                </c:pt>
                <c:pt idx="4885">
                  <c:v>32.792-32.799</c:v>
                </c:pt>
                <c:pt idx="4886">
                  <c:v>32.799-32.806</c:v>
                </c:pt>
                <c:pt idx="4887">
                  <c:v>32.806-32.812</c:v>
                </c:pt>
                <c:pt idx="4888">
                  <c:v>32.812-32.819</c:v>
                </c:pt>
                <c:pt idx="4889">
                  <c:v>32.819-32.826</c:v>
                </c:pt>
                <c:pt idx="4890">
                  <c:v>32.826-32.833</c:v>
                </c:pt>
                <c:pt idx="4891">
                  <c:v>32.833-32.839</c:v>
                </c:pt>
                <c:pt idx="4892">
                  <c:v>32.839-32.846</c:v>
                </c:pt>
                <c:pt idx="4893">
                  <c:v>32.846-32.853</c:v>
                </c:pt>
                <c:pt idx="4894">
                  <c:v>32.853-32.859</c:v>
                </c:pt>
                <c:pt idx="4895">
                  <c:v>32.859-32.866</c:v>
                </c:pt>
                <c:pt idx="4896">
                  <c:v>32.866-32.873</c:v>
                </c:pt>
                <c:pt idx="4897">
                  <c:v>32.873-32.879</c:v>
                </c:pt>
                <c:pt idx="4898">
                  <c:v>32.879-32.886</c:v>
                </c:pt>
                <c:pt idx="4899">
                  <c:v>32.886-32.893</c:v>
                </c:pt>
                <c:pt idx="4900">
                  <c:v>32.893-32.900</c:v>
                </c:pt>
                <c:pt idx="4901">
                  <c:v>32.900-32.906</c:v>
                </c:pt>
                <c:pt idx="4902">
                  <c:v>32.906-32.913</c:v>
                </c:pt>
                <c:pt idx="4903">
                  <c:v>32.913-32.920</c:v>
                </c:pt>
                <c:pt idx="4904">
                  <c:v>32.920-32.926</c:v>
                </c:pt>
                <c:pt idx="4905">
                  <c:v>32.926-32.933</c:v>
                </c:pt>
                <c:pt idx="4906">
                  <c:v>32.933-32.940</c:v>
                </c:pt>
                <c:pt idx="4907">
                  <c:v>32.940-32.947</c:v>
                </c:pt>
                <c:pt idx="4908">
                  <c:v>32.947-32.953</c:v>
                </c:pt>
                <c:pt idx="4909">
                  <c:v>32.953-32.960</c:v>
                </c:pt>
                <c:pt idx="4910">
                  <c:v>32.960-32.967</c:v>
                </c:pt>
                <c:pt idx="4911">
                  <c:v>32.967-32.973</c:v>
                </c:pt>
                <c:pt idx="4912">
                  <c:v>32.973-32.980</c:v>
                </c:pt>
                <c:pt idx="4913">
                  <c:v>32.980-32.987</c:v>
                </c:pt>
                <c:pt idx="4914">
                  <c:v>32.987-32.994</c:v>
                </c:pt>
                <c:pt idx="4915">
                  <c:v>32.994-33.000</c:v>
                </c:pt>
                <c:pt idx="4916">
                  <c:v>33.000-33.007</c:v>
                </c:pt>
                <c:pt idx="4917">
                  <c:v>33.007-33.014</c:v>
                </c:pt>
                <c:pt idx="4918">
                  <c:v>33.014-33.020</c:v>
                </c:pt>
                <c:pt idx="4919">
                  <c:v>33.020-33.027</c:v>
                </c:pt>
                <c:pt idx="4920">
                  <c:v>33.027-33.034</c:v>
                </c:pt>
                <c:pt idx="4921">
                  <c:v>33.034-33.041</c:v>
                </c:pt>
                <c:pt idx="4922">
                  <c:v>33.041-33.047</c:v>
                </c:pt>
                <c:pt idx="4923">
                  <c:v>33.047-33.054</c:v>
                </c:pt>
                <c:pt idx="4924">
                  <c:v>33.054-33.061</c:v>
                </c:pt>
                <c:pt idx="4925">
                  <c:v>33.061-33.067</c:v>
                </c:pt>
                <c:pt idx="4926">
                  <c:v>33.067-33.074</c:v>
                </c:pt>
                <c:pt idx="4927">
                  <c:v>33.074-33.081</c:v>
                </c:pt>
                <c:pt idx="4928">
                  <c:v>33.081-33.088</c:v>
                </c:pt>
                <c:pt idx="4929">
                  <c:v>33.088-33.094</c:v>
                </c:pt>
                <c:pt idx="4930">
                  <c:v>33.094-33.101</c:v>
                </c:pt>
                <c:pt idx="4931">
                  <c:v>33.101-33.108</c:v>
                </c:pt>
                <c:pt idx="4932">
                  <c:v>33.108-33.114</c:v>
                </c:pt>
                <c:pt idx="4933">
                  <c:v>33.114-33.121</c:v>
                </c:pt>
                <c:pt idx="4934">
                  <c:v>33.121-33.128</c:v>
                </c:pt>
                <c:pt idx="4935">
                  <c:v>33.128-33.135</c:v>
                </c:pt>
                <c:pt idx="4936">
                  <c:v>33.135-33.141</c:v>
                </c:pt>
                <c:pt idx="4937">
                  <c:v>33.141-33.148</c:v>
                </c:pt>
                <c:pt idx="4938">
                  <c:v>33.148-33.155</c:v>
                </c:pt>
                <c:pt idx="4939">
                  <c:v>33.155-33.161</c:v>
                </c:pt>
                <c:pt idx="4940">
                  <c:v>33.161-33.168</c:v>
                </c:pt>
                <c:pt idx="4941">
                  <c:v>33.168-33.175</c:v>
                </c:pt>
                <c:pt idx="4942">
                  <c:v>33.175-33.181</c:v>
                </c:pt>
                <c:pt idx="4943">
                  <c:v>33.181-33.188</c:v>
                </c:pt>
                <c:pt idx="4944">
                  <c:v>33.188-33.195</c:v>
                </c:pt>
                <c:pt idx="4945">
                  <c:v>33.195-33.202</c:v>
                </c:pt>
                <c:pt idx="4946">
                  <c:v>33.202-33.208</c:v>
                </c:pt>
                <c:pt idx="4947">
                  <c:v>33.208-33.215</c:v>
                </c:pt>
                <c:pt idx="4948">
                  <c:v>33.215-33.222</c:v>
                </c:pt>
                <c:pt idx="4949">
                  <c:v>33.222-33.228</c:v>
                </c:pt>
                <c:pt idx="4950">
                  <c:v>33.228-33.235</c:v>
                </c:pt>
                <c:pt idx="4951">
                  <c:v>33.235-33.242</c:v>
                </c:pt>
                <c:pt idx="4952">
                  <c:v>33.242-33.249</c:v>
                </c:pt>
                <c:pt idx="4953">
                  <c:v>33.249-33.255</c:v>
                </c:pt>
                <c:pt idx="4954">
                  <c:v>33.255-33.262</c:v>
                </c:pt>
                <c:pt idx="4955">
                  <c:v>33.262-33.269</c:v>
                </c:pt>
                <c:pt idx="4956">
                  <c:v>33.269-33.275</c:v>
                </c:pt>
                <c:pt idx="4957">
                  <c:v>33.275-33.282</c:v>
                </c:pt>
                <c:pt idx="4958">
                  <c:v>33.282-33.289</c:v>
                </c:pt>
                <c:pt idx="4959">
                  <c:v>33.289-33.296</c:v>
                </c:pt>
                <c:pt idx="4960">
                  <c:v>33.296-33.302</c:v>
                </c:pt>
                <c:pt idx="4961">
                  <c:v>33.302-33.309</c:v>
                </c:pt>
                <c:pt idx="4962">
                  <c:v>33.309-33.316</c:v>
                </c:pt>
                <c:pt idx="4963">
                  <c:v>33.316-33.322</c:v>
                </c:pt>
                <c:pt idx="4964">
                  <c:v>33.322-33.329</c:v>
                </c:pt>
                <c:pt idx="4965">
                  <c:v>33.329-33.336</c:v>
                </c:pt>
                <c:pt idx="4966">
                  <c:v>33.336-33.343</c:v>
                </c:pt>
                <c:pt idx="4967">
                  <c:v>33.343-33.349</c:v>
                </c:pt>
                <c:pt idx="4968">
                  <c:v>33.349-33.356</c:v>
                </c:pt>
                <c:pt idx="4969">
                  <c:v>33.356-33.363</c:v>
                </c:pt>
                <c:pt idx="4970">
                  <c:v>33.363-33.369</c:v>
                </c:pt>
                <c:pt idx="4971">
                  <c:v>33.369-33.376</c:v>
                </c:pt>
                <c:pt idx="4972">
                  <c:v>33.376-33.383</c:v>
                </c:pt>
                <c:pt idx="4973">
                  <c:v>33.383-33.390</c:v>
                </c:pt>
                <c:pt idx="4974">
                  <c:v>33.390-33.396</c:v>
                </c:pt>
                <c:pt idx="4975">
                  <c:v>33.396-33.403</c:v>
                </c:pt>
                <c:pt idx="4976">
                  <c:v>33.403-33.410</c:v>
                </c:pt>
                <c:pt idx="4977">
                  <c:v>33.410-33.416</c:v>
                </c:pt>
                <c:pt idx="4978">
                  <c:v>33.416-33.423</c:v>
                </c:pt>
                <c:pt idx="4979">
                  <c:v>33.423-33.430</c:v>
                </c:pt>
                <c:pt idx="4980">
                  <c:v>33.430-33.436</c:v>
                </c:pt>
                <c:pt idx="4981">
                  <c:v>33.436-33.443</c:v>
                </c:pt>
                <c:pt idx="4982">
                  <c:v>33.443-33.450</c:v>
                </c:pt>
                <c:pt idx="4983">
                  <c:v>33.450-33.457</c:v>
                </c:pt>
                <c:pt idx="4984">
                  <c:v>33.457-33.463</c:v>
                </c:pt>
                <c:pt idx="4985">
                  <c:v>33.463-33.470</c:v>
                </c:pt>
                <c:pt idx="4986">
                  <c:v>33.470-33.477</c:v>
                </c:pt>
                <c:pt idx="4987">
                  <c:v>33.477-33.483</c:v>
                </c:pt>
                <c:pt idx="4988">
                  <c:v>33.483-33.490</c:v>
                </c:pt>
                <c:pt idx="4989">
                  <c:v>33.490-33.497</c:v>
                </c:pt>
                <c:pt idx="4990">
                  <c:v>33.497-33.504</c:v>
                </c:pt>
                <c:pt idx="4991">
                  <c:v>33.504-33.510</c:v>
                </c:pt>
                <c:pt idx="4992">
                  <c:v>33.510-33.517</c:v>
                </c:pt>
                <c:pt idx="4993">
                  <c:v>33.517-33.524</c:v>
                </c:pt>
                <c:pt idx="4994">
                  <c:v>33.524-33.530</c:v>
                </c:pt>
                <c:pt idx="4995">
                  <c:v>33.530-33.537</c:v>
                </c:pt>
                <c:pt idx="4996">
                  <c:v>33.537-33.544</c:v>
                </c:pt>
                <c:pt idx="4997">
                  <c:v>33.544-33.551</c:v>
                </c:pt>
                <c:pt idx="4998">
                  <c:v>33.551-33.557</c:v>
                </c:pt>
                <c:pt idx="4999">
                  <c:v>33.557-33.564</c:v>
                </c:pt>
                <c:pt idx="5000">
                  <c:v>33.564-33.571</c:v>
                </c:pt>
                <c:pt idx="5001">
                  <c:v>33.571-33.577</c:v>
                </c:pt>
                <c:pt idx="5002">
                  <c:v>33.577-33.584</c:v>
                </c:pt>
                <c:pt idx="5003">
                  <c:v>33.584-33.591</c:v>
                </c:pt>
                <c:pt idx="5004">
                  <c:v>33.591-33.598</c:v>
                </c:pt>
                <c:pt idx="5005">
                  <c:v>33.598-33.604</c:v>
                </c:pt>
                <c:pt idx="5006">
                  <c:v>33.604-33.611</c:v>
                </c:pt>
                <c:pt idx="5007">
                  <c:v>33.611-33.618</c:v>
                </c:pt>
                <c:pt idx="5008">
                  <c:v>33.618-33.624</c:v>
                </c:pt>
                <c:pt idx="5009">
                  <c:v>33.624-33.631</c:v>
                </c:pt>
                <c:pt idx="5010">
                  <c:v>33.631-33.638</c:v>
                </c:pt>
                <c:pt idx="5011">
                  <c:v>33.638-33.645</c:v>
                </c:pt>
                <c:pt idx="5012">
                  <c:v>33.645-33.651</c:v>
                </c:pt>
                <c:pt idx="5013">
                  <c:v>33.651-33.658</c:v>
                </c:pt>
                <c:pt idx="5014">
                  <c:v>33.658-33.665</c:v>
                </c:pt>
                <c:pt idx="5015">
                  <c:v>33.665-33.671</c:v>
                </c:pt>
                <c:pt idx="5016">
                  <c:v>33.671-33.678</c:v>
                </c:pt>
                <c:pt idx="5017">
                  <c:v>33.678-33.685</c:v>
                </c:pt>
                <c:pt idx="5018">
                  <c:v>33.685-33.692</c:v>
                </c:pt>
                <c:pt idx="5019">
                  <c:v>33.692-33.698</c:v>
                </c:pt>
                <c:pt idx="5020">
                  <c:v>33.698-33.705</c:v>
                </c:pt>
                <c:pt idx="5021">
                  <c:v>33.705-33.712</c:v>
                </c:pt>
                <c:pt idx="5022">
                  <c:v>33.712-33.718</c:v>
                </c:pt>
                <c:pt idx="5023">
                  <c:v>33.718-33.725</c:v>
                </c:pt>
                <c:pt idx="5024">
                  <c:v>33.725-33.732</c:v>
                </c:pt>
                <c:pt idx="5025">
                  <c:v>33.732-33.738</c:v>
                </c:pt>
                <c:pt idx="5026">
                  <c:v>33.738-33.745</c:v>
                </c:pt>
                <c:pt idx="5027">
                  <c:v>33.745-33.752</c:v>
                </c:pt>
                <c:pt idx="5028">
                  <c:v>33.752-33.759</c:v>
                </c:pt>
                <c:pt idx="5029">
                  <c:v>33.759-33.765</c:v>
                </c:pt>
                <c:pt idx="5030">
                  <c:v>33.765-33.772</c:v>
                </c:pt>
                <c:pt idx="5031">
                  <c:v>33.772-33.779</c:v>
                </c:pt>
                <c:pt idx="5032">
                  <c:v>33.779-33.785</c:v>
                </c:pt>
                <c:pt idx="5033">
                  <c:v>33.785-33.792</c:v>
                </c:pt>
                <c:pt idx="5034">
                  <c:v>33.792-33.799</c:v>
                </c:pt>
                <c:pt idx="5035">
                  <c:v>33.799-33.806</c:v>
                </c:pt>
                <c:pt idx="5036">
                  <c:v>33.806-33.812</c:v>
                </c:pt>
                <c:pt idx="5037">
                  <c:v>33.812-33.819</c:v>
                </c:pt>
                <c:pt idx="5038">
                  <c:v>33.819-33.826</c:v>
                </c:pt>
                <c:pt idx="5039">
                  <c:v>33.826-33.832</c:v>
                </c:pt>
                <c:pt idx="5040">
                  <c:v>33.832-33.839</c:v>
                </c:pt>
                <c:pt idx="5041">
                  <c:v>33.839-33.846</c:v>
                </c:pt>
                <c:pt idx="5042">
                  <c:v>33.846-33.853</c:v>
                </c:pt>
                <c:pt idx="5043">
                  <c:v>33.853-33.859</c:v>
                </c:pt>
                <c:pt idx="5044">
                  <c:v>33.859-33.866</c:v>
                </c:pt>
                <c:pt idx="5045">
                  <c:v>33.866-33.873</c:v>
                </c:pt>
                <c:pt idx="5046">
                  <c:v>33.873-33.879</c:v>
                </c:pt>
                <c:pt idx="5047">
                  <c:v>33.879-33.886</c:v>
                </c:pt>
                <c:pt idx="5048">
                  <c:v>33.886-33.893</c:v>
                </c:pt>
                <c:pt idx="5049">
                  <c:v>33.893-33.900</c:v>
                </c:pt>
                <c:pt idx="5050">
                  <c:v>33.900-33.906</c:v>
                </c:pt>
                <c:pt idx="5051">
                  <c:v>33.906-33.913</c:v>
                </c:pt>
                <c:pt idx="5052">
                  <c:v>33.913-33.920</c:v>
                </c:pt>
                <c:pt idx="5053">
                  <c:v>33.920-33.926</c:v>
                </c:pt>
                <c:pt idx="5054">
                  <c:v>33.926-33.933</c:v>
                </c:pt>
                <c:pt idx="5055">
                  <c:v>33.933-33.940</c:v>
                </c:pt>
                <c:pt idx="5056">
                  <c:v>33.940-33.947</c:v>
                </c:pt>
                <c:pt idx="5057">
                  <c:v>33.947-33.953</c:v>
                </c:pt>
                <c:pt idx="5058">
                  <c:v>33.953-33.960</c:v>
                </c:pt>
                <c:pt idx="5059">
                  <c:v>33.960-33.967</c:v>
                </c:pt>
                <c:pt idx="5060">
                  <c:v>33.967-33.973</c:v>
                </c:pt>
                <c:pt idx="5061">
                  <c:v>33.973-33.980</c:v>
                </c:pt>
                <c:pt idx="5062">
                  <c:v>33.980-33.987</c:v>
                </c:pt>
                <c:pt idx="5063">
                  <c:v>33.987-33.993</c:v>
                </c:pt>
                <c:pt idx="5064">
                  <c:v>33.993-34.000</c:v>
                </c:pt>
                <c:pt idx="5065">
                  <c:v>34.000-34.007</c:v>
                </c:pt>
                <c:pt idx="5066">
                  <c:v>34.007-34.014</c:v>
                </c:pt>
                <c:pt idx="5067">
                  <c:v>34.014-34.020</c:v>
                </c:pt>
                <c:pt idx="5068">
                  <c:v>34.020-34.027</c:v>
                </c:pt>
                <c:pt idx="5069">
                  <c:v>34.027-34.034</c:v>
                </c:pt>
                <c:pt idx="5070">
                  <c:v>34.034-34.040</c:v>
                </c:pt>
                <c:pt idx="5071">
                  <c:v>34.040-34.047</c:v>
                </c:pt>
                <c:pt idx="5072">
                  <c:v>34.047-34.054</c:v>
                </c:pt>
                <c:pt idx="5073">
                  <c:v>34.054-34.061</c:v>
                </c:pt>
                <c:pt idx="5074">
                  <c:v>34.061-34.067</c:v>
                </c:pt>
                <c:pt idx="5075">
                  <c:v>34.067-34.074</c:v>
                </c:pt>
                <c:pt idx="5076">
                  <c:v>34.074-34.081</c:v>
                </c:pt>
                <c:pt idx="5077">
                  <c:v>34.081-34.087</c:v>
                </c:pt>
                <c:pt idx="5078">
                  <c:v>34.087-34.094</c:v>
                </c:pt>
                <c:pt idx="5079">
                  <c:v>34.094-34.101</c:v>
                </c:pt>
                <c:pt idx="5080">
                  <c:v>34.101-34.108</c:v>
                </c:pt>
                <c:pt idx="5081">
                  <c:v>34.108-34.114</c:v>
                </c:pt>
                <c:pt idx="5082">
                  <c:v>34.114-34.121</c:v>
                </c:pt>
                <c:pt idx="5083">
                  <c:v>34.121-34.128</c:v>
                </c:pt>
                <c:pt idx="5084">
                  <c:v>34.128-34.134</c:v>
                </c:pt>
                <c:pt idx="5085">
                  <c:v>34.134-34.141</c:v>
                </c:pt>
                <c:pt idx="5086">
                  <c:v>34.141-34.148</c:v>
                </c:pt>
                <c:pt idx="5087">
                  <c:v>34.148-34.155</c:v>
                </c:pt>
                <c:pt idx="5088">
                  <c:v>34.155-34.161</c:v>
                </c:pt>
                <c:pt idx="5089">
                  <c:v>34.161-34.168</c:v>
                </c:pt>
                <c:pt idx="5090">
                  <c:v>34.168-34.175</c:v>
                </c:pt>
                <c:pt idx="5091">
                  <c:v>34.175-34.181</c:v>
                </c:pt>
                <c:pt idx="5092">
                  <c:v>34.181-34.188</c:v>
                </c:pt>
                <c:pt idx="5093">
                  <c:v>34.188-34.195</c:v>
                </c:pt>
                <c:pt idx="5094">
                  <c:v>34.195-34.202</c:v>
                </c:pt>
                <c:pt idx="5095">
                  <c:v>34.202-34.208</c:v>
                </c:pt>
                <c:pt idx="5096">
                  <c:v>34.208-34.215</c:v>
                </c:pt>
                <c:pt idx="5097">
                  <c:v>34.215-34.222</c:v>
                </c:pt>
                <c:pt idx="5098">
                  <c:v>34.222-34.228</c:v>
                </c:pt>
                <c:pt idx="5099">
                  <c:v>34.228-34.235</c:v>
                </c:pt>
                <c:pt idx="5100">
                  <c:v>34.235-34.242</c:v>
                </c:pt>
                <c:pt idx="5101">
                  <c:v>34.242-34.249</c:v>
                </c:pt>
                <c:pt idx="5102">
                  <c:v>34.249-34.255</c:v>
                </c:pt>
                <c:pt idx="5103">
                  <c:v>34.255-34.262</c:v>
                </c:pt>
                <c:pt idx="5104">
                  <c:v>34.262-34.269</c:v>
                </c:pt>
                <c:pt idx="5105">
                  <c:v>34.269-34.275</c:v>
                </c:pt>
                <c:pt idx="5106">
                  <c:v>34.275-34.282</c:v>
                </c:pt>
                <c:pt idx="5107">
                  <c:v>34.282-34.289</c:v>
                </c:pt>
                <c:pt idx="5108">
                  <c:v>34.289-34.295</c:v>
                </c:pt>
                <c:pt idx="5109">
                  <c:v>34.295-34.302</c:v>
                </c:pt>
                <c:pt idx="5110">
                  <c:v>34.302-34.309</c:v>
                </c:pt>
                <c:pt idx="5111">
                  <c:v>34.309-34.316</c:v>
                </c:pt>
                <c:pt idx="5112">
                  <c:v>34.316-34.322</c:v>
                </c:pt>
                <c:pt idx="5113">
                  <c:v>34.322-34.329</c:v>
                </c:pt>
                <c:pt idx="5114">
                  <c:v>34.329-34.336</c:v>
                </c:pt>
                <c:pt idx="5115">
                  <c:v>34.336-34.342</c:v>
                </c:pt>
                <c:pt idx="5116">
                  <c:v>34.342-34.349</c:v>
                </c:pt>
                <c:pt idx="5117">
                  <c:v>34.349-34.356</c:v>
                </c:pt>
                <c:pt idx="5118">
                  <c:v>34.356-34.363</c:v>
                </c:pt>
                <c:pt idx="5119">
                  <c:v>34.363-34.369</c:v>
                </c:pt>
                <c:pt idx="5120">
                  <c:v>34.369-34.376</c:v>
                </c:pt>
                <c:pt idx="5121">
                  <c:v>34.376-34.383</c:v>
                </c:pt>
                <c:pt idx="5122">
                  <c:v>34.383-34.389</c:v>
                </c:pt>
                <c:pt idx="5123">
                  <c:v>34.389-34.396</c:v>
                </c:pt>
                <c:pt idx="5124">
                  <c:v>34.396-34.403</c:v>
                </c:pt>
                <c:pt idx="5125">
                  <c:v>34.403-34.410</c:v>
                </c:pt>
                <c:pt idx="5126">
                  <c:v>34.410-34.416</c:v>
                </c:pt>
                <c:pt idx="5127">
                  <c:v>34.416-34.423</c:v>
                </c:pt>
                <c:pt idx="5128">
                  <c:v>34.423-34.430</c:v>
                </c:pt>
                <c:pt idx="5129">
                  <c:v>34.430-34.436</c:v>
                </c:pt>
                <c:pt idx="5130">
                  <c:v>34.436-34.443</c:v>
                </c:pt>
                <c:pt idx="5131">
                  <c:v>34.443-34.450</c:v>
                </c:pt>
                <c:pt idx="5132">
                  <c:v>34.450-34.457</c:v>
                </c:pt>
                <c:pt idx="5133">
                  <c:v>34.457-34.463</c:v>
                </c:pt>
                <c:pt idx="5134">
                  <c:v>34.463-34.470</c:v>
                </c:pt>
                <c:pt idx="5135">
                  <c:v>34.470-34.477</c:v>
                </c:pt>
                <c:pt idx="5136">
                  <c:v>34.477-34.483</c:v>
                </c:pt>
                <c:pt idx="5137">
                  <c:v>34.483-34.490</c:v>
                </c:pt>
                <c:pt idx="5138">
                  <c:v>34.490-34.497</c:v>
                </c:pt>
                <c:pt idx="5139">
                  <c:v>34.497-34.504</c:v>
                </c:pt>
                <c:pt idx="5140">
                  <c:v>34.504-34.510</c:v>
                </c:pt>
                <c:pt idx="5141">
                  <c:v>34.510-34.517</c:v>
                </c:pt>
                <c:pt idx="5142">
                  <c:v>34.517-34.524</c:v>
                </c:pt>
                <c:pt idx="5143">
                  <c:v>34.524-34.530</c:v>
                </c:pt>
                <c:pt idx="5144">
                  <c:v>34.530-34.537</c:v>
                </c:pt>
                <c:pt idx="5145">
                  <c:v>34.537-34.544</c:v>
                </c:pt>
                <c:pt idx="5146">
                  <c:v>34.544-34.550</c:v>
                </c:pt>
                <c:pt idx="5147">
                  <c:v>34.550-34.557</c:v>
                </c:pt>
                <c:pt idx="5148">
                  <c:v>34.557-34.564</c:v>
                </c:pt>
                <c:pt idx="5149">
                  <c:v>34.564-34.571</c:v>
                </c:pt>
                <c:pt idx="5150">
                  <c:v>34.571-34.577</c:v>
                </c:pt>
                <c:pt idx="5151">
                  <c:v>34.577-34.584</c:v>
                </c:pt>
                <c:pt idx="5152">
                  <c:v>34.584-34.591</c:v>
                </c:pt>
                <c:pt idx="5153">
                  <c:v>34.591-34.597</c:v>
                </c:pt>
                <c:pt idx="5154">
                  <c:v>34.597-34.604</c:v>
                </c:pt>
                <c:pt idx="5155">
                  <c:v>34.604-34.611</c:v>
                </c:pt>
                <c:pt idx="5156">
                  <c:v>34.611-34.618</c:v>
                </c:pt>
                <c:pt idx="5157">
                  <c:v>34.618-34.624</c:v>
                </c:pt>
                <c:pt idx="5158">
                  <c:v>34.624-34.631</c:v>
                </c:pt>
                <c:pt idx="5159">
                  <c:v>34.631-34.638</c:v>
                </c:pt>
                <c:pt idx="5160">
                  <c:v>34.638-34.644</c:v>
                </c:pt>
                <c:pt idx="5161">
                  <c:v>34.644-34.651</c:v>
                </c:pt>
                <c:pt idx="5162">
                  <c:v>34.651-34.658</c:v>
                </c:pt>
                <c:pt idx="5163">
                  <c:v>34.658-34.665</c:v>
                </c:pt>
                <c:pt idx="5164">
                  <c:v>34.665-34.671</c:v>
                </c:pt>
                <c:pt idx="5165">
                  <c:v>34.671-34.678</c:v>
                </c:pt>
                <c:pt idx="5166">
                  <c:v>34.678-34.685</c:v>
                </c:pt>
                <c:pt idx="5167">
                  <c:v>34.685-34.691</c:v>
                </c:pt>
                <c:pt idx="5168">
                  <c:v>34.691-34.698</c:v>
                </c:pt>
                <c:pt idx="5169">
                  <c:v>34.698-34.705</c:v>
                </c:pt>
                <c:pt idx="5170">
                  <c:v>34.705-34.712</c:v>
                </c:pt>
                <c:pt idx="5171">
                  <c:v>34.712-34.718</c:v>
                </c:pt>
                <c:pt idx="5172">
                  <c:v>34.718-34.725</c:v>
                </c:pt>
                <c:pt idx="5173">
                  <c:v>34.725-34.732</c:v>
                </c:pt>
                <c:pt idx="5174">
                  <c:v>34.732-34.738</c:v>
                </c:pt>
                <c:pt idx="5175">
                  <c:v>34.738-34.745</c:v>
                </c:pt>
                <c:pt idx="5176">
                  <c:v>34.745-34.752</c:v>
                </c:pt>
                <c:pt idx="5177">
                  <c:v>34.752-34.759</c:v>
                </c:pt>
                <c:pt idx="5178">
                  <c:v>34.759-34.765</c:v>
                </c:pt>
                <c:pt idx="5179">
                  <c:v>34.765-34.772</c:v>
                </c:pt>
                <c:pt idx="5180">
                  <c:v>34.772-34.779</c:v>
                </c:pt>
                <c:pt idx="5181">
                  <c:v>34.779-34.785</c:v>
                </c:pt>
                <c:pt idx="5182">
                  <c:v>34.785-34.792</c:v>
                </c:pt>
                <c:pt idx="5183">
                  <c:v>34.792-34.799</c:v>
                </c:pt>
                <c:pt idx="5184">
                  <c:v>34.799-34.805</c:v>
                </c:pt>
                <c:pt idx="5185">
                  <c:v>34.805-34.812</c:v>
                </c:pt>
                <c:pt idx="5186">
                  <c:v>34.812-34.819</c:v>
                </c:pt>
                <c:pt idx="5187">
                  <c:v>34.819-34.826</c:v>
                </c:pt>
                <c:pt idx="5188">
                  <c:v>34.826-34.832</c:v>
                </c:pt>
                <c:pt idx="5189">
                  <c:v>34.832-34.839</c:v>
                </c:pt>
                <c:pt idx="5190">
                  <c:v>34.839-34.846</c:v>
                </c:pt>
                <c:pt idx="5191">
                  <c:v>34.846-34.852</c:v>
                </c:pt>
                <c:pt idx="5192">
                  <c:v>34.852-34.859</c:v>
                </c:pt>
                <c:pt idx="5193">
                  <c:v>34.859-34.866</c:v>
                </c:pt>
                <c:pt idx="5194">
                  <c:v>34.866-34.873</c:v>
                </c:pt>
                <c:pt idx="5195">
                  <c:v>34.873-34.879</c:v>
                </c:pt>
                <c:pt idx="5196">
                  <c:v>34.879-34.886</c:v>
                </c:pt>
                <c:pt idx="5197">
                  <c:v>34.886-34.893</c:v>
                </c:pt>
                <c:pt idx="5198">
                  <c:v>34.893-34.899</c:v>
                </c:pt>
                <c:pt idx="5199">
                  <c:v>34.899-34.906</c:v>
                </c:pt>
                <c:pt idx="5200">
                  <c:v>34.906-34.913</c:v>
                </c:pt>
                <c:pt idx="5201">
                  <c:v>34.913-34.920</c:v>
                </c:pt>
                <c:pt idx="5202">
                  <c:v>34.920-34.926</c:v>
                </c:pt>
                <c:pt idx="5203">
                  <c:v>34.926-34.933</c:v>
                </c:pt>
                <c:pt idx="5204">
                  <c:v>34.933-34.940</c:v>
                </c:pt>
                <c:pt idx="5205">
                  <c:v>34.940-34.946</c:v>
                </c:pt>
                <c:pt idx="5206">
                  <c:v>34.946-34.953</c:v>
                </c:pt>
                <c:pt idx="5207">
                  <c:v>34.953-34.960</c:v>
                </c:pt>
                <c:pt idx="5208">
                  <c:v>34.960-34.967</c:v>
                </c:pt>
                <c:pt idx="5209">
                  <c:v>34.967-34.973</c:v>
                </c:pt>
                <c:pt idx="5210">
                  <c:v>34.973-34.980</c:v>
                </c:pt>
                <c:pt idx="5211">
                  <c:v>34.980-34.987</c:v>
                </c:pt>
                <c:pt idx="5212">
                  <c:v>34.987-34.993</c:v>
                </c:pt>
                <c:pt idx="5213">
                  <c:v>34.993-35.000</c:v>
                </c:pt>
                <c:pt idx="5214">
                  <c:v>35.000-35.007</c:v>
                </c:pt>
                <c:pt idx="5215">
                  <c:v>35.007-35.014</c:v>
                </c:pt>
                <c:pt idx="5216">
                  <c:v>35.014-35.020</c:v>
                </c:pt>
                <c:pt idx="5217">
                  <c:v>35.020-35.027</c:v>
                </c:pt>
                <c:pt idx="5218">
                  <c:v>35.027-35.034</c:v>
                </c:pt>
                <c:pt idx="5219">
                  <c:v>35.034-35.040</c:v>
                </c:pt>
                <c:pt idx="5220">
                  <c:v>35.040-35.047</c:v>
                </c:pt>
                <c:pt idx="5221">
                  <c:v>35.047-35.054</c:v>
                </c:pt>
                <c:pt idx="5222">
                  <c:v>35.054-35.061</c:v>
                </c:pt>
                <c:pt idx="5223">
                  <c:v>35.061-35.067</c:v>
                </c:pt>
                <c:pt idx="5224">
                  <c:v>35.067-35.074</c:v>
                </c:pt>
                <c:pt idx="5225">
                  <c:v>35.074-35.081</c:v>
                </c:pt>
                <c:pt idx="5226">
                  <c:v>35.081-35.087</c:v>
                </c:pt>
                <c:pt idx="5227">
                  <c:v>35.087-35.094</c:v>
                </c:pt>
                <c:pt idx="5228">
                  <c:v>35.094-35.101</c:v>
                </c:pt>
                <c:pt idx="5229">
                  <c:v>35.101-35.107</c:v>
                </c:pt>
                <c:pt idx="5230">
                  <c:v>35.107-35.114</c:v>
                </c:pt>
                <c:pt idx="5231">
                  <c:v>35.114-35.121</c:v>
                </c:pt>
                <c:pt idx="5232">
                  <c:v>35.121-35.128</c:v>
                </c:pt>
                <c:pt idx="5233">
                  <c:v>35.128-35.134</c:v>
                </c:pt>
                <c:pt idx="5234">
                  <c:v>35.134-35.141</c:v>
                </c:pt>
                <c:pt idx="5235">
                  <c:v>35.141-35.148</c:v>
                </c:pt>
                <c:pt idx="5236">
                  <c:v>35.148-35.154</c:v>
                </c:pt>
                <c:pt idx="5237">
                  <c:v>35.154-35.161</c:v>
                </c:pt>
                <c:pt idx="5238">
                  <c:v>35.161-35.168</c:v>
                </c:pt>
                <c:pt idx="5239">
                  <c:v>35.168-35.175</c:v>
                </c:pt>
                <c:pt idx="5240">
                  <c:v>35.175-35.181</c:v>
                </c:pt>
                <c:pt idx="5241">
                  <c:v>35.181-35.188</c:v>
                </c:pt>
                <c:pt idx="5242">
                  <c:v>35.188-35.195</c:v>
                </c:pt>
                <c:pt idx="5243">
                  <c:v>35.195-35.201</c:v>
                </c:pt>
                <c:pt idx="5244">
                  <c:v>35.201-35.208</c:v>
                </c:pt>
                <c:pt idx="5245">
                  <c:v>35.208-35.215</c:v>
                </c:pt>
                <c:pt idx="5246">
                  <c:v>35.215-35.222</c:v>
                </c:pt>
                <c:pt idx="5247">
                  <c:v>35.222-35.228</c:v>
                </c:pt>
                <c:pt idx="5248">
                  <c:v>35.228-35.235</c:v>
                </c:pt>
                <c:pt idx="5249">
                  <c:v>35.235-35.242</c:v>
                </c:pt>
                <c:pt idx="5250">
                  <c:v>35.242-35.248</c:v>
                </c:pt>
                <c:pt idx="5251">
                  <c:v>35.248-35.255</c:v>
                </c:pt>
                <c:pt idx="5252">
                  <c:v>35.255-35.262</c:v>
                </c:pt>
                <c:pt idx="5253">
                  <c:v>35.262-35.269</c:v>
                </c:pt>
                <c:pt idx="5254">
                  <c:v>35.269-35.275</c:v>
                </c:pt>
                <c:pt idx="5255">
                  <c:v>35.275-35.282</c:v>
                </c:pt>
                <c:pt idx="5256">
                  <c:v>35.282-35.289</c:v>
                </c:pt>
                <c:pt idx="5257">
                  <c:v>35.289-35.295</c:v>
                </c:pt>
                <c:pt idx="5258">
                  <c:v>35.295-35.302</c:v>
                </c:pt>
                <c:pt idx="5259">
                  <c:v>35.302-35.309</c:v>
                </c:pt>
                <c:pt idx="5260">
                  <c:v>35.309-35.316</c:v>
                </c:pt>
                <c:pt idx="5261">
                  <c:v>35.316-35.322</c:v>
                </c:pt>
                <c:pt idx="5262">
                  <c:v>35.322-35.329</c:v>
                </c:pt>
                <c:pt idx="5263">
                  <c:v>35.329-35.336</c:v>
                </c:pt>
                <c:pt idx="5264">
                  <c:v>35.336-35.342</c:v>
                </c:pt>
                <c:pt idx="5265">
                  <c:v>35.342-35.349</c:v>
                </c:pt>
                <c:pt idx="5266">
                  <c:v>35.349-35.356</c:v>
                </c:pt>
                <c:pt idx="5267">
                  <c:v>35.356-35.362</c:v>
                </c:pt>
                <c:pt idx="5268">
                  <c:v>35.362-35.369</c:v>
                </c:pt>
                <c:pt idx="5269">
                  <c:v>35.369-35.376</c:v>
                </c:pt>
                <c:pt idx="5270">
                  <c:v>35.376-35.383</c:v>
                </c:pt>
                <c:pt idx="5271">
                  <c:v>35.383-35.389</c:v>
                </c:pt>
                <c:pt idx="5272">
                  <c:v>35.389-35.396</c:v>
                </c:pt>
                <c:pt idx="5273">
                  <c:v>35.396-35.403</c:v>
                </c:pt>
                <c:pt idx="5274">
                  <c:v>35.403-35.409</c:v>
                </c:pt>
                <c:pt idx="5275">
                  <c:v>35.409-35.416</c:v>
                </c:pt>
                <c:pt idx="5276">
                  <c:v>35.416-35.423</c:v>
                </c:pt>
                <c:pt idx="5277">
                  <c:v>35.423-35.430</c:v>
                </c:pt>
                <c:pt idx="5278">
                  <c:v>35.430-35.436</c:v>
                </c:pt>
                <c:pt idx="5279">
                  <c:v>35.436-35.443</c:v>
                </c:pt>
                <c:pt idx="5280">
                  <c:v>35.443-35.450</c:v>
                </c:pt>
                <c:pt idx="5281">
                  <c:v>35.450-35.456</c:v>
                </c:pt>
                <c:pt idx="5282">
                  <c:v>35.456-35.463</c:v>
                </c:pt>
                <c:pt idx="5283">
                  <c:v>35.463-35.470</c:v>
                </c:pt>
                <c:pt idx="5284">
                  <c:v>35.470-35.477</c:v>
                </c:pt>
                <c:pt idx="5285">
                  <c:v>35.477-35.483</c:v>
                </c:pt>
                <c:pt idx="5286">
                  <c:v>35.483-35.490</c:v>
                </c:pt>
                <c:pt idx="5287">
                  <c:v>35.490-35.497</c:v>
                </c:pt>
                <c:pt idx="5288">
                  <c:v>35.497-35.503</c:v>
                </c:pt>
                <c:pt idx="5289">
                  <c:v>35.503-35.510</c:v>
                </c:pt>
                <c:pt idx="5290">
                  <c:v>35.510-35.517</c:v>
                </c:pt>
                <c:pt idx="5291">
                  <c:v>35.517-35.524</c:v>
                </c:pt>
                <c:pt idx="5292">
                  <c:v>35.524-35.530</c:v>
                </c:pt>
                <c:pt idx="5293">
                  <c:v>35.530-35.537</c:v>
                </c:pt>
                <c:pt idx="5294">
                  <c:v>35.537-35.544</c:v>
                </c:pt>
                <c:pt idx="5295">
                  <c:v>35.544-35.550</c:v>
                </c:pt>
                <c:pt idx="5296">
                  <c:v>35.550-35.557</c:v>
                </c:pt>
                <c:pt idx="5297">
                  <c:v>35.557-35.564</c:v>
                </c:pt>
                <c:pt idx="5298">
                  <c:v>35.564-35.571</c:v>
                </c:pt>
                <c:pt idx="5299">
                  <c:v>35.571-35.577</c:v>
                </c:pt>
                <c:pt idx="5300">
                  <c:v>35.577-35.584</c:v>
                </c:pt>
                <c:pt idx="5301">
                  <c:v>35.584-35.591</c:v>
                </c:pt>
                <c:pt idx="5302">
                  <c:v>35.591-35.597</c:v>
                </c:pt>
                <c:pt idx="5303">
                  <c:v>35.597-35.604</c:v>
                </c:pt>
                <c:pt idx="5304">
                  <c:v>35.604-35.611</c:v>
                </c:pt>
                <c:pt idx="5305">
                  <c:v>35.611-35.618</c:v>
                </c:pt>
                <c:pt idx="5306">
                  <c:v>35.618-35.624</c:v>
                </c:pt>
                <c:pt idx="5307">
                  <c:v>35.624-35.631</c:v>
                </c:pt>
                <c:pt idx="5308">
                  <c:v>35.631-35.638</c:v>
                </c:pt>
                <c:pt idx="5309">
                  <c:v>35.638-35.644</c:v>
                </c:pt>
                <c:pt idx="5310">
                  <c:v>35.644-35.651</c:v>
                </c:pt>
                <c:pt idx="5311">
                  <c:v>35.651-35.658</c:v>
                </c:pt>
                <c:pt idx="5312">
                  <c:v>35.658-35.664</c:v>
                </c:pt>
                <c:pt idx="5313">
                  <c:v>35.664-35.671</c:v>
                </c:pt>
                <c:pt idx="5314">
                  <c:v>35.671-35.678</c:v>
                </c:pt>
                <c:pt idx="5315">
                  <c:v>35.678-35.685</c:v>
                </c:pt>
                <c:pt idx="5316">
                  <c:v>35.685-35.691</c:v>
                </c:pt>
                <c:pt idx="5317">
                  <c:v>35.691-35.698</c:v>
                </c:pt>
                <c:pt idx="5318">
                  <c:v>35.698-35.705</c:v>
                </c:pt>
                <c:pt idx="5319">
                  <c:v>35.705-35.711</c:v>
                </c:pt>
                <c:pt idx="5320">
                  <c:v>35.711-35.718</c:v>
                </c:pt>
                <c:pt idx="5321">
                  <c:v>35.718-35.725</c:v>
                </c:pt>
                <c:pt idx="5322">
                  <c:v>35.725-35.732</c:v>
                </c:pt>
                <c:pt idx="5323">
                  <c:v>35.732-35.738</c:v>
                </c:pt>
                <c:pt idx="5324">
                  <c:v>35.738-35.745</c:v>
                </c:pt>
                <c:pt idx="5325">
                  <c:v>35.745-35.752</c:v>
                </c:pt>
                <c:pt idx="5326">
                  <c:v>35.752-35.758</c:v>
                </c:pt>
                <c:pt idx="5327">
                  <c:v>35.758-35.765</c:v>
                </c:pt>
                <c:pt idx="5328">
                  <c:v>35.765-35.772</c:v>
                </c:pt>
                <c:pt idx="5329">
                  <c:v>35.772-35.779</c:v>
                </c:pt>
                <c:pt idx="5330">
                  <c:v>35.779-35.785</c:v>
                </c:pt>
                <c:pt idx="5331">
                  <c:v>35.785-35.792</c:v>
                </c:pt>
                <c:pt idx="5332">
                  <c:v>35.792-35.799</c:v>
                </c:pt>
                <c:pt idx="5333">
                  <c:v>35.799-35.805</c:v>
                </c:pt>
                <c:pt idx="5334">
                  <c:v>35.805-35.812</c:v>
                </c:pt>
                <c:pt idx="5335">
                  <c:v>35.812-35.819</c:v>
                </c:pt>
                <c:pt idx="5336">
                  <c:v>35.819-35.826</c:v>
                </c:pt>
                <c:pt idx="5337">
                  <c:v>35.826-35.832</c:v>
                </c:pt>
                <c:pt idx="5338">
                  <c:v>35.832-35.839</c:v>
                </c:pt>
                <c:pt idx="5339">
                  <c:v>35.839-35.846</c:v>
                </c:pt>
                <c:pt idx="5340">
                  <c:v>35.846-35.852</c:v>
                </c:pt>
                <c:pt idx="5341">
                  <c:v>35.852-35.859</c:v>
                </c:pt>
                <c:pt idx="5342">
                  <c:v>35.859-35.866</c:v>
                </c:pt>
                <c:pt idx="5343">
                  <c:v>35.866-35.873</c:v>
                </c:pt>
                <c:pt idx="5344">
                  <c:v>35.873-35.879</c:v>
                </c:pt>
                <c:pt idx="5345">
                  <c:v>35.879-35.886</c:v>
                </c:pt>
                <c:pt idx="5346">
                  <c:v>35.886-35.893</c:v>
                </c:pt>
                <c:pt idx="5347">
                  <c:v>35.893-35.899</c:v>
                </c:pt>
                <c:pt idx="5348">
                  <c:v>35.899-35.906</c:v>
                </c:pt>
                <c:pt idx="5349">
                  <c:v>35.906-35.913</c:v>
                </c:pt>
                <c:pt idx="5350">
                  <c:v>35.913-35.919</c:v>
                </c:pt>
                <c:pt idx="5351">
                  <c:v>35.919-35.926</c:v>
                </c:pt>
                <c:pt idx="5352">
                  <c:v>35.926-35.933</c:v>
                </c:pt>
                <c:pt idx="5353">
                  <c:v>35.933-35.940</c:v>
                </c:pt>
                <c:pt idx="5354">
                  <c:v>35.940-35.946</c:v>
                </c:pt>
                <c:pt idx="5355">
                  <c:v>35.946-35.953</c:v>
                </c:pt>
                <c:pt idx="5356">
                  <c:v>35.953-35.960</c:v>
                </c:pt>
                <c:pt idx="5357">
                  <c:v>35.960-35.966</c:v>
                </c:pt>
                <c:pt idx="5358">
                  <c:v>35.966-35.973</c:v>
                </c:pt>
                <c:pt idx="5359">
                  <c:v>35.973-35.980</c:v>
                </c:pt>
                <c:pt idx="5360">
                  <c:v>35.980-35.987</c:v>
                </c:pt>
                <c:pt idx="5361">
                  <c:v>35.987-35.993</c:v>
                </c:pt>
                <c:pt idx="5362">
                  <c:v>35.993-36.000</c:v>
                </c:pt>
                <c:pt idx="5363">
                  <c:v>36.000-36.007</c:v>
                </c:pt>
                <c:pt idx="5364">
                  <c:v>36.007-36.013</c:v>
                </c:pt>
                <c:pt idx="5365">
                  <c:v>36.013-36.020</c:v>
                </c:pt>
                <c:pt idx="5366">
                  <c:v>36.020-36.027</c:v>
                </c:pt>
                <c:pt idx="5367">
                  <c:v>36.027-36.034</c:v>
                </c:pt>
                <c:pt idx="5368">
                  <c:v>36.034-36.040</c:v>
                </c:pt>
                <c:pt idx="5369">
                  <c:v>36.040-36.047</c:v>
                </c:pt>
                <c:pt idx="5370">
                  <c:v>36.047-36.054</c:v>
                </c:pt>
                <c:pt idx="5371">
                  <c:v>36.054-36.060</c:v>
                </c:pt>
                <c:pt idx="5372">
                  <c:v>36.060-36.067</c:v>
                </c:pt>
                <c:pt idx="5373">
                  <c:v>36.067-36.074</c:v>
                </c:pt>
                <c:pt idx="5374">
                  <c:v>36.074-36.081</c:v>
                </c:pt>
                <c:pt idx="5375">
                  <c:v>36.081-36.087</c:v>
                </c:pt>
                <c:pt idx="5376">
                  <c:v>36.087-36.094</c:v>
                </c:pt>
                <c:pt idx="5377">
                  <c:v>36.094-36.101</c:v>
                </c:pt>
                <c:pt idx="5378">
                  <c:v>36.101-36.107</c:v>
                </c:pt>
                <c:pt idx="5379">
                  <c:v>36.107-36.114</c:v>
                </c:pt>
                <c:pt idx="5380">
                  <c:v>36.114-36.121</c:v>
                </c:pt>
                <c:pt idx="5381">
                  <c:v>36.121-36.128</c:v>
                </c:pt>
                <c:pt idx="5382">
                  <c:v>36.128-36.134</c:v>
                </c:pt>
                <c:pt idx="5383">
                  <c:v>36.134-36.141</c:v>
                </c:pt>
                <c:pt idx="5384">
                  <c:v>36.141-36.148</c:v>
                </c:pt>
                <c:pt idx="5385">
                  <c:v>36.148-36.154</c:v>
                </c:pt>
                <c:pt idx="5386">
                  <c:v>36.154-36.161</c:v>
                </c:pt>
                <c:pt idx="5387">
                  <c:v>36.161-36.168</c:v>
                </c:pt>
                <c:pt idx="5388">
                  <c:v>36.168-36.175</c:v>
                </c:pt>
                <c:pt idx="5389">
                  <c:v>36.175-36.181</c:v>
                </c:pt>
                <c:pt idx="5390">
                  <c:v>36.181-36.188</c:v>
                </c:pt>
                <c:pt idx="5391">
                  <c:v>36.188-36.195</c:v>
                </c:pt>
                <c:pt idx="5392">
                  <c:v>36.195-36.201</c:v>
                </c:pt>
                <c:pt idx="5393">
                  <c:v>36.201-36.208</c:v>
                </c:pt>
                <c:pt idx="5394">
                  <c:v>36.208-36.215</c:v>
                </c:pt>
                <c:pt idx="5395">
                  <c:v>36.215-36.221</c:v>
                </c:pt>
                <c:pt idx="5396">
                  <c:v>36.221-36.228</c:v>
                </c:pt>
                <c:pt idx="5397">
                  <c:v>36.228-36.235</c:v>
                </c:pt>
                <c:pt idx="5398">
                  <c:v>36.235-36.242</c:v>
                </c:pt>
                <c:pt idx="5399">
                  <c:v>36.242-36.248</c:v>
                </c:pt>
                <c:pt idx="5400">
                  <c:v>36.248-36.255</c:v>
                </c:pt>
                <c:pt idx="5401">
                  <c:v>36.255-36.262</c:v>
                </c:pt>
                <c:pt idx="5402">
                  <c:v>36.262-36.268</c:v>
                </c:pt>
                <c:pt idx="5403">
                  <c:v>36.268-36.275</c:v>
                </c:pt>
                <c:pt idx="5404">
                  <c:v>36.275-36.282</c:v>
                </c:pt>
                <c:pt idx="5405">
                  <c:v>36.282-36.289</c:v>
                </c:pt>
                <c:pt idx="5406">
                  <c:v>36.289-36.295</c:v>
                </c:pt>
                <c:pt idx="5407">
                  <c:v>36.295-36.302</c:v>
                </c:pt>
                <c:pt idx="5408">
                  <c:v>36.302-36.309</c:v>
                </c:pt>
                <c:pt idx="5409">
                  <c:v>36.309-36.315</c:v>
                </c:pt>
                <c:pt idx="5410">
                  <c:v>36.315-36.322</c:v>
                </c:pt>
                <c:pt idx="5411">
                  <c:v>36.322-36.329</c:v>
                </c:pt>
                <c:pt idx="5412">
                  <c:v>36.329-36.336</c:v>
                </c:pt>
                <c:pt idx="5413">
                  <c:v>36.336-36.342</c:v>
                </c:pt>
                <c:pt idx="5414">
                  <c:v>36.342-36.349</c:v>
                </c:pt>
                <c:pt idx="5415">
                  <c:v>36.349-36.356</c:v>
                </c:pt>
                <c:pt idx="5416">
                  <c:v>36.356-36.362</c:v>
                </c:pt>
                <c:pt idx="5417">
                  <c:v>36.362-36.369</c:v>
                </c:pt>
                <c:pt idx="5418">
                  <c:v>36.369-36.376</c:v>
                </c:pt>
                <c:pt idx="5419">
                  <c:v>36.376-36.383</c:v>
                </c:pt>
                <c:pt idx="5420">
                  <c:v>36.383-36.389</c:v>
                </c:pt>
                <c:pt idx="5421">
                  <c:v>36.389-36.396</c:v>
                </c:pt>
                <c:pt idx="5422">
                  <c:v>36.396-36.403</c:v>
                </c:pt>
                <c:pt idx="5423">
                  <c:v>36.403-36.409</c:v>
                </c:pt>
                <c:pt idx="5424">
                  <c:v>36.409-36.416</c:v>
                </c:pt>
                <c:pt idx="5425">
                  <c:v>36.416-36.423</c:v>
                </c:pt>
                <c:pt idx="5426">
                  <c:v>36.423-36.430</c:v>
                </c:pt>
                <c:pt idx="5427">
                  <c:v>36.430-36.436</c:v>
                </c:pt>
                <c:pt idx="5428">
                  <c:v>36.436-36.443</c:v>
                </c:pt>
                <c:pt idx="5429">
                  <c:v>36.443-36.450</c:v>
                </c:pt>
                <c:pt idx="5430">
                  <c:v>36.450-36.456</c:v>
                </c:pt>
                <c:pt idx="5431">
                  <c:v>36.456-36.463</c:v>
                </c:pt>
                <c:pt idx="5432">
                  <c:v>36.463-36.470</c:v>
                </c:pt>
                <c:pt idx="5433">
                  <c:v>36.470-36.476</c:v>
                </c:pt>
                <c:pt idx="5434">
                  <c:v>36.476-36.483</c:v>
                </c:pt>
                <c:pt idx="5435">
                  <c:v>36.483-36.490</c:v>
                </c:pt>
                <c:pt idx="5436">
                  <c:v>36.490-36.497</c:v>
                </c:pt>
                <c:pt idx="5437">
                  <c:v>36.497-36.503</c:v>
                </c:pt>
                <c:pt idx="5438">
                  <c:v>36.503-36.510</c:v>
                </c:pt>
                <c:pt idx="5439">
                  <c:v>36.510-36.517</c:v>
                </c:pt>
                <c:pt idx="5440">
                  <c:v>36.517-36.523</c:v>
                </c:pt>
                <c:pt idx="5441">
                  <c:v>36.523-36.530</c:v>
                </c:pt>
                <c:pt idx="5442">
                  <c:v>36.530-36.537</c:v>
                </c:pt>
                <c:pt idx="5443">
                  <c:v>36.537-36.544</c:v>
                </c:pt>
                <c:pt idx="5444">
                  <c:v>36.544-36.550</c:v>
                </c:pt>
                <c:pt idx="5445">
                  <c:v>36.550-36.557</c:v>
                </c:pt>
                <c:pt idx="5446">
                  <c:v>36.557-36.564</c:v>
                </c:pt>
                <c:pt idx="5447">
                  <c:v>36.564-36.570</c:v>
                </c:pt>
                <c:pt idx="5448">
                  <c:v>36.570-36.577</c:v>
                </c:pt>
                <c:pt idx="5449">
                  <c:v>36.577-36.584</c:v>
                </c:pt>
                <c:pt idx="5450">
                  <c:v>36.584-36.591</c:v>
                </c:pt>
                <c:pt idx="5451">
                  <c:v>36.591-36.597</c:v>
                </c:pt>
                <c:pt idx="5452">
                  <c:v>36.597-36.604</c:v>
                </c:pt>
                <c:pt idx="5453">
                  <c:v>36.604-36.611</c:v>
                </c:pt>
                <c:pt idx="5454">
                  <c:v>36.611-36.617</c:v>
                </c:pt>
                <c:pt idx="5455">
                  <c:v>36.617-36.624</c:v>
                </c:pt>
                <c:pt idx="5456">
                  <c:v>36.624-36.631</c:v>
                </c:pt>
                <c:pt idx="5457">
                  <c:v>36.631-36.638</c:v>
                </c:pt>
                <c:pt idx="5458">
                  <c:v>36.638-36.644</c:v>
                </c:pt>
                <c:pt idx="5459">
                  <c:v>36.644-36.651</c:v>
                </c:pt>
                <c:pt idx="5460">
                  <c:v>36.651-36.658</c:v>
                </c:pt>
                <c:pt idx="5461">
                  <c:v>36.658-36.664</c:v>
                </c:pt>
                <c:pt idx="5462">
                  <c:v>36.664-36.671</c:v>
                </c:pt>
                <c:pt idx="5463">
                  <c:v>36.671-36.678</c:v>
                </c:pt>
                <c:pt idx="5464">
                  <c:v>36.678-36.685</c:v>
                </c:pt>
                <c:pt idx="5465">
                  <c:v>36.685-36.691</c:v>
                </c:pt>
                <c:pt idx="5466">
                  <c:v>36.691-36.698</c:v>
                </c:pt>
                <c:pt idx="5467">
                  <c:v>36.698-36.705</c:v>
                </c:pt>
                <c:pt idx="5468">
                  <c:v>36.705-36.711</c:v>
                </c:pt>
                <c:pt idx="5469">
                  <c:v>36.711-36.718</c:v>
                </c:pt>
                <c:pt idx="5470">
                  <c:v>36.718-36.725</c:v>
                </c:pt>
                <c:pt idx="5471">
                  <c:v>36.725-36.731</c:v>
                </c:pt>
                <c:pt idx="5472">
                  <c:v>36.731-36.738</c:v>
                </c:pt>
                <c:pt idx="5473">
                  <c:v>36.738-36.745</c:v>
                </c:pt>
                <c:pt idx="5474">
                  <c:v>36.745-36.752</c:v>
                </c:pt>
                <c:pt idx="5475">
                  <c:v>36.752-36.758</c:v>
                </c:pt>
                <c:pt idx="5476">
                  <c:v>36.758-36.765</c:v>
                </c:pt>
                <c:pt idx="5477">
                  <c:v>36.765-36.772</c:v>
                </c:pt>
                <c:pt idx="5478">
                  <c:v>36.772-36.778</c:v>
                </c:pt>
                <c:pt idx="5479">
                  <c:v>36.778-36.785</c:v>
                </c:pt>
                <c:pt idx="5480">
                  <c:v>36.785-36.792</c:v>
                </c:pt>
                <c:pt idx="5481">
                  <c:v>36.792-36.799</c:v>
                </c:pt>
                <c:pt idx="5482">
                  <c:v>36.799-36.805</c:v>
                </c:pt>
                <c:pt idx="5483">
                  <c:v>36.805-36.812</c:v>
                </c:pt>
                <c:pt idx="5484">
                  <c:v>36.812-36.819</c:v>
                </c:pt>
                <c:pt idx="5485">
                  <c:v>36.819-36.825</c:v>
                </c:pt>
                <c:pt idx="5486">
                  <c:v>36.825-36.832</c:v>
                </c:pt>
                <c:pt idx="5487">
                  <c:v>36.832-36.839</c:v>
                </c:pt>
                <c:pt idx="5488">
                  <c:v>36.839-36.846</c:v>
                </c:pt>
                <c:pt idx="5489">
                  <c:v>36.846-36.852</c:v>
                </c:pt>
                <c:pt idx="5490">
                  <c:v>36.852-36.859</c:v>
                </c:pt>
                <c:pt idx="5491">
                  <c:v>36.859-36.866</c:v>
                </c:pt>
                <c:pt idx="5492">
                  <c:v>36.866-36.872</c:v>
                </c:pt>
                <c:pt idx="5493">
                  <c:v>36.872-36.879</c:v>
                </c:pt>
                <c:pt idx="5494">
                  <c:v>36.879-36.886</c:v>
                </c:pt>
                <c:pt idx="5495">
                  <c:v>36.886-36.893</c:v>
                </c:pt>
                <c:pt idx="5496">
                  <c:v>36.893-36.899</c:v>
                </c:pt>
                <c:pt idx="5497">
                  <c:v>36.899-36.906</c:v>
                </c:pt>
                <c:pt idx="5498">
                  <c:v>36.906-36.913</c:v>
                </c:pt>
                <c:pt idx="5499">
                  <c:v>36.913-36.919</c:v>
                </c:pt>
                <c:pt idx="5500">
                  <c:v>36.919-36.926</c:v>
                </c:pt>
                <c:pt idx="5501">
                  <c:v>36.926-36.933</c:v>
                </c:pt>
                <c:pt idx="5502">
                  <c:v>36.933-36.940</c:v>
                </c:pt>
                <c:pt idx="5503">
                  <c:v>36.940-36.946</c:v>
                </c:pt>
                <c:pt idx="5504">
                  <c:v>36.946-36.953</c:v>
                </c:pt>
                <c:pt idx="5505">
                  <c:v>36.953-36.960</c:v>
                </c:pt>
                <c:pt idx="5506">
                  <c:v>36.960-36.966</c:v>
                </c:pt>
                <c:pt idx="5507">
                  <c:v>36.966-36.973</c:v>
                </c:pt>
                <c:pt idx="5508">
                  <c:v>36.973-36.980</c:v>
                </c:pt>
                <c:pt idx="5509">
                  <c:v>36.980-36.987</c:v>
                </c:pt>
                <c:pt idx="5510">
                  <c:v>36.987-36.993</c:v>
                </c:pt>
                <c:pt idx="5511">
                  <c:v>36.993-37.000</c:v>
                </c:pt>
                <c:pt idx="5512">
                  <c:v>37.000-37.007</c:v>
                </c:pt>
                <c:pt idx="5513">
                  <c:v>37.007-37.013</c:v>
                </c:pt>
                <c:pt idx="5514">
                  <c:v>37.013-37.020</c:v>
                </c:pt>
                <c:pt idx="5515">
                  <c:v>37.020-37.027</c:v>
                </c:pt>
                <c:pt idx="5516">
                  <c:v>37.027-37.033</c:v>
                </c:pt>
                <c:pt idx="5517">
                  <c:v>37.033-37.040</c:v>
                </c:pt>
                <c:pt idx="5518">
                  <c:v>37.040-37.047</c:v>
                </c:pt>
                <c:pt idx="5519">
                  <c:v>37.047-37.054</c:v>
                </c:pt>
                <c:pt idx="5520">
                  <c:v>37.054-37.060</c:v>
                </c:pt>
                <c:pt idx="5521">
                  <c:v>37.060-37.067</c:v>
                </c:pt>
                <c:pt idx="5522">
                  <c:v>37.067-37.074</c:v>
                </c:pt>
                <c:pt idx="5523">
                  <c:v>37.074-37.080</c:v>
                </c:pt>
                <c:pt idx="5524">
                  <c:v>37.080-37.087</c:v>
                </c:pt>
                <c:pt idx="5525">
                  <c:v>37.087-37.094</c:v>
                </c:pt>
                <c:pt idx="5526">
                  <c:v>37.094-37.101</c:v>
                </c:pt>
                <c:pt idx="5527">
                  <c:v>37.101-37.107</c:v>
                </c:pt>
                <c:pt idx="5528">
                  <c:v>37.107-37.114</c:v>
                </c:pt>
                <c:pt idx="5529">
                  <c:v>37.114-37.121</c:v>
                </c:pt>
                <c:pt idx="5530">
                  <c:v>37.121-37.127</c:v>
                </c:pt>
                <c:pt idx="5531">
                  <c:v>37.127-37.134</c:v>
                </c:pt>
                <c:pt idx="5532">
                  <c:v>37.134-37.141</c:v>
                </c:pt>
                <c:pt idx="5533">
                  <c:v>37.141-37.148</c:v>
                </c:pt>
                <c:pt idx="5534">
                  <c:v>37.148-37.154</c:v>
                </c:pt>
                <c:pt idx="5535">
                  <c:v>37.154-37.161</c:v>
                </c:pt>
                <c:pt idx="5536">
                  <c:v>37.161-37.168</c:v>
                </c:pt>
                <c:pt idx="5537">
                  <c:v>37.168-37.174</c:v>
                </c:pt>
                <c:pt idx="5538">
                  <c:v>37.174-37.181</c:v>
                </c:pt>
                <c:pt idx="5539">
                  <c:v>37.181-37.188</c:v>
                </c:pt>
                <c:pt idx="5540">
                  <c:v>37.188-37.195</c:v>
                </c:pt>
                <c:pt idx="5541">
                  <c:v>37.195-37.201</c:v>
                </c:pt>
                <c:pt idx="5542">
                  <c:v>37.201-37.208</c:v>
                </c:pt>
                <c:pt idx="5543">
                  <c:v>37.208-37.215</c:v>
                </c:pt>
                <c:pt idx="5544">
                  <c:v>37.215-37.221</c:v>
                </c:pt>
                <c:pt idx="5545">
                  <c:v>37.221-37.228</c:v>
                </c:pt>
                <c:pt idx="5546">
                  <c:v>37.228-37.235</c:v>
                </c:pt>
                <c:pt idx="5547">
                  <c:v>37.235-37.242</c:v>
                </c:pt>
                <c:pt idx="5548">
                  <c:v>37.242-37.248</c:v>
                </c:pt>
                <c:pt idx="5549">
                  <c:v>37.248-37.255</c:v>
                </c:pt>
                <c:pt idx="5550">
                  <c:v>37.255-37.262</c:v>
                </c:pt>
                <c:pt idx="5551">
                  <c:v>37.262-37.268</c:v>
                </c:pt>
                <c:pt idx="5552">
                  <c:v>37.268-37.275</c:v>
                </c:pt>
                <c:pt idx="5553">
                  <c:v>37.275-37.282</c:v>
                </c:pt>
                <c:pt idx="5554">
                  <c:v>37.282-37.288</c:v>
                </c:pt>
                <c:pt idx="5555">
                  <c:v>37.288-37.295</c:v>
                </c:pt>
                <c:pt idx="5556">
                  <c:v>37.295-37.302</c:v>
                </c:pt>
                <c:pt idx="5557">
                  <c:v>37.302-37.309</c:v>
                </c:pt>
                <c:pt idx="5558">
                  <c:v>37.309-37.315</c:v>
                </c:pt>
                <c:pt idx="5559">
                  <c:v>37.315-37.322</c:v>
                </c:pt>
                <c:pt idx="5560">
                  <c:v>37.322-37.329</c:v>
                </c:pt>
                <c:pt idx="5561">
                  <c:v>37.329-37.335</c:v>
                </c:pt>
                <c:pt idx="5562">
                  <c:v>37.335-37.342</c:v>
                </c:pt>
                <c:pt idx="5563">
                  <c:v>37.342-37.349</c:v>
                </c:pt>
                <c:pt idx="5564">
                  <c:v>37.349-37.356</c:v>
                </c:pt>
                <c:pt idx="5565">
                  <c:v>37.356-37.362</c:v>
                </c:pt>
                <c:pt idx="5566">
                  <c:v>37.362-37.369</c:v>
                </c:pt>
                <c:pt idx="5567">
                  <c:v>37.369-37.376</c:v>
                </c:pt>
                <c:pt idx="5568">
                  <c:v>37.376-37.382</c:v>
                </c:pt>
                <c:pt idx="5569">
                  <c:v>37.382-37.389</c:v>
                </c:pt>
                <c:pt idx="5570">
                  <c:v>37.389-37.396</c:v>
                </c:pt>
                <c:pt idx="5571">
                  <c:v>37.396-37.403</c:v>
                </c:pt>
                <c:pt idx="5572">
                  <c:v>37.403-37.409</c:v>
                </c:pt>
                <c:pt idx="5573">
                  <c:v>37.409-37.416</c:v>
                </c:pt>
                <c:pt idx="5574">
                  <c:v>37.416-37.423</c:v>
                </c:pt>
                <c:pt idx="5575">
                  <c:v>37.423-37.429</c:v>
                </c:pt>
                <c:pt idx="5576">
                  <c:v>37.429-37.436</c:v>
                </c:pt>
                <c:pt idx="5577">
                  <c:v>37.436-37.443</c:v>
                </c:pt>
                <c:pt idx="5578">
                  <c:v>37.443-37.450</c:v>
                </c:pt>
                <c:pt idx="5579">
                  <c:v>37.450-37.456</c:v>
                </c:pt>
                <c:pt idx="5580">
                  <c:v>37.456-37.463</c:v>
                </c:pt>
                <c:pt idx="5581">
                  <c:v>37.463-37.470</c:v>
                </c:pt>
                <c:pt idx="5582">
                  <c:v>37.470-37.476</c:v>
                </c:pt>
                <c:pt idx="5583">
                  <c:v>37.476-37.483</c:v>
                </c:pt>
                <c:pt idx="5584">
                  <c:v>37.483-37.490</c:v>
                </c:pt>
                <c:pt idx="5585">
                  <c:v>37.490-37.497</c:v>
                </c:pt>
                <c:pt idx="5586">
                  <c:v>37.497-37.503</c:v>
                </c:pt>
                <c:pt idx="5587">
                  <c:v>37.503-37.510</c:v>
                </c:pt>
                <c:pt idx="5588">
                  <c:v>37.510-37.517</c:v>
                </c:pt>
                <c:pt idx="5589">
                  <c:v>37.517-37.523</c:v>
                </c:pt>
                <c:pt idx="5590">
                  <c:v>37.523-37.530</c:v>
                </c:pt>
                <c:pt idx="5591">
                  <c:v>37.530-37.537</c:v>
                </c:pt>
                <c:pt idx="5592">
                  <c:v>37.537-37.544</c:v>
                </c:pt>
                <c:pt idx="5593">
                  <c:v>37.544-37.550</c:v>
                </c:pt>
                <c:pt idx="5594">
                  <c:v>37.550-37.557</c:v>
                </c:pt>
                <c:pt idx="5595">
                  <c:v>37.557-37.564</c:v>
                </c:pt>
                <c:pt idx="5596">
                  <c:v>37.564-37.570</c:v>
                </c:pt>
                <c:pt idx="5597">
                  <c:v>37.570-37.577</c:v>
                </c:pt>
                <c:pt idx="5598">
                  <c:v>37.577-37.584</c:v>
                </c:pt>
                <c:pt idx="5599">
                  <c:v>37.584-37.590</c:v>
                </c:pt>
                <c:pt idx="5600">
                  <c:v>37.590-37.597</c:v>
                </c:pt>
                <c:pt idx="5601">
                  <c:v>37.597-37.604</c:v>
                </c:pt>
                <c:pt idx="5602">
                  <c:v>37.604-37.611</c:v>
                </c:pt>
                <c:pt idx="5603">
                  <c:v>37.611-37.617</c:v>
                </c:pt>
                <c:pt idx="5604">
                  <c:v>37.617-37.624</c:v>
                </c:pt>
                <c:pt idx="5605">
                  <c:v>37.624-37.631</c:v>
                </c:pt>
                <c:pt idx="5606">
                  <c:v>37.631-37.637</c:v>
                </c:pt>
                <c:pt idx="5607">
                  <c:v>37.637-37.644</c:v>
                </c:pt>
                <c:pt idx="5608">
                  <c:v>37.644-37.651</c:v>
                </c:pt>
                <c:pt idx="5609">
                  <c:v>37.651-37.658</c:v>
                </c:pt>
                <c:pt idx="5610">
                  <c:v>37.658-37.664</c:v>
                </c:pt>
                <c:pt idx="5611">
                  <c:v>37.664-37.671</c:v>
                </c:pt>
                <c:pt idx="5612">
                  <c:v>37.671-37.678</c:v>
                </c:pt>
                <c:pt idx="5613">
                  <c:v>37.678-37.684</c:v>
                </c:pt>
                <c:pt idx="5614">
                  <c:v>37.684-37.691</c:v>
                </c:pt>
                <c:pt idx="5615">
                  <c:v>37.691-37.698</c:v>
                </c:pt>
                <c:pt idx="5616">
                  <c:v>37.698-37.705</c:v>
                </c:pt>
                <c:pt idx="5617">
                  <c:v>37.705-37.711</c:v>
                </c:pt>
                <c:pt idx="5618">
                  <c:v>37.711-37.718</c:v>
                </c:pt>
                <c:pt idx="5619">
                  <c:v>37.718-37.725</c:v>
                </c:pt>
                <c:pt idx="5620">
                  <c:v>37.725-37.731</c:v>
                </c:pt>
                <c:pt idx="5621">
                  <c:v>37.731-37.738</c:v>
                </c:pt>
                <c:pt idx="5622">
                  <c:v>37.738-37.745</c:v>
                </c:pt>
                <c:pt idx="5623">
                  <c:v>37.745-37.752</c:v>
                </c:pt>
                <c:pt idx="5624">
                  <c:v>37.752-37.758</c:v>
                </c:pt>
                <c:pt idx="5625">
                  <c:v>37.758-37.765</c:v>
                </c:pt>
                <c:pt idx="5626">
                  <c:v>37.765-37.772</c:v>
                </c:pt>
                <c:pt idx="5627">
                  <c:v>37.772-37.778</c:v>
                </c:pt>
                <c:pt idx="5628">
                  <c:v>37.778-37.785</c:v>
                </c:pt>
                <c:pt idx="5629">
                  <c:v>37.785-37.792</c:v>
                </c:pt>
                <c:pt idx="5630">
                  <c:v>37.792-37.799</c:v>
                </c:pt>
                <c:pt idx="5631">
                  <c:v>37.799-37.805</c:v>
                </c:pt>
                <c:pt idx="5632">
                  <c:v>37.805-37.812</c:v>
                </c:pt>
                <c:pt idx="5633">
                  <c:v>37.812-37.819</c:v>
                </c:pt>
                <c:pt idx="5634">
                  <c:v>37.819-37.825</c:v>
                </c:pt>
                <c:pt idx="5635">
                  <c:v>37.825-37.832</c:v>
                </c:pt>
                <c:pt idx="5636">
                  <c:v>37.832-37.839</c:v>
                </c:pt>
                <c:pt idx="5637">
                  <c:v>37.839-37.845</c:v>
                </c:pt>
                <c:pt idx="5638">
                  <c:v>37.845-37.852</c:v>
                </c:pt>
                <c:pt idx="5639">
                  <c:v>37.852-37.859</c:v>
                </c:pt>
                <c:pt idx="5640">
                  <c:v>37.859-37.866</c:v>
                </c:pt>
                <c:pt idx="5641">
                  <c:v>37.866-37.872</c:v>
                </c:pt>
                <c:pt idx="5642">
                  <c:v>37.872-37.879</c:v>
                </c:pt>
                <c:pt idx="5643">
                  <c:v>37.879-37.886</c:v>
                </c:pt>
                <c:pt idx="5644">
                  <c:v>37.886-37.892</c:v>
                </c:pt>
                <c:pt idx="5645">
                  <c:v>37.892-37.899</c:v>
                </c:pt>
                <c:pt idx="5646">
                  <c:v>37.899-37.906</c:v>
                </c:pt>
                <c:pt idx="5647">
                  <c:v>37.906-37.913</c:v>
                </c:pt>
                <c:pt idx="5648">
                  <c:v>37.913-37.919</c:v>
                </c:pt>
                <c:pt idx="5649">
                  <c:v>37.919-37.926</c:v>
                </c:pt>
                <c:pt idx="5650">
                  <c:v>37.926-37.933</c:v>
                </c:pt>
                <c:pt idx="5651">
                  <c:v>37.933-37.939</c:v>
                </c:pt>
                <c:pt idx="5652">
                  <c:v>37.939-37.946</c:v>
                </c:pt>
                <c:pt idx="5653">
                  <c:v>37.946-37.953</c:v>
                </c:pt>
                <c:pt idx="5654">
                  <c:v>37.953-37.960</c:v>
                </c:pt>
                <c:pt idx="5655">
                  <c:v>37.960-37.966</c:v>
                </c:pt>
                <c:pt idx="5656">
                  <c:v>37.966-37.973</c:v>
                </c:pt>
                <c:pt idx="5657">
                  <c:v>37.973-37.980</c:v>
                </c:pt>
                <c:pt idx="5658">
                  <c:v>37.980-37.986</c:v>
                </c:pt>
                <c:pt idx="5659">
                  <c:v>37.986-37.993</c:v>
                </c:pt>
                <c:pt idx="5660">
                  <c:v>37.993-38.000</c:v>
                </c:pt>
                <c:pt idx="5661">
                  <c:v>38.000-38.007</c:v>
                </c:pt>
                <c:pt idx="5662">
                  <c:v>38.007-38.013</c:v>
                </c:pt>
                <c:pt idx="5663">
                  <c:v>38.013-38.020</c:v>
                </c:pt>
                <c:pt idx="5664">
                  <c:v>38.020-38.027</c:v>
                </c:pt>
                <c:pt idx="5665">
                  <c:v>38.027-38.033</c:v>
                </c:pt>
                <c:pt idx="5666">
                  <c:v>38.033-38.040</c:v>
                </c:pt>
                <c:pt idx="5667">
                  <c:v>38.040-38.047</c:v>
                </c:pt>
                <c:pt idx="5668">
                  <c:v>38.047-38.054</c:v>
                </c:pt>
                <c:pt idx="5669">
                  <c:v>38.054-38.060</c:v>
                </c:pt>
                <c:pt idx="5670">
                  <c:v>38.060-38.067</c:v>
                </c:pt>
                <c:pt idx="5671">
                  <c:v>38.067-38.074</c:v>
                </c:pt>
                <c:pt idx="5672">
                  <c:v>38.074-38.080</c:v>
                </c:pt>
                <c:pt idx="5673">
                  <c:v>38.080-38.087</c:v>
                </c:pt>
                <c:pt idx="5674">
                  <c:v>38.087-38.094</c:v>
                </c:pt>
                <c:pt idx="5675">
                  <c:v>38.094-38.101</c:v>
                </c:pt>
                <c:pt idx="5676">
                  <c:v>38.101-38.107</c:v>
                </c:pt>
                <c:pt idx="5677">
                  <c:v>38.107-38.114</c:v>
                </c:pt>
                <c:pt idx="5678">
                  <c:v>38.114-38.121</c:v>
                </c:pt>
                <c:pt idx="5679">
                  <c:v>38.121-38.127</c:v>
                </c:pt>
                <c:pt idx="5680">
                  <c:v>38.127-38.134</c:v>
                </c:pt>
                <c:pt idx="5681">
                  <c:v>38.134-38.141</c:v>
                </c:pt>
                <c:pt idx="5682">
                  <c:v>38.141-38.147</c:v>
                </c:pt>
                <c:pt idx="5683">
                  <c:v>38.147-38.154</c:v>
                </c:pt>
                <c:pt idx="5684">
                  <c:v>38.154-38.161</c:v>
                </c:pt>
                <c:pt idx="5685">
                  <c:v>38.161-38.168</c:v>
                </c:pt>
                <c:pt idx="5686">
                  <c:v>38.168-38.174</c:v>
                </c:pt>
                <c:pt idx="5687">
                  <c:v>38.174-38.181</c:v>
                </c:pt>
                <c:pt idx="5688">
                  <c:v>38.181-38.188</c:v>
                </c:pt>
                <c:pt idx="5689">
                  <c:v>38.188-38.194</c:v>
                </c:pt>
                <c:pt idx="5690">
                  <c:v>38.194-38.201</c:v>
                </c:pt>
                <c:pt idx="5691">
                  <c:v>38.201-38.208</c:v>
                </c:pt>
                <c:pt idx="5692">
                  <c:v>38.208-38.215</c:v>
                </c:pt>
                <c:pt idx="5693">
                  <c:v>38.215-38.221</c:v>
                </c:pt>
                <c:pt idx="5694">
                  <c:v>38.221-38.228</c:v>
                </c:pt>
                <c:pt idx="5695">
                  <c:v>38.228-38.235</c:v>
                </c:pt>
                <c:pt idx="5696">
                  <c:v>38.235-38.241</c:v>
                </c:pt>
                <c:pt idx="5697">
                  <c:v>38.241-38.248</c:v>
                </c:pt>
                <c:pt idx="5698">
                  <c:v>38.248-38.255</c:v>
                </c:pt>
                <c:pt idx="5699">
                  <c:v>38.255-38.262</c:v>
                </c:pt>
                <c:pt idx="5700">
                  <c:v>38.262-38.268</c:v>
                </c:pt>
                <c:pt idx="5701">
                  <c:v>38.268-38.275</c:v>
                </c:pt>
                <c:pt idx="5702">
                  <c:v>38.275-38.282</c:v>
                </c:pt>
                <c:pt idx="5703">
                  <c:v>38.282-38.288</c:v>
                </c:pt>
                <c:pt idx="5704">
                  <c:v>38.288-38.295</c:v>
                </c:pt>
                <c:pt idx="5705">
                  <c:v>38.295-38.302</c:v>
                </c:pt>
                <c:pt idx="5706">
                  <c:v>38.302-38.309</c:v>
                </c:pt>
                <c:pt idx="5707">
                  <c:v>38.309-38.315</c:v>
                </c:pt>
                <c:pt idx="5708">
                  <c:v>38.315-38.322</c:v>
                </c:pt>
                <c:pt idx="5709">
                  <c:v>38.322-38.329</c:v>
                </c:pt>
                <c:pt idx="5710">
                  <c:v>38.329-38.335</c:v>
                </c:pt>
                <c:pt idx="5711">
                  <c:v>38.335-38.342</c:v>
                </c:pt>
                <c:pt idx="5712">
                  <c:v>38.342-38.349</c:v>
                </c:pt>
                <c:pt idx="5713">
                  <c:v>38.349-38.356</c:v>
                </c:pt>
                <c:pt idx="5714">
                  <c:v>38.356-38.362</c:v>
                </c:pt>
                <c:pt idx="5715">
                  <c:v>38.362-38.369</c:v>
                </c:pt>
                <c:pt idx="5716">
                  <c:v>38.369-38.376</c:v>
                </c:pt>
                <c:pt idx="5717">
                  <c:v>38.376-38.382</c:v>
                </c:pt>
                <c:pt idx="5718">
                  <c:v>38.382-38.389</c:v>
                </c:pt>
                <c:pt idx="5719">
                  <c:v>38.389-38.396</c:v>
                </c:pt>
                <c:pt idx="5720">
                  <c:v>38.396-38.402</c:v>
                </c:pt>
                <c:pt idx="5721">
                  <c:v>38.402-38.409</c:v>
                </c:pt>
                <c:pt idx="5722">
                  <c:v>38.409-38.416</c:v>
                </c:pt>
                <c:pt idx="5723">
                  <c:v>38.416-38.423</c:v>
                </c:pt>
                <c:pt idx="5724">
                  <c:v>38.423-38.429</c:v>
                </c:pt>
                <c:pt idx="5725">
                  <c:v>38.429-38.436</c:v>
                </c:pt>
                <c:pt idx="5726">
                  <c:v>38.436-38.443</c:v>
                </c:pt>
                <c:pt idx="5727">
                  <c:v>38.443-38.449</c:v>
                </c:pt>
                <c:pt idx="5728">
                  <c:v>38.449-38.456</c:v>
                </c:pt>
                <c:pt idx="5729">
                  <c:v>38.456-38.463</c:v>
                </c:pt>
                <c:pt idx="5730">
                  <c:v>38.463-38.470</c:v>
                </c:pt>
                <c:pt idx="5731">
                  <c:v>38.470-38.476</c:v>
                </c:pt>
                <c:pt idx="5732">
                  <c:v>38.476-38.483</c:v>
                </c:pt>
                <c:pt idx="5733">
                  <c:v>38.483-38.490</c:v>
                </c:pt>
                <c:pt idx="5734">
                  <c:v>38.490-38.496</c:v>
                </c:pt>
                <c:pt idx="5735">
                  <c:v>38.496-38.503</c:v>
                </c:pt>
                <c:pt idx="5736">
                  <c:v>38.503-38.510</c:v>
                </c:pt>
                <c:pt idx="5737">
                  <c:v>38.510-38.517</c:v>
                </c:pt>
                <c:pt idx="5738">
                  <c:v>38.517-38.523</c:v>
                </c:pt>
                <c:pt idx="5739">
                  <c:v>38.523-38.530</c:v>
                </c:pt>
                <c:pt idx="5740">
                  <c:v>38.530-38.537</c:v>
                </c:pt>
                <c:pt idx="5741">
                  <c:v>38.537-38.543</c:v>
                </c:pt>
                <c:pt idx="5742">
                  <c:v>38.543-38.550</c:v>
                </c:pt>
                <c:pt idx="5743">
                  <c:v>38.550-38.557</c:v>
                </c:pt>
                <c:pt idx="5744">
                  <c:v>38.557-38.564</c:v>
                </c:pt>
                <c:pt idx="5745">
                  <c:v>38.564-38.570</c:v>
                </c:pt>
                <c:pt idx="5746">
                  <c:v>38.570-38.577</c:v>
                </c:pt>
                <c:pt idx="5747">
                  <c:v>38.577-38.584</c:v>
                </c:pt>
                <c:pt idx="5748">
                  <c:v>38.584-38.590</c:v>
                </c:pt>
                <c:pt idx="5749">
                  <c:v>38.590-38.597</c:v>
                </c:pt>
                <c:pt idx="5750">
                  <c:v>38.597-38.604</c:v>
                </c:pt>
                <c:pt idx="5751">
                  <c:v>38.604-38.611</c:v>
                </c:pt>
                <c:pt idx="5752">
                  <c:v>38.611-38.617</c:v>
                </c:pt>
                <c:pt idx="5753">
                  <c:v>38.617-38.624</c:v>
                </c:pt>
                <c:pt idx="5754">
                  <c:v>38.624-38.631</c:v>
                </c:pt>
                <c:pt idx="5755">
                  <c:v>38.631-38.637</c:v>
                </c:pt>
                <c:pt idx="5756">
                  <c:v>38.637-38.644</c:v>
                </c:pt>
                <c:pt idx="5757">
                  <c:v>38.644-38.651</c:v>
                </c:pt>
                <c:pt idx="5758">
                  <c:v>38.651-38.657</c:v>
                </c:pt>
                <c:pt idx="5759">
                  <c:v>38.657-38.664</c:v>
                </c:pt>
                <c:pt idx="5760">
                  <c:v>38.664-38.671</c:v>
                </c:pt>
                <c:pt idx="5761">
                  <c:v>38.671-38.678</c:v>
                </c:pt>
                <c:pt idx="5762">
                  <c:v>38.678-38.684</c:v>
                </c:pt>
                <c:pt idx="5763">
                  <c:v>38.684-38.691</c:v>
                </c:pt>
                <c:pt idx="5764">
                  <c:v>38.691-38.698</c:v>
                </c:pt>
                <c:pt idx="5765">
                  <c:v>38.698-38.704</c:v>
                </c:pt>
                <c:pt idx="5766">
                  <c:v>38.704-38.711</c:v>
                </c:pt>
                <c:pt idx="5767">
                  <c:v>38.711-38.718</c:v>
                </c:pt>
                <c:pt idx="5768">
                  <c:v>38.718-38.725</c:v>
                </c:pt>
                <c:pt idx="5769">
                  <c:v>38.725-38.731</c:v>
                </c:pt>
                <c:pt idx="5770">
                  <c:v>38.731-38.738</c:v>
                </c:pt>
                <c:pt idx="5771">
                  <c:v>38.738-38.745</c:v>
                </c:pt>
                <c:pt idx="5772">
                  <c:v>38.745-38.751</c:v>
                </c:pt>
                <c:pt idx="5773">
                  <c:v>38.751-38.758</c:v>
                </c:pt>
                <c:pt idx="5774">
                  <c:v>38.758-38.765</c:v>
                </c:pt>
                <c:pt idx="5775">
                  <c:v>38.765-38.772</c:v>
                </c:pt>
                <c:pt idx="5776">
                  <c:v>38.772-38.778</c:v>
                </c:pt>
                <c:pt idx="5777">
                  <c:v>38.778-38.785</c:v>
                </c:pt>
                <c:pt idx="5778">
                  <c:v>38.785-38.792</c:v>
                </c:pt>
                <c:pt idx="5779">
                  <c:v>38.792-38.798</c:v>
                </c:pt>
                <c:pt idx="5780">
                  <c:v>38.798-38.805</c:v>
                </c:pt>
                <c:pt idx="5781">
                  <c:v>38.805-38.812</c:v>
                </c:pt>
                <c:pt idx="5782">
                  <c:v>38.812-38.819</c:v>
                </c:pt>
                <c:pt idx="5783">
                  <c:v>38.819-38.825</c:v>
                </c:pt>
                <c:pt idx="5784">
                  <c:v>38.825-38.832</c:v>
                </c:pt>
                <c:pt idx="5785">
                  <c:v>38.832-38.839</c:v>
                </c:pt>
                <c:pt idx="5786">
                  <c:v>38.839-38.845</c:v>
                </c:pt>
                <c:pt idx="5787">
                  <c:v>38.845-38.852</c:v>
                </c:pt>
                <c:pt idx="5788">
                  <c:v>38.852-38.859</c:v>
                </c:pt>
                <c:pt idx="5789">
                  <c:v>38.859-38.866</c:v>
                </c:pt>
                <c:pt idx="5790">
                  <c:v>38.866-38.872</c:v>
                </c:pt>
                <c:pt idx="5791">
                  <c:v>38.872-38.879</c:v>
                </c:pt>
                <c:pt idx="5792">
                  <c:v>38.879-38.886</c:v>
                </c:pt>
                <c:pt idx="5793">
                  <c:v>38.886-38.892</c:v>
                </c:pt>
                <c:pt idx="5794">
                  <c:v>38.892-38.899</c:v>
                </c:pt>
                <c:pt idx="5795">
                  <c:v>38.899-38.906</c:v>
                </c:pt>
                <c:pt idx="5796">
                  <c:v>38.906-38.913</c:v>
                </c:pt>
                <c:pt idx="5797">
                  <c:v>38.913-38.919</c:v>
                </c:pt>
                <c:pt idx="5798">
                  <c:v>38.919-38.926</c:v>
                </c:pt>
                <c:pt idx="5799">
                  <c:v>38.926-38.933</c:v>
                </c:pt>
                <c:pt idx="5800">
                  <c:v>38.933-38.939</c:v>
                </c:pt>
                <c:pt idx="5801">
                  <c:v>38.939-38.946</c:v>
                </c:pt>
                <c:pt idx="5802">
                  <c:v>38.946-38.953</c:v>
                </c:pt>
                <c:pt idx="5803">
                  <c:v>38.953-38.959</c:v>
                </c:pt>
                <c:pt idx="5804">
                  <c:v>38.959-38.966</c:v>
                </c:pt>
                <c:pt idx="5805">
                  <c:v>38.966-38.973</c:v>
                </c:pt>
                <c:pt idx="5806">
                  <c:v>38.973-38.980</c:v>
                </c:pt>
                <c:pt idx="5807">
                  <c:v>38.980-38.986</c:v>
                </c:pt>
                <c:pt idx="5808">
                  <c:v>38.986-38.993</c:v>
                </c:pt>
                <c:pt idx="5809">
                  <c:v>38.993-39.000</c:v>
                </c:pt>
                <c:pt idx="5810">
                  <c:v>39.000-39.006</c:v>
                </c:pt>
                <c:pt idx="5811">
                  <c:v>39.006-39.013</c:v>
                </c:pt>
                <c:pt idx="5812">
                  <c:v>39.013-39.020</c:v>
                </c:pt>
                <c:pt idx="5813">
                  <c:v>39.020-39.027</c:v>
                </c:pt>
                <c:pt idx="5814">
                  <c:v>39.027-39.033</c:v>
                </c:pt>
                <c:pt idx="5815">
                  <c:v>39.033-39.040</c:v>
                </c:pt>
                <c:pt idx="5816">
                  <c:v>39.040-39.047</c:v>
                </c:pt>
                <c:pt idx="5817">
                  <c:v>39.047-39.053</c:v>
                </c:pt>
                <c:pt idx="5818">
                  <c:v>39.053-39.060</c:v>
                </c:pt>
                <c:pt idx="5819">
                  <c:v>39.060-39.067</c:v>
                </c:pt>
                <c:pt idx="5820">
                  <c:v>39.067-39.074</c:v>
                </c:pt>
                <c:pt idx="5821">
                  <c:v>39.074-39.080</c:v>
                </c:pt>
                <c:pt idx="5822">
                  <c:v>39.080-39.087</c:v>
                </c:pt>
                <c:pt idx="5823">
                  <c:v>39.087-39.094</c:v>
                </c:pt>
                <c:pt idx="5824">
                  <c:v>39.094-39.100</c:v>
                </c:pt>
                <c:pt idx="5825">
                  <c:v>39.100-39.107</c:v>
                </c:pt>
                <c:pt idx="5826">
                  <c:v>39.107-39.114</c:v>
                </c:pt>
                <c:pt idx="5827">
                  <c:v>39.114-39.121</c:v>
                </c:pt>
                <c:pt idx="5828">
                  <c:v>39.121-39.127</c:v>
                </c:pt>
                <c:pt idx="5829">
                  <c:v>39.127-39.134</c:v>
                </c:pt>
                <c:pt idx="5830">
                  <c:v>39.134-39.141</c:v>
                </c:pt>
                <c:pt idx="5831">
                  <c:v>39.141-39.147</c:v>
                </c:pt>
                <c:pt idx="5832">
                  <c:v>39.147-39.154</c:v>
                </c:pt>
                <c:pt idx="5833">
                  <c:v>39.154-39.161</c:v>
                </c:pt>
                <c:pt idx="5834">
                  <c:v>39.161-39.168</c:v>
                </c:pt>
                <c:pt idx="5835">
                  <c:v>39.168-39.174</c:v>
                </c:pt>
                <c:pt idx="5836">
                  <c:v>39.174-39.181</c:v>
                </c:pt>
                <c:pt idx="5837">
                  <c:v>39.181-39.188</c:v>
                </c:pt>
                <c:pt idx="5838">
                  <c:v>39.188-39.194</c:v>
                </c:pt>
                <c:pt idx="5839">
                  <c:v>39.194-39.201</c:v>
                </c:pt>
                <c:pt idx="5840">
                  <c:v>39.201-39.208</c:v>
                </c:pt>
                <c:pt idx="5841">
                  <c:v>39.208-39.214</c:v>
                </c:pt>
                <c:pt idx="5842">
                  <c:v>39.214-39.221</c:v>
                </c:pt>
                <c:pt idx="5843">
                  <c:v>39.221-39.228</c:v>
                </c:pt>
                <c:pt idx="5844">
                  <c:v>39.228-39.235</c:v>
                </c:pt>
                <c:pt idx="5845">
                  <c:v>39.235-39.241</c:v>
                </c:pt>
                <c:pt idx="5846">
                  <c:v>39.241-39.248</c:v>
                </c:pt>
                <c:pt idx="5847">
                  <c:v>39.248-39.255</c:v>
                </c:pt>
                <c:pt idx="5848">
                  <c:v>39.255-39.261</c:v>
                </c:pt>
                <c:pt idx="5849">
                  <c:v>39.261-39.268</c:v>
                </c:pt>
                <c:pt idx="5850">
                  <c:v>39.268-39.275</c:v>
                </c:pt>
                <c:pt idx="5851">
                  <c:v>39.275-39.282</c:v>
                </c:pt>
                <c:pt idx="5852">
                  <c:v>39.282-39.288</c:v>
                </c:pt>
                <c:pt idx="5853">
                  <c:v>39.288-39.295</c:v>
                </c:pt>
                <c:pt idx="5854">
                  <c:v>39.295-39.302</c:v>
                </c:pt>
                <c:pt idx="5855">
                  <c:v>39.302-39.308</c:v>
                </c:pt>
                <c:pt idx="5856">
                  <c:v>39.308-39.315</c:v>
                </c:pt>
                <c:pt idx="5857">
                  <c:v>39.315-39.322</c:v>
                </c:pt>
                <c:pt idx="5858">
                  <c:v>39.322-39.329</c:v>
                </c:pt>
                <c:pt idx="5859">
                  <c:v>39.329-39.335</c:v>
                </c:pt>
                <c:pt idx="5860">
                  <c:v>39.335-39.342</c:v>
                </c:pt>
                <c:pt idx="5861">
                  <c:v>39.342-39.349</c:v>
                </c:pt>
                <c:pt idx="5862">
                  <c:v>39.349-39.355</c:v>
                </c:pt>
                <c:pt idx="5863">
                  <c:v>39.355-39.362</c:v>
                </c:pt>
                <c:pt idx="5864">
                  <c:v>39.362-39.369</c:v>
                </c:pt>
                <c:pt idx="5865">
                  <c:v>39.369-39.376</c:v>
                </c:pt>
                <c:pt idx="5866">
                  <c:v>39.376-39.382</c:v>
                </c:pt>
                <c:pt idx="5867">
                  <c:v>39.382-39.389</c:v>
                </c:pt>
                <c:pt idx="5868">
                  <c:v>39.389-39.396</c:v>
                </c:pt>
                <c:pt idx="5869">
                  <c:v>39.396-39.402</c:v>
                </c:pt>
                <c:pt idx="5870">
                  <c:v>39.402-39.409</c:v>
                </c:pt>
                <c:pt idx="5871">
                  <c:v>39.409-39.416</c:v>
                </c:pt>
                <c:pt idx="5872">
                  <c:v>39.416-39.423</c:v>
                </c:pt>
                <c:pt idx="5873">
                  <c:v>39.423-39.429</c:v>
                </c:pt>
                <c:pt idx="5874">
                  <c:v>39.429-39.436</c:v>
                </c:pt>
                <c:pt idx="5875">
                  <c:v>39.436-39.443</c:v>
                </c:pt>
                <c:pt idx="5876">
                  <c:v>39.443-39.449</c:v>
                </c:pt>
                <c:pt idx="5877">
                  <c:v>39.449-39.456</c:v>
                </c:pt>
                <c:pt idx="5878">
                  <c:v>39.456-39.463</c:v>
                </c:pt>
                <c:pt idx="5879">
                  <c:v>39.463-39.470</c:v>
                </c:pt>
                <c:pt idx="5880">
                  <c:v>39.470-39.476</c:v>
                </c:pt>
                <c:pt idx="5881">
                  <c:v>39.476-39.483</c:v>
                </c:pt>
                <c:pt idx="5882">
                  <c:v>39.483-39.490</c:v>
                </c:pt>
                <c:pt idx="5883">
                  <c:v>39.490-39.496</c:v>
                </c:pt>
                <c:pt idx="5884">
                  <c:v>39.496-39.503</c:v>
                </c:pt>
                <c:pt idx="5885">
                  <c:v>39.503-39.510</c:v>
                </c:pt>
                <c:pt idx="5886">
                  <c:v>39.510-39.516</c:v>
                </c:pt>
                <c:pt idx="5887">
                  <c:v>39.516-39.523</c:v>
                </c:pt>
                <c:pt idx="5888">
                  <c:v>39.523-39.530</c:v>
                </c:pt>
                <c:pt idx="5889">
                  <c:v>39.530-39.537</c:v>
                </c:pt>
                <c:pt idx="5890">
                  <c:v>39.537-39.543</c:v>
                </c:pt>
                <c:pt idx="5891">
                  <c:v>39.543-39.550</c:v>
                </c:pt>
                <c:pt idx="5892">
                  <c:v>39.550-39.557</c:v>
                </c:pt>
                <c:pt idx="5893">
                  <c:v>39.557-39.563</c:v>
                </c:pt>
                <c:pt idx="5894">
                  <c:v>39.563-39.570</c:v>
                </c:pt>
                <c:pt idx="5895">
                  <c:v>39.570-39.577</c:v>
                </c:pt>
                <c:pt idx="5896">
                  <c:v>39.577-39.584</c:v>
                </c:pt>
                <c:pt idx="5897">
                  <c:v>39.584-39.590</c:v>
                </c:pt>
                <c:pt idx="5898">
                  <c:v>39.590-39.597</c:v>
                </c:pt>
                <c:pt idx="5899">
                  <c:v>39.597-39.604</c:v>
                </c:pt>
                <c:pt idx="5900">
                  <c:v>39.604-39.610</c:v>
                </c:pt>
                <c:pt idx="5901">
                  <c:v>39.610-39.617</c:v>
                </c:pt>
                <c:pt idx="5902">
                  <c:v>39.617-39.624</c:v>
                </c:pt>
                <c:pt idx="5903">
                  <c:v>39.624-39.631</c:v>
                </c:pt>
                <c:pt idx="5904">
                  <c:v>39.631-39.637</c:v>
                </c:pt>
                <c:pt idx="5905">
                  <c:v>39.637-39.644</c:v>
                </c:pt>
                <c:pt idx="5906">
                  <c:v>39.644-39.651</c:v>
                </c:pt>
                <c:pt idx="5907">
                  <c:v>39.651-39.657</c:v>
                </c:pt>
                <c:pt idx="5908">
                  <c:v>39.657-39.664</c:v>
                </c:pt>
                <c:pt idx="5909">
                  <c:v>39.664-39.671</c:v>
                </c:pt>
                <c:pt idx="5910">
                  <c:v>39.671-39.678</c:v>
                </c:pt>
                <c:pt idx="5911">
                  <c:v>39.678-39.684</c:v>
                </c:pt>
                <c:pt idx="5912">
                  <c:v>39.684-39.691</c:v>
                </c:pt>
                <c:pt idx="5913">
                  <c:v>39.691-39.698</c:v>
                </c:pt>
                <c:pt idx="5914">
                  <c:v>39.698-39.704</c:v>
                </c:pt>
                <c:pt idx="5915">
                  <c:v>39.704-39.711</c:v>
                </c:pt>
                <c:pt idx="5916">
                  <c:v>39.711-39.718</c:v>
                </c:pt>
                <c:pt idx="5917">
                  <c:v>39.718-39.725</c:v>
                </c:pt>
                <c:pt idx="5918">
                  <c:v>39.725-39.731</c:v>
                </c:pt>
                <c:pt idx="5919">
                  <c:v>39.731-39.738</c:v>
                </c:pt>
                <c:pt idx="5920">
                  <c:v>39.738-39.745</c:v>
                </c:pt>
                <c:pt idx="5921">
                  <c:v>39.745-39.751</c:v>
                </c:pt>
                <c:pt idx="5922">
                  <c:v>39.751-39.758</c:v>
                </c:pt>
                <c:pt idx="5923">
                  <c:v>39.758-39.765</c:v>
                </c:pt>
                <c:pt idx="5924">
                  <c:v>39.765-39.771</c:v>
                </c:pt>
                <c:pt idx="5925">
                  <c:v>39.771-39.778</c:v>
                </c:pt>
                <c:pt idx="5926">
                  <c:v>39.778-39.785</c:v>
                </c:pt>
                <c:pt idx="5927">
                  <c:v>39.785-39.792</c:v>
                </c:pt>
                <c:pt idx="5928">
                  <c:v>39.792-39.798</c:v>
                </c:pt>
                <c:pt idx="5929">
                  <c:v>39.798-39.805</c:v>
                </c:pt>
                <c:pt idx="5930">
                  <c:v>39.805-39.812</c:v>
                </c:pt>
                <c:pt idx="5931">
                  <c:v>39.812-39.818</c:v>
                </c:pt>
                <c:pt idx="5932">
                  <c:v>39.818-39.825</c:v>
                </c:pt>
                <c:pt idx="5933">
                  <c:v>39.825-39.832</c:v>
                </c:pt>
                <c:pt idx="5934">
                  <c:v>39.832-39.839</c:v>
                </c:pt>
                <c:pt idx="5935">
                  <c:v>39.839-39.845</c:v>
                </c:pt>
                <c:pt idx="5936">
                  <c:v>39.845-39.852</c:v>
                </c:pt>
                <c:pt idx="5937">
                  <c:v>39.852-39.859</c:v>
                </c:pt>
                <c:pt idx="5938">
                  <c:v>39.859-39.865</c:v>
                </c:pt>
                <c:pt idx="5939">
                  <c:v>39.865-39.872</c:v>
                </c:pt>
                <c:pt idx="5940">
                  <c:v>39.872-39.879</c:v>
                </c:pt>
                <c:pt idx="5941">
                  <c:v>39.879-39.886</c:v>
                </c:pt>
                <c:pt idx="5942">
                  <c:v>39.886-39.892</c:v>
                </c:pt>
                <c:pt idx="5943">
                  <c:v>39.892-39.899</c:v>
                </c:pt>
                <c:pt idx="5944">
                  <c:v>39.899-39.906</c:v>
                </c:pt>
                <c:pt idx="5945">
                  <c:v>39.906-39.912</c:v>
                </c:pt>
                <c:pt idx="5946">
                  <c:v>39.912-39.919</c:v>
                </c:pt>
                <c:pt idx="5947">
                  <c:v>39.919-39.926</c:v>
                </c:pt>
                <c:pt idx="5948">
                  <c:v>39.926-39.933</c:v>
                </c:pt>
                <c:pt idx="5949">
                  <c:v>39.933-39.939</c:v>
                </c:pt>
                <c:pt idx="5950">
                  <c:v>39.939-39.946</c:v>
                </c:pt>
                <c:pt idx="5951">
                  <c:v>39.946-39.953</c:v>
                </c:pt>
                <c:pt idx="5952">
                  <c:v>39.953-39.959</c:v>
                </c:pt>
                <c:pt idx="5953">
                  <c:v>39.959-39.966</c:v>
                </c:pt>
                <c:pt idx="5954">
                  <c:v>39.966-39.973</c:v>
                </c:pt>
                <c:pt idx="5955">
                  <c:v>39.973-39.980</c:v>
                </c:pt>
                <c:pt idx="5956">
                  <c:v>39.980-39.986</c:v>
                </c:pt>
                <c:pt idx="5957">
                  <c:v>39.986-39.993</c:v>
                </c:pt>
                <c:pt idx="5958">
                  <c:v>39.993-40.000</c:v>
                </c:pt>
                <c:pt idx="5959">
                  <c:v>40.000-40.006</c:v>
                </c:pt>
                <c:pt idx="5960">
                  <c:v>40.006-40.013</c:v>
                </c:pt>
                <c:pt idx="5961">
                  <c:v>40.013-40.020</c:v>
                </c:pt>
                <c:pt idx="5962">
                  <c:v>40.020-40.027</c:v>
                </c:pt>
                <c:pt idx="5963">
                  <c:v>40.027-40.033</c:v>
                </c:pt>
                <c:pt idx="5964">
                  <c:v>40.033-40.040</c:v>
                </c:pt>
                <c:pt idx="5965">
                  <c:v>40.040-40.047</c:v>
                </c:pt>
                <c:pt idx="5966">
                  <c:v>40.047-40.053</c:v>
                </c:pt>
                <c:pt idx="5967">
                  <c:v>40.053-40.060</c:v>
                </c:pt>
                <c:pt idx="5968">
                  <c:v>40.060-40.067</c:v>
                </c:pt>
                <c:pt idx="5969">
                  <c:v>40.067-40.073</c:v>
                </c:pt>
                <c:pt idx="5970">
                  <c:v>40.073-40.080</c:v>
                </c:pt>
                <c:pt idx="5971">
                  <c:v>40.080-40.087</c:v>
                </c:pt>
                <c:pt idx="5972">
                  <c:v>40.087-40.094</c:v>
                </c:pt>
                <c:pt idx="5973">
                  <c:v>40.094-40.100</c:v>
                </c:pt>
                <c:pt idx="5974">
                  <c:v>40.100-40.107</c:v>
                </c:pt>
                <c:pt idx="5975">
                  <c:v>40.107-40.114</c:v>
                </c:pt>
                <c:pt idx="5976">
                  <c:v>40.114-40.120</c:v>
                </c:pt>
                <c:pt idx="5977">
                  <c:v>40.120-40.127</c:v>
                </c:pt>
                <c:pt idx="5978">
                  <c:v>40.127-40.134</c:v>
                </c:pt>
                <c:pt idx="5979">
                  <c:v>40.134-40.141</c:v>
                </c:pt>
                <c:pt idx="5980">
                  <c:v>40.141-40.147</c:v>
                </c:pt>
                <c:pt idx="5981">
                  <c:v>40.147-40.154</c:v>
                </c:pt>
                <c:pt idx="5982">
                  <c:v>40.154-40.161</c:v>
                </c:pt>
                <c:pt idx="5983">
                  <c:v>40.161-40.167</c:v>
                </c:pt>
                <c:pt idx="5984">
                  <c:v>40.167-40.174</c:v>
                </c:pt>
                <c:pt idx="5985">
                  <c:v>40.174-40.181</c:v>
                </c:pt>
                <c:pt idx="5986">
                  <c:v>40.181-40.188</c:v>
                </c:pt>
                <c:pt idx="5987">
                  <c:v>40.188-40.194</c:v>
                </c:pt>
                <c:pt idx="5988">
                  <c:v>40.194-40.201</c:v>
                </c:pt>
                <c:pt idx="5989">
                  <c:v>40.201-40.208</c:v>
                </c:pt>
                <c:pt idx="5990">
                  <c:v>40.208-40.214</c:v>
                </c:pt>
                <c:pt idx="5991">
                  <c:v>40.214-40.221</c:v>
                </c:pt>
                <c:pt idx="5992">
                  <c:v>40.221-40.228</c:v>
                </c:pt>
                <c:pt idx="5993">
                  <c:v>40.228-40.235</c:v>
                </c:pt>
                <c:pt idx="5994">
                  <c:v>40.235-40.241</c:v>
                </c:pt>
                <c:pt idx="5995">
                  <c:v>40.241-40.248</c:v>
                </c:pt>
                <c:pt idx="5996">
                  <c:v>40.248-40.255</c:v>
                </c:pt>
                <c:pt idx="5997">
                  <c:v>40.255-40.261</c:v>
                </c:pt>
                <c:pt idx="5998">
                  <c:v>40.261-40.268</c:v>
                </c:pt>
                <c:pt idx="5999">
                  <c:v>40.268-40.275</c:v>
                </c:pt>
                <c:pt idx="6000">
                  <c:v>40.275-40.282</c:v>
                </c:pt>
                <c:pt idx="6001">
                  <c:v>40.282-40.288</c:v>
                </c:pt>
                <c:pt idx="6002">
                  <c:v>40.288-40.295</c:v>
                </c:pt>
                <c:pt idx="6003">
                  <c:v>40.295-40.302</c:v>
                </c:pt>
                <c:pt idx="6004">
                  <c:v>40.302-40.308</c:v>
                </c:pt>
                <c:pt idx="6005">
                  <c:v>40.308-40.315</c:v>
                </c:pt>
                <c:pt idx="6006">
                  <c:v>40.315-40.322</c:v>
                </c:pt>
                <c:pt idx="6007">
                  <c:v>40.322-40.328</c:v>
                </c:pt>
                <c:pt idx="6008">
                  <c:v>40.328-40.335</c:v>
                </c:pt>
                <c:pt idx="6009">
                  <c:v>40.335-40.342</c:v>
                </c:pt>
                <c:pt idx="6010">
                  <c:v>40.342-40.349</c:v>
                </c:pt>
                <c:pt idx="6011">
                  <c:v>40.349-40.355</c:v>
                </c:pt>
                <c:pt idx="6012">
                  <c:v>40.355-40.362</c:v>
                </c:pt>
                <c:pt idx="6013">
                  <c:v>40.362-40.369</c:v>
                </c:pt>
                <c:pt idx="6014">
                  <c:v>40.369-40.375</c:v>
                </c:pt>
                <c:pt idx="6015">
                  <c:v>40.375-40.382</c:v>
                </c:pt>
                <c:pt idx="6016">
                  <c:v>40.382-40.389</c:v>
                </c:pt>
                <c:pt idx="6017">
                  <c:v>40.389-40.396</c:v>
                </c:pt>
                <c:pt idx="6018">
                  <c:v>40.396-40.402</c:v>
                </c:pt>
                <c:pt idx="6019">
                  <c:v>40.402-40.409</c:v>
                </c:pt>
                <c:pt idx="6020">
                  <c:v>40.409-40.416</c:v>
                </c:pt>
                <c:pt idx="6021">
                  <c:v>40.416-40.422</c:v>
                </c:pt>
                <c:pt idx="6022">
                  <c:v>40.422-40.429</c:v>
                </c:pt>
                <c:pt idx="6023">
                  <c:v>40.429-40.436</c:v>
                </c:pt>
                <c:pt idx="6024">
                  <c:v>40.436-40.443</c:v>
                </c:pt>
                <c:pt idx="6025">
                  <c:v>40.443-40.449</c:v>
                </c:pt>
                <c:pt idx="6026">
                  <c:v>40.449-40.456</c:v>
                </c:pt>
                <c:pt idx="6027">
                  <c:v>40.456-40.463</c:v>
                </c:pt>
                <c:pt idx="6028">
                  <c:v>40.463-40.469</c:v>
                </c:pt>
                <c:pt idx="6029">
                  <c:v>40.469-40.476</c:v>
                </c:pt>
                <c:pt idx="6030">
                  <c:v>40.476-40.483</c:v>
                </c:pt>
                <c:pt idx="6031">
                  <c:v>40.483-40.490</c:v>
                </c:pt>
                <c:pt idx="6032">
                  <c:v>40.490-40.496</c:v>
                </c:pt>
                <c:pt idx="6033">
                  <c:v>40.496-40.503</c:v>
                </c:pt>
                <c:pt idx="6034">
                  <c:v>40.503-40.510</c:v>
                </c:pt>
                <c:pt idx="6035">
                  <c:v>40.510-40.516</c:v>
                </c:pt>
                <c:pt idx="6036">
                  <c:v>40.516-40.523</c:v>
                </c:pt>
                <c:pt idx="6037">
                  <c:v>40.523-40.530</c:v>
                </c:pt>
                <c:pt idx="6038">
                  <c:v>40.530-40.537</c:v>
                </c:pt>
                <c:pt idx="6039">
                  <c:v>40.537-40.543</c:v>
                </c:pt>
                <c:pt idx="6040">
                  <c:v>40.543-40.550</c:v>
                </c:pt>
                <c:pt idx="6041">
                  <c:v>40.550-40.557</c:v>
                </c:pt>
                <c:pt idx="6042">
                  <c:v>40.557-40.563</c:v>
                </c:pt>
                <c:pt idx="6043">
                  <c:v>40.563-40.570</c:v>
                </c:pt>
                <c:pt idx="6044">
                  <c:v>40.570-40.577</c:v>
                </c:pt>
                <c:pt idx="6045">
                  <c:v>40.577-40.583</c:v>
                </c:pt>
                <c:pt idx="6046">
                  <c:v>40.583-40.590</c:v>
                </c:pt>
                <c:pt idx="6047">
                  <c:v>40.590-40.597</c:v>
                </c:pt>
                <c:pt idx="6048">
                  <c:v>40.597-40.604</c:v>
                </c:pt>
                <c:pt idx="6049">
                  <c:v>40.604-40.610</c:v>
                </c:pt>
                <c:pt idx="6050">
                  <c:v>40.610-40.617</c:v>
                </c:pt>
                <c:pt idx="6051">
                  <c:v>40.617-40.624</c:v>
                </c:pt>
                <c:pt idx="6052">
                  <c:v>40.624-40.630</c:v>
                </c:pt>
                <c:pt idx="6053">
                  <c:v>40.630-40.637</c:v>
                </c:pt>
                <c:pt idx="6054">
                  <c:v>40.637-40.644</c:v>
                </c:pt>
                <c:pt idx="6055">
                  <c:v>40.644-40.651</c:v>
                </c:pt>
                <c:pt idx="6056">
                  <c:v>40.651-40.657</c:v>
                </c:pt>
                <c:pt idx="6057">
                  <c:v>40.657-40.664</c:v>
                </c:pt>
                <c:pt idx="6058">
                  <c:v>40.664-40.671</c:v>
                </c:pt>
                <c:pt idx="6059">
                  <c:v>40.671-40.677</c:v>
                </c:pt>
                <c:pt idx="6060">
                  <c:v>40.677-40.684</c:v>
                </c:pt>
                <c:pt idx="6061">
                  <c:v>40.684-40.691</c:v>
                </c:pt>
                <c:pt idx="6062">
                  <c:v>40.691-40.698</c:v>
                </c:pt>
                <c:pt idx="6063">
                  <c:v>40.698-40.704</c:v>
                </c:pt>
                <c:pt idx="6064">
                  <c:v>40.704-40.711</c:v>
                </c:pt>
                <c:pt idx="6065">
                  <c:v>40.711-40.718</c:v>
                </c:pt>
                <c:pt idx="6066">
                  <c:v>40.718-40.724</c:v>
                </c:pt>
                <c:pt idx="6067">
                  <c:v>40.724-40.731</c:v>
                </c:pt>
                <c:pt idx="6068">
                  <c:v>40.731-40.738</c:v>
                </c:pt>
                <c:pt idx="6069">
                  <c:v>40.738-40.745</c:v>
                </c:pt>
                <c:pt idx="6070">
                  <c:v>40.745-40.751</c:v>
                </c:pt>
                <c:pt idx="6071">
                  <c:v>40.751-40.758</c:v>
                </c:pt>
                <c:pt idx="6072">
                  <c:v>40.758-40.765</c:v>
                </c:pt>
                <c:pt idx="6073">
                  <c:v>40.765-40.771</c:v>
                </c:pt>
                <c:pt idx="6074">
                  <c:v>40.771-40.778</c:v>
                </c:pt>
                <c:pt idx="6075">
                  <c:v>40.778-40.785</c:v>
                </c:pt>
                <c:pt idx="6076">
                  <c:v>40.785-40.792</c:v>
                </c:pt>
                <c:pt idx="6077">
                  <c:v>40.792-40.798</c:v>
                </c:pt>
                <c:pt idx="6078">
                  <c:v>40.798-40.805</c:v>
                </c:pt>
                <c:pt idx="6079">
                  <c:v>40.805-40.812</c:v>
                </c:pt>
                <c:pt idx="6080">
                  <c:v>40.812-40.818</c:v>
                </c:pt>
                <c:pt idx="6081">
                  <c:v>40.818-40.825</c:v>
                </c:pt>
                <c:pt idx="6082">
                  <c:v>40.825-40.832</c:v>
                </c:pt>
                <c:pt idx="6083">
                  <c:v>40.832-40.839</c:v>
                </c:pt>
                <c:pt idx="6084">
                  <c:v>40.839-40.845</c:v>
                </c:pt>
                <c:pt idx="6085">
                  <c:v>40.845-40.852</c:v>
                </c:pt>
                <c:pt idx="6086">
                  <c:v>40.852-40.859</c:v>
                </c:pt>
                <c:pt idx="6087">
                  <c:v>40.859-40.865</c:v>
                </c:pt>
                <c:pt idx="6088">
                  <c:v>40.865-40.872</c:v>
                </c:pt>
                <c:pt idx="6089">
                  <c:v>40.872-40.879</c:v>
                </c:pt>
                <c:pt idx="6090">
                  <c:v>40.879-40.885</c:v>
                </c:pt>
                <c:pt idx="6091">
                  <c:v>40.885-40.892</c:v>
                </c:pt>
                <c:pt idx="6092">
                  <c:v>40.892-40.899</c:v>
                </c:pt>
                <c:pt idx="6093">
                  <c:v>40.899-40.906</c:v>
                </c:pt>
                <c:pt idx="6094">
                  <c:v>40.906-40.912</c:v>
                </c:pt>
                <c:pt idx="6095">
                  <c:v>40.912-40.919</c:v>
                </c:pt>
                <c:pt idx="6096">
                  <c:v>40.919-40.926</c:v>
                </c:pt>
                <c:pt idx="6097">
                  <c:v>40.926-40.932</c:v>
                </c:pt>
                <c:pt idx="6098">
                  <c:v>40.932-40.939</c:v>
                </c:pt>
                <c:pt idx="6099">
                  <c:v>40.939-40.946</c:v>
                </c:pt>
                <c:pt idx="6100">
                  <c:v>40.946-40.953</c:v>
                </c:pt>
                <c:pt idx="6101">
                  <c:v>40.953-40.959</c:v>
                </c:pt>
                <c:pt idx="6102">
                  <c:v>40.959-40.966</c:v>
                </c:pt>
                <c:pt idx="6103">
                  <c:v>40.966-40.973</c:v>
                </c:pt>
                <c:pt idx="6104">
                  <c:v>40.973-40.979</c:v>
                </c:pt>
                <c:pt idx="6105">
                  <c:v>40.979-40.986</c:v>
                </c:pt>
                <c:pt idx="6106">
                  <c:v>40.986-40.993</c:v>
                </c:pt>
                <c:pt idx="6107">
                  <c:v>40.993-41.000</c:v>
                </c:pt>
                <c:pt idx="6108">
                  <c:v>41.000-41.006</c:v>
                </c:pt>
                <c:pt idx="6109">
                  <c:v>41.006-41.013</c:v>
                </c:pt>
                <c:pt idx="6110">
                  <c:v>41.013-41.020</c:v>
                </c:pt>
                <c:pt idx="6111">
                  <c:v>41.020-41.026</c:v>
                </c:pt>
                <c:pt idx="6112">
                  <c:v>41.026-41.033</c:v>
                </c:pt>
                <c:pt idx="6113">
                  <c:v>41.033-41.040</c:v>
                </c:pt>
                <c:pt idx="6114">
                  <c:v>41.040-41.047</c:v>
                </c:pt>
                <c:pt idx="6115">
                  <c:v>41.047-41.053</c:v>
                </c:pt>
                <c:pt idx="6116">
                  <c:v>41.053-41.060</c:v>
                </c:pt>
                <c:pt idx="6117">
                  <c:v>41.060-41.067</c:v>
                </c:pt>
                <c:pt idx="6118">
                  <c:v>41.067-41.073</c:v>
                </c:pt>
                <c:pt idx="6119">
                  <c:v>41.073-41.080</c:v>
                </c:pt>
                <c:pt idx="6120">
                  <c:v>41.080-41.087</c:v>
                </c:pt>
                <c:pt idx="6121">
                  <c:v>41.087-41.094</c:v>
                </c:pt>
                <c:pt idx="6122">
                  <c:v>41.094-41.100</c:v>
                </c:pt>
                <c:pt idx="6123">
                  <c:v>41.100-41.107</c:v>
                </c:pt>
                <c:pt idx="6124">
                  <c:v>41.107-41.114</c:v>
                </c:pt>
                <c:pt idx="6125">
                  <c:v>41.114-41.120</c:v>
                </c:pt>
                <c:pt idx="6126">
                  <c:v>41.120-41.127</c:v>
                </c:pt>
                <c:pt idx="6127">
                  <c:v>41.127-41.134</c:v>
                </c:pt>
                <c:pt idx="6128">
                  <c:v>41.134-41.140</c:v>
                </c:pt>
                <c:pt idx="6129">
                  <c:v>41.140-41.147</c:v>
                </c:pt>
                <c:pt idx="6130">
                  <c:v>41.147-41.154</c:v>
                </c:pt>
                <c:pt idx="6131">
                  <c:v>41.154-41.161</c:v>
                </c:pt>
                <c:pt idx="6132">
                  <c:v>41.161-41.167</c:v>
                </c:pt>
                <c:pt idx="6133">
                  <c:v>41.167-41.174</c:v>
                </c:pt>
                <c:pt idx="6134">
                  <c:v>41.174-41.181</c:v>
                </c:pt>
                <c:pt idx="6135">
                  <c:v>41.181-41.187</c:v>
                </c:pt>
                <c:pt idx="6136">
                  <c:v>41.187-41.194</c:v>
                </c:pt>
                <c:pt idx="6137">
                  <c:v>41.194-41.201</c:v>
                </c:pt>
                <c:pt idx="6138">
                  <c:v>41.201-41.208</c:v>
                </c:pt>
                <c:pt idx="6139">
                  <c:v>41.208-41.214</c:v>
                </c:pt>
                <c:pt idx="6140">
                  <c:v>41.214-41.221</c:v>
                </c:pt>
                <c:pt idx="6141">
                  <c:v>41.221-41.228</c:v>
                </c:pt>
                <c:pt idx="6142">
                  <c:v>41.228-41.234</c:v>
                </c:pt>
                <c:pt idx="6143">
                  <c:v>41.234-41.241</c:v>
                </c:pt>
                <c:pt idx="6144">
                  <c:v>41.241-41.248</c:v>
                </c:pt>
                <c:pt idx="6145">
                  <c:v>41.248-41.255</c:v>
                </c:pt>
                <c:pt idx="6146">
                  <c:v>41.255-41.261</c:v>
                </c:pt>
                <c:pt idx="6147">
                  <c:v>41.261-41.268</c:v>
                </c:pt>
                <c:pt idx="6148">
                  <c:v>41.268-41.275</c:v>
                </c:pt>
                <c:pt idx="6149">
                  <c:v>41.275-41.281</c:v>
                </c:pt>
                <c:pt idx="6150">
                  <c:v>41.281-41.288</c:v>
                </c:pt>
                <c:pt idx="6151">
                  <c:v>41.288-41.295</c:v>
                </c:pt>
                <c:pt idx="6152">
                  <c:v>41.295-41.302</c:v>
                </c:pt>
                <c:pt idx="6153">
                  <c:v>41.302-41.308</c:v>
                </c:pt>
                <c:pt idx="6154">
                  <c:v>41.308-41.315</c:v>
                </c:pt>
                <c:pt idx="6155">
                  <c:v>41.315-41.322</c:v>
                </c:pt>
                <c:pt idx="6156">
                  <c:v>41.322-41.328</c:v>
                </c:pt>
                <c:pt idx="6157">
                  <c:v>41.328-41.335</c:v>
                </c:pt>
                <c:pt idx="6158">
                  <c:v>41.335-41.342</c:v>
                </c:pt>
                <c:pt idx="6159">
                  <c:v>41.342-41.349</c:v>
                </c:pt>
                <c:pt idx="6160">
                  <c:v>41.349-41.355</c:v>
                </c:pt>
                <c:pt idx="6161">
                  <c:v>41.355-41.362</c:v>
                </c:pt>
                <c:pt idx="6162">
                  <c:v>41.362-41.369</c:v>
                </c:pt>
                <c:pt idx="6163">
                  <c:v>41.369-41.375</c:v>
                </c:pt>
                <c:pt idx="6164">
                  <c:v>41.375-41.382</c:v>
                </c:pt>
                <c:pt idx="6165">
                  <c:v>41.382-41.389</c:v>
                </c:pt>
                <c:pt idx="6166">
                  <c:v>41.389-41.396</c:v>
                </c:pt>
                <c:pt idx="6167">
                  <c:v>41.396-41.402</c:v>
                </c:pt>
                <c:pt idx="6168">
                  <c:v>41.402-41.409</c:v>
                </c:pt>
                <c:pt idx="6169">
                  <c:v>41.409-41.416</c:v>
                </c:pt>
                <c:pt idx="6170">
                  <c:v>41.416-41.422</c:v>
                </c:pt>
                <c:pt idx="6171">
                  <c:v>41.422-41.429</c:v>
                </c:pt>
                <c:pt idx="6172">
                  <c:v>41.429-41.436</c:v>
                </c:pt>
                <c:pt idx="6173">
                  <c:v>41.436-41.442</c:v>
                </c:pt>
                <c:pt idx="6174">
                  <c:v>41.442-41.449</c:v>
                </c:pt>
                <c:pt idx="6175">
                  <c:v>41.449-41.456</c:v>
                </c:pt>
                <c:pt idx="6176">
                  <c:v>41.456-41.463</c:v>
                </c:pt>
                <c:pt idx="6177">
                  <c:v>41.463-41.469</c:v>
                </c:pt>
                <c:pt idx="6178">
                  <c:v>41.469-41.476</c:v>
                </c:pt>
                <c:pt idx="6179">
                  <c:v>41.476-41.483</c:v>
                </c:pt>
                <c:pt idx="6180">
                  <c:v>41.483-41.489</c:v>
                </c:pt>
                <c:pt idx="6181">
                  <c:v>41.489-41.496</c:v>
                </c:pt>
                <c:pt idx="6182">
                  <c:v>41.496-41.503</c:v>
                </c:pt>
                <c:pt idx="6183">
                  <c:v>41.503-41.510</c:v>
                </c:pt>
                <c:pt idx="6184">
                  <c:v>41.510-41.516</c:v>
                </c:pt>
                <c:pt idx="6185">
                  <c:v>41.516-41.523</c:v>
                </c:pt>
                <c:pt idx="6186">
                  <c:v>41.523-41.530</c:v>
                </c:pt>
                <c:pt idx="6187">
                  <c:v>41.530-41.536</c:v>
                </c:pt>
                <c:pt idx="6188">
                  <c:v>41.536-41.543</c:v>
                </c:pt>
                <c:pt idx="6189">
                  <c:v>41.543-41.550</c:v>
                </c:pt>
                <c:pt idx="6190">
                  <c:v>41.550-41.557</c:v>
                </c:pt>
                <c:pt idx="6191">
                  <c:v>41.557-41.563</c:v>
                </c:pt>
                <c:pt idx="6192">
                  <c:v>41.563-41.570</c:v>
                </c:pt>
                <c:pt idx="6193">
                  <c:v>41.570-41.577</c:v>
                </c:pt>
                <c:pt idx="6194">
                  <c:v>41.577-41.583</c:v>
                </c:pt>
                <c:pt idx="6195">
                  <c:v>41.583-41.590</c:v>
                </c:pt>
                <c:pt idx="6196">
                  <c:v>41.590-41.597</c:v>
                </c:pt>
                <c:pt idx="6197">
                  <c:v>41.597-41.604</c:v>
                </c:pt>
                <c:pt idx="6198">
                  <c:v>41.604-41.610</c:v>
                </c:pt>
                <c:pt idx="6199">
                  <c:v>41.610-41.617</c:v>
                </c:pt>
                <c:pt idx="6200">
                  <c:v>41.617-41.624</c:v>
                </c:pt>
                <c:pt idx="6201">
                  <c:v>41.624-41.630</c:v>
                </c:pt>
                <c:pt idx="6202">
                  <c:v>41.630-41.637</c:v>
                </c:pt>
                <c:pt idx="6203">
                  <c:v>41.637-41.644</c:v>
                </c:pt>
                <c:pt idx="6204">
                  <c:v>41.644-41.651</c:v>
                </c:pt>
                <c:pt idx="6205">
                  <c:v>41.651-41.657</c:v>
                </c:pt>
                <c:pt idx="6206">
                  <c:v>41.657-41.664</c:v>
                </c:pt>
                <c:pt idx="6207">
                  <c:v>41.664-41.671</c:v>
                </c:pt>
                <c:pt idx="6208">
                  <c:v>41.671-41.677</c:v>
                </c:pt>
                <c:pt idx="6209">
                  <c:v>41.677-41.684</c:v>
                </c:pt>
                <c:pt idx="6210">
                  <c:v>41.684-41.691</c:v>
                </c:pt>
                <c:pt idx="6211">
                  <c:v>41.691-41.697</c:v>
                </c:pt>
                <c:pt idx="6212">
                  <c:v>41.697-41.704</c:v>
                </c:pt>
                <c:pt idx="6213">
                  <c:v>41.704-41.711</c:v>
                </c:pt>
                <c:pt idx="6214">
                  <c:v>41.711-41.718</c:v>
                </c:pt>
                <c:pt idx="6215">
                  <c:v>41.718-41.724</c:v>
                </c:pt>
                <c:pt idx="6216">
                  <c:v>41.724-41.731</c:v>
                </c:pt>
                <c:pt idx="6217">
                  <c:v>41.731-41.738</c:v>
                </c:pt>
                <c:pt idx="6218">
                  <c:v>41.738-41.744</c:v>
                </c:pt>
                <c:pt idx="6219">
                  <c:v>41.744-41.751</c:v>
                </c:pt>
                <c:pt idx="6220">
                  <c:v>41.751-41.758</c:v>
                </c:pt>
                <c:pt idx="6221">
                  <c:v>41.758-41.765</c:v>
                </c:pt>
                <c:pt idx="6222">
                  <c:v>41.765-41.771</c:v>
                </c:pt>
                <c:pt idx="6223">
                  <c:v>41.771-41.778</c:v>
                </c:pt>
                <c:pt idx="6224">
                  <c:v>41.778-41.785</c:v>
                </c:pt>
                <c:pt idx="6225">
                  <c:v>41.785-41.791</c:v>
                </c:pt>
                <c:pt idx="6226">
                  <c:v>41.791-41.798</c:v>
                </c:pt>
                <c:pt idx="6227">
                  <c:v>41.798-41.805</c:v>
                </c:pt>
                <c:pt idx="6228">
                  <c:v>41.805-41.812</c:v>
                </c:pt>
                <c:pt idx="6229">
                  <c:v>41.812-41.818</c:v>
                </c:pt>
                <c:pt idx="6230">
                  <c:v>41.818-41.825</c:v>
                </c:pt>
                <c:pt idx="6231">
                  <c:v>41.825-41.832</c:v>
                </c:pt>
                <c:pt idx="6232">
                  <c:v>41.832-41.838</c:v>
                </c:pt>
                <c:pt idx="6233">
                  <c:v>41.838-41.845</c:v>
                </c:pt>
                <c:pt idx="6234">
                  <c:v>41.845-41.852</c:v>
                </c:pt>
                <c:pt idx="6235">
                  <c:v>41.852-41.859</c:v>
                </c:pt>
                <c:pt idx="6236">
                  <c:v>41.859-41.865</c:v>
                </c:pt>
                <c:pt idx="6237">
                  <c:v>41.865-41.872</c:v>
                </c:pt>
                <c:pt idx="6238">
                  <c:v>41.872-41.879</c:v>
                </c:pt>
                <c:pt idx="6239">
                  <c:v>41.879-41.885</c:v>
                </c:pt>
                <c:pt idx="6240">
                  <c:v>41.885-41.892</c:v>
                </c:pt>
                <c:pt idx="6241">
                  <c:v>41.892-41.899</c:v>
                </c:pt>
                <c:pt idx="6242">
                  <c:v>41.899-41.906</c:v>
                </c:pt>
                <c:pt idx="6243">
                  <c:v>41.906-41.912</c:v>
                </c:pt>
                <c:pt idx="6244">
                  <c:v>41.912-41.919</c:v>
                </c:pt>
                <c:pt idx="6245">
                  <c:v>41.919-41.926</c:v>
                </c:pt>
                <c:pt idx="6246">
                  <c:v>41.926-41.932</c:v>
                </c:pt>
                <c:pt idx="6247">
                  <c:v>41.932-41.939</c:v>
                </c:pt>
                <c:pt idx="6248">
                  <c:v>41.939-41.946</c:v>
                </c:pt>
                <c:pt idx="6249">
                  <c:v>41.946-41.952</c:v>
                </c:pt>
                <c:pt idx="6250">
                  <c:v>41.952-41.959</c:v>
                </c:pt>
                <c:pt idx="6251">
                  <c:v>41.959-41.966</c:v>
                </c:pt>
                <c:pt idx="6252">
                  <c:v>41.966-41.973</c:v>
                </c:pt>
                <c:pt idx="6253">
                  <c:v>41.973-41.979</c:v>
                </c:pt>
                <c:pt idx="6254">
                  <c:v>41.979-41.986</c:v>
                </c:pt>
                <c:pt idx="6255">
                  <c:v>41.986-41.993</c:v>
                </c:pt>
                <c:pt idx="6256">
                  <c:v>41.993-41.999</c:v>
                </c:pt>
                <c:pt idx="6257">
                  <c:v>41.999-42.006</c:v>
                </c:pt>
                <c:pt idx="6258">
                  <c:v>42.006-42.013</c:v>
                </c:pt>
                <c:pt idx="6259">
                  <c:v>42.013-42.020</c:v>
                </c:pt>
                <c:pt idx="6260">
                  <c:v>42.020-42.026</c:v>
                </c:pt>
                <c:pt idx="6261">
                  <c:v>42.026-42.033</c:v>
                </c:pt>
                <c:pt idx="6262">
                  <c:v>42.033-42.040</c:v>
                </c:pt>
                <c:pt idx="6263">
                  <c:v>42.040-42.046</c:v>
                </c:pt>
                <c:pt idx="6264">
                  <c:v>42.046-42.053</c:v>
                </c:pt>
                <c:pt idx="6265">
                  <c:v>42.053-42.060</c:v>
                </c:pt>
                <c:pt idx="6266">
                  <c:v>42.060-42.067</c:v>
                </c:pt>
                <c:pt idx="6267">
                  <c:v>42.067-42.073</c:v>
                </c:pt>
                <c:pt idx="6268">
                  <c:v>42.073-42.080</c:v>
                </c:pt>
                <c:pt idx="6269">
                  <c:v>42.080-42.087</c:v>
                </c:pt>
                <c:pt idx="6270">
                  <c:v>42.087-42.093</c:v>
                </c:pt>
                <c:pt idx="6271">
                  <c:v>42.093-42.100</c:v>
                </c:pt>
                <c:pt idx="6272">
                  <c:v>42.100-42.107</c:v>
                </c:pt>
                <c:pt idx="6273">
                  <c:v>42.107-42.114</c:v>
                </c:pt>
                <c:pt idx="6274">
                  <c:v>42.114-42.120</c:v>
                </c:pt>
                <c:pt idx="6275">
                  <c:v>42.120-42.127</c:v>
                </c:pt>
                <c:pt idx="6276">
                  <c:v>42.127-42.134</c:v>
                </c:pt>
                <c:pt idx="6277">
                  <c:v>42.134-42.140</c:v>
                </c:pt>
                <c:pt idx="6278">
                  <c:v>42.140-42.147</c:v>
                </c:pt>
                <c:pt idx="6279">
                  <c:v>42.147-42.154</c:v>
                </c:pt>
                <c:pt idx="6280">
                  <c:v>42.154-42.161</c:v>
                </c:pt>
                <c:pt idx="6281">
                  <c:v>42.161-42.167</c:v>
                </c:pt>
                <c:pt idx="6282">
                  <c:v>42.167-42.174</c:v>
                </c:pt>
                <c:pt idx="6283">
                  <c:v>42.174-42.181</c:v>
                </c:pt>
                <c:pt idx="6284">
                  <c:v>42.181-42.187</c:v>
                </c:pt>
                <c:pt idx="6285">
                  <c:v>42.187-42.194</c:v>
                </c:pt>
                <c:pt idx="6286">
                  <c:v>42.194-42.201</c:v>
                </c:pt>
                <c:pt idx="6287">
                  <c:v>42.201-42.208</c:v>
                </c:pt>
                <c:pt idx="6288">
                  <c:v>42.208-42.214</c:v>
                </c:pt>
                <c:pt idx="6289">
                  <c:v>42.214-42.221</c:v>
                </c:pt>
                <c:pt idx="6290">
                  <c:v>42.221-42.228</c:v>
                </c:pt>
                <c:pt idx="6291">
                  <c:v>42.228-42.234</c:v>
                </c:pt>
                <c:pt idx="6292">
                  <c:v>42.234-42.241</c:v>
                </c:pt>
                <c:pt idx="6293">
                  <c:v>42.241-42.248</c:v>
                </c:pt>
                <c:pt idx="6294">
                  <c:v>42.248-42.254</c:v>
                </c:pt>
                <c:pt idx="6295">
                  <c:v>42.254-42.261</c:v>
                </c:pt>
                <c:pt idx="6296">
                  <c:v>42.261-42.268</c:v>
                </c:pt>
                <c:pt idx="6297">
                  <c:v>42.268-42.275</c:v>
                </c:pt>
                <c:pt idx="6298">
                  <c:v>42.275-42.281</c:v>
                </c:pt>
                <c:pt idx="6299">
                  <c:v>42.281-42.288</c:v>
                </c:pt>
                <c:pt idx="6300">
                  <c:v>42.288-42.295</c:v>
                </c:pt>
                <c:pt idx="6301">
                  <c:v>42.295-42.301</c:v>
                </c:pt>
                <c:pt idx="6302">
                  <c:v>42.301-42.308</c:v>
                </c:pt>
                <c:pt idx="6303">
                  <c:v>42.308-42.315</c:v>
                </c:pt>
                <c:pt idx="6304">
                  <c:v>42.315-42.322</c:v>
                </c:pt>
                <c:pt idx="6305">
                  <c:v>42.322-42.328</c:v>
                </c:pt>
                <c:pt idx="6306">
                  <c:v>42.328-42.335</c:v>
                </c:pt>
                <c:pt idx="6307">
                  <c:v>42.335-42.342</c:v>
                </c:pt>
                <c:pt idx="6308">
                  <c:v>42.342-42.348</c:v>
                </c:pt>
                <c:pt idx="6309">
                  <c:v>42.348-42.355</c:v>
                </c:pt>
                <c:pt idx="6310">
                  <c:v>42.355-42.362</c:v>
                </c:pt>
                <c:pt idx="6311">
                  <c:v>42.362-42.369</c:v>
                </c:pt>
                <c:pt idx="6312">
                  <c:v>42.369-42.375</c:v>
                </c:pt>
                <c:pt idx="6313">
                  <c:v>42.375-42.382</c:v>
                </c:pt>
                <c:pt idx="6314">
                  <c:v>42.382-42.389</c:v>
                </c:pt>
                <c:pt idx="6315">
                  <c:v>42.389-42.395</c:v>
                </c:pt>
                <c:pt idx="6316">
                  <c:v>42.395-42.402</c:v>
                </c:pt>
                <c:pt idx="6317">
                  <c:v>42.402-42.409</c:v>
                </c:pt>
                <c:pt idx="6318">
                  <c:v>42.409-42.416</c:v>
                </c:pt>
                <c:pt idx="6319">
                  <c:v>42.416-42.422</c:v>
                </c:pt>
                <c:pt idx="6320">
                  <c:v>42.422-42.429</c:v>
                </c:pt>
                <c:pt idx="6321">
                  <c:v>42.429-42.436</c:v>
                </c:pt>
                <c:pt idx="6322">
                  <c:v>42.436-42.442</c:v>
                </c:pt>
                <c:pt idx="6323">
                  <c:v>42.442-42.449</c:v>
                </c:pt>
                <c:pt idx="6324">
                  <c:v>42.449-42.456</c:v>
                </c:pt>
                <c:pt idx="6325">
                  <c:v>42.456-42.463</c:v>
                </c:pt>
                <c:pt idx="6326">
                  <c:v>42.463-42.469</c:v>
                </c:pt>
                <c:pt idx="6327">
                  <c:v>42.469-42.476</c:v>
                </c:pt>
                <c:pt idx="6328">
                  <c:v>42.476-42.483</c:v>
                </c:pt>
                <c:pt idx="6329">
                  <c:v>42.483-42.489</c:v>
                </c:pt>
                <c:pt idx="6330">
                  <c:v>42.489-42.496</c:v>
                </c:pt>
                <c:pt idx="6331">
                  <c:v>42.496-42.503</c:v>
                </c:pt>
                <c:pt idx="6332">
                  <c:v>42.503-42.509</c:v>
                </c:pt>
                <c:pt idx="6333">
                  <c:v>42.509-42.516</c:v>
                </c:pt>
                <c:pt idx="6334">
                  <c:v>42.516-42.523</c:v>
                </c:pt>
                <c:pt idx="6335">
                  <c:v>42.523-42.530</c:v>
                </c:pt>
                <c:pt idx="6336">
                  <c:v>42.530-42.536</c:v>
                </c:pt>
                <c:pt idx="6337">
                  <c:v>42.536-42.543</c:v>
                </c:pt>
                <c:pt idx="6338">
                  <c:v>42.543-42.550</c:v>
                </c:pt>
                <c:pt idx="6339">
                  <c:v>42.550-42.556</c:v>
                </c:pt>
                <c:pt idx="6340">
                  <c:v>42.556-42.563</c:v>
                </c:pt>
                <c:pt idx="6341">
                  <c:v>42.563-42.570</c:v>
                </c:pt>
                <c:pt idx="6342">
                  <c:v>42.570-42.577</c:v>
                </c:pt>
                <c:pt idx="6343">
                  <c:v>42.577-42.583</c:v>
                </c:pt>
                <c:pt idx="6344">
                  <c:v>42.583-42.590</c:v>
                </c:pt>
                <c:pt idx="6345">
                  <c:v>42.590-42.597</c:v>
                </c:pt>
                <c:pt idx="6346">
                  <c:v>42.597-42.603</c:v>
                </c:pt>
                <c:pt idx="6347">
                  <c:v>42.603-42.610</c:v>
                </c:pt>
                <c:pt idx="6348">
                  <c:v>42.610-42.617</c:v>
                </c:pt>
                <c:pt idx="6349">
                  <c:v>42.617-42.624</c:v>
                </c:pt>
                <c:pt idx="6350">
                  <c:v>42.624-42.630</c:v>
                </c:pt>
                <c:pt idx="6351">
                  <c:v>42.630-42.637</c:v>
                </c:pt>
                <c:pt idx="6352">
                  <c:v>42.637-42.644</c:v>
                </c:pt>
                <c:pt idx="6353">
                  <c:v>42.644-42.650</c:v>
                </c:pt>
                <c:pt idx="6354">
                  <c:v>42.650-42.657</c:v>
                </c:pt>
                <c:pt idx="6355">
                  <c:v>42.657-42.664</c:v>
                </c:pt>
                <c:pt idx="6356">
                  <c:v>42.664-42.671</c:v>
                </c:pt>
                <c:pt idx="6357">
                  <c:v>42.671-42.677</c:v>
                </c:pt>
                <c:pt idx="6358">
                  <c:v>42.677-42.684</c:v>
                </c:pt>
                <c:pt idx="6359">
                  <c:v>42.684-42.691</c:v>
                </c:pt>
                <c:pt idx="6360">
                  <c:v>42.691-42.697</c:v>
                </c:pt>
                <c:pt idx="6361">
                  <c:v>42.697-42.704</c:v>
                </c:pt>
                <c:pt idx="6362">
                  <c:v>42.704-42.711</c:v>
                </c:pt>
                <c:pt idx="6363">
                  <c:v>42.711-42.718</c:v>
                </c:pt>
                <c:pt idx="6364">
                  <c:v>42.718-42.724</c:v>
                </c:pt>
                <c:pt idx="6365">
                  <c:v>42.724-42.731</c:v>
                </c:pt>
                <c:pt idx="6366">
                  <c:v>42.731-42.738</c:v>
                </c:pt>
                <c:pt idx="6367">
                  <c:v>42.738-42.744</c:v>
                </c:pt>
                <c:pt idx="6368">
                  <c:v>42.744-42.751</c:v>
                </c:pt>
                <c:pt idx="6369">
                  <c:v>42.751-42.758</c:v>
                </c:pt>
                <c:pt idx="6370">
                  <c:v>42.758-42.765</c:v>
                </c:pt>
                <c:pt idx="6371">
                  <c:v>42.765-42.771</c:v>
                </c:pt>
                <c:pt idx="6372">
                  <c:v>42.771-42.778</c:v>
                </c:pt>
                <c:pt idx="6373">
                  <c:v>42.778-42.785</c:v>
                </c:pt>
                <c:pt idx="6374">
                  <c:v>42.785-42.791</c:v>
                </c:pt>
                <c:pt idx="6375">
                  <c:v>42.791-42.798</c:v>
                </c:pt>
                <c:pt idx="6376">
                  <c:v>42.798-42.805</c:v>
                </c:pt>
                <c:pt idx="6377">
                  <c:v>42.805-42.811</c:v>
                </c:pt>
                <c:pt idx="6378">
                  <c:v>42.811-42.818</c:v>
                </c:pt>
                <c:pt idx="6379">
                  <c:v>42.818-42.825</c:v>
                </c:pt>
                <c:pt idx="6380">
                  <c:v>42.825-42.832</c:v>
                </c:pt>
                <c:pt idx="6381">
                  <c:v>42.832-42.838</c:v>
                </c:pt>
                <c:pt idx="6382">
                  <c:v>42.838-42.845</c:v>
                </c:pt>
                <c:pt idx="6383">
                  <c:v>42.845-42.852</c:v>
                </c:pt>
                <c:pt idx="6384">
                  <c:v>42.852-42.858</c:v>
                </c:pt>
                <c:pt idx="6385">
                  <c:v>42.858-42.865</c:v>
                </c:pt>
                <c:pt idx="6386">
                  <c:v>42.865-42.872</c:v>
                </c:pt>
                <c:pt idx="6387">
                  <c:v>42.872-42.879</c:v>
                </c:pt>
                <c:pt idx="6388">
                  <c:v>42.879-42.885</c:v>
                </c:pt>
                <c:pt idx="6389">
                  <c:v>42.885-42.892</c:v>
                </c:pt>
                <c:pt idx="6390">
                  <c:v>42.892-42.899</c:v>
                </c:pt>
                <c:pt idx="6391">
                  <c:v>42.899-42.905</c:v>
                </c:pt>
                <c:pt idx="6392">
                  <c:v>42.905-42.912</c:v>
                </c:pt>
                <c:pt idx="6393">
                  <c:v>42.912-42.919</c:v>
                </c:pt>
                <c:pt idx="6394">
                  <c:v>42.919-42.926</c:v>
                </c:pt>
                <c:pt idx="6395">
                  <c:v>42.926-42.932</c:v>
                </c:pt>
                <c:pt idx="6396">
                  <c:v>42.932-42.939</c:v>
                </c:pt>
                <c:pt idx="6397">
                  <c:v>42.939-42.946</c:v>
                </c:pt>
                <c:pt idx="6398">
                  <c:v>42.946-42.952</c:v>
                </c:pt>
                <c:pt idx="6399">
                  <c:v>42.952-42.959</c:v>
                </c:pt>
                <c:pt idx="6400">
                  <c:v>42.959-42.966</c:v>
                </c:pt>
                <c:pt idx="6401">
                  <c:v>42.966-42.973</c:v>
                </c:pt>
                <c:pt idx="6402">
                  <c:v>42.973-42.979</c:v>
                </c:pt>
                <c:pt idx="6403">
                  <c:v>42.979-42.986</c:v>
                </c:pt>
                <c:pt idx="6404">
                  <c:v>42.986-42.993</c:v>
                </c:pt>
                <c:pt idx="6405">
                  <c:v>42.993-42.999</c:v>
                </c:pt>
                <c:pt idx="6406">
                  <c:v>42.999-43.006</c:v>
                </c:pt>
                <c:pt idx="6407">
                  <c:v>43.006-43.013</c:v>
                </c:pt>
                <c:pt idx="6408">
                  <c:v>43.013-43.020</c:v>
                </c:pt>
                <c:pt idx="6409">
                  <c:v>43.020-43.026</c:v>
                </c:pt>
                <c:pt idx="6410">
                  <c:v>43.026-43.033</c:v>
                </c:pt>
                <c:pt idx="6411">
                  <c:v>43.033-43.040</c:v>
                </c:pt>
                <c:pt idx="6412">
                  <c:v>43.040-43.046</c:v>
                </c:pt>
                <c:pt idx="6413">
                  <c:v>43.046-43.053</c:v>
                </c:pt>
                <c:pt idx="6414">
                  <c:v>43.053-43.060</c:v>
                </c:pt>
                <c:pt idx="6415">
                  <c:v>43.060-43.066</c:v>
                </c:pt>
                <c:pt idx="6416">
                  <c:v>43.066-43.073</c:v>
                </c:pt>
                <c:pt idx="6417">
                  <c:v>43.073-43.080</c:v>
                </c:pt>
                <c:pt idx="6418">
                  <c:v>43.080-43.087</c:v>
                </c:pt>
                <c:pt idx="6419">
                  <c:v>43.087-43.093</c:v>
                </c:pt>
                <c:pt idx="6420">
                  <c:v>43.093-43.100</c:v>
                </c:pt>
                <c:pt idx="6421">
                  <c:v>43.100-43.107</c:v>
                </c:pt>
                <c:pt idx="6422">
                  <c:v>43.107-43.113</c:v>
                </c:pt>
                <c:pt idx="6423">
                  <c:v>43.113-43.120</c:v>
                </c:pt>
                <c:pt idx="6424">
                  <c:v>43.120-43.127</c:v>
                </c:pt>
                <c:pt idx="6425">
                  <c:v>43.127-43.134</c:v>
                </c:pt>
                <c:pt idx="6426">
                  <c:v>43.134-43.140</c:v>
                </c:pt>
                <c:pt idx="6427">
                  <c:v>43.140-43.147</c:v>
                </c:pt>
                <c:pt idx="6428">
                  <c:v>43.147-43.154</c:v>
                </c:pt>
                <c:pt idx="6429">
                  <c:v>43.154-43.160</c:v>
                </c:pt>
                <c:pt idx="6430">
                  <c:v>43.160-43.167</c:v>
                </c:pt>
                <c:pt idx="6431">
                  <c:v>43.167-43.174</c:v>
                </c:pt>
                <c:pt idx="6432">
                  <c:v>43.174-43.181</c:v>
                </c:pt>
                <c:pt idx="6433">
                  <c:v>43.181-43.187</c:v>
                </c:pt>
                <c:pt idx="6434">
                  <c:v>43.187-43.194</c:v>
                </c:pt>
                <c:pt idx="6435">
                  <c:v>43.194-43.201</c:v>
                </c:pt>
                <c:pt idx="6436">
                  <c:v>43.201-43.207</c:v>
                </c:pt>
                <c:pt idx="6437">
                  <c:v>43.207-43.214</c:v>
                </c:pt>
                <c:pt idx="6438">
                  <c:v>43.214-43.221</c:v>
                </c:pt>
                <c:pt idx="6439">
                  <c:v>43.221-43.228</c:v>
                </c:pt>
                <c:pt idx="6440">
                  <c:v>43.228-43.234</c:v>
                </c:pt>
                <c:pt idx="6441">
                  <c:v>43.234-43.241</c:v>
                </c:pt>
                <c:pt idx="6442">
                  <c:v>43.241-43.248</c:v>
                </c:pt>
                <c:pt idx="6443">
                  <c:v>43.248-43.254</c:v>
                </c:pt>
                <c:pt idx="6444">
                  <c:v>43.254-43.261</c:v>
                </c:pt>
                <c:pt idx="6445">
                  <c:v>43.261-43.268</c:v>
                </c:pt>
                <c:pt idx="6446">
                  <c:v>43.268-43.275</c:v>
                </c:pt>
                <c:pt idx="6447">
                  <c:v>43.275-43.281</c:v>
                </c:pt>
                <c:pt idx="6448">
                  <c:v>43.281-43.288</c:v>
                </c:pt>
                <c:pt idx="6449">
                  <c:v>43.288-43.295</c:v>
                </c:pt>
                <c:pt idx="6450">
                  <c:v>43.295-43.301</c:v>
                </c:pt>
                <c:pt idx="6451">
                  <c:v>43.301-43.308</c:v>
                </c:pt>
                <c:pt idx="6452">
                  <c:v>43.308-43.315</c:v>
                </c:pt>
                <c:pt idx="6453">
                  <c:v>43.315-43.322</c:v>
                </c:pt>
                <c:pt idx="6454">
                  <c:v>43.322-43.328</c:v>
                </c:pt>
                <c:pt idx="6455">
                  <c:v>43.328-43.335</c:v>
                </c:pt>
                <c:pt idx="6456">
                  <c:v>43.335-43.342</c:v>
                </c:pt>
                <c:pt idx="6457">
                  <c:v>43.342-43.348</c:v>
                </c:pt>
                <c:pt idx="6458">
                  <c:v>43.348-43.355</c:v>
                </c:pt>
                <c:pt idx="6459">
                  <c:v>43.355-43.362</c:v>
                </c:pt>
                <c:pt idx="6460">
                  <c:v>43.362-43.368</c:v>
                </c:pt>
                <c:pt idx="6461">
                  <c:v>43.368-43.375</c:v>
                </c:pt>
                <c:pt idx="6462">
                  <c:v>43.375-43.382</c:v>
                </c:pt>
                <c:pt idx="6463">
                  <c:v>43.382-43.389</c:v>
                </c:pt>
                <c:pt idx="6464">
                  <c:v>43.389-43.395</c:v>
                </c:pt>
                <c:pt idx="6465">
                  <c:v>43.395-43.402</c:v>
                </c:pt>
                <c:pt idx="6466">
                  <c:v>43.402-43.409</c:v>
                </c:pt>
                <c:pt idx="6467">
                  <c:v>43.409-43.415</c:v>
                </c:pt>
                <c:pt idx="6468">
                  <c:v>43.415-43.422</c:v>
                </c:pt>
                <c:pt idx="6469">
                  <c:v>43.422-43.429</c:v>
                </c:pt>
                <c:pt idx="6470">
                  <c:v>43.429-43.436</c:v>
                </c:pt>
                <c:pt idx="6471">
                  <c:v>43.436-43.442</c:v>
                </c:pt>
                <c:pt idx="6472">
                  <c:v>43.442-43.449</c:v>
                </c:pt>
                <c:pt idx="6473">
                  <c:v>43.449-43.456</c:v>
                </c:pt>
                <c:pt idx="6474">
                  <c:v>43.456-43.462</c:v>
                </c:pt>
                <c:pt idx="6475">
                  <c:v>43.462-43.469</c:v>
                </c:pt>
                <c:pt idx="6476">
                  <c:v>43.469-43.476</c:v>
                </c:pt>
                <c:pt idx="6477">
                  <c:v>43.476-43.483</c:v>
                </c:pt>
                <c:pt idx="6478">
                  <c:v>43.483-43.489</c:v>
                </c:pt>
                <c:pt idx="6479">
                  <c:v>43.489-43.496</c:v>
                </c:pt>
                <c:pt idx="6480">
                  <c:v>43.496-43.503</c:v>
                </c:pt>
                <c:pt idx="6481">
                  <c:v>43.503-43.509</c:v>
                </c:pt>
                <c:pt idx="6482">
                  <c:v>43.509-43.516</c:v>
                </c:pt>
                <c:pt idx="6483">
                  <c:v>43.516-43.523</c:v>
                </c:pt>
                <c:pt idx="6484">
                  <c:v>43.523-43.530</c:v>
                </c:pt>
                <c:pt idx="6485">
                  <c:v>43.530-43.536</c:v>
                </c:pt>
                <c:pt idx="6486">
                  <c:v>43.536-43.543</c:v>
                </c:pt>
                <c:pt idx="6487">
                  <c:v>43.543-43.550</c:v>
                </c:pt>
                <c:pt idx="6488">
                  <c:v>43.550-43.556</c:v>
                </c:pt>
                <c:pt idx="6489">
                  <c:v>43.556-43.563</c:v>
                </c:pt>
                <c:pt idx="6490">
                  <c:v>43.563-43.570</c:v>
                </c:pt>
                <c:pt idx="6491">
                  <c:v>43.570-43.577</c:v>
                </c:pt>
                <c:pt idx="6492">
                  <c:v>43.577-43.583</c:v>
                </c:pt>
                <c:pt idx="6493">
                  <c:v>43.583-43.590</c:v>
                </c:pt>
                <c:pt idx="6494">
                  <c:v>43.590-43.597</c:v>
                </c:pt>
                <c:pt idx="6495">
                  <c:v>43.597-43.603</c:v>
                </c:pt>
                <c:pt idx="6496">
                  <c:v>43.603-43.610</c:v>
                </c:pt>
                <c:pt idx="6497">
                  <c:v>43.610-43.617</c:v>
                </c:pt>
                <c:pt idx="6498">
                  <c:v>43.617-43.623</c:v>
                </c:pt>
                <c:pt idx="6499">
                  <c:v>43.623-43.630</c:v>
                </c:pt>
                <c:pt idx="6500">
                  <c:v>43.630-43.637</c:v>
                </c:pt>
                <c:pt idx="6501">
                  <c:v>43.637-43.644</c:v>
                </c:pt>
                <c:pt idx="6502">
                  <c:v>43.644-43.650</c:v>
                </c:pt>
                <c:pt idx="6503">
                  <c:v>43.650-43.657</c:v>
                </c:pt>
                <c:pt idx="6504">
                  <c:v>43.657-43.664</c:v>
                </c:pt>
                <c:pt idx="6505">
                  <c:v>43.664-43.670</c:v>
                </c:pt>
                <c:pt idx="6506">
                  <c:v>43.670-43.677</c:v>
                </c:pt>
                <c:pt idx="6507">
                  <c:v>43.677-43.684</c:v>
                </c:pt>
                <c:pt idx="6508">
                  <c:v>43.684-43.691</c:v>
                </c:pt>
                <c:pt idx="6509">
                  <c:v>43.691-43.697</c:v>
                </c:pt>
                <c:pt idx="6510">
                  <c:v>43.697-43.704</c:v>
                </c:pt>
                <c:pt idx="6511">
                  <c:v>43.704-43.711</c:v>
                </c:pt>
                <c:pt idx="6512">
                  <c:v>43.711-43.717</c:v>
                </c:pt>
                <c:pt idx="6513">
                  <c:v>43.717-43.724</c:v>
                </c:pt>
                <c:pt idx="6514">
                  <c:v>43.724-43.731</c:v>
                </c:pt>
                <c:pt idx="6515">
                  <c:v>43.731-43.738</c:v>
                </c:pt>
                <c:pt idx="6516">
                  <c:v>43.738-43.744</c:v>
                </c:pt>
                <c:pt idx="6517">
                  <c:v>43.744-43.751</c:v>
                </c:pt>
                <c:pt idx="6518">
                  <c:v>43.751-43.758</c:v>
                </c:pt>
                <c:pt idx="6519">
                  <c:v>43.758-43.764</c:v>
                </c:pt>
                <c:pt idx="6520">
                  <c:v>43.764-43.771</c:v>
                </c:pt>
                <c:pt idx="6521">
                  <c:v>43.771-43.778</c:v>
                </c:pt>
                <c:pt idx="6522">
                  <c:v>43.778-43.785</c:v>
                </c:pt>
                <c:pt idx="6523">
                  <c:v>43.785-43.791</c:v>
                </c:pt>
                <c:pt idx="6524">
                  <c:v>43.791-43.798</c:v>
                </c:pt>
                <c:pt idx="6525">
                  <c:v>43.798-43.805</c:v>
                </c:pt>
                <c:pt idx="6526">
                  <c:v>43.805-43.811</c:v>
                </c:pt>
                <c:pt idx="6527">
                  <c:v>43.811-43.818</c:v>
                </c:pt>
                <c:pt idx="6528">
                  <c:v>43.818-43.825</c:v>
                </c:pt>
                <c:pt idx="6529">
                  <c:v>43.825-43.832</c:v>
                </c:pt>
                <c:pt idx="6530">
                  <c:v>43.832-43.838</c:v>
                </c:pt>
                <c:pt idx="6531">
                  <c:v>43.838-43.845</c:v>
                </c:pt>
                <c:pt idx="6532">
                  <c:v>43.845-43.852</c:v>
                </c:pt>
                <c:pt idx="6533">
                  <c:v>43.852-43.858</c:v>
                </c:pt>
                <c:pt idx="6534">
                  <c:v>43.858-43.865</c:v>
                </c:pt>
                <c:pt idx="6535">
                  <c:v>43.865-43.872</c:v>
                </c:pt>
                <c:pt idx="6536">
                  <c:v>43.872-43.878</c:v>
                </c:pt>
                <c:pt idx="6537">
                  <c:v>43.878-43.885</c:v>
                </c:pt>
                <c:pt idx="6538">
                  <c:v>43.885-43.892</c:v>
                </c:pt>
                <c:pt idx="6539">
                  <c:v>43.892-43.899</c:v>
                </c:pt>
                <c:pt idx="6540">
                  <c:v>43.899-43.905</c:v>
                </c:pt>
                <c:pt idx="6541">
                  <c:v>43.905-43.912</c:v>
                </c:pt>
                <c:pt idx="6542">
                  <c:v>43.912-43.919</c:v>
                </c:pt>
                <c:pt idx="6543">
                  <c:v>43.919-43.925</c:v>
                </c:pt>
                <c:pt idx="6544">
                  <c:v>43.925-43.932</c:v>
                </c:pt>
                <c:pt idx="6545">
                  <c:v>43.932-43.939</c:v>
                </c:pt>
                <c:pt idx="6546">
                  <c:v>43.939-43.946</c:v>
                </c:pt>
                <c:pt idx="6547">
                  <c:v>43.946-43.952</c:v>
                </c:pt>
                <c:pt idx="6548">
                  <c:v>43.952-43.959</c:v>
                </c:pt>
                <c:pt idx="6549">
                  <c:v>43.959-43.966</c:v>
                </c:pt>
                <c:pt idx="6550">
                  <c:v>43.966-43.972</c:v>
                </c:pt>
                <c:pt idx="6551">
                  <c:v>43.972-43.979</c:v>
                </c:pt>
                <c:pt idx="6552">
                  <c:v>43.979-43.986</c:v>
                </c:pt>
                <c:pt idx="6553">
                  <c:v>43.986-43.993</c:v>
                </c:pt>
                <c:pt idx="6554">
                  <c:v>43.993-43.999</c:v>
                </c:pt>
                <c:pt idx="6555">
                  <c:v>43.999-44.006</c:v>
                </c:pt>
                <c:pt idx="6556">
                  <c:v>44.006-44.013</c:v>
                </c:pt>
                <c:pt idx="6557">
                  <c:v>44.013-44.019</c:v>
                </c:pt>
                <c:pt idx="6558">
                  <c:v>44.019-44.026</c:v>
                </c:pt>
                <c:pt idx="6559">
                  <c:v>44.026-44.033</c:v>
                </c:pt>
                <c:pt idx="6560">
                  <c:v>44.033-44.040</c:v>
                </c:pt>
                <c:pt idx="6561">
                  <c:v>44.040-44.046</c:v>
                </c:pt>
                <c:pt idx="6562">
                  <c:v>44.046-44.053</c:v>
                </c:pt>
                <c:pt idx="6563">
                  <c:v>44.053-44.060</c:v>
                </c:pt>
                <c:pt idx="6564">
                  <c:v>44.060-44.066</c:v>
                </c:pt>
                <c:pt idx="6565">
                  <c:v>44.066-44.073</c:v>
                </c:pt>
                <c:pt idx="6566">
                  <c:v>44.073-44.080</c:v>
                </c:pt>
                <c:pt idx="6567">
                  <c:v>44.080-44.087</c:v>
                </c:pt>
                <c:pt idx="6568">
                  <c:v>44.087-44.093</c:v>
                </c:pt>
                <c:pt idx="6569">
                  <c:v>44.093-44.100</c:v>
                </c:pt>
                <c:pt idx="6570">
                  <c:v>44.100-44.107</c:v>
                </c:pt>
                <c:pt idx="6571">
                  <c:v>44.107-44.113</c:v>
                </c:pt>
                <c:pt idx="6572">
                  <c:v>44.113-44.120</c:v>
                </c:pt>
                <c:pt idx="6573">
                  <c:v>44.120-44.127</c:v>
                </c:pt>
                <c:pt idx="6574">
                  <c:v>44.127-44.134</c:v>
                </c:pt>
                <c:pt idx="6575">
                  <c:v>44.134-44.140</c:v>
                </c:pt>
                <c:pt idx="6576">
                  <c:v>44.140-44.147</c:v>
                </c:pt>
                <c:pt idx="6577">
                  <c:v>44.147-44.154</c:v>
                </c:pt>
                <c:pt idx="6578">
                  <c:v>44.154-44.160</c:v>
                </c:pt>
                <c:pt idx="6579">
                  <c:v>44.160-44.167</c:v>
                </c:pt>
                <c:pt idx="6580">
                  <c:v>44.167-44.174</c:v>
                </c:pt>
                <c:pt idx="6581">
                  <c:v>44.174-44.180</c:v>
                </c:pt>
                <c:pt idx="6582">
                  <c:v>44.180-44.187</c:v>
                </c:pt>
                <c:pt idx="6583">
                  <c:v>44.187-44.194</c:v>
                </c:pt>
                <c:pt idx="6584">
                  <c:v>44.194-44.201</c:v>
                </c:pt>
                <c:pt idx="6585">
                  <c:v>44.201-44.207</c:v>
                </c:pt>
                <c:pt idx="6586">
                  <c:v>44.207-44.214</c:v>
                </c:pt>
                <c:pt idx="6587">
                  <c:v>44.214-44.221</c:v>
                </c:pt>
                <c:pt idx="6588">
                  <c:v>44.221-44.227</c:v>
                </c:pt>
                <c:pt idx="6589">
                  <c:v>44.227-44.234</c:v>
                </c:pt>
                <c:pt idx="6590">
                  <c:v>44.234-44.241</c:v>
                </c:pt>
                <c:pt idx="6591">
                  <c:v>44.241-44.248</c:v>
                </c:pt>
                <c:pt idx="6592">
                  <c:v>44.248-44.254</c:v>
                </c:pt>
                <c:pt idx="6593">
                  <c:v>44.254-44.261</c:v>
                </c:pt>
                <c:pt idx="6594">
                  <c:v>44.261-44.268</c:v>
                </c:pt>
                <c:pt idx="6595">
                  <c:v>44.268-44.274</c:v>
                </c:pt>
                <c:pt idx="6596">
                  <c:v>44.274-44.281</c:v>
                </c:pt>
                <c:pt idx="6597">
                  <c:v>44.281-44.288</c:v>
                </c:pt>
                <c:pt idx="6598">
                  <c:v>44.288-44.295</c:v>
                </c:pt>
                <c:pt idx="6599">
                  <c:v>44.295-44.301</c:v>
                </c:pt>
                <c:pt idx="6600">
                  <c:v>44.301-44.308</c:v>
                </c:pt>
                <c:pt idx="6601">
                  <c:v>44.308-44.315</c:v>
                </c:pt>
                <c:pt idx="6602">
                  <c:v>44.315-44.321</c:v>
                </c:pt>
                <c:pt idx="6603">
                  <c:v>44.321-44.328</c:v>
                </c:pt>
                <c:pt idx="6604">
                  <c:v>44.328-44.335</c:v>
                </c:pt>
                <c:pt idx="6605">
                  <c:v>44.335-44.342</c:v>
                </c:pt>
                <c:pt idx="6606">
                  <c:v>44.342-44.348</c:v>
                </c:pt>
                <c:pt idx="6607">
                  <c:v>44.348-44.355</c:v>
                </c:pt>
                <c:pt idx="6608">
                  <c:v>44.355-44.362</c:v>
                </c:pt>
                <c:pt idx="6609">
                  <c:v>44.362-44.368</c:v>
                </c:pt>
                <c:pt idx="6610">
                  <c:v>44.368-44.375</c:v>
                </c:pt>
                <c:pt idx="6611">
                  <c:v>44.375-44.382</c:v>
                </c:pt>
                <c:pt idx="6612">
                  <c:v>44.382-44.389</c:v>
                </c:pt>
                <c:pt idx="6613">
                  <c:v>44.389-44.395</c:v>
                </c:pt>
                <c:pt idx="6614">
                  <c:v>44.395-44.402</c:v>
                </c:pt>
                <c:pt idx="6615">
                  <c:v>44.402-44.409</c:v>
                </c:pt>
                <c:pt idx="6616">
                  <c:v>44.409-44.415</c:v>
                </c:pt>
                <c:pt idx="6617">
                  <c:v>44.415-44.422</c:v>
                </c:pt>
                <c:pt idx="6618">
                  <c:v>44.422-44.429</c:v>
                </c:pt>
                <c:pt idx="6619">
                  <c:v>44.429-44.435</c:v>
                </c:pt>
                <c:pt idx="6620">
                  <c:v>44.435-44.442</c:v>
                </c:pt>
                <c:pt idx="6621">
                  <c:v>44.442-44.449</c:v>
                </c:pt>
                <c:pt idx="6622">
                  <c:v>44.449-44.456</c:v>
                </c:pt>
                <c:pt idx="6623">
                  <c:v>44.456-44.462</c:v>
                </c:pt>
                <c:pt idx="6624">
                  <c:v>44.462-44.469</c:v>
                </c:pt>
                <c:pt idx="6625">
                  <c:v>44.469-44.476</c:v>
                </c:pt>
                <c:pt idx="6626">
                  <c:v>44.476-44.482</c:v>
                </c:pt>
                <c:pt idx="6627">
                  <c:v>44.482-44.489</c:v>
                </c:pt>
                <c:pt idx="6628">
                  <c:v>44.489-44.496</c:v>
                </c:pt>
                <c:pt idx="6629">
                  <c:v>44.496-44.503</c:v>
                </c:pt>
                <c:pt idx="6630">
                  <c:v>44.503-44.509</c:v>
                </c:pt>
                <c:pt idx="6631">
                  <c:v>44.509-44.516</c:v>
                </c:pt>
                <c:pt idx="6632">
                  <c:v>44.516-44.523</c:v>
                </c:pt>
                <c:pt idx="6633">
                  <c:v>44.523-44.529</c:v>
                </c:pt>
                <c:pt idx="6634">
                  <c:v>44.529-44.536</c:v>
                </c:pt>
                <c:pt idx="6635">
                  <c:v>44.536-44.543</c:v>
                </c:pt>
                <c:pt idx="6636">
                  <c:v>44.543-44.550</c:v>
                </c:pt>
                <c:pt idx="6637">
                  <c:v>44.550-44.556</c:v>
                </c:pt>
                <c:pt idx="6638">
                  <c:v>44.556-44.563</c:v>
                </c:pt>
                <c:pt idx="6639">
                  <c:v>44.563-44.570</c:v>
                </c:pt>
                <c:pt idx="6640">
                  <c:v>44.570-44.576</c:v>
                </c:pt>
                <c:pt idx="6641">
                  <c:v>44.576-44.583</c:v>
                </c:pt>
                <c:pt idx="6642">
                  <c:v>44.583-44.590</c:v>
                </c:pt>
                <c:pt idx="6643">
                  <c:v>44.590-44.597</c:v>
                </c:pt>
                <c:pt idx="6644">
                  <c:v>44.597-44.603</c:v>
                </c:pt>
                <c:pt idx="6645">
                  <c:v>44.603-44.610</c:v>
                </c:pt>
                <c:pt idx="6646">
                  <c:v>44.610-44.617</c:v>
                </c:pt>
                <c:pt idx="6647">
                  <c:v>44.617-44.623</c:v>
                </c:pt>
                <c:pt idx="6648">
                  <c:v>44.623-44.630</c:v>
                </c:pt>
                <c:pt idx="6649">
                  <c:v>44.630-44.637</c:v>
                </c:pt>
                <c:pt idx="6650">
                  <c:v>44.637-44.644</c:v>
                </c:pt>
                <c:pt idx="6651">
                  <c:v>44.644-44.650</c:v>
                </c:pt>
                <c:pt idx="6652">
                  <c:v>44.650-44.657</c:v>
                </c:pt>
                <c:pt idx="6653">
                  <c:v>44.657-44.664</c:v>
                </c:pt>
                <c:pt idx="6654">
                  <c:v>44.664-44.670</c:v>
                </c:pt>
                <c:pt idx="6655">
                  <c:v>44.670-44.677</c:v>
                </c:pt>
                <c:pt idx="6656">
                  <c:v>44.677-44.684</c:v>
                </c:pt>
                <c:pt idx="6657">
                  <c:v>44.684-44.691</c:v>
                </c:pt>
                <c:pt idx="6658">
                  <c:v>44.691-44.697</c:v>
                </c:pt>
                <c:pt idx="6659">
                  <c:v>44.697-44.704</c:v>
                </c:pt>
                <c:pt idx="6660">
                  <c:v>44.704-44.711</c:v>
                </c:pt>
                <c:pt idx="6661">
                  <c:v>44.711-44.717</c:v>
                </c:pt>
                <c:pt idx="6662">
                  <c:v>44.717-44.724</c:v>
                </c:pt>
                <c:pt idx="6663">
                  <c:v>44.724-44.731</c:v>
                </c:pt>
                <c:pt idx="6664">
                  <c:v>44.731-44.737</c:v>
                </c:pt>
                <c:pt idx="6665">
                  <c:v>44.737-44.744</c:v>
                </c:pt>
                <c:pt idx="6666">
                  <c:v>44.744-44.751</c:v>
                </c:pt>
                <c:pt idx="6667">
                  <c:v>44.751-44.758</c:v>
                </c:pt>
                <c:pt idx="6668">
                  <c:v>44.758-44.764</c:v>
                </c:pt>
                <c:pt idx="6669">
                  <c:v>44.764-44.771</c:v>
                </c:pt>
                <c:pt idx="6670">
                  <c:v>44.771-44.778</c:v>
                </c:pt>
                <c:pt idx="6671">
                  <c:v>44.778-44.784</c:v>
                </c:pt>
                <c:pt idx="6672">
                  <c:v>44.784-44.791</c:v>
                </c:pt>
                <c:pt idx="6673">
                  <c:v>44.791-44.798</c:v>
                </c:pt>
                <c:pt idx="6674">
                  <c:v>44.798-44.805</c:v>
                </c:pt>
                <c:pt idx="6675">
                  <c:v>44.805-44.811</c:v>
                </c:pt>
                <c:pt idx="6676">
                  <c:v>44.811-44.818</c:v>
                </c:pt>
                <c:pt idx="6677">
                  <c:v>44.818-44.825</c:v>
                </c:pt>
                <c:pt idx="6678">
                  <c:v>44.825-44.831</c:v>
                </c:pt>
                <c:pt idx="6679">
                  <c:v>44.831-44.838</c:v>
                </c:pt>
                <c:pt idx="6680">
                  <c:v>44.838-44.845</c:v>
                </c:pt>
                <c:pt idx="6681">
                  <c:v>44.845-44.852</c:v>
                </c:pt>
                <c:pt idx="6682">
                  <c:v>44.852-44.858</c:v>
                </c:pt>
                <c:pt idx="6683">
                  <c:v>44.858-44.865</c:v>
                </c:pt>
                <c:pt idx="6684">
                  <c:v>44.865-44.872</c:v>
                </c:pt>
                <c:pt idx="6685">
                  <c:v>44.872-44.878</c:v>
                </c:pt>
                <c:pt idx="6686">
                  <c:v>44.878-44.885</c:v>
                </c:pt>
                <c:pt idx="6687">
                  <c:v>44.885-44.892</c:v>
                </c:pt>
                <c:pt idx="6688">
                  <c:v>44.892-44.899</c:v>
                </c:pt>
                <c:pt idx="6689">
                  <c:v>44.899-44.905</c:v>
                </c:pt>
                <c:pt idx="6690">
                  <c:v>44.905-44.912</c:v>
                </c:pt>
                <c:pt idx="6691">
                  <c:v>44.912-44.919</c:v>
                </c:pt>
                <c:pt idx="6692">
                  <c:v>44.919-44.925</c:v>
                </c:pt>
                <c:pt idx="6693">
                  <c:v>44.925-44.932</c:v>
                </c:pt>
                <c:pt idx="6694">
                  <c:v>44.932-44.939</c:v>
                </c:pt>
                <c:pt idx="6695">
                  <c:v>44.939-44.946</c:v>
                </c:pt>
                <c:pt idx="6696">
                  <c:v>44.946-44.952</c:v>
                </c:pt>
                <c:pt idx="6697">
                  <c:v>44.952-44.959</c:v>
                </c:pt>
                <c:pt idx="6698">
                  <c:v>44.959-44.966</c:v>
                </c:pt>
                <c:pt idx="6699">
                  <c:v>44.966-44.972</c:v>
                </c:pt>
                <c:pt idx="6700">
                  <c:v>44.972-44.979</c:v>
                </c:pt>
                <c:pt idx="6701">
                  <c:v>44.979-44.986</c:v>
                </c:pt>
                <c:pt idx="6702">
                  <c:v>44.986-44.992</c:v>
                </c:pt>
                <c:pt idx="6703">
                  <c:v>44.992-44.999</c:v>
                </c:pt>
                <c:pt idx="6704">
                  <c:v>44.999-45.006</c:v>
                </c:pt>
                <c:pt idx="6705">
                  <c:v>45.006-45.013</c:v>
                </c:pt>
                <c:pt idx="6706">
                  <c:v>45.013-45.019</c:v>
                </c:pt>
                <c:pt idx="6707">
                  <c:v>45.019-45.026</c:v>
                </c:pt>
                <c:pt idx="6708">
                  <c:v>45.026-45.033</c:v>
                </c:pt>
                <c:pt idx="6709">
                  <c:v>45.033-45.039</c:v>
                </c:pt>
                <c:pt idx="6710">
                  <c:v>45.039-45.046</c:v>
                </c:pt>
                <c:pt idx="6711">
                  <c:v>45.046-45.053</c:v>
                </c:pt>
                <c:pt idx="6712">
                  <c:v>45.053-45.060</c:v>
                </c:pt>
                <c:pt idx="6713">
                  <c:v>45.060-45.066</c:v>
                </c:pt>
                <c:pt idx="6714">
                  <c:v>45.066-45.073</c:v>
                </c:pt>
                <c:pt idx="6715">
                  <c:v>45.073-45.080</c:v>
                </c:pt>
                <c:pt idx="6716">
                  <c:v>45.080-45.086</c:v>
                </c:pt>
                <c:pt idx="6717">
                  <c:v>45.086-45.093</c:v>
                </c:pt>
                <c:pt idx="6718">
                  <c:v>45.093-45.100</c:v>
                </c:pt>
                <c:pt idx="6719">
                  <c:v>45.100-45.107</c:v>
                </c:pt>
                <c:pt idx="6720">
                  <c:v>45.107-45.113</c:v>
                </c:pt>
                <c:pt idx="6721">
                  <c:v>45.113-45.120</c:v>
                </c:pt>
                <c:pt idx="6722">
                  <c:v>45.120-45.127</c:v>
                </c:pt>
                <c:pt idx="6723">
                  <c:v>45.127-45.133</c:v>
                </c:pt>
                <c:pt idx="6724">
                  <c:v>45.133-45.140</c:v>
                </c:pt>
                <c:pt idx="6725">
                  <c:v>45.140-45.147</c:v>
                </c:pt>
                <c:pt idx="6726">
                  <c:v>45.147-45.154</c:v>
                </c:pt>
                <c:pt idx="6727">
                  <c:v>45.154-45.160</c:v>
                </c:pt>
                <c:pt idx="6728">
                  <c:v>45.160-45.167</c:v>
                </c:pt>
                <c:pt idx="6729">
                  <c:v>45.167-45.174</c:v>
                </c:pt>
                <c:pt idx="6730">
                  <c:v>45.174-45.180</c:v>
                </c:pt>
                <c:pt idx="6731">
                  <c:v>45.180-45.187</c:v>
                </c:pt>
                <c:pt idx="6732">
                  <c:v>45.187-45.194</c:v>
                </c:pt>
                <c:pt idx="6733">
                  <c:v>45.194-45.201</c:v>
                </c:pt>
                <c:pt idx="6734">
                  <c:v>45.201-45.207</c:v>
                </c:pt>
                <c:pt idx="6735">
                  <c:v>45.207-45.214</c:v>
                </c:pt>
                <c:pt idx="6736">
                  <c:v>45.214-45.221</c:v>
                </c:pt>
                <c:pt idx="6737">
                  <c:v>45.221-45.227</c:v>
                </c:pt>
                <c:pt idx="6738">
                  <c:v>45.227-45.234</c:v>
                </c:pt>
                <c:pt idx="6739">
                  <c:v>45.234-45.241</c:v>
                </c:pt>
                <c:pt idx="6740">
                  <c:v>45.241-45.248</c:v>
                </c:pt>
                <c:pt idx="6741">
                  <c:v>45.248-45.254</c:v>
                </c:pt>
                <c:pt idx="6742">
                  <c:v>45.254-45.261</c:v>
                </c:pt>
                <c:pt idx="6743">
                  <c:v>45.261-45.268</c:v>
                </c:pt>
                <c:pt idx="6744">
                  <c:v>45.268-45.274</c:v>
                </c:pt>
                <c:pt idx="6745">
                  <c:v>45.274-45.281</c:v>
                </c:pt>
                <c:pt idx="6746">
                  <c:v>45.281-45.288</c:v>
                </c:pt>
                <c:pt idx="6747">
                  <c:v>45.288-45.294</c:v>
                </c:pt>
                <c:pt idx="6748">
                  <c:v>45.294-45.301</c:v>
                </c:pt>
                <c:pt idx="6749">
                  <c:v>45.301-45.308</c:v>
                </c:pt>
                <c:pt idx="6750">
                  <c:v>45.308-45.315</c:v>
                </c:pt>
                <c:pt idx="6751">
                  <c:v>45.315-45.321</c:v>
                </c:pt>
                <c:pt idx="6752">
                  <c:v>45.321-45.328</c:v>
                </c:pt>
                <c:pt idx="6753">
                  <c:v>45.328-45.335</c:v>
                </c:pt>
                <c:pt idx="6754">
                  <c:v>45.335-45.341</c:v>
                </c:pt>
                <c:pt idx="6755">
                  <c:v>45.341-45.348</c:v>
                </c:pt>
                <c:pt idx="6756">
                  <c:v>45.348-45.355</c:v>
                </c:pt>
                <c:pt idx="6757">
                  <c:v>45.355-45.362</c:v>
                </c:pt>
                <c:pt idx="6758">
                  <c:v>45.362-45.368</c:v>
                </c:pt>
                <c:pt idx="6759">
                  <c:v>45.368-45.375</c:v>
                </c:pt>
                <c:pt idx="6760">
                  <c:v>45.375-45.382</c:v>
                </c:pt>
                <c:pt idx="6761">
                  <c:v>45.382-45.388</c:v>
                </c:pt>
                <c:pt idx="6762">
                  <c:v>45.388-45.395</c:v>
                </c:pt>
                <c:pt idx="6763">
                  <c:v>45.395-45.402</c:v>
                </c:pt>
                <c:pt idx="6764">
                  <c:v>45.402-45.409</c:v>
                </c:pt>
                <c:pt idx="6765">
                  <c:v>45.409-45.415</c:v>
                </c:pt>
                <c:pt idx="6766">
                  <c:v>45.415-45.422</c:v>
                </c:pt>
                <c:pt idx="6767">
                  <c:v>45.422-45.429</c:v>
                </c:pt>
                <c:pt idx="6768">
                  <c:v>45.429-45.435</c:v>
                </c:pt>
                <c:pt idx="6769">
                  <c:v>45.435-45.442</c:v>
                </c:pt>
                <c:pt idx="6770">
                  <c:v>45.442-45.449</c:v>
                </c:pt>
                <c:pt idx="6771">
                  <c:v>45.449-45.456</c:v>
                </c:pt>
                <c:pt idx="6772">
                  <c:v>45.456-45.462</c:v>
                </c:pt>
                <c:pt idx="6773">
                  <c:v>45.462-45.469</c:v>
                </c:pt>
                <c:pt idx="6774">
                  <c:v>45.469-45.476</c:v>
                </c:pt>
                <c:pt idx="6775">
                  <c:v>45.476-45.482</c:v>
                </c:pt>
                <c:pt idx="6776">
                  <c:v>45.482-45.489</c:v>
                </c:pt>
                <c:pt idx="6777">
                  <c:v>45.489-45.496</c:v>
                </c:pt>
                <c:pt idx="6778">
                  <c:v>45.496-45.503</c:v>
                </c:pt>
                <c:pt idx="6779">
                  <c:v>45.503-45.509</c:v>
                </c:pt>
                <c:pt idx="6780">
                  <c:v>45.509-45.516</c:v>
                </c:pt>
                <c:pt idx="6781">
                  <c:v>45.516-45.523</c:v>
                </c:pt>
                <c:pt idx="6782">
                  <c:v>45.523-45.529</c:v>
                </c:pt>
                <c:pt idx="6783">
                  <c:v>45.529-45.536</c:v>
                </c:pt>
                <c:pt idx="6784">
                  <c:v>45.536-45.543</c:v>
                </c:pt>
                <c:pt idx="6785">
                  <c:v>45.543-45.549</c:v>
                </c:pt>
                <c:pt idx="6786">
                  <c:v>45.549-45.556</c:v>
                </c:pt>
                <c:pt idx="6787">
                  <c:v>45.556-45.563</c:v>
                </c:pt>
                <c:pt idx="6788">
                  <c:v>45.563-45.570</c:v>
                </c:pt>
                <c:pt idx="6789">
                  <c:v>45.570-45.576</c:v>
                </c:pt>
                <c:pt idx="6790">
                  <c:v>45.576-45.583</c:v>
                </c:pt>
                <c:pt idx="6791">
                  <c:v>45.583-45.590</c:v>
                </c:pt>
                <c:pt idx="6792">
                  <c:v>45.590-45.596</c:v>
                </c:pt>
                <c:pt idx="6793">
                  <c:v>45.596-45.603</c:v>
                </c:pt>
                <c:pt idx="6794">
                  <c:v>45.603-45.610</c:v>
                </c:pt>
                <c:pt idx="6795">
                  <c:v>45.610-45.617</c:v>
                </c:pt>
                <c:pt idx="6796">
                  <c:v>45.617-45.623</c:v>
                </c:pt>
                <c:pt idx="6797">
                  <c:v>45.623-45.630</c:v>
                </c:pt>
                <c:pt idx="6798">
                  <c:v>45.630-45.637</c:v>
                </c:pt>
                <c:pt idx="6799">
                  <c:v>45.637-45.643</c:v>
                </c:pt>
                <c:pt idx="6800">
                  <c:v>45.643-45.650</c:v>
                </c:pt>
                <c:pt idx="6801">
                  <c:v>45.650-45.657</c:v>
                </c:pt>
                <c:pt idx="6802">
                  <c:v>45.657-45.664</c:v>
                </c:pt>
                <c:pt idx="6803">
                  <c:v>45.664-45.670</c:v>
                </c:pt>
                <c:pt idx="6804">
                  <c:v>45.670-45.677</c:v>
                </c:pt>
                <c:pt idx="6805">
                  <c:v>45.677-45.684</c:v>
                </c:pt>
                <c:pt idx="6806">
                  <c:v>45.684-45.690</c:v>
                </c:pt>
                <c:pt idx="6807">
                  <c:v>45.690-45.697</c:v>
                </c:pt>
                <c:pt idx="6808">
                  <c:v>45.697-45.704</c:v>
                </c:pt>
                <c:pt idx="6809">
                  <c:v>45.704-45.711</c:v>
                </c:pt>
                <c:pt idx="6810">
                  <c:v>45.711-45.717</c:v>
                </c:pt>
                <c:pt idx="6811">
                  <c:v>45.717-45.724</c:v>
                </c:pt>
                <c:pt idx="6812">
                  <c:v>45.724-45.731</c:v>
                </c:pt>
                <c:pt idx="6813">
                  <c:v>45.731-45.737</c:v>
                </c:pt>
                <c:pt idx="6814">
                  <c:v>45.737-45.744</c:v>
                </c:pt>
                <c:pt idx="6815">
                  <c:v>45.744-45.751</c:v>
                </c:pt>
                <c:pt idx="6816">
                  <c:v>45.751-45.758</c:v>
                </c:pt>
                <c:pt idx="6817">
                  <c:v>45.758-45.764</c:v>
                </c:pt>
                <c:pt idx="6818">
                  <c:v>45.764-45.771</c:v>
                </c:pt>
                <c:pt idx="6819">
                  <c:v>45.771-45.778</c:v>
                </c:pt>
                <c:pt idx="6820">
                  <c:v>45.778-45.784</c:v>
                </c:pt>
                <c:pt idx="6821">
                  <c:v>45.784-45.791</c:v>
                </c:pt>
                <c:pt idx="6822">
                  <c:v>45.791-45.798</c:v>
                </c:pt>
                <c:pt idx="6823">
                  <c:v>45.798-45.804</c:v>
                </c:pt>
                <c:pt idx="6824">
                  <c:v>45.804-45.811</c:v>
                </c:pt>
                <c:pt idx="6825">
                  <c:v>45.811-45.818</c:v>
                </c:pt>
                <c:pt idx="6826">
                  <c:v>45.818-45.825</c:v>
                </c:pt>
                <c:pt idx="6827">
                  <c:v>45.825-45.831</c:v>
                </c:pt>
                <c:pt idx="6828">
                  <c:v>45.831-45.838</c:v>
                </c:pt>
                <c:pt idx="6829">
                  <c:v>45.838-45.845</c:v>
                </c:pt>
                <c:pt idx="6830">
                  <c:v>45.845-45.851</c:v>
                </c:pt>
                <c:pt idx="6831">
                  <c:v>45.851-45.858</c:v>
                </c:pt>
                <c:pt idx="6832">
                  <c:v>45.858-45.865</c:v>
                </c:pt>
                <c:pt idx="6833">
                  <c:v>45.865-45.872</c:v>
                </c:pt>
                <c:pt idx="6834">
                  <c:v>45.872-45.878</c:v>
                </c:pt>
                <c:pt idx="6835">
                  <c:v>45.878-45.885</c:v>
                </c:pt>
                <c:pt idx="6836">
                  <c:v>45.885-45.892</c:v>
                </c:pt>
                <c:pt idx="6837">
                  <c:v>45.892-45.898</c:v>
                </c:pt>
                <c:pt idx="6838">
                  <c:v>45.898-45.905</c:v>
                </c:pt>
                <c:pt idx="6839">
                  <c:v>45.905-45.912</c:v>
                </c:pt>
                <c:pt idx="6840">
                  <c:v>45.912-45.919</c:v>
                </c:pt>
                <c:pt idx="6841">
                  <c:v>45.919-45.925</c:v>
                </c:pt>
                <c:pt idx="6842">
                  <c:v>45.925-45.932</c:v>
                </c:pt>
                <c:pt idx="6843">
                  <c:v>45.932-45.939</c:v>
                </c:pt>
                <c:pt idx="6844">
                  <c:v>45.939-45.945</c:v>
                </c:pt>
                <c:pt idx="6845">
                  <c:v>45.945-45.952</c:v>
                </c:pt>
                <c:pt idx="6846">
                  <c:v>45.952-45.959</c:v>
                </c:pt>
                <c:pt idx="6847">
                  <c:v>45.959-45.966</c:v>
                </c:pt>
                <c:pt idx="6848">
                  <c:v>45.966-45.972</c:v>
                </c:pt>
                <c:pt idx="6849">
                  <c:v>45.972-45.979</c:v>
                </c:pt>
                <c:pt idx="6850">
                  <c:v>45.979-45.986</c:v>
                </c:pt>
                <c:pt idx="6851">
                  <c:v>45.986-45.992</c:v>
                </c:pt>
                <c:pt idx="6852">
                  <c:v>45.992-45.999</c:v>
                </c:pt>
                <c:pt idx="6853">
                  <c:v>45.999-46.006</c:v>
                </c:pt>
                <c:pt idx="6854">
                  <c:v>46.006-46.013</c:v>
                </c:pt>
                <c:pt idx="6855">
                  <c:v>46.013-46.019</c:v>
                </c:pt>
                <c:pt idx="6856">
                  <c:v>46.019-46.026</c:v>
                </c:pt>
                <c:pt idx="6857">
                  <c:v>46.026-46.033</c:v>
                </c:pt>
                <c:pt idx="6858">
                  <c:v>46.033-46.039</c:v>
                </c:pt>
                <c:pt idx="6859">
                  <c:v>46.039-46.046</c:v>
                </c:pt>
                <c:pt idx="6860">
                  <c:v>46.046-46.053</c:v>
                </c:pt>
                <c:pt idx="6861">
                  <c:v>46.053-46.060</c:v>
                </c:pt>
                <c:pt idx="6862">
                  <c:v>46.060-46.066</c:v>
                </c:pt>
                <c:pt idx="6863">
                  <c:v>46.066-46.073</c:v>
                </c:pt>
                <c:pt idx="6864">
                  <c:v>46.073-46.080</c:v>
                </c:pt>
                <c:pt idx="6865">
                  <c:v>46.080-46.086</c:v>
                </c:pt>
                <c:pt idx="6866">
                  <c:v>46.086-46.093</c:v>
                </c:pt>
                <c:pt idx="6867">
                  <c:v>46.093-46.100</c:v>
                </c:pt>
                <c:pt idx="6868">
                  <c:v>46.100-46.106</c:v>
                </c:pt>
                <c:pt idx="6869">
                  <c:v>46.106-46.113</c:v>
                </c:pt>
                <c:pt idx="6870">
                  <c:v>46.113-46.120</c:v>
                </c:pt>
                <c:pt idx="6871">
                  <c:v>46.120-46.127</c:v>
                </c:pt>
                <c:pt idx="6872">
                  <c:v>46.127-46.133</c:v>
                </c:pt>
                <c:pt idx="6873">
                  <c:v>46.133-46.140</c:v>
                </c:pt>
                <c:pt idx="6874">
                  <c:v>46.140-46.147</c:v>
                </c:pt>
                <c:pt idx="6875">
                  <c:v>46.147-46.153</c:v>
                </c:pt>
                <c:pt idx="6876">
                  <c:v>46.153-46.160</c:v>
                </c:pt>
                <c:pt idx="6877">
                  <c:v>46.160-46.167</c:v>
                </c:pt>
                <c:pt idx="6878">
                  <c:v>46.167-46.174</c:v>
                </c:pt>
                <c:pt idx="6879">
                  <c:v>46.174-46.180</c:v>
                </c:pt>
                <c:pt idx="6880">
                  <c:v>46.180-46.187</c:v>
                </c:pt>
                <c:pt idx="6881">
                  <c:v>46.187-46.194</c:v>
                </c:pt>
                <c:pt idx="6882">
                  <c:v>46.194-46.200</c:v>
                </c:pt>
                <c:pt idx="6883">
                  <c:v>46.200-46.207</c:v>
                </c:pt>
                <c:pt idx="6884">
                  <c:v>46.207-46.214</c:v>
                </c:pt>
                <c:pt idx="6885">
                  <c:v>46.214-46.221</c:v>
                </c:pt>
                <c:pt idx="6886">
                  <c:v>46.221-46.227</c:v>
                </c:pt>
                <c:pt idx="6887">
                  <c:v>46.227-46.234</c:v>
                </c:pt>
                <c:pt idx="6888">
                  <c:v>46.234-46.241</c:v>
                </c:pt>
                <c:pt idx="6889">
                  <c:v>46.241-46.247</c:v>
                </c:pt>
                <c:pt idx="6890">
                  <c:v>46.247-46.254</c:v>
                </c:pt>
                <c:pt idx="6891">
                  <c:v>46.254-46.261</c:v>
                </c:pt>
                <c:pt idx="6892">
                  <c:v>46.261-46.268</c:v>
                </c:pt>
                <c:pt idx="6893">
                  <c:v>46.268-46.274</c:v>
                </c:pt>
                <c:pt idx="6894">
                  <c:v>46.274-46.281</c:v>
                </c:pt>
                <c:pt idx="6895">
                  <c:v>46.281-46.288</c:v>
                </c:pt>
                <c:pt idx="6896">
                  <c:v>46.288-46.294</c:v>
                </c:pt>
                <c:pt idx="6897">
                  <c:v>46.294-46.301</c:v>
                </c:pt>
                <c:pt idx="6898">
                  <c:v>46.301-46.308</c:v>
                </c:pt>
                <c:pt idx="6899">
                  <c:v>46.308-46.315</c:v>
                </c:pt>
                <c:pt idx="6900">
                  <c:v>46.315-46.321</c:v>
                </c:pt>
                <c:pt idx="6901">
                  <c:v>46.321-46.328</c:v>
                </c:pt>
                <c:pt idx="6902">
                  <c:v>46.328-46.335</c:v>
                </c:pt>
                <c:pt idx="6903">
                  <c:v>46.335-46.341</c:v>
                </c:pt>
                <c:pt idx="6904">
                  <c:v>46.341-46.348</c:v>
                </c:pt>
                <c:pt idx="6905">
                  <c:v>46.348-46.355</c:v>
                </c:pt>
                <c:pt idx="6906">
                  <c:v>46.355-46.361</c:v>
                </c:pt>
                <c:pt idx="6907">
                  <c:v>46.361-46.368</c:v>
                </c:pt>
                <c:pt idx="6908">
                  <c:v>46.368-46.375</c:v>
                </c:pt>
                <c:pt idx="6909">
                  <c:v>46.375-46.382</c:v>
                </c:pt>
                <c:pt idx="6910">
                  <c:v>46.382-46.388</c:v>
                </c:pt>
                <c:pt idx="6911">
                  <c:v>46.388-46.395</c:v>
                </c:pt>
                <c:pt idx="6912">
                  <c:v>46.395-46.402</c:v>
                </c:pt>
                <c:pt idx="6913">
                  <c:v>46.402-46.408</c:v>
                </c:pt>
                <c:pt idx="6914">
                  <c:v>46.408-46.415</c:v>
                </c:pt>
                <c:pt idx="6915">
                  <c:v>46.415-46.422</c:v>
                </c:pt>
                <c:pt idx="6916">
                  <c:v>46.422-46.429</c:v>
                </c:pt>
                <c:pt idx="6917">
                  <c:v>46.429-46.435</c:v>
                </c:pt>
                <c:pt idx="6918">
                  <c:v>46.435-46.442</c:v>
                </c:pt>
                <c:pt idx="6919">
                  <c:v>46.442-46.449</c:v>
                </c:pt>
                <c:pt idx="6920">
                  <c:v>46.449-46.455</c:v>
                </c:pt>
                <c:pt idx="6921">
                  <c:v>46.455-46.462</c:v>
                </c:pt>
                <c:pt idx="6922">
                  <c:v>46.462-46.469</c:v>
                </c:pt>
                <c:pt idx="6923">
                  <c:v>46.469-46.476</c:v>
                </c:pt>
                <c:pt idx="6924">
                  <c:v>46.476-46.482</c:v>
                </c:pt>
                <c:pt idx="6925">
                  <c:v>46.482-46.489</c:v>
                </c:pt>
                <c:pt idx="6926">
                  <c:v>46.489-46.496</c:v>
                </c:pt>
                <c:pt idx="6927">
                  <c:v>46.496-46.502</c:v>
                </c:pt>
                <c:pt idx="6928">
                  <c:v>46.502-46.509</c:v>
                </c:pt>
                <c:pt idx="6929">
                  <c:v>46.509-46.516</c:v>
                </c:pt>
                <c:pt idx="6930">
                  <c:v>46.516-46.523</c:v>
                </c:pt>
                <c:pt idx="6931">
                  <c:v>46.523-46.529</c:v>
                </c:pt>
                <c:pt idx="6932">
                  <c:v>46.529-46.536</c:v>
                </c:pt>
                <c:pt idx="6933">
                  <c:v>46.536-46.543</c:v>
                </c:pt>
                <c:pt idx="6934">
                  <c:v>46.543-46.549</c:v>
                </c:pt>
                <c:pt idx="6935">
                  <c:v>46.549-46.556</c:v>
                </c:pt>
                <c:pt idx="6936">
                  <c:v>46.556-46.563</c:v>
                </c:pt>
                <c:pt idx="6937">
                  <c:v>46.563-46.570</c:v>
                </c:pt>
                <c:pt idx="6938">
                  <c:v>46.570-46.576</c:v>
                </c:pt>
                <c:pt idx="6939">
                  <c:v>46.576-46.583</c:v>
                </c:pt>
                <c:pt idx="6940">
                  <c:v>46.583-46.590</c:v>
                </c:pt>
                <c:pt idx="6941">
                  <c:v>46.590-46.596</c:v>
                </c:pt>
                <c:pt idx="6942">
                  <c:v>46.596-46.603</c:v>
                </c:pt>
                <c:pt idx="6943">
                  <c:v>46.603-46.610</c:v>
                </c:pt>
                <c:pt idx="6944">
                  <c:v>46.610-46.617</c:v>
                </c:pt>
                <c:pt idx="6945">
                  <c:v>46.617-46.623</c:v>
                </c:pt>
                <c:pt idx="6946">
                  <c:v>46.623-46.630</c:v>
                </c:pt>
                <c:pt idx="6947">
                  <c:v>46.630-46.637</c:v>
                </c:pt>
                <c:pt idx="6948">
                  <c:v>46.637-46.643</c:v>
                </c:pt>
                <c:pt idx="6949">
                  <c:v>46.643-46.650</c:v>
                </c:pt>
                <c:pt idx="6950">
                  <c:v>46.650-46.657</c:v>
                </c:pt>
                <c:pt idx="6951">
                  <c:v>46.657-46.663</c:v>
                </c:pt>
                <c:pt idx="6952">
                  <c:v>46.663-46.670</c:v>
                </c:pt>
                <c:pt idx="6953">
                  <c:v>46.670-46.677</c:v>
                </c:pt>
                <c:pt idx="6954">
                  <c:v>46.677-46.684</c:v>
                </c:pt>
                <c:pt idx="6955">
                  <c:v>46.684-46.690</c:v>
                </c:pt>
                <c:pt idx="6956">
                  <c:v>46.690-46.697</c:v>
                </c:pt>
                <c:pt idx="6957">
                  <c:v>46.697-46.704</c:v>
                </c:pt>
                <c:pt idx="6958">
                  <c:v>46.704-46.710</c:v>
                </c:pt>
                <c:pt idx="6959">
                  <c:v>46.710-46.717</c:v>
                </c:pt>
                <c:pt idx="6960">
                  <c:v>46.717-46.724</c:v>
                </c:pt>
                <c:pt idx="6961">
                  <c:v>46.724-46.731</c:v>
                </c:pt>
                <c:pt idx="6962">
                  <c:v>46.731-46.737</c:v>
                </c:pt>
                <c:pt idx="6963">
                  <c:v>46.737-46.744</c:v>
                </c:pt>
                <c:pt idx="6964">
                  <c:v>46.744-46.751</c:v>
                </c:pt>
                <c:pt idx="6965">
                  <c:v>46.751-46.757</c:v>
                </c:pt>
                <c:pt idx="6966">
                  <c:v>46.757-46.764</c:v>
                </c:pt>
                <c:pt idx="6967">
                  <c:v>46.764-46.771</c:v>
                </c:pt>
                <c:pt idx="6968">
                  <c:v>46.771-46.778</c:v>
                </c:pt>
                <c:pt idx="6969">
                  <c:v>46.778-46.784</c:v>
                </c:pt>
                <c:pt idx="6970">
                  <c:v>46.784-46.791</c:v>
                </c:pt>
                <c:pt idx="6971">
                  <c:v>46.791-46.798</c:v>
                </c:pt>
                <c:pt idx="6972">
                  <c:v>46.798-46.804</c:v>
                </c:pt>
                <c:pt idx="6973">
                  <c:v>46.804-46.811</c:v>
                </c:pt>
                <c:pt idx="6974">
                  <c:v>46.811-46.818</c:v>
                </c:pt>
                <c:pt idx="6975">
                  <c:v>46.818-46.825</c:v>
                </c:pt>
                <c:pt idx="6976">
                  <c:v>46.825-46.831</c:v>
                </c:pt>
                <c:pt idx="6977">
                  <c:v>46.831-46.838</c:v>
                </c:pt>
                <c:pt idx="6978">
                  <c:v>46.838-46.845</c:v>
                </c:pt>
                <c:pt idx="6979">
                  <c:v>46.845-46.851</c:v>
                </c:pt>
                <c:pt idx="6980">
                  <c:v>46.851-46.858</c:v>
                </c:pt>
                <c:pt idx="6981">
                  <c:v>46.858-46.865</c:v>
                </c:pt>
                <c:pt idx="6982">
                  <c:v>46.865-46.872</c:v>
                </c:pt>
                <c:pt idx="6983">
                  <c:v>46.872-46.878</c:v>
                </c:pt>
                <c:pt idx="6984">
                  <c:v>46.878-46.885</c:v>
                </c:pt>
                <c:pt idx="6985">
                  <c:v>46.885-46.892</c:v>
                </c:pt>
                <c:pt idx="6986">
                  <c:v>46.892-46.898</c:v>
                </c:pt>
                <c:pt idx="6987">
                  <c:v>46.898-46.905</c:v>
                </c:pt>
                <c:pt idx="6988">
                  <c:v>46.905-46.912</c:v>
                </c:pt>
                <c:pt idx="6989">
                  <c:v>46.912-46.918</c:v>
                </c:pt>
                <c:pt idx="6990">
                  <c:v>46.918-46.925</c:v>
                </c:pt>
                <c:pt idx="6991">
                  <c:v>46.925-46.932</c:v>
                </c:pt>
                <c:pt idx="6992">
                  <c:v>46.932-46.939</c:v>
                </c:pt>
                <c:pt idx="6993">
                  <c:v>46.939-46.945</c:v>
                </c:pt>
                <c:pt idx="6994">
                  <c:v>46.945-46.952</c:v>
                </c:pt>
                <c:pt idx="6995">
                  <c:v>46.952-46.959</c:v>
                </c:pt>
                <c:pt idx="6996">
                  <c:v>46.959-46.965</c:v>
                </c:pt>
                <c:pt idx="6997">
                  <c:v>46.965-46.972</c:v>
                </c:pt>
                <c:pt idx="6998">
                  <c:v>46.972-46.979</c:v>
                </c:pt>
                <c:pt idx="6999">
                  <c:v>46.979-46.986</c:v>
                </c:pt>
                <c:pt idx="7000">
                  <c:v>46.986-46.992</c:v>
                </c:pt>
                <c:pt idx="7001">
                  <c:v>46.992-46.999</c:v>
                </c:pt>
                <c:pt idx="7002">
                  <c:v>46.999-47.006</c:v>
                </c:pt>
                <c:pt idx="7003">
                  <c:v>47.006-47.012</c:v>
                </c:pt>
                <c:pt idx="7004">
                  <c:v>47.012-47.019</c:v>
                </c:pt>
                <c:pt idx="7005">
                  <c:v>47.019-47.026</c:v>
                </c:pt>
                <c:pt idx="7006">
                  <c:v>47.026-47.033</c:v>
                </c:pt>
                <c:pt idx="7007">
                  <c:v>47.033-47.039</c:v>
                </c:pt>
                <c:pt idx="7008">
                  <c:v>47.039-47.046</c:v>
                </c:pt>
                <c:pt idx="7009">
                  <c:v>47.046-47.053</c:v>
                </c:pt>
                <c:pt idx="7010">
                  <c:v>47.053-47.059</c:v>
                </c:pt>
                <c:pt idx="7011">
                  <c:v>47.059-47.066</c:v>
                </c:pt>
                <c:pt idx="7012">
                  <c:v>47.066-47.073</c:v>
                </c:pt>
                <c:pt idx="7013">
                  <c:v>47.073-47.080</c:v>
                </c:pt>
                <c:pt idx="7014">
                  <c:v>47.080-47.086</c:v>
                </c:pt>
                <c:pt idx="7015">
                  <c:v>47.086-47.093</c:v>
                </c:pt>
                <c:pt idx="7016">
                  <c:v>47.093-47.100</c:v>
                </c:pt>
                <c:pt idx="7017">
                  <c:v>47.100-47.106</c:v>
                </c:pt>
                <c:pt idx="7018">
                  <c:v>47.106-47.113</c:v>
                </c:pt>
                <c:pt idx="7019">
                  <c:v>47.113-47.120</c:v>
                </c:pt>
                <c:pt idx="7020">
                  <c:v>47.120-47.127</c:v>
                </c:pt>
                <c:pt idx="7021">
                  <c:v>47.127-47.133</c:v>
                </c:pt>
                <c:pt idx="7022">
                  <c:v>47.133-47.140</c:v>
                </c:pt>
                <c:pt idx="7023">
                  <c:v>47.140-47.147</c:v>
                </c:pt>
                <c:pt idx="7024">
                  <c:v>47.147-47.153</c:v>
                </c:pt>
                <c:pt idx="7025">
                  <c:v>47.153-47.160</c:v>
                </c:pt>
                <c:pt idx="7026">
                  <c:v>47.160-47.167</c:v>
                </c:pt>
                <c:pt idx="7027">
                  <c:v>47.167-47.174</c:v>
                </c:pt>
                <c:pt idx="7028">
                  <c:v>47.174-47.180</c:v>
                </c:pt>
                <c:pt idx="7029">
                  <c:v>47.180-47.187</c:v>
                </c:pt>
                <c:pt idx="7030">
                  <c:v>47.187-47.194</c:v>
                </c:pt>
                <c:pt idx="7031">
                  <c:v>47.194-47.200</c:v>
                </c:pt>
                <c:pt idx="7032">
                  <c:v>47.200-47.207</c:v>
                </c:pt>
                <c:pt idx="7033">
                  <c:v>47.207-47.214</c:v>
                </c:pt>
                <c:pt idx="7034">
                  <c:v>47.214-47.220</c:v>
                </c:pt>
                <c:pt idx="7035">
                  <c:v>47.220-47.227</c:v>
                </c:pt>
                <c:pt idx="7036">
                  <c:v>47.227-47.234</c:v>
                </c:pt>
                <c:pt idx="7037">
                  <c:v>47.234-47.241</c:v>
                </c:pt>
                <c:pt idx="7038">
                  <c:v>47.241-47.247</c:v>
                </c:pt>
                <c:pt idx="7039">
                  <c:v>47.247-47.254</c:v>
                </c:pt>
                <c:pt idx="7040">
                  <c:v>47.254-47.261</c:v>
                </c:pt>
                <c:pt idx="7041">
                  <c:v>47.261-47.267</c:v>
                </c:pt>
                <c:pt idx="7042">
                  <c:v>47.267-47.274</c:v>
                </c:pt>
                <c:pt idx="7043">
                  <c:v>47.274-47.281</c:v>
                </c:pt>
                <c:pt idx="7044">
                  <c:v>47.281-47.288</c:v>
                </c:pt>
                <c:pt idx="7045">
                  <c:v>47.288-47.294</c:v>
                </c:pt>
                <c:pt idx="7046">
                  <c:v>47.294-47.301</c:v>
                </c:pt>
                <c:pt idx="7047">
                  <c:v>47.301-47.308</c:v>
                </c:pt>
                <c:pt idx="7048">
                  <c:v>47.308-47.314</c:v>
                </c:pt>
                <c:pt idx="7049">
                  <c:v>47.314-47.321</c:v>
                </c:pt>
                <c:pt idx="7050">
                  <c:v>47.321-47.328</c:v>
                </c:pt>
                <c:pt idx="7051">
                  <c:v>47.328-47.335</c:v>
                </c:pt>
                <c:pt idx="7052">
                  <c:v>47.335-47.341</c:v>
                </c:pt>
                <c:pt idx="7053">
                  <c:v>47.341-47.348</c:v>
                </c:pt>
                <c:pt idx="7054">
                  <c:v>47.348-47.355</c:v>
                </c:pt>
                <c:pt idx="7055">
                  <c:v>47.355-47.361</c:v>
                </c:pt>
                <c:pt idx="7056">
                  <c:v>47.361-47.368</c:v>
                </c:pt>
                <c:pt idx="7057">
                  <c:v>47.368-47.375</c:v>
                </c:pt>
                <c:pt idx="7058">
                  <c:v>47.375-47.382</c:v>
                </c:pt>
                <c:pt idx="7059">
                  <c:v>47.382-47.388</c:v>
                </c:pt>
                <c:pt idx="7060">
                  <c:v>47.388-47.395</c:v>
                </c:pt>
                <c:pt idx="7061">
                  <c:v>47.395-47.402</c:v>
                </c:pt>
                <c:pt idx="7062">
                  <c:v>47.402-47.408</c:v>
                </c:pt>
                <c:pt idx="7063">
                  <c:v>47.408-47.415</c:v>
                </c:pt>
                <c:pt idx="7064">
                  <c:v>47.415-47.422</c:v>
                </c:pt>
                <c:pt idx="7065">
                  <c:v>47.422-47.429</c:v>
                </c:pt>
                <c:pt idx="7066">
                  <c:v>47.429-47.435</c:v>
                </c:pt>
                <c:pt idx="7067">
                  <c:v>47.435-47.442</c:v>
                </c:pt>
                <c:pt idx="7068">
                  <c:v>47.442-47.449</c:v>
                </c:pt>
                <c:pt idx="7069">
                  <c:v>47.449-47.455</c:v>
                </c:pt>
                <c:pt idx="7070">
                  <c:v>47.455-47.462</c:v>
                </c:pt>
                <c:pt idx="7071">
                  <c:v>47.462-47.469</c:v>
                </c:pt>
                <c:pt idx="7072">
                  <c:v>47.469-47.475</c:v>
                </c:pt>
                <c:pt idx="7073">
                  <c:v>47.475-47.482</c:v>
                </c:pt>
                <c:pt idx="7074">
                  <c:v>47.482-47.489</c:v>
                </c:pt>
                <c:pt idx="7075">
                  <c:v>47.489-47.496</c:v>
                </c:pt>
                <c:pt idx="7076">
                  <c:v>47.496-47.502</c:v>
                </c:pt>
                <c:pt idx="7077">
                  <c:v>47.502-47.509</c:v>
                </c:pt>
                <c:pt idx="7078">
                  <c:v>47.509-47.516</c:v>
                </c:pt>
                <c:pt idx="7079">
                  <c:v>47.516-47.522</c:v>
                </c:pt>
                <c:pt idx="7080">
                  <c:v>47.522-47.529</c:v>
                </c:pt>
                <c:pt idx="7081">
                  <c:v>47.529-47.536</c:v>
                </c:pt>
                <c:pt idx="7082">
                  <c:v>47.536-47.543</c:v>
                </c:pt>
                <c:pt idx="7083">
                  <c:v>47.543-47.549</c:v>
                </c:pt>
                <c:pt idx="7084">
                  <c:v>47.549-47.556</c:v>
                </c:pt>
                <c:pt idx="7085">
                  <c:v>47.556-47.563</c:v>
                </c:pt>
                <c:pt idx="7086">
                  <c:v>47.563-47.569</c:v>
                </c:pt>
                <c:pt idx="7087">
                  <c:v>47.569-47.576</c:v>
                </c:pt>
                <c:pt idx="7088">
                  <c:v>47.576-47.583</c:v>
                </c:pt>
                <c:pt idx="7089">
                  <c:v>47.583-47.590</c:v>
                </c:pt>
                <c:pt idx="7090">
                  <c:v>47.590-47.596</c:v>
                </c:pt>
                <c:pt idx="7091">
                  <c:v>47.596-47.603</c:v>
                </c:pt>
                <c:pt idx="7092">
                  <c:v>47.603-47.610</c:v>
                </c:pt>
                <c:pt idx="7093">
                  <c:v>47.610-47.616</c:v>
                </c:pt>
                <c:pt idx="7094">
                  <c:v>47.616-47.623</c:v>
                </c:pt>
                <c:pt idx="7095">
                  <c:v>47.623-47.630</c:v>
                </c:pt>
                <c:pt idx="7096">
                  <c:v>47.630-47.637</c:v>
                </c:pt>
                <c:pt idx="7097">
                  <c:v>47.637-47.643</c:v>
                </c:pt>
                <c:pt idx="7098">
                  <c:v>47.643-47.650</c:v>
                </c:pt>
                <c:pt idx="7099">
                  <c:v>47.650-47.657</c:v>
                </c:pt>
                <c:pt idx="7100">
                  <c:v>47.657-47.663</c:v>
                </c:pt>
                <c:pt idx="7101">
                  <c:v>47.663-47.670</c:v>
                </c:pt>
                <c:pt idx="7102">
                  <c:v>47.670-47.677</c:v>
                </c:pt>
                <c:pt idx="7103">
                  <c:v>47.677-47.684</c:v>
                </c:pt>
                <c:pt idx="7104">
                  <c:v>47.684-47.690</c:v>
                </c:pt>
                <c:pt idx="7105">
                  <c:v>47.690-47.697</c:v>
                </c:pt>
                <c:pt idx="7106">
                  <c:v>47.697-47.704</c:v>
                </c:pt>
                <c:pt idx="7107">
                  <c:v>47.704-47.710</c:v>
                </c:pt>
                <c:pt idx="7108">
                  <c:v>47.710-47.717</c:v>
                </c:pt>
                <c:pt idx="7109">
                  <c:v>47.717-47.724</c:v>
                </c:pt>
                <c:pt idx="7110">
                  <c:v>47.724-47.730</c:v>
                </c:pt>
                <c:pt idx="7111">
                  <c:v>47.730-47.737</c:v>
                </c:pt>
                <c:pt idx="7112">
                  <c:v>47.737-47.744</c:v>
                </c:pt>
                <c:pt idx="7113">
                  <c:v>47.744-47.751</c:v>
                </c:pt>
                <c:pt idx="7114">
                  <c:v>47.751-47.757</c:v>
                </c:pt>
                <c:pt idx="7115">
                  <c:v>47.757-47.764</c:v>
                </c:pt>
                <c:pt idx="7116">
                  <c:v>47.764-47.771</c:v>
                </c:pt>
                <c:pt idx="7117">
                  <c:v>47.771-47.777</c:v>
                </c:pt>
                <c:pt idx="7118">
                  <c:v>47.777-47.784</c:v>
                </c:pt>
                <c:pt idx="7119">
                  <c:v>47.784-47.791</c:v>
                </c:pt>
                <c:pt idx="7120">
                  <c:v>47.791-47.798</c:v>
                </c:pt>
                <c:pt idx="7121">
                  <c:v>47.798-47.804</c:v>
                </c:pt>
                <c:pt idx="7122">
                  <c:v>47.804-47.811</c:v>
                </c:pt>
                <c:pt idx="7123">
                  <c:v>47.811-47.818</c:v>
                </c:pt>
                <c:pt idx="7124">
                  <c:v>47.818-47.824</c:v>
                </c:pt>
                <c:pt idx="7125">
                  <c:v>47.824-47.831</c:v>
                </c:pt>
                <c:pt idx="7126">
                  <c:v>47.831-47.838</c:v>
                </c:pt>
                <c:pt idx="7127">
                  <c:v>47.838-47.845</c:v>
                </c:pt>
                <c:pt idx="7128">
                  <c:v>47.845-47.851</c:v>
                </c:pt>
                <c:pt idx="7129">
                  <c:v>47.851-47.858</c:v>
                </c:pt>
                <c:pt idx="7130">
                  <c:v>47.858-47.865</c:v>
                </c:pt>
                <c:pt idx="7131">
                  <c:v>47.865-47.871</c:v>
                </c:pt>
                <c:pt idx="7132">
                  <c:v>47.871-47.878</c:v>
                </c:pt>
                <c:pt idx="7133">
                  <c:v>47.878-47.885</c:v>
                </c:pt>
                <c:pt idx="7134">
                  <c:v>47.885-47.892</c:v>
                </c:pt>
                <c:pt idx="7135">
                  <c:v>47.892-47.898</c:v>
                </c:pt>
                <c:pt idx="7136">
                  <c:v>47.898-47.905</c:v>
                </c:pt>
                <c:pt idx="7137">
                  <c:v>47.905-47.912</c:v>
                </c:pt>
                <c:pt idx="7138">
                  <c:v>47.912-47.918</c:v>
                </c:pt>
                <c:pt idx="7139">
                  <c:v>47.918-47.925</c:v>
                </c:pt>
                <c:pt idx="7140">
                  <c:v>47.925-47.932</c:v>
                </c:pt>
                <c:pt idx="7141">
                  <c:v>47.932-47.939</c:v>
                </c:pt>
                <c:pt idx="7142">
                  <c:v>47.939-47.945</c:v>
                </c:pt>
                <c:pt idx="7143">
                  <c:v>47.945-47.952</c:v>
                </c:pt>
                <c:pt idx="7144">
                  <c:v>47.952-47.959</c:v>
                </c:pt>
                <c:pt idx="7145">
                  <c:v>47.959-47.965</c:v>
                </c:pt>
                <c:pt idx="7146">
                  <c:v>47.965-47.972</c:v>
                </c:pt>
                <c:pt idx="7147">
                  <c:v>47.972-47.979</c:v>
                </c:pt>
                <c:pt idx="7148">
                  <c:v>47.979-47.986</c:v>
                </c:pt>
                <c:pt idx="7149">
                  <c:v>47.986-47.992</c:v>
                </c:pt>
                <c:pt idx="7150">
                  <c:v>47.992-47.999</c:v>
                </c:pt>
                <c:pt idx="7151">
                  <c:v>47.999-48.006</c:v>
                </c:pt>
                <c:pt idx="7152">
                  <c:v>48.006-48.012</c:v>
                </c:pt>
                <c:pt idx="7153">
                  <c:v>48.012-48.019</c:v>
                </c:pt>
                <c:pt idx="7154">
                  <c:v>48.019-48.026</c:v>
                </c:pt>
                <c:pt idx="7155">
                  <c:v>48.026-48.032</c:v>
                </c:pt>
                <c:pt idx="7156">
                  <c:v>48.032-48.039</c:v>
                </c:pt>
                <c:pt idx="7157">
                  <c:v>48.039-48.046</c:v>
                </c:pt>
                <c:pt idx="7158">
                  <c:v>48.046-48.053</c:v>
                </c:pt>
                <c:pt idx="7159">
                  <c:v>48.053-48.059</c:v>
                </c:pt>
                <c:pt idx="7160">
                  <c:v>48.059-48.066</c:v>
                </c:pt>
                <c:pt idx="7161">
                  <c:v>48.066-48.073</c:v>
                </c:pt>
                <c:pt idx="7162">
                  <c:v>48.073-48.079</c:v>
                </c:pt>
                <c:pt idx="7163">
                  <c:v>48.079-48.086</c:v>
                </c:pt>
                <c:pt idx="7164">
                  <c:v>48.086-48.093</c:v>
                </c:pt>
                <c:pt idx="7165">
                  <c:v>48.093-48.100</c:v>
                </c:pt>
                <c:pt idx="7166">
                  <c:v>48.100-48.106</c:v>
                </c:pt>
                <c:pt idx="7167">
                  <c:v>48.106-48.113</c:v>
                </c:pt>
                <c:pt idx="7168">
                  <c:v>48.113-48.120</c:v>
                </c:pt>
                <c:pt idx="7169">
                  <c:v>48.120-48.126</c:v>
                </c:pt>
                <c:pt idx="7170">
                  <c:v>48.126-48.133</c:v>
                </c:pt>
                <c:pt idx="7171">
                  <c:v>48.133-48.140</c:v>
                </c:pt>
                <c:pt idx="7172">
                  <c:v>48.140-48.147</c:v>
                </c:pt>
                <c:pt idx="7173">
                  <c:v>48.147-48.153</c:v>
                </c:pt>
                <c:pt idx="7174">
                  <c:v>48.153-48.160</c:v>
                </c:pt>
                <c:pt idx="7175">
                  <c:v>48.160-48.167</c:v>
                </c:pt>
                <c:pt idx="7176">
                  <c:v>48.167-48.173</c:v>
                </c:pt>
                <c:pt idx="7177">
                  <c:v>48.173-48.180</c:v>
                </c:pt>
                <c:pt idx="7178">
                  <c:v>48.180-48.187</c:v>
                </c:pt>
                <c:pt idx="7179">
                  <c:v>48.187-48.194</c:v>
                </c:pt>
                <c:pt idx="7180">
                  <c:v>48.194-48.200</c:v>
                </c:pt>
                <c:pt idx="7181">
                  <c:v>48.200-48.207</c:v>
                </c:pt>
                <c:pt idx="7182">
                  <c:v>48.207-48.214</c:v>
                </c:pt>
                <c:pt idx="7183">
                  <c:v>48.214-48.220</c:v>
                </c:pt>
                <c:pt idx="7184">
                  <c:v>48.220-48.227</c:v>
                </c:pt>
                <c:pt idx="7185">
                  <c:v>48.227-48.234</c:v>
                </c:pt>
                <c:pt idx="7186">
                  <c:v>48.234-48.241</c:v>
                </c:pt>
                <c:pt idx="7187">
                  <c:v>48.241-48.247</c:v>
                </c:pt>
                <c:pt idx="7188">
                  <c:v>48.247-48.254</c:v>
                </c:pt>
                <c:pt idx="7189">
                  <c:v>48.254-48.261</c:v>
                </c:pt>
                <c:pt idx="7190">
                  <c:v>48.261-48.267</c:v>
                </c:pt>
                <c:pt idx="7191">
                  <c:v>48.267-48.274</c:v>
                </c:pt>
                <c:pt idx="7192">
                  <c:v>48.274-48.281</c:v>
                </c:pt>
                <c:pt idx="7193">
                  <c:v>48.281-48.287</c:v>
                </c:pt>
                <c:pt idx="7194">
                  <c:v>48.287-48.294</c:v>
                </c:pt>
                <c:pt idx="7195">
                  <c:v>48.294-48.301</c:v>
                </c:pt>
                <c:pt idx="7196">
                  <c:v>48.301-48.308</c:v>
                </c:pt>
                <c:pt idx="7197">
                  <c:v>48.308-48.314</c:v>
                </c:pt>
                <c:pt idx="7198">
                  <c:v>48.314-48.321</c:v>
                </c:pt>
                <c:pt idx="7199">
                  <c:v>48.321-48.328</c:v>
                </c:pt>
                <c:pt idx="7200">
                  <c:v>48.328-48.334</c:v>
                </c:pt>
                <c:pt idx="7201">
                  <c:v>48.334-48.341</c:v>
                </c:pt>
                <c:pt idx="7202">
                  <c:v>48.341-48.348</c:v>
                </c:pt>
                <c:pt idx="7203">
                  <c:v>48.348-48.355</c:v>
                </c:pt>
                <c:pt idx="7204">
                  <c:v>48.355-48.361</c:v>
                </c:pt>
                <c:pt idx="7205">
                  <c:v>48.361-48.368</c:v>
                </c:pt>
                <c:pt idx="7206">
                  <c:v>48.368-48.375</c:v>
                </c:pt>
                <c:pt idx="7207">
                  <c:v>48.375-48.381</c:v>
                </c:pt>
                <c:pt idx="7208">
                  <c:v>48.381-48.388</c:v>
                </c:pt>
                <c:pt idx="7209">
                  <c:v>48.388-48.395</c:v>
                </c:pt>
                <c:pt idx="7210">
                  <c:v>48.395-48.402</c:v>
                </c:pt>
                <c:pt idx="7211">
                  <c:v>48.402-48.408</c:v>
                </c:pt>
                <c:pt idx="7212">
                  <c:v>48.408-48.415</c:v>
                </c:pt>
                <c:pt idx="7213">
                  <c:v>48.415-48.422</c:v>
                </c:pt>
                <c:pt idx="7214">
                  <c:v>48.422-48.428</c:v>
                </c:pt>
                <c:pt idx="7215">
                  <c:v>48.428-48.435</c:v>
                </c:pt>
                <c:pt idx="7216">
                  <c:v>48.435-48.442</c:v>
                </c:pt>
                <c:pt idx="7217">
                  <c:v>48.442-48.449</c:v>
                </c:pt>
                <c:pt idx="7218">
                  <c:v>48.449-48.455</c:v>
                </c:pt>
                <c:pt idx="7219">
                  <c:v>48.455-48.462</c:v>
                </c:pt>
                <c:pt idx="7220">
                  <c:v>48.462-48.469</c:v>
                </c:pt>
                <c:pt idx="7221">
                  <c:v>48.469-48.475</c:v>
                </c:pt>
                <c:pt idx="7222">
                  <c:v>48.475-48.482</c:v>
                </c:pt>
                <c:pt idx="7223">
                  <c:v>48.482-48.489</c:v>
                </c:pt>
                <c:pt idx="7224">
                  <c:v>48.489-48.496</c:v>
                </c:pt>
                <c:pt idx="7225">
                  <c:v>48.496-48.502</c:v>
                </c:pt>
                <c:pt idx="7226">
                  <c:v>48.502-48.509</c:v>
                </c:pt>
                <c:pt idx="7227">
                  <c:v>48.509-48.516</c:v>
                </c:pt>
                <c:pt idx="7228">
                  <c:v>48.516-48.522</c:v>
                </c:pt>
                <c:pt idx="7229">
                  <c:v>48.522-48.529</c:v>
                </c:pt>
                <c:pt idx="7230">
                  <c:v>48.529-48.536</c:v>
                </c:pt>
                <c:pt idx="7231">
                  <c:v>48.536-48.543</c:v>
                </c:pt>
                <c:pt idx="7232">
                  <c:v>48.543-48.549</c:v>
                </c:pt>
                <c:pt idx="7233">
                  <c:v>48.549-48.556</c:v>
                </c:pt>
                <c:pt idx="7234">
                  <c:v>48.556-48.563</c:v>
                </c:pt>
                <c:pt idx="7235">
                  <c:v>48.563-48.569</c:v>
                </c:pt>
                <c:pt idx="7236">
                  <c:v>48.569-48.576</c:v>
                </c:pt>
                <c:pt idx="7237">
                  <c:v>48.576-48.583</c:v>
                </c:pt>
                <c:pt idx="7238">
                  <c:v>48.583-48.589</c:v>
                </c:pt>
                <c:pt idx="7239">
                  <c:v>48.589-48.596</c:v>
                </c:pt>
                <c:pt idx="7240">
                  <c:v>48.596-48.603</c:v>
                </c:pt>
                <c:pt idx="7241">
                  <c:v>48.603-48.610</c:v>
                </c:pt>
                <c:pt idx="7242">
                  <c:v>48.610-48.616</c:v>
                </c:pt>
                <c:pt idx="7243">
                  <c:v>48.616-48.623</c:v>
                </c:pt>
                <c:pt idx="7244">
                  <c:v>48.623-48.630</c:v>
                </c:pt>
                <c:pt idx="7245">
                  <c:v>48.630-48.636</c:v>
                </c:pt>
                <c:pt idx="7246">
                  <c:v>48.636-48.643</c:v>
                </c:pt>
                <c:pt idx="7247">
                  <c:v>48.643-48.650</c:v>
                </c:pt>
                <c:pt idx="7248">
                  <c:v>48.650-48.657</c:v>
                </c:pt>
                <c:pt idx="7249">
                  <c:v>48.657-48.663</c:v>
                </c:pt>
                <c:pt idx="7250">
                  <c:v>48.663-48.670</c:v>
                </c:pt>
                <c:pt idx="7251">
                  <c:v>48.670-48.677</c:v>
                </c:pt>
                <c:pt idx="7252">
                  <c:v>48.677-48.683</c:v>
                </c:pt>
                <c:pt idx="7253">
                  <c:v>48.683-48.690</c:v>
                </c:pt>
                <c:pt idx="7254">
                  <c:v>48.690-48.697</c:v>
                </c:pt>
                <c:pt idx="7255">
                  <c:v>48.697-48.704</c:v>
                </c:pt>
                <c:pt idx="7256">
                  <c:v>48.704-48.710</c:v>
                </c:pt>
                <c:pt idx="7257">
                  <c:v>48.710-48.717</c:v>
                </c:pt>
                <c:pt idx="7258">
                  <c:v>48.717-48.724</c:v>
                </c:pt>
                <c:pt idx="7259">
                  <c:v>48.724-48.730</c:v>
                </c:pt>
                <c:pt idx="7260">
                  <c:v>48.730-48.737</c:v>
                </c:pt>
                <c:pt idx="7261">
                  <c:v>48.737-48.744</c:v>
                </c:pt>
                <c:pt idx="7262">
                  <c:v>48.744-48.751</c:v>
                </c:pt>
                <c:pt idx="7263">
                  <c:v>48.751-48.757</c:v>
                </c:pt>
                <c:pt idx="7264">
                  <c:v>48.757-48.764</c:v>
                </c:pt>
                <c:pt idx="7265">
                  <c:v>48.764-48.771</c:v>
                </c:pt>
                <c:pt idx="7266">
                  <c:v>48.771-48.777</c:v>
                </c:pt>
                <c:pt idx="7267">
                  <c:v>48.777-48.784</c:v>
                </c:pt>
                <c:pt idx="7268">
                  <c:v>48.784-48.791</c:v>
                </c:pt>
                <c:pt idx="7269">
                  <c:v>48.791-48.798</c:v>
                </c:pt>
                <c:pt idx="7270">
                  <c:v>48.798-48.804</c:v>
                </c:pt>
                <c:pt idx="7271">
                  <c:v>48.804-48.811</c:v>
                </c:pt>
                <c:pt idx="7272">
                  <c:v>48.811-48.818</c:v>
                </c:pt>
                <c:pt idx="7273">
                  <c:v>48.818-48.824</c:v>
                </c:pt>
                <c:pt idx="7274">
                  <c:v>48.824-48.831</c:v>
                </c:pt>
                <c:pt idx="7275">
                  <c:v>48.831-48.838</c:v>
                </c:pt>
                <c:pt idx="7276">
                  <c:v>48.838-48.844</c:v>
                </c:pt>
                <c:pt idx="7277">
                  <c:v>48.844-48.851</c:v>
                </c:pt>
                <c:pt idx="7278">
                  <c:v>48.851-48.858</c:v>
                </c:pt>
                <c:pt idx="7279">
                  <c:v>48.858-48.865</c:v>
                </c:pt>
                <c:pt idx="7280">
                  <c:v>48.865-48.871</c:v>
                </c:pt>
                <c:pt idx="7281">
                  <c:v>48.871-48.878</c:v>
                </c:pt>
                <c:pt idx="7282">
                  <c:v>48.878-48.885</c:v>
                </c:pt>
                <c:pt idx="7283">
                  <c:v>48.885-48.891</c:v>
                </c:pt>
                <c:pt idx="7284">
                  <c:v>48.891-48.898</c:v>
                </c:pt>
                <c:pt idx="7285">
                  <c:v>48.898-48.905</c:v>
                </c:pt>
                <c:pt idx="7286">
                  <c:v>48.905-48.912</c:v>
                </c:pt>
                <c:pt idx="7287">
                  <c:v>48.912-48.918</c:v>
                </c:pt>
                <c:pt idx="7288">
                  <c:v>48.918-48.925</c:v>
                </c:pt>
                <c:pt idx="7289">
                  <c:v>48.925-48.932</c:v>
                </c:pt>
                <c:pt idx="7290">
                  <c:v>48.932-48.938</c:v>
                </c:pt>
                <c:pt idx="7291">
                  <c:v>48.938-48.945</c:v>
                </c:pt>
                <c:pt idx="7292">
                  <c:v>48.945-48.952</c:v>
                </c:pt>
                <c:pt idx="7293">
                  <c:v>48.952-48.959</c:v>
                </c:pt>
                <c:pt idx="7294">
                  <c:v>48.959-48.965</c:v>
                </c:pt>
                <c:pt idx="7295">
                  <c:v>48.965-48.972</c:v>
                </c:pt>
                <c:pt idx="7296">
                  <c:v>48.972-48.979</c:v>
                </c:pt>
                <c:pt idx="7297">
                  <c:v>48.979-48.985</c:v>
                </c:pt>
                <c:pt idx="7298">
                  <c:v>48.985-48.992</c:v>
                </c:pt>
                <c:pt idx="7299">
                  <c:v>48.992-48.999</c:v>
                </c:pt>
                <c:pt idx="7300">
                  <c:v>48.999-49.006</c:v>
                </c:pt>
                <c:pt idx="7301">
                  <c:v>49.006-49.012</c:v>
                </c:pt>
                <c:pt idx="7302">
                  <c:v>49.012-49.019</c:v>
                </c:pt>
                <c:pt idx="7303">
                  <c:v>49.019-49.026</c:v>
                </c:pt>
                <c:pt idx="7304">
                  <c:v>49.026-49.032</c:v>
                </c:pt>
                <c:pt idx="7305">
                  <c:v>49.032-49.039</c:v>
                </c:pt>
                <c:pt idx="7306">
                  <c:v>49.039-49.046</c:v>
                </c:pt>
                <c:pt idx="7307">
                  <c:v>49.046-49.053</c:v>
                </c:pt>
                <c:pt idx="7308">
                  <c:v>49.053-49.059</c:v>
                </c:pt>
                <c:pt idx="7309">
                  <c:v>49.059-49.066</c:v>
                </c:pt>
                <c:pt idx="7310">
                  <c:v>49.066-49.073</c:v>
                </c:pt>
                <c:pt idx="7311">
                  <c:v>49.073-49.079</c:v>
                </c:pt>
                <c:pt idx="7312">
                  <c:v>49.079-49.086</c:v>
                </c:pt>
                <c:pt idx="7313">
                  <c:v>49.086-49.093</c:v>
                </c:pt>
                <c:pt idx="7314">
                  <c:v>49.093-49.100</c:v>
                </c:pt>
                <c:pt idx="7315">
                  <c:v>49.100-49.106</c:v>
                </c:pt>
                <c:pt idx="7316">
                  <c:v>49.106-49.113</c:v>
                </c:pt>
                <c:pt idx="7317">
                  <c:v>49.113-49.120</c:v>
                </c:pt>
                <c:pt idx="7318">
                  <c:v>49.120-49.126</c:v>
                </c:pt>
                <c:pt idx="7319">
                  <c:v>49.126-49.133</c:v>
                </c:pt>
                <c:pt idx="7320">
                  <c:v>49.133-49.140</c:v>
                </c:pt>
                <c:pt idx="7321">
                  <c:v>49.140-49.146</c:v>
                </c:pt>
                <c:pt idx="7322">
                  <c:v>49.146-49.153</c:v>
                </c:pt>
                <c:pt idx="7323">
                  <c:v>49.153-49.160</c:v>
                </c:pt>
                <c:pt idx="7324">
                  <c:v>49.160-49.167</c:v>
                </c:pt>
                <c:pt idx="7325">
                  <c:v>49.167-49.173</c:v>
                </c:pt>
                <c:pt idx="7326">
                  <c:v>49.173-49.180</c:v>
                </c:pt>
                <c:pt idx="7327">
                  <c:v>49.180-49.187</c:v>
                </c:pt>
                <c:pt idx="7328">
                  <c:v>49.187-49.193</c:v>
                </c:pt>
                <c:pt idx="7329">
                  <c:v>49.193-49.200</c:v>
                </c:pt>
                <c:pt idx="7330">
                  <c:v>49.200-49.207</c:v>
                </c:pt>
                <c:pt idx="7331">
                  <c:v>49.207-49.214</c:v>
                </c:pt>
                <c:pt idx="7332">
                  <c:v>49.214-49.220</c:v>
                </c:pt>
                <c:pt idx="7333">
                  <c:v>49.220-49.227</c:v>
                </c:pt>
                <c:pt idx="7334">
                  <c:v>49.227-49.234</c:v>
                </c:pt>
                <c:pt idx="7335">
                  <c:v>49.234-49.240</c:v>
                </c:pt>
                <c:pt idx="7336">
                  <c:v>49.240-49.247</c:v>
                </c:pt>
                <c:pt idx="7337">
                  <c:v>49.247-49.254</c:v>
                </c:pt>
                <c:pt idx="7338">
                  <c:v>49.254-49.261</c:v>
                </c:pt>
                <c:pt idx="7339">
                  <c:v>49.261-49.267</c:v>
                </c:pt>
                <c:pt idx="7340">
                  <c:v>49.267-49.274</c:v>
                </c:pt>
                <c:pt idx="7341">
                  <c:v>49.274-49.281</c:v>
                </c:pt>
                <c:pt idx="7342">
                  <c:v>49.281-49.287</c:v>
                </c:pt>
                <c:pt idx="7343">
                  <c:v>49.287-49.294</c:v>
                </c:pt>
                <c:pt idx="7344">
                  <c:v>49.294-49.301</c:v>
                </c:pt>
                <c:pt idx="7345">
                  <c:v>49.301-49.308</c:v>
                </c:pt>
                <c:pt idx="7346">
                  <c:v>49.308-49.314</c:v>
                </c:pt>
                <c:pt idx="7347">
                  <c:v>49.314-49.321</c:v>
                </c:pt>
                <c:pt idx="7348">
                  <c:v>49.321-49.328</c:v>
                </c:pt>
                <c:pt idx="7349">
                  <c:v>49.328-49.334</c:v>
                </c:pt>
                <c:pt idx="7350">
                  <c:v>49.334-49.341</c:v>
                </c:pt>
                <c:pt idx="7351">
                  <c:v>49.341-49.348</c:v>
                </c:pt>
                <c:pt idx="7352">
                  <c:v>49.348-49.355</c:v>
                </c:pt>
                <c:pt idx="7353">
                  <c:v>49.355-49.361</c:v>
                </c:pt>
                <c:pt idx="7354">
                  <c:v>49.361-49.368</c:v>
                </c:pt>
                <c:pt idx="7355">
                  <c:v>49.368-49.375</c:v>
                </c:pt>
                <c:pt idx="7356">
                  <c:v>49.375-49.381</c:v>
                </c:pt>
                <c:pt idx="7357">
                  <c:v>49.381-49.388</c:v>
                </c:pt>
                <c:pt idx="7358">
                  <c:v>49.388-49.395</c:v>
                </c:pt>
                <c:pt idx="7359">
                  <c:v>49.395-49.401</c:v>
                </c:pt>
                <c:pt idx="7360">
                  <c:v>49.401-49.408</c:v>
                </c:pt>
                <c:pt idx="7361">
                  <c:v>49.408-49.415</c:v>
                </c:pt>
                <c:pt idx="7362">
                  <c:v>49.415-49.422</c:v>
                </c:pt>
                <c:pt idx="7363">
                  <c:v>49.422-49.428</c:v>
                </c:pt>
                <c:pt idx="7364">
                  <c:v>49.428-49.435</c:v>
                </c:pt>
                <c:pt idx="7365">
                  <c:v>49.435-49.442</c:v>
                </c:pt>
                <c:pt idx="7366">
                  <c:v>49.442-49.448</c:v>
                </c:pt>
                <c:pt idx="7367">
                  <c:v>49.448-49.455</c:v>
                </c:pt>
                <c:pt idx="7368">
                  <c:v>49.455-49.462</c:v>
                </c:pt>
                <c:pt idx="7369">
                  <c:v>49.462-49.469</c:v>
                </c:pt>
                <c:pt idx="7370">
                  <c:v>49.469-49.475</c:v>
                </c:pt>
                <c:pt idx="7371">
                  <c:v>49.475-49.482</c:v>
                </c:pt>
                <c:pt idx="7372">
                  <c:v>49.482-49.489</c:v>
                </c:pt>
                <c:pt idx="7373">
                  <c:v>49.489-49.495</c:v>
                </c:pt>
                <c:pt idx="7374">
                  <c:v>49.495-49.502</c:v>
                </c:pt>
                <c:pt idx="7375">
                  <c:v>49.502-49.509</c:v>
                </c:pt>
                <c:pt idx="7376">
                  <c:v>49.509-49.516</c:v>
                </c:pt>
                <c:pt idx="7377">
                  <c:v>49.516-49.522</c:v>
                </c:pt>
                <c:pt idx="7378">
                  <c:v>49.522-49.529</c:v>
                </c:pt>
                <c:pt idx="7379">
                  <c:v>49.529-49.536</c:v>
                </c:pt>
                <c:pt idx="7380">
                  <c:v>49.536-49.542</c:v>
                </c:pt>
                <c:pt idx="7381">
                  <c:v>49.542-49.549</c:v>
                </c:pt>
                <c:pt idx="7382">
                  <c:v>49.549-49.556</c:v>
                </c:pt>
                <c:pt idx="7383">
                  <c:v>49.556-49.563</c:v>
                </c:pt>
                <c:pt idx="7384">
                  <c:v>49.563-49.569</c:v>
                </c:pt>
                <c:pt idx="7385">
                  <c:v>49.569-49.576</c:v>
                </c:pt>
                <c:pt idx="7386">
                  <c:v>49.576-49.583</c:v>
                </c:pt>
                <c:pt idx="7387">
                  <c:v>49.583-49.589</c:v>
                </c:pt>
                <c:pt idx="7388">
                  <c:v>49.589-49.596</c:v>
                </c:pt>
                <c:pt idx="7389">
                  <c:v>49.596-49.603</c:v>
                </c:pt>
                <c:pt idx="7390">
                  <c:v>49.603-49.610</c:v>
                </c:pt>
                <c:pt idx="7391">
                  <c:v>49.610-49.616</c:v>
                </c:pt>
                <c:pt idx="7392">
                  <c:v>49.616-49.623</c:v>
                </c:pt>
                <c:pt idx="7393">
                  <c:v>49.623-49.630</c:v>
                </c:pt>
                <c:pt idx="7394">
                  <c:v>49.630-49.636</c:v>
                </c:pt>
                <c:pt idx="7395">
                  <c:v>49.636-49.643</c:v>
                </c:pt>
                <c:pt idx="7396">
                  <c:v>49.643-49.650</c:v>
                </c:pt>
                <c:pt idx="7397">
                  <c:v>49.650-49.656</c:v>
                </c:pt>
                <c:pt idx="7398">
                  <c:v>49.656-49.663</c:v>
                </c:pt>
                <c:pt idx="7399">
                  <c:v>49.663-49.670</c:v>
                </c:pt>
                <c:pt idx="7400">
                  <c:v>49.670-49.677</c:v>
                </c:pt>
                <c:pt idx="7401">
                  <c:v>49.677-49.683</c:v>
                </c:pt>
                <c:pt idx="7402">
                  <c:v>49.683-49.690</c:v>
                </c:pt>
                <c:pt idx="7403">
                  <c:v>49.690-49.697</c:v>
                </c:pt>
                <c:pt idx="7404">
                  <c:v>49.697-49.703</c:v>
                </c:pt>
                <c:pt idx="7405">
                  <c:v>49.703-49.710</c:v>
                </c:pt>
                <c:pt idx="7406">
                  <c:v>49.710-49.717</c:v>
                </c:pt>
                <c:pt idx="7407">
                  <c:v>49.717-49.724</c:v>
                </c:pt>
                <c:pt idx="7408">
                  <c:v>49.724-49.730</c:v>
                </c:pt>
                <c:pt idx="7409">
                  <c:v>49.730-49.737</c:v>
                </c:pt>
                <c:pt idx="7410">
                  <c:v>49.737-49.744</c:v>
                </c:pt>
                <c:pt idx="7411">
                  <c:v>49.744-49.750</c:v>
                </c:pt>
                <c:pt idx="7412">
                  <c:v>49.750-49.757</c:v>
                </c:pt>
                <c:pt idx="7413">
                  <c:v>49.757-49.764</c:v>
                </c:pt>
                <c:pt idx="7414">
                  <c:v>49.764-49.771</c:v>
                </c:pt>
                <c:pt idx="7415">
                  <c:v>49.771-49.777</c:v>
                </c:pt>
                <c:pt idx="7416">
                  <c:v>49.777-49.784</c:v>
                </c:pt>
                <c:pt idx="7417">
                  <c:v>49.784-49.791</c:v>
                </c:pt>
                <c:pt idx="7418">
                  <c:v>49.791-49.797</c:v>
                </c:pt>
                <c:pt idx="7419">
                  <c:v>49.797-49.804</c:v>
                </c:pt>
                <c:pt idx="7420">
                  <c:v>49.804-49.811</c:v>
                </c:pt>
                <c:pt idx="7421">
                  <c:v>49.811-49.818</c:v>
                </c:pt>
                <c:pt idx="7422">
                  <c:v>49.818-49.824</c:v>
                </c:pt>
                <c:pt idx="7423">
                  <c:v>49.824-49.831</c:v>
                </c:pt>
                <c:pt idx="7424">
                  <c:v>49.831-49.838</c:v>
                </c:pt>
                <c:pt idx="7425">
                  <c:v>49.838-49.844</c:v>
                </c:pt>
                <c:pt idx="7426">
                  <c:v>49.844-49.851</c:v>
                </c:pt>
                <c:pt idx="7427">
                  <c:v>49.851-49.858</c:v>
                </c:pt>
                <c:pt idx="7428">
                  <c:v>49.858-49.865</c:v>
                </c:pt>
                <c:pt idx="7429">
                  <c:v>49.865-49.871</c:v>
                </c:pt>
                <c:pt idx="7430">
                  <c:v>49.871-49.878</c:v>
                </c:pt>
                <c:pt idx="7431">
                  <c:v>49.878-49.885</c:v>
                </c:pt>
                <c:pt idx="7432">
                  <c:v>49.885-49.891</c:v>
                </c:pt>
                <c:pt idx="7433">
                  <c:v>49.891-49.898</c:v>
                </c:pt>
                <c:pt idx="7434">
                  <c:v>49.898-49.905</c:v>
                </c:pt>
                <c:pt idx="7435">
                  <c:v>49.905-49.912</c:v>
                </c:pt>
                <c:pt idx="7436">
                  <c:v>49.912-49.918</c:v>
                </c:pt>
                <c:pt idx="7437">
                  <c:v>49.918-49.925</c:v>
                </c:pt>
                <c:pt idx="7438">
                  <c:v>49.925-49.932</c:v>
                </c:pt>
                <c:pt idx="7439">
                  <c:v>49.932-49.938</c:v>
                </c:pt>
                <c:pt idx="7440">
                  <c:v>49.938-49.945</c:v>
                </c:pt>
                <c:pt idx="7441">
                  <c:v>49.945-49.952</c:v>
                </c:pt>
                <c:pt idx="7442">
                  <c:v>49.952-49.958</c:v>
                </c:pt>
                <c:pt idx="7443">
                  <c:v>49.958-49.965</c:v>
                </c:pt>
                <c:pt idx="7444">
                  <c:v>49.965-49.972</c:v>
                </c:pt>
                <c:pt idx="7445">
                  <c:v>49.972-49.979</c:v>
                </c:pt>
                <c:pt idx="7446">
                  <c:v>49.979-49.985</c:v>
                </c:pt>
                <c:pt idx="7447">
                  <c:v>49.985-49.992</c:v>
                </c:pt>
                <c:pt idx="7448">
                  <c:v>49.992-49.999</c:v>
                </c:pt>
                <c:pt idx="7449">
                  <c:v>49.999-50.005</c:v>
                </c:pt>
                <c:pt idx="7450">
                  <c:v>50.005-50.012</c:v>
                </c:pt>
                <c:pt idx="7451">
                  <c:v>50.012-50.019</c:v>
                </c:pt>
                <c:pt idx="7452">
                  <c:v>50.019-50.026</c:v>
                </c:pt>
                <c:pt idx="7453">
                  <c:v>50.026-50.032</c:v>
                </c:pt>
                <c:pt idx="7454">
                  <c:v>50.032-50.039</c:v>
                </c:pt>
                <c:pt idx="7455">
                  <c:v>50.039-50.046</c:v>
                </c:pt>
                <c:pt idx="7456">
                  <c:v>50.046-50.052</c:v>
                </c:pt>
                <c:pt idx="7457">
                  <c:v>50.052-50.059</c:v>
                </c:pt>
                <c:pt idx="7458">
                  <c:v>50.059-50.066</c:v>
                </c:pt>
                <c:pt idx="7459">
                  <c:v>50.066-50.073</c:v>
                </c:pt>
                <c:pt idx="7460">
                  <c:v>50.073-50.079</c:v>
                </c:pt>
                <c:pt idx="7461">
                  <c:v>50.079-50.086</c:v>
                </c:pt>
                <c:pt idx="7462">
                  <c:v>50.086-50.093</c:v>
                </c:pt>
                <c:pt idx="7463">
                  <c:v>50.093-50.099</c:v>
                </c:pt>
                <c:pt idx="7464">
                  <c:v>50.099-50.106</c:v>
                </c:pt>
                <c:pt idx="7465">
                  <c:v>50.106-50.113</c:v>
                </c:pt>
                <c:pt idx="7466">
                  <c:v>50.113-50.120</c:v>
                </c:pt>
                <c:pt idx="7467">
                  <c:v>50.120-50.126</c:v>
                </c:pt>
                <c:pt idx="7468">
                  <c:v>50.126-50.133</c:v>
                </c:pt>
                <c:pt idx="7469">
                  <c:v>50.133-50.140</c:v>
                </c:pt>
                <c:pt idx="7470">
                  <c:v>50.140-50.146</c:v>
                </c:pt>
                <c:pt idx="7471">
                  <c:v>50.146-50.153</c:v>
                </c:pt>
                <c:pt idx="7472">
                  <c:v>50.153-50.160</c:v>
                </c:pt>
                <c:pt idx="7473">
                  <c:v>50.160-50.167</c:v>
                </c:pt>
                <c:pt idx="7474">
                  <c:v>50.167-50.173</c:v>
                </c:pt>
                <c:pt idx="7475">
                  <c:v>50.173-50.180</c:v>
                </c:pt>
                <c:pt idx="7476">
                  <c:v>50.180-50.187</c:v>
                </c:pt>
                <c:pt idx="7477">
                  <c:v>50.187-50.193</c:v>
                </c:pt>
                <c:pt idx="7478">
                  <c:v>50.193-50.200</c:v>
                </c:pt>
                <c:pt idx="7479">
                  <c:v>50.200-50.207</c:v>
                </c:pt>
                <c:pt idx="7480">
                  <c:v>50.207-50.213</c:v>
                </c:pt>
                <c:pt idx="7481">
                  <c:v>50.213-50.220</c:v>
                </c:pt>
                <c:pt idx="7482">
                  <c:v>50.220-50.227</c:v>
                </c:pt>
                <c:pt idx="7483">
                  <c:v>50.227-50.234</c:v>
                </c:pt>
                <c:pt idx="7484">
                  <c:v>50.234-50.240</c:v>
                </c:pt>
                <c:pt idx="7485">
                  <c:v>50.240-50.247</c:v>
                </c:pt>
                <c:pt idx="7486">
                  <c:v>50.247-50.254</c:v>
                </c:pt>
                <c:pt idx="7487">
                  <c:v>50.254-50.260</c:v>
                </c:pt>
                <c:pt idx="7488">
                  <c:v>50.260-50.267</c:v>
                </c:pt>
                <c:pt idx="7489">
                  <c:v>50.267-50.274</c:v>
                </c:pt>
                <c:pt idx="7490">
                  <c:v>50.274-50.281</c:v>
                </c:pt>
                <c:pt idx="7491">
                  <c:v>50.281-50.287</c:v>
                </c:pt>
                <c:pt idx="7492">
                  <c:v>50.287-50.294</c:v>
                </c:pt>
                <c:pt idx="7493">
                  <c:v>50.294-50.301</c:v>
                </c:pt>
                <c:pt idx="7494">
                  <c:v>50.301-50.307</c:v>
                </c:pt>
                <c:pt idx="7495">
                  <c:v>50.307-50.314</c:v>
                </c:pt>
                <c:pt idx="7496">
                  <c:v>50.314-50.321</c:v>
                </c:pt>
                <c:pt idx="7497">
                  <c:v>50.321-50.328</c:v>
                </c:pt>
                <c:pt idx="7498">
                  <c:v>50.328-50.334</c:v>
                </c:pt>
                <c:pt idx="7499">
                  <c:v>50.334-50.341</c:v>
                </c:pt>
                <c:pt idx="7500">
                  <c:v>50.341-50.348</c:v>
                </c:pt>
                <c:pt idx="7501">
                  <c:v>50.348-50.354</c:v>
                </c:pt>
                <c:pt idx="7502">
                  <c:v>50.354-50.361</c:v>
                </c:pt>
                <c:pt idx="7503">
                  <c:v>50.361-50.368</c:v>
                </c:pt>
                <c:pt idx="7504">
                  <c:v>50.368-50.375</c:v>
                </c:pt>
                <c:pt idx="7505">
                  <c:v>50.375-50.381</c:v>
                </c:pt>
                <c:pt idx="7506">
                  <c:v>50.381-50.388</c:v>
                </c:pt>
                <c:pt idx="7507">
                  <c:v>50.388-50.395</c:v>
                </c:pt>
                <c:pt idx="7508">
                  <c:v>50.395-50.401</c:v>
                </c:pt>
                <c:pt idx="7509">
                  <c:v>50.401-50.408</c:v>
                </c:pt>
                <c:pt idx="7510">
                  <c:v>50.408-50.415</c:v>
                </c:pt>
                <c:pt idx="7511">
                  <c:v>50.415-50.422</c:v>
                </c:pt>
                <c:pt idx="7512">
                  <c:v>50.422-50.428</c:v>
                </c:pt>
                <c:pt idx="7513">
                  <c:v>50.428-50.435</c:v>
                </c:pt>
                <c:pt idx="7514">
                  <c:v>50.435-50.442</c:v>
                </c:pt>
                <c:pt idx="7515">
                  <c:v>50.442-50.448</c:v>
                </c:pt>
                <c:pt idx="7516">
                  <c:v>50.448-50.455</c:v>
                </c:pt>
                <c:pt idx="7517">
                  <c:v>50.455-50.462</c:v>
                </c:pt>
                <c:pt idx="7518">
                  <c:v>50.462-50.469</c:v>
                </c:pt>
                <c:pt idx="7519">
                  <c:v>50.469-50.475</c:v>
                </c:pt>
                <c:pt idx="7520">
                  <c:v>50.475-50.482</c:v>
                </c:pt>
                <c:pt idx="7521">
                  <c:v>50.482-50.489</c:v>
                </c:pt>
                <c:pt idx="7522">
                  <c:v>50.489-50.495</c:v>
                </c:pt>
                <c:pt idx="7523">
                  <c:v>50.495-50.502</c:v>
                </c:pt>
                <c:pt idx="7524">
                  <c:v>50.502-50.509</c:v>
                </c:pt>
                <c:pt idx="7525">
                  <c:v>50.509-50.515</c:v>
                </c:pt>
                <c:pt idx="7526">
                  <c:v>50.515-50.522</c:v>
                </c:pt>
                <c:pt idx="7527">
                  <c:v>50.522-50.529</c:v>
                </c:pt>
                <c:pt idx="7528">
                  <c:v>50.529-50.536</c:v>
                </c:pt>
                <c:pt idx="7529">
                  <c:v>50.536-50.542</c:v>
                </c:pt>
                <c:pt idx="7530">
                  <c:v>50.542-50.549</c:v>
                </c:pt>
                <c:pt idx="7531">
                  <c:v>50.549-50.556</c:v>
                </c:pt>
                <c:pt idx="7532">
                  <c:v>50.556-50.562</c:v>
                </c:pt>
                <c:pt idx="7533">
                  <c:v>50.562-50.569</c:v>
                </c:pt>
                <c:pt idx="7534">
                  <c:v>50.569-50.576</c:v>
                </c:pt>
                <c:pt idx="7535">
                  <c:v>50.576-50.583</c:v>
                </c:pt>
                <c:pt idx="7536">
                  <c:v>50.583-50.589</c:v>
                </c:pt>
                <c:pt idx="7537">
                  <c:v>50.589-50.596</c:v>
                </c:pt>
                <c:pt idx="7538">
                  <c:v>50.596-50.603</c:v>
                </c:pt>
                <c:pt idx="7539">
                  <c:v>50.603-50.609</c:v>
                </c:pt>
                <c:pt idx="7540">
                  <c:v>50.609-50.616</c:v>
                </c:pt>
                <c:pt idx="7541">
                  <c:v>50.616-50.623</c:v>
                </c:pt>
                <c:pt idx="7542">
                  <c:v>50.623-50.630</c:v>
                </c:pt>
                <c:pt idx="7543">
                  <c:v>50.630-50.636</c:v>
                </c:pt>
                <c:pt idx="7544">
                  <c:v>50.636-50.643</c:v>
                </c:pt>
                <c:pt idx="7545">
                  <c:v>50.643-50.650</c:v>
                </c:pt>
                <c:pt idx="7546">
                  <c:v>50.650-50.656</c:v>
                </c:pt>
                <c:pt idx="7547">
                  <c:v>50.656-50.663</c:v>
                </c:pt>
                <c:pt idx="7548">
                  <c:v>50.663-50.670</c:v>
                </c:pt>
                <c:pt idx="7549">
                  <c:v>50.670-50.677</c:v>
                </c:pt>
                <c:pt idx="7550">
                  <c:v>50.677-50.683</c:v>
                </c:pt>
                <c:pt idx="7551">
                  <c:v>50.683-50.690</c:v>
                </c:pt>
                <c:pt idx="7552">
                  <c:v>50.690-50.697</c:v>
                </c:pt>
                <c:pt idx="7553">
                  <c:v>50.697-50.703</c:v>
                </c:pt>
                <c:pt idx="7554">
                  <c:v>50.703-50.710</c:v>
                </c:pt>
                <c:pt idx="7555">
                  <c:v>50.710-50.717</c:v>
                </c:pt>
                <c:pt idx="7556">
                  <c:v>50.717-50.724</c:v>
                </c:pt>
                <c:pt idx="7557">
                  <c:v>50.724-50.730</c:v>
                </c:pt>
                <c:pt idx="7558">
                  <c:v>50.730-50.737</c:v>
                </c:pt>
                <c:pt idx="7559">
                  <c:v>50.737-50.744</c:v>
                </c:pt>
                <c:pt idx="7560">
                  <c:v>50.744-50.750</c:v>
                </c:pt>
                <c:pt idx="7561">
                  <c:v>50.750-50.757</c:v>
                </c:pt>
                <c:pt idx="7562">
                  <c:v>50.757-50.764</c:v>
                </c:pt>
                <c:pt idx="7563">
                  <c:v>50.764-50.770</c:v>
                </c:pt>
                <c:pt idx="7564">
                  <c:v>50.770-50.777</c:v>
                </c:pt>
                <c:pt idx="7565">
                  <c:v>50.777-50.784</c:v>
                </c:pt>
                <c:pt idx="7566">
                  <c:v>50.784-50.791</c:v>
                </c:pt>
                <c:pt idx="7567">
                  <c:v>50.791-50.797</c:v>
                </c:pt>
                <c:pt idx="7568">
                  <c:v>50.797-50.804</c:v>
                </c:pt>
                <c:pt idx="7569">
                  <c:v>50.804-50.811</c:v>
                </c:pt>
                <c:pt idx="7570">
                  <c:v>50.811-50.817</c:v>
                </c:pt>
                <c:pt idx="7571">
                  <c:v>50.817-50.824</c:v>
                </c:pt>
                <c:pt idx="7572">
                  <c:v>50.824-50.831</c:v>
                </c:pt>
                <c:pt idx="7573">
                  <c:v>50.831-50.838</c:v>
                </c:pt>
                <c:pt idx="7574">
                  <c:v>50.838-50.844</c:v>
                </c:pt>
                <c:pt idx="7575">
                  <c:v>50.844-50.851</c:v>
                </c:pt>
                <c:pt idx="7576">
                  <c:v>50.851-50.858</c:v>
                </c:pt>
                <c:pt idx="7577">
                  <c:v>50.858-50.864</c:v>
                </c:pt>
                <c:pt idx="7578">
                  <c:v>50.864-50.871</c:v>
                </c:pt>
                <c:pt idx="7579">
                  <c:v>50.871-50.878</c:v>
                </c:pt>
                <c:pt idx="7580">
                  <c:v>50.878-50.885</c:v>
                </c:pt>
                <c:pt idx="7581">
                  <c:v>50.885-50.891</c:v>
                </c:pt>
                <c:pt idx="7582">
                  <c:v>50.891-50.898</c:v>
                </c:pt>
                <c:pt idx="7583">
                  <c:v>50.898-50.905</c:v>
                </c:pt>
                <c:pt idx="7584">
                  <c:v>50.905-50.911</c:v>
                </c:pt>
                <c:pt idx="7585">
                  <c:v>50.911-50.918</c:v>
                </c:pt>
                <c:pt idx="7586">
                  <c:v>50.918-50.925</c:v>
                </c:pt>
                <c:pt idx="7587">
                  <c:v>50.925-50.932</c:v>
                </c:pt>
                <c:pt idx="7588">
                  <c:v>50.932-50.938</c:v>
                </c:pt>
                <c:pt idx="7589">
                  <c:v>50.938-50.945</c:v>
                </c:pt>
                <c:pt idx="7590">
                  <c:v>50.945-50.952</c:v>
                </c:pt>
                <c:pt idx="7591">
                  <c:v>50.952-50.958</c:v>
                </c:pt>
                <c:pt idx="7592">
                  <c:v>50.958-50.965</c:v>
                </c:pt>
                <c:pt idx="7593">
                  <c:v>50.965-50.972</c:v>
                </c:pt>
                <c:pt idx="7594">
                  <c:v>50.972-50.979</c:v>
                </c:pt>
                <c:pt idx="7595">
                  <c:v>50.979-50.985</c:v>
                </c:pt>
                <c:pt idx="7596">
                  <c:v>50.985-50.992</c:v>
                </c:pt>
                <c:pt idx="7597">
                  <c:v>50.992-50.999</c:v>
                </c:pt>
                <c:pt idx="7598">
                  <c:v>50.999-51.005</c:v>
                </c:pt>
                <c:pt idx="7599">
                  <c:v>51.005-51.012</c:v>
                </c:pt>
                <c:pt idx="7600">
                  <c:v>51.012-51.019</c:v>
                </c:pt>
                <c:pt idx="7601">
                  <c:v>51.019-51.026</c:v>
                </c:pt>
                <c:pt idx="7602">
                  <c:v>51.026-51.032</c:v>
                </c:pt>
                <c:pt idx="7603">
                  <c:v>51.032-51.039</c:v>
                </c:pt>
                <c:pt idx="7604">
                  <c:v>51.039-51.046</c:v>
                </c:pt>
                <c:pt idx="7605">
                  <c:v>51.046-51.052</c:v>
                </c:pt>
                <c:pt idx="7606">
                  <c:v>51.052-51.059</c:v>
                </c:pt>
                <c:pt idx="7607">
                  <c:v>51.059-51.066</c:v>
                </c:pt>
                <c:pt idx="7608">
                  <c:v>51.066-51.072</c:v>
                </c:pt>
                <c:pt idx="7609">
                  <c:v>51.072-51.079</c:v>
                </c:pt>
                <c:pt idx="7610">
                  <c:v>51.079-51.086</c:v>
                </c:pt>
                <c:pt idx="7611">
                  <c:v>51.086-51.093</c:v>
                </c:pt>
                <c:pt idx="7612">
                  <c:v>51.093-51.099</c:v>
                </c:pt>
                <c:pt idx="7613">
                  <c:v>51.099-51.106</c:v>
                </c:pt>
                <c:pt idx="7614">
                  <c:v>51.106-51.113</c:v>
                </c:pt>
                <c:pt idx="7615">
                  <c:v>51.113-51.119</c:v>
                </c:pt>
                <c:pt idx="7616">
                  <c:v>51.119-51.126</c:v>
                </c:pt>
                <c:pt idx="7617">
                  <c:v>51.126-51.133</c:v>
                </c:pt>
                <c:pt idx="7618">
                  <c:v>51.133-51.140</c:v>
                </c:pt>
                <c:pt idx="7619">
                  <c:v>51.140-51.146</c:v>
                </c:pt>
                <c:pt idx="7620">
                  <c:v>51.146-51.153</c:v>
                </c:pt>
                <c:pt idx="7621">
                  <c:v>51.153-51.160</c:v>
                </c:pt>
                <c:pt idx="7622">
                  <c:v>51.160-51.166</c:v>
                </c:pt>
                <c:pt idx="7623">
                  <c:v>51.166-51.173</c:v>
                </c:pt>
                <c:pt idx="7624">
                  <c:v>51.173-51.180</c:v>
                </c:pt>
                <c:pt idx="7625">
                  <c:v>51.180-51.187</c:v>
                </c:pt>
                <c:pt idx="7626">
                  <c:v>51.187-51.193</c:v>
                </c:pt>
                <c:pt idx="7627">
                  <c:v>51.193-51.200</c:v>
                </c:pt>
                <c:pt idx="7628">
                  <c:v>51.200-51.207</c:v>
                </c:pt>
                <c:pt idx="7629">
                  <c:v>51.207-51.213</c:v>
                </c:pt>
                <c:pt idx="7630">
                  <c:v>51.213-51.220</c:v>
                </c:pt>
                <c:pt idx="7631">
                  <c:v>51.220-51.227</c:v>
                </c:pt>
                <c:pt idx="7632">
                  <c:v>51.227-51.234</c:v>
                </c:pt>
                <c:pt idx="7633">
                  <c:v>51.234-51.240</c:v>
                </c:pt>
                <c:pt idx="7634">
                  <c:v>51.240-51.247</c:v>
                </c:pt>
                <c:pt idx="7635">
                  <c:v>51.247-51.254</c:v>
                </c:pt>
                <c:pt idx="7636">
                  <c:v>51.254-51.260</c:v>
                </c:pt>
                <c:pt idx="7637">
                  <c:v>51.260-51.267</c:v>
                </c:pt>
                <c:pt idx="7638">
                  <c:v>51.267-51.274</c:v>
                </c:pt>
                <c:pt idx="7639">
                  <c:v>51.274-51.281</c:v>
                </c:pt>
                <c:pt idx="7640">
                  <c:v>51.281-51.287</c:v>
                </c:pt>
                <c:pt idx="7641">
                  <c:v>51.287-51.294</c:v>
                </c:pt>
                <c:pt idx="7642">
                  <c:v>51.294-51.301</c:v>
                </c:pt>
                <c:pt idx="7643">
                  <c:v>51.301-51.307</c:v>
                </c:pt>
                <c:pt idx="7644">
                  <c:v>51.307-51.314</c:v>
                </c:pt>
                <c:pt idx="7645">
                  <c:v>51.314-51.321</c:v>
                </c:pt>
                <c:pt idx="7646">
                  <c:v>51.321-51.327</c:v>
                </c:pt>
                <c:pt idx="7647">
                  <c:v>51.327-51.334</c:v>
                </c:pt>
                <c:pt idx="7648">
                  <c:v>51.334-51.341</c:v>
                </c:pt>
                <c:pt idx="7649">
                  <c:v>51.341-51.348</c:v>
                </c:pt>
                <c:pt idx="7650">
                  <c:v>51.348-51.354</c:v>
                </c:pt>
                <c:pt idx="7651">
                  <c:v>51.354-51.361</c:v>
                </c:pt>
                <c:pt idx="7652">
                  <c:v>51.361-51.368</c:v>
                </c:pt>
                <c:pt idx="7653">
                  <c:v>51.368-51.374</c:v>
                </c:pt>
                <c:pt idx="7654">
                  <c:v>51.374-51.381</c:v>
                </c:pt>
                <c:pt idx="7655">
                  <c:v>51.381-51.388</c:v>
                </c:pt>
                <c:pt idx="7656">
                  <c:v>51.388-51.395</c:v>
                </c:pt>
                <c:pt idx="7657">
                  <c:v>51.395-51.401</c:v>
                </c:pt>
                <c:pt idx="7658">
                  <c:v>51.401-51.408</c:v>
                </c:pt>
                <c:pt idx="7659">
                  <c:v>51.408-51.415</c:v>
                </c:pt>
                <c:pt idx="7660">
                  <c:v>51.415-51.421</c:v>
                </c:pt>
                <c:pt idx="7661">
                  <c:v>51.421-51.428</c:v>
                </c:pt>
                <c:pt idx="7662">
                  <c:v>51.428-51.435</c:v>
                </c:pt>
                <c:pt idx="7663">
                  <c:v>51.435-51.442</c:v>
                </c:pt>
                <c:pt idx="7664">
                  <c:v>51.442-51.448</c:v>
                </c:pt>
                <c:pt idx="7665">
                  <c:v>51.448-51.455</c:v>
                </c:pt>
                <c:pt idx="7666">
                  <c:v>51.455-51.462</c:v>
                </c:pt>
                <c:pt idx="7667">
                  <c:v>51.462-51.468</c:v>
                </c:pt>
                <c:pt idx="7668">
                  <c:v>51.468-51.475</c:v>
                </c:pt>
                <c:pt idx="7669">
                  <c:v>51.475-51.482</c:v>
                </c:pt>
                <c:pt idx="7670">
                  <c:v>51.482-51.489</c:v>
                </c:pt>
                <c:pt idx="7671">
                  <c:v>51.489-51.495</c:v>
                </c:pt>
                <c:pt idx="7672">
                  <c:v>51.495-51.502</c:v>
                </c:pt>
                <c:pt idx="7673">
                  <c:v>51.502-51.509</c:v>
                </c:pt>
                <c:pt idx="7674">
                  <c:v>51.509-51.515</c:v>
                </c:pt>
                <c:pt idx="7675">
                  <c:v>51.515-51.522</c:v>
                </c:pt>
                <c:pt idx="7676">
                  <c:v>51.522-51.529</c:v>
                </c:pt>
                <c:pt idx="7677">
                  <c:v>51.529-51.536</c:v>
                </c:pt>
                <c:pt idx="7678">
                  <c:v>51.536-51.542</c:v>
                </c:pt>
                <c:pt idx="7679">
                  <c:v>51.542-51.549</c:v>
                </c:pt>
                <c:pt idx="7680">
                  <c:v>51.549-51.556</c:v>
                </c:pt>
                <c:pt idx="7681">
                  <c:v>51.556-51.562</c:v>
                </c:pt>
                <c:pt idx="7682">
                  <c:v>51.562-51.569</c:v>
                </c:pt>
                <c:pt idx="7683">
                  <c:v>51.569-51.576</c:v>
                </c:pt>
                <c:pt idx="7684">
                  <c:v>51.576-51.582</c:v>
                </c:pt>
                <c:pt idx="7685">
                  <c:v>51.582-51.589</c:v>
                </c:pt>
                <c:pt idx="7686">
                  <c:v>51.589-51.596</c:v>
                </c:pt>
                <c:pt idx="7687">
                  <c:v>51.596-51.603</c:v>
                </c:pt>
                <c:pt idx="7688">
                  <c:v>51.603-51.609</c:v>
                </c:pt>
                <c:pt idx="7689">
                  <c:v>51.609-51.616</c:v>
                </c:pt>
                <c:pt idx="7690">
                  <c:v>51.616-51.623</c:v>
                </c:pt>
                <c:pt idx="7691">
                  <c:v>51.623-51.629</c:v>
                </c:pt>
                <c:pt idx="7692">
                  <c:v>51.629-51.636</c:v>
                </c:pt>
                <c:pt idx="7693">
                  <c:v>51.636-51.643</c:v>
                </c:pt>
                <c:pt idx="7694">
                  <c:v>51.643-51.650</c:v>
                </c:pt>
                <c:pt idx="7695">
                  <c:v>51.650-51.656</c:v>
                </c:pt>
                <c:pt idx="7696">
                  <c:v>51.656-51.663</c:v>
                </c:pt>
                <c:pt idx="7697">
                  <c:v>51.663-51.670</c:v>
                </c:pt>
                <c:pt idx="7698">
                  <c:v>51.670-51.676</c:v>
                </c:pt>
                <c:pt idx="7699">
                  <c:v>51.676-51.683</c:v>
                </c:pt>
                <c:pt idx="7700">
                  <c:v>51.683-51.690</c:v>
                </c:pt>
                <c:pt idx="7701">
                  <c:v>51.690-51.697</c:v>
                </c:pt>
                <c:pt idx="7702">
                  <c:v>51.697-51.703</c:v>
                </c:pt>
                <c:pt idx="7703">
                  <c:v>51.703-51.710</c:v>
                </c:pt>
                <c:pt idx="7704">
                  <c:v>51.710-51.717</c:v>
                </c:pt>
                <c:pt idx="7705">
                  <c:v>51.717-51.723</c:v>
                </c:pt>
                <c:pt idx="7706">
                  <c:v>51.723-51.730</c:v>
                </c:pt>
                <c:pt idx="7707">
                  <c:v>51.730-51.737</c:v>
                </c:pt>
                <c:pt idx="7708">
                  <c:v>51.737-51.744</c:v>
                </c:pt>
                <c:pt idx="7709">
                  <c:v>51.744-51.750</c:v>
                </c:pt>
                <c:pt idx="7710">
                  <c:v>51.750-51.757</c:v>
                </c:pt>
                <c:pt idx="7711">
                  <c:v>51.757-51.764</c:v>
                </c:pt>
                <c:pt idx="7712">
                  <c:v>51.764-51.770</c:v>
                </c:pt>
                <c:pt idx="7713">
                  <c:v>51.770-51.777</c:v>
                </c:pt>
                <c:pt idx="7714">
                  <c:v>51.777-51.784</c:v>
                </c:pt>
                <c:pt idx="7715">
                  <c:v>51.784-51.791</c:v>
                </c:pt>
                <c:pt idx="7716">
                  <c:v>51.791-51.797</c:v>
                </c:pt>
                <c:pt idx="7717">
                  <c:v>51.797-51.804</c:v>
                </c:pt>
                <c:pt idx="7718">
                  <c:v>51.804-51.811</c:v>
                </c:pt>
                <c:pt idx="7719">
                  <c:v>51.811-51.817</c:v>
                </c:pt>
                <c:pt idx="7720">
                  <c:v>51.817-51.824</c:v>
                </c:pt>
                <c:pt idx="7721">
                  <c:v>51.824-51.831</c:v>
                </c:pt>
                <c:pt idx="7722">
                  <c:v>51.831-51.838</c:v>
                </c:pt>
                <c:pt idx="7723">
                  <c:v>51.838-51.844</c:v>
                </c:pt>
                <c:pt idx="7724">
                  <c:v>51.844-51.851</c:v>
                </c:pt>
                <c:pt idx="7725">
                  <c:v>51.851-51.858</c:v>
                </c:pt>
                <c:pt idx="7726">
                  <c:v>51.858-51.864</c:v>
                </c:pt>
                <c:pt idx="7727">
                  <c:v>51.864-51.871</c:v>
                </c:pt>
                <c:pt idx="7728">
                  <c:v>51.871-51.878</c:v>
                </c:pt>
                <c:pt idx="7729">
                  <c:v>51.878-51.884</c:v>
                </c:pt>
                <c:pt idx="7730">
                  <c:v>51.884-51.891</c:v>
                </c:pt>
                <c:pt idx="7731">
                  <c:v>51.891-51.898</c:v>
                </c:pt>
                <c:pt idx="7732">
                  <c:v>51.898-51.905</c:v>
                </c:pt>
                <c:pt idx="7733">
                  <c:v>51.905-51.911</c:v>
                </c:pt>
                <c:pt idx="7734">
                  <c:v>51.911-51.918</c:v>
                </c:pt>
                <c:pt idx="7735">
                  <c:v>51.918-51.925</c:v>
                </c:pt>
                <c:pt idx="7736">
                  <c:v>51.925-51.931</c:v>
                </c:pt>
                <c:pt idx="7737">
                  <c:v>51.931-51.938</c:v>
                </c:pt>
                <c:pt idx="7738">
                  <c:v>51.938-51.945</c:v>
                </c:pt>
                <c:pt idx="7739">
                  <c:v>51.945-51.952</c:v>
                </c:pt>
                <c:pt idx="7740">
                  <c:v>51.952-51.958</c:v>
                </c:pt>
                <c:pt idx="7741">
                  <c:v>51.958-51.965</c:v>
                </c:pt>
                <c:pt idx="7742">
                  <c:v>51.965-51.972</c:v>
                </c:pt>
                <c:pt idx="7743">
                  <c:v>51.972-51.978</c:v>
                </c:pt>
                <c:pt idx="7744">
                  <c:v>51.978-51.985</c:v>
                </c:pt>
                <c:pt idx="7745">
                  <c:v>51.985-51.992</c:v>
                </c:pt>
                <c:pt idx="7746">
                  <c:v>51.992-51.999</c:v>
                </c:pt>
                <c:pt idx="7747">
                  <c:v>51.999-52.005</c:v>
                </c:pt>
                <c:pt idx="7748">
                  <c:v>52.005-52.012</c:v>
                </c:pt>
                <c:pt idx="7749">
                  <c:v>52.012-52.019</c:v>
                </c:pt>
                <c:pt idx="7750">
                  <c:v>52.019-52.025</c:v>
                </c:pt>
                <c:pt idx="7751">
                  <c:v>52.025-52.032</c:v>
                </c:pt>
                <c:pt idx="7752">
                  <c:v>52.032-52.039</c:v>
                </c:pt>
                <c:pt idx="7753">
                  <c:v>52.039-52.046</c:v>
                </c:pt>
                <c:pt idx="7754">
                  <c:v>52.046-52.052</c:v>
                </c:pt>
                <c:pt idx="7755">
                  <c:v>52.052-52.059</c:v>
                </c:pt>
                <c:pt idx="7756">
                  <c:v>52.059-52.066</c:v>
                </c:pt>
                <c:pt idx="7757">
                  <c:v>52.066-52.072</c:v>
                </c:pt>
                <c:pt idx="7758">
                  <c:v>52.072-52.079</c:v>
                </c:pt>
                <c:pt idx="7759">
                  <c:v>52.079-52.086</c:v>
                </c:pt>
                <c:pt idx="7760">
                  <c:v>52.086-52.093</c:v>
                </c:pt>
                <c:pt idx="7761">
                  <c:v>52.093-52.099</c:v>
                </c:pt>
                <c:pt idx="7762">
                  <c:v>52.099-52.106</c:v>
                </c:pt>
                <c:pt idx="7763">
                  <c:v>52.106-52.113</c:v>
                </c:pt>
                <c:pt idx="7764">
                  <c:v>52.113-52.119</c:v>
                </c:pt>
                <c:pt idx="7765">
                  <c:v>52.119-52.126</c:v>
                </c:pt>
                <c:pt idx="7766">
                  <c:v>52.126-52.133</c:v>
                </c:pt>
                <c:pt idx="7767">
                  <c:v>52.133-52.139</c:v>
                </c:pt>
                <c:pt idx="7768">
                  <c:v>52.139-52.146</c:v>
                </c:pt>
                <c:pt idx="7769">
                  <c:v>52.146-52.153</c:v>
                </c:pt>
                <c:pt idx="7770">
                  <c:v>52.153-52.160</c:v>
                </c:pt>
                <c:pt idx="7771">
                  <c:v>52.160-52.166</c:v>
                </c:pt>
                <c:pt idx="7772">
                  <c:v>52.166-52.173</c:v>
                </c:pt>
                <c:pt idx="7773">
                  <c:v>52.173-52.180</c:v>
                </c:pt>
                <c:pt idx="7774">
                  <c:v>52.180-52.186</c:v>
                </c:pt>
                <c:pt idx="7775">
                  <c:v>52.186-52.193</c:v>
                </c:pt>
                <c:pt idx="7776">
                  <c:v>52.193-52.200</c:v>
                </c:pt>
                <c:pt idx="7777">
                  <c:v>52.200-52.207</c:v>
                </c:pt>
                <c:pt idx="7778">
                  <c:v>52.207-52.213</c:v>
                </c:pt>
                <c:pt idx="7779">
                  <c:v>52.213-52.220</c:v>
                </c:pt>
                <c:pt idx="7780">
                  <c:v>52.220-52.227</c:v>
                </c:pt>
                <c:pt idx="7781">
                  <c:v>52.227-52.233</c:v>
                </c:pt>
                <c:pt idx="7782">
                  <c:v>52.233-52.240</c:v>
                </c:pt>
                <c:pt idx="7783">
                  <c:v>52.240-52.247</c:v>
                </c:pt>
                <c:pt idx="7784">
                  <c:v>52.247-52.254</c:v>
                </c:pt>
                <c:pt idx="7785">
                  <c:v>52.254-52.260</c:v>
                </c:pt>
                <c:pt idx="7786">
                  <c:v>52.260-52.267</c:v>
                </c:pt>
                <c:pt idx="7787">
                  <c:v>52.267-52.274</c:v>
                </c:pt>
                <c:pt idx="7788">
                  <c:v>52.274-52.280</c:v>
                </c:pt>
                <c:pt idx="7789">
                  <c:v>52.280-52.287</c:v>
                </c:pt>
                <c:pt idx="7790">
                  <c:v>52.287-52.294</c:v>
                </c:pt>
                <c:pt idx="7791">
                  <c:v>52.294-52.301</c:v>
                </c:pt>
                <c:pt idx="7792">
                  <c:v>52.301-52.307</c:v>
                </c:pt>
                <c:pt idx="7793">
                  <c:v>52.307-52.314</c:v>
                </c:pt>
                <c:pt idx="7794">
                  <c:v>52.314-52.321</c:v>
                </c:pt>
                <c:pt idx="7795">
                  <c:v>52.321-52.327</c:v>
                </c:pt>
                <c:pt idx="7796">
                  <c:v>52.327-52.334</c:v>
                </c:pt>
                <c:pt idx="7797">
                  <c:v>52.334-52.341</c:v>
                </c:pt>
                <c:pt idx="7798">
                  <c:v>52.341-52.348</c:v>
                </c:pt>
                <c:pt idx="7799">
                  <c:v>52.348-52.354</c:v>
                </c:pt>
                <c:pt idx="7800">
                  <c:v>52.354-52.361</c:v>
                </c:pt>
                <c:pt idx="7801">
                  <c:v>52.361-52.368</c:v>
                </c:pt>
                <c:pt idx="7802">
                  <c:v>52.368-52.374</c:v>
                </c:pt>
                <c:pt idx="7803">
                  <c:v>52.374-52.381</c:v>
                </c:pt>
                <c:pt idx="7804">
                  <c:v>52.381-52.388</c:v>
                </c:pt>
                <c:pt idx="7805">
                  <c:v>52.388-52.395</c:v>
                </c:pt>
                <c:pt idx="7806">
                  <c:v>52.395-52.401</c:v>
                </c:pt>
                <c:pt idx="7807">
                  <c:v>52.401-52.408</c:v>
                </c:pt>
                <c:pt idx="7808">
                  <c:v>52.408-52.415</c:v>
                </c:pt>
                <c:pt idx="7809">
                  <c:v>52.415-52.421</c:v>
                </c:pt>
                <c:pt idx="7810">
                  <c:v>52.421-52.428</c:v>
                </c:pt>
                <c:pt idx="7811">
                  <c:v>52.428-52.435</c:v>
                </c:pt>
                <c:pt idx="7812">
                  <c:v>52.435-52.441</c:v>
                </c:pt>
                <c:pt idx="7813">
                  <c:v>52.441-52.448</c:v>
                </c:pt>
                <c:pt idx="7814">
                  <c:v>52.448-52.455</c:v>
                </c:pt>
                <c:pt idx="7815">
                  <c:v>52.455-52.462</c:v>
                </c:pt>
                <c:pt idx="7816">
                  <c:v>52.462-52.468</c:v>
                </c:pt>
                <c:pt idx="7817">
                  <c:v>52.468-52.475</c:v>
                </c:pt>
                <c:pt idx="7818">
                  <c:v>52.475-52.482</c:v>
                </c:pt>
                <c:pt idx="7819">
                  <c:v>52.482-52.488</c:v>
                </c:pt>
                <c:pt idx="7820">
                  <c:v>52.488-52.495</c:v>
                </c:pt>
                <c:pt idx="7821">
                  <c:v>52.495-52.502</c:v>
                </c:pt>
                <c:pt idx="7822">
                  <c:v>52.502-52.509</c:v>
                </c:pt>
                <c:pt idx="7823">
                  <c:v>52.509-52.515</c:v>
                </c:pt>
                <c:pt idx="7824">
                  <c:v>52.515-52.522</c:v>
                </c:pt>
                <c:pt idx="7825">
                  <c:v>52.522-52.529</c:v>
                </c:pt>
                <c:pt idx="7826">
                  <c:v>52.529-52.535</c:v>
                </c:pt>
                <c:pt idx="7827">
                  <c:v>52.535-52.542</c:v>
                </c:pt>
                <c:pt idx="7828">
                  <c:v>52.542-52.549</c:v>
                </c:pt>
                <c:pt idx="7829">
                  <c:v>52.549-52.556</c:v>
                </c:pt>
                <c:pt idx="7830">
                  <c:v>52.556-52.562</c:v>
                </c:pt>
                <c:pt idx="7831">
                  <c:v>52.562-52.569</c:v>
                </c:pt>
                <c:pt idx="7832">
                  <c:v>52.569-52.576</c:v>
                </c:pt>
                <c:pt idx="7833">
                  <c:v>52.576-52.582</c:v>
                </c:pt>
                <c:pt idx="7834">
                  <c:v>52.582-52.589</c:v>
                </c:pt>
                <c:pt idx="7835">
                  <c:v>52.589-52.596</c:v>
                </c:pt>
                <c:pt idx="7836">
                  <c:v>52.596-52.603</c:v>
                </c:pt>
                <c:pt idx="7837">
                  <c:v>52.603-52.609</c:v>
                </c:pt>
                <c:pt idx="7838">
                  <c:v>52.609-52.616</c:v>
                </c:pt>
                <c:pt idx="7839">
                  <c:v>52.616-52.623</c:v>
                </c:pt>
                <c:pt idx="7840">
                  <c:v>52.623-52.629</c:v>
                </c:pt>
                <c:pt idx="7841">
                  <c:v>52.629-52.636</c:v>
                </c:pt>
                <c:pt idx="7842">
                  <c:v>52.636-52.643</c:v>
                </c:pt>
                <c:pt idx="7843">
                  <c:v>52.643-52.650</c:v>
                </c:pt>
                <c:pt idx="7844">
                  <c:v>52.650-52.656</c:v>
                </c:pt>
                <c:pt idx="7845">
                  <c:v>52.656-52.663</c:v>
                </c:pt>
                <c:pt idx="7846">
                  <c:v>52.663-52.670</c:v>
                </c:pt>
                <c:pt idx="7847">
                  <c:v>52.670-52.676</c:v>
                </c:pt>
                <c:pt idx="7848">
                  <c:v>52.676-52.683</c:v>
                </c:pt>
                <c:pt idx="7849">
                  <c:v>52.683-52.690</c:v>
                </c:pt>
                <c:pt idx="7850">
                  <c:v>52.690-52.696</c:v>
                </c:pt>
                <c:pt idx="7851">
                  <c:v>52.696-52.703</c:v>
                </c:pt>
                <c:pt idx="7852">
                  <c:v>52.703-52.710</c:v>
                </c:pt>
                <c:pt idx="7853">
                  <c:v>52.710-52.717</c:v>
                </c:pt>
                <c:pt idx="7854">
                  <c:v>52.717-52.723</c:v>
                </c:pt>
                <c:pt idx="7855">
                  <c:v>52.723-52.730</c:v>
                </c:pt>
                <c:pt idx="7856">
                  <c:v>52.730-52.737</c:v>
                </c:pt>
                <c:pt idx="7857">
                  <c:v>52.737-52.743</c:v>
                </c:pt>
                <c:pt idx="7858">
                  <c:v>52.743-52.750</c:v>
                </c:pt>
                <c:pt idx="7859">
                  <c:v>52.750-52.757</c:v>
                </c:pt>
                <c:pt idx="7860">
                  <c:v>52.757-52.764</c:v>
                </c:pt>
                <c:pt idx="7861">
                  <c:v>52.764-52.770</c:v>
                </c:pt>
                <c:pt idx="7862">
                  <c:v>52.770-52.777</c:v>
                </c:pt>
                <c:pt idx="7863">
                  <c:v>52.777-52.784</c:v>
                </c:pt>
                <c:pt idx="7864">
                  <c:v>52.784-52.790</c:v>
                </c:pt>
                <c:pt idx="7865">
                  <c:v>52.790-52.797</c:v>
                </c:pt>
                <c:pt idx="7866">
                  <c:v>52.797-52.804</c:v>
                </c:pt>
                <c:pt idx="7867">
                  <c:v>52.804-52.811</c:v>
                </c:pt>
                <c:pt idx="7868">
                  <c:v>52.811-52.817</c:v>
                </c:pt>
                <c:pt idx="7869">
                  <c:v>52.817-52.824</c:v>
                </c:pt>
                <c:pt idx="7870">
                  <c:v>52.824-52.831</c:v>
                </c:pt>
                <c:pt idx="7871">
                  <c:v>52.831-52.837</c:v>
                </c:pt>
                <c:pt idx="7872">
                  <c:v>52.837-52.844</c:v>
                </c:pt>
                <c:pt idx="7873">
                  <c:v>52.844-52.851</c:v>
                </c:pt>
                <c:pt idx="7874">
                  <c:v>52.851-52.858</c:v>
                </c:pt>
                <c:pt idx="7875">
                  <c:v>52.858-52.864</c:v>
                </c:pt>
                <c:pt idx="7876">
                  <c:v>52.864-52.871</c:v>
                </c:pt>
                <c:pt idx="7877">
                  <c:v>52.871-52.878</c:v>
                </c:pt>
                <c:pt idx="7878">
                  <c:v>52.878-52.884</c:v>
                </c:pt>
                <c:pt idx="7879">
                  <c:v>52.884-52.891</c:v>
                </c:pt>
                <c:pt idx="7880">
                  <c:v>52.891-52.898</c:v>
                </c:pt>
                <c:pt idx="7881">
                  <c:v>52.898-52.905</c:v>
                </c:pt>
                <c:pt idx="7882">
                  <c:v>52.905-52.911</c:v>
                </c:pt>
                <c:pt idx="7883">
                  <c:v>52.911-52.918</c:v>
                </c:pt>
                <c:pt idx="7884">
                  <c:v>52.918-52.925</c:v>
                </c:pt>
                <c:pt idx="7885">
                  <c:v>52.925-52.931</c:v>
                </c:pt>
                <c:pt idx="7886">
                  <c:v>52.931-52.938</c:v>
                </c:pt>
                <c:pt idx="7887">
                  <c:v>52.938-52.945</c:v>
                </c:pt>
                <c:pt idx="7888">
                  <c:v>52.945-52.952</c:v>
                </c:pt>
                <c:pt idx="7889">
                  <c:v>52.952-52.958</c:v>
                </c:pt>
                <c:pt idx="7890">
                  <c:v>52.958-52.965</c:v>
                </c:pt>
                <c:pt idx="7891">
                  <c:v>52.965-52.972</c:v>
                </c:pt>
                <c:pt idx="7892">
                  <c:v>52.972-52.978</c:v>
                </c:pt>
                <c:pt idx="7893">
                  <c:v>52.978-52.985</c:v>
                </c:pt>
                <c:pt idx="7894">
                  <c:v>52.985-52.992</c:v>
                </c:pt>
                <c:pt idx="7895">
                  <c:v>52.992-52.998</c:v>
                </c:pt>
                <c:pt idx="7896">
                  <c:v>52.998-53.005</c:v>
                </c:pt>
                <c:pt idx="7897">
                  <c:v>53.005-53.012</c:v>
                </c:pt>
                <c:pt idx="7898">
                  <c:v>53.012-53.019</c:v>
                </c:pt>
                <c:pt idx="7899">
                  <c:v>53.019-53.025</c:v>
                </c:pt>
                <c:pt idx="7900">
                  <c:v>53.025-53.032</c:v>
                </c:pt>
                <c:pt idx="7901">
                  <c:v>53.032-53.039</c:v>
                </c:pt>
                <c:pt idx="7902">
                  <c:v>53.039-53.045</c:v>
                </c:pt>
                <c:pt idx="7903">
                  <c:v>53.045-53.052</c:v>
                </c:pt>
                <c:pt idx="7904">
                  <c:v>53.052-53.059</c:v>
                </c:pt>
                <c:pt idx="7905">
                  <c:v>53.059-53.066</c:v>
                </c:pt>
                <c:pt idx="7906">
                  <c:v>53.066-53.072</c:v>
                </c:pt>
                <c:pt idx="7907">
                  <c:v>53.072-53.079</c:v>
                </c:pt>
                <c:pt idx="7908">
                  <c:v>53.079-53.086</c:v>
                </c:pt>
                <c:pt idx="7909">
                  <c:v>53.086-53.092</c:v>
                </c:pt>
                <c:pt idx="7910">
                  <c:v>53.092-53.099</c:v>
                </c:pt>
                <c:pt idx="7911">
                  <c:v>53.099-53.106</c:v>
                </c:pt>
                <c:pt idx="7912">
                  <c:v>53.106-53.113</c:v>
                </c:pt>
                <c:pt idx="7913">
                  <c:v>53.113-53.119</c:v>
                </c:pt>
                <c:pt idx="7914">
                  <c:v>53.119-53.126</c:v>
                </c:pt>
                <c:pt idx="7915">
                  <c:v>53.126-53.133</c:v>
                </c:pt>
                <c:pt idx="7916">
                  <c:v>53.133-53.139</c:v>
                </c:pt>
                <c:pt idx="7917">
                  <c:v>53.139-53.146</c:v>
                </c:pt>
                <c:pt idx="7918">
                  <c:v>53.146-53.153</c:v>
                </c:pt>
                <c:pt idx="7919">
                  <c:v>53.153-53.160</c:v>
                </c:pt>
                <c:pt idx="7920">
                  <c:v>53.160-53.166</c:v>
                </c:pt>
                <c:pt idx="7921">
                  <c:v>53.166-53.173</c:v>
                </c:pt>
                <c:pt idx="7922">
                  <c:v>53.173-53.180</c:v>
                </c:pt>
                <c:pt idx="7923">
                  <c:v>53.180-53.186</c:v>
                </c:pt>
                <c:pt idx="7924">
                  <c:v>53.186-53.193</c:v>
                </c:pt>
                <c:pt idx="7925">
                  <c:v>53.193-53.200</c:v>
                </c:pt>
                <c:pt idx="7926">
                  <c:v>53.200-53.207</c:v>
                </c:pt>
                <c:pt idx="7927">
                  <c:v>53.207-53.213</c:v>
                </c:pt>
                <c:pt idx="7928">
                  <c:v>53.213-53.220</c:v>
                </c:pt>
                <c:pt idx="7929">
                  <c:v>53.220-53.227</c:v>
                </c:pt>
                <c:pt idx="7930">
                  <c:v>53.227-53.233</c:v>
                </c:pt>
                <c:pt idx="7931">
                  <c:v>53.233-53.240</c:v>
                </c:pt>
                <c:pt idx="7932">
                  <c:v>53.240-53.247</c:v>
                </c:pt>
                <c:pt idx="7933">
                  <c:v>53.247-53.253</c:v>
                </c:pt>
                <c:pt idx="7934">
                  <c:v>53.253-53.260</c:v>
                </c:pt>
                <c:pt idx="7935">
                  <c:v>53.260-53.267</c:v>
                </c:pt>
                <c:pt idx="7936">
                  <c:v>53.267-53.274</c:v>
                </c:pt>
                <c:pt idx="7937">
                  <c:v>53.274-53.280</c:v>
                </c:pt>
                <c:pt idx="7938">
                  <c:v>53.280-53.287</c:v>
                </c:pt>
                <c:pt idx="7939">
                  <c:v>53.287-53.294</c:v>
                </c:pt>
                <c:pt idx="7940">
                  <c:v>53.294-53.300</c:v>
                </c:pt>
                <c:pt idx="7941">
                  <c:v>53.300-53.307</c:v>
                </c:pt>
                <c:pt idx="7942">
                  <c:v>53.307-53.314</c:v>
                </c:pt>
                <c:pt idx="7943">
                  <c:v>53.314-53.321</c:v>
                </c:pt>
                <c:pt idx="7944">
                  <c:v>53.321-53.327</c:v>
                </c:pt>
                <c:pt idx="7945">
                  <c:v>53.327-53.334</c:v>
                </c:pt>
                <c:pt idx="7946">
                  <c:v>53.334-53.341</c:v>
                </c:pt>
                <c:pt idx="7947">
                  <c:v>53.341-53.347</c:v>
                </c:pt>
                <c:pt idx="7948">
                  <c:v>53.347-53.354</c:v>
                </c:pt>
                <c:pt idx="7949">
                  <c:v>53.354-53.361</c:v>
                </c:pt>
                <c:pt idx="7950">
                  <c:v>53.361-53.368</c:v>
                </c:pt>
                <c:pt idx="7951">
                  <c:v>53.368-53.374</c:v>
                </c:pt>
                <c:pt idx="7952">
                  <c:v>53.374-53.381</c:v>
                </c:pt>
                <c:pt idx="7953">
                  <c:v>53.381-53.388</c:v>
                </c:pt>
                <c:pt idx="7954">
                  <c:v>53.388-53.394</c:v>
                </c:pt>
                <c:pt idx="7955">
                  <c:v>53.394-53.401</c:v>
                </c:pt>
                <c:pt idx="7956">
                  <c:v>53.401-53.408</c:v>
                </c:pt>
                <c:pt idx="7957">
                  <c:v>53.408-53.415</c:v>
                </c:pt>
                <c:pt idx="7958">
                  <c:v>53.415-53.421</c:v>
                </c:pt>
                <c:pt idx="7959">
                  <c:v>53.421-53.428</c:v>
                </c:pt>
                <c:pt idx="7960">
                  <c:v>53.428-53.435</c:v>
                </c:pt>
                <c:pt idx="7961">
                  <c:v>53.435-53.441</c:v>
                </c:pt>
                <c:pt idx="7962">
                  <c:v>53.441-53.448</c:v>
                </c:pt>
                <c:pt idx="7963">
                  <c:v>53.448-53.455</c:v>
                </c:pt>
                <c:pt idx="7964">
                  <c:v>53.455-53.462</c:v>
                </c:pt>
                <c:pt idx="7965">
                  <c:v>53.462-53.468</c:v>
                </c:pt>
                <c:pt idx="7966">
                  <c:v>53.468-53.475</c:v>
                </c:pt>
                <c:pt idx="7967">
                  <c:v>53.475-53.482</c:v>
                </c:pt>
                <c:pt idx="7968">
                  <c:v>53.482-53.488</c:v>
                </c:pt>
                <c:pt idx="7969">
                  <c:v>53.488-53.495</c:v>
                </c:pt>
                <c:pt idx="7970">
                  <c:v>53.495-53.502</c:v>
                </c:pt>
                <c:pt idx="7971">
                  <c:v>53.502-53.508</c:v>
                </c:pt>
                <c:pt idx="7972">
                  <c:v>53.508-53.515</c:v>
                </c:pt>
                <c:pt idx="7973">
                  <c:v>53.515-53.522</c:v>
                </c:pt>
                <c:pt idx="7974">
                  <c:v>53.522-53.529</c:v>
                </c:pt>
                <c:pt idx="7975">
                  <c:v>53.529-53.535</c:v>
                </c:pt>
                <c:pt idx="7976">
                  <c:v>53.535-53.542</c:v>
                </c:pt>
                <c:pt idx="7977">
                  <c:v>53.542-53.549</c:v>
                </c:pt>
                <c:pt idx="7978">
                  <c:v>53.549-53.555</c:v>
                </c:pt>
                <c:pt idx="7979">
                  <c:v>53.555-53.562</c:v>
                </c:pt>
                <c:pt idx="7980">
                  <c:v>53.562-53.569</c:v>
                </c:pt>
                <c:pt idx="7981">
                  <c:v>53.569-53.576</c:v>
                </c:pt>
                <c:pt idx="7982">
                  <c:v>53.576-53.582</c:v>
                </c:pt>
                <c:pt idx="7983">
                  <c:v>53.582-53.589</c:v>
                </c:pt>
                <c:pt idx="7984">
                  <c:v>53.589-53.596</c:v>
                </c:pt>
                <c:pt idx="7985">
                  <c:v>53.596-53.602</c:v>
                </c:pt>
                <c:pt idx="7986">
                  <c:v>53.602-53.609</c:v>
                </c:pt>
                <c:pt idx="7987">
                  <c:v>53.609-53.616</c:v>
                </c:pt>
                <c:pt idx="7988">
                  <c:v>53.616-53.623</c:v>
                </c:pt>
                <c:pt idx="7989">
                  <c:v>53.623-53.629</c:v>
                </c:pt>
                <c:pt idx="7990">
                  <c:v>53.629-53.636</c:v>
                </c:pt>
                <c:pt idx="7991">
                  <c:v>53.636-53.643</c:v>
                </c:pt>
                <c:pt idx="7992">
                  <c:v>53.643-53.649</c:v>
                </c:pt>
                <c:pt idx="7993">
                  <c:v>53.649-53.656</c:v>
                </c:pt>
                <c:pt idx="7994">
                  <c:v>53.656-53.663</c:v>
                </c:pt>
                <c:pt idx="7995">
                  <c:v>53.663-53.670</c:v>
                </c:pt>
                <c:pt idx="7996">
                  <c:v>53.670-53.676</c:v>
                </c:pt>
                <c:pt idx="7997">
                  <c:v>53.676-53.683</c:v>
                </c:pt>
                <c:pt idx="7998">
                  <c:v>53.683-53.690</c:v>
                </c:pt>
                <c:pt idx="7999">
                  <c:v>53.690-53.696</c:v>
                </c:pt>
                <c:pt idx="8000">
                  <c:v>53.696-53.703</c:v>
                </c:pt>
                <c:pt idx="8001">
                  <c:v>53.703-53.710</c:v>
                </c:pt>
                <c:pt idx="8002">
                  <c:v>53.710-53.717</c:v>
                </c:pt>
                <c:pt idx="8003">
                  <c:v>53.717-53.723</c:v>
                </c:pt>
                <c:pt idx="8004">
                  <c:v>53.723-53.730</c:v>
                </c:pt>
                <c:pt idx="8005">
                  <c:v>53.730-53.737</c:v>
                </c:pt>
                <c:pt idx="8006">
                  <c:v>53.737-53.743</c:v>
                </c:pt>
                <c:pt idx="8007">
                  <c:v>53.743-53.750</c:v>
                </c:pt>
                <c:pt idx="8008">
                  <c:v>53.750-53.757</c:v>
                </c:pt>
                <c:pt idx="8009">
                  <c:v>53.757-53.764</c:v>
                </c:pt>
                <c:pt idx="8010">
                  <c:v>53.764-53.770</c:v>
                </c:pt>
                <c:pt idx="8011">
                  <c:v>53.770-53.777</c:v>
                </c:pt>
                <c:pt idx="8012">
                  <c:v>53.777-53.784</c:v>
                </c:pt>
                <c:pt idx="8013">
                  <c:v>53.784-53.790</c:v>
                </c:pt>
                <c:pt idx="8014">
                  <c:v>53.790-53.797</c:v>
                </c:pt>
                <c:pt idx="8015">
                  <c:v>53.797-53.804</c:v>
                </c:pt>
                <c:pt idx="8016">
                  <c:v>53.804-53.810</c:v>
                </c:pt>
                <c:pt idx="8017">
                  <c:v>53.810-53.817</c:v>
                </c:pt>
                <c:pt idx="8018">
                  <c:v>53.817-53.824</c:v>
                </c:pt>
                <c:pt idx="8019">
                  <c:v>53.824-53.831</c:v>
                </c:pt>
                <c:pt idx="8020">
                  <c:v>53.831-53.837</c:v>
                </c:pt>
                <c:pt idx="8021">
                  <c:v>53.837-53.844</c:v>
                </c:pt>
                <c:pt idx="8022">
                  <c:v>53.844-53.851</c:v>
                </c:pt>
                <c:pt idx="8023">
                  <c:v>53.851-53.857</c:v>
                </c:pt>
                <c:pt idx="8024">
                  <c:v>53.857-53.864</c:v>
                </c:pt>
                <c:pt idx="8025">
                  <c:v>53.864-53.871</c:v>
                </c:pt>
                <c:pt idx="8026">
                  <c:v>53.871-53.878</c:v>
                </c:pt>
                <c:pt idx="8027">
                  <c:v>53.878-53.884</c:v>
                </c:pt>
                <c:pt idx="8028">
                  <c:v>53.884-53.891</c:v>
                </c:pt>
                <c:pt idx="8029">
                  <c:v>53.891-53.898</c:v>
                </c:pt>
                <c:pt idx="8030">
                  <c:v>53.898-53.904</c:v>
                </c:pt>
                <c:pt idx="8031">
                  <c:v>53.904-53.911</c:v>
                </c:pt>
                <c:pt idx="8032">
                  <c:v>53.911-53.918</c:v>
                </c:pt>
                <c:pt idx="8033">
                  <c:v>53.918-53.925</c:v>
                </c:pt>
                <c:pt idx="8034">
                  <c:v>53.925-53.931</c:v>
                </c:pt>
                <c:pt idx="8035">
                  <c:v>53.931-53.938</c:v>
                </c:pt>
                <c:pt idx="8036">
                  <c:v>53.938-53.945</c:v>
                </c:pt>
                <c:pt idx="8037">
                  <c:v>53.945-53.951</c:v>
                </c:pt>
                <c:pt idx="8038">
                  <c:v>53.951-53.958</c:v>
                </c:pt>
                <c:pt idx="8039">
                  <c:v>53.958-53.965</c:v>
                </c:pt>
                <c:pt idx="8040">
                  <c:v>53.965-53.972</c:v>
                </c:pt>
                <c:pt idx="8041">
                  <c:v>53.972-53.978</c:v>
                </c:pt>
                <c:pt idx="8042">
                  <c:v>53.978-53.985</c:v>
                </c:pt>
                <c:pt idx="8043">
                  <c:v>53.985-53.992</c:v>
                </c:pt>
                <c:pt idx="8044">
                  <c:v>53.992-53.998</c:v>
                </c:pt>
                <c:pt idx="8045">
                  <c:v>53.998-54.005</c:v>
                </c:pt>
                <c:pt idx="8046">
                  <c:v>54.005-54.012</c:v>
                </c:pt>
                <c:pt idx="8047">
                  <c:v>54.012-54.019</c:v>
                </c:pt>
                <c:pt idx="8048">
                  <c:v>54.019-54.025</c:v>
                </c:pt>
                <c:pt idx="8049">
                  <c:v>54.025-54.032</c:v>
                </c:pt>
                <c:pt idx="8050">
                  <c:v>54.032-54.039</c:v>
                </c:pt>
                <c:pt idx="8051">
                  <c:v>54.039-54.045</c:v>
                </c:pt>
                <c:pt idx="8052">
                  <c:v>54.045-54.052</c:v>
                </c:pt>
                <c:pt idx="8053">
                  <c:v>54.052-54.059</c:v>
                </c:pt>
                <c:pt idx="8054">
                  <c:v>54.059-54.065</c:v>
                </c:pt>
                <c:pt idx="8055">
                  <c:v>54.065-54.072</c:v>
                </c:pt>
                <c:pt idx="8056">
                  <c:v>54.072-54.079</c:v>
                </c:pt>
                <c:pt idx="8057">
                  <c:v>54.079-54.086</c:v>
                </c:pt>
                <c:pt idx="8058">
                  <c:v>54.086-54.092</c:v>
                </c:pt>
                <c:pt idx="8059">
                  <c:v>54.092-54.099</c:v>
                </c:pt>
                <c:pt idx="8060">
                  <c:v>54.099-54.106</c:v>
                </c:pt>
                <c:pt idx="8061">
                  <c:v>54.106-54.112</c:v>
                </c:pt>
                <c:pt idx="8062">
                  <c:v>54.112-54.119</c:v>
                </c:pt>
                <c:pt idx="8063">
                  <c:v>54.119-54.126</c:v>
                </c:pt>
                <c:pt idx="8064">
                  <c:v>54.126-54.133</c:v>
                </c:pt>
                <c:pt idx="8065">
                  <c:v>54.133-54.139</c:v>
                </c:pt>
                <c:pt idx="8066">
                  <c:v>54.139-54.146</c:v>
                </c:pt>
                <c:pt idx="8067">
                  <c:v>54.146-54.153</c:v>
                </c:pt>
                <c:pt idx="8068">
                  <c:v>54.153-54.159</c:v>
                </c:pt>
                <c:pt idx="8069">
                  <c:v>54.159-54.166</c:v>
                </c:pt>
                <c:pt idx="8070">
                  <c:v>54.166-54.173</c:v>
                </c:pt>
                <c:pt idx="8071">
                  <c:v>54.173-54.180</c:v>
                </c:pt>
                <c:pt idx="8072">
                  <c:v>54.180-54.186</c:v>
                </c:pt>
                <c:pt idx="8073">
                  <c:v>54.186-54.193</c:v>
                </c:pt>
                <c:pt idx="8074">
                  <c:v>54.193-54.200</c:v>
                </c:pt>
                <c:pt idx="8075">
                  <c:v>54.200-54.206</c:v>
                </c:pt>
                <c:pt idx="8076">
                  <c:v>54.206-54.213</c:v>
                </c:pt>
                <c:pt idx="8077">
                  <c:v>54.213-54.220</c:v>
                </c:pt>
                <c:pt idx="8078">
                  <c:v>54.220-54.227</c:v>
                </c:pt>
                <c:pt idx="8079">
                  <c:v>54.227-54.233</c:v>
                </c:pt>
                <c:pt idx="8080">
                  <c:v>54.233-54.240</c:v>
                </c:pt>
                <c:pt idx="8081">
                  <c:v>54.240-54.247</c:v>
                </c:pt>
                <c:pt idx="8082">
                  <c:v>54.247-54.253</c:v>
                </c:pt>
                <c:pt idx="8083">
                  <c:v>54.253-54.260</c:v>
                </c:pt>
                <c:pt idx="8084">
                  <c:v>54.260-54.267</c:v>
                </c:pt>
                <c:pt idx="8085">
                  <c:v>54.267-54.274</c:v>
                </c:pt>
                <c:pt idx="8086">
                  <c:v>54.274-54.280</c:v>
                </c:pt>
                <c:pt idx="8087">
                  <c:v>54.280-54.287</c:v>
                </c:pt>
                <c:pt idx="8088">
                  <c:v>54.287-54.294</c:v>
                </c:pt>
                <c:pt idx="8089">
                  <c:v>54.294-54.300</c:v>
                </c:pt>
                <c:pt idx="8090">
                  <c:v>54.300-54.307</c:v>
                </c:pt>
                <c:pt idx="8091">
                  <c:v>54.307-54.314</c:v>
                </c:pt>
                <c:pt idx="8092">
                  <c:v>54.314-54.321</c:v>
                </c:pt>
                <c:pt idx="8093">
                  <c:v>54.321-54.327</c:v>
                </c:pt>
                <c:pt idx="8094">
                  <c:v>54.327-54.334</c:v>
                </c:pt>
                <c:pt idx="8095">
                  <c:v>54.334-54.341</c:v>
                </c:pt>
                <c:pt idx="8096">
                  <c:v>54.341-54.347</c:v>
                </c:pt>
                <c:pt idx="8097">
                  <c:v>54.347-54.354</c:v>
                </c:pt>
                <c:pt idx="8098">
                  <c:v>54.354-54.361</c:v>
                </c:pt>
                <c:pt idx="8099">
                  <c:v>54.361-54.367</c:v>
                </c:pt>
                <c:pt idx="8100">
                  <c:v>54.367-54.374</c:v>
                </c:pt>
                <c:pt idx="8101">
                  <c:v>54.374-54.381</c:v>
                </c:pt>
                <c:pt idx="8102">
                  <c:v>54.381-54.388</c:v>
                </c:pt>
                <c:pt idx="8103">
                  <c:v>54.388-54.394</c:v>
                </c:pt>
                <c:pt idx="8104">
                  <c:v>54.394-54.401</c:v>
                </c:pt>
                <c:pt idx="8105">
                  <c:v>54.401-54.408</c:v>
                </c:pt>
                <c:pt idx="8106">
                  <c:v>54.408-54.414</c:v>
                </c:pt>
                <c:pt idx="8107">
                  <c:v>54.414-54.421</c:v>
                </c:pt>
                <c:pt idx="8108">
                  <c:v>54.421-54.428</c:v>
                </c:pt>
                <c:pt idx="8109">
                  <c:v>54.428-54.435</c:v>
                </c:pt>
                <c:pt idx="8110">
                  <c:v>54.435-54.441</c:v>
                </c:pt>
                <c:pt idx="8111">
                  <c:v>54.441-54.448</c:v>
                </c:pt>
                <c:pt idx="8112">
                  <c:v>54.448-54.455</c:v>
                </c:pt>
                <c:pt idx="8113">
                  <c:v>54.455-54.461</c:v>
                </c:pt>
                <c:pt idx="8114">
                  <c:v>54.461-54.468</c:v>
                </c:pt>
                <c:pt idx="8115">
                  <c:v>54.468-54.475</c:v>
                </c:pt>
                <c:pt idx="8116">
                  <c:v>54.475-54.482</c:v>
                </c:pt>
                <c:pt idx="8117">
                  <c:v>54.482-54.488</c:v>
                </c:pt>
                <c:pt idx="8118">
                  <c:v>54.488-54.495</c:v>
                </c:pt>
                <c:pt idx="8119">
                  <c:v>54.495-54.502</c:v>
                </c:pt>
                <c:pt idx="8120">
                  <c:v>54.502-54.508</c:v>
                </c:pt>
                <c:pt idx="8121">
                  <c:v>54.508-54.515</c:v>
                </c:pt>
                <c:pt idx="8122">
                  <c:v>54.515-54.522</c:v>
                </c:pt>
                <c:pt idx="8123">
                  <c:v>54.522-54.529</c:v>
                </c:pt>
                <c:pt idx="8124">
                  <c:v>54.529-54.535</c:v>
                </c:pt>
                <c:pt idx="8125">
                  <c:v>54.535-54.542</c:v>
                </c:pt>
                <c:pt idx="8126">
                  <c:v>54.542-54.549</c:v>
                </c:pt>
                <c:pt idx="8127">
                  <c:v>54.549-54.555</c:v>
                </c:pt>
                <c:pt idx="8128">
                  <c:v>54.555-54.562</c:v>
                </c:pt>
                <c:pt idx="8129">
                  <c:v>54.562-54.569</c:v>
                </c:pt>
                <c:pt idx="8130">
                  <c:v>54.569-54.576</c:v>
                </c:pt>
                <c:pt idx="8131">
                  <c:v>54.576-54.582</c:v>
                </c:pt>
                <c:pt idx="8132">
                  <c:v>54.582-54.589</c:v>
                </c:pt>
                <c:pt idx="8133">
                  <c:v>54.589-54.596</c:v>
                </c:pt>
                <c:pt idx="8134">
                  <c:v>54.596-54.602</c:v>
                </c:pt>
                <c:pt idx="8135">
                  <c:v>54.602-54.609</c:v>
                </c:pt>
                <c:pt idx="8136">
                  <c:v>54.609-54.616</c:v>
                </c:pt>
                <c:pt idx="8137">
                  <c:v>54.616-54.622</c:v>
                </c:pt>
                <c:pt idx="8138">
                  <c:v>54.622-54.629</c:v>
                </c:pt>
                <c:pt idx="8139">
                  <c:v>54.629-54.636</c:v>
                </c:pt>
                <c:pt idx="8140">
                  <c:v>54.636-54.643</c:v>
                </c:pt>
                <c:pt idx="8141">
                  <c:v>54.643-54.649</c:v>
                </c:pt>
                <c:pt idx="8142">
                  <c:v>54.649-54.656</c:v>
                </c:pt>
                <c:pt idx="8143">
                  <c:v>54.656-54.663</c:v>
                </c:pt>
                <c:pt idx="8144">
                  <c:v>54.663-54.669</c:v>
                </c:pt>
                <c:pt idx="8145">
                  <c:v>54.669-54.676</c:v>
                </c:pt>
                <c:pt idx="8146">
                  <c:v>54.676-54.683</c:v>
                </c:pt>
                <c:pt idx="8147">
                  <c:v>54.683-54.690</c:v>
                </c:pt>
                <c:pt idx="8148">
                  <c:v>54.690-54.696</c:v>
                </c:pt>
                <c:pt idx="8149">
                  <c:v>54.696-54.703</c:v>
                </c:pt>
                <c:pt idx="8150">
                  <c:v>54.703-54.710</c:v>
                </c:pt>
                <c:pt idx="8151">
                  <c:v>54.710-54.716</c:v>
                </c:pt>
                <c:pt idx="8152">
                  <c:v>54.716-54.723</c:v>
                </c:pt>
                <c:pt idx="8153">
                  <c:v>54.723-54.730</c:v>
                </c:pt>
                <c:pt idx="8154">
                  <c:v>54.730-54.737</c:v>
                </c:pt>
                <c:pt idx="8155">
                  <c:v>54.737-54.743</c:v>
                </c:pt>
                <c:pt idx="8156">
                  <c:v>54.743-54.750</c:v>
                </c:pt>
                <c:pt idx="8157">
                  <c:v>54.750-54.757</c:v>
                </c:pt>
                <c:pt idx="8158">
                  <c:v>54.757-54.763</c:v>
                </c:pt>
                <c:pt idx="8159">
                  <c:v>54.763-54.770</c:v>
                </c:pt>
                <c:pt idx="8160">
                  <c:v>54.770-54.777</c:v>
                </c:pt>
                <c:pt idx="8161">
                  <c:v>54.777-54.784</c:v>
                </c:pt>
                <c:pt idx="8162">
                  <c:v>54.784-54.790</c:v>
                </c:pt>
                <c:pt idx="8163">
                  <c:v>54.790-54.797</c:v>
                </c:pt>
                <c:pt idx="8164">
                  <c:v>54.797-54.804</c:v>
                </c:pt>
                <c:pt idx="8165">
                  <c:v>54.804-54.810</c:v>
                </c:pt>
                <c:pt idx="8166">
                  <c:v>54.810-54.817</c:v>
                </c:pt>
                <c:pt idx="8167">
                  <c:v>54.817-54.824</c:v>
                </c:pt>
                <c:pt idx="8168">
                  <c:v>54.824-54.831</c:v>
                </c:pt>
                <c:pt idx="8169">
                  <c:v>54.831-54.837</c:v>
                </c:pt>
                <c:pt idx="8170">
                  <c:v>54.837-54.844</c:v>
                </c:pt>
                <c:pt idx="8171">
                  <c:v>54.844-54.851</c:v>
                </c:pt>
                <c:pt idx="8172">
                  <c:v>54.851-54.857</c:v>
                </c:pt>
                <c:pt idx="8173">
                  <c:v>54.857-54.864</c:v>
                </c:pt>
                <c:pt idx="8174">
                  <c:v>54.864-54.871</c:v>
                </c:pt>
                <c:pt idx="8175">
                  <c:v>54.871-54.878</c:v>
                </c:pt>
                <c:pt idx="8176">
                  <c:v>54.878-54.884</c:v>
                </c:pt>
                <c:pt idx="8177">
                  <c:v>54.884-54.891</c:v>
                </c:pt>
                <c:pt idx="8178">
                  <c:v>54.891-54.898</c:v>
                </c:pt>
                <c:pt idx="8179">
                  <c:v>54.898-54.904</c:v>
                </c:pt>
                <c:pt idx="8180">
                  <c:v>54.904-54.911</c:v>
                </c:pt>
                <c:pt idx="8181">
                  <c:v>54.911-54.918</c:v>
                </c:pt>
                <c:pt idx="8182">
                  <c:v>54.918-54.924</c:v>
                </c:pt>
                <c:pt idx="8183">
                  <c:v>54.924-54.931</c:v>
                </c:pt>
                <c:pt idx="8184">
                  <c:v>54.931-54.938</c:v>
                </c:pt>
                <c:pt idx="8185">
                  <c:v>54.938-54.945</c:v>
                </c:pt>
                <c:pt idx="8186">
                  <c:v>54.945-54.951</c:v>
                </c:pt>
                <c:pt idx="8187">
                  <c:v>54.951-54.958</c:v>
                </c:pt>
                <c:pt idx="8188">
                  <c:v>54.958-54.965</c:v>
                </c:pt>
                <c:pt idx="8189">
                  <c:v>54.965-54.971</c:v>
                </c:pt>
                <c:pt idx="8190">
                  <c:v>54.971-54.978</c:v>
                </c:pt>
                <c:pt idx="8191">
                  <c:v>54.978-54.985</c:v>
                </c:pt>
                <c:pt idx="8192">
                  <c:v>54.985-54.992</c:v>
                </c:pt>
                <c:pt idx="8193">
                  <c:v>54.992-54.998</c:v>
                </c:pt>
                <c:pt idx="8194">
                  <c:v>54.998-55.005</c:v>
                </c:pt>
                <c:pt idx="8195">
                  <c:v>55.005-55.012</c:v>
                </c:pt>
                <c:pt idx="8196">
                  <c:v>55.012-55.018</c:v>
                </c:pt>
                <c:pt idx="8197">
                  <c:v>55.018-55.025</c:v>
                </c:pt>
                <c:pt idx="8198">
                  <c:v>55.025-55.032</c:v>
                </c:pt>
                <c:pt idx="8199">
                  <c:v>55.032-55.039</c:v>
                </c:pt>
                <c:pt idx="8200">
                  <c:v>55.039-55.045</c:v>
                </c:pt>
                <c:pt idx="8201">
                  <c:v>55.045-55.052</c:v>
                </c:pt>
                <c:pt idx="8202">
                  <c:v>55.052-55.059</c:v>
                </c:pt>
                <c:pt idx="8203">
                  <c:v>55.059-55.065</c:v>
                </c:pt>
                <c:pt idx="8204">
                  <c:v>55.065-55.072</c:v>
                </c:pt>
                <c:pt idx="8205">
                  <c:v>55.072-55.079</c:v>
                </c:pt>
                <c:pt idx="8206">
                  <c:v>55.079-55.086</c:v>
                </c:pt>
                <c:pt idx="8207">
                  <c:v>55.086-55.092</c:v>
                </c:pt>
                <c:pt idx="8208">
                  <c:v>55.092-55.099</c:v>
                </c:pt>
                <c:pt idx="8209">
                  <c:v>55.099-55.106</c:v>
                </c:pt>
                <c:pt idx="8210">
                  <c:v>55.106-55.112</c:v>
                </c:pt>
                <c:pt idx="8211">
                  <c:v>55.112-55.119</c:v>
                </c:pt>
                <c:pt idx="8212">
                  <c:v>55.119-55.126</c:v>
                </c:pt>
                <c:pt idx="8213">
                  <c:v>55.126-55.133</c:v>
                </c:pt>
                <c:pt idx="8214">
                  <c:v>55.133-55.139</c:v>
                </c:pt>
                <c:pt idx="8215">
                  <c:v>55.139-55.146</c:v>
                </c:pt>
                <c:pt idx="8216">
                  <c:v>55.146-55.153</c:v>
                </c:pt>
                <c:pt idx="8217">
                  <c:v>55.153-55.159</c:v>
                </c:pt>
                <c:pt idx="8218">
                  <c:v>55.159-55.166</c:v>
                </c:pt>
                <c:pt idx="8219">
                  <c:v>55.166-55.173</c:v>
                </c:pt>
                <c:pt idx="8220">
                  <c:v>55.173-55.179</c:v>
                </c:pt>
                <c:pt idx="8221">
                  <c:v>55.179-55.186</c:v>
                </c:pt>
                <c:pt idx="8222">
                  <c:v>55.186-55.193</c:v>
                </c:pt>
                <c:pt idx="8223">
                  <c:v>55.193-55.200</c:v>
                </c:pt>
                <c:pt idx="8224">
                  <c:v>55.200-55.206</c:v>
                </c:pt>
                <c:pt idx="8225">
                  <c:v>55.206-55.213</c:v>
                </c:pt>
                <c:pt idx="8226">
                  <c:v>55.213-55.220</c:v>
                </c:pt>
                <c:pt idx="8227">
                  <c:v>55.220-55.226</c:v>
                </c:pt>
                <c:pt idx="8228">
                  <c:v>55.226-55.233</c:v>
                </c:pt>
                <c:pt idx="8229">
                  <c:v>55.233-55.240</c:v>
                </c:pt>
                <c:pt idx="8230">
                  <c:v>55.240-55.247</c:v>
                </c:pt>
                <c:pt idx="8231">
                  <c:v>55.247-55.253</c:v>
                </c:pt>
                <c:pt idx="8232">
                  <c:v>55.253-55.260</c:v>
                </c:pt>
                <c:pt idx="8233">
                  <c:v>55.260-55.267</c:v>
                </c:pt>
                <c:pt idx="8234">
                  <c:v>55.267-55.273</c:v>
                </c:pt>
                <c:pt idx="8235">
                  <c:v>55.273-55.280</c:v>
                </c:pt>
                <c:pt idx="8236">
                  <c:v>55.280-55.287</c:v>
                </c:pt>
                <c:pt idx="8237">
                  <c:v>55.287-55.294</c:v>
                </c:pt>
                <c:pt idx="8238">
                  <c:v>55.294-55.300</c:v>
                </c:pt>
                <c:pt idx="8239">
                  <c:v>55.300-55.307</c:v>
                </c:pt>
                <c:pt idx="8240">
                  <c:v>55.307-55.314</c:v>
                </c:pt>
                <c:pt idx="8241">
                  <c:v>55.314-55.320</c:v>
                </c:pt>
                <c:pt idx="8242">
                  <c:v>55.320-55.327</c:v>
                </c:pt>
                <c:pt idx="8243">
                  <c:v>55.327-55.334</c:v>
                </c:pt>
                <c:pt idx="8244">
                  <c:v>55.334-55.341</c:v>
                </c:pt>
                <c:pt idx="8245">
                  <c:v>55.341-55.347</c:v>
                </c:pt>
                <c:pt idx="8246">
                  <c:v>55.347-55.354</c:v>
                </c:pt>
                <c:pt idx="8247">
                  <c:v>55.354-55.361</c:v>
                </c:pt>
                <c:pt idx="8248">
                  <c:v>55.361-55.367</c:v>
                </c:pt>
                <c:pt idx="8249">
                  <c:v>55.367-55.374</c:v>
                </c:pt>
                <c:pt idx="8250">
                  <c:v>55.374-55.381</c:v>
                </c:pt>
                <c:pt idx="8251">
                  <c:v>55.381-55.388</c:v>
                </c:pt>
                <c:pt idx="8252">
                  <c:v>55.388-55.394</c:v>
                </c:pt>
                <c:pt idx="8253">
                  <c:v>55.394-55.401</c:v>
                </c:pt>
                <c:pt idx="8254">
                  <c:v>55.401-55.408</c:v>
                </c:pt>
                <c:pt idx="8255">
                  <c:v>55.408-55.414</c:v>
                </c:pt>
                <c:pt idx="8256">
                  <c:v>55.414-55.421</c:v>
                </c:pt>
                <c:pt idx="8257">
                  <c:v>55.421-55.428</c:v>
                </c:pt>
                <c:pt idx="8258">
                  <c:v>55.428-55.434</c:v>
                </c:pt>
                <c:pt idx="8259">
                  <c:v>55.434-55.441</c:v>
                </c:pt>
                <c:pt idx="8260">
                  <c:v>55.441-55.448</c:v>
                </c:pt>
                <c:pt idx="8261">
                  <c:v>55.448-55.455</c:v>
                </c:pt>
                <c:pt idx="8262">
                  <c:v>55.455-55.461</c:v>
                </c:pt>
                <c:pt idx="8263">
                  <c:v>55.461-55.468</c:v>
                </c:pt>
                <c:pt idx="8264">
                  <c:v>55.468-55.475</c:v>
                </c:pt>
                <c:pt idx="8265">
                  <c:v>55.475-55.481</c:v>
                </c:pt>
                <c:pt idx="8266">
                  <c:v>55.481-55.488</c:v>
                </c:pt>
                <c:pt idx="8267">
                  <c:v>55.488-55.495</c:v>
                </c:pt>
                <c:pt idx="8268">
                  <c:v>55.495-55.502</c:v>
                </c:pt>
                <c:pt idx="8269">
                  <c:v>55.502-55.508</c:v>
                </c:pt>
                <c:pt idx="8270">
                  <c:v>55.508-55.515</c:v>
                </c:pt>
                <c:pt idx="8271">
                  <c:v>55.515-55.522</c:v>
                </c:pt>
                <c:pt idx="8272">
                  <c:v>55.522-55.528</c:v>
                </c:pt>
                <c:pt idx="8273">
                  <c:v>55.528-55.535</c:v>
                </c:pt>
                <c:pt idx="8274">
                  <c:v>55.535-55.542</c:v>
                </c:pt>
                <c:pt idx="8275">
                  <c:v>55.542-55.549</c:v>
                </c:pt>
                <c:pt idx="8276">
                  <c:v>55.549-55.555</c:v>
                </c:pt>
                <c:pt idx="8277">
                  <c:v>55.555-55.562</c:v>
                </c:pt>
                <c:pt idx="8278">
                  <c:v>55.562-55.569</c:v>
                </c:pt>
                <c:pt idx="8279">
                  <c:v>55.569-55.575</c:v>
                </c:pt>
                <c:pt idx="8280">
                  <c:v>55.575-55.582</c:v>
                </c:pt>
                <c:pt idx="8281">
                  <c:v>55.582-55.589</c:v>
                </c:pt>
                <c:pt idx="8282">
                  <c:v>55.589-55.596</c:v>
                </c:pt>
                <c:pt idx="8283">
                  <c:v>55.596-55.602</c:v>
                </c:pt>
                <c:pt idx="8284">
                  <c:v>55.602-55.609</c:v>
                </c:pt>
                <c:pt idx="8285">
                  <c:v>55.609-55.616</c:v>
                </c:pt>
                <c:pt idx="8286">
                  <c:v>55.616-55.622</c:v>
                </c:pt>
                <c:pt idx="8287">
                  <c:v>55.622-55.629</c:v>
                </c:pt>
                <c:pt idx="8288">
                  <c:v>55.629-55.636</c:v>
                </c:pt>
                <c:pt idx="8289">
                  <c:v>55.636-55.643</c:v>
                </c:pt>
                <c:pt idx="8290">
                  <c:v>55.643-55.649</c:v>
                </c:pt>
                <c:pt idx="8291">
                  <c:v>55.649-55.656</c:v>
                </c:pt>
                <c:pt idx="8292">
                  <c:v>55.656-55.663</c:v>
                </c:pt>
                <c:pt idx="8293">
                  <c:v>55.663-55.669</c:v>
                </c:pt>
                <c:pt idx="8294">
                  <c:v>55.669-55.676</c:v>
                </c:pt>
                <c:pt idx="8295">
                  <c:v>55.676-55.683</c:v>
                </c:pt>
                <c:pt idx="8296">
                  <c:v>55.683-55.690</c:v>
                </c:pt>
                <c:pt idx="8297">
                  <c:v>55.690-55.696</c:v>
                </c:pt>
                <c:pt idx="8298">
                  <c:v>55.696-55.703</c:v>
                </c:pt>
                <c:pt idx="8299">
                  <c:v>55.703-55.710</c:v>
                </c:pt>
                <c:pt idx="8300">
                  <c:v>55.710-55.716</c:v>
                </c:pt>
                <c:pt idx="8301">
                  <c:v>55.716-55.723</c:v>
                </c:pt>
                <c:pt idx="8302">
                  <c:v>55.723-55.730</c:v>
                </c:pt>
                <c:pt idx="8303">
                  <c:v>55.730-55.736</c:v>
                </c:pt>
                <c:pt idx="8304">
                  <c:v>55.736-55.743</c:v>
                </c:pt>
                <c:pt idx="8305">
                  <c:v>55.743-55.750</c:v>
                </c:pt>
                <c:pt idx="8306">
                  <c:v>55.750-55.757</c:v>
                </c:pt>
                <c:pt idx="8307">
                  <c:v>55.757-55.763</c:v>
                </c:pt>
                <c:pt idx="8308">
                  <c:v>55.763-55.770</c:v>
                </c:pt>
                <c:pt idx="8309">
                  <c:v>55.770-55.777</c:v>
                </c:pt>
                <c:pt idx="8310">
                  <c:v>55.777-55.783</c:v>
                </c:pt>
                <c:pt idx="8311">
                  <c:v>55.783-55.790</c:v>
                </c:pt>
                <c:pt idx="8312">
                  <c:v>55.790-55.797</c:v>
                </c:pt>
                <c:pt idx="8313">
                  <c:v>55.797-55.804</c:v>
                </c:pt>
                <c:pt idx="8314">
                  <c:v>55.804-55.810</c:v>
                </c:pt>
                <c:pt idx="8315">
                  <c:v>55.810-55.817</c:v>
                </c:pt>
                <c:pt idx="8316">
                  <c:v>55.817-55.824</c:v>
                </c:pt>
                <c:pt idx="8317">
                  <c:v>55.824-55.830</c:v>
                </c:pt>
                <c:pt idx="8318">
                  <c:v>55.830-55.837</c:v>
                </c:pt>
                <c:pt idx="8319">
                  <c:v>55.837-55.844</c:v>
                </c:pt>
                <c:pt idx="8320">
                  <c:v>55.844-55.851</c:v>
                </c:pt>
                <c:pt idx="8321">
                  <c:v>55.851-55.857</c:v>
                </c:pt>
                <c:pt idx="8322">
                  <c:v>55.857-55.864</c:v>
                </c:pt>
                <c:pt idx="8323">
                  <c:v>55.864-55.871</c:v>
                </c:pt>
                <c:pt idx="8324">
                  <c:v>55.871-55.877</c:v>
                </c:pt>
                <c:pt idx="8325">
                  <c:v>55.877-55.884</c:v>
                </c:pt>
                <c:pt idx="8326">
                  <c:v>55.884-55.891</c:v>
                </c:pt>
                <c:pt idx="8327">
                  <c:v>55.891-55.898</c:v>
                </c:pt>
                <c:pt idx="8328">
                  <c:v>55.898-55.904</c:v>
                </c:pt>
                <c:pt idx="8329">
                  <c:v>55.904-55.911</c:v>
                </c:pt>
                <c:pt idx="8330">
                  <c:v>55.911-55.918</c:v>
                </c:pt>
                <c:pt idx="8331">
                  <c:v>55.918-55.924</c:v>
                </c:pt>
                <c:pt idx="8332">
                  <c:v>55.924-55.931</c:v>
                </c:pt>
                <c:pt idx="8333">
                  <c:v>55.931-55.938</c:v>
                </c:pt>
                <c:pt idx="8334">
                  <c:v>55.938-55.945</c:v>
                </c:pt>
                <c:pt idx="8335">
                  <c:v>55.945-55.951</c:v>
                </c:pt>
                <c:pt idx="8336">
                  <c:v>55.951-55.958</c:v>
                </c:pt>
                <c:pt idx="8337">
                  <c:v>55.958-55.965</c:v>
                </c:pt>
                <c:pt idx="8338">
                  <c:v>55.965-55.971</c:v>
                </c:pt>
                <c:pt idx="8339">
                  <c:v>55.971-55.978</c:v>
                </c:pt>
                <c:pt idx="8340">
                  <c:v>55.978-55.985</c:v>
                </c:pt>
                <c:pt idx="8341">
                  <c:v>55.985-55.991</c:v>
                </c:pt>
                <c:pt idx="8342">
                  <c:v>55.991-55.998</c:v>
                </c:pt>
                <c:pt idx="8343">
                  <c:v>55.998-56.005</c:v>
                </c:pt>
                <c:pt idx="8344">
                  <c:v>56.005-56.012</c:v>
                </c:pt>
                <c:pt idx="8345">
                  <c:v>56.012-56.018</c:v>
                </c:pt>
                <c:pt idx="8346">
                  <c:v>56.018-56.025</c:v>
                </c:pt>
                <c:pt idx="8347">
                  <c:v>56.025-56.032</c:v>
                </c:pt>
                <c:pt idx="8348">
                  <c:v>56.032-56.038</c:v>
                </c:pt>
                <c:pt idx="8349">
                  <c:v>56.038-56.045</c:v>
                </c:pt>
                <c:pt idx="8350">
                  <c:v>56.045-56.052</c:v>
                </c:pt>
                <c:pt idx="8351">
                  <c:v>56.052-56.059</c:v>
                </c:pt>
                <c:pt idx="8352">
                  <c:v>56.059-56.065</c:v>
                </c:pt>
                <c:pt idx="8353">
                  <c:v>56.065-56.072</c:v>
                </c:pt>
                <c:pt idx="8354">
                  <c:v>56.072-56.079</c:v>
                </c:pt>
                <c:pt idx="8355">
                  <c:v>56.079-56.085</c:v>
                </c:pt>
                <c:pt idx="8356">
                  <c:v>56.085-56.092</c:v>
                </c:pt>
                <c:pt idx="8357">
                  <c:v>56.092-56.099</c:v>
                </c:pt>
                <c:pt idx="8358">
                  <c:v>56.099-56.106</c:v>
                </c:pt>
                <c:pt idx="8359">
                  <c:v>56.106-56.112</c:v>
                </c:pt>
                <c:pt idx="8360">
                  <c:v>56.112-56.119</c:v>
                </c:pt>
                <c:pt idx="8361">
                  <c:v>56.119-56.126</c:v>
                </c:pt>
                <c:pt idx="8362">
                  <c:v>56.126-56.132</c:v>
                </c:pt>
                <c:pt idx="8363">
                  <c:v>56.132-56.139</c:v>
                </c:pt>
                <c:pt idx="8364">
                  <c:v>56.139-56.146</c:v>
                </c:pt>
                <c:pt idx="8365">
                  <c:v>56.146-56.153</c:v>
                </c:pt>
                <c:pt idx="8366">
                  <c:v>56.153-56.159</c:v>
                </c:pt>
                <c:pt idx="8367">
                  <c:v>56.159-56.166</c:v>
                </c:pt>
                <c:pt idx="8368">
                  <c:v>56.166-56.173</c:v>
                </c:pt>
                <c:pt idx="8369">
                  <c:v>56.173-56.179</c:v>
                </c:pt>
                <c:pt idx="8370">
                  <c:v>56.179-56.186</c:v>
                </c:pt>
                <c:pt idx="8371">
                  <c:v>56.186-56.193</c:v>
                </c:pt>
                <c:pt idx="8372">
                  <c:v>56.193-56.200</c:v>
                </c:pt>
                <c:pt idx="8373">
                  <c:v>56.200-56.206</c:v>
                </c:pt>
                <c:pt idx="8374">
                  <c:v>56.206-56.213</c:v>
                </c:pt>
                <c:pt idx="8375">
                  <c:v>56.213-56.220</c:v>
                </c:pt>
                <c:pt idx="8376">
                  <c:v>56.220-56.226</c:v>
                </c:pt>
                <c:pt idx="8377">
                  <c:v>56.226-56.233</c:v>
                </c:pt>
                <c:pt idx="8378">
                  <c:v>56.233-56.240</c:v>
                </c:pt>
                <c:pt idx="8379">
                  <c:v>56.240-56.247</c:v>
                </c:pt>
                <c:pt idx="8380">
                  <c:v>56.247-56.253</c:v>
                </c:pt>
                <c:pt idx="8381">
                  <c:v>56.253-56.260</c:v>
                </c:pt>
                <c:pt idx="8382">
                  <c:v>56.260-56.267</c:v>
                </c:pt>
                <c:pt idx="8383">
                  <c:v>56.267-56.273</c:v>
                </c:pt>
                <c:pt idx="8384">
                  <c:v>56.273-56.280</c:v>
                </c:pt>
                <c:pt idx="8385">
                  <c:v>56.280-56.287</c:v>
                </c:pt>
                <c:pt idx="8386">
                  <c:v>56.287-56.293</c:v>
                </c:pt>
                <c:pt idx="8387">
                  <c:v>56.293-56.300</c:v>
                </c:pt>
                <c:pt idx="8388">
                  <c:v>56.300-56.307</c:v>
                </c:pt>
                <c:pt idx="8389">
                  <c:v>56.307-56.314</c:v>
                </c:pt>
                <c:pt idx="8390">
                  <c:v>56.314-56.320</c:v>
                </c:pt>
                <c:pt idx="8391">
                  <c:v>56.320-56.327</c:v>
                </c:pt>
                <c:pt idx="8392">
                  <c:v>56.327-56.334</c:v>
                </c:pt>
                <c:pt idx="8393">
                  <c:v>56.334-56.340</c:v>
                </c:pt>
                <c:pt idx="8394">
                  <c:v>56.340-56.347</c:v>
                </c:pt>
                <c:pt idx="8395">
                  <c:v>56.347-56.354</c:v>
                </c:pt>
                <c:pt idx="8396">
                  <c:v>56.354-56.361</c:v>
                </c:pt>
                <c:pt idx="8397">
                  <c:v>56.361-56.367</c:v>
                </c:pt>
                <c:pt idx="8398">
                  <c:v>56.367-56.374</c:v>
                </c:pt>
                <c:pt idx="8399">
                  <c:v>56.374-56.381</c:v>
                </c:pt>
                <c:pt idx="8400">
                  <c:v>56.381-56.387</c:v>
                </c:pt>
                <c:pt idx="8401">
                  <c:v>56.387-56.394</c:v>
                </c:pt>
                <c:pt idx="8402">
                  <c:v>56.394-56.401</c:v>
                </c:pt>
                <c:pt idx="8403">
                  <c:v>56.401-56.408</c:v>
                </c:pt>
                <c:pt idx="8404">
                  <c:v>56.408-56.414</c:v>
                </c:pt>
                <c:pt idx="8405">
                  <c:v>56.414-56.421</c:v>
                </c:pt>
                <c:pt idx="8406">
                  <c:v>56.421-56.428</c:v>
                </c:pt>
                <c:pt idx="8407">
                  <c:v>56.428-56.434</c:v>
                </c:pt>
                <c:pt idx="8408">
                  <c:v>56.434-56.441</c:v>
                </c:pt>
                <c:pt idx="8409">
                  <c:v>56.441-56.448</c:v>
                </c:pt>
                <c:pt idx="8410">
                  <c:v>56.448-56.455</c:v>
                </c:pt>
                <c:pt idx="8411">
                  <c:v>56.455-56.461</c:v>
                </c:pt>
                <c:pt idx="8412">
                  <c:v>56.461-56.468</c:v>
                </c:pt>
                <c:pt idx="8413">
                  <c:v>56.468-56.475</c:v>
                </c:pt>
                <c:pt idx="8414">
                  <c:v>56.475-56.481</c:v>
                </c:pt>
                <c:pt idx="8415">
                  <c:v>56.481-56.488</c:v>
                </c:pt>
                <c:pt idx="8416">
                  <c:v>56.488-56.495</c:v>
                </c:pt>
                <c:pt idx="8417">
                  <c:v>56.495-56.502</c:v>
                </c:pt>
                <c:pt idx="8418">
                  <c:v>56.502-56.508</c:v>
                </c:pt>
                <c:pt idx="8419">
                  <c:v>56.508-56.515</c:v>
                </c:pt>
                <c:pt idx="8420">
                  <c:v>56.515-56.522</c:v>
                </c:pt>
                <c:pt idx="8421">
                  <c:v>56.522-56.528</c:v>
                </c:pt>
                <c:pt idx="8422">
                  <c:v>56.528-56.535</c:v>
                </c:pt>
                <c:pt idx="8423">
                  <c:v>56.535-56.542</c:v>
                </c:pt>
                <c:pt idx="8424">
                  <c:v>56.542-56.548</c:v>
                </c:pt>
                <c:pt idx="8425">
                  <c:v>56.548-56.555</c:v>
                </c:pt>
                <c:pt idx="8426">
                  <c:v>56.555-56.562</c:v>
                </c:pt>
                <c:pt idx="8427">
                  <c:v>56.562-56.569</c:v>
                </c:pt>
                <c:pt idx="8428">
                  <c:v>56.569-56.575</c:v>
                </c:pt>
                <c:pt idx="8429">
                  <c:v>56.575-56.582</c:v>
                </c:pt>
                <c:pt idx="8430">
                  <c:v>56.582-56.589</c:v>
                </c:pt>
                <c:pt idx="8431">
                  <c:v>56.589-56.595</c:v>
                </c:pt>
                <c:pt idx="8432">
                  <c:v>56.595-56.602</c:v>
                </c:pt>
                <c:pt idx="8433">
                  <c:v>56.602-56.609</c:v>
                </c:pt>
                <c:pt idx="8434">
                  <c:v>56.609-56.616</c:v>
                </c:pt>
                <c:pt idx="8435">
                  <c:v>56.616-56.622</c:v>
                </c:pt>
                <c:pt idx="8436">
                  <c:v>56.622-56.629</c:v>
                </c:pt>
                <c:pt idx="8437">
                  <c:v>56.629-56.636</c:v>
                </c:pt>
                <c:pt idx="8438">
                  <c:v>56.636-56.642</c:v>
                </c:pt>
                <c:pt idx="8439">
                  <c:v>56.642-56.649</c:v>
                </c:pt>
                <c:pt idx="8440">
                  <c:v>56.649-56.656</c:v>
                </c:pt>
                <c:pt idx="8441">
                  <c:v>56.656-56.663</c:v>
                </c:pt>
                <c:pt idx="8442">
                  <c:v>56.663-56.669</c:v>
                </c:pt>
                <c:pt idx="8443">
                  <c:v>56.669-56.676</c:v>
                </c:pt>
                <c:pt idx="8444">
                  <c:v>56.676-56.683</c:v>
                </c:pt>
                <c:pt idx="8445">
                  <c:v>56.683-56.689</c:v>
                </c:pt>
                <c:pt idx="8446">
                  <c:v>56.689-56.696</c:v>
                </c:pt>
                <c:pt idx="8447">
                  <c:v>56.696-56.703</c:v>
                </c:pt>
                <c:pt idx="8448">
                  <c:v>56.703-56.710</c:v>
                </c:pt>
                <c:pt idx="8449">
                  <c:v>56.710-56.716</c:v>
                </c:pt>
                <c:pt idx="8450">
                  <c:v>56.716-56.723</c:v>
                </c:pt>
                <c:pt idx="8451">
                  <c:v>56.723-56.730</c:v>
                </c:pt>
                <c:pt idx="8452">
                  <c:v>56.730-56.736</c:v>
                </c:pt>
                <c:pt idx="8453">
                  <c:v>56.736-56.743</c:v>
                </c:pt>
                <c:pt idx="8454">
                  <c:v>56.743-56.750</c:v>
                </c:pt>
                <c:pt idx="8455">
                  <c:v>56.750-56.757</c:v>
                </c:pt>
                <c:pt idx="8456">
                  <c:v>56.757-56.763</c:v>
                </c:pt>
                <c:pt idx="8457">
                  <c:v>56.763-56.770</c:v>
                </c:pt>
                <c:pt idx="8458">
                  <c:v>56.770-56.777</c:v>
                </c:pt>
                <c:pt idx="8459">
                  <c:v>56.777-56.783</c:v>
                </c:pt>
                <c:pt idx="8460">
                  <c:v>56.783-56.790</c:v>
                </c:pt>
                <c:pt idx="8461">
                  <c:v>56.790-56.797</c:v>
                </c:pt>
                <c:pt idx="8462">
                  <c:v>56.797-56.804</c:v>
                </c:pt>
                <c:pt idx="8463">
                  <c:v>56.804-56.810</c:v>
                </c:pt>
                <c:pt idx="8464">
                  <c:v>56.810-56.817</c:v>
                </c:pt>
                <c:pt idx="8465">
                  <c:v>56.817-56.824</c:v>
                </c:pt>
                <c:pt idx="8466">
                  <c:v>56.824-56.830</c:v>
                </c:pt>
                <c:pt idx="8467">
                  <c:v>56.830-56.837</c:v>
                </c:pt>
                <c:pt idx="8468">
                  <c:v>56.837-56.844</c:v>
                </c:pt>
                <c:pt idx="8469">
                  <c:v>56.844-56.850</c:v>
                </c:pt>
                <c:pt idx="8470">
                  <c:v>56.850-56.857</c:v>
                </c:pt>
                <c:pt idx="8471">
                  <c:v>56.857-56.864</c:v>
                </c:pt>
                <c:pt idx="8472">
                  <c:v>56.864-56.871</c:v>
                </c:pt>
                <c:pt idx="8473">
                  <c:v>56.871-56.877</c:v>
                </c:pt>
                <c:pt idx="8474">
                  <c:v>56.877-56.884</c:v>
                </c:pt>
                <c:pt idx="8475">
                  <c:v>56.884-56.891</c:v>
                </c:pt>
                <c:pt idx="8476">
                  <c:v>56.891-56.897</c:v>
                </c:pt>
                <c:pt idx="8477">
                  <c:v>56.897-56.904</c:v>
                </c:pt>
                <c:pt idx="8478">
                  <c:v>56.904-56.911</c:v>
                </c:pt>
                <c:pt idx="8479">
                  <c:v>56.911-56.918</c:v>
                </c:pt>
                <c:pt idx="8480">
                  <c:v>56.918-56.924</c:v>
                </c:pt>
                <c:pt idx="8481">
                  <c:v>56.924-56.931</c:v>
                </c:pt>
                <c:pt idx="8482">
                  <c:v>56.931-56.938</c:v>
                </c:pt>
                <c:pt idx="8483">
                  <c:v>56.938-56.944</c:v>
                </c:pt>
                <c:pt idx="8484">
                  <c:v>56.944-56.951</c:v>
                </c:pt>
                <c:pt idx="8485">
                  <c:v>56.951-56.958</c:v>
                </c:pt>
                <c:pt idx="8486">
                  <c:v>56.958-56.965</c:v>
                </c:pt>
                <c:pt idx="8487">
                  <c:v>56.965-56.971</c:v>
                </c:pt>
                <c:pt idx="8488">
                  <c:v>56.971-56.978</c:v>
                </c:pt>
                <c:pt idx="8489">
                  <c:v>56.978-56.985</c:v>
                </c:pt>
                <c:pt idx="8490">
                  <c:v>56.985-56.991</c:v>
                </c:pt>
                <c:pt idx="8491">
                  <c:v>56.991-56.998</c:v>
                </c:pt>
                <c:pt idx="8492">
                  <c:v>56.998-57.005</c:v>
                </c:pt>
                <c:pt idx="8493">
                  <c:v>57.005-57.012</c:v>
                </c:pt>
                <c:pt idx="8494">
                  <c:v>57.012-57.018</c:v>
                </c:pt>
                <c:pt idx="8495">
                  <c:v>57.018-57.025</c:v>
                </c:pt>
                <c:pt idx="8496">
                  <c:v>57.025-57.032</c:v>
                </c:pt>
                <c:pt idx="8497">
                  <c:v>57.032-57.038</c:v>
                </c:pt>
                <c:pt idx="8498">
                  <c:v>57.038-57.045</c:v>
                </c:pt>
                <c:pt idx="8499">
                  <c:v>57.045-57.052</c:v>
                </c:pt>
                <c:pt idx="8500">
                  <c:v>57.052-57.059</c:v>
                </c:pt>
                <c:pt idx="8501">
                  <c:v>57.059-57.065</c:v>
                </c:pt>
                <c:pt idx="8502">
                  <c:v>57.065-57.072</c:v>
                </c:pt>
                <c:pt idx="8503">
                  <c:v>57.072-57.079</c:v>
                </c:pt>
                <c:pt idx="8504">
                  <c:v>57.079-57.085</c:v>
                </c:pt>
                <c:pt idx="8505">
                  <c:v>57.085-57.092</c:v>
                </c:pt>
                <c:pt idx="8506">
                  <c:v>57.092-57.099</c:v>
                </c:pt>
                <c:pt idx="8507">
                  <c:v>57.099-57.105</c:v>
                </c:pt>
                <c:pt idx="8508">
                  <c:v>57.105-57.112</c:v>
                </c:pt>
                <c:pt idx="8509">
                  <c:v>57.112-57.119</c:v>
                </c:pt>
                <c:pt idx="8510">
                  <c:v>57.119-57.126</c:v>
                </c:pt>
                <c:pt idx="8511">
                  <c:v>57.126-57.132</c:v>
                </c:pt>
                <c:pt idx="8512">
                  <c:v>57.132-57.139</c:v>
                </c:pt>
                <c:pt idx="8513">
                  <c:v>57.139-57.146</c:v>
                </c:pt>
                <c:pt idx="8514">
                  <c:v>57.146-57.152</c:v>
                </c:pt>
                <c:pt idx="8515">
                  <c:v>57.152-57.159</c:v>
                </c:pt>
                <c:pt idx="8516">
                  <c:v>57.159-57.166</c:v>
                </c:pt>
                <c:pt idx="8517">
                  <c:v>57.166-57.173</c:v>
                </c:pt>
                <c:pt idx="8518">
                  <c:v>57.173-57.179</c:v>
                </c:pt>
                <c:pt idx="8519">
                  <c:v>57.179-57.186</c:v>
                </c:pt>
                <c:pt idx="8520">
                  <c:v>57.186-57.193</c:v>
                </c:pt>
                <c:pt idx="8521">
                  <c:v>57.193-57.199</c:v>
                </c:pt>
                <c:pt idx="8522">
                  <c:v>57.199-57.206</c:v>
                </c:pt>
                <c:pt idx="8523">
                  <c:v>57.206-57.213</c:v>
                </c:pt>
                <c:pt idx="8524">
                  <c:v>57.213-57.220</c:v>
                </c:pt>
                <c:pt idx="8525">
                  <c:v>57.220-57.226</c:v>
                </c:pt>
                <c:pt idx="8526">
                  <c:v>57.226-57.233</c:v>
                </c:pt>
                <c:pt idx="8527">
                  <c:v>57.233-57.240</c:v>
                </c:pt>
                <c:pt idx="8528">
                  <c:v>57.240-57.246</c:v>
                </c:pt>
                <c:pt idx="8529">
                  <c:v>57.246-57.253</c:v>
                </c:pt>
                <c:pt idx="8530">
                  <c:v>57.253-57.260</c:v>
                </c:pt>
                <c:pt idx="8531">
                  <c:v>57.260-57.267</c:v>
                </c:pt>
                <c:pt idx="8532">
                  <c:v>57.267-57.273</c:v>
                </c:pt>
                <c:pt idx="8533">
                  <c:v>57.273-57.280</c:v>
                </c:pt>
                <c:pt idx="8534">
                  <c:v>57.280-57.287</c:v>
                </c:pt>
                <c:pt idx="8535">
                  <c:v>57.287-57.293</c:v>
                </c:pt>
                <c:pt idx="8536">
                  <c:v>57.293-57.300</c:v>
                </c:pt>
                <c:pt idx="8537">
                  <c:v>57.300-57.307</c:v>
                </c:pt>
                <c:pt idx="8538">
                  <c:v>57.307-57.314</c:v>
                </c:pt>
                <c:pt idx="8539">
                  <c:v>57.314-57.320</c:v>
                </c:pt>
                <c:pt idx="8540">
                  <c:v>57.320-57.327</c:v>
                </c:pt>
                <c:pt idx="8541">
                  <c:v>57.327-57.334</c:v>
                </c:pt>
                <c:pt idx="8542">
                  <c:v>57.334-57.340</c:v>
                </c:pt>
                <c:pt idx="8543">
                  <c:v>57.340-57.347</c:v>
                </c:pt>
                <c:pt idx="8544">
                  <c:v>57.347-57.354</c:v>
                </c:pt>
                <c:pt idx="8545">
                  <c:v>57.354-57.360</c:v>
                </c:pt>
                <c:pt idx="8546">
                  <c:v>57.360-57.367</c:v>
                </c:pt>
                <c:pt idx="8547">
                  <c:v>57.367-57.374</c:v>
                </c:pt>
                <c:pt idx="8548">
                  <c:v>57.374-57.381</c:v>
                </c:pt>
                <c:pt idx="8549">
                  <c:v>57.381-57.387</c:v>
                </c:pt>
                <c:pt idx="8550">
                  <c:v>57.387-57.394</c:v>
                </c:pt>
                <c:pt idx="8551">
                  <c:v>57.394-57.401</c:v>
                </c:pt>
                <c:pt idx="8552">
                  <c:v>57.401-57.407</c:v>
                </c:pt>
                <c:pt idx="8553">
                  <c:v>57.407-57.414</c:v>
                </c:pt>
                <c:pt idx="8554">
                  <c:v>57.414-57.421</c:v>
                </c:pt>
                <c:pt idx="8555">
                  <c:v>57.421-57.428</c:v>
                </c:pt>
                <c:pt idx="8556">
                  <c:v>57.428-57.434</c:v>
                </c:pt>
                <c:pt idx="8557">
                  <c:v>57.434-57.441</c:v>
                </c:pt>
                <c:pt idx="8558">
                  <c:v>57.441-57.448</c:v>
                </c:pt>
                <c:pt idx="8559">
                  <c:v>57.448-57.454</c:v>
                </c:pt>
                <c:pt idx="8560">
                  <c:v>57.454-57.461</c:v>
                </c:pt>
                <c:pt idx="8561">
                  <c:v>57.461-57.468</c:v>
                </c:pt>
                <c:pt idx="8562">
                  <c:v>57.468-57.475</c:v>
                </c:pt>
                <c:pt idx="8563">
                  <c:v>57.475-57.481</c:v>
                </c:pt>
                <c:pt idx="8564">
                  <c:v>57.481-57.488</c:v>
                </c:pt>
                <c:pt idx="8565">
                  <c:v>57.488-57.495</c:v>
                </c:pt>
                <c:pt idx="8566">
                  <c:v>57.495-57.501</c:v>
                </c:pt>
                <c:pt idx="8567">
                  <c:v>57.501-57.508</c:v>
                </c:pt>
                <c:pt idx="8568">
                  <c:v>57.508-57.515</c:v>
                </c:pt>
                <c:pt idx="8569">
                  <c:v>57.515-57.522</c:v>
                </c:pt>
                <c:pt idx="8570">
                  <c:v>57.522-57.528</c:v>
                </c:pt>
                <c:pt idx="8571">
                  <c:v>57.528-57.535</c:v>
                </c:pt>
                <c:pt idx="8572">
                  <c:v>57.535-57.542</c:v>
                </c:pt>
                <c:pt idx="8573">
                  <c:v>57.542-57.548</c:v>
                </c:pt>
                <c:pt idx="8574">
                  <c:v>57.548-57.555</c:v>
                </c:pt>
                <c:pt idx="8575">
                  <c:v>57.555-57.562</c:v>
                </c:pt>
                <c:pt idx="8576">
                  <c:v>57.562-57.569</c:v>
                </c:pt>
                <c:pt idx="8577">
                  <c:v>57.569-57.575</c:v>
                </c:pt>
                <c:pt idx="8578">
                  <c:v>57.575-57.582</c:v>
                </c:pt>
                <c:pt idx="8579">
                  <c:v>57.582-57.589</c:v>
                </c:pt>
                <c:pt idx="8580">
                  <c:v>57.589-57.595</c:v>
                </c:pt>
                <c:pt idx="8581">
                  <c:v>57.595-57.602</c:v>
                </c:pt>
                <c:pt idx="8582">
                  <c:v>57.602-57.609</c:v>
                </c:pt>
                <c:pt idx="8583">
                  <c:v>57.609-57.616</c:v>
                </c:pt>
                <c:pt idx="8584">
                  <c:v>57.616-57.622</c:v>
                </c:pt>
                <c:pt idx="8585">
                  <c:v>57.622-57.629</c:v>
                </c:pt>
                <c:pt idx="8586">
                  <c:v>57.629-57.636</c:v>
                </c:pt>
                <c:pt idx="8587">
                  <c:v>57.636-57.642</c:v>
                </c:pt>
                <c:pt idx="8588">
                  <c:v>57.642-57.649</c:v>
                </c:pt>
                <c:pt idx="8589">
                  <c:v>57.649-57.656</c:v>
                </c:pt>
                <c:pt idx="8590">
                  <c:v>57.656-57.662</c:v>
                </c:pt>
                <c:pt idx="8591">
                  <c:v>57.662-57.669</c:v>
                </c:pt>
                <c:pt idx="8592">
                  <c:v>57.669-57.676</c:v>
                </c:pt>
                <c:pt idx="8593">
                  <c:v>57.676-57.683</c:v>
                </c:pt>
                <c:pt idx="8594">
                  <c:v>57.683-57.689</c:v>
                </c:pt>
                <c:pt idx="8595">
                  <c:v>57.689-57.696</c:v>
                </c:pt>
                <c:pt idx="8596">
                  <c:v>57.696-57.703</c:v>
                </c:pt>
                <c:pt idx="8597">
                  <c:v>57.703-57.709</c:v>
                </c:pt>
                <c:pt idx="8598">
                  <c:v>57.709-57.716</c:v>
                </c:pt>
                <c:pt idx="8599">
                  <c:v>57.716-57.723</c:v>
                </c:pt>
                <c:pt idx="8600">
                  <c:v>57.723-57.730</c:v>
                </c:pt>
                <c:pt idx="8601">
                  <c:v>57.730-57.736</c:v>
                </c:pt>
                <c:pt idx="8602">
                  <c:v>57.736-57.743</c:v>
                </c:pt>
                <c:pt idx="8603">
                  <c:v>57.743-57.750</c:v>
                </c:pt>
                <c:pt idx="8604">
                  <c:v>57.750-57.756</c:v>
                </c:pt>
                <c:pt idx="8605">
                  <c:v>57.756-57.763</c:v>
                </c:pt>
                <c:pt idx="8606">
                  <c:v>57.763-57.770</c:v>
                </c:pt>
                <c:pt idx="8607">
                  <c:v>57.770-57.777</c:v>
                </c:pt>
                <c:pt idx="8608">
                  <c:v>57.777-57.783</c:v>
                </c:pt>
                <c:pt idx="8609">
                  <c:v>57.783-57.790</c:v>
                </c:pt>
                <c:pt idx="8610">
                  <c:v>57.790-57.797</c:v>
                </c:pt>
                <c:pt idx="8611">
                  <c:v>57.797-57.803</c:v>
                </c:pt>
                <c:pt idx="8612">
                  <c:v>57.803-57.810</c:v>
                </c:pt>
                <c:pt idx="8613">
                  <c:v>57.810-57.817</c:v>
                </c:pt>
                <c:pt idx="8614">
                  <c:v>57.817-57.824</c:v>
                </c:pt>
                <c:pt idx="8615">
                  <c:v>57.824-57.830</c:v>
                </c:pt>
                <c:pt idx="8616">
                  <c:v>57.830-57.837</c:v>
                </c:pt>
                <c:pt idx="8617">
                  <c:v>57.837-57.844</c:v>
                </c:pt>
                <c:pt idx="8618">
                  <c:v>57.844-57.850</c:v>
                </c:pt>
                <c:pt idx="8619">
                  <c:v>57.850-57.857</c:v>
                </c:pt>
                <c:pt idx="8620">
                  <c:v>57.857-57.864</c:v>
                </c:pt>
                <c:pt idx="8621">
                  <c:v>57.864-57.871</c:v>
                </c:pt>
                <c:pt idx="8622">
                  <c:v>57.871-57.877</c:v>
                </c:pt>
                <c:pt idx="8623">
                  <c:v>57.877-57.884</c:v>
                </c:pt>
                <c:pt idx="8624">
                  <c:v>57.884-57.891</c:v>
                </c:pt>
                <c:pt idx="8625">
                  <c:v>57.891-57.897</c:v>
                </c:pt>
                <c:pt idx="8626">
                  <c:v>57.897-57.904</c:v>
                </c:pt>
                <c:pt idx="8627">
                  <c:v>57.904-57.911</c:v>
                </c:pt>
                <c:pt idx="8628">
                  <c:v>57.911-57.917</c:v>
                </c:pt>
                <c:pt idx="8629">
                  <c:v>57.917-57.924</c:v>
                </c:pt>
                <c:pt idx="8630">
                  <c:v>57.924-57.931</c:v>
                </c:pt>
                <c:pt idx="8631">
                  <c:v>57.931-57.938</c:v>
                </c:pt>
                <c:pt idx="8632">
                  <c:v>57.938-57.944</c:v>
                </c:pt>
                <c:pt idx="8633">
                  <c:v>57.944-57.951</c:v>
                </c:pt>
                <c:pt idx="8634">
                  <c:v>57.951-57.958</c:v>
                </c:pt>
                <c:pt idx="8635">
                  <c:v>57.958-57.964</c:v>
                </c:pt>
                <c:pt idx="8636">
                  <c:v>57.964-57.971</c:v>
                </c:pt>
                <c:pt idx="8637">
                  <c:v>57.971-57.978</c:v>
                </c:pt>
                <c:pt idx="8638">
                  <c:v>57.978-57.985</c:v>
                </c:pt>
                <c:pt idx="8639">
                  <c:v>57.985-57.991</c:v>
                </c:pt>
                <c:pt idx="8640">
                  <c:v>57.991-57.998</c:v>
                </c:pt>
                <c:pt idx="8641">
                  <c:v>57.998-58.005</c:v>
                </c:pt>
                <c:pt idx="8642">
                  <c:v>58.005-58.011</c:v>
                </c:pt>
                <c:pt idx="8643">
                  <c:v>58.011-58.018</c:v>
                </c:pt>
                <c:pt idx="8644">
                  <c:v>58.018-58.025</c:v>
                </c:pt>
                <c:pt idx="8645">
                  <c:v>58.025-58.032</c:v>
                </c:pt>
                <c:pt idx="8646">
                  <c:v>58.032-58.038</c:v>
                </c:pt>
                <c:pt idx="8647">
                  <c:v>58.038-58.045</c:v>
                </c:pt>
                <c:pt idx="8648">
                  <c:v>58.045-58.052</c:v>
                </c:pt>
                <c:pt idx="8649">
                  <c:v>58.052-58.058</c:v>
                </c:pt>
                <c:pt idx="8650">
                  <c:v>58.058-58.065</c:v>
                </c:pt>
                <c:pt idx="8651">
                  <c:v>58.065-58.072</c:v>
                </c:pt>
                <c:pt idx="8652">
                  <c:v>58.072-58.079</c:v>
                </c:pt>
                <c:pt idx="8653">
                  <c:v>58.079-58.085</c:v>
                </c:pt>
                <c:pt idx="8654">
                  <c:v>58.085-58.092</c:v>
                </c:pt>
                <c:pt idx="8655">
                  <c:v>58.092-58.099</c:v>
                </c:pt>
                <c:pt idx="8656">
                  <c:v>58.099-58.105</c:v>
                </c:pt>
                <c:pt idx="8657">
                  <c:v>58.105-58.112</c:v>
                </c:pt>
                <c:pt idx="8658">
                  <c:v>58.112-58.119</c:v>
                </c:pt>
                <c:pt idx="8659">
                  <c:v>58.119-58.126</c:v>
                </c:pt>
                <c:pt idx="8660">
                  <c:v>58.126-58.132</c:v>
                </c:pt>
                <c:pt idx="8661">
                  <c:v>58.132-58.139</c:v>
                </c:pt>
                <c:pt idx="8662">
                  <c:v>58.139-58.146</c:v>
                </c:pt>
                <c:pt idx="8663">
                  <c:v>58.146-58.152</c:v>
                </c:pt>
                <c:pt idx="8664">
                  <c:v>58.152-58.159</c:v>
                </c:pt>
                <c:pt idx="8665">
                  <c:v>58.159-58.166</c:v>
                </c:pt>
                <c:pt idx="8666">
                  <c:v>58.166-58.173</c:v>
                </c:pt>
                <c:pt idx="8667">
                  <c:v>58.173-58.179</c:v>
                </c:pt>
                <c:pt idx="8668">
                  <c:v>58.179-58.186</c:v>
                </c:pt>
                <c:pt idx="8669">
                  <c:v>58.186-58.193</c:v>
                </c:pt>
                <c:pt idx="8670">
                  <c:v>58.193-58.199</c:v>
                </c:pt>
                <c:pt idx="8671">
                  <c:v>58.199-58.206</c:v>
                </c:pt>
                <c:pt idx="8672">
                  <c:v>58.206-58.213</c:v>
                </c:pt>
                <c:pt idx="8673">
                  <c:v>58.213-58.219</c:v>
                </c:pt>
                <c:pt idx="8674">
                  <c:v>58.219-58.226</c:v>
                </c:pt>
                <c:pt idx="8675">
                  <c:v>58.226-58.233</c:v>
                </c:pt>
                <c:pt idx="8676">
                  <c:v>58.233-58.240</c:v>
                </c:pt>
                <c:pt idx="8677">
                  <c:v>58.240-58.246</c:v>
                </c:pt>
                <c:pt idx="8678">
                  <c:v>58.246-58.253</c:v>
                </c:pt>
                <c:pt idx="8679">
                  <c:v>58.253-58.260</c:v>
                </c:pt>
                <c:pt idx="8680">
                  <c:v>58.260-58.266</c:v>
                </c:pt>
                <c:pt idx="8681">
                  <c:v>58.266-58.273</c:v>
                </c:pt>
                <c:pt idx="8682">
                  <c:v>58.273-58.280</c:v>
                </c:pt>
                <c:pt idx="8683">
                  <c:v>58.280-58.287</c:v>
                </c:pt>
                <c:pt idx="8684">
                  <c:v>58.287-58.293</c:v>
                </c:pt>
                <c:pt idx="8685">
                  <c:v>58.293-58.300</c:v>
                </c:pt>
                <c:pt idx="8686">
                  <c:v>58.300-58.307</c:v>
                </c:pt>
                <c:pt idx="8687">
                  <c:v>58.307-58.313</c:v>
                </c:pt>
                <c:pt idx="8688">
                  <c:v>58.313-58.320</c:v>
                </c:pt>
                <c:pt idx="8689">
                  <c:v>58.320-58.327</c:v>
                </c:pt>
                <c:pt idx="8690">
                  <c:v>58.327-58.334</c:v>
                </c:pt>
                <c:pt idx="8691">
                  <c:v>58.334-58.340</c:v>
                </c:pt>
                <c:pt idx="8692">
                  <c:v>58.340-58.347</c:v>
                </c:pt>
                <c:pt idx="8693">
                  <c:v>58.347-58.354</c:v>
                </c:pt>
                <c:pt idx="8694">
                  <c:v>58.354-58.360</c:v>
                </c:pt>
                <c:pt idx="8695">
                  <c:v>58.360-58.367</c:v>
                </c:pt>
                <c:pt idx="8696">
                  <c:v>58.367-58.374</c:v>
                </c:pt>
                <c:pt idx="8697">
                  <c:v>58.374-58.381</c:v>
                </c:pt>
                <c:pt idx="8698">
                  <c:v>58.381-58.387</c:v>
                </c:pt>
                <c:pt idx="8699">
                  <c:v>58.387-58.394</c:v>
                </c:pt>
                <c:pt idx="8700">
                  <c:v>58.394-58.401</c:v>
                </c:pt>
                <c:pt idx="8701">
                  <c:v>58.401-58.407</c:v>
                </c:pt>
                <c:pt idx="8702">
                  <c:v>58.407-58.414</c:v>
                </c:pt>
                <c:pt idx="8703">
                  <c:v>58.414-58.421</c:v>
                </c:pt>
                <c:pt idx="8704">
                  <c:v>58.421-58.428</c:v>
                </c:pt>
                <c:pt idx="8705">
                  <c:v>58.428-58.434</c:v>
                </c:pt>
                <c:pt idx="8706">
                  <c:v>58.434-58.441</c:v>
                </c:pt>
                <c:pt idx="8707">
                  <c:v>58.441-58.448</c:v>
                </c:pt>
                <c:pt idx="8708">
                  <c:v>58.448-58.454</c:v>
                </c:pt>
                <c:pt idx="8709">
                  <c:v>58.454-58.461</c:v>
                </c:pt>
                <c:pt idx="8710">
                  <c:v>58.461-58.468</c:v>
                </c:pt>
                <c:pt idx="8711">
                  <c:v>58.468-58.474</c:v>
                </c:pt>
                <c:pt idx="8712">
                  <c:v>58.474-58.481</c:v>
                </c:pt>
                <c:pt idx="8713">
                  <c:v>58.481-58.488</c:v>
                </c:pt>
                <c:pt idx="8714">
                  <c:v>58.488-58.495</c:v>
                </c:pt>
                <c:pt idx="8715">
                  <c:v>58.495-58.501</c:v>
                </c:pt>
                <c:pt idx="8716">
                  <c:v>58.501-58.508</c:v>
                </c:pt>
                <c:pt idx="8717">
                  <c:v>58.508-58.515</c:v>
                </c:pt>
                <c:pt idx="8718">
                  <c:v>58.515-58.521</c:v>
                </c:pt>
                <c:pt idx="8719">
                  <c:v>58.521-58.528</c:v>
                </c:pt>
                <c:pt idx="8720">
                  <c:v>58.528-58.535</c:v>
                </c:pt>
                <c:pt idx="8721">
                  <c:v>58.535-58.542</c:v>
                </c:pt>
                <c:pt idx="8722">
                  <c:v>58.542-58.548</c:v>
                </c:pt>
                <c:pt idx="8723">
                  <c:v>58.548-58.555</c:v>
                </c:pt>
                <c:pt idx="8724">
                  <c:v>58.555-58.562</c:v>
                </c:pt>
                <c:pt idx="8725">
                  <c:v>58.562-58.568</c:v>
                </c:pt>
                <c:pt idx="8726">
                  <c:v>58.568-58.575</c:v>
                </c:pt>
                <c:pt idx="8727">
                  <c:v>58.575-58.582</c:v>
                </c:pt>
                <c:pt idx="8728">
                  <c:v>58.582-58.589</c:v>
                </c:pt>
                <c:pt idx="8729">
                  <c:v>58.589-58.595</c:v>
                </c:pt>
                <c:pt idx="8730">
                  <c:v>58.595-58.602</c:v>
                </c:pt>
                <c:pt idx="8731">
                  <c:v>58.602-58.609</c:v>
                </c:pt>
                <c:pt idx="8732">
                  <c:v>58.609-58.615</c:v>
                </c:pt>
                <c:pt idx="8733">
                  <c:v>58.615-58.622</c:v>
                </c:pt>
                <c:pt idx="8734">
                  <c:v>58.622-58.629</c:v>
                </c:pt>
                <c:pt idx="8735">
                  <c:v>58.629-58.636</c:v>
                </c:pt>
                <c:pt idx="8736">
                  <c:v>58.636-58.642</c:v>
                </c:pt>
                <c:pt idx="8737">
                  <c:v>58.642-58.649</c:v>
                </c:pt>
                <c:pt idx="8738">
                  <c:v>58.649-58.656</c:v>
                </c:pt>
                <c:pt idx="8739">
                  <c:v>58.656-58.662</c:v>
                </c:pt>
                <c:pt idx="8740">
                  <c:v>58.662-58.669</c:v>
                </c:pt>
                <c:pt idx="8741">
                  <c:v>58.669-58.676</c:v>
                </c:pt>
                <c:pt idx="8742">
                  <c:v>58.676-58.683</c:v>
                </c:pt>
                <c:pt idx="8743">
                  <c:v>58.683-58.689</c:v>
                </c:pt>
                <c:pt idx="8744">
                  <c:v>58.689-58.696</c:v>
                </c:pt>
                <c:pt idx="8745">
                  <c:v>58.696-58.703</c:v>
                </c:pt>
                <c:pt idx="8746">
                  <c:v>58.703-58.709</c:v>
                </c:pt>
                <c:pt idx="8747">
                  <c:v>58.709-58.716</c:v>
                </c:pt>
                <c:pt idx="8748">
                  <c:v>58.716-58.723</c:v>
                </c:pt>
                <c:pt idx="8749">
                  <c:v>58.723-58.729</c:v>
                </c:pt>
                <c:pt idx="8750">
                  <c:v>58.729-58.736</c:v>
                </c:pt>
                <c:pt idx="8751">
                  <c:v>58.736-58.743</c:v>
                </c:pt>
                <c:pt idx="8752">
                  <c:v>58.743-58.750</c:v>
                </c:pt>
                <c:pt idx="8753">
                  <c:v>58.750-58.756</c:v>
                </c:pt>
                <c:pt idx="8754">
                  <c:v>58.756-58.763</c:v>
                </c:pt>
                <c:pt idx="8755">
                  <c:v>58.763-58.770</c:v>
                </c:pt>
                <c:pt idx="8756">
                  <c:v>58.770-58.776</c:v>
                </c:pt>
                <c:pt idx="8757">
                  <c:v>58.776-58.783</c:v>
                </c:pt>
                <c:pt idx="8758">
                  <c:v>58.783-58.790</c:v>
                </c:pt>
                <c:pt idx="8759">
                  <c:v>58.790-58.797</c:v>
                </c:pt>
                <c:pt idx="8760">
                  <c:v>58.797-58.803</c:v>
                </c:pt>
                <c:pt idx="8761">
                  <c:v>58.803-58.810</c:v>
                </c:pt>
                <c:pt idx="8762">
                  <c:v>58.810-58.817</c:v>
                </c:pt>
                <c:pt idx="8763">
                  <c:v>58.817-58.823</c:v>
                </c:pt>
                <c:pt idx="8764">
                  <c:v>58.823-58.830</c:v>
                </c:pt>
                <c:pt idx="8765">
                  <c:v>58.830-58.837</c:v>
                </c:pt>
                <c:pt idx="8766">
                  <c:v>58.837-58.844</c:v>
                </c:pt>
                <c:pt idx="8767">
                  <c:v>58.844-58.850</c:v>
                </c:pt>
                <c:pt idx="8768">
                  <c:v>58.850-58.857</c:v>
                </c:pt>
                <c:pt idx="8769">
                  <c:v>58.857-58.864</c:v>
                </c:pt>
                <c:pt idx="8770">
                  <c:v>58.864-58.870</c:v>
                </c:pt>
                <c:pt idx="8771">
                  <c:v>58.870-58.877</c:v>
                </c:pt>
                <c:pt idx="8772">
                  <c:v>58.877-58.884</c:v>
                </c:pt>
                <c:pt idx="8773">
                  <c:v>58.884-58.891</c:v>
                </c:pt>
                <c:pt idx="8774">
                  <c:v>58.891-58.897</c:v>
                </c:pt>
                <c:pt idx="8775">
                  <c:v>58.897-58.904</c:v>
                </c:pt>
                <c:pt idx="8776">
                  <c:v>58.904-58.911</c:v>
                </c:pt>
                <c:pt idx="8777">
                  <c:v>58.911-58.917</c:v>
                </c:pt>
                <c:pt idx="8778">
                  <c:v>58.917-58.924</c:v>
                </c:pt>
                <c:pt idx="8779">
                  <c:v>58.924-58.931</c:v>
                </c:pt>
                <c:pt idx="8780">
                  <c:v>58.931-58.938</c:v>
                </c:pt>
                <c:pt idx="8781">
                  <c:v>58.938-58.944</c:v>
                </c:pt>
                <c:pt idx="8782">
                  <c:v>58.944-58.951</c:v>
                </c:pt>
                <c:pt idx="8783">
                  <c:v>58.951-58.958</c:v>
                </c:pt>
                <c:pt idx="8784">
                  <c:v>58.958-58.964</c:v>
                </c:pt>
                <c:pt idx="8785">
                  <c:v>58.964-58.971</c:v>
                </c:pt>
                <c:pt idx="8786">
                  <c:v>58.971-58.978</c:v>
                </c:pt>
                <c:pt idx="8787">
                  <c:v>58.978-58.985</c:v>
                </c:pt>
                <c:pt idx="8788">
                  <c:v>58.985-58.991</c:v>
                </c:pt>
                <c:pt idx="8789">
                  <c:v>58.991-58.998</c:v>
                </c:pt>
                <c:pt idx="8790">
                  <c:v>58.998-59.005</c:v>
                </c:pt>
                <c:pt idx="8791">
                  <c:v>59.005-59.011</c:v>
                </c:pt>
                <c:pt idx="8792">
                  <c:v>59.011-59.018</c:v>
                </c:pt>
                <c:pt idx="8793">
                  <c:v>59.018-59.025</c:v>
                </c:pt>
                <c:pt idx="8794">
                  <c:v>59.025-59.031</c:v>
                </c:pt>
                <c:pt idx="8795">
                  <c:v>59.031-59.038</c:v>
                </c:pt>
                <c:pt idx="8796">
                  <c:v>59.038-59.045</c:v>
                </c:pt>
                <c:pt idx="8797">
                  <c:v>59.045-59.052</c:v>
                </c:pt>
                <c:pt idx="8798">
                  <c:v>59.052-59.058</c:v>
                </c:pt>
                <c:pt idx="8799">
                  <c:v>59.058-59.065</c:v>
                </c:pt>
                <c:pt idx="8800">
                  <c:v>59.065-59.072</c:v>
                </c:pt>
                <c:pt idx="8801">
                  <c:v>59.072-59.078</c:v>
                </c:pt>
                <c:pt idx="8802">
                  <c:v>59.078-59.085</c:v>
                </c:pt>
                <c:pt idx="8803">
                  <c:v>59.085-59.092</c:v>
                </c:pt>
                <c:pt idx="8804">
                  <c:v>59.092-59.099</c:v>
                </c:pt>
                <c:pt idx="8805">
                  <c:v>59.099-59.105</c:v>
                </c:pt>
                <c:pt idx="8806">
                  <c:v>59.105-59.112</c:v>
                </c:pt>
                <c:pt idx="8807">
                  <c:v>59.112-59.119</c:v>
                </c:pt>
                <c:pt idx="8808">
                  <c:v>59.119-59.125</c:v>
                </c:pt>
                <c:pt idx="8809">
                  <c:v>59.125-59.132</c:v>
                </c:pt>
                <c:pt idx="8810">
                  <c:v>59.132-59.139</c:v>
                </c:pt>
                <c:pt idx="8811">
                  <c:v>59.139-59.146</c:v>
                </c:pt>
                <c:pt idx="8812">
                  <c:v>59.146-59.152</c:v>
                </c:pt>
                <c:pt idx="8813">
                  <c:v>59.152-59.159</c:v>
                </c:pt>
                <c:pt idx="8814">
                  <c:v>59.159-59.166</c:v>
                </c:pt>
                <c:pt idx="8815">
                  <c:v>59.166-59.172</c:v>
                </c:pt>
                <c:pt idx="8816">
                  <c:v>59.172-59.179</c:v>
                </c:pt>
                <c:pt idx="8817">
                  <c:v>59.179-59.186</c:v>
                </c:pt>
                <c:pt idx="8818">
                  <c:v>59.186-59.193</c:v>
                </c:pt>
                <c:pt idx="8819">
                  <c:v>59.193-59.199</c:v>
                </c:pt>
                <c:pt idx="8820">
                  <c:v>59.199-59.206</c:v>
                </c:pt>
                <c:pt idx="8821">
                  <c:v>59.206-59.213</c:v>
                </c:pt>
                <c:pt idx="8822">
                  <c:v>59.213-59.219</c:v>
                </c:pt>
                <c:pt idx="8823">
                  <c:v>59.219-59.226</c:v>
                </c:pt>
                <c:pt idx="8824">
                  <c:v>59.226-59.233</c:v>
                </c:pt>
                <c:pt idx="8825">
                  <c:v>59.233-59.240</c:v>
                </c:pt>
                <c:pt idx="8826">
                  <c:v>59.240-59.246</c:v>
                </c:pt>
                <c:pt idx="8827">
                  <c:v>59.246-59.253</c:v>
                </c:pt>
                <c:pt idx="8828">
                  <c:v>59.253-59.260</c:v>
                </c:pt>
                <c:pt idx="8829">
                  <c:v>59.260-59.266</c:v>
                </c:pt>
                <c:pt idx="8830">
                  <c:v>59.266-59.273</c:v>
                </c:pt>
                <c:pt idx="8831">
                  <c:v>59.273-59.280</c:v>
                </c:pt>
                <c:pt idx="8832">
                  <c:v>59.280-59.286</c:v>
                </c:pt>
                <c:pt idx="8833">
                  <c:v>59.286-59.293</c:v>
                </c:pt>
                <c:pt idx="8834">
                  <c:v>59.293-59.300</c:v>
                </c:pt>
                <c:pt idx="8835">
                  <c:v>59.300-59.307</c:v>
                </c:pt>
                <c:pt idx="8836">
                  <c:v>59.307-59.313</c:v>
                </c:pt>
                <c:pt idx="8837">
                  <c:v>59.313-59.320</c:v>
                </c:pt>
                <c:pt idx="8838">
                  <c:v>59.320-59.327</c:v>
                </c:pt>
                <c:pt idx="8839">
                  <c:v>59.327-59.333</c:v>
                </c:pt>
                <c:pt idx="8840">
                  <c:v>59.333-59.340</c:v>
                </c:pt>
                <c:pt idx="8841">
                  <c:v>59.340-59.347</c:v>
                </c:pt>
                <c:pt idx="8842">
                  <c:v>59.347-59.354</c:v>
                </c:pt>
                <c:pt idx="8843">
                  <c:v>59.354-59.360</c:v>
                </c:pt>
                <c:pt idx="8844">
                  <c:v>59.360-59.367</c:v>
                </c:pt>
                <c:pt idx="8845">
                  <c:v>59.367-59.374</c:v>
                </c:pt>
                <c:pt idx="8846">
                  <c:v>59.374-59.380</c:v>
                </c:pt>
                <c:pt idx="8847">
                  <c:v>59.380-59.387</c:v>
                </c:pt>
                <c:pt idx="8848">
                  <c:v>59.387-59.394</c:v>
                </c:pt>
                <c:pt idx="8849">
                  <c:v>59.394-59.401</c:v>
                </c:pt>
                <c:pt idx="8850">
                  <c:v>59.401-59.407</c:v>
                </c:pt>
                <c:pt idx="8851">
                  <c:v>59.407-59.414</c:v>
                </c:pt>
                <c:pt idx="8852">
                  <c:v>59.414-59.421</c:v>
                </c:pt>
                <c:pt idx="8853">
                  <c:v>59.421-59.427</c:v>
                </c:pt>
                <c:pt idx="8854">
                  <c:v>59.427-59.434</c:v>
                </c:pt>
                <c:pt idx="8855">
                  <c:v>59.434-59.441</c:v>
                </c:pt>
                <c:pt idx="8856">
                  <c:v>59.441-59.448</c:v>
                </c:pt>
                <c:pt idx="8857">
                  <c:v>59.448-59.454</c:v>
                </c:pt>
                <c:pt idx="8858">
                  <c:v>59.454-59.461</c:v>
                </c:pt>
                <c:pt idx="8859">
                  <c:v>59.461-59.468</c:v>
                </c:pt>
                <c:pt idx="8860">
                  <c:v>59.468-59.474</c:v>
                </c:pt>
                <c:pt idx="8861">
                  <c:v>59.474-59.481</c:v>
                </c:pt>
                <c:pt idx="8862">
                  <c:v>59.481-59.488</c:v>
                </c:pt>
                <c:pt idx="8863">
                  <c:v>59.488-59.495</c:v>
                </c:pt>
                <c:pt idx="8864">
                  <c:v>59.495-59.501</c:v>
                </c:pt>
                <c:pt idx="8865">
                  <c:v>59.501-59.508</c:v>
                </c:pt>
                <c:pt idx="8866">
                  <c:v>59.508-59.515</c:v>
                </c:pt>
                <c:pt idx="8867">
                  <c:v>59.515-59.521</c:v>
                </c:pt>
                <c:pt idx="8868">
                  <c:v>59.521-59.528</c:v>
                </c:pt>
                <c:pt idx="8869">
                  <c:v>59.528-59.535</c:v>
                </c:pt>
                <c:pt idx="8870">
                  <c:v>59.535-59.542</c:v>
                </c:pt>
                <c:pt idx="8871">
                  <c:v>59.542-59.548</c:v>
                </c:pt>
                <c:pt idx="8872">
                  <c:v>59.548-59.555</c:v>
                </c:pt>
                <c:pt idx="8873">
                  <c:v>59.555-59.562</c:v>
                </c:pt>
                <c:pt idx="8874">
                  <c:v>59.562-59.568</c:v>
                </c:pt>
                <c:pt idx="8875">
                  <c:v>59.568-59.575</c:v>
                </c:pt>
                <c:pt idx="8876">
                  <c:v>59.575-59.582</c:v>
                </c:pt>
                <c:pt idx="8877">
                  <c:v>59.582-59.588</c:v>
                </c:pt>
                <c:pt idx="8878">
                  <c:v>59.588-59.595</c:v>
                </c:pt>
                <c:pt idx="8879">
                  <c:v>59.595-59.602</c:v>
                </c:pt>
                <c:pt idx="8880">
                  <c:v>59.602-59.609</c:v>
                </c:pt>
                <c:pt idx="8881">
                  <c:v>59.609-59.615</c:v>
                </c:pt>
                <c:pt idx="8882">
                  <c:v>59.615-59.622</c:v>
                </c:pt>
                <c:pt idx="8883">
                  <c:v>59.622-59.629</c:v>
                </c:pt>
                <c:pt idx="8884">
                  <c:v>59.629-59.635</c:v>
                </c:pt>
                <c:pt idx="8885">
                  <c:v>59.635-59.642</c:v>
                </c:pt>
                <c:pt idx="8886">
                  <c:v>59.642-59.649</c:v>
                </c:pt>
                <c:pt idx="8887">
                  <c:v>59.649-59.656</c:v>
                </c:pt>
                <c:pt idx="8888">
                  <c:v>59.656-59.662</c:v>
                </c:pt>
                <c:pt idx="8889">
                  <c:v>59.662-59.669</c:v>
                </c:pt>
                <c:pt idx="8890">
                  <c:v>59.669-59.676</c:v>
                </c:pt>
                <c:pt idx="8891">
                  <c:v>59.676-59.682</c:v>
                </c:pt>
                <c:pt idx="8892">
                  <c:v>59.682-59.689</c:v>
                </c:pt>
                <c:pt idx="8893">
                  <c:v>59.689-59.696</c:v>
                </c:pt>
                <c:pt idx="8894">
                  <c:v>59.696-59.703</c:v>
                </c:pt>
                <c:pt idx="8895">
                  <c:v>59.703-59.709</c:v>
                </c:pt>
                <c:pt idx="8896">
                  <c:v>59.709-59.716</c:v>
                </c:pt>
                <c:pt idx="8897">
                  <c:v>59.716-59.723</c:v>
                </c:pt>
                <c:pt idx="8898">
                  <c:v>59.723-59.729</c:v>
                </c:pt>
                <c:pt idx="8899">
                  <c:v>59.729-59.736</c:v>
                </c:pt>
                <c:pt idx="8900">
                  <c:v>59.736-59.743</c:v>
                </c:pt>
                <c:pt idx="8901">
                  <c:v>59.743-59.750</c:v>
                </c:pt>
                <c:pt idx="8902">
                  <c:v>59.750-59.756</c:v>
                </c:pt>
                <c:pt idx="8903">
                  <c:v>59.756-59.763</c:v>
                </c:pt>
                <c:pt idx="8904">
                  <c:v>59.763-59.770</c:v>
                </c:pt>
                <c:pt idx="8905">
                  <c:v>59.770-59.776</c:v>
                </c:pt>
                <c:pt idx="8906">
                  <c:v>59.776-59.783</c:v>
                </c:pt>
                <c:pt idx="8907">
                  <c:v>59.783-59.790</c:v>
                </c:pt>
                <c:pt idx="8908">
                  <c:v>59.790-59.797</c:v>
                </c:pt>
                <c:pt idx="8909">
                  <c:v>59.797-59.803</c:v>
                </c:pt>
                <c:pt idx="8910">
                  <c:v>59.803-59.810</c:v>
                </c:pt>
                <c:pt idx="8911">
                  <c:v>59.810-59.817</c:v>
                </c:pt>
                <c:pt idx="8912">
                  <c:v>59.817-59.823</c:v>
                </c:pt>
                <c:pt idx="8913">
                  <c:v>59.823-59.830</c:v>
                </c:pt>
                <c:pt idx="8914">
                  <c:v>59.830-59.837</c:v>
                </c:pt>
                <c:pt idx="8915">
                  <c:v>59.837-59.843</c:v>
                </c:pt>
                <c:pt idx="8916">
                  <c:v>59.843-59.850</c:v>
                </c:pt>
                <c:pt idx="8917">
                  <c:v>59.850-59.857</c:v>
                </c:pt>
                <c:pt idx="8918">
                  <c:v>59.857-59.864</c:v>
                </c:pt>
                <c:pt idx="8919">
                  <c:v>59.864-59.870</c:v>
                </c:pt>
                <c:pt idx="8920">
                  <c:v>59.870-59.877</c:v>
                </c:pt>
                <c:pt idx="8921">
                  <c:v>59.877-59.884</c:v>
                </c:pt>
                <c:pt idx="8922">
                  <c:v>59.884-59.890</c:v>
                </c:pt>
                <c:pt idx="8923">
                  <c:v>59.890-59.897</c:v>
                </c:pt>
                <c:pt idx="8924">
                  <c:v>59.897-59.904</c:v>
                </c:pt>
                <c:pt idx="8925">
                  <c:v>59.904-59.911</c:v>
                </c:pt>
                <c:pt idx="8926">
                  <c:v>59.911-59.917</c:v>
                </c:pt>
                <c:pt idx="8927">
                  <c:v>59.917-59.924</c:v>
                </c:pt>
                <c:pt idx="8928">
                  <c:v>59.924-59.931</c:v>
                </c:pt>
                <c:pt idx="8929">
                  <c:v>59.931-59.937</c:v>
                </c:pt>
                <c:pt idx="8930">
                  <c:v>59.937-59.944</c:v>
                </c:pt>
                <c:pt idx="8931">
                  <c:v>59.944-59.951</c:v>
                </c:pt>
                <c:pt idx="8932">
                  <c:v>59.951-59.958</c:v>
                </c:pt>
                <c:pt idx="8933">
                  <c:v>59.958-59.964</c:v>
                </c:pt>
                <c:pt idx="8934">
                  <c:v>59.964-59.971</c:v>
                </c:pt>
                <c:pt idx="8935">
                  <c:v>59.971-59.978</c:v>
                </c:pt>
                <c:pt idx="8936">
                  <c:v>59.978-59.984</c:v>
                </c:pt>
                <c:pt idx="8937">
                  <c:v>59.984-59.991</c:v>
                </c:pt>
                <c:pt idx="8938">
                  <c:v>59.991-59.998</c:v>
                </c:pt>
                <c:pt idx="8939">
                  <c:v>59.998-60.005</c:v>
                </c:pt>
                <c:pt idx="8940">
                  <c:v>60.005-60.011</c:v>
                </c:pt>
                <c:pt idx="8941">
                  <c:v>60.011-60.018</c:v>
                </c:pt>
                <c:pt idx="8942">
                  <c:v>60.018-60.025</c:v>
                </c:pt>
                <c:pt idx="8943">
                  <c:v>60.025-60.031</c:v>
                </c:pt>
                <c:pt idx="8944">
                  <c:v>60.031-60.038</c:v>
                </c:pt>
                <c:pt idx="8945">
                  <c:v>60.038-60.045</c:v>
                </c:pt>
                <c:pt idx="8946">
                  <c:v>60.045-60.052</c:v>
                </c:pt>
                <c:pt idx="8947">
                  <c:v>60.052-60.058</c:v>
                </c:pt>
                <c:pt idx="8948">
                  <c:v>60.058-60.065</c:v>
                </c:pt>
                <c:pt idx="8949">
                  <c:v>60.065-60.072</c:v>
                </c:pt>
                <c:pt idx="8950">
                  <c:v>60.072-60.078</c:v>
                </c:pt>
                <c:pt idx="8951">
                  <c:v>60.078-60.085</c:v>
                </c:pt>
                <c:pt idx="8952">
                  <c:v>60.085-60.092</c:v>
                </c:pt>
                <c:pt idx="8953">
                  <c:v>60.092-60.099</c:v>
                </c:pt>
                <c:pt idx="8954">
                  <c:v>60.099-60.105</c:v>
                </c:pt>
                <c:pt idx="8955">
                  <c:v>60.105-60.112</c:v>
                </c:pt>
                <c:pt idx="8956">
                  <c:v>60.112-60.119</c:v>
                </c:pt>
                <c:pt idx="8957">
                  <c:v>60.119-60.125</c:v>
                </c:pt>
                <c:pt idx="8958">
                  <c:v>60.125-60.132</c:v>
                </c:pt>
                <c:pt idx="8959">
                  <c:v>60.132-60.139</c:v>
                </c:pt>
                <c:pt idx="8960">
                  <c:v>60.139-60.145</c:v>
                </c:pt>
                <c:pt idx="8961">
                  <c:v>60.145-60.152</c:v>
                </c:pt>
                <c:pt idx="8962">
                  <c:v>60.152-60.159</c:v>
                </c:pt>
                <c:pt idx="8963">
                  <c:v>60.159-60.166</c:v>
                </c:pt>
                <c:pt idx="8964">
                  <c:v>60.166-60.172</c:v>
                </c:pt>
                <c:pt idx="8965">
                  <c:v>60.172-60.179</c:v>
                </c:pt>
                <c:pt idx="8966">
                  <c:v>60.179-60.186</c:v>
                </c:pt>
                <c:pt idx="8967">
                  <c:v>60.186-60.192</c:v>
                </c:pt>
                <c:pt idx="8968">
                  <c:v>60.192-60.199</c:v>
                </c:pt>
                <c:pt idx="8969">
                  <c:v>60.199-60.206</c:v>
                </c:pt>
                <c:pt idx="8970">
                  <c:v>60.206-60.213</c:v>
                </c:pt>
                <c:pt idx="8971">
                  <c:v>60.213-60.219</c:v>
                </c:pt>
                <c:pt idx="8972">
                  <c:v>60.219-60.226</c:v>
                </c:pt>
                <c:pt idx="8973">
                  <c:v>60.226-60.233</c:v>
                </c:pt>
                <c:pt idx="8974">
                  <c:v>60.233-60.239</c:v>
                </c:pt>
                <c:pt idx="8975">
                  <c:v>60.239-60.246</c:v>
                </c:pt>
                <c:pt idx="8976">
                  <c:v>60.246-60.253</c:v>
                </c:pt>
                <c:pt idx="8977">
                  <c:v>60.253-60.260</c:v>
                </c:pt>
                <c:pt idx="8978">
                  <c:v>60.260-60.266</c:v>
                </c:pt>
                <c:pt idx="8979">
                  <c:v>60.266-60.273</c:v>
                </c:pt>
                <c:pt idx="8980">
                  <c:v>60.273-60.280</c:v>
                </c:pt>
                <c:pt idx="8981">
                  <c:v>60.280-60.286</c:v>
                </c:pt>
                <c:pt idx="8982">
                  <c:v>60.286-60.293</c:v>
                </c:pt>
                <c:pt idx="8983">
                  <c:v>60.293-60.300</c:v>
                </c:pt>
                <c:pt idx="8984">
                  <c:v>60.300-60.307</c:v>
                </c:pt>
                <c:pt idx="8985">
                  <c:v>60.307-60.313</c:v>
                </c:pt>
                <c:pt idx="8986">
                  <c:v>60.313-60.320</c:v>
                </c:pt>
                <c:pt idx="8987">
                  <c:v>60.320-60.327</c:v>
                </c:pt>
                <c:pt idx="8988">
                  <c:v>60.327-60.333</c:v>
                </c:pt>
                <c:pt idx="8989">
                  <c:v>60.333-60.340</c:v>
                </c:pt>
                <c:pt idx="8990">
                  <c:v>60.340-60.347</c:v>
                </c:pt>
                <c:pt idx="8991">
                  <c:v>60.347-60.354</c:v>
                </c:pt>
                <c:pt idx="8992">
                  <c:v>60.354-60.360</c:v>
                </c:pt>
                <c:pt idx="8993">
                  <c:v>60.360-60.367</c:v>
                </c:pt>
                <c:pt idx="8994">
                  <c:v>60.367-60.374</c:v>
                </c:pt>
                <c:pt idx="8995">
                  <c:v>60.374-60.380</c:v>
                </c:pt>
                <c:pt idx="8996">
                  <c:v>60.380-60.387</c:v>
                </c:pt>
                <c:pt idx="8997">
                  <c:v>60.387-60.394</c:v>
                </c:pt>
                <c:pt idx="8998">
                  <c:v>60.394-60.400</c:v>
                </c:pt>
                <c:pt idx="8999">
                  <c:v>60.400-60.407</c:v>
                </c:pt>
                <c:pt idx="9000">
                  <c:v>60.407-60.414</c:v>
                </c:pt>
                <c:pt idx="9001">
                  <c:v>60.414-60.421</c:v>
                </c:pt>
                <c:pt idx="9002">
                  <c:v>60.421-60.427</c:v>
                </c:pt>
                <c:pt idx="9003">
                  <c:v>60.427-60.434</c:v>
                </c:pt>
                <c:pt idx="9004">
                  <c:v>60.434-60.441</c:v>
                </c:pt>
                <c:pt idx="9005">
                  <c:v>60.441-60.447</c:v>
                </c:pt>
                <c:pt idx="9006">
                  <c:v>60.447-60.454</c:v>
                </c:pt>
                <c:pt idx="9007">
                  <c:v>60.454-60.461</c:v>
                </c:pt>
                <c:pt idx="9008">
                  <c:v>60.461-60.468</c:v>
                </c:pt>
                <c:pt idx="9009">
                  <c:v>60.468-60.474</c:v>
                </c:pt>
                <c:pt idx="9010">
                  <c:v>60.474-60.481</c:v>
                </c:pt>
                <c:pt idx="9011">
                  <c:v>60.481-60.488</c:v>
                </c:pt>
                <c:pt idx="9012">
                  <c:v>60.488-60.494</c:v>
                </c:pt>
                <c:pt idx="9013">
                  <c:v>60.494-60.501</c:v>
                </c:pt>
                <c:pt idx="9014">
                  <c:v>60.501-60.508</c:v>
                </c:pt>
                <c:pt idx="9015">
                  <c:v>60.508-60.515</c:v>
                </c:pt>
                <c:pt idx="9016">
                  <c:v>60.515-60.521</c:v>
                </c:pt>
                <c:pt idx="9017">
                  <c:v>60.521-60.528</c:v>
                </c:pt>
                <c:pt idx="9018">
                  <c:v>60.528-60.535</c:v>
                </c:pt>
                <c:pt idx="9019">
                  <c:v>60.535-60.541</c:v>
                </c:pt>
                <c:pt idx="9020">
                  <c:v>60.541-60.548</c:v>
                </c:pt>
                <c:pt idx="9021">
                  <c:v>60.548-60.555</c:v>
                </c:pt>
                <c:pt idx="9022">
                  <c:v>60.555-60.562</c:v>
                </c:pt>
                <c:pt idx="9023">
                  <c:v>60.562-60.568</c:v>
                </c:pt>
                <c:pt idx="9024">
                  <c:v>60.568-60.575</c:v>
                </c:pt>
                <c:pt idx="9025">
                  <c:v>60.575-60.582</c:v>
                </c:pt>
                <c:pt idx="9026">
                  <c:v>60.582-60.588</c:v>
                </c:pt>
                <c:pt idx="9027">
                  <c:v>60.588-60.595</c:v>
                </c:pt>
                <c:pt idx="9028">
                  <c:v>60.595-60.602</c:v>
                </c:pt>
                <c:pt idx="9029">
                  <c:v>60.602-60.609</c:v>
                </c:pt>
                <c:pt idx="9030">
                  <c:v>60.609-60.615</c:v>
                </c:pt>
                <c:pt idx="9031">
                  <c:v>60.615-60.622</c:v>
                </c:pt>
                <c:pt idx="9032">
                  <c:v>60.622-60.629</c:v>
                </c:pt>
                <c:pt idx="9033">
                  <c:v>60.629-60.635</c:v>
                </c:pt>
                <c:pt idx="9034">
                  <c:v>60.635-60.642</c:v>
                </c:pt>
                <c:pt idx="9035">
                  <c:v>60.642-60.649</c:v>
                </c:pt>
                <c:pt idx="9036">
                  <c:v>60.649-60.655</c:v>
                </c:pt>
                <c:pt idx="9037">
                  <c:v>60.655-60.662</c:v>
                </c:pt>
                <c:pt idx="9038">
                  <c:v>60.662-60.669</c:v>
                </c:pt>
                <c:pt idx="9039">
                  <c:v>60.669-60.676</c:v>
                </c:pt>
                <c:pt idx="9040">
                  <c:v>60.676-60.682</c:v>
                </c:pt>
                <c:pt idx="9041">
                  <c:v>60.682-60.689</c:v>
                </c:pt>
                <c:pt idx="9042">
                  <c:v>60.689-60.696</c:v>
                </c:pt>
                <c:pt idx="9043">
                  <c:v>60.696-60.702</c:v>
                </c:pt>
                <c:pt idx="9044">
                  <c:v>60.702-60.709</c:v>
                </c:pt>
                <c:pt idx="9045">
                  <c:v>60.709-60.716</c:v>
                </c:pt>
                <c:pt idx="9046">
                  <c:v>60.716-60.723</c:v>
                </c:pt>
                <c:pt idx="9047">
                  <c:v>60.723-60.729</c:v>
                </c:pt>
                <c:pt idx="9048">
                  <c:v>60.729-60.736</c:v>
                </c:pt>
                <c:pt idx="9049">
                  <c:v>60.736-60.743</c:v>
                </c:pt>
                <c:pt idx="9050">
                  <c:v>60.743-60.749</c:v>
                </c:pt>
                <c:pt idx="9051">
                  <c:v>60.749-60.756</c:v>
                </c:pt>
                <c:pt idx="9052">
                  <c:v>60.756-60.763</c:v>
                </c:pt>
                <c:pt idx="9053">
                  <c:v>60.763-60.770</c:v>
                </c:pt>
                <c:pt idx="9054">
                  <c:v>60.770-60.776</c:v>
                </c:pt>
                <c:pt idx="9055">
                  <c:v>60.776-60.783</c:v>
                </c:pt>
                <c:pt idx="9056">
                  <c:v>60.783-60.790</c:v>
                </c:pt>
                <c:pt idx="9057">
                  <c:v>60.790-60.796</c:v>
                </c:pt>
                <c:pt idx="9058">
                  <c:v>60.796-60.803</c:v>
                </c:pt>
                <c:pt idx="9059">
                  <c:v>60.803-60.810</c:v>
                </c:pt>
                <c:pt idx="9060">
                  <c:v>60.810-60.817</c:v>
                </c:pt>
                <c:pt idx="9061">
                  <c:v>60.817-60.823</c:v>
                </c:pt>
                <c:pt idx="9062">
                  <c:v>60.823-60.830</c:v>
                </c:pt>
                <c:pt idx="9063">
                  <c:v>60.830-60.837</c:v>
                </c:pt>
                <c:pt idx="9064">
                  <c:v>60.837-60.843</c:v>
                </c:pt>
                <c:pt idx="9065">
                  <c:v>60.843-60.850</c:v>
                </c:pt>
                <c:pt idx="9066">
                  <c:v>60.850-60.857</c:v>
                </c:pt>
                <c:pt idx="9067">
                  <c:v>60.857-60.864</c:v>
                </c:pt>
                <c:pt idx="9068">
                  <c:v>60.864-60.870</c:v>
                </c:pt>
                <c:pt idx="9069">
                  <c:v>60.870-60.877</c:v>
                </c:pt>
                <c:pt idx="9070">
                  <c:v>60.877-60.884</c:v>
                </c:pt>
                <c:pt idx="9071">
                  <c:v>60.884-60.890</c:v>
                </c:pt>
                <c:pt idx="9072">
                  <c:v>60.890-60.897</c:v>
                </c:pt>
                <c:pt idx="9073">
                  <c:v>60.897-60.904</c:v>
                </c:pt>
                <c:pt idx="9074">
                  <c:v>60.904-60.911</c:v>
                </c:pt>
                <c:pt idx="9075">
                  <c:v>60.911-60.917</c:v>
                </c:pt>
                <c:pt idx="9076">
                  <c:v>60.917-60.924</c:v>
                </c:pt>
                <c:pt idx="9077">
                  <c:v>60.924-60.931</c:v>
                </c:pt>
                <c:pt idx="9078">
                  <c:v>60.931-60.937</c:v>
                </c:pt>
                <c:pt idx="9079">
                  <c:v>60.937-60.944</c:v>
                </c:pt>
                <c:pt idx="9080">
                  <c:v>60.944-60.951</c:v>
                </c:pt>
                <c:pt idx="9081">
                  <c:v>60.951-60.957</c:v>
                </c:pt>
                <c:pt idx="9082">
                  <c:v>60.957-60.964</c:v>
                </c:pt>
                <c:pt idx="9083">
                  <c:v>60.964-60.971</c:v>
                </c:pt>
                <c:pt idx="9084">
                  <c:v>60.971-60.978</c:v>
                </c:pt>
                <c:pt idx="9085">
                  <c:v>60.978-60.984</c:v>
                </c:pt>
                <c:pt idx="9086">
                  <c:v>60.984-60.991</c:v>
                </c:pt>
                <c:pt idx="9087">
                  <c:v>60.991-60.998</c:v>
                </c:pt>
                <c:pt idx="9088">
                  <c:v>60.998-61.004</c:v>
                </c:pt>
                <c:pt idx="9089">
                  <c:v>61.004-61.011</c:v>
                </c:pt>
                <c:pt idx="9090">
                  <c:v>61.011-61.018</c:v>
                </c:pt>
                <c:pt idx="9091">
                  <c:v>61.018-61.025</c:v>
                </c:pt>
                <c:pt idx="9092">
                  <c:v>61.025-61.031</c:v>
                </c:pt>
                <c:pt idx="9093">
                  <c:v>61.031-61.038</c:v>
                </c:pt>
                <c:pt idx="9094">
                  <c:v>61.038-61.045</c:v>
                </c:pt>
                <c:pt idx="9095">
                  <c:v>61.045-61.051</c:v>
                </c:pt>
                <c:pt idx="9096">
                  <c:v>61.051-61.058</c:v>
                </c:pt>
                <c:pt idx="9097">
                  <c:v>61.058-61.065</c:v>
                </c:pt>
                <c:pt idx="9098">
                  <c:v>61.065-61.072</c:v>
                </c:pt>
                <c:pt idx="9099">
                  <c:v>61.072-61.078</c:v>
                </c:pt>
                <c:pt idx="9100">
                  <c:v>61.078-61.085</c:v>
                </c:pt>
                <c:pt idx="9101">
                  <c:v>61.085-61.092</c:v>
                </c:pt>
                <c:pt idx="9102">
                  <c:v>61.092-61.098</c:v>
                </c:pt>
                <c:pt idx="9103">
                  <c:v>61.098-61.105</c:v>
                </c:pt>
                <c:pt idx="9104">
                  <c:v>61.105-61.112</c:v>
                </c:pt>
                <c:pt idx="9105">
                  <c:v>61.112-61.119</c:v>
                </c:pt>
                <c:pt idx="9106">
                  <c:v>61.119-61.125</c:v>
                </c:pt>
                <c:pt idx="9107">
                  <c:v>61.125-61.132</c:v>
                </c:pt>
                <c:pt idx="9108">
                  <c:v>61.132-61.139</c:v>
                </c:pt>
                <c:pt idx="9109">
                  <c:v>61.139-61.145</c:v>
                </c:pt>
                <c:pt idx="9110">
                  <c:v>61.145-61.152</c:v>
                </c:pt>
                <c:pt idx="9111">
                  <c:v>61.152-61.159</c:v>
                </c:pt>
                <c:pt idx="9112">
                  <c:v>61.159-61.166</c:v>
                </c:pt>
                <c:pt idx="9113">
                  <c:v>61.166-61.172</c:v>
                </c:pt>
                <c:pt idx="9114">
                  <c:v>61.172-61.179</c:v>
                </c:pt>
                <c:pt idx="9115">
                  <c:v>61.179-61.186</c:v>
                </c:pt>
                <c:pt idx="9116">
                  <c:v>61.186-61.192</c:v>
                </c:pt>
                <c:pt idx="9117">
                  <c:v>61.192-61.199</c:v>
                </c:pt>
                <c:pt idx="9118">
                  <c:v>61.199-61.206</c:v>
                </c:pt>
                <c:pt idx="9119">
                  <c:v>61.206-61.212</c:v>
                </c:pt>
                <c:pt idx="9120">
                  <c:v>61.212-61.219</c:v>
                </c:pt>
                <c:pt idx="9121">
                  <c:v>61.219-61.226</c:v>
                </c:pt>
                <c:pt idx="9122">
                  <c:v>61.226-61.233</c:v>
                </c:pt>
                <c:pt idx="9123">
                  <c:v>61.233-61.239</c:v>
                </c:pt>
                <c:pt idx="9124">
                  <c:v>61.239-61.246</c:v>
                </c:pt>
                <c:pt idx="9125">
                  <c:v>61.246-61.253</c:v>
                </c:pt>
                <c:pt idx="9126">
                  <c:v>61.253-61.259</c:v>
                </c:pt>
                <c:pt idx="9127">
                  <c:v>61.259-61.266</c:v>
                </c:pt>
                <c:pt idx="9128">
                  <c:v>61.266-61.273</c:v>
                </c:pt>
                <c:pt idx="9129">
                  <c:v>61.273-61.280</c:v>
                </c:pt>
                <c:pt idx="9130">
                  <c:v>61.280-61.286</c:v>
                </c:pt>
                <c:pt idx="9131">
                  <c:v>61.286-61.293</c:v>
                </c:pt>
                <c:pt idx="9132">
                  <c:v>61.293-61.300</c:v>
                </c:pt>
                <c:pt idx="9133">
                  <c:v>61.300-61.306</c:v>
                </c:pt>
                <c:pt idx="9134">
                  <c:v>61.306-61.313</c:v>
                </c:pt>
                <c:pt idx="9135">
                  <c:v>61.313-61.320</c:v>
                </c:pt>
                <c:pt idx="9136">
                  <c:v>61.320-61.327</c:v>
                </c:pt>
                <c:pt idx="9137">
                  <c:v>61.327-61.333</c:v>
                </c:pt>
                <c:pt idx="9138">
                  <c:v>61.333-61.340</c:v>
                </c:pt>
                <c:pt idx="9139">
                  <c:v>61.340-61.347</c:v>
                </c:pt>
                <c:pt idx="9140">
                  <c:v>61.347-61.353</c:v>
                </c:pt>
                <c:pt idx="9141">
                  <c:v>61.353-61.360</c:v>
                </c:pt>
                <c:pt idx="9142">
                  <c:v>61.360-61.367</c:v>
                </c:pt>
                <c:pt idx="9143">
                  <c:v>61.367-61.374</c:v>
                </c:pt>
                <c:pt idx="9144">
                  <c:v>61.374-61.380</c:v>
                </c:pt>
                <c:pt idx="9145">
                  <c:v>61.380-61.387</c:v>
                </c:pt>
                <c:pt idx="9146">
                  <c:v>61.387-61.394</c:v>
                </c:pt>
                <c:pt idx="9147">
                  <c:v>61.394-61.400</c:v>
                </c:pt>
                <c:pt idx="9148">
                  <c:v>61.400-61.407</c:v>
                </c:pt>
                <c:pt idx="9149">
                  <c:v>61.407-61.414</c:v>
                </c:pt>
                <c:pt idx="9150">
                  <c:v>61.414-61.421</c:v>
                </c:pt>
                <c:pt idx="9151">
                  <c:v>61.421-61.427</c:v>
                </c:pt>
                <c:pt idx="9152">
                  <c:v>61.427-61.434</c:v>
                </c:pt>
                <c:pt idx="9153">
                  <c:v>61.434-61.441</c:v>
                </c:pt>
                <c:pt idx="9154">
                  <c:v>61.441-61.447</c:v>
                </c:pt>
                <c:pt idx="9155">
                  <c:v>61.447-61.454</c:v>
                </c:pt>
                <c:pt idx="9156">
                  <c:v>61.454-61.461</c:v>
                </c:pt>
                <c:pt idx="9157">
                  <c:v>61.461-61.468</c:v>
                </c:pt>
                <c:pt idx="9158">
                  <c:v>61.468-61.474</c:v>
                </c:pt>
                <c:pt idx="9159">
                  <c:v>61.474-61.481</c:v>
                </c:pt>
                <c:pt idx="9160">
                  <c:v>61.481-61.488</c:v>
                </c:pt>
                <c:pt idx="9161">
                  <c:v>61.488-61.494</c:v>
                </c:pt>
                <c:pt idx="9162">
                  <c:v>61.494-61.501</c:v>
                </c:pt>
                <c:pt idx="9163">
                  <c:v>61.501-61.508</c:v>
                </c:pt>
                <c:pt idx="9164">
                  <c:v>61.508-61.514</c:v>
                </c:pt>
                <c:pt idx="9165">
                  <c:v>61.514-61.521</c:v>
                </c:pt>
                <c:pt idx="9166">
                  <c:v>61.521-61.528</c:v>
                </c:pt>
                <c:pt idx="9167">
                  <c:v>61.528-61.535</c:v>
                </c:pt>
                <c:pt idx="9168">
                  <c:v>61.535-61.541</c:v>
                </c:pt>
                <c:pt idx="9169">
                  <c:v>61.541-61.548</c:v>
                </c:pt>
                <c:pt idx="9170">
                  <c:v>61.548-61.555</c:v>
                </c:pt>
                <c:pt idx="9171">
                  <c:v>61.555-61.561</c:v>
                </c:pt>
                <c:pt idx="9172">
                  <c:v>61.561-61.568</c:v>
                </c:pt>
                <c:pt idx="9173">
                  <c:v>61.568-61.575</c:v>
                </c:pt>
                <c:pt idx="9174">
                  <c:v>61.575-61.582</c:v>
                </c:pt>
                <c:pt idx="9175">
                  <c:v>61.582-61.588</c:v>
                </c:pt>
                <c:pt idx="9176">
                  <c:v>61.588-61.595</c:v>
                </c:pt>
                <c:pt idx="9177">
                  <c:v>61.595-61.602</c:v>
                </c:pt>
                <c:pt idx="9178">
                  <c:v>61.602-61.608</c:v>
                </c:pt>
                <c:pt idx="9179">
                  <c:v>61.608-61.615</c:v>
                </c:pt>
                <c:pt idx="9180">
                  <c:v>61.615-61.622</c:v>
                </c:pt>
                <c:pt idx="9181">
                  <c:v>61.622-61.629</c:v>
                </c:pt>
                <c:pt idx="9182">
                  <c:v>61.629-61.635</c:v>
                </c:pt>
                <c:pt idx="9183">
                  <c:v>61.635-61.642</c:v>
                </c:pt>
                <c:pt idx="9184">
                  <c:v>61.642-61.649</c:v>
                </c:pt>
                <c:pt idx="9185">
                  <c:v>61.649-61.655</c:v>
                </c:pt>
                <c:pt idx="9186">
                  <c:v>61.655-61.662</c:v>
                </c:pt>
                <c:pt idx="9187">
                  <c:v>61.662-61.669</c:v>
                </c:pt>
                <c:pt idx="9188">
                  <c:v>61.669-61.676</c:v>
                </c:pt>
                <c:pt idx="9189">
                  <c:v>61.676-61.682</c:v>
                </c:pt>
                <c:pt idx="9190">
                  <c:v>61.682-61.689</c:v>
                </c:pt>
                <c:pt idx="9191">
                  <c:v>61.689-61.696</c:v>
                </c:pt>
                <c:pt idx="9192">
                  <c:v>61.696-61.702</c:v>
                </c:pt>
                <c:pt idx="9193">
                  <c:v>61.702-61.709</c:v>
                </c:pt>
                <c:pt idx="9194">
                  <c:v>61.709-61.716</c:v>
                </c:pt>
                <c:pt idx="9195">
                  <c:v>61.716-61.723</c:v>
                </c:pt>
                <c:pt idx="9196">
                  <c:v>61.723-61.729</c:v>
                </c:pt>
                <c:pt idx="9197">
                  <c:v>61.729-61.736</c:v>
                </c:pt>
                <c:pt idx="9198">
                  <c:v>61.736-61.743</c:v>
                </c:pt>
                <c:pt idx="9199">
                  <c:v>61.743-61.749</c:v>
                </c:pt>
                <c:pt idx="9200">
                  <c:v>61.749-61.756</c:v>
                </c:pt>
                <c:pt idx="9201">
                  <c:v>61.756-61.763</c:v>
                </c:pt>
                <c:pt idx="9202">
                  <c:v>61.763-61.769</c:v>
                </c:pt>
                <c:pt idx="9203">
                  <c:v>61.769-61.776</c:v>
                </c:pt>
                <c:pt idx="9204">
                  <c:v>61.776-61.783</c:v>
                </c:pt>
                <c:pt idx="9205">
                  <c:v>61.783-61.790</c:v>
                </c:pt>
                <c:pt idx="9206">
                  <c:v>61.790-61.796</c:v>
                </c:pt>
                <c:pt idx="9207">
                  <c:v>61.796-61.803</c:v>
                </c:pt>
                <c:pt idx="9208">
                  <c:v>61.803-61.810</c:v>
                </c:pt>
                <c:pt idx="9209">
                  <c:v>61.810-61.816</c:v>
                </c:pt>
                <c:pt idx="9210">
                  <c:v>61.816-61.823</c:v>
                </c:pt>
                <c:pt idx="9211">
                  <c:v>61.823-61.830</c:v>
                </c:pt>
                <c:pt idx="9212">
                  <c:v>61.830-61.837</c:v>
                </c:pt>
                <c:pt idx="9213">
                  <c:v>61.837-61.843</c:v>
                </c:pt>
                <c:pt idx="9214">
                  <c:v>61.843-61.850</c:v>
                </c:pt>
                <c:pt idx="9215">
                  <c:v>61.850-61.857</c:v>
                </c:pt>
                <c:pt idx="9216">
                  <c:v>61.857-61.863</c:v>
                </c:pt>
                <c:pt idx="9217">
                  <c:v>61.863-61.870</c:v>
                </c:pt>
                <c:pt idx="9218">
                  <c:v>61.870-61.877</c:v>
                </c:pt>
                <c:pt idx="9219">
                  <c:v>61.877-61.884</c:v>
                </c:pt>
                <c:pt idx="9220">
                  <c:v>61.884-61.890</c:v>
                </c:pt>
                <c:pt idx="9221">
                  <c:v>61.890-61.897</c:v>
                </c:pt>
                <c:pt idx="9222">
                  <c:v>61.897-61.904</c:v>
                </c:pt>
                <c:pt idx="9223">
                  <c:v>61.904-61.910</c:v>
                </c:pt>
                <c:pt idx="9224">
                  <c:v>61.910-61.917</c:v>
                </c:pt>
                <c:pt idx="9225">
                  <c:v>61.917-61.924</c:v>
                </c:pt>
                <c:pt idx="9226">
                  <c:v>61.924-61.931</c:v>
                </c:pt>
                <c:pt idx="9227">
                  <c:v>61.931-61.937</c:v>
                </c:pt>
                <c:pt idx="9228">
                  <c:v>61.937-61.944</c:v>
                </c:pt>
                <c:pt idx="9229">
                  <c:v>61.944-61.951</c:v>
                </c:pt>
                <c:pt idx="9230">
                  <c:v>61.951-61.957</c:v>
                </c:pt>
                <c:pt idx="9231">
                  <c:v>61.957-61.964</c:v>
                </c:pt>
                <c:pt idx="9232">
                  <c:v>61.964-61.971</c:v>
                </c:pt>
                <c:pt idx="9233">
                  <c:v>61.971-61.978</c:v>
                </c:pt>
                <c:pt idx="9234">
                  <c:v>61.978-61.984</c:v>
                </c:pt>
                <c:pt idx="9235">
                  <c:v>61.984-61.991</c:v>
                </c:pt>
                <c:pt idx="9236">
                  <c:v>61.991-61.998</c:v>
                </c:pt>
                <c:pt idx="9237">
                  <c:v>61.998-62.004</c:v>
                </c:pt>
                <c:pt idx="9238">
                  <c:v>62.004-62.011</c:v>
                </c:pt>
                <c:pt idx="9239">
                  <c:v>62.011-62.018</c:v>
                </c:pt>
                <c:pt idx="9240">
                  <c:v>62.018-62.025</c:v>
                </c:pt>
                <c:pt idx="9241">
                  <c:v>62.025-62.031</c:v>
                </c:pt>
                <c:pt idx="9242">
                  <c:v>62.031-62.038</c:v>
                </c:pt>
                <c:pt idx="9243">
                  <c:v>62.038-62.045</c:v>
                </c:pt>
                <c:pt idx="9244">
                  <c:v>62.045-62.051</c:v>
                </c:pt>
                <c:pt idx="9245">
                  <c:v>62.051-62.058</c:v>
                </c:pt>
                <c:pt idx="9246">
                  <c:v>62.058-62.065</c:v>
                </c:pt>
                <c:pt idx="9247">
                  <c:v>62.065-62.071</c:v>
                </c:pt>
                <c:pt idx="9248">
                  <c:v>62.071-62.078</c:v>
                </c:pt>
                <c:pt idx="9249">
                  <c:v>62.078-62.085</c:v>
                </c:pt>
                <c:pt idx="9250">
                  <c:v>62.085-62.092</c:v>
                </c:pt>
                <c:pt idx="9251">
                  <c:v>62.092-62.098</c:v>
                </c:pt>
                <c:pt idx="9252">
                  <c:v>62.098-62.105</c:v>
                </c:pt>
                <c:pt idx="9253">
                  <c:v>62.105-62.112</c:v>
                </c:pt>
                <c:pt idx="9254">
                  <c:v>62.112-62.118</c:v>
                </c:pt>
                <c:pt idx="9255">
                  <c:v>62.118-62.125</c:v>
                </c:pt>
                <c:pt idx="9256">
                  <c:v>62.125-62.132</c:v>
                </c:pt>
                <c:pt idx="9257">
                  <c:v>62.132-62.139</c:v>
                </c:pt>
                <c:pt idx="9258">
                  <c:v>62.139-62.145</c:v>
                </c:pt>
                <c:pt idx="9259">
                  <c:v>62.145-62.152</c:v>
                </c:pt>
                <c:pt idx="9260">
                  <c:v>62.152-62.159</c:v>
                </c:pt>
                <c:pt idx="9261">
                  <c:v>62.159-62.165</c:v>
                </c:pt>
                <c:pt idx="9262">
                  <c:v>62.165-62.172</c:v>
                </c:pt>
                <c:pt idx="9263">
                  <c:v>62.172-62.179</c:v>
                </c:pt>
                <c:pt idx="9264">
                  <c:v>62.179-62.186</c:v>
                </c:pt>
                <c:pt idx="9265">
                  <c:v>62.186-62.192</c:v>
                </c:pt>
                <c:pt idx="9266">
                  <c:v>62.192-62.199</c:v>
                </c:pt>
                <c:pt idx="9267">
                  <c:v>62.199-62.206</c:v>
                </c:pt>
                <c:pt idx="9268">
                  <c:v>62.206-62.212</c:v>
                </c:pt>
                <c:pt idx="9269">
                  <c:v>62.212-62.219</c:v>
                </c:pt>
                <c:pt idx="9270">
                  <c:v>62.219-62.226</c:v>
                </c:pt>
                <c:pt idx="9271">
                  <c:v>62.226-62.233</c:v>
                </c:pt>
                <c:pt idx="9272">
                  <c:v>62.233-62.239</c:v>
                </c:pt>
                <c:pt idx="9273">
                  <c:v>62.239-62.246</c:v>
                </c:pt>
                <c:pt idx="9274">
                  <c:v>62.246-62.253</c:v>
                </c:pt>
                <c:pt idx="9275">
                  <c:v>62.253-62.259</c:v>
                </c:pt>
                <c:pt idx="9276">
                  <c:v>62.259-62.266</c:v>
                </c:pt>
                <c:pt idx="9277">
                  <c:v>62.266-62.273</c:v>
                </c:pt>
                <c:pt idx="9278">
                  <c:v>62.273-62.280</c:v>
                </c:pt>
                <c:pt idx="9279">
                  <c:v>62.280-62.286</c:v>
                </c:pt>
                <c:pt idx="9280">
                  <c:v>62.286-62.293</c:v>
                </c:pt>
                <c:pt idx="9281">
                  <c:v>62.293-62.300</c:v>
                </c:pt>
                <c:pt idx="9282">
                  <c:v>62.300-62.306</c:v>
                </c:pt>
                <c:pt idx="9283">
                  <c:v>62.306-62.313</c:v>
                </c:pt>
                <c:pt idx="9284">
                  <c:v>62.313-62.320</c:v>
                </c:pt>
                <c:pt idx="9285">
                  <c:v>62.320-62.326</c:v>
                </c:pt>
                <c:pt idx="9286">
                  <c:v>62.326-62.333</c:v>
                </c:pt>
                <c:pt idx="9287">
                  <c:v>62.333-62.340</c:v>
                </c:pt>
                <c:pt idx="9288">
                  <c:v>62.340-62.347</c:v>
                </c:pt>
                <c:pt idx="9289">
                  <c:v>62.347-62.353</c:v>
                </c:pt>
                <c:pt idx="9290">
                  <c:v>62.353-62.360</c:v>
                </c:pt>
                <c:pt idx="9291">
                  <c:v>62.360-62.367</c:v>
                </c:pt>
                <c:pt idx="9292">
                  <c:v>62.367-62.373</c:v>
                </c:pt>
                <c:pt idx="9293">
                  <c:v>62.373-62.380</c:v>
                </c:pt>
                <c:pt idx="9294">
                  <c:v>62.380-62.387</c:v>
                </c:pt>
                <c:pt idx="9295">
                  <c:v>62.387-62.394</c:v>
                </c:pt>
                <c:pt idx="9296">
                  <c:v>62.394-62.400</c:v>
                </c:pt>
                <c:pt idx="9297">
                  <c:v>62.400-62.407</c:v>
                </c:pt>
                <c:pt idx="9298">
                  <c:v>62.407-62.414</c:v>
                </c:pt>
                <c:pt idx="9299">
                  <c:v>62.414-62.420</c:v>
                </c:pt>
                <c:pt idx="9300">
                  <c:v>62.420-62.427</c:v>
                </c:pt>
                <c:pt idx="9301">
                  <c:v>62.427-62.434</c:v>
                </c:pt>
                <c:pt idx="9302">
                  <c:v>62.434-62.441</c:v>
                </c:pt>
                <c:pt idx="9303">
                  <c:v>62.441-62.447</c:v>
                </c:pt>
                <c:pt idx="9304">
                  <c:v>62.447-62.454</c:v>
                </c:pt>
                <c:pt idx="9305">
                  <c:v>62.454-62.461</c:v>
                </c:pt>
                <c:pt idx="9306">
                  <c:v>62.461-62.467</c:v>
                </c:pt>
                <c:pt idx="9307">
                  <c:v>62.467-62.474</c:v>
                </c:pt>
                <c:pt idx="9308">
                  <c:v>62.474-62.481</c:v>
                </c:pt>
                <c:pt idx="9309">
                  <c:v>62.481-62.488</c:v>
                </c:pt>
                <c:pt idx="9310">
                  <c:v>62.488-62.494</c:v>
                </c:pt>
                <c:pt idx="9311">
                  <c:v>62.494-62.501</c:v>
                </c:pt>
                <c:pt idx="9312">
                  <c:v>62.501-62.508</c:v>
                </c:pt>
                <c:pt idx="9313">
                  <c:v>62.508-62.514</c:v>
                </c:pt>
                <c:pt idx="9314">
                  <c:v>62.514-62.521</c:v>
                </c:pt>
                <c:pt idx="9315">
                  <c:v>62.521-62.528</c:v>
                </c:pt>
                <c:pt idx="9316">
                  <c:v>62.528-62.535</c:v>
                </c:pt>
                <c:pt idx="9317">
                  <c:v>62.535-62.541</c:v>
                </c:pt>
                <c:pt idx="9318">
                  <c:v>62.541-62.548</c:v>
                </c:pt>
                <c:pt idx="9319">
                  <c:v>62.548-62.555</c:v>
                </c:pt>
                <c:pt idx="9320">
                  <c:v>62.555-62.561</c:v>
                </c:pt>
                <c:pt idx="9321">
                  <c:v>62.561-62.568</c:v>
                </c:pt>
                <c:pt idx="9322">
                  <c:v>62.568-62.575</c:v>
                </c:pt>
                <c:pt idx="9323">
                  <c:v>62.575-62.581</c:v>
                </c:pt>
                <c:pt idx="9324">
                  <c:v>62.581-62.588</c:v>
                </c:pt>
                <c:pt idx="9325">
                  <c:v>62.588-62.595</c:v>
                </c:pt>
                <c:pt idx="9326">
                  <c:v>62.595-62.602</c:v>
                </c:pt>
                <c:pt idx="9327">
                  <c:v>62.602-62.608</c:v>
                </c:pt>
                <c:pt idx="9328">
                  <c:v>62.608-62.615</c:v>
                </c:pt>
                <c:pt idx="9329">
                  <c:v>62.615-62.622</c:v>
                </c:pt>
                <c:pt idx="9330">
                  <c:v>62.622-62.628</c:v>
                </c:pt>
                <c:pt idx="9331">
                  <c:v>62.628-62.635</c:v>
                </c:pt>
                <c:pt idx="9332">
                  <c:v>62.635-62.642</c:v>
                </c:pt>
                <c:pt idx="9333">
                  <c:v>62.642-62.649</c:v>
                </c:pt>
                <c:pt idx="9334">
                  <c:v>62.649-62.655</c:v>
                </c:pt>
                <c:pt idx="9335">
                  <c:v>62.655-62.662</c:v>
                </c:pt>
                <c:pt idx="9336">
                  <c:v>62.662-62.669</c:v>
                </c:pt>
                <c:pt idx="9337">
                  <c:v>62.669-62.675</c:v>
                </c:pt>
                <c:pt idx="9338">
                  <c:v>62.675-62.682</c:v>
                </c:pt>
                <c:pt idx="9339">
                  <c:v>62.682-62.689</c:v>
                </c:pt>
                <c:pt idx="9340">
                  <c:v>62.689-62.696</c:v>
                </c:pt>
                <c:pt idx="9341">
                  <c:v>62.696-62.702</c:v>
                </c:pt>
                <c:pt idx="9342">
                  <c:v>62.702-62.709</c:v>
                </c:pt>
                <c:pt idx="9343">
                  <c:v>62.709-62.716</c:v>
                </c:pt>
                <c:pt idx="9344">
                  <c:v>62.716-62.722</c:v>
                </c:pt>
                <c:pt idx="9345">
                  <c:v>62.722-62.729</c:v>
                </c:pt>
                <c:pt idx="9346">
                  <c:v>62.729-62.736</c:v>
                </c:pt>
                <c:pt idx="9347">
                  <c:v>62.736-62.743</c:v>
                </c:pt>
                <c:pt idx="9348">
                  <c:v>62.743-62.749</c:v>
                </c:pt>
                <c:pt idx="9349">
                  <c:v>62.749-62.756</c:v>
                </c:pt>
                <c:pt idx="9350">
                  <c:v>62.756-62.763</c:v>
                </c:pt>
                <c:pt idx="9351">
                  <c:v>62.763-62.769</c:v>
                </c:pt>
                <c:pt idx="9352">
                  <c:v>62.769-62.776</c:v>
                </c:pt>
                <c:pt idx="9353">
                  <c:v>62.776-62.783</c:v>
                </c:pt>
                <c:pt idx="9354">
                  <c:v>62.783-62.790</c:v>
                </c:pt>
                <c:pt idx="9355">
                  <c:v>62.790-62.796</c:v>
                </c:pt>
                <c:pt idx="9356">
                  <c:v>62.796-62.803</c:v>
                </c:pt>
                <c:pt idx="9357">
                  <c:v>62.803-62.810</c:v>
                </c:pt>
                <c:pt idx="9358">
                  <c:v>62.810-62.816</c:v>
                </c:pt>
                <c:pt idx="9359">
                  <c:v>62.816-62.823</c:v>
                </c:pt>
                <c:pt idx="9360">
                  <c:v>62.823-62.830</c:v>
                </c:pt>
                <c:pt idx="9361">
                  <c:v>62.830-62.837</c:v>
                </c:pt>
                <c:pt idx="9362">
                  <c:v>62.837-62.843</c:v>
                </c:pt>
                <c:pt idx="9363">
                  <c:v>62.843-62.850</c:v>
                </c:pt>
                <c:pt idx="9364">
                  <c:v>62.850-62.857</c:v>
                </c:pt>
                <c:pt idx="9365">
                  <c:v>62.857-62.863</c:v>
                </c:pt>
                <c:pt idx="9366">
                  <c:v>62.863-62.870</c:v>
                </c:pt>
                <c:pt idx="9367">
                  <c:v>62.870-62.877</c:v>
                </c:pt>
                <c:pt idx="9368">
                  <c:v>62.877-62.883</c:v>
                </c:pt>
                <c:pt idx="9369">
                  <c:v>62.883-62.890</c:v>
                </c:pt>
                <c:pt idx="9370">
                  <c:v>62.890-62.897</c:v>
                </c:pt>
                <c:pt idx="9371">
                  <c:v>62.897-62.904</c:v>
                </c:pt>
                <c:pt idx="9372">
                  <c:v>62.904-62.910</c:v>
                </c:pt>
                <c:pt idx="9373">
                  <c:v>62.910-62.917</c:v>
                </c:pt>
                <c:pt idx="9374">
                  <c:v>62.917-62.924</c:v>
                </c:pt>
                <c:pt idx="9375">
                  <c:v>62.924-62.930</c:v>
                </c:pt>
                <c:pt idx="9376">
                  <c:v>62.930-62.937</c:v>
                </c:pt>
                <c:pt idx="9377">
                  <c:v>62.937-62.944</c:v>
                </c:pt>
                <c:pt idx="9378">
                  <c:v>62.944-62.951</c:v>
                </c:pt>
                <c:pt idx="9379">
                  <c:v>62.951-62.957</c:v>
                </c:pt>
                <c:pt idx="9380">
                  <c:v>62.957-62.964</c:v>
                </c:pt>
                <c:pt idx="9381">
                  <c:v>62.964-62.971</c:v>
                </c:pt>
                <c:pt idx="9382">
                  <c:v>62.971-62.977</c:v>
                </c:pt>
                <c:pt idx="9383">
                  <c:v>62.977-62.984</c:v>
                </c:pt>
                <c:pt idx="9384">
                  <c:v>62.984-62.991</c:v>
                </c:pt>
                <c:pt idx="9385">
                  <c:v>62.991-62.998</c:v>
                </c:pt>
                <c:pt idx="9386">
                  <c:v>62.998-63.004</c:v>
                </c:pt>
                <c:pt idx="9387">
                  <c:v>63.004-63.011</c:v>
                </c:pt>
                <c:pt idx="9388">
                  <c:v>63.011-63.018</c:v>
                </c:pt>
                <c:pt idx="9389">
                  <c:v>63.018-63.024</c:v>
                </c:pt>
                <c:pt idx="9390">
                  <c:v>63.024-63.031</c:v>
                </c:pt>
                <c:pt idx="9391">
                  <c:v>63.031-63.038</c:v>
                </c:pt>
                <c:pt idx="9392">
                  <c:v>63.038-63.045</c:v>
                </c:pt>
                <c:pt idx="9393">
                  <c:v>63.045-63.051</c:v>
                </c:pt>
                <c:pt idx="9394">
                  <c:v>63.051-63.058</c:v>
                </c:pt>
                <c:pt idx="9395">
                  <c:v>63.058-63.065</c:v>
                </c:pt>
                <c:pt idx="9396">
                  <c:v>63.065-63.071</c:v>
                </c:pt>
                <c:pt idx="9397">
                  <c:v>63.071-63.078</c:v>
                </c:pt>
                <c:pt idx="9398">
                  <c:v>63.078-63.085</c:v>
                </c:pt>
                <c:pt idx="9399">
                  <c:v>63.085-63.092</c:v>
                </c:pt>
                <c:pt idx="9400">
                  <c:v>63.092-63.098</c:v>
                </c:pt>
                <c:pt idx="9401">
                  <c:v>63.098-63.105</c:v>
                </c:pt>
                <c:pt idx="9402">
                  <c:v>63.105-63.112</c:v>
                </c:pt>
                <c:pt idx="9403">
                  <c:v>63.112-63.118</c:v>
                </c:pt>
                <c:pt idx="9404">
                  <c:v>63.118-63.125</c:v>
                </c:pt>
                <c:pt idx="9405">
                  <c:v>63.125-63.132</c:v>
                </c:pt>
                <c:pt idx="9406">
                  <c:v>63.132-63.138</c:v>
                </c:pt>
                <c:pt idx="9407">
                  <c:v>63.138-63.145</c:v>
                </c:pt>
                <c:pt idx="9408">
                  <c:v>63.145-63.152</c:v>
                </c:pt>
                <c:pt idx="9409">
                  <c:v>63.152-63.159</c:v>
                </c:pt>
                <c:pt idx="9410">
                  <c:v>63.159-63.165</c:v>
                </c:pt>
                <c:pt idx="9411">
                  <c:v>63.165-63.172</c:v>
                </c:pt>
                <c:pt idx="9412">
                  <c:v>63.172-63.179</c:v>
                </c:pt>
                <c:pt idx="9413">
                  <c:v>63.179-63.185</c:v>
                </c:pt>
                <c:pt idx="9414">
                  <c:v>63.185-63.192</c:v>
                </c:pt>
                <c:pt idx="9415">
                  <c:v>63.192-63.199</c:v>
                </c:pt>
                <c:pt idx="9416">
                  <c:v>63.199-63.206</c:v>
                </c:pt>
                <c:pt idx="9417">
                  <c:v>63.206-63.212</c:v>
                </c:pt>
                <c:pt idx="9418">
                  <c:v>63.212-63.219</c:v>
                </c:pt>
                <c:pt idx="9419">
                  <c:v>63.219-63.226</c:v>
                </c:pt>
                <c:pt idx="9420">
                  <c:v>63.226-63.232</c:v>
                </c:pt>
                <c:pt idx="9421">
                  <c:v>63.232-63.239</c:v>
                </c:pt>
                <c:pt idx="9422">
                  <c:v>63.239-63.246</c:v>
                </c:pt>
                <c:pt idx="9423">
                  <c:v>63.246-63.253</c:v>
                </c:pt>
                <c:pt idx="9424">
                  <c:v>63.253-63.259</c:v>
                </c:pt>
                <c:pt idx="9425">
                  <c:v>63.259-63.266</c:v>
                </c:pt>
                <c:pt idx="9426">
                  <c:v>63.266-63.273</c:v>
                </c:pt>
                <c:pt idx="9427">
                  <c:v>63.273-63.279</c:v>
                </c:pt>
                <c:pt idx="9428">
                  <c:v>63.279-63.286</c:v>
                </c:pt>
                <c:pt idx="9429">
                  <c:v>63.286-63.293</c:v>
                </c:pt>
                <c:pt idx="9430">
                  <c:v>63.293-63.300</c:v>
                </c:pt>
                <c:pt idx="9431">
                  <c:v>63.300-63.306</c:v>
                </c:pt>
                <c:pt idx="9432">
                  <c:v>63.306-63.313</c:v>
                </c:pt>
                <c:pt idx="9433">
                  <c:v>63.313-63.320</c:v>
                </c:pt>
                <c:pt idx="9434">
                  <c:v>63.320-63.326</c:v>
                </c:pt>
                <c:pt idx="9435">
                  <c:v>63.326-63.333</c:v>
                </c:pt>
                <c:pt idx="9436">
                  <c:v>63.333-63.340</c:v>
                </c:pt>
                <c:pt idx="9437">
                  <c:v>63.340-63.347</c:v>
                </c:pt>
                <c:pt idx="9438">
                  <c:v>63.347-63.353</c:v>
                </c:pt>
                <c:pt idx="9439">
                  <c:v>63.353-63.360</c:v>
                </c:pt>
                <c:pt idx="9440">
                  <c:v>63.360-63.367</c:v>
                </c:pt>
                <c:pt idx="9441">
                  <c:v>63.367-63.373</c:v>
                </c:pt>
                <c:pt idx="9442">
                  <c:v>63.373-63.380</c:v>
                </c:pt>
                <c:pt idx="9443">
                  <c:v>63.380-63.387</c:v>
                </c:pt>
                <c:pt idx="9444">
                  <c:v>63.387-63.394</c:v>
                </c:pt>
                <c:pt idx="9445">
                  <c:v>63.394-63.400</c:v>
                </c:pt>
                <c:pt idx="9446">
                  <c:v>63.400-63.407</c:v>
                </c:pt>
                <c:pt idx="9447">
                  <c:v>63.407-63.414</c:v>
                </c:pt>
                <c:pt idx="9448">
                  <c:v>63.414-63.420</c:v>
                </c:pt>
                <c:pt idx="9449">
                  <c:v>63.420-63.427</c:v>
                </c:pt>
                <c:pt idx="9450">
                  <c:v>63.427-63.434</c:v>
                </c:pt>
                <c:pt idx="9451">
                  <c:v>63.434-63.440</c:v>
                </c:pt>
                <c:pt idx="9452">
                  <c:v>63.440-63.447</c:v>
                </c:pt>
                <c:pt idx="9453">
                  <c:v>63.447-63.454</c:v>
                </c:pt>
                <c:pt idx="9454">
                  <c:v>63.454-63.461</c:v>
                </c:pt>
                <c:pt idx="9455">
                  <c:v>63.461-63.467</c:v>
                </c:pt>
                <c:pt idx="9456">
                  <c:v>63.467-63.474</c:v>
                </c:pt>
                <c:pt idx="9457">
                  <c:v>63.474-63.481</c:v>
                </c:pt>
                <c:pt idx="9458">
                  <c:v>63.481-63.487</c:v>
                </c:pt>
                <c:pt idx="9459">
                  <c:v>63.487-63.494</c:v>
                </c:pt>
                <c:pt idx="9460">
                  <c:v>63.494-63.501</c:v>
                </c:pt>
                <c:pt idx="9461">
                  <c:v>63.501-63.508</c:v>
                </c:pt>
                <c:pt idx="9462">
                  <c:v>63.508-63.514</c:v>
                </c:pt>
                <c:pt idx="9463">
                  <c:v>63.514-63.521</c:v>
                </c:pt>
                <c:pt idx="9464">
                  <c:v>63.521-63.528</c:v>
                </c:pt>
                <c:pt idx="9465">
                  <c:v>63.528-63.534</c:v>
                </c:pt>
                <c:pt idx="9466">
                  <c:v>63.534-63.541</c:v>
                </c:pt>
                <c:pt idx="9467">
                  <c:v>63.541-63.548</c:v>
                </c:pt>
                <c:pt idx="9468">
                  <c:v>63.548-63.555</c:v>
                </c:pt>
                <c:pt idx="9469">
                  <c:v>63.555-63.561</c:v>
                </c:pt>
                <c:pt idx="9470">
                  <c:v>63.561-63.568</c:v>
                </c:pt>
                <c:pt idx="9471">
                  <c:v>63.568-63.575</c:v>
                </c:pt>
                <c:pt idx="9472">
                  <c:v>63.575-63.581</c:v>
                </c:pt>
                <c:pt idx="9473">
                  <c:v>63.581-63.588</c:v>
                </c:pt>
                <c:pt idx="9474">
                  <c:v>63.588-63.595</c:v>
                </c:pt>
                <c:pt idx="9475">
                  <c:v>63.595-63.602</c:v>
                </c:pt>
                <c:pt idx="9476">
                  <c:v>63.602-63.608</c:v>
                </c:pt>
                <c:pt idx="9477">
                  <c:v>63.608-63.615</c:v>
                </c:pt>
                <c:pt idx="9478">
                  <c:v>63.615-63.622</c:v>
                </c:pt>
                <c:pt idx="9479">
                  <c:v>63.622-63.628</c:v>
                </c:pt>
                <c:pt idx="9480">
                  <c:v>63.628-63.635</c:v>
                </c:pt>
                <c:pt idx="9481">
                  <c:v>63.635-63.642</c:v>
                </c:pt>
                <c:pt idx="9482">
                  <c:v>63.642-63.649</c:v>
                </c:pt>
                <c:pt idx="9483">
                  <c:v>63.649-63.655</c:v>
                </c:pt>
                <c:pt idx="9484">
                  <c:v>63.655-63.662</c:v>
                </c:pt>
                <c:pt idx="9485">
                  <c:v>63.662-63.669</c:v>
                </c:pt>
                <c:pt idx="9486">
                  <c:v>63.669-63.675</c:v>
                </c:pt>
                <c:pt idx="9487">
                  <c:v>63.675-63.682</c:v>
                </c:pt>
                <c:pt idx="9488">
                  <c:v>63.682-63.689</c:v>
                </c:pt>
                <c:pt idx="9489">
                  <c:v>63.689-63.695</c:v>
                </c:pt>
                <c:pt idx="9490">
                  <c:v>63.695-63.702</c:v>
                </c:pt>
                <c:pt idx="9491">
                  <c:v>63.702-63.709</c:v>
                </c:pt>
                <c:pt idx="9492">
                  <c:v>63.709-63.716</c:v>
                </c:pt>
                <c:pt idx="9493">
                  <c:v>63.716-63.722</c:v>
                </c:pt>
                <c:pt idx="9494">
                  <c:v>63.722-63.729</c:v>
                </c:pt>
                <c:pt idx="9495">
                  <c:v>63.729-63.736</c:v>
                </c:pt>
                <c:pt idx="9496">
                  <c:v>63.736-63.742</c:v>
                </c:pt>
                <c:pt idx="9497">
                  <c:v>63.742-63.749</c:v>
                </c:pt>
                <c:pt idx="9498">
                  <c:v>63.749-63.756</c:v>
                </c:pt>
                <c:pt idx="9499">
                  <c:v>63.756-63.763</c:v>
                </c:pt>
                <c:pt idx="9500">
                  <c:v>63.763-63.769</c:v>
                </c:pt>
                <c:pt idx="9501">
                  <c:v>63.769-63.776</c:v>
                </c:pt>
                <c:pt idx="9502">
                  <c:v>63.776-63.783</c:v>
                </c:pt>
                <c:pt idx="9503">
                  <c:v>63.783-63.789</c:v>
                </c:pt>
                <c:pt idx="9504">
                  <c:v>63.789-63.796</c:v>
                </c:pt>
                <c:pt idx="9505">
                  <c:v>63.796-63.803</c:v>
                </c:pt>
                <c:pt idx="9506">
                  <c:v>63.803-63.810</c:v>
                </c:pt>
                <c:pt idx="9507">
                  <c:v>63.810-63.816</c:v>
                </c:pt>
                <c:pt idx="9508">
                  <c:v>63.816-63.823</c:v>
                </c:pt>
                <c:pt idx="9509">
                  <c:v>63.823-63.830</c:v>
                </c:pt>
                <c:pt idx="9510">
                  <c:v>63.830-63.836</c:v>
                </c:pt>
                <c:pt idx="9511">
                  <c:v>63.836-63.843</c:v>
                </c:pt>
                <c:pt idx="9512">
                  <c:v>63.843-63.850</c:v>
                </c:pt>
                <c:pt idx="9513">
                  <c:v>63.850-63.857</c:v>
                </c:pt>
                <c:pt idx="9514">
                  <c:v>63.857-63.863</c:v>
                </c:pt>
                <c:pt idx="9515">
                  <c:v>63.863-63.870</c:v>
                </c:pt>
                <c:pt idx="9516">
                  <c:v>63.870-63.877</c:v>
                </c:pt>
                <c:pt idx="9517">
                  <c:v>63.877-63.883</c:v>
                </c:pt>
                <c:pt idx="9518">
                  <c:v>63.883-63.890</c:v>
                </c:pt>
                <c:pt idx="9519">
                  <c:v>63.890-63.897</c:v>
                </c:pt>
                <c:pt idx="9520">
                  <c:v>63.897-63.904</c:v>
                </c:pt>
                <c:pt idx="9521">
                  <c:v>63.904-63.910</c:v>
                </c:pt>
                <c:pt idx="9522">
                  <c:v>63.910-63.917</c:v>
                </c:pt>
                <c:pt idx="9523">
                  <c:v>63.917-63.924</c:v>
                </c:pt>
                <c:pt idx="9524">
                  <c:v>63.924-63.930</c:v>
                </c:pt>
                <c:pt idx="9525">
                  <c:v>63.930-63.937</c:v>
                </c:pt>
                <c:pt idx="9526">
                  <c:v>63.937-63.944</c:v>
                </c:pt>
                <c:pt idx="9527">
                  <c:v>63.944-63.951</c:v>
                </c:pt>
                <c:pt idx="9528">
                  <c:v>63.951-63.957</c:v>
                </c:pt>
                <c:pt idx="9529">
                  <c:v>63.957-63.964</c:v>
                </c:pt>
                <c:pt idx="9530">
                  <c:v>63.964-63.971</c:v>
                </c:pt>
                <c:pt idx="9531">
                  <c:v>63.971-63.977</c:v>
                </c:pt>
                <c:pt idx="9532">
                  <c:v>63.977-63.984</c:v>
                </c:pt>
                <c:pt idx="9533">
                  <c:v>63.984-63.991</c:v>
                </c:pt>
                <c:pt idx="9534">
                  <c:v>63.991-63.997</c:v>
                </c:pt>
                <c:pt idx="9535">
                  <c:v>63.997-64.004</c:v>
                </c:pt>
                <c:pt idx="9536">
                  <c:v>64.004-64.011</c:v>
                </c:pt>
                <c:pt idx="9537">
                  <c:v>64.011-64.018</c:v>
                </c:pt>
                <c:pt idx="9538">
                  <c:v>64.018-64.024</c:v>
                </c:pt>
                <c:pt idx="9539">
                  <c:v>64.024-64.031</c:v>
                </c:pt>
                <c:pt idx="9540">
                  <c:v>64.031-64.038</c:v>
                </c:pt>
                <c:pt idx="9541">
                  <c:v>64.038-64.044</c:v>
                </c:pt>
                <c:pt idx="9542">
                  <c:v>64.044-64.051</c:v>
                </c:pt>
                <c:pt idx="9543">
                  <c:v>64.051-64.058</c:v>
                </c:pt>
                <c:pt idx="9544">
                  <c:v>64.058-64.065</c:v>
                </c:pt>
                <c:pt idx="9545">
                  <c:v>64.065-64.071</c:v>
                </c:pt>
                <c:pt idx="9546">
                  <c:v>64.071-64.078</c:v>
                </c:pt>
                <c:pt idx="9547">
                  <c:v>64.078-64.085</c:v>
                </c:pt>
                <c:pt idx="9548">
                  <c:v>64.085-64.091</c:v>
                </c:pt>
                <c:pt idx="9549">
                  <c:v>64.091-64.098</c:v>
                </c:pt>
                <c:pt idx="9550">
                  <c:v>64.098-64.105</c:v>
                </c:pt>
                <c:pt idx="9551">
                  <c:v>64.105-64.112</c:v>
                </c:pt>
                <c:pt idx="9552">
                  <c:v>64.112-64.118</c:v>
                </c:pt>
                <c:pt idx="9553">
                  <c:v>64.118-64.125</c:v>
                </c:pt>
                <c:pt idx="9554">
                  <c:v>64.125-64.132</c:v>
                </c:pt>
                <c:pt idx="9555">
                  <c:v>64.132-64.138</c:v>
                </c:pt>
                <c:pt idx="9556">
                  <c:v>64.138-64.145</c:v>
                </c:pt>
                <c:pt idx="9557">
                  <c:v>64.145-64.152</c:v>
                </c:pt>
                <c:pt idx="9558">
                  <c:v>64.152-64.159</c:v>
                </c:pt>
                <c:pt idx="9559">
                  <c:v>64.159-64.165</c:v>
                </c:pt>
                <c:pt idx="9560">
                  <c:v>64.165-64.172</c:v>
                </c:pt>
                <c:pt idx="9561">
                  <c:v>64.172-64.179</c:v>
                </c:pt>
                <c:pt idx="9562">
                  <c:v>64.179-64.185</c:v>
                </c:pt>
                <c:pt idx="9563">
                  <c:v>64.185-64.192</c:v>
                </c:pt>
                <c:pt idx="9564">
                  <c:v>64.192-64.199</c:v>
                </c:pt>
                <c:pt idx="9565">
                  <c:v>64.199-64.206</c:v>
                </c:pt>
                <c:pt idx="9566">
                  <c:v>64.206-64.212</c:v>
                </c:pt>
                <c:pt idx="9567">
                  <c:v>64.212-64.219</c:v>
                </c:pt>
                <c:pt idx="9568">
                  <c:v>64.219-64.226</c:v>
                </c:pt>
                <c:pt idx="9569">
                  <c:v>64.226-64.232</c:v>
                </c:pt>
                <c:pt idx="9570">
                  <c:v>64.232-64.239</c:v>
                </c:pt>
                <c:pt idx="9571">
                  <c:v>64.239-64.246</c:v>
                </c:pt>
                <c:pt idx="9572">
                  <c:v>64.246-64.252</c:v>
                </c:pt>
                <c:pt idx="9573">
                  <c:v>64.252-64.259</c:v>
                </c:pt>
                <c:pt idx="9574">
                  <c:v>64.259-64.266</c:v>
                </c:pt>
                <c:pt idx="9575">
                  <c:v>64.266-64.273</c:v>
                </c:pt>
                <c:pt idx="9576">
                  <c:v>64.273-64.279</c:v>
                </c:pt>
                <c:pt idx="9577">
                  <c:v>64.279-64.286</c:v>
                </c:pt>
                <c:pt idx="9578">
                  <c:v>64.286-64.293</c:v>
                </c:pt>
                <c:pt idx="9579">
                  <c:v>64.293-64.299</c:v>
                </c:pt>
                <c:pt idx="9580">
                  <c:v>64.299-64.306</c:v>
                </c:pt>
                <c:pt idx="9581">
                  <c:v>64.306-64.313</c:v>
                </c:pt>
                <c:pt idx="9582">
                  <c:v>64.313-64.320</c:v>
                </c:pt>
                <c:pt idx="9583">
                  <c:v>64.320-64.326</c:v>
                </c:pt>
                <c:pt idx="9584">
                  <c:v>64.326-64.333</c:v>
                </c:pt>
                <c:pt idx="9585">
                  <c:v>64.333-64.340</c:v>
                </c:pt>
                <c:pt idx="9586">
                  <c:v>64.340-64.346</c:v>
                </c:pt>
                <c:pt idx="9587">
                  <c:v>64.346-64.353</c:v>
                </c:pt>
                <c:pt idx="9588">
                  <c:v>64.353-64.360</c:v>
                </c:pt>
                <c:pt idx="9589">
                  <c:v>64.360-64.367</c:v>
                </c:pt>
                <c:pt idx="9590">
                  <c:v>64.367-64.373</c:v>
                </c:pt>
                <c:pt idx="9591">
                  <c:v>64.373-64.380</c:v>
                </c:pt>
                <c:pt idx="9592">
                  <c:v>64.380-64.387</c:v>
                </c:pt>
                <c:pt idx="9593">
                  <c:v>64.387-64.393</c:v>
                </c:pt>
                <c:pt idx="9594">
                  <c:v>64.393-64.400</c:v>
                </c:pt>
                <c:pt idx="9595">
                  <c:v>64.400-64.407</c:v>
                </c:pt>
                <c:pt idx="9596">
                  <c:v>64.407-64.414</c:v>
                </c:pt>
                <c:pt idx="9597">
                  <c:v>64.414-64.420</c:v>
                </c:pt>
                <c:pt idx="9598">
                  <c:v>64.420-64.427</c:v>
                </c:pt>
                <c:pt idx="9599">
                  <c:v>64.427-64.434</c:v>
                </c:pt>
                <c:pt idx="9600">
                  <c:v>64.434-64.440</c:v>
                </c:pt>
                <c:pt idx="9601">
                  <c:v>64.440-64.447</c:v>
                </c:pt>
                <c:pt idx="9602">
                  <c:v>64.447-64.454</c:v>
                </c:pt>
                <c:pt idx="9603">
                  <c:v>64.454-64.461</c:v>
                </c:pt>
                <c:pt idx="9604">
                  <c:v>64.461-64.467</c:v>
                </c:pt>
                <c:pt idx="9605">
                  <c:v>64.467-64.474</c:v>
                </c:pt>
                <c:pt idx="9606">
                  <c:v>64.474-64.481</c:v>
                </c:pt>
                <c:pt idx="9607">
                  <c:v>64.481-64.487</c:v>
                </c:pt>
                <c:pt idx="9608">
                  <c:v>64.487-64.494</c:v>
                </c:pt>
                <c:pt idx="9609">
                  <c:v>64.494-64.501</c:v>
                </c:pt>
                <c:pt idx="9610">
                  <c:v>64.501-64.507</c:v>
                </c:pt>
                <c:pt idx="9611">
                  <c:v>64.507-64.514</c:v>
                </c:pt>
                <c:pt idx="9612">
                  <c:v>64.514-64.521</c:v>
                </c:pt>
                <c:pt idx="9613">
                  <c:v>64.521-64.528</c:v>
                </c:pt>
                <c:pt idx="9614">
                  <c:v>64.528-64.534</c:v>
                </c:pt>
                <c:pt idx="9615">
                  <c:v>64.534-64.541</c:v>
                </c:pt>
                <c:pt idx="9616">
                  <c:v>64.541-64.548</c:v>
                </c:pt>
                <c:pt idx="9617">
                  <c:v>64.548-64.554</c:v>
                </c:pt>
                <c:pt idx="9618">
                  <c:v>64.554-64.561</c:v>
                </c:pt>
                <c:pt idx="9619">
                  <c:v>64.561-64.568</c:v>
                </c:pt>
                <c:pt idx="9620">
                  <c:v>64.568-64.575</c:v>
                </c:pt>
                <c:pt idx="9621">
                  <c:v>64.575-64.581</c:v>
                </c:pt>
                <c:pt idx="9622">
                  <c:v>64.581-64.588</c:v>
                </c:pt>
                <c:pt idx="9623">
                  <c:v>64.588-64.595</c:v>
                </c:pt>
                <c:pt idx="9624">
                  <c:v>64.595-64.601</c:v>
                </c:pt>
                <c:pt idx="9625">
                  <c:v>64.601-64.608</c:v>
                </c:pt>
                <c:pt idx="9626">
                  <c:v>64.608-64.615</c:v>
                </c:pt>
                <c:pt idx="9627">
                  <c:v>64.615-64.622</c:v>
                </c:pt>
                <c:pt idx="9628">
                  <c:v>64.622-64.628</c:v>
                </c:pt>
                <c:pt idx="9629">
                  <c:v>64.628-64.635</c:v>
                </c:pt>
                <c:pt idx="9630">
                  <c:v>64.635-64.642</c:v>
                </c:pt>
                <c:pt idx="9631">
                  <c:v>64.642-64.648</c:v>
                </c:pt>
                <c:pt idx="9632">
                  <c:v>64.648-64.655</c:v>
                </c:pt>
                <c:pt idx="9633">
                  <c:v>64.655-64.662</c:v>
                </c:pt>
                <c:pt idx="9634">
                  <c:v>64.662-64.669</c:v>
                </c:pt>
                <c:pt idx="9635">
                  <c:v>64.669-64.675</c:v>
                </c:pt>
                <c:pt idx="9636">
                  <c:v>64.675-64.682</c:v>
                </c:pt>
                <c:pt idx="9637">
                  <c:v>64.682-64.689</c:v>
                </c:pt>
                <c:pt idx="9638">
                  <c:v>64.689-64.695</c:v>
                </c:pt>
                <c:pt idx="9639">
                  <c:v>64.695-64.702</c:v>
                </c:pt>
                <c:pt idx="9640">
                  <c:v>64.702-64.709</c:v>
                </c:pt>
                <c:pt idx="9641">
                  <c:v>64.709-64.716</c:v>
                </c:pt>
                <c:pt idx="9642">
                  <c:v>64.716-64.722</c:v>
                </c:pt>
                <c:pt idx="9643">
                  <c:v>64.722-64.729</c:v>
                </c:pt>
                <c:pt idx="9644">
                  <c:v>64.729-64.736</c:v>
                </c:pt>
                <c:pt idx="9645">
                  <c:v>64.736-64.742</c:v>
                </c:pt>
                <c:pt idx="9646">
                  <c:v>64.742-64.749</c:v>
                </c:pt>
                <c:pt idx="9647">
                  <c:v>64.749-64.756</c:v>
                </c:pt>
                <c:pt idx="9648">
                  <c:v>64.756-64.763</c:v>
                </c:pt>
                <c:pt idx="9649">
                  <c:v>64.763-64.769</c:v>
                </c:pt>
                <c:pt idx="9650">
                  <c:v>64.769-64.776</c:v>
                </c:pt>
                <c:pt idx="9651">
                  <c:v>64.776-64.783</c:v>
                </c:pt>
                <c:pt idx="9652">
                  <c:v>64.783-64.789</c:v>
                </c:pt>
                <c:pt idx="9653">
                  <c:v>64.789-64.796</c:v>
                </c:pt>
                <c:pt idx="9654">
                  <c:v>64.796-64.803</c:v>
                </c:pt>
                <c:pt idx="9655">
                  <c:v>64.803-64.809</c:v>
                </c:pt>
                <c:pt idx="9656">
                  <c:v>64.809-64.816</c:v>
                </c:pt>
                <c:pt idx="9657">
                  <c:v>64.816-64.823</c:v>
                </c:pt>
                <c:pt idx="9658">
                  <c:v>64.823-64.830</c:v>
                </c:pt>
                <c:pt idx="9659">
                  <c:v>64.830-64.836</c:v>
                </c:pt>
                <c:pt idx="9660">
                  <c:v>64.836-64.843</c:v>
                </c:pt>
                <c:pt idx="9661">
                  <c:v>64.843-64.850</c:v>
                </c:pt>
                <c:pt idx="9662">
                  <c:v>64.850-64.856</c:v>
                </c:pt>
                <c:pt idx="9663">
                  <c:v>64.856-64.863</c:v>
                </c:pt>
                <c:pt idx="9664">
                  <c:v>64.863-64.870</c:v>
                </c:pt>
                <c:pt idx="9665">
                  <c:v>64.870-64.877</c:v>
                </c:pt>
                <c:pt idx="9666">
                  <c:v>64.877-64.883</c:v>
                </c:pt>
                <c:pt idx="9667">
                  <c:v>64.883-64.890</c:v>
                </c:pt>
                <c:pt idx="9668">
                  <c:v>64.890-64.897</c:v>
                </c:pt>
                <c:pt idx="9669">
                  <c:v>64.897-64.903</c:v>
                </c:pt>
                <c:pt idx="9670">
                  <c:v>64.903-64.910</c:v>
                </c:pt>
                <c:pt idx="9671">
                  <c:v>64.910-64.917</c:v>
                </c:pt>
                <c:pt idx="9672">
                  <c:v>64.917-64.924</c:v>
                </c:pt>
                <c:pt idx="9673">
                  <c:v>64.924-64.930</c:v>
                </c:pt>
                <c:pt idx="9674">
                  <c:v>64.930-64.937</c:v>
                </c:pt>
                <c:pt idx="9675">
                  <c:v>64.937-64.944</c:v>
                </c:pt>
                <c:pt idx="9676">
                  <c:v>64.944-64.950</c:v>
                </c:pt>
                <c:pt idx="9677">
                  <c:v>64.950-64.957</c:v>
                </c:pt>
                <c:pt idx="9678">
                  <c:v>64.957-64.964</c:v>
                </c:pt>
                <c:pt idx="9679">
                  <c:v>64.964-64.971</c:v>
                </c:pt>
                <c:pt idx="9680">
                  <c:v>64.971-64.977</c:v>
                </c:pt>
                <c:pt idx="9681">
                  <c:v>64.977-64.984</c:v>
                </c:pt>
                <c:pt idx="9682">
                  <c:v>64.984-64.991</c:v>
                </c:pt>
                <c:pt idx="9683">
                  <c:v>64.991-64.997</c:v>
                </c:pt>
                <c:pt idx="9684">
                  <c:v>64.997-65.004</c:v>
                </c:pt>
                <c:pt idx="9685">
                  <c:v>65.004-65.011</c:v>
                </c:pt>
                <c:pt idx="9686">
                  <c:v>65.011-65.018</c:v>
                </c:pt>
                <c:pt idx="9687">
                  <c:v>65.018-65.024</c:v>
                </c:pt>
                <c:pt idx="9688">
                  <c:v>65.024-65.031</c:v>
                </c:pt>
                <c:pt idx="9689">
                  <c:v>65.031-65.038</c:v>
                </c:pt>
                <c:pt idx="9690">
                  <c:v>65.038-65.044</c:v>
                </c:pt>
                <c:pt idx="9691">
                  <c:v>65.044-65.051</c:v>
                </c:pt>
                <c:pt idx="9692">
                  <c:v>65.051-65.058</c:v>
                </c:pt>
                <c:pt idx="9693">
                  <c:v>65.058-65.064</c:v>
                </c:pt>
                <c:pt idx="9694">
                  <c:v>65.064-65.071</c:v>
                </c:pt>
                <c:pt idx="9695">
                  <c:v>65.071-65.078</c:v>
                </c:pt>
                <c:pt idx="9696">
                  <c:v>65.078-65.085</c:v>
                </c:pt>
                <c:pt idx="9697">
                  <c:v>65.085-65.091</c:v>
                </c:pt>
                <c:pt idx="9698">
                  <c:v>65.091-65.098</c:v>
                </c:pt>
                <c:pt idx="9699">
                  <c:v>65.098-65.105</c:v>
                </c:pt>
                <c:pt idx="9700">
                  <c:v>65.105-65.111</c:v>
                </c:pt>
                <c:pt idx="9701">
                  <c:v>65.111-65.118</c:v>
                </c:pt>
                <c:pt idx="9702">
                  <c:v>65.118-65.125</c:v>
                </c:pt>
                <c:pt idx="9703">
                  <c:v>65.125-65.132</c:v>
                </c:pt>
                <c:pt idx="9704">
                  <c:v>65.132-65.138</c:v>
                </c:pt>
                <c:pt idx="9705">
                  <c:v>65.138-65.145</c:v>
                </c:pt>
                <c:pt idx="9706">
                  <c:v>65.145-65.152</c:v>
                </c:pt>
                <c:pt idx="9707">
                  <c:v>65.152-65.158</c:v>
                </c:pt>
                <c:pt idx="9708">
                  <c:v>65.158-65.165</c:v>
                </c:pt>
                <c:pt idx="9709">
                  <c:v>65.165-65.172</c:v>
                </c:pt>
                <c:pt idx="9710">
                  <c:v>65.172-65.179</c:v>
                </c:pt>
                <c:pt idx="9711">
                  <c:v>65.179-65.185</c:v>
                </c:pt>
                <c:pt idx="9712">
                  <c:v>65.185-65.192</c:v>
                </c:pt>
                <c:pt idx="9713">
                  <c:v>65.192-65.199</c:v>
                </c:pt>
                <c:pt idx="9714">
                  <c:v>65.199-65.205</c:v>
                </c:pt>
                <c:pt idx="9715">
                  <c:v>65.205-65.212</c:v>
                </c:pt>
                <c:pt idx="9716">
                  <c:v>65.212-65.219</c:v>
                </c:pt>
                <c:pt idx="9717">
                  <c:v>65.219-65.226</c:v>
                </c:pt>
                <c:pt idx="9718">
                  <c:v>65.226-65.232</c:v>
                </c:pt>
                <c:pt idx="9719">
                  <c:v>65.232-65.239</c:v>
                </c:pt>
                <c:pt idx="9720">
                  <c:v>65.239-65.246</c:v>
                </c:pt>
                <c:pt idx="9721">
                  <c:v>65.246-65.252</c:v>
                </c:pt>
                <c:pt idx="9722">
                  <c:v>65.252-65.259</c:v>
                </c:pt>
                <c:pt idx="9723">
                  <c:v>65.259-65.266</c:v>
                </c:pt>
                <c:pt idx="9724">
                  <c:v>65.266-65.273</c:v>
                </c:pt>
                <c:pt idx="9725">
                  <c:v>65.273-65.279</c:v>
                </c:pt>
                <c:pt idx="9726">
                  <c:v>65.279-65.286</c:v>
                </c:pt>
                <c:pt idx="9727">
                  <c:v>65.286-65.293</c:v>
                </c:pt>
                <c:pt idx="9728">
                  <c:v>65.293-65.299</c:v>
                </c:pt>
                <c:pt idx="9729">
                  <c:v>65.299-65.306</c:v>
                </c:pt>
                <c:pt idx="9730">
                  <c:v>65.306-65.313</c:v>
                </c:pt>
                <c:pt idx="9731">
                  <c:v>65.313-65.320</c:v>
                </c:pt>
                <c:pt idx="9732">
                  <c:v>65.320-65.326</c:v>
                </c:pt>
                <c:pt idx="9733">
                  <c:v>65.326-65.333</c:v>
                </c:pt>
                <c:pt idx="9734">
                  <c:v>65.333-65.340</c:v>
                </c:pt>
                <c:pt idx="9735">
                  <c:v>65.340-65.346</c:v>
                </c:pt>
                <c:pt idx="9736">
                  <c:v>65.346-65.353</c:v>
                </c:pt>
                <c:pt idx="9737">
                  <c:v>65.353-65.360</c:v>
                </c:pt>
                <c:pt idx="9738">
                  <c:v>65.360-65.366</c:v>
                </c:pt>
                <c:pt idx="9739">
                  <c:v>65.366-65.373</c:v>
                </c:pt>
                <c:pt idx="9740">
                  <c:v>65.373-65.380</c:v>
                </c:pt>
                <c:pt idx="9741">
                  <c:v>65.380-65.387</c:v>
                </c:pt>
                <c:pt idx="9742">
                  <c:v>65.387-65.393</c:v>
                </c:pt>
                <c:pt idx="9743">
                  <c:v>65.393-65.400</c:v>
                </c:pt>
                <c:pt idx="9744">
                  <c:v>65.400-65.407</c:v>
                </c:pt>
                <c:pt idx="9745">
                  <c:v>65.407-65.413</c:v>
                </c:pt>
                <c:pt idx="9746">
                  <c:v>65.413-65.420</c:v>
                </c:pt>
                <c:pt idx="9747">
                  <c:v>65.420-65.427</c:v>
                </c:pt>
                <c:pt idx="9748">
                  <c:v>65.427-65.434</c:v>
                </c:pt>
                <c:pt idx="9749">
                  <c:v>65.434-65.440</c:v>
                </c:pt>
                <c:pt idx="9750">
                  <c:v>65.440-65.447</c:v>
                </c:pt>
                <c:pt idx="9751">
                  <c:v>65.447-65.454</c:v>
                </c:pt>
                <c:pt idx="9752">
                  <c:v>65.454-65.460</c:v>
                </c:pt>
                <c:pt idx="9753">
                  <c:v>65.460-65.467</c:v>
                </c:pt>
                <c:pt idx="9754">
                  <c:v>65.467-65.474</c:v>
                </c:pt>
                <c:pt idx="9755">
                  <c:v>65.474-65.481</c:v>
                </c:pt>
                <c:pt idx="9756">
                  <c:v>65.481-65.487</c:v>
                </c:pt>
                <c:pt idx="9757">
                  <c:v>65.487-65.494</c:v>
                </c:pt>
                <c:pt idx="9758">
                  <c:v>65.494-65.501</c:v>
                </c:pt>
                <c:pt idx="9759">
                  <c:v>65.501-65.507</c:v>
                </c:pt>
                <c:pt idx="9760">
                  <c:v>65.507-65.514</c:v>
                </c:pt>
                <c:pt idx="9761">
                  <c:v>65.514-65.521</c:v>
                </c:pt>
                <c:pt idx="9762">
                  <c:v>65.521-65.528</c:v>
                </c:pt>
                <c:pt idx="9763">
                  <c:v>65.528-65.534</c:v>
                </c:pt>
                <c:pt idx="9764">
                  <c:v>65.534-65.541</c:v>
                </c:pt>
                <c:pt idx="9765">
                  <c:v>65.541-65.548</c:v>
                </c:pt>
                <c:pt idx="9766">
                  <c:v>65.548-65.554</c:v>
                </c:pt>
                <c:pt idx="9767">
                  <c:v>65.554-65.561</c:v>
                </c:pt>
                <c:pt idx="9768">
                  <c:v>65.561-65.568</c:v>
                </c:pt>
                <c:pt idx="9769">
                  <c:v>65.568-65.575</c:v>
                </c:pt>
                <c:pt idx="9770">
                  <c:v>65.575-65.581</c:v>
                </c:pt>
                <c:pt idx="9771">
                  <c:v>65.581-65.588</c:v>
                </c:pt>
                <c:pt idx="9772">
                  <c:v>65.588-65.595</c:v>
                </c:pt>
                <c:pt idx="9773">
                  <c:v>65.595-65.601</c:v>
                </c:pt>
                <c:pt idx="9774">
                  <c:v>65.601-65.608</c:v>
                </c:pt>
                <c:pt idx="9775">
                  <c:v>65.608-65.615</c:v>
                </c:pt>
                <c:pt idx="9776">
                  <c:v>65.615-65.621</c:v>
                </c:pt>
                <c:pt idx="9777">
                  <c:v>65.621-65.628</c:v>
                </c:pt>
                <c:pt idx="9778">
                  <c:v>65.628-65.635</c:v>
                </c:pt>
                <c:pt idx="9779">
                  <c:v>65.635-65.642</c:v>
                </c:pt>
                <c:pt idx="9780">
                  <c:v>65.642-65.648</c:v>
                </c:pt>
                <c:pt idx="9781">
                  <c:v>65.648-65.655</c:v>
                </c:pt>
                <c:pt idx="9782">
                  <c:v>65.655-65.662</c:v>
                </c:pt>
                <c:pt idx="9783">
                  <c:v>65.662-65.668</c:v>
                </c:pt>
                <c:pt idx="9784">
                  <c:v>65.668-65.675</c:v>
                </c:pt>
                <c:pt idx="9785">
                  <c:v>65.675-65.682</c:v>
                </c:pt>
                <c:pt idx="9786">
                  <c:v>65.682-65.689</c:v>
                </c:pt>
                <c:pt idx="9787">
                  <c:v>65.689-65.695</c:v>
                </c:pt>
                <c:pt idx="9788">
                  <c:v>65.695-65.702</c:v>
                </c:pt>
                <c:pt idx="9789">
                  <c:v>65.702-65.709</c:v>
                </c:pt>
                <c:pt idx="9790">
                  <c:v>65.709-65.715</c:v>
                </c:pt>
                <c:pt idx="9791">
                  <c:v>65.715-65.722</c:v>
                </c:pt>
                <c:pt idx="9792">
                  <c:v>65.722-65.729</c:v>
                </c:pt>
                <c:pt idx="9793">
                  <c:v>65.729-65.736</c:v>
                </c:pt>
                <c:pt idx="9794">
                  <c:v>65.736-65.742</c:v>
                </c:pt>
                <c:pt idx="9795">
                  <c:v>65.742-65.749</c:v>
                </c:pt>
                <c:pt idx="9796">
                  <c:v>65.749-65.756</c:v>
                </c:pt>
                <c:pt idx="9797">
                  <c:v>65.756-65.762</c:v>
                </c:pt>
                <c:pt idx="9798">
                  <c:v>65.762-65.769</c:v>
                </c:pt>
                <c:pt idx="9799">
                  <c:v>65.769-65.776</c:v>
                </c:pt>
                <c:pt idx="9800">
                  <c:v>65.776-65.783</c:v>
                </c:pt>
                <c:pt idx="9801">
                  <c:v>65.783-65.789</c:v>
                </c:pt>
                <c:pt idx="9802">
                  <c:v>65.789-65.796</c:v>
                </c:pt>
                <c:pt idx="9803">
                  <c:v>65.796-65.803</c:v>
                </c:pt>
                <c:pt idx="9804">
                  <c:v>65.803-65.809</c:v>
                </c:pt>
                <c:pt idx="9805">
                  <c:v>65.809-65.816</c:v>
                </c:pt>
                <c:pt idx="9806">
                  <c:v>65.816-65.823</c:v>
                </c:pt>
                <c:pt idx="9807">
                  <c:v>65.823-65.830</c:v>
                </c:pt>
                <c:pt idx="9808">
                  <c:v>65.830-65.836</c:v>
                </c:pt>
                <c:pt idx="9809">
                  <c:v>65.836-65.843</c:v>
                </c:pt>
                <c:pt idx="9810">
                  <c:v>65.843-65.850</c:v>
                </c:pt>
                <c:pt idx="9811">
                  <c:v>65.850-65.856</c:v>
                </c:pt>
                <c:pt idx="9812">
                  <c:v>65.856-65.863</c:v>
                </c:pt>
                <c:pt idx="9813">
                  <c:v>65.863-65.870</c:v>
                </c:pt>
                <c:pt idx="9814">
                  <c:v>65.870-65.877</c:v>
                </c:pt>
                <c:pt idx="9815">
                  <c:v>65.877-65.883</c:v>
                </c:pt>
                <c:pt idx="9816">
                  <c:v>65.883-65.890</c:v>
                </c:pt>
                <c:pt idx="9817">
                  <c:v>65.890-65.897</c:v>
                </c:pt>
                <c:pt idx="9818">
                  <c:v>65.897-65.903</c:v>
                </c:pt>
                <c:pt idx="9819">
                  <c:v>65.903-65.910</c:v>
                </c:pt>
                <c:pt idx="9820">
                  <c:v>65.910-65.917</c:v>
                </c:pt>
                <c:pt idx="9821">
                  <c:v>65.917-65.923</c:v>
                </c:pt>
                <c:pt idx="9822">
                  <c:v>65.923-65.930</c:v>
                </c:pt>
                <c:pt idx="9823">
                  <c:v>65.930-65.937</c:v>
                </c:pt>
                <c:pt idx="9824">
                  <c:v>65.937-65.944</c:v>
                </c:pt>
                <c:pt idx="9825">
                  <c:v>65.944-65.950</c:v>
                </c:pt>
                <c:pt idx="9826">
                  <c:v>65.950-65.957</c:v>
                </c:pt>
                <c:pt idx="9827">
                  <c:v>65.957-65.964</c:v>
                </c:pt>
                <c:pt idx="9828">
                  <c:v>65.964-65.970</c:v>
                </c:pt>
                <c:pt idx="9829">
                  <c:v>65.970-65.977</c:v>
                </c:pt>
                <c:pt idx="9830">
                  <c:v>65.977-65.984</c:v>
                </c:pt>
                <c:pt idx="9831">
                  <c:v>65.984-65.991</c:v>
                </c:pt>
                <c:pt idx="9832">
                  <c:v>65.991-65.997</c:v>
                </c:pt>
                <c:pt idx="9833">
                  <c:v>65.997-66.004</c:v>
                </c:pt>
                <c:pt idx="9834">
                  <c:v>66.004-66.011</c:v>
                </c:pt>
                <c:pt idx="9835">
                  <c:v>66.011-66.017</c:v>
                </c:pt>
                <c:pt idx="9836">
                  <c:v>66.017-66.024</c:v>
                </c:pt>
                <c:pt idx="9837">
                  <c:v>66.024-66.031</c:v>
                </c:pt>
                <c:pt idx="9838">
                  <c:v>66.031-66.038</c:v>
                </c:pt>
                <c:pt idx="9839">
                  <c:v>66.038-66.044</c:v>
                </c:pt>
                <c:pt idx="9840">
                  <c:v>66.044-66.051</c:v>
                </c:pt>
                <c:pt idx="9841">
                  <c:v>66.051-66.058</c:v>
                </c:pt>
                <c:pt idx="9842">
                  <c:v>66.058-66.064</c:v>
                </c:pt>
                <c:pt idx="9843">
                  <c:v>66.064-66.071</c:v>
                </c:pt>
                <c:pt idx="9844">
                  <c:v>66.071-66.078</c:v>
                </c:pt>
                <c:pt idx="9845">
                  <c:v>66.078-66.085</c:v>
                </c:pt>
                <c:pt idx="9846">
                  <c:v>66.085-66.091</c:v>
                </c:pt>
                <c:pt idx="9847">
                  <c:v>66.091-66.098</c:v>
                </c:pt>
                <c:pt idx="9848">
                  <c:v>66.098-66.105</c:v>
                </c:pt>
                <c:pt idx="9849">
                  <c:v>66.105-66.111</c:v>
                </c:pt>
                <c:pt idx="9850">
                  <c:v>66.111-66.118</c:v>
                </c:pt>
                <c:pt idx="9851">
                  <c:v>66.118-66.125</c:v>
                </c:pt>
                <c:pt idx="9852">
                  <c:v>66.125-66.132</c:v>
                </c:pt>
                <c:pt idx="9853">
                  <c:v>66.132-66.138</c:v>
                </c:pt>
                <c:pt idx="9854">
                  <c:v>66.138-66.145</c:v>
                </c:pt>
                <c:pt idx="9855">
                  <c:v>66.145-66.152</c:v>
                </c:pt>
                <c:pt idx="9856">
                  <c:v>66.152-66.158</c:v>
                </c:pt>
                <c:pt idx="9857">
                  <c:v>66.158-66.165</c:v>
                </c:pt>
                <c:pt idx="9858">
                  <c:v>66.165-66.172</c:v>
                </c:pt>
                <c:pt idx="9859">
                  <c:v>66.172-66.178</c:v>
                </c:pt>
                <c:pt idx="9860">
                  <c:v>66.178-66.185</c:v>
                </c:pt>
                <c:pt idx="9861">
                  <c:v>66.185-66.192</c:v>
                </c:pt>
                <c:pt idx="9862">
                  <c:v>66.192-66.199</c:v>
                </c:pt>
                <c:pt idx="9863">
                  <c:v>66.199-66.205</c:v>
                </c:pt>
                <c:pt idx="9864">
                  <c:v>66.205-66.212</c:v>
                </c:pt>
                <c:pt idx="9865">
                  <c:v>66.212-66.219</c:v>
                </c:pt>
                <c:pt idx="9866">
                  <c:v>66.219-66.225</c:v>
                </c:pt>
                <c:pt idx="9867">
                  <c:v>66.225-66.232</c:v>
                </c:pt>
                <c:pt idx="9868">
                  <c:v>66.232-66.239</c:v>
                </c:pt>
                <c:pt idx="9869">
                  <c:v>66.239-66.246</c:v>
                </c:pt>
                <c:pt idx="9870">
                  <c:v>66.246-66.252</c:v>
                </c:pt>
                <c:pt idx="9871">
                  <c:v>66.252-66.259</c:v>
                </c:pt>
                <c:pt idx="9872">
                  <c:v>66.259-66.266</c:v>
                </c:pt>
                <c:pt idx="9873">
                  <c:v>66.266-66.272</c:v>
                </c:pt>
                <c:pt idx="9874">
                  <c:v>66.272-66.279</c:v>
                </c:pt>
                <c:pt idx="9875">
                  <c:v>66.279-66.286</c:v>
                </c:pt>
                <c:pt idx="9876">
                  <c:v>66.286-66.293</c:v>
                </c:pt>
                <c:pt idx="9877">
                  <c:v>66.293-66.299</c:v>
                </c:pt>
                <c:pt idx="9878">
                  <c:v>66.299-66.306</c:v>
                </c:pt>
                <c:pt idx="9879">
                  <c:v>66.306-66.313</c:v>
                </c:pt>
                <c:pt idx="9880">
                  <c:v>66.313-66.319</c:v>
                </c:pt>
                <c:pt idx="9881">
                  <c:v>66.319-66.326</c:v>
                </c:pt>
                <c:pt idx="9882">
                  <c:v>66.326-66.333</c:v>
                </c:pt>
                <c:pt idx="9883">
                  <c:v>66.333-66.340</c:v>
                </c:pt>
                <c:pt idx="9884">
                  <c:v>66.340-66.346</c:v>
                </c:pt>
                <c:pt idx="9885">
                  <c:v>66.346-66.353</c:v>
                </c:pt>
                <c:pt idx="9886">
                  <c:v>66.353-66.360</c:v>
                </c:pt>
                <c:pt idx="9887">
                  <c:v>66.360-66.366</c:v>
                </c:pt>
                <c:pt idx="9888">
                  <c:v>66.366-66.373</c:v>
                </c:pt>
                <c:pt idx="9889">
                  <c:v>66.373-66.380</c:v>
                </c:pt>
                <c:pt idx="9890">
                  <c:v>66.380-66.387</c:v>
                </c:pt>
                <c:pt idx="9891">
                  <c:v>66.387-66.393</c:v>
                </c:pt>
                <c:pt idx="9892">
                  <c:v>66.393-66.400</c:v>
                </c:pt>
                <c:pt idx="9893">
                  <c:v>66.400-66.407</c:v>
                </c:pt>
                <c:pt idx="9894">
                  <c:v>66.407-66.413</c:v>
                </c:pt>
                <c:pt idx="9895">
                  <c:v>66.413-66.420</c:v>
                </c:pt>
                <c:pt idx="9896">
                  <c:v>66.420-66.427</c:v>
                </c:pt>
                <c:pt idx="9897">
                  <c:v>66.427-66.433</c:v>
                </c:pt>
                <c:pt idx="9898">
                  <c:v>66.433-66.440</c:v>
                </c:pt>
                <c:pt idx="9899">
                  <c:v>66.440-66.447</c:v>
                </c:pt>
                <c:pt idx="9900">
                  <c:v>66.447-66.454</c:v>
                </c:pt>
                <c:pt idx="9901">
                  <c:v>66.454-66.460</c:v>
                </c:pt>
                <c:pt idx="9902">
                  <c:v>66.460-66.467</c:v>
                </c:pt>
                <c:pt idx="9903">
                  <c:v>66.467-66.474</c:v>
                </c:pt>
                <c:pt idx="9904">
                  <c:v>66.474-66.480</c:v>
                </c:pt>
                <c:pt idx="9905">
                  <c:v>66.480-66.487</c:v>
                </c:pt>
                <c:pt idx="9906">
                  <c:v>66.487-66.494</c:v>
                </c:pt>
                <c:pt idx="9907">
                  <c:v>66.494-66.501</c:v>
                </c:pt>
                <c:pt idx="9908">
                  <c:v>66.501-66.507</c:v>
                </c:pt>
                <c:pt idx="9909">
                  <c:v>66.507-66.514</c:v>
                </c:pt>
                <c:pt idx="9910">
                  <c:v>66.514-66.521</c:v>
                </c:pt>
                <c:pt idx="9911">
                  <c:v>66.521-66.527</c:v>
                </c:pt>
                <c:pt idx="9912">
                  <c:v>66.527-66.534</c:v>
                </c:pt>
                <c:pt idx="9913">
                  <c:v>66.534-66.541</c:v>
                </c:pt>
                <c:pt idx="9914">
                  <c:v>66.541-66.548</c:v>
                </c:pt>
                <c:pt idx="9915">
                  <c:v>66.548-66.554</c:v>
                </c:pt>
                <c:pt idx="9916">
                  <c:v>66.554-66.561</c:v>
                </c:pt>
                <c:pt idx="9917">
                  <c:v>66.561-66.568</c:v>
                </c:pt>
                <c:pt idx="9918">
                  <c:v>66.568-66.574</c:v>
                </c:pt>
                <c:pt idx="9919">
                  <c:v>66.574-66.581</c:v>
                </c:pt>
                <c:pt idx="9920">
                  <c:v>66.581-66.588</c:v>
                </c:pt>
                <c:pt idx="9921">
                  <c:v>66.588-66.595</c:v>
                </c:pt>
                <c:pt idx="9922">
                  <c:v>66.595-66.601</c:v>
                </c:pt>
                <c:pt idx="9923">
                  <c:v>66.601-66.608</c:v>
                </c:pt>
                <c:pt idx="9924">
                  <c:v>66.608-66.615</c:v>
                </c:pt>
                <c:pt idx="9925">
                  <c:v>66.615-66.621</c:v>
                </c:pt>
                <c:pt idx="9926">
                  <c:v>66.621-66.628</c:v>
                </c:pt>
                <c:pt idx="9927">
                  <c:v>66.628-66.635</c:v>
                </c:pt>
                <c:pt idx="9928">
                  <c:v>66.635-66.642</c:v>
                </c:pt>
                <c:pt idx="9929">
                  <c:v>66.642-66.648</c:v>
                </c:pt>
                <c:pt idx="9930">
                  <c:v>66.648-66.655</c:v>
                </c:pt>
                <c:pt idx="9931">
                  <c:v>66.655-66.662</c:v>
                </c:pt>
                <c:pt idx="9932">
                  <c:v>66.662-66.668</c:v>
                </c:pt>
                <c:pt idx="9933">
                  <c:v>66.668-66.675</c:v>
                </c:pt>
                <c:pt idx="9934">
                  <c:v>66.675-66.682</c:v>
                </c:pt>
                <c:pt idx="9935">
                  <c:v>66.682-66.689</c:v>
                </c:pt>
                <c:pt idx="9936">
                  <c:v>66.689-66.695</c:v>
                </c:pt>
                <c:pt idx="9937">
                  <c:v>66.695-66.702</c:v>
                </c:pt>
                <c:pt idx="9938">
                  <c:v>66.702-66.709</c:v>
                </c:pt>
                <c:pt idx="9939">
                  <c:v>66.709-66.715</c:v>
                </c:pt>
                <c:pt idx="9940">
                  <c:v>66.715-66.722</c:v>
                </c:pt>
                <c:pt idx="9941">
                  <c:v>66.722-66.729</c:v>
                </c:pt>
                <c:pt idx="9942">
                  <c:v>66.729-66.735</c:v>
                </c:pt>
                <c:pt idx="9943">
                  <c:v>66.735-66.742</c:v>
                </c:pt>
                <c:pt idx="9944">
                  <c:v>66.742-66.749</c:v>
                </c:pt>
                <c:pt idx="9945">
                  <c:v>66.749-66.756</c:v>
                </c:pt>
                <c:pt idx="9946">
                  <c:v>66.756-66.762</c:v>
                </c:pt>
                <c:pt idx="9947">
                  <c:v>66.762-66.769</c:v>
                </c:pt>
                <c:pt idx="9948">
                  <c:v>66.769-66.776</c:v>
                </c:pt>
                <c:pt idx="9949">
                  <c:v>66.776-66.782</c:v>
                </c:pt>
                <c:pt idx="9950">
                  <c:v>66.782-66.789</c:v>
                </c:pt>
                <c:pt idx="9951">
                  <c:v>66.789-66.796</c:v>
                </c:pt>
                <c:pt idx="9952">
                  <c:v>66.796-66.803</c:v>
                </c:pt>
                <c:pt idx="9953">
                  <c:v>66.803-66.809</c:v>
                </c:pt>
                <c:pt idx="9954">
                  <c:v>66.809-66.816</c:v>
                </c:pt>
                <c:pt idx="9955">
                  <c:v>66.816-66.823</c:v>
                </c:pt>
                <c:pt idx="9956">
                  <c:v>66.823-66.829</c:v>
                </c:pt>
                <c:pt idx="9957">
                  <c:v>66.829-66.836</c:v>
                </c:pt>
                <c:pt idx="9958">
                  <c:v>66.836-66.843</c:v>
                </c:pt>
                <c:pt idx="9959">
                  <c:v>66.843-66.850</c:v>
                </c:pt>
                <c:pt idx="9960">
                  <c:v>66.850-66.856</c:v>
                </c:pt>
                <c:pt idx="9961">
                  <c:v>66.856-66.863</c:v>
                </c:pt>
                <c:pt idx="9962">
                  <c:v>66.863-66.870</c:v>
                </c:pt>
                <c:pt idx="9963">
                  <c:v>66.870-66.876</c:v>
                </c:pt>
                <c:pt idx="9964">
                  <c:v>66.876-66.883</c:v>
                </c:pt>
                <c:pt idx="9965">
                  <c:v>66.883-66.890</c:v>
                </c:pt>
                <c:pt idx="9966">
                  <c:v>66.890-66.897</c:v>
                </c:pt>
                <c:pt idx="9967">
                  <c:v>66.897-66.903</c:v>
                </c:pt>
                <c:pt idx="9968">
                  <c:v>66.903-66.910</c:v>
                </c:pt>
                <c:pt idx="9969">
                  <c:v>66.910-66.917</c:v>
                </c:pt>
                <c:pt idx="9970">
                  <c:v>66.917-66.923</c:v>
                </c:pt>
                <c:pt idx="9971">
                  <c:v>66.923-66.930</c:v>
                </c:pt>
                <c:pt idx="9972">
                  <c:v>66.930-66.937</c:v>
                </c:pt>
                <c:pt idx="9973">
                  <c:v>66.937-66.944</c:v>
                </c:pt>
                <c:pt idx="9974">
                  <c:v>66.944-66.950</c:v>
                </c:pt>
                <c:pt idx="9975">
                  <c:v>66.950-66.957</c:v>
                </c:pt>
                <c:pt idx="9976">
                  <c:v>66.957-66.964</c:v>
                </c:pt>
                <c:pt idx="9977">
                  <c:v>66.964-66.970</c:v>
                </c:pt>
                <c:pt idx="9978">
                  <c:v>66.970-66.977</c:v>
                </c:pt>
                <c:pt idx="9979">
                  <c:v>66.977-66.984</c:v>
                </c:pt>
                <c:pt idx="9980">
                  <c:v>66.984-66.990</c:v>
                </c:pt>
                <c:pt idx="9981">
                  <c:v>66.990-66.997</c:v>
                </c:pt>
                <c:pt idx="9982">
                  <c:v>66.997-67.004</c:v>
                </c:pt>
                <c:pt idx="9983">
                  <c:v>67.004-67.011</c:v>
                </c:pt>
                <c:pt idx="9984">
                  <c:v>67.011-67.017</c:v>
                </c:pt>
                <c:pt idx="9985">
                  <c:v>67.017-67.024</c:v>
                </c:pt>
                <c:pt idx="9986">
                  <c:v>67.024-67.031</c:v>
                </c:pt>
                <c:pt idx="9987">
                  <c:v>67.031-67.037</c:v>
                </c:pt>
                <c:pt idx="9988">
                  <c:v>67.037-67.044</c:v>
                </c:pt>
                <c:pt idx="9989">
                  <c:v>67.044-67.051</c:v>
                </c:pt>
                <c:pt idx="9990">
                  <c:v>67.051-67.058</c:v>
                </c:pt>
                <c:pt idx="9991">
                  <c:v>67.058-67.064</c:v>
                </c:pt>
                <c:pt idx="9992">
                  <c:v>67.064-67.071</c:v>
                </c:pt>
                <c:pt idx="9993">
                  <c:v>67.071-67.078</c:v>
                </c:pt>
                <c:pt idx="9994">
                  <c:v>67.078-67.084</c:v>
                </c:pt>
                <c:pt idx="9995">
                  <c:v>67.084-67.091</c:v>
                </c:pt>
                <c:pt idx="9996">
                  <c:v>67.091-67.098</c:v>
                </c:pt>
                <c:pt idx="9997">
                  <c:v>67.098-67.105</c:v>
                </c:pt>
                <c:pt idx="9998">
                  <c:v>67.105-67.111</c:v>
                </c:pt>
                <c:pt idx="9999">
                  <c:v>67.111-67.118</c:v>
                </c:pt>
              </c:strCache>
            </c:strRef>
          </c:cat>
          <c:val>
            <c:numRef>
              <c:f>Data!$B$4:$B$10003</c:f>
              <c:numCache>
                <c:formatCode>General</c:formatCode>
                <c:ptCount val="10000"/>
                <c:pt idx="0">
                  <c:v>0.84031199999999995</c:v>
                </c:pt>
                <c:pt idx="1">
                  <c:v>0.56736699999999995</c:v>
                </c:pt>
                <c:pt idx="2">
                  <c:v>#N/A</c:v>
                </c:pt>
                <c:pt idx="3">
                  <c:v>1.0717699999999999</c:v>
                </c:pt>
                <c:pt idx="4">
                  <c:v>0.46605099999999999</c:v>
                </c:pt>
                <c:pt idx="5">
                  <c:v>0.61716000000000004</c:v>
                </c:pt>
                <c:pt idx="6">
                  <c:v>#N/A</c:v>
                </c:pt>
                <c:pt idx="7">
                  <c:v>0.60733300000000001</c:v>
                </c:pt>
                <c:pt idx="8">
                  <c:v>0.96833499999999995</c:v>
                </c:pt>
                <c:pt idx="9">
                  <c:v>1.56609</c:v>
                </c:pt>
                <c:pt idx="10">
                  <c:v>#N/A</c:v>
                </c:pt>
                <c:pt idx="11">
                  <c:v>2.1940900000000001</c:v>
                </c:pt>
                <c:pt idx="12">
                  <c:v>3.0441199999999999</c:v>
                </c:pt>
                <c:pt idx="13">
                  <c:v>#N/A</c:v>
                </c:pt>
                <c:pt idx="14">
                  <c:v>3.8317100000000002</c:v>
                </c:pt>
                <c:pt idx="15">
                  <c:v>5.6774100000000001</c:v>
                </c:pt>
                <c:pt idx="16">
                  <c:v>6.9196999999999997</c:v>
                </c:pt>
                <c:pt idx="17">
                  <c:v>#N/A</c:v>
                </c:pt>
                <c:pt idx="18">
                  <c:v>8.2284699999999997</c:v>
                </c:pt>
                <c:pt idx="19">
                  <c:v>10.909000000000001</c:v>
                </c:pt>
                <c:pt idx="20">
                  <c:v>#N/A</c:v>
                </c:pt>
                <c:pt idx="21">
                  <c:v>12.7364</c:v>
                </c:pt>
                <c:pt idx="22">
                  <c:v>#N/A</c:v>
                </c:pt>
                <c:pt idx="23">
                  <c:v>14.090999999999999</c:v>
                </c:pt>
                <c:pt idx="24">
                  <c:v>#N/A</c:v>
                </c:pt>
                <c:pt idx="25">
                  <c:v>16.636399999999998</c:v>
                </c:pt>
                <c:pt idx="26">
                  <c:v>16.733899999999998</c:v>
                </c:pt>
                <c:pt idx="27">
                  <c:v>17.027000000000001</c:v>
                </c:pt>
                <c:pt idx="28">
                  <c:v>#N/A</c:v>
                </c:pt>
                <c:pt idx="29">
                  <c:v>18.561699999999998</c:v>
                </c:pt>
                <c:pt idx="30">
                  <c:v>17.567299999999999</c:v>
                </c:pt>
                <c:pt idx="31">
                  <c:v>18.7575</c:v>
                </c:pt>
                <c:pt idx="32">
                  <c:v>#N/A</c:v>
                </c:pt>
                <c:pt idx="33">
                  <c:v>18.007400000000001</c:v>
                </c:pt>
                <c:pt idx="34">
                  <c:v>18.348199999999999</c:v>
                </c:pt>
                <c:pt idx="35">
                  <c:v>18.5626</c:v>
                </c:pt>
                <c:pt idx="36">
                  <c:v>#N/A</c:v>
                </c:pt>
                <c:pt idx="37">
                  <c:v>18.076000000000001</c:v>
                </c:pt>
                <c:pt idx="38">
                  <c:v>17.953800000000001</c:v>
                </c:pt>
                <c:pt idx="39">
                  <c:v>17.260400000000001</c:v>
                </c:pt>
                <c:pt idx="40">
                  <c:v>#N/A</c:v>
                </c:pt>
                <c:pt idx="41">
                  <c:v>16.990300000000001</c:v>
                </c:pt>
                <c:pt idx="42">
                  <c:v>17.2578</c:v>
                </c:pt>
                <c:pt idx="43">
                  <c:v>16.983899999999998</c:v>
                </c:pt>
                <c:pt idx="44">
                  <c:v>#N/A</c:v>
                </c:pt>
                <c:pt idx="45">
                  <c:v>16.418900000000001</c:v>
                </c:pt>
                <c:pt idx="46">
                  <c:v>15.4314</c:v>
                </c:pt>
                <c:pt idx="47">
                  <c:v>12.8246</c:v>
                </c:pt>
                <c:pt idx="48">
                  <c:v>#N/A</c:v>
                </c:pt>
                <c:pt idx="49">
                  <c:v>10.9674</c:v>
                </c:pt>
                <c:pt idx="50">
                  <c:v>9.6085999999999991</c:v>
                </c:pt>
                <c:pt idx="51">
                  <c:v>#N/A</c:v>
                </c:pt>
                <c:pt idx="52">
                  <c:v>8.3660899999999998</c:v>
                </c:pt>
                <c:pt idx="53">
                  <c:v>6.9673600000000002</c:v>
                </c:pt>
                <c:pt idx="54">
                  <c:v>6.3225100000000003</c:v>
                </c:pt>
                <c:pt idx="55">
                  <c:v>#N/A</c:v>
                </c:pt>
                <c:pt idx="56">
                  <c:v>5.2324900000000003</c:v>
                </c:pt>
                <c:pt idx="57">
                  <c:v>4.01004</c:v>
                </c:pt>
                <c:pt idx="58">
                  <c:v>2.2987500000000001</c:v>
                </c:pt>
                <c:pt idx="59">
                  <c:v>#N/A</c:v>
                </c:pt>
                <c:pt idx="60">
                  <c:v>0.81293000000000004</c:v>
                </c:pt>
                <c:pt idx="61">
                  <c:v>0.95809299999999997</c:v>
                </c:pt>
                <c:pt idx="62">
                  <c:v>1.5143500000000001</c:v>
                </c:pt>
                <c:pt idx="63">
                  <c:v>#N/A</c:v>
                </c:pt>
                <c:pt idx="64">
                  <c:v>2.2323300000000001</c:v>
                </c:pt>
                <c:pt idx="65">
                  <c:v>1.9985200000000001</c:v>
                </c:pt>
                <c:pt idx="66">
                  <c:v>2.1728999999999998</c:v>
                </c:pt>
                <c:pt idx="67">
                  <c:v>#N/A</c:v>
                </c:pt>
                <c:pt idx="68">
                  <c:v>2.5200499999999999</c:v>
                </c:pt>
                <c:pt idx="69">
                  <c:v>2.2500300000000002</c:v>
                </c:pt>
                <c:pt idx="70">
                  <c:v>2.29339</c:v>
                </c:pt>
                <c:pt idx="71">
                  <c:v>#N/A</c:v>
                </c:pt>
                <c:pt idx="72">
                  <c:v>1.9077200000000001</c:v>
                </c:pt>
                <c:pt idx="73">
                  <c:v>2.5419900000000002</c:v>
                </c:pt>
                <c:pt idx="74">
                  <c:v>3.2715000000000001</c:v>
                </c:pt>
                <c:pt idx="75">
                  <c:v>#N/A</c:v>
                </c:pt>
                <c:pt idx="76">
                  <c:v>4.0924100000000001</c:v>
                </c:pt>
                <c:pt idx="77">
                  <c:v>3.8593999999999999</c:v>
                </c:pt>
                <c:pt idx="78">
                  <c:v>3.5477400000000001</c:v>
                </c:pt>
                <c:pt idx="79">
                  <c:v>#N/A</c:v>
                </c:pt>
                <c:pt idx="80">
                  <c:v>3.1708099999999999</c:v>
                </c:pt>
                <c:pt idx="81">
                  <c:v>2.9385400000000002</c:v>
                </c:pt>
                <c:pt idx="82">
                  <c:v>#N/A</c:v>
                </c:pt>
                <c:pt idx="83">
                  <c:v>2.5724499999999999</c:v>
                </c:pt>
                <c:pt idx="84">
                  <c:v>2.8525</c:v>
                </c:pt>
                <c:pt idx="85">
                  <c:v>2.7525400000000002</c:v>
                </c:pt>
                <c:pt idx="86">
                  <c:v>#N/A</c:v>
                </c:pt>
                <c:pt idx="87">
                  <c:v>3.22113</c:v>
                </c:pt>
                <c:pt idx="88">
                  <c:v>3.0802800000000001</c:v>
                </c:pt>
                <c:pt idx="89">
                  <c:v>1.8519699999999999</c:v>
                </c:pt>
                <c:pt idx="90">
                  <c:v>#N/A</c:v>
                </c:pt>
                <c:pt idx="91">
                  <c:v>1.7685500000000001</c:v>
                </c:pt>
                <c:pt idx="92">
                  <c:v>1.97177</c:v>
                </c:pt>
                <c:pt idx="93">
                  <c:v>2.6190899999999999</c:v>
                </c:pt>
                <c:pt idx="94">
                  <c:v>#N/A</c:v>
                </c:pt>
                <c:pt idx="95">
                  <c:v>3.5882000000000001</c:v>
                </c:pt>
                <c:pt idx="96">
                  <c:v>3.4444599999999999</c:v>
                </c:pt>
                <c:pt idx="97">
                  <c:v>#N/A</c:v>
                </c:pt>
                <c:pt idx="98">
                  <c:v>3.2253400000000001</c:v>
                </c:pt>
                <c:pt idx="99">
                  <c:v>2.89378</c:v>
                </c:pt>
                <c:pt idx="100">
                  <c:v>2.6583299999999999</c:v>
                </c:pt>
                <c:pt idx="101">
                  <c:v>#N/A</c:v>
                </c:pt>
                <c:pt idx="102">
                  <c:v>3.3204500000000001</c:v>
                </c:pt>
                <c:pt idx="103">
                  <c:v>3.40672</c:v>
                </c:pt>
                <c:pt idx="104">
                  <c:v>#N/A</c:v>
                </c:pt>
                <c:pt idx="105">
                  <c:v>3.7934399999999999</c:v>
                </c:pt>
                <c:pt idx="106">
                  <c:v>3.8253699999999999</c:v>
                </c:pt>
                <c:pt idx="107">
                  <c:v>3.72167</c:v>
                </c:pt>
                <c:pt idx="108">
                  <c:v>#N/A</c:v>
                </c:pt>
                <c:pt idx="109">
                  <c:v>3.4194300000000002</c:v>
                </c:pt>
                <c:pt idx="110">
                  <c:v>2.8368500000000001</c:v>
                </c:pt>
                <c:pt idx="111">
                  <c:v>2.5103</c:v>
                </c:pt>
                <c:pt idx="112">
                  <c:v>#N/A</c:v>
                </c:pt>
                <c:pt idx="113">
                  <c:v>3.09206</c:v>
                </c:pt>
                <c:pt idx="114">
                  <c:v>3.0583499999999999</c:v>
                </c:pt>
                <c:pt idx="115">
                  <c:v>3.43276</c:v>
                </c:pt>
                <c:pt idx="116">
                  <c:v>#N/A</c:v>
                </c:pt>
                <c:pt idx="117">
                  <c:v>3.4565800000000002</c:v>
                </c:pt>
                <c:pt idx="118">
                  <c:v>3.3056399999999999</c:v>
                </c:pt>
                <c:pt idx="119">
                  <c:v>3.5563899999999999</c:v>
                </c:pt>
                <c:pt idx="120">
                  <c:v>#N/A</c:v>
                </c:pt>
                <c:pt idx="121">
                  <c:v>2.4894099999999999</c:v>
                </c:pt>
                <c:pt idx="122">
                  <c:v>2.6179399999999999</c:v>
                </c:pt>
                <c:pt idx="123">
                  <c:v>2.53152</c:v>
                </c:pt>
                <c:pt idx="124">
                  <c:v>#N/A</c:v>
                </c:pt>
                <c:pt idx="125">
                  <c:v>3.2666200000000001</c:v>
                </c:pt>
                <c:pt idx="126">
                  <c:v>3.0419900000000002</c:v>
                </c:pt>
                <c:pt idx="127">
                  <c:v>#N/A</c:v>
                </c:pt>
                <c:pt idx="128">
                  <c:v>2.7687200000000001</c:v>
                </c:pt>
                <c:pt idx="129">
                  <c:v>2.5505100000000001</c:v>
                </c:pt>
                <c:pt idx="130">
                  <c:v>2.5443199999999999</c:v>
                </c:pt>
                <c:pt idx="131">
                  <c:v>#N/A</c:v>
                </c:pt>
                <c:pt idx="132">
                  <c:v>2.3153100000000002</c:v>
                </c:pt>
                <c:pt idx="133">
                  <c:v>2.2284999999999999</c:v>
                </c:pt>
                <c:pt idx="134">
                  <c:v>2.5674600000000001</c:v>
                </c:pt>
                <c:pt idx="135">
                  <c:v>#N/A</c:v>
                </c:pt>
                <c:pt idx="136">
                  <c:v>3.2029999999999998</c:v>
                </c:pt>
                <c:pt idx="137">
                  <c:v>4.1429099999999996</c:v>
                </c:pt>
                <c:pt idx="138">
                  <c:v>3.4262100000000002</c:v>
                </c:pt>
                <c:pt idx="139">
                  <c:v>#N/A</c:v>
                </c:pt>
                <c:pt idx="140">
                  <c:v>3.1680600000000001</c:v>
                </c:pt>
                <c:pt idx="141">
                  <c:v>3.4462999999999999</c:v>
                </c:pt>
                <c:pt idx="142">
                  <c:v>2.5938300000000001</c:v>
                </c:pt>
                <c:pt idx="143">
                  <c:v>#N/A</c:v>
                </c:pt>
                <c:pt idx="144">
                  <c:v>2.77529</c:v>
                </c:pt>
                <c:pt idx="145">
                  <c:v>2.6700200000000001</c:v>
                </c:pt>
                <c:pt idx="146">
                  <c:v>3.10649</c:v>
                </c:pt>
                <c:pt idx="147">
                  <c:v>#N/A</c:v>
                </c:pt>
                <c:pt idx="148">
                  <c:v>3.2873800000000002</c:v>
                </c:pt>
                <c:pt idx="149">
                  <c:v>3.7751000000000001</c:v>
                </c:pt>
                <c:pt idx="150">
                  <c:v>3.11612</c:v>
                </c:pt>
                <c:pt idx="151">
                  <c:v>#N/A</c:v>
                </c:pt>
                <c:pt idx="152">
                  <c:v>2.5962000000000001</c:v>
                </c:pt>
                <c:pt idx="153">
                  <c:v>2.0676600000000001</c:v>
                </c:pt>
                <c:pt idx="154">
                  <c:v>#N/A</c:v>
                </c:pt>
                <c:pt idx="155">
                  <c:v>1.8809199999999999</c:v>
                </c:pt>
                <c:pt idx="156">
                  <c:v>2.1634799999999998</c:v>
                </c:pt>
                <c:pt idx="157">
                  <c:v>3.15449</c:v>
                </c:pt>
                <c:pt idx="158">
                  <c:v>#N/A</c:v>
                </c:pt>
                <c:pt idx="159">
                  <c:v>3.38205</c:v>
                </c:pt>
                <c:pt idx="160">
                  <c:v>3.5091299999999999</c:v>
                </c:pt>
                <c:pt idx="161">
                  <c:v>3.68011</c:v>
                </c:pt>
                <c:pt idx="162">
                  <c:v>#N/A</c:v>
                </c:pt>
                <c:pt idx="163">
                  <c:v>3.0581200000000002</c:v>
                </c:pt>
                <c:pt idx="164">
                  <c:v>2.2817599999999998</c:v>
                </c:pt>
                <c:pt idx="165">
                  <c:v>#N/A</c:v>
                </c:pt>
                <c:pt idx="166">
                  <c:v>2.6270899999999999</c:v>
                </c:pt>
                <c:pt idx="167">
                  <c:v>2.82701</c:v>
                </c:pt>
                <c:pt idx="168">
                  <c:v>3.5970200000000001</c:v>
                </c:pt>
                <c:pt idx="169">
                  <c:v>#N/A</c:v>
                </c:pt>
                <c:pt idx="170">
                  <c:v>3.2251400000000001</c:v>
                </c:pt>
                <c:pt idx="171">
                  <c:v>3.2463600000000001</c:v>
                </c:pt>
                <c:pt idx="172">
                  <c:v>#N/A</c:v>
                </c:pt>
                <c:pt idx="173">
                  <c:v>3.2435399999999999</c:v>
                </c:pt>
                <c:pt idx="174">
                  <c:v>#N/A</c:v>
                </c:pt>
                <c:pt idx="175">
                  <c:v>3.2605200000000001</c:v>
                </c:pt>
                <c:pt idx="176">
                  <c:v>2.7537099999999999</c:v>
                </c:pt>
                <c:pt idx="177">
                  <c:v>#N/A</c:v>
                </c:pt>
                <c:pt idx="178">
                  <c:v>3.2113299999999998</c:v>
                </c:pt>
                <c:pt idx="179">
                  <c:v>2.9732099999999999</c:v>
                </c:pt>
                <c:pt idx="180">
                  <c:v>3.0732900000000001</c:v>
                </c:pt>
                <c:pt idx="181">
                  <c:v>#N/A</c:v>
                </c:pt>
                <c:pt idx="182">
                  <c:v>3.1386099999999999</c:v>
                </c:pt>
                <c:pt idx="183">
                  <c:v>3.2407400000000002</c:v>
                </c:pt>
                <c:pt idx="184">
                  <c:v>2.6984300000000001</c:v>
                </c:pt>
                <c:pt idx="185">
                  <c:v>#N/A</c:v>
                </c:pt>
                <c:pt idx="186">
                  <c:v>2.4642599999999999</c:v>
                </c:pt>
                <c:pt idx="187">
                  <c:v>2.4694699999999998</c:v>
                </c:pt>
                <c:pt idx="188">
                  <c:v>2.8620299999999999</c:v>
                </c:pt>
                <c:pt idx="189">
                  <c:v>#N/A</c:v>
                </c:pt>
                <c:pt idx="190">
                  <c:v>2.71129</c:v>
                </c:pt>
                <c:pt idx="191">
                  <c:v>2.9117700000000002</c:v>
                </c:pt>
                <c:pt idx="192">
                  <c:v>2.57151</c:v>
                </c:pt>
                <c:pt idx="193">
                  <c:v>#N/A</c:v>
                </c:pt>
                <c:pt idx="194">
                  <c:v>2.3617699999999999</c:v>
                </c:pt>
                <c:pt idx="195">
                  <c:v>2.1394500000000001</c:v>
                </c:pt>
                <c:pt idx="196">
                  <c:v>#N/A</c:v>
                </c:pt>
                <c:pt idx="197">
                  <c:v>2.36958</c:v>
                </c:pt>
                <c:pt idx="198">
                  <c:v>3.4862899999999999</c:v>
                </c:pt>
                <c:pt idx="199">
                  <c:v>4.2075300000000002</c:v>
                </c:pt>
                <c:pt idx="200">
                  <c:v>#N/A</c:v>
                </c:pt>
                <c:pt idx="201">
                  <c:v>3.9380999999999999</c:v>
                </c:pt>
                <c:pt idx="202">
                  <c:v>2.6200299999999999</c:v>
                </c:pt>
                <c:pt idx="203">
                  <c:v>2.89209</c:v>
                </c:pt>
                <c:pt idx="204">
                  <c:v>#N/A</c:v>
                </c:pt>
                <c:pt idx="205">
                  <c:v>2.21008</c:v>
                </c:pt>
                <c:pt idx="206">
                  <c:v>2.5885699999999998</c:v>
                </c:pt>
                <c:pt idx="207">
                  <c:v>#N/A</c:v>
                </c:pt>
                <c:pt idx="208">
                  <c:v>2.6282999999999999</c:v>
                </c:pt>
                <c:pt idx="209">
                  <c:v>3.02535</c:v>
                </c:pt>
                <c:pt idx="210">
                  <c:v>3.5289000000000001</c:v>
                </c:pt>
                <c:pt idx="211">
                  <c:v>#N/A</c:v>
                </c:pt>
                <c:pt idx="212">
                  <c:v>3.16716</c:v>
                </c:pt>
                <c:pt idx="213">
                  <c:v>2.69617</c:v>
                </c:pt>
                <c:pt idx="214">
                  <c:v>2.5103900000000001</c:v>
                </c:pt>
                <c:pt idx="215">
                  <c:v>#N/A</c:v>
                </c:pt>
                <c:pt idx="216">
                  <c:v>2.30003</c:v>
                </c:pt>
                <c:pt idx="217">
                  <c:v>1.8348599999999999</c:v>
                </c:pt>
                <c:pt idx="218">
                  <c:v>2.37669</c:v>
                </c:pt>
                <c:pt idx="219">
                  <c:v>#N/A</c:v>
                </c:pt>
                <c:pt idx="220">
                  <c:v>2.6886000000000001</c:v>
                </c:pt>
                <c:pt idx="221">
                  <c:v>3.6598700000000002</c:v>
                </c:pt>
                <c:pt idx="222">
                  <c:v>3.41147</c:v>
                </c:pt>
                <c:pt idx="223">
                  <c:v>#N/A</c:v>
                </c:pt>
                <c:pt idx="224">
                  <c:v>3.4159600000000001</c:v>
                </c:pt>
                <c:pt idx="225">
                  <c:v>2.6139299999999999</c:v>
                </c:pt>
                <c:pt idx="226">
                  <c:v>2.5743100000000001</c:v>
                </c:pt>
                <c:pt idx="227">
                  <c:v>#N/A</c:v>
                </c:pt>
                <c:pt idx="228">
                  <c:v>2.8257400000000001</c:v>
                </c:pt>
                <c:pt idx="229">
                  <c:v>2.8357600000000001</c:v>
                </c:pt>
                <c:pt idx="230">
                  <c:v>3.31019</c:v>
                </c:pt>
                <c:pt idx="231">
                  <c:v>#N/A</c:v>
                </c:pt>
                <c:pt idx="232">
                  <c:v>3.3001299999999998</c:v>
                </c:pt>
                <c:pt idx="233">
                  <c:v>3.56976</c:v>
                </c:pt>
                <c:pt idx="234">
                  <c:v>3.3226200000000001</c:v>
                </c:pt>
                <c:pt idx="235">
                  <c:v>#N/A</c:v>
                </c:pt>
                <c:pt idx="236">
                  <c:v>2.8565399999999999</c:v>
                </c:pt>
                <c:pt idx="237">
                  <c:v>2.9003299999999999</c:v>
                </c:pt>
                <c:pt idx="238">
                  <c:v>#N/A</c:v>
                </c:pt>
                <c:pt idx="239">
                  <c:v>2.5914000000000001</c:v>
                </c:pt>
                <c:pt idx="240">
                  <c:v>2.97818</c:v>
                </c:pt>
                <c:pt idx="241">
                  <c:v>3.15184</c:v>
                </c:pt>
                <c:pt idx="242">
                  <c:v>#N/A</c:v>
                </c:pt>
                <c:pt idx="243">
                  <c:v>3.0380600000000002</c:v>
                </c:pt>
                <c:pt idx="244">
                  <c:v>2.97797</c:v>
                </c:pt>
                <c:pt idx="245">
                  <c:v>3.0589300000000001</c:v>
                </c:pt>
                <c:pt idx="246">
                  <c:v>#N/A</c:v>
                </c:pt>
                <c:pt idx="247">
                  <c:v>2.74498</c:v>
                </c:pt>
                <c:pt idx="248">
                  <c:v>2.6589299999999998</c:v>
                </c:pt>
                <c:pt idx="249">
                  <c:v>2.1294499999999998</c:v>
                </c:pt>
                <c:pt idx="250">
                  <c:v>#N/A</c:v>
                </c:pt>
                <c:pt idx="251">
                  <c:v>2.5973299999999999</c:v>
                </c:pt>
                <c:pt idx="252">
                  <c:v>2.5697399999999999</c:v>
                </c:pt>
                <c:pt idx="253">
                  <c:v>2.3024100000000001</c:v>
                </c:pt>
                <c:pt idx="254">
                  <c:v>#N/A</c:v>
                </c:pt>
                <c:pt idx="255">
                  <c:v>2.8121900000000002</c:v>
                </c:pt>
                <c:pt idx="256">
                  <c:v>2.1284800000000001</c:v>
                </c:pt>
                <c:pt idx="257">
                  <c:v>#N/A</c:v>
                </c:pt>
                <c:pt idx="258">
                  <c:v>2.40821</c:v>
                </c:pt>
                <c:pt idx="259">
                  <c:v>2.3956400000000002</c:v>
                </c:pt>
                <c:pt idx="260">
                  <c:v>2.7073700000000001</c:v>
                </c:pt>
                <c:pt idx="261">
                  <c:v>#N/A</c:v>
                </c:pt>
                <c:pt idx="262">
                  <c:v>2.86449</c:v>
                </c:pt>
                <c:pt idx="263">
                  <c:v>3.5296400000000001</c:v>
                </c:pt>
                <c:pt idx="264">
                  <c:v>3.2561300000000002</c:v>
                </c:pt>
                <c:pt idx="265">
                  <c:v>#N/A</c:v>
                </c:pt>
                <c:pt idx="266">
                  <c:v>2.8047300000000002</c:v>
                </c:pt>
                <c:pt idx="267">
                  <c:v>2.4488300000000001</c:v>
                </c:pt>
                <c:pt idx="268">
                  <c:v>2.1761699999999999</c:v>
                </c:pt>
                <c:pt idx="269">
                  <c:v>#N/A</c:v>
                </c:pt>
                <c:pt idx="270">
                  <c:v>2.21515</c:v>
                </c:pt>
                <c:pt idx="271">
                  <c:v>2.8378899999999998</c:v>
                </c:pt>
                <c:pt idx="272">
                  <c:v>2.3589799999999999</c:v>
                </c:pt>
                <c:pt idx="273">
                  <c:v>#N/A</c:v>
                </c:pt>
                <c:pt idx="274">
                  <c:v>2.5100600000000002</c:v>
                </c:pt>
                <c:pt idx="275">
                  <c:v>2.4921899999999999</c:v>
                </c:pt>
                <c:pt idx="276">
                  <c:v>2.4369200000000002</c:v>
                </c:pt>
                <c:pt idx="277">
                  <c:v>#N/A</c:v>
                </c:pt>
                <c:pt idx="278">
                  <c:v>1.75349</c:v>
                </c:pt>
                <c:pt idx="279">
                  <c:v>1.5911299999999999</c:v>
                </c:pt>
                <c:pt idx="280">
                  <c:v>2.3597800000000002</c:v>
                </c:pt>
                <c:pt idx="281">
                  <c:v>#N/A</c:v>
                </c:pt>
                <c:pt idx="282">
                  <c:v>2.73705</c:v>
                </c:pt>
                <c:pt idx="283">
                  <c:v>3.3279700000000001</c:v>
                </c:pt>
                <c:pt idx="284">
                  <c:v>3.4159899999999999</c:v>
                </c:pt>
                <c:pt idx="285">
                  <c:v>#N/A</c:v>
                </c:pt>
                <c:pt idx="286">
                  <c:v>2.8274699999999999</c:v>
                </c:pt>
                <c:pt idx="287">
                  <c:v>2.6256300000000001</c:v>
                </c:pt>
                <c:pt idx="288">
                  <c:v>#N/A</c:v>
                </c:pt>
                <c:pt idx="289">
                  <c:v>2.7831199999999998</c:v>
                </c:pt>
                <c:pt idx="290">
                  <c:v>2.4265099999999999</c:v>
                </c:pt>
                <c:pt idx="291">
                  <c:v>2.3618999999999999</c:v>
                </c:pt>
                <c:pt idx="292">
                  <c:v>#N/A</c:v>
                </c:pt>
                <c:pt idx="293">
                  <c:v>2.4321600000000001</c:v>
                </c:pt>
                <c:pt idx="294">
                  <c:v>3.2839999999999998</c:v>
                </c:pt>
                <c:pt idx="295">
                  <c:v>3.2454299999999998</c:v>
                </c:pt>
                <c:pt idx="296">
                  <c:v>#N/A</c:v>
                </c:pt>
                <c:pt idx="297">
                  <c:v>2.7473399999999999</c:v>
                </c:pt>
                <c:pt idx="298">
                  <c:v>2.1678500000000001</c:v>
                </c:pt>
                <c:pt idx="299">
                  <c:v>1.93893</c:v>
                </c:pt>
                <c:pt idx="300">
                  <c:v>#N/A</c:v>
                </c:pt>
                <c:pt idx="301">
                  <c:v>1.8823399999999999</c:v>
                </c:pt>
                <c:pt idx="302">
                  <c:v>2.2011599999999998</c:v>
                </c:pt>
                <c:pt idx="303">
                  <c:v>3.0290900000000001</c:v>
                </c:pt>
                <c:pt idx="304">
                  <c:v>#N/A</c:v>
                </c:pt>
                <c:pt idx="305">
                  <c:v>3.1722999999999999</c:v>
                </c:pt>
                <c:pt idx="306">
                  <c:v>3.0153799999999999</c:v>
                </c:pt>
                <c:pt idx="307">
                  <c:v>3.01525</c:v>
                </c:pt>
                <c:pt idx="308">
                  <c:v>#N/A</c:v>
                </c:pt>
                <c:pt idx="309">
                  <c:v>2.4537900000000001</c:v>
                </c:pt>
                <c:pt idx="310">
                  <c:v>1.89354</c:v>
                </c:pt>
                <c:pt idx="311">
                  <c:v>#N/A</c:v>
                </c:pt>
                <c:pt idx="312">
                  <c:v>1.88862</c:v>
                </c:pt>
                <c:pt idx="313">
                  <c:v>2.5710899999999999</c:v>
                </c:pt>
                <c:pt idx="314">
                  <c:v>2.6574900000000001</c:v>
                </c:pt>
                <c:pt idx="315">
                  <c:v>#N/A</c:v>
                </c:pt>
                <c:pt idx="316">
                  <c:v>2.34985</c:v>
                </c:pt>
                <c:pt idx="317">
                  <c:v>2.8562400000000001</c:v>
                </c:pt>
                <c:pt idx="318">
                  <c:v>2.9610699999999999</c:v>
                </c:pt>
                <c:pt idx="319">
                  <c:v>#N/A</c:v>
                </c:pt>
                <c:pt idx="320">
                  <c:v>2.2820399999999998</c:v>
                </c:pt>
                <c:pt idx="321">
                  <c:v>2.4319199999999999</c:v>
                </c:pt>
                <c:pt idx="322">
                  <c:v>#N/A</c:v>
                </c:pt>
                <c:pt idx="323">
                  <c:v>2.3850099999999999</c:v>
                </c:pt>
                <c:pt idx="324">
                  <c:v>2.8084899999999999</c:v>
                </c:pt>
                <c:pt idx="325">
                  <c:v>3.57131</c:v>
                </c:pt>
                <c:pt idx="326">
                  <c:v>#N/A</c:v>
                </c:pt>
                <c:pt idx="327">
                  <c:v>2.5981000000000001</c:v>
                </c:pt>
                <c:pt idx="328">
                  <c:v>3.1615899999999999</c:v>
                </c:pt>
                <c:pt idx="329">
                  <c:v>2.13896</c:v>
                </c:pt>
                <c:pt idx="330">
                  <c:v>#N/A</c:v>
                </c:pt>
                <c:pt idx="331">
                  <c:v>2.0847500000000001</c:v>
                </c:pt>
                <c:pt idx="332">
                  <c:v>2.6316799999999998</c:v>
                </c:pt>
                <c:pt idx="333">
                  <c:v>2.2990499999999998</c:v>
                </c:pt>
                <c:pt idx="334">
                  <c:v>#N/A</c:v>
                </c:pt>
                <c:pt idx="335">
                  <c:v>2.6549700000000001</c:v>
                </c:pt>
                <c:pt idx="336">
                  <c:v>2.6446900000000002</c:v>
                </c:pt>
                <c:pt idx="337">
                  <c:v>2.52461</c:v>
                </c:pt>
                <c:pt idx="338">
                  <c:v>#N/A</c:v>
                </c:pt>
                <c:pt idx="339">
                  <c:v>1.9561299999999999</c:v>
                </c:pt>
                <c:pt idx="340">
                  <c:v>1.9730300000000001</c:v>
                </c:pt>
                <c:pt idx="341">
                  <c:v>#N/A</c:v>
                </c:pt>
                <c:pt idx="342">
                  <c:v>2.2744300000000002</c:v>
                </c:pt>
                <c:pt idx="343">
                  <c:v>2.62209</c:v>
                </c:pt>
                <c:pt idx="344">
                  <c:v>2.8605100000000001</c:v>
                </c:pt>
                <c:pt idx="345">
                  <c:v>#N/A</c:v>
                </c:pt>
                <c:pt idx="346">
                  <c:v>3.0775299999999999</c:v>
                </c:pt>
                <c:pt idx="347">
                  <c:v>3.1365799999999999</c:v>
                </c:pt>
                <c:pt idx="348">
                  <c:v>2.5338699999999998</c:v>
                </c:pt>
                <c:pt idx="349">
                  <c:v>#N/A</c:v>
                </c:pt>
                <c:pt idx="350">
                  <c:v>3.0908500000000001</c:v>
                </c:pt>
                <c:pt idx="351">
                  <c:v>2.7049599999999998</c:v>
                </c:pt>
                <c:pt idx="352">
                  <c:v>#N/A</c:v>
                </c:pt>
                <c:pt idx="353">
                  <c:v>2.8674300000000001</c:v>
                </c:pt>
                <c:pt idx="354">
                  <c:v>2.68072</c:v>
                </c:pt>
                <c:pt idx="355">
                  <c:v>3.03674</c:v>
                </c:pt>
                <c:pt idx="356">
                  <c:v>#N/A</c:v>
                </c:pt>
                <c:pt idx="357">
                  <c:v>3.2114799999999999</c:v>
                </c:pt>
                <c:pt idx="358">
                  <c:v>3.2668200000000001</c:v>
                </c:pt>
                <c:pt idx="359">
                  <c:v>3.1437400000000002</c:v>
                </c:pt>
                <c:pt idx="360">
                  <c:v>#N/A</c:v>
                </c:pt>
                <c:pt idx="361">
                  <c:v>2.2627700000000002</c:v>
                </c:pt>
                <c:pt idx="362">
                  <c:v>1.71008</c:v>
                </c:pt>
                <c:pt idx="363">
                  <c:v>2.1467900000000002</c:v>
                </c:pt>
                <c:pt idx="364">
                  <c:v>#N/A</c:v>
                </c:pt>
                <c:pt idx="365">
                  <c:v>2.5569899999999999</c:v>
                </c:pt>
                <c:pt idx="366">
                  <c:v>3.0762499999999999</c:v>
                </c:pt>
                <c:pt idx="367">
                  <c:v>3.56487</c:v>
                </c:pt>
                <c:pt idx="368">
                  <c:v>#N/A</c:v>
                </c:pt>
                <c:pt idx="369">
                  <c:v>3.3837199999999998</c:v>
                </c:pt>
                <c:pt idx="370">
                  <c:v>3.28681</c:v>
                </c:pt>
                <c:pt idx="371">
                  <c:v>2.4580000000000002</c:v>
                </c:pt>
                <c:pt idx="372">
                  <c:v>#N/A</c:v>
                </c:pt>
                <c:pt idx="373">
                  <c:v>2.0245500000000001</c:v>
                </c:pt>
                <c:pt idx="374">
                  <c:v>1.71394</c:v>
                </c:pt>
                <c:pt idx="375">
                  <c:v>2.4253100000000001</c:v>
                </c:pt>
                <c:pt idx="376">
                  <c:v>#N/A</c:v>
                </c:pt>
                <c:pt idx="377">
                  <c:v>2.7805200000000001</c:v>
                </c:pt>
                <c:pt idx="378">
                  <c:v>2.7967</c:v>
                </c:pt>
                <c:pt idx="379">
                  <c:v>3.0594399999999999</c:v>
                </c:pt>
                <c:pt idx="380">
                  <c:v>#N/A</c:v>
                </c:pt>
                <c:pt idx="381">
                  <c:v>2.91445</c:v>
                </c:pt>
                <c:pt idx="382">
                  <c:v>2.54786</c:v>
                </c:pt>
                <c:pt idx="383">
                  <c:v>#N/A</c:v>
                </c:pt>
                <c:pt idx="384">
                  <c:v>1.7418199999999999</c:v>
                </c:pt>
                <c:pt idx="385">
                  <c:v>2.3592300000000002</c:v>
                </c:pt>
                <c:pt idx="386">
                  <c:v>2.8950100000000001</c:v>
                </c:pt>
                <c:pt idx="387">
                  <c:v>#N/A</c:v>
                </c:pt>
                <c:pt idx="388">
                  <c:v>2.8064900000000002</c:v>
                </c:pt>
                <c:pt idx="389">
                  <c:v>3.0941200000000002</c:v>
                </c:pt>
                <c:pt idx="390">
                  <c:v>3.0183499999999999</c:v>
                </c:pt>
                <c:pt idx="391">
                  <c:v>#N/A</c:v>
                </c:pt>
                <c:pt idx="392">
                  <c:v>3.0735199999999998</c:v>
                </c:pt>
                <c:pt idx="393">
                  <c:v>2.7855799999999999</c:v>
                </c:pt>
                <c:pt idx="394">
                  <c:v>2.4687700000000001</c:v>
                </c:pt>
                <c:pt idx="395">
                  <c:v>#N/A</c:v>
                </c:pt>
                <c:pt idx="396">
                  <c:v>2.6394500000000001</c:v>
                </c:pt>
                <c:pt idx="397">
                  <c:v>#N/A</c:v>
                </c:pt>
                <c:pt idx="398">
                  <c:v>2.59931</c:v>
                </c:pt>
                <c:pt idx="399">
                  <c:v>2.6274600000000001</c:v>
                </c:pt>
                <c:pt idx="400">
                  <c:v>#N/A</c:v>
                </c:pt>
                <c:pt idx="401">
                  <c:v>2.2662200000000001</c:v>
                </c:pt>
                <c:pt idx="402">
                  <c:v>2.8167300000000002</c:v>
                </c:pt>
                <c:pt idx="403">
                  <c:v>2.4992800000000002</c:v>
                </c:pt>
                <c:pt idx="404">
                  <c:v>#N/A</c:v>
                </c:pt>
                <c:pt idx="405">
                  <c:v>2.2967200000000001</c:v>
                </c:pt>
                <c:pt idx="406">
                  <c:v>2.42408</c:v>
                </c:pt>
                <c:pt idx="407">
                  <c:v>2.6992099999999999</c:v>
                </c:pt>
                <c:pt idx="408">
                  <c:v>#N/A</c:v>
                </c:pt>
                <c:pt idx="409">
                  <c:v>3.1160899999999998</c:v>
                </c:pt>
                <c:pt idx="410">
                  <c:v>3.0054599999999998</c:v>
                </c:pt>
                <c:pt idx="411">
                  <c:v>#N/A</c:v>
                </c:pt>
                <c:pt idx="412">
                  <c:v>2.8811399999999998</c:v>
                </c:pt>
                <c:pt idx="413">
                  <c:v>2.2338100000000001</c:v>
                </c:pt>
                <c:pt idx="414">
                  <c:v>1.9962299999999999</c:v>
                </c:pt>
                <c:pt idx="415">
                  <c:v>#N/A</c:v>
                </c:pt>
                <c:pt idx="416">
                  <c:v>2.5970300000000002</c:v>
                </c:pt>
                <c:pt idx="417">
                  <c:v>2.75325</c:v>
                </c:pt>
                <c:pt idx="418">
                  <c:v>2.6062099999999999</c:v>
                </c:pt>
                <c:pt idx="419">
                  <c:v>#N/A</c:v>
                </c:pt>
                <c:pt idx="420">
                  <c:v>2.8209399999999998</c:v>
                </c:pt>
                <c:pt idx="421">
                  <c:v>2.5167299999999999</c:v>
                </c:pt>
                <c:pt idx="422">
                  <c:v>2.4634900000000002</c:v>
                </c:pt>
                <c:pt idx="423">
                  <c:v>#N/A</c:v>
                </c:pt>
                <c:pt idx="424">
                  <c:v>2.0649199999999999</c:v>
                </c:pt>
                <c:pt idx="425">
                  <c:v>2.3616700000000002</c:v>
                </c:pt>
                <c:pt idx="426">
                  <c:v>2.3606600000000002</c:v>
                </c:pt>
                <c:pt idx="427">
                  <c:v>#N/A</c:v>
                </c:pt>
                <c:pt idx="428">
                  <c:v>3.2960099999999999</c:v>
                </c:pt>
                <c:pt idx="429">
                  <c:v>3.4310399999999999</c:v>
                </c:pt>
                <c:pt idx="430">
                  <c:v>2.6287400000000001</c:v>
                </c:pt>
                <c:pt idx="431">
                  <c:v>#N/A</c:v>
                </c:pt>
                <c:pt idx="432">
                  <c:v>2.1189</c:v>
                </c:pt>
                <c:pt idx="433">
                  <c:v>2.5887099999999998</c:v>
                </c:pt>
                <c:pt idx="434">
                  <c:v>2.04847</c:v>
                </c:pt>
                <c:pt idx="435">
                  <c:v>#N/A</c:v>
                </c:pt>
                <c:pt idx="436">
                  <c:v>1.4374800000000001</c:v>
                </c:pt>
                <c:pt idx="437">
                  <c:v>2.0105400000000002</c:v>
                </c:pt>
                <c:pt idx="438">
                  <c:v>2.5855199999999998</c:v>
                </c:pt>
                <c:pt idx="439">
                  <c:v>#N/A</c:v>
                </c:pt>
                <c:pt idx="440">
                  <c:v>2.72174</c:v>
                </c:pt>
                <c:pt idx="441">
                  <c:v>3.0164399999999998</c:v>
                </c:pt>
                <c:pt idx="442">
                  <c:v>#N/A</c:v>
                </c:pt>
                <c:pt idx="443">
                  <c:v>2.98936</c:v>
                </c:pt>
                <c:pt idx="444">
                  <c:v>2.94475</c:v>
                </c:pt>
                <c:pt idx="445">
                  <c:v>2.6665800000000002</c:v>
                </c:pt>
                <c:pt idx="446">
                  <c:v>#N/A</c:v>
                </c:pt>
                <c:pt idx="447">
                  <c:v>2.0638200000000002</c:v>
                </c:pt>
                <c:pt idx="448">
                  <c:v>2.0916700000000001</c:v>
                </c:pt>
                <c:pt idx="449">
                  <c:v>2.2700999999999998</c:v>
                </c:pt>
                <c:pt idx="450">
                  <c:v>#N/A</c:v>
                </c:pt>
                <c:pt idx="451">
                  <c:v>3.17232</c:v>
                </c:pt>
                <c:pt idx="452">
                  <c:v>3.1110799999999998</c:v>
                </c:pt>
                <c:pt idx="453">
                  <c:v>3.0055800000000001</c:v>
                </c:pt>
                <c:pt idx="454">
                  <c:v>#N/A</c:v>
                </c:pt>
                <c:pt idx="455">
                  <c:v>2.4640200000000001</c:v>
                </c:pt>
                <c:pt idx="456">
                  <c:v>2.4636200000000001</c:v>
                </c:pt>
                <c:pt idx="457">
                  <c:v>2.0779100000000001</c:v>
                </c:pt>
                <c:pt idx="458">
                  <c:v>#N/A</c:v>
                </c:pt>
                <c:pt idx="459">
                  <c:v>1.8339000000000001</c:v>
                </c:pt>
                <c:pt idx="460">
                  <c:v>1.83873</c:v>
                </c:pt>
                <c:pt idx="461">
                  <c:v>#N/A</c:v>
                </c:pt>
                <c:pt idx="462">
                  <c:v>1.93527</c:v>
                </c:pt>
                <c:pt idx="463">
                  <c:v>2.9905300000000001</c:v>
                </c:pt>
                <c:pt idx="464">
                  <c:v>3.0097700000000001</c:v>
                </c:pt>
                <c:pt idx="465">
                  <c:v>#N/A</c:v>
                </c:pt>
                <c:pt idx="466">
                  <c:v>3.3372799999999998</c:v>
                </c:pt>
                <c:pt idx="467">
                  <c:v>2.7200799999999998</c:v>
                </c:pt>
                <c:pt idx="468">
                  <c:v>2.8538299999999999</c:v>
                </c:pt>
                <c:pt idx="469">
                  <c:v>#N/A</c:v>
                </c:pt>
                <c:pt idx="470">
                  <c:v>2.8029299999999999</c:v>
                </c:pt>
                <c:pt idx="471">
                  <c:v>#N/A</c:v>
                </c:pt>
                <c:pt idx="472">
                  <c:v>2.7750400000000002</c:v>
                </c:pt>
                <c:pt idx="473">
                  <c:v>3.1773699999999998</c:v>
                </c:pt>
                <c:pt idx="474">
                  <c:v>#N/A</c:v>
                </c:pt>
                <c:pt idx="475">
                  <c:v>3.0577000000000001</c:v>
                </c:pt>
                <c:pt idx="476">
                  <c:v>2.7904499999999999</c:v>
                </c:pt>
                <c:pt idx="477">
                  <c:v>2.53531</c:v>
                </c:pt>
                <c:pt idx="478">
                  <c:v>#N/A</c:v>
                </c:pt>
                <c:pt idx="479">
                  <c:v>2.5843600000000002</c:v>
                </c:pt>
                <c:pt idx="480">
                  <c:v>2.6181199999999998</c:v>
                </c:pt>
                <c:pt idx="481">
                  <c:v>2.7068099999999999</c:v>
                </c:pt>
                <c:pt idx="482">
                  <c:v>#N/A</c:v>
                </c:pt>
                <c:pt idx="483">
                  <c:v>2.44557</c:v>
                </c:pt>
                <c:pt idx="484">
                  <c:v>2.2376100000000001</c:v>
                </c:pt>
                <c:pt idx="485">
                  <c:v>2.1055899999999999</c:v>
                </c:pt>
                <c:pt idx="486">
                  <c:v>#N/A</c:v>
                </c:pt>
                <c:pt idx="487">
                  <c:v>1.88703</c:v>
                </c:pt>
                <c:pt idx="488">
                  <c:v>2.1764399999999999</c:v>
                </c:pt>
                <c:pt idx="489">
                  <c:v>2.74335</c:v>
                </c:pt>
                <c:pt idx="490">
                  <c:v>#N/A</c:v>
                </c:pt>
                <c:pt idx="491">
                  <c:v>2.9058700000000002</c:v>
                </c:pt>
                <c:pt idx="492">
                  <c:v>3.3997799999999998</c:v>
                </c:pt>
                <c:pt idx="493">
                  <c:v>3.0403799999999999</c:v>
                </c:pt>
                <c:pt idx="494">
                  <c:v>#N/A</c:v>
                </c:pt>
                <c:pt idx="495">
                  <c:v>2.2505600000000001</c:v>
                </c:pt>
                <c:pt idx="496">
                  <c:v>2.46367</c:v>
                </c:pt>
                <c:pt idx="497">
                  <c:v>#N/A</c:v>
                </c:pt>
                <c:pt idx="498">
                  <c:v>1.62503</c:v>
                </c:pt>
                <c:pt idx="499">
                  <c:v>1.5897300000000001</c:v>
                </c:pt>
                <c:pt idx="500">
                  <c:v>2.14466</c:v>
                </c:pt>
                <c:pt idx="501">
                  <c:v>#N/A</c:v>
                </c:pt>
                <c:pt idx="502">
                  <c:v>2.78382</c:v>
                </c:pt>
                <c:pt idx="503">
                  <c:v>3.7071499999999999</c:v>
                </c:pt>
                <c:pt idx="504">
                  <c:v>3.0430899999999999</c:v>
                </c:pt>
                <c:pt idx="505">
                  <c:v>#N/A</c:v>
                </c:pt>
                <c:pt idx="506">
                  <c:v>2.76877</c:v>
                </c:pt>
                <c:pt idx="507">
                  <c:v>2.2033</c:v>
                </c:pt>
                <c:pt idx="508">
                  <c:v>#N/A</c:v>
                </c:pt>
                <c:pt idx="509">
                  <c:v>2.0064799999999998</c:v>
                </c:pt>
                <c:pt idx="510">
                  <c:v>1.84022</c:v>
                </c:pt>
                <c:pt idx="511">
                  <c:v>2.4610599999999998</c:v>
                </c:pt>
                <c:pt idx="512">
                  <c:v>#N/A</c:v>
                </c:pt>
                <c:pt idx="513">
                  <c:v>2.7359</c:v>
                </c:pt>
                <c:pt idx="514">
                  <c:v>3.23291</c:v>
                </c:pt>
                <c:pt idx="515">
                  <c:v>2.79976</c:v>
                </c:pt>
                <c:pt idx="516">
                  <c:v>#N/A</c:v>
                </c:pt>
                <c:pt idx="517">
                  <c:v>2.9272900000000002</c:v>
                </c:pt>
                <c:pt idx="518">
                  <c:v>2.5226299999999999</c:v>
                </c:pt>
                <c:pt idx="519">
                  <c:v>1.8123800000000001</c:v>
                </c:pt>
                <c:pt idx="520">
                  <c:v>#N/A</c:v>
                </c:pt>
                <c:pt idx="521">
                  <c:v>1.73434</c:v>
                </c:pt>
                <c:pt idx="522">
                  <c:v>2.12967</c:v>
                </c:pt>
                <c:pt idx="523">
                  <c:v>2.4125700000000001</c:v>
                </c:pt>
                <c:pt idx="524">
                  <c:v>#N/A</c:v>
                </c:pt>
                <c:pt idx="525">
                  <c:v>2.49987</c:v>
                </c:pt>
                <c:pt idx="526">
                  <c:v>2.79541</c:v>
                </c:pt>
                <c:pt idx="527">
                  <c:v>2.8401000000000001</c:v>
                </c:pt>
                <c:pt idx="528">
                  <c:v>#N/A</c:v>
                </c:pt>
                <c:pt idx="529">
                  <c:v>2.5462600000000002</c:v>
                </c:pt>
                <c:pt idx="530">
                  <c:v>2.1643300000000001</c:v>
                </c:pt>
                <c:pt idx="531">
                  <c:v>2.1392099999999998</c:v>
                </c:pt>
                <c:pt idx="532">
                  <c:v>#N/A</c:v>
                </c:pt>
                <c:pt idx="533">
                  <c:v>2.0546199999999999</c:v>
                </c:pt>
                <c:pt idx="534">
                  <c:v>2.9262800000000002</c:v>
                </c:pt>
                <c:pt idx="535">
                  <c:v>#N/A</c:v>
                </c:pt>
                <c:pt idx="536">
                  <c:v>2.9286099999999999</c:v>
                </c:pt>
                <c:pt idx="537">
                  <c:v>3.03098</c:v>
                </c:pt>
                <c:pt idx="538">
                  <c:v>2.7373799999999999</c:v>
                </c:pt>
                <c:pt idx="539">
                  <c:v>#N/A</c:v>
                </c:pt>
                <c:pt idx="540">
                  <c:v>2.5412400000000002</c:v>
                </c:pt>
                <c:pt idx="541">
                  <c:v>2.6804899999999998</c:v>
                </c:pt>
                <c:pt idx="542">
                  <c:v>3.4923199999999999</c:v>
                </c:pt>
                <c:pt idx="543">
                  <c:v>#N/A</c:v>
                </c:pt>
                <c:pt idx="544">
                  <c:v>2.9966499999999998</c:v>
                </c:pt>
                <c:pt idx="545">
                  <c:v>3.8366500000000001</c:v>
                </c:pt>
                <c:pt idx="546">
                  <c:v>#N/A</c:v>
                </c:pt>
                <c:pt idx="547">
                  <c:v>3.5091199999999998</c:v>
                </c:pt>
                <c:pt idx="548">
                  <c:v>3.5035599999999998</c:v>
                </c:pt>
                <c:pt idx="549">
                  <c:v>#N/A</c:v>
                </c:pt>
                <c:pt idx="550">
                  <c:v>2.3621300000000001</c:v>
                </c:pt>
                <c:pt idx="551">
                  <c:v>#N/A</c:v>
                </c:pt>
                <c:pt idx="552">
                  <c:v>2.1506500000000002</c:v>
                </c:pt>
                <c:pt idx="553">
                  <c:v>2.0063300000000002</c:v>
                </c:pt>
                <c:pt idx="554">
                  <c:v>#N/A</c:v>
                </c:pt>
                <c:pt idx="555">
                  <c:v>2.22953</c:v>
                </c:pt>
                <c:pt idx="556">
                  <c:v>2.66892</c:v>
                </c:pt>
                <c:pt idx="557">
                  <c:v>2.5877300000000001</c:v>
                </c:pt>
                <c:pt idx="558">
                  <c:v>#N/A</c:v>
                </c:pt>
                <c:pt idx="559">
                  <c:v>1.7325699999999999</c:v>
                </c:pt>
                <c:pt idx="560">
                  <c:v>1.4541599999999999</c:v>
                </c:pt>
                <c:pt idx="561">
                  <c:v>1.22275</c:v>
                </c:pt>
                <c:pt idx="562">
                  <c:v>#N/A</c:v>
                </c:pt>
                <c:pt idx="563">
                  <c:v>1.4097500000000001</c:v>
                </c:pt>
                <c:pt idx="564">
                  <c:v>2.7703899999999999</c:v>
                </c:pt>
                <c:pt idx="565">
                  <c:v>2.8685</c:v>
                </c:pt>
                <c:pt idx="566">
                  <c:v>#N/A</c:v>
                </c:pt>
                <c:pt idx="567">
                  <c:v>2.5879300000000001</c:v>
                </c:pt>
                <c:pt idx="568">
                  <c:v>2.3691900000000001</c:v>
                </c:pt>
                <c:pt idx="569">
                  <c:v>1.85934</c:v>
                </c:pt>
                <c:pt idx="570">
                  <c:v>#N/A</c:v>
                </c:pt>
                <c:pt idx="571">
                  <c:v>2.01017</c:v>
                </c:pt>
                <c:pt idx="572">
                  <c:v>2.4032800000000001</c:v>
                </c:pt>
                <c:pt idx="573">
                  <c:v>2.6916799999999999</c:v>
                </c:pt>
                <c:pt idx="574">
                  <c:v>#N/A</c:v>
                </c:pt>
                <c:pt idx="575">
                  <c:v>3.5694300000000001</c:v>
                </c:pt>
                <c:pt idx="576">
                  <c:v>3.67733</c:v>
                </c:pt>
                <c:pt idx="577">
                  <c:v>3.3752399999999998</c:v>
                </c:pt>
                <c:pt idx="578">
                  <c:v>#N/A</c:v>
                </c:pt>
                <c:pt idx="579">
                  <c:v>2.9233500000000001</c:v>
                </c:pt>
                <c:pt idx="580">
                  <c:v>2.8096000000000001</c:v>
                </c:pt>
                <c:pt idx="581">
                  <c:v>1.8405499999999999</c:v>
                </c:pt>
                <c:pt idx="582">
                  <c:v>#N/A</c:v>
                </c:pt>
                <c:pt idx="583">
                  <c:v>2.1539899999999998</c:v>
                </c:pt>
                <c:pt idx="584">
                  <c:v>1.9556199999999999</c:v>
                </c:pt>
                <c:pt idx="585">
                  <c:v>2.6986500000000002</c:v>
                </c:pt>
                <c:pt idx="586">
                  <c:v>#N/A</c:v>
                </c:pt>
                <c:pt idx="587">
                  <c:v>3.0036499999999999</c:v>
                </c:pt>
                <c:pt idx="588">
                  <c:v>3.0013999999999998</c:v>
                </c:pt>
                <c:pt idx="589">
                  <c:v>#N/A</c:v>
                </c:pt>
                <c:pt idx="590">
                  <c:v>2.6627800000000001</c:v>
                </c:pt>
                <c:pt idx="591">
                  <c:v>1.8150999999999999</c:v>
                </c:pt>
                <c:pt idx="592">
                  <c:v>1.35714</c:v>
                </c:pt>
                <c:pt idx="593">
                  <c:v>#N/A</c:v>
                </c:pt>
                <c:pt idx="594">
                  <c:v>1.7684899999999999</c:v>
                </c:pt>
                <c:pt idx="595">
                  <c:v>2.1424400000000001</c:v>
                </c:pt>
                <c:pt idx="596">
                  <c:v>2.8736100000000002</c:v>
                </c:pt>
                <c:pt idx="597">
                  <c:v>#N/A</c:v>
                </c:pt>
                <c:pt idx="598">
                  <c:v>3.7020499999999998</c:v>
                </c:pt>
                <c:pt idx="599">
                  <c:v>3.4313199999999999</c:v>
                </c:pt>
                <c:pt idx="600">
                  <c:v>3.3016800000000002</c:v>
                </c:pt>
                <c:pt idx="601">
                  <c:v>#N/A</c:v>
                </c:pt>
                <c:pt idx="602">
                  <c:v>2.5279500000000001</c:v>
                </c:pt>
                <c:pt idx="603">
                  <c:v>2.13733</c:v>
                </c:pt>
                <c:pt idx="604">
                  <c:v>1.78908</c:v>
                </c:pt>
                <c:pt idx="605">
                  <c:v>#N/A</c:v>
                </c:pt>
                <c:pt idx="606">
                  <c:v>2.2496299999999998</c:v>
                </c:pt>
                <c:pt idx="607">
                  <c:v>2.6821700000000002</c:v>
                </c:pt>
                <c:pt idx="608">
                  <c:v>#N/A</c:v>
                </c:pt>
                <c:pt idx="609">
                  <c:v>2.73488</c:v>
                </c:pt>
                <c:pt idx="610">
                  <c:v>2.7306699999999999</c:v>
                </c:pt>
                <c:pt idx="611">
                  <c:v>2.7716400000000001</c:v>
                </c:pt>
                <c:pt idx="612">
                  <c:v>#N/A</c:v>
                </c:pt>
                <c:pt idx="613">
                  <c:v>2.6361300000000001</c:v>
                </c:pt>
                <c:pt idx="614">
                  <c:v>2.4684200000000001</c:v>
                </c:pt>
                <c:pt idx="615">
                  <c:v>2.2275999999999998</c:v>
                </c:pt>
                <c:pt idx="616">
                  <c:v>#N/A</c:v>
                </c:pt>
                <c:pt idx="617">
                  <c:v>2.2156199999999999</c:v>
                </c:pt>
                <c:pt idx="618">
                  <c:v>2.4869300000000001</c:v>
                </c:pt>
                <c:pt idx="619">
                  <c:v>2.99762</c:v>
                </c:pt>
                <c:pt idx="620">
                  <c:v>#N/A</c:v>
                </c:pt>
                <c:pt idx="621">
                  <c:v>2.95845</c:v>
                </c:pt>
                <c:pt idx="622">
                  <c:v>2.3912100000000001</c:v>
                </c:pt>
                <c:pt idx="623">
                  <c:v>#N/A</c:v>
                </c:pt>
                <c:pt idx="624">
                  <c:v>2.58839</c:v>
                </c:pt>
                <c:pt idx="625">
                  <c:v>2.18085</c:v>
                </c:pt>
                <c:pt idx="626">
                  <c:v>#N/A</c:v>
                </c:pt>
                <c:pt idx="627">
                  <c:v>2.92957</c:v>
                </c:pt>
                <c:pt idx="628">
                  <c:v>2.9849100000000002</c:v>
                </c:pt>
                <c:pt idx="629">
                  <c:v>2.4779100000000001</c:v>
                </c:pt>
                <c:pt idx="630">
                  <c:v>#N/A</c:v>
                </c:pt>
                <c:pt idx="631">
                  <c:v>2.6081799999999999</c:v>
                </c:pt>
                <c:pt idx="632">
                  <c:v>2.3727200000000002</c:v>
                </c:pt>
                <c:pt idx="633">
                  <c:v>1.84493</c:v>
                </c:pt>
                <c:pt idx="634">
                  <c:v>#N/A</c:v>
                </c:pt>
                <c:pt idx="635">
                  <c:v>1.95712</c:v>
                </c:pt>
                <c:pt idx="636">
                  <c:v>2.1219000000000001</c:v>
                </c:pt>
                <c:pt idx="637">
                  <c:v>2.7549199999999998</c:v>
                </c:pt>
                <c:pt idx="638">
                  <c:v>#N/A</c:v>
                </c:pt>
                <c:pt idx="639">
                  <c:v>3.2680199999999999</c:v>
                </c:pt>
                <c:pt idx="640">
                  <c:v>3.3274300000000001</c:v>
                </c:pt>
                <c:pt idx="641">
                  <c:v>2.3085499999999999</c:v>
                </c:pt>
                <c:pt idx="642">
                  <c:v>#N/A</c:v>
                </c:pt>
                <c:pt idx="643">
                  <c:v>1.6976100000000001</c:v>
                </c:pt>
                <c:pt idx="644">
                  <c:v>1.9791000000000001</c:v>
                </c:pt>
                <c:pt idx="645">
                  <c:v>2.2911199999999998</c:v>
                </c:pt>
                <c:pt idx="646">
                  <c:v>#N/A</c:v>
                </c:pt>
                <c:pt idx="647">
                  <c:v>2.4785699999999999</c:v>
                </c:pt>
                <c:pt idx="648">
                  <c:v>2.9996499999999999</c:v>
                </c:pt>
                <c:pt idx="649">
                  <c:v>3.0051999999999999</c:v>
                </c:pt>
                <c:pt idx="650">
                  <c:v>#N/A</c:v>
                </c:pt>
                <c:pt idx="651">
                  <c:v>3.1309</c:v>
                </c:pt>
                <c:pt idx="652">
                  <c:v>2.9172500000000001</c:v>
                </c:pt>
                <c:pt idx="653">
                  <c:v>#N/A</c:v>
                </c:pt>
                <c:pt idx="654">
                  <c:v>2.1235400000000002</c:v>
                </c:pt>
                <c:pt idx="655">
                  <c:v>1.80867</c:v>
                </c:pt>
                <c:pt idx="656">
                  <c:v>2.0231699999999999</c:v>
                </c:pt>
                <c:pt idx="657">
                  <c:v>#N/A</c:v>
                </c:pt>
                <c:pt idx="658">
                  <c:v>2.2617099999999999</c:v>
                </c:pt>
                <c:pt idx="659">
                  <c:v>3.0626699999999998</c:v>
                </c:pt>
                <c:pt idx="660">
                  <c:v>3.14676</c:v>
                </c:pt>
                <c:pt idx="661">
                  <c:v>#N/A</c:v>
                </c:pt>
                <c:pt idx="662">
                  <c:v>3.2580399999999998</c:v>
                </c:pt>
                <c:pt idx="663">
                  <c:v>2.82199</c:v>
                </c:pt>
                <c:pt idx="664">
                  <c:v>2.0298400000000001</c:v>
                </c:pt>
                <c:pt idx="665">
                  <c:v>#N/A</c:v>
                </c:pt>
                <c:pt idx="666">
                  <c:v>1.7658199999999999</c:v>
                </c:pt>
                <c:pt idx="667">
                  <c:v>1.7370399999999999</c:v>
                </c:pt>
                <c:pt idx="668">
                  <c:v>2.6103700000000001</c:v>
                </c:pt>
                <c:pt idx="669">
                  <c:v>#N/A</c:v>
                </c:pt>
                <c:pt idx="670">
                  <c:v>3.12663</c:v>
                </c:pt>
                <c:pt idx="671">
                  <c:v>2.91127</c:v>
                </c:pt>
                <c:pt idx="672">
                  <c:v>2.88551</c:v>
                </c:pt>
                <c:pt idx="673">
                  <c:v>#N/A</c:v>
                </c:pt>
                <c:pt idx="674">
                  <c:v>2.7866499999999998</c:v>
                </c:pt>
                <c:pt idx="675">
                  <c:v>2.3712499999999999</c:v>
                </c:pt>
                <c:pt idx="676">
                  <c:v>2.3421799999999999</c:v>
                </c:pt>
                <c:pt idx="677">
                  <c:v>#N/A</c:v>
                </c:pt>
                <c:pt idx="678">
                  <c:v>2.2345899999999999</c:v>
                </c:pt>
                <c:pt idx="679">
                  <c:v>2.4361000000000002</c:v>
                </c:pt>
                <c:pt idx="680">
                  <c:v>2.7763900000000001</c:v>
                </c:pt>
                <c:pt idx="681">
                  <c:v>#N/A</c:v>
                </c:pt>
                <c:pt idx="682">
                  <c:v>2.8727100000000001</c:v>
                </c:pt>
                <c:pt idx="683">
                  <c:v>3.0432700000000001</c:v>
                </c:pt>
                <c:pt idx="684">
                  <c:v>#N/A</c:v>
                </c:pt>
                <c:pt idx="685">
                  <c:v>2.8972199999999999</c:v>
                </c:pt>
                <c:pt idx="686">
                  <c:v>2.5409799999999998</c:v>
                </c:pt>
                <c:pt idx="687">
                  <c:v>2.3797299999999999</c:v>
                </c:pt>
                <c:pt idx="688">
                  <c:v>#N/A</c:v>
                </c:pt>
                <c:pt idx="689">
                  <c:v>2.3615300000000001</c:v>
                </c:pt>
                <c:pt idx="690">
                  <c:v>1.98251</c:v>
                </c:pt>
                <c:pt idx="691">
                  <c:v>2.27996</c:v>
                </c:pt>
                <c:pt idx="692">
                  <c:v>#N/A</c:v>
                </c:pt>
                <c:pt idx="693">
                  <c:v>2.6072000000000002</c:v>
                </c:pt>
                <c:pt idx="694">
                  <c:v>2.4217900000000001</c:v>
                </c:pt>
                <c:pt idx="695">
                  <c:v>2.3226300000000002</c:v>
                </c:pt>
                <c:pt idx="696">
                  <c:v>#N/A</c:v>
                </c:pt>
                <c:pt idx="697">
                  <c:v>2.3911500000000001</c:v>
                </c:pt>
                <c:pt idx="698">
                  <c:v>2.2528600000000001</c:v>
                </c:pt>
                <c:pt idx="699">
                  <c:v>2.6910799999999999</c:v>
                </c:pt>
                <c:pt idx="700">
                  <c:v>#N/A</c:v>
                </c:pt>
                <c:pt idx="701">
                  <c:v>2.9073899999999999</c:v>
                </c:pt>
                <c:pt idx="702">
                  <c:v>2.8203800000000001</c:v>
                </c:pt>
                <c:pt idx="703">
                  <c:v>2.8126199999999999</c:v>
                </c:pt>
                <c:pt idx="704">
                  <c:v>#N/A</c:v>
                </c:pt>
                <c:pt idx="705">
                  <c:v>2.39323</c:v>
                </c:pt>
                <c:pt idx="706">
                  <c:v>2.3726400000000001</c:v>
                </c:pt>
                <c:pt idx="707">
                  <c:v>2.4276499999999999</c:v>
                </c:pt>
                <c:pt idx="708">
                  <c:v>#N/A</c:v>
                </c:pt>
                <c:pt idx="709">
                  <c:v>2.1154799999999998</c:v>
                </c:pt>
                <c:pt idx="710">
                  <c:v>2.7358099999999999</c:v>
                </c:pt>
                <c:pt idx="711">
                  <c:v>#N/A</c:v>
                </c:pt>
                <c:pt idx="712">
                  <c:v>3.4338600000000001</c:v>
                </c:pt>
                <c:pt idx="713">
                  <c:v>2.9219300000000001</c:v>
                </c:pt>
                <c:pt idx="714">
                  <c:v>2.71272</c:v>
                </c:pt>
                <c:pt idx="715">
                  <c:v>#N/A</c:v>
                </c:pt>
                <c:pt idx="716">
                  <c:v>2.4461499999999998</c:v>
                </c:pt>
                <c:pt idx="717">
                  <c:v>2.26111</c:v>
                </c:pt>
                <c:pt idx="718">
                  <c:v>2.3206000000000002</c:v>
                </c:pt>
                <c:pt idx="719">
                  <c:v>#N/A</c:v>
                </c:pt>
                <c:pt idx="720">
                  <c:v>2.47411</c:v>
                </c:pt>
                <c:pt idx="721">
                  <c:v>2.8611399999999998</c:v>
                </c:pt>
                <c:pt idx="722">
                  <c:v>#N/A</c:v>
                </c:pt>
                <c:pt idx="723">
                  <c:v>2.9014199999999999</c:v>
                </c:pt>
                <c:pt idx="724">
                  <c:v>3.1117900000000001</c:v>
                </c:pt>
                <c:pt idx="725">
                  <c:v>2.6448399999999999</c:v>
                </c:pt>
                <c:pt idx="726">
                  <c:v>#N/A</c:v>
                </c:pt>
                <c:pt idx="727">
                  <c:v>2.5312700000000001</c:v>
                </c:pt>
                <c:pt idx="728">
                  <c:v>1.7317400000000001</c:v>
                </c:pt>
                <c:pt idx="729">
                  <c:v>1.8676299999999999</c:v>
                </c:pt>
                <c:pt idx="730">
                  <c:v>#N/A</c:v>
                </c:pt>
                <c:pt idx="731">
                  <c:v>2.10669</c:v>
                </c:pt>
                <c:pt idx="732">
                  <c:v>2.6629900000000002</c:v>
                </c:pt>
                <c:pt idx="733">
                  <c:v>3.0358700000000001</c:v>
                </c:pt>
                <c:pt idx="734">
                  <c:v>#N/A</c:v>
                </c:pt>
                <c:pt idx="735">
                  <c:v>3.1221999999999999</c:v>
                </c:pt>
                <c:pt idx="736">
                  <c:v>3.1804700000000001</c:v>
                </c:pt>
                <c:pt idx="737">
                  <c:v>2.4230100000000001</c:v>
                </c:pt>
                <c:pt idx="738">
                  <c:v>#N/A</c:v>
                </c:pt>
                <c:pt idx="739">
                  <c:v>2.3703699999999999</c:v>
                </c:pt>
                <c:pt idx="740">
                  <c:v>2.3616999999999999</c:v>
                </c:pt>
                <c:pt idx="741">
                  <c:v>3.0192199999999998</c:v>
                </c:pt>
                <c:pt idx="742">
                  <c:v>#N/A</c:v>
                </c:pt>
                <c:pt idx="743">
                  <c:v>2.9377</c:v>
                </c:pt>
                <c:pt idx="744">
                  <c:v>3.41282</c:v>
                </c:pt>
                <c:pt idx="745">
                  <c:v>2.85114</c:v>
                </c:pt>
                <c:pt idx="746">
                  <c:v>#N/A</c:v>
                </c:pt>
                <c:pt idx="747">
                  <c:v>2.92706</c:v>
                </c:pt>
                <c:pt idx="748">
                  <c:v>2.28728</c:v>
                </c:pt>
                <c:pt idx="749">
                  <c:v>2.1811199999999999</c:v>
                </c:pt>
                <c:pt idx="750">
                  <c:v>#N/A</c:v>
                </c:pt>
                <c:pt idx="751">
                  <c:v>2.2725</c:v>
                </c:pt>
                <c:pt idx="752">
                  <c:v>2.7039800000000001</c:v>
                </c:pt>
                <c:pt idx="753">
                  <c:v>#N/A</c:v>
                </c:pt>
                <c:pt idx="754">
                  <c:v>2.52264</c:v>
                </c:pt>
                <c:pt idx="755">
                  <c:v>2.4744700000000002</c:v>
                </c:pt>
                <c:pt idx="756">
                  <c:v>2.86768</c:v>
                </c:pt>
                <c:pt idx="757">
                  <c:v>#N/A</c:v>
                </c:pt>
                <c:pt idx="758">
                  <c:v>2.90971</c:v>
                </c:pt>
                <c:pt idx="759">
                  <c:v>2.5085700000000002</c:v>
                </c:pt>
                <c:pt idx="760">
                  <c:v>2.14242</c:v>
                </c:pt>
                <c:pt idx="761">
                  <c:v>#N/A</c:v>
                </c:pt>
                <c:pt idx="762">
                  <c:v>2.58216</c:v>
                </c:pt>
                <c:pt idx="763">
                  <c:v>2.7130899999999998</c:v>
                </c:pt>
                <c:pt idx="764">
                  <c:v>3.1147399999999998</c:v>
                </c:pt>
                <c:pt idx="765">
                  <c:v>#N/A</c:v>
                </c:pt>
                <c:pt idx="766">
                  <c:v>3.32809</c:v>
                </c:pt>
                <c:pt idx="767">
                  <c:v>#N/A</c:v>
                </c:pt>
                <c:pt idx="768">
                  <c:v>#N/A</c:v>
                </c:pt>
                <c:pt idx="769">
                  <c:v>3.1403599999999998</c:v>
                </c:pt>
                <c:pt idx="770">
                  <c:v>2.6661899999999998</c:v>
                </c:pt>
                <c:pt idx="771">
                  <c:v>#N/A</c:v>
                </c:pt>
                <c:pt idx="772">
                  <c:v>2.6357200000000001</c:v>
                </c:pt>
                <c:pt idx="773">
                  <c:v>2.9991599999999998</c:v>
                </c:pt>
                <c:pt idx="774">
                  <c:v>3.18045</c:v>
                </c:pt>
                <c:pt idx="775">
                  <c:v>#N/A</c:v>
                </c:pt>
                <c:pt idx="776">
                  <c:v>3.2070599999999998</c:v>
                </c:pt>
                <c:pt idx="777">
                  <c:v>2.4558</c:v>
                </c:pt>
                <c:pt idx="778">
                  <c:v>2.1769699999999998</c:v>
                </c:pt>
                <c:pt idx="779">
                  <c:v>#N/A</c:v>
                </c:pt>
                <c:pt idx="780">
                  <c:v>2.2282999999999999</c:v>
                </c:pt>
                <c:pt idx="781">
                  <c:v>2.77081</c:v>
                </c:pt>
                <c:pt idx="782">
                  <c:v>#N/A</c:v>
                </c:pt>
                <c:pt idx="783">
                  <c:v>2.6236600000000001</c:v>
                </c:pt>
                <c:pt idx="784">
                  <c:v>2.6409099999999999</c:v>
                </c:pt>
                <c:pt idx="785">
                  <c:v>3.2050800000000002</c:v>
                </c:pt>
                <c:pt idx="786">
                  <c:v>#N/A</c:v>
                </c:pt>
                <c:pt idx="787">
                  <c:v>2.8109000000000002</c:v>
                </c:pt>
                <c:pt idx="788">
                  <c:v>2.6493799999999998</c:v>
                </c:pt>
                <c:pt idx="789">
                  <c:v>2.3434499999999998</c:v>
                </c:pt>
                <c:pt idx="790">
                  <c:v>#N/A</c:v>
                </c:pt>
                <c:pt idx="791">
                  <c:v>2.3283800000000001</c:v>
                </c:pt>
                <c:pt idx="792">
                  <c:v>2.78816</c:v>
                </c:pt>
                <c:pt idx="793">
                  <c:v>2.8008000000000002</c:v>
                </c:pt>
                <c:pt idx="794">
                  <c:v>#N/A</c:v>
                </c:pt>
                <c:pt idx="795">
                  <c:v>3.2401599999999999</c:v>
                </c:pt>
                <c:pt idx="796">
                  <c:v>2.8913799999999998</c:v>
                </c:pt>
                <c:pt idx="797">
                  <c:v>3.0470000000000002</c:v>
                </c:pt>
                <c:pt idx="798">
                  <c:v>#N/A</c:v>
                </c:pt>
                <c:pt idx="799">
                  <c:v>2.8321999999999998</c:v>
                </c:pt>
                <c:pt idx="800">
                  <c:v>2.76139</c:v>
                </c:pt>
                <c:pt idx="801">
                  <c:v>1.9214800000000001</c:v>
                </c:pt>
                <c:pt idx="802">
                  <c:v>#N/A</c:v>
                </c:pt>
                <c:pt idx="803">
                  <c:v>2.0868099999999998</c:v>
                </c:pt>
                <c:pt idx="804">
                  <c:v>2.07585</c:v>
                </c:pt>
                <c:pt idx="805">
                  <c:v>#N/A</c:v>
                </c:pt>
                <c:pt idx="806">
                  <c:v>2.8326199999999999</c:v>
                </c:pt>
                <c:pt idx="807">
                  <c:v>3.2273299999999998</c:v>
                </c:pt>
                <c:pt idx="808">
                  <c:v>3.1234999999999999</c:v>
                </c:pt>
                <c:pt idx="809">
                  <c:v>#N/A</c:v>
                </c:pt>
                <c:pt idx="810">
                  <c:v>2.5283600000000002</c:v>
                </c:pt>
                <c:pt idx="811">
                  <c:v>2.2040099999999998</c:v>
                </c:pt>
                <c:pt idx="812">
                  <c:v>2.14676</c:v>
                </c:pt>
                <c:pt idx="813">
                  <c:v>#N/A</c:v>
                </c:pt>
                <c:pt idx="814">
                  <c:v>1.59832</c:v>
                </c:pt>
                <c:pt idx="815">
                  <c:v>2.3446500000000001</c:v>
                </c:pt>
                <c:pt idx="816">
                  <c:v>2.5379800000000001</c:v>
                </c:pt>
                <c:pt idx="817">
                  <c:v>#N/A</c:v>
                </c:pt>
                <c:pt idx="818">
                  <c:v>3.1277499999999998</c:v>
                </c:pt>
                <c:pt idx="819">
                  <c:v>2.8942899999999998</c:v>
                </c:pt>
                <c:pt idx="820">
                  <c:v>2.6709999999999998</c:v>
                </c:pt>
                <c:pt idx="821">
                  <c:v>#N/A</c:v>
                </c:pt>
                <c:pt idx="822">
                  <c:v>2.07612</c:v>
                </c:pt>
                <c:pt idx="823">
                  <c:v>2.4014899999999999</c:v>
                </c:pt>
                <c:pt idx="824">
                  <c:v>2.1602299999999999</c:v>
                </c:pt>
                <c:pt idx="825">
                  <c:v>#N/A</c:v>
                </c:pt>
                <c:pt idx="826">
                  <c:v>2.6531099999999999</c:v>
                </c:pt>
                <c:pt idx="827">
                  <c:v>2.92306</c:v>
                </c:pt>
                <c:pt idx="828">
                  <c:v>3.3071299999999999</c:v>
                </c:pt>
                <c:pt idx="829">
                  <c:v>#N/A</c:v>
                </c:pt>
                <c:pt idx="830">
                  <c:v>3.157</c:v>
                </c:pt>
                <c:pt idx="831">
                  <c:v>2.4594299999999998</c:v>
                </c:pt>
                <c:pt idx="832">
                  <c:v>2.4323899999999998</c:v>
                </c:pt>
                <c:pt idx="833">
                  <c:v>#N/A</c:v>
                </c:pt>
                <c:pt idx="834">
                  <c:v>2.2891400000000002</c:v>
                </c:pt>
                <c:pt idx="835">
                  <c:v>2.10337</c:v>
                </c:pt>
                <c:pt idx="836">
                  <c:v>#N/A</c:v>
                </c:pt>
                <c:pt idx="837">
                  <c:v>2.3152200000000001</c:v>
                </c:pt>
                <c:pt idx="838">
                  <c:v>2.9243700000000001</c:v>
                </c:pt>
                <c:pt idx="839">
                  <c:v>2.6835900000000001</c:v>
                </c:pt>
                <c:pt idx="840">
                  <c:v>#N/A</c:v>
                </c:pt>
                <c:pt idx="841">
                  <c:v>2.43634</c:v>
                </c:pt>
                <c:pt idx="842">
                  <c:v>1.8963000000000001</c:v>
                </c:pt>
                <c:pt idx="843">
                  <c:v>1.9756100000000001</c:v>
                </c:pt>
                <c:pt idx="844">
                  <c:v>#N/A</c:v>
                </c:pt>
                <c:pt idx="845">
                  <c:v>1.7471399999999999</c:v>
                </c:pt>
                <c:pt idx="846">
                  <c:v>2.4093499999999999</c:v>
                </c:pt>
                <c:pt idx="847">
                  <c:v>#N/A</c:v>
                </c:pt>
                <c:pt idx="848">
                  <c:v>3.0219200000000002</c:v>
                </c:pt>
                <c:pt idx="849">
                  <c:v>2.8808799999999999</c:v>
                </c:pt>
                <c:pt idx="850">
                  <c:v>2.8269899999999999</c:v>
                </c:pt>
                <c:pt idx="851">
                  <c:v>#N/A</c:v>
                </c:pt>
                <c:pt idx="852">
                  <c:v>2.7666400000000002</c:v>
                </c:pt>
                <c:pt idx="853">
                  <c:v>2.5298500000000002</c:v>
                </c:pt>
                <c:pt idx="854">
                  <c:v>2.69197</c:v>
                </c:pt>
                <c:pt idx="855">
                  <c:v>#N/A</c:v>
                </c:pt>
                <c:pt idx="856">
                  <c:v>2.2641800000000001</c:v>
                </c:pt>
                <c:pt idx="857">
                  <c:v>2.5893600000000001</c:v>
                </c:pt>
                <c:pt idx="858">
                  <c:v>2.8493200000000001</c:v>
                </c:pt>
                <c:pt idx="859">
                  <c:v>#N/A</c:v>
                </c:pt>
                <c:pt idx="860">
                  <c:v>2.4903499999999998</c:v>
                </c:pt>
                <c:pt idx="861">
                  <c:v>2.9035799999999998</c:v>
                </c:pt>
                <c:pt idx="862">
                  <c:v>#N/A</c:v>
                </c:pt>
                <c:pt idx="863">
                  <c:v>1.8819300000000001</c:v>
                </c:pt>
                <c:pt idx="864">
                  <c:v>1.6909000000000001</c:v>
                </c:pt>
                <c:pt idx="865">
                  <c:v>1.9804999999999999</c:v>
                </c:pt>
                <c:pt idx="866">
                  <c:v>#N/A</c:v>
                </c:pt>
                <c:pt idx="867">
                  <c:v>2.20736</c:v>
                </c:pt>
                <c:pt idx="868">
                  <c:v>2.9293200000000001</c:v>
                </c:pt>
                <c:pt idx="869">
                  <c:v>2.7675999999999998</c:v>
                </c:pt>
                <c:pt idx="870">
                  <c:v>#N/A</c:v>
                </c:pt>
                <c:pt idx="871">
                  <c:v>3.0401400000000001</c:v>
                </c:pt>
                <c:pt idx="872">
                  <c:v>2.4831799999999999</c:v>
                </c:pt>
                <c:pt idx="873">
                  <c:v>1.87636</c:v>
                </c:pt>
                <c:pt idx="874">
                  <c:v>#N/A</c:v>
                </c:pt>
                <c:pt idx="875">
                  <c:v>1.66354</c:v>
                </c:pt>
                <c:pt idx="876">
                  <c:v>2.2074400000000001</c:v>
                </c:pt>
                <c:pt idx="877">
                  <c:v>2.44021</c:v>
                </c:pt>
                <c:pt idx="878">
                  <c:v>#N/A</c:v>
                </c:pt>
                <c:pt idx="879">
                  <c:v>3.16987</c:v>
                </c:pt>
                <c:pt idx="880">
                  <c:v>2.8117700000000001</c:v>
                </c:pt>
                <c:pt idx="881">
                  <c:v>#N/A</c:v>
                </c:pt>
                <c:pt idx="882">
                  <c:v>2.3881100000000002</c:v>
                </c:pt>
                <c:pt idx="883">
                  <c:v>2.48672</c:v>
                </c:pt>
                <c:pt idx="884">
                  <c:v>1.60059</c:v>
                </c:pt>
                <c:pt idx="885">
                  <c:v>#N/A</c:v>
                </c:pt>
                <c:pt idx="886">
                  <c:v>1.83379</c:v>
                </c:pt>
                <c:pt idx="887">
                  <c:v>1.8492900000000001</c:v>
                </c:pt>
                <c:pt idx="888">
                  <c:v>2.3886799999999999</c:v>
                </c:pt>
                <c:pt idx="889">
                  <c:v>#N/A</c:v>
                </c:pt>
                <c:pt idx="890">
                  <c:v>3.2203599999999999</c:v>
                </c:pt>
                <c:pt idx="891">
                  <c:v>3.2539699999999998</c:v>
                </c:pt>
                <c:pt idx="892">
                  <c:v>2.6496599999999999</c:v>
                </c:pt>
                <c:pt idx="893">
                  <c:v>#N/A</c:v>
                </c:pt>
                <c:pt idx="894">
                  <c:v>2.5913400000000002</c:v>
                </c:pt>
                <c:pt idx="895">
                  <c:v>2.1911200000000002</c:v>
                </c:pt>
                <c:pt idx="896">
                  <c:v>2.5175800000000002</c:v>
                </c:pt>
                <c:pt idx="897">
                  <c:v>#N/A</c:v>
                </c:pt>
                <c:pt idx="898">
                  <c:v>2.3689800000000001</c:v>
                </c:pt>
                <c:pt idx="899">
                  <c:v>2.2749899999999998</c:v>
                </c:pt>
                <c:pt idx="900">
                  <c:v>2.46766</c:v>
                </c:pt>
                <c:pt idx="901">
                  <c:v>#N/A</c:v>
                </c:pt>
                <c:pt idx="902">
                  <c:v>3.0864099999999999</c:v>
                </c:pt>
                <c:pt idx="903">
                  <c:v>2.7236699999999998</c:v>
                </c:pt>
                <c:pt idx="904">
                  <c:v>2.31332</c:v>
                </c:pt>
                <c:pt idx="905">
                  <c:v>#N/A</c:v>
                </c:pt>
                <c:pt idx="906">
                  <c:v>2.1842199999999998</c:v>
                </c:pt>
                <c:pt idx="907">
                  <c:v>1.8586499999999999</c:v>
                </c:pt>
                <c:pt idx="908">
                  <c:v>1.86721</c:v>
                </c:pt>
                <c:pt idx="909">
                  <c:v>#N/A</c:v>
                </c:pt>
                <c:pt idx="910">
                  <c:v>1.87856</c:v>
                </c:pt>
                <c:pt idx="911">
                  <c:v>2.9497800000000001</c:v>
                </c:pt>
                <c:pt idx="912">
                  <c:v>#N/A</c:v>
                </c:pt>
                <c:pt idx="913">
                  <c:v>2.64412</c:v>
                </c:pt>
                <c:pt idx="914">
                  <c:v>3.1076999999999999</c:v>
                </c:pt>
                <c:pt idx="915">
                  <c:v>3.1454499999999999</c:v>
                </c:pt>
                <c:pt idx="916">
                  <c:v>#N/A</c:v>
                </c:pt>
                <c:pt idx="917">
                  <c:v>2.04264</c:v>
                </c:pt>
                <c:pt idx="918">
                  <c:v>2.0121600000000002</c:v>
                </c:pt>
                <c:pt idx="919">
                  <c:v>#N/A</c:v>
                </c:pt>
                <c:pt idx="920">
                  <c:v>2.4501300000000001</c:v>
                </c:pt>
                <c:pt idx="921">
                  <c:v>2.1915399999999998</c:v>
                </c:pt>
                <c:pt idx="922">
                  <c:v>#N/A</c:v>
                </c:pt>
                <c:pt idx="923">
                  <c:v>2.5502799999999999</c:v>
                </c:pt>
                <c:pt idx="924">
                  <c:v>#N/A</c:v>
                </c:pt>
                <c:pt idx="925">
                  <c:v>2.6906099999999999</c:v>
                </c:pt>
                <c:pt idx="926">
                  <c:v>2.23996</c:v>
                </c:pt>
                <c:pt idx="927">
                  <c:v>2.0678700000000001</c:v>
                </c:pt>
                <c:pt idx="928">
                  <c:v>#N/A</c:v>
                </c:pt>
                <c:pt idx="929">
                  <c:v>2.0767099999999998</c:v>
                </c:pt>
                <c:pt idx="930">
                  <c:v>2.66412</c:v>
                </c:pt>
                <c:pt idx="931">
                  <c:v>2.6039099999999999</c:v>
                </c:pt>
                <c:pt idx="932">
                  <c:v>#N/A</c:v>
                </c:pt>
                <c:pt idx="933">
                  <c:v>2.5242300000000002</c:v>
                </c:pt>
                <c:pt idx="934">
                  <c:v>2.4735</c:v>
                </c:pt>
                <c:pt idx="935">
                  <c:v>2.0379800000000001</c:v>
                </c:pt>
                <c:pt idx="936">
                  <c:v>#N/A</c:v>
                </c:pt>
                <c:pt idx="937">
                  <c:v>1.8186599999999999</c:v>
                </c:pt>
                <c:pt idx="938">
                  <c:v>1.68387</c:v>
                </c:pt>
                <c:pt idx="939">
                  <c:v>2.16242</c:v>
                </c:pt>
                <c:pt idx="940">
                  <c:v>#N/A</c:v>
                </c:pt>
                <c:pt idx="941">
                  <c:v>2.3523700000000001</c:v>
                </c:pt>
                <c:pt idx="942">
                  <c:v>2.6977699999999998</c:v>
                </c:pt>
                <c:pt idx="943">
                  <c:v>3.0367299999999999</c:v>
                </c:pt>
                <c:pt idx="944">
                  <c:v>#N/A</c:v>
                </c:pt>
                <c:pt idx="945">
                  <c:v>2.1944900000000001</c:v>
                </c:pt>
                <c:pt idx="946">
                  <c:v>2.2305600000000001</c:v>
                </c:pt>
                <c:pt idx="947">
                  <c:v>2.0045000000000002</c:v>
                </c:pt>
                <c:pt idx="948">
                  <c:v>#N/A</c:v>
                </c:pt>
                <c:pt idx="949">
                  <c:v>2.4100899999999998</c:v>
                </c:pt>
                <c:pt idx="950">
                  <c:v>2.27684</c:v>
                </c:pt>
                <c:pt idx="951">
                  <c:v>3.2048199999999998</c:v>
                </c:pt>
                <c:pt idx="952">
                  <c:v>#N/A</c:v>
                </c:pt>
                <c:pt idx="953">
                  <c:v>2.7336999999999998</c:v>
                </c:pt>
                <c:pt idx="954">
                  <c:v>3.2938499999999999</c:v>
                </c:pt>
                <c:pt idx="955">
                  <c:v>#N/A</c:v>
                </c:pt>
                <c:pt idx="956">
                  <c:v>2.9922200000000001</c:v>
                </c:pt>
                <c:pt idx="957">
                  <c:v>2.5414300000000001</c:v>
                </c:pt>
                <c:pt idx="958">
                  <c:v>2.02006</c:v>
                </c:pt>
                <c:pt idx="959">
                  <c:v>#N/A</c:v>
                </c:pt>
                <c:pt idx="960">
                  <c:v>1.6847300000000001</c:v>
                </c:pt>
                <c:pt idx="961">
                  <c:v>2.3582000000000001</c:v>
                </c:pt>
                <c:pt idx="962">
                  <c:v>2.78044</c:v>
                </c:pt>
                <c:pt idx="963">
                  <c:v>#N/A</c:v>
                </c:pt>
                <c:pt idx="964">
                  <c:v>3.0503100000000001</c:v>
                </c:pt>
                <c:pt idx="965">
                  <c:v>2.3165499999999999</c:v>
                </c:pt>
                <c:pt idx="966">
                  <c:v>2.7315299999999998</c:v>
                </c:pt>
                <c:pt idx="967">
                  <c:v>#N/A</c:v>
                </c:pt>
                <c:pt idx="968">
                  <c:v>2.34918</c:v>
                </c:pt>
                <c:pt idx="969">
                  <c:v>1.5893200000000001</c:v>
                </c:pt>
                <c:pt idx="970">
                  <c:v>1.68634</c:v>
                </c:pt>
                <c:pt idx="971">
                  <c:v>#N/A</c:v>
                </c:pt>
                <c:pt idx="972">
                  <c:v>2.2948200000000001</c:v>
                </c:pt>
                <c:pt idx="973">
                  <c:v>2.48726</c:v>
                </c:pt>
                <c:pt idx="974">
                  <c:v>3.00421</c:v>
                </c:pt>
                <c:pt idx="975">
                  <c:v>#N/A</c:v>
                </c:pt>
                <c:pt idx="976">
                  <c:v>3.0697899999999998</c:v>
                </c:pt>
                <c:pt idx="977">
                  <c:v>2.9192200000000001</c:v>
                </c:pt>
                <c:pt idx="978">
                  <c:v>#N/A</c:v>
                </c:pt>
                <c:pt idx="979">
                  <c:v>2.4597899999999999</c:v>
                </c:pt>
                <c:pt idx="980">
                  <c:v>2.7657699999999998</c:v>
                </c:pt>
                <c:pt idx="981">
                  <c:v>2.4715400000000001</c:v>
                </c:pt>
                <c:pt idx="982">
                  <c:v>#N/A</c:v>
                </c:pt>
                <c:pt idx="983">
                  <c:v>2.9235199999999999</c:v>
                </c:pt>
                <c:pt idx="984">
                  <c:v>2.7985799999999998</c:v>
                </c:pt>
                <c:pt idx="985">
                  <c:v>2.64696</c:v>
                </c:pt>
                <c:pt idx="986">
                  <c:v>#N/A</c:v>
                </c:pt>
                <c:pt idx="987">
                  <c:v>2.54542</c:v>
                </c:pt>
                <c:pt idx="988">
                  <c:v>2.6105499999999999</c:v>
                </c:pt>
                <c:pt idx="989">
                  <c:v>1.9923599999999999</c:v>
                </c:pt>
                <c:pt idx="990">
                  <c:v>#N/A</c:v>
                </c:pt>
                <c:pt idx="991">
                  <c:v>1.73837</c:v>
                </c:pt>
                <c:pt idx="992">
                  <c:v>2.0131899999999998</c:v>
                </c:pt>
                <c:pt idx="993">
                  <c:v>1.8702099999999999</c:v>
                </c:pt>
                <c:pt idx="994">
                  <c:v>#N/A</c:v>
                </c:pt>
                <c:pt idx="995">
                  <c:v>2.1762000000000001</c:v>
                </c:pt>
                <c:pt idx="996">
                  <c:v>2.0936499999999998</c:v>
                </c:pt>
                <c:pt idx="997">
                  <c:v>#N/A</c:v>
                </c:pt>
                <c:pt idx="998">
                  <c:v>2.8921700000000001</c:v>
                </c:pt>
                <c:pt idx="999">
                  <c:v>#N/A</c:v>
                </c:pt>
                <c:pt idx="1000">
                  <c:v>2.4701599999999999</c:v>
                </c:pt>
                <c:pt idx="1001">
                  <c:v>2.8264999999999998</c:v>
                </c:pt>
                <c:pt idx="1002">
                  <c:v>2.8475700000000002</c:v>
                </c:pt>
                <c:pt idx="1003">
                  <c:v>#N/A</c:v>
                </c:pt>
                <c:pt idx="1004">
                  <c:v>2.7412000000000001</c:v>
                </c:pt>
                <c:pt idx="1005">
                  <c:v>2.3933800000000001</c:v>
                </c:pt>
                <c:pt idx="1006">
                  <c:v>2.5594399999999999</c:v>
                </c:pt>
                <c:pt idx="1007">
                  <c:v>#N/A</c:v>
                </c:pt>
                <c:pt idx="1008">
                  <c:v>2.2618999999999998</c:v>
                </c:pt>
                <c:pt idx="1009">
                  <c:v>2.0272899999999998</c:v>
                </c:pt>
                <c:pt idx="1010">
                  <c:v>2.3134000000000001</c:v>
                </c:pt>
                <c:pt idx="1011">
                  <c:v>#N/A</c:v>
                </c:pt>
                <c:pt idx="1012">
                  <c:v>2.4895499999999999</c:v>
                </c:pt>
                <c:pt idx="1013">
                  <c:v>2.6386799999999999</c:v>
                </c:pt>
                <c:pt idx="1014">
                  <c:v>#N/A</c:v>
                </c:pt>
                <c:pt idx="1015">
                  <c:v>3.0695000000000001</c:v>
                </c:pt>
                <c:pt idx="1016">
                  <c:v>3.00284</c:v>
                </c:pt>
                <c:pt idx="1017">
                  <c:v>2.8559100000000002</c:v>
                </c:pt>
                <c:pt idx="1018">
                  <c:v>#N/A</c:v>
                </c:pt>
                <c:pt idx="1019">
                  <c:v>2.7872699999999999</c:v>
                </c:pt>
                <c:pt idx="1020">
                  <c:v>2.14005</c:v>
                </c:pt>
                <c:pt idx="1021">
                  <c:v>1.2602599999999999</c:v>
                </c:pt>
                <c:pt idx="1022">
                  <c:v>#N/A</c:v>
                </c:pt>
                <c:pt idx="1023">
                  <c:v>1.8714599999999999</c:v>
                </c:pt>
                <c:pt idx="1024">
                  <c:v>3.01519</c:v>
                </c:pt>
                <c:pt idx="1025">
                  <c:v>3.0294699999999999</c:v>
                </c:pt>
                <c:pt idx="1026">
                  <c:v>#N/A</c:v>
                </c:pt>
                <c:pt idx="1027">
                  <c:v>2.7356400000000001</c:v>
                </c:pt>
                <c:pt idx="1028">
                  <c:v>2.58527</c:v>
                </c:pt>
                <c:pt idx="1029">
                  <c:v>2.33907</c:v>
                </c:pt>
                <c:pt idx="1030">
                  <c:v>#N/A</c:v>
                </c:pt>
                <c:pt idx="1031">
                  <c:v>1.6345799999999999</c:v>
                </c:pt>
                <c:pt idx="1032">
                  <c:v>1.5472900000000001</c:v>
                </c:pt>
                <c:pt idx="1033">
                  <c:v>#N/A</c:v>
                </c:pt>
                <c:pt idx="1034">
                  <c:v>1.82361</c:v>
                </c:pt>
                <c:pt idx="1035">
                  <c:v>2.4734099999999999</c:v>
                </c:pt>
                <c:pt idx="1036">
                  <c:v>3.50712</c:v>
                </c:pt>
                <c:pt idx="1037">
                  <c:v>#N/A</c:v>
                </c:pt>
                <c:pt idx="1038">
                  <c:v>3.7279900000000001</c:v>
                </c:pt>
                <c:pt idx="1039">
                  <c:v>3.17598</c:v>
                </c:pt>
                <c:pt idx="1040">
                  <c:v>2.9476100000000001</c:v>
                </c:pt>
                <c:pt idx="1041">
                  <c:v>#N/A</c:v>
                </c:pt>
                <c:pt idx="1042">
                  <c:v>2.2142400000000002</c:v>
                </c:pt>
                <c:pt idx="1043">
                  <c:v>1.8954500000000001</c:v>
                </c:pt>
                <c:pt idx="1044">
                  <c:v>1.73935</c:v>
                </c:pt>
                <c:pt idx="1045">
                  <c:v>#N/A</c:v>
                </c:pt>
                <c:pt idx="1046">
                  <c:v>2.2692999999999999</c:v>
                </c:pt>
                <c:pt idx="1047">
                  <c:v>2.4434100000000001</c:v>
                </c:pt>
                <c:pt idx="1048">
                  <c:v>3.3016100000000002</c:v>
                </c:pt>
                <c:pt idx="1049">
                  <c:v>#N/A</c:v>
                </c:pt>
                <c:pt idx="1050">
                  <c:v>2.7989199999999999</c:v>
                </c:pt>
                <c:pt idx="1051">
                  <c:v>1.8109999999999999</c:v>
                </c:pt>
                <c:pt idx="1052">
                  <c:v>1.7217800000000001</c:v>
                </c:pt>
                <c:pt idx="1053">
                  <c:v>#N/A</c:v>
                </c:pt>
                <c:pt idx="1054">
                  <c:v>1.3878999999999999</c:v>
                </c:pt>
                <c:pt idx="1055">
                  <c:v>1.65171</c:v>
                </c:pt>
                <c:pt idx="1056">
                  <c:v>1.6499200000000001</c:v>
                </c:pt>
                <c:pt idx="1057">
                  <c:v>#N/A</c:v>
                </c:pt>
                <c:pt idx="1058">
                  <c:v>2.3174800000000002</c:v>
                </c:pt>
                <c:pt idx="1059">
                  <c:v>2.33649</c:v>
                </c:pt>
                <c:pt idx="1060">
                  <c:v>2.8223500000000001</c:v>
                </c:pt>
                <c:pt idx="1061">
                  <c:v>#N/A</c:v>
                </c:pt>
                <c:pt idx="1062">
                  <c:v>2.95058</c:v>
                </c:pt>
                <c:pt idx="1063">
                  <c:v>2.29427</c:v>
                </c:pt>
                <c:pt idx="1064">
                  <c:v>2.22946</c:v>
                </c:pt>
                <c:pt idx="1065">
                  <c:v>#N/A</c:v>
                </c:pt>
                <c:pt idx="1066">
                  <c:v>2.7292700000000001</c:v>
                </c:pt>
                <c:pt idx="1067">
                  <c:v>2.3208299999999999</c:v>
                </c:pt>
                <c:pt idx="1068">
                  <c:v>#N/A</c:v>
                </c:pt>
                <c:pt idx="1069">
                  <c:v>2.2166199999999998</c:v>
                </c:pt>
                <c:pt idx="1070">
                  <c:v>2.3828100000000001</c:v>
                </c:pt>
                <c:pt idx="1071">
                  <c:v>#N/A</c:v>
                </c:pt>
                <c:pt idx="1072">
                  <c:v>2.5234200000000002</c:v>
                </c:pt>
                <c:pt idx="1073">
                  <c:v>#N/A</c:v>
                </c:pt>
                <c:pt idx="1074">
                  <c:v>2.5868699999999998</c:v>
                </c:pt>
                <c:pt idx="1075">
                  <c:v>2.5240300000000002</c:v>
                </c:pt>
                <c:pt idx="1076">
                  <c:v>#N/A</c:v>
                </c:pt>
                <c:pt idx="1077">
                  <c:v>3.03912</c:v>
                </c:pt>
                <c:pt idx="1078">
                  <c:v>2.8574600000000001</c:v>
                </c:pt>
                <c:pt idx="1079">
                  <c:v>2.9558800000000001</c:v>
                </c:pt>
                <c:pt idx="1080">
                  <c:v>#N/A</c:v>
                </c:pt>
                <c:pt idx="1081">
                  <c:v>2.6418699999999999</c:v>
                </c:pt>
                <c:pt idx="1082">
                  <c:v>2.0943800000000001</c:v>
                </c:pt>
                <c:pt idx="1083">
                  <c:v>2.1695799999999998</c:v>
                </c:pt>
                <c:pt idx="1084">
                  <c:v>#N/A</c:v>
                </c:pt>
                <c:pt idx="1085">
                  <c:v>2.5123500000000001</c:v>
                </c:pt>
                <c:pt idx="1086">
                  <c:v>2.3199200000000002</c:v>
                </c:pt>
                <c:pt idx="1087">
                  <c:v>2.5859000000000001</c:v>
                </c:pt>
                <c:pt idx="1088">
                  <c:v>#N/A</c:v>
                </c:pt>
                <c:pt idx="1089">
                  <c:v>2.7301799999999998</c:v>
                </c:pt>
                <c:pt idx="1090">
                  <c:v>2.43825</c:v>
                </c:pt>
                <c:pt idx="1091">
                  <c:v>#N/A</c:v>
                </c:pt>
                <c:pt idx="1092">
                  <c:v>2.24519</c:v>
                </c:pt>
                <c:pt idx="1093">
                  <c:v>1.9271400000000001</c:v>
                </c:pt>
                <c:pt idx="1094">
                  <c:v>1.8124899999999999</c:v>
                </c:pt>
                <c:pt idx="1095">
                  <c:v>#N/A</c:v>
                </c:pt>
                <c:pt idx="1096">
                  <c:v>2.1452499999999999</c:v>
                </c:pt>
                <c:pt idx="1097">
                  <c:v>3.0160800000000001</c:v>
                </c:pt>
                <c:pt idx="1098">
                  <c:v>3.3454700000000002</c:v>
                </c:pt>
                <c:pt idx="1099">
                  <c:v>#N/A</c:v>
                </c:pt>
                <c:pt idx="1100">
                  <c:v>3.6947000000000001</c:v>
                </c:pt>
                <c:pt idx="1101">
                  <c:v>3.7986399999999998</c:v>
                </c:pt>
                <c:pt idx="1102">
                  <c:v>2.9769299999999999</c:v>
                </c:pt>
                <c:pt idx="1103">
                  <c:v>#N/A</c:v>
                </c:pt>
                <c:pt idx="1104">
                  <c:v>2.2679399999999998</c:v>
                </c:pt>
                <c:pt idx="1105">
                  <c:v>1.86886</c:v>
                </c:pt>
                <c:pt idx="1106">
                  <c:v>2.24417</c:v>
                </c:pt>
                <c:pt idx="1107">
                  <c:v>#N/A</c:v>
                </c:pt>
                <c:pt idx="1108">
                  <c:v>2.9476200000000001</c:v>
                </c:pt>
                <c:pt idx="1109">
                  <c:v>2.9161800000000002</c:v>
                </c:pt>
                <c:pt idx="1110">
                  <c:v>#N/A</c:v>
                </c:pt>
                <c:pt idx="1111">
                  <c:v>3.1050399999999998</c:v>
                </c:pt>
                <c:pt idx="1112">
                  <c:v>2.8128000000000002</c:v>
                </c:pt>
                <c:pt idx="1113">
                  <c:v>1.7561899999999999</c:v>
                </c:pt>
                <c:pt idx="1114">
                  <c:v>#N/A</c:v>
                </c:pt>
                <c:pt idx="1115">
                  <c:v>1.67194</c:v>
                </c:pt>
                <c:pt idx="1116">
                  <c:v>1.2926899999999999</c:v>
                </c:pt>
                <c:pt idx="1117">
                  <c:v>1.2308399999999999</c:v>
                </c:pt>
                <c:pt idx="1118">
                  <c:v>#N/A</c:v>
                </c:pt>
                <c:pt idx="1119">
                  <c:v>1.9006400000000001</c:v>
                </c:pt>
                <c:pt idx="1120">
                  <c:v>2.72824</c:v>
                </c:pt>
                <c:pt idx="1121">
                  <c:v>2.8656600000000001</c:v>
                </c:pt>
                <c:pt idx="1122">
                  <c:v>#N/A</c:v>
                </c:pt>
                <c:pt idx="1123">
                  <c:v>3.2960099999999999</c:v>
                </c:pt>
                <c:pt idx="1124">
                  <c:v>2.9845899999999999</c:v>
                </c:pt>
                <c:pt idx="1125">
                  <c:v>#N/A</c:v>
                </c:pt>
                <c:pt idx="1126">
                  <c:v>2.5193400000000001</c:v>
                </c:pt>
                <c:pt idx="1127">
                  <c:v>1.92106</c:v>
                </c:pt>
                <c:pt idx="1128">
                  <c:v>2.2348499999999998</c:v>
                </c:pt>
                <c:pt idx="1129">
                  <c:v>#N/A</c:v>
                </c:pt>
                <c:pt idx="1130">
                  <c:v>2.4300799999999998</c:v>
                </c:pt>
                <c:pt idx="1131">
                  <c:v>2.7546599999999999</c:v>
                </c:pt>
                <c:pt idx="1132">
                  <c:v>2.9349099999999999</c:v>
                </c:pt>
                <c:pt idx="1133">
                  <c:v>#N/A</c:v>
                </c:pt>
                <c:pt idx="1134">
                  <c:v>3.0309699999999999</c:v>
                </c:pt>
                <c:pt idx="1135">
                  <c:v>2.89086</c:v>
                </c:pt>
                <c:pt idx="1136">
                  <c:v>2.28654</c:v>
                </c:pt>
                <c:pt idx="1137">
                  <c:v>#N/A</c:v>
                </c:pt>
                <c:pt idx="1138">
                  <c:v>2.4763600000000001</c:v>
                </c:pt>
                <c:pt idx="1139">
                  <c:v>2.08128</c:v>
                </c:pt>
                <c:pt idx="1140">
                  <c:v>2.7924099999999998</c:v>
                </c:pt>
                <c:pt idx="1141">
                  <c:v>#N/A</c:v>
                </c:pt>
                <c:pt idx="1142">
                  <c:v>2.4319799999999998</c:v>
                </c:pt>
                <c:pt idx="1143">
                  <c:v>1.97912</c:v>
                </c:pt>
                <c:pt idx="1144">
                  <c:v>#N/A</c:v>
                </c:pt>
                <c:pt idx="1145">
                  <c:v>2.6636500000000001</c:v>
                </c:pt>
                <c:pt idx="1146">
                  <c:v>2.56915</c:v>
                </c:pt>
                <c:pt idx="1147">
                  <c:v>#N/A</c:v>
                </c:pt>
                <c:pt idx="1148">
                  <c:v>2.4204300000000001</c:v>
                </c:pt>
                <c:pt idx="1149">
                  <c:v>#N/A</c:v>
                </c:pt>
                <c:pt idx="1150">
                  <c:v>4.06142</c:v>
                </c:pt>
                <c:pt idx="1151">
                  <c:v>4.1513299999999997</c:v>
                </c:pt>
                <c:pt idx="1152">
                  <c:v>#N/A</c:v>
                </c:pt>
                <c:pt idx="1153">
                  <c:v>3.6179299999999999</c:v>
                </c:pt>
                <c:pt idx="1154">
                  <c:v>3.7303000000000002</c:v>
                </c:pt>
                <c:pt idx="1155">
                  <c:v>3.0306199999999999</c:v>
                </c:pt>
                <c:pt idx="1156">
                  <c:v>#N/A</c:v>
                </c:pt>
                <c:pt idx="1157">
                  <c:v>3.1060400000000001</c:v>
                </c:pt>
                <c:pt idx="1158">
                  <c:v>3.2930600000000001</c:v>
                </c:pt>
                <c:pt idx="1159">
                  <c:v>3.2896800000000002</c:v>
                </c:pt>
                <c:pt idx="1160">
                  <c:v>#N/A</c:v>
                </c:pt>
                <c:pt idx="1161">
                  <c:v>2.23719</c:v>
                </c:pt>
                <c:pt idx="1162">
                  <c:v>2.1255600000000001</c:v>
                </c:pt>
                <c:pt idx="1163">
                  <c:v>2.4072499999999999</c:v>
                </c:pt>
                <c:pt idx="1164">
                  <c:v>#N/A</c:v>
                </c:pt>
                <c:pt idx="1165">
                  <c:v>1.9694100000000001</c:v>
                </c:pt>
                <c:pt idx="1166">
                  <c:v>1.4620500000000001</c:v>
                </c:pt>
                <c:pt idx="1167">
                  <c:v>1.1220699999999999</c:v>
                </c:pt>
                <c:pt idx="1168">
                  <c:v>#N/A</c:v>
                </c:pt>
                <c:pt idx="1169">
                  <c:v>1.3200400000000001</c:v>
                </c:pt>
                <c:pt idx="1170">
                  <c:v>1.7203999999999999</c:v>
                </c:pt>
                <c:pt idx="1171">
                  <c:v>1.39984</c:v>
                </c:pt>
                <c:pt idx="1172">
                  <c:v>#N/A</c:v>
                </c:pt>
                <c:pt idx="1173">
                  <c:v>1.74576</c:v>
                </c:pt>
                <c:pt idx="1174">
                  <c:v>1.57077</c:v>
                </c:pt>
                <c:pt idx="1175">
                  <c:v>#N/A</c:v>
                </c:pt>
                <c:pt idx="1176">
                  <c:v>1.9167400000000001</c:v>
                </c:pt>
                <c:pt idx="1177">
                  <c:v>2.32633</c:v>
                </c:pt>
                <c:pt idx="1178">
                  <c:v>2.19828</c:v>
                </c:pt>
                <c:pt idx="1179">
                  <c:v>#N/A</c:v>
                </c:pt>
                <c:pt idx="1180">
                  <c:v>2.2945700000000002</c:v>
                </c:pt>
                <c:pt idx="1181">
                  <c:v>3.05708</c:v>
                </c:pt>
                <c:pt idx="1182">
                  <c:v>4.26234</c:v>
                </c:pt>
                <c:pt idx="1183">
                  <c:v>#N/A</c:v>
                </c:pt>
                <c:pt idx="1184">
                  <c:v>3.9666999999999999</c:v>
                </c:pt>
                <c:pt idx="1185">
                  <c:v>3.3457699999999999</c:v>
                </c:pt>
                <c:pt idx="1186">
                  <c:v>2.8982700000000001</c:v>
                </c:pt>
                <c:pt idx="1187">
                  <c:v>#N/A</c:v>
                </c:pt>
                <c:pt idx="1188">
                  <c:v>2.0975199999999998</c:v>
                </c:pt>
                <c:pt idx="1189">
                  <c:v>2.0329199999999998</c:v>
                </c:pt>
                <c:pt idx="1190">
                  <c:v>1.77898</c:v>
                </c:pt>
                <c:pt idx="1191">
                  <c:v>#N/A</c:v>
                </c:pt>
                <c:pt idx="1192">
                  <c:v>1.6752400000000001</c:v>
                </c:pt>
                <c:pt idx="1193">
                  <c:v>2.32362</c:v>
                </c:pt>
                <c:pt idx="1194">
                  <c:v>3.23515</c:v>
                </c:pt>
                <c:pt idx="1195">
                  <c:v>#N/A</c:v>
                </c:pt>
                <c:pt idx="1196">
                  <c:v>2.5955400000000002</c:v>
                </c:pt>
                <c:pt idx="1197">
                  <c:v>2.00942</c:v>
                </c:pt>
                <c:pt idx="1198">
                  <c:v>1.2379</c:v>
                </c:pt>
                <c:pt idx="1199">
                  <c:v>#N/A</c:v>
                </c:pt>
                <c:pt idx="1200">
                  <c:v>1.1484799999999999</c:v>
                </c:pt>
                <c:pt idx="1201">
                  <c:v>1.60449</c:v>
                </c:pt>
                <c:pt idx="1202">
                  <c:v>#N/A</c:v>
                </c:pt>
                <c:pt idx="1203">
                  <c:v>2.9989599999999998</c:v>
                </c:pt>
                <c:pt idx="1204">
                  <c:v>3.06202</c:v>
                </c:pt>
                <c:pt idx="1205">
                  <c:v>3.8146399999999998</c:v>
                </c:pt>
                <c:pt idx="1206">
                  <c:v>#N/A</c:v>
                </c:pt>
                <c:pt idx="1207">
                  <c:v>3.6748099999999999</c:v>
                </c:pt>
                <c:pt idx="1208">
                  <c:v>2.8119499999999999</c:v>
                </c:pt>
                <c:pt idx="1209">
                  <c:v>2.2763800000000001</c:v>
                </c:pt>
                <c:pt idx="1210">
                  <c:v>#N/A</c:v>
                </c:pt>
                <c:pt idx="1211">
                  <c:v>2.5874999999999999</c:v>
                </c:pt>
                <c:pt idx="1212">
                  <c:v>2.7670699999999999</c:v>
                </c:pt>
                <c:pt idx="1213">
                  <c:v>#N/A</c:v>
                </c:pt>
                <c:pt idx="1214">
                  <c:v>2.7583299999999999</c:v>
                </c:pt>
                <c:pt idx="1215">
                  <c:v>2.5912700000000002</c:v>
                </c:pt>
                <c:pt idx="1216">
                  <c:v>2.45166</c:v>
                </c:pt>
                <c:pt idx="1217">
                  <c:v>#N/A</c:v>
                </c:pt>
                <c:pt idx="1218">
                  <c:v>2.48584</c:v>
                </c:pt>
                <c:pt idx="1219">
                  <c:v>2.5828899999999999</c:v>
                </c:pt>
                <c:pt idx="1220">
                  <c:v>2.4820799999999998</c:v>
                </c:pt>
                <c:pt idx="1221">
                  <c:v>#N/A</c:v>
                </c:pt>
                <c:pt idx="1222">
                  <c:v>1.8319700000000001</c:v>
                </c:pt>
                <c:pt idx="1223">
                  <c:v>#N/A</c:v>
                </c:pt>
                <c:pt idx="1224">
                  <c:v>2.1100599999999998</c:v>
                </c:pt>
                <c:pt idx="1225">
                  <c:v>2.1905199999999998</c:v>
                </c:pt>
                <c:pt idx="1226">
                  <c:v>#N/A</c:v>
                </c:pt>
                <c:pt idx="1227">
                  <c:v>1.9185000000000001</c:v>
                </c:pt>
                <c:pt idx="1228">
                  <c:v>2.0808800000000001</c:v>
                </c:pt>
                <c:pt idx="1229">
                  <c:v>2.1967400000000001</c:v>
                </c:pt>
                <c:pt idx="1230">
                  <c:v>#N/A</c:v>
                </c:pt>
                <c:pt idx="1231">
                  <c:v>2.2971400000000002</c:v>
                </c:pt>
                <c:pt idx="1232">
                  <c:v>2.98027</c:v>
                </c:pt>
                <c:pt idx="1233">
                  <c:v>3.1938200000000001</c:v>
                </c:pt>
                <c:pt idx="1234">
                  <c:v>#N/A</c:v>
                </c:pt>
                <c:pt idx="1235">
                  <c:v>3.2017600000000002</c:v>
                </c:pt>
                <c:pt idx="1236">
                  <c:v>2.80335</c:v>
                </c:pt>
                <c:pt idx="1237">
                  <c:v>2.8464700000000001</c:v>
                </c:pt>
                <c:pt idx="1238">
                  <c:v>#N/A</c:v>
                </c:pt>
                <c:pt idx="1239">
                  <c:v>1.7887</c:v>
                </c:pt>
                <c:pt idx="1240">
                  <c:v>1.68659</c:v>
                </c:pt>
                <c:pt idx="1241">
                  <c:v>2.0850300000000002</c:v>
                </c:pt>
                <c:pt idx="1242">
                  <c:v>#N/A</c:v>
                </c:pt>
                <c:pt idx="1243">
                  <c:v>2.5467300000000002</c:v>
                </c:pt>
                <c:pt idx="1244">
                  <c:v>3.3693399999999998</c:v>
                </c:pt>
                <c:pt idx="1245">
                  <c:v>3.5838299999999998</c:v>
                </c:pt>
                <c:pt idx="1246">
                  <c:v>#N/A</c:v>
                </c:pt>
                <c:pt idx="1247">
                  <c:v>2.9434200000000001</c:v>
                </c:pt>
                <c:pt idx="1248">
                  <c:v>2.58758</c:v>
                </c:pt>
                <c:pt idx="1249">
                  <c:v>2.38829</c:v>
                </c:pt>
                <c:pt idx="1250">
                  <c:v>#N/A</c:v>
                </c:pt>
                <c:pt idx="1251">
                  <c:v>1.6101799999999999</c:v>
                </c:pt>
                <c:pt idx="1252">
                  <c:v>1.9572700000000001</c:v>
                </c:pt>
                <c:pt idx="1253">
                  <c:v>1.94347</c:v>
                </c:pt>
                <c:pt idx="1254">
                  <c:v>#N/A</c:v>
                </c:pt>
                <c:pt idx="1255">
                  <c:v>1.9879</c:v>
                </c:pt>
                <c:pt idx="1256">
                  <c:v>3.0612300000000001</c:v>
                </c:pt>
                <c:pt idx="1257">
                  <c:v>#N/A</c:v>
                </c:pt>
                <c:pt idx="1258">
                  <c:v>3.0580699999999998</c:v>
                </c:pt>
                <c:pt idx="1259">
                  <c:v>2.3232400000000002</c:v>
                </c:pt>
                <c:pt idx="1260">
                  <c:v>2.04217</c:v>
                </c:pt>
                <c:pt idx="1261">
                  <c:v>#N/A</c:v>
                </c:pt>
                <c:pt idx="1262">
                  <c:v>1.87853</c:v>
                </c:pt>
                <c:pt idx="1263">
                  <c:v>1.6858299999999999</c:v>
                </c:pt>
                <c:pt idx="1264">
                  <c:v>2.9396399999999998</c:v>
                </c:pt>
                <c:pt idx="1265">
                  <c:v>#N/A</c:v>
                </c:pt>
                <c:pt idx="1266">
                  <c:v>3.0178699999999998</c:v>
                </c:pt>
                <c:pt idx="1267">
                  <c:v>3.4384600000000001</c:v>
                </c:pt>
                <c:pt idx="1268">
                  <c:v>3.0865999999999998</c:v>
                </c:pt>
                <c:pt idx="1269">
                  <c:v>#N/A</c:v>
                </c:pt>
                <c:pt idx="1270">
                  <c:v>3.0837599999999998</c:v>
                </c:pt>
                <c:pt idx="1271">
                  <c:v>2.3757000000000001</c:v>
                </c:pt>
                <c:pt idx="1272">
                  <c:v>2.2398199999999999</c:v>
                </c:pt>
                <c:pt idx="1273">
                  <c:v>#N/A</c:v>
                </c:pt>
                <c:pt idx="1274">
                  <c:v>1.86351</c:v>
                </c:pt>
                <c:pt idx="1275">
                  <c:v>2.2568100000000002</c:v>
                </c:pt>
                <c:pt idx="1276">
                  <c:v>2.2944200000000001</c:v>
                </c:pt>
                <c:pt idx="1277">
                  <c:v>#N/A</c:v>
                </c:pt>
                <c:pt idx="1278">
                  <c:v>2.3708900000000002</c:v>
                </c:pt>
                <c:pt idx="1279">
                  <c:v>2.4439899999999999</c:v>
                </c:pt>
                <c:pt idx="1280">
                  <c:v>2.7187800000000002</c:v>
                </c:pt>
                <c:pt idx="1281">
                  <c:v>#N/A</c:v>
                </c:pt>
                <c:pt idx="1282">
                  <c:v>1.9021300000000001</c:v>
                </c:pt>
                <c:pt idx="1283">
                  <c:v>2.0142099999999998</c:v>
                </c:pt>
                <c:pt idx="1284">
                  <c:v>#N/A</c:v>
                </c:pt>
                <c:pt idx="1285">
                  <c:v>1.5397099999999999</c:v>
                </c:pt>
                <c:pt idx="1286">
                  <c:v>2.52522</c:v>
                </c:pt>
                <c:pt idx="1287">
                  <c:v>2.9039899999999998</c:v>
                </c:pt>
                <c:pt idx="1288">
                  <c:v>#N/A</c:v>
                </c:pt>
                <c:pt idx="1289">
                  <c:v>2.80369</c:v>
                </c:pt>
                <c:pt idx="1290">
                  <c:v>2.6996500000000001</c:v>
                </c:pt>
                <c:pt idx="1291">
                  <c:v>2.8841199999999998</c:v>
                </c:pt>
                <c:pt idx="1292">
                  <c:v>#N/A</c:v>
                </c:pt>
                <c:pt idx="1293">
                  <c:v>2.8585799999999999</c:v>
                </c:pt>
                <c:pt idx="1294">
                  <c:v>2.4975000000000001</c:v>
                </c:pt>
                <c:pt idx="1295">
                  <c:v>2.3265500000000001</c:v>
                </c:pt>
                <c:pt idx="1296">
                  <c:v>#N/A</c:v>
                </c:pt>
                <c:pt idx="1297">
                  <c:v>2.18222</c:v>
                </c:pt>
                <c:pt idx="1298">
                  <c:v>2.6020699999999999</c:v>
                </c:pt>
                <c:pt idx="1299">
                  <c:v>2.60608</c:v>
                </c:pt>
                <c:pt idx="1300">
                  <c:v>#N/A</c:v>
                </c:pt>
                <c:pt idx="1301">
                  <c:v>2.5011000000000001</c:v>
                </c:pt>
                <c:pt idx="1302">
                  <c:v>1.8065199999999999</c:v>
                </c:pt>
                <c:pt idx="1303">
                  <c:v>1.8913899999999999</c:v>
                </c:pt>
                <c:pt idx="1304">
                  <c:v>#N/A</c:v>
                </c:pt>
                <c:pt idx="1305">
                  <c:v>2.5987</c:v>
                </c:pt>
                <c:pt idx="1306">
                  <c:v>2.7039800000000001</c:v>
                </c:pt>
                <c:pt idx="1307">
                  <c:v>#N/A</c:v>
                </c:pt>
                <c:pt idx="1308">
                  <c:v>3.1415000000000002</c:v>
                </c:pt>
                <c:pt idx="1309">
                  <c:v>3.0861000000000001</c:v>
                </c:pt>
                <c:pt idx="1310">
                  <c:v>#N/A</c:v>
                </c:pt>
                <c:pt idx="1311">
                  <c:v>2.5716199999999998</c:v>
                </c:pt>
                <c:pt idx="1312">
                  <c:v>2.7332700000000001</c:v>
                </c:pt>
                <c:pt idx="1313">
                  <c:v>1.8762300000000001</c:v>
                </c:pt>
                <c:pt idx="1314">
                  <c:v>#N/A</c:v>
                </c:pt>
                <c:pt idx="1315">
                  <c:v>2.2595399999999999</c:v>
                </c:pt>
                <c:pt idx="1316">
                  <c:v>2.5863299999999998</c:v>
                </c:pt>
                <c:pt idx="1317">
                  <c:v>3.43418</c:v>
                </c:pt>
                <c:pt idx="1318">
                  <c:v>#N/A</c:v>
                </c:pt>
                <c:pt idx="1319">
                  <c:v>2.7504900000000001</c:v>
                </c:pt>
                <c:pt idx="1320">
                  <c:v>2.83528</c:v>
                </c:pt>
                <c:pt idx="1321">
                  <c:v>2.0701700000000001</c:v>
                </c:pt>
                <c:pt idx="1322">
                  <c:v>#N/A</c:v>
                </c:pt>
                <c:pt idx="1323">
                  <c:v>1.92807</c:v>
                </c:pt>
                <c:pt idx="1324">
                  <c:v>2.1012599999999999</c:v>
                </c:pt>
                <c:pt idx="1325">
                  <c:v>#N/A</c:v>
                </c:pt>
                <c:pt idx="1326">
                  <c:v>2.4273400000000001</c:v>
                </c:pt>
                <c:pt idx="1327">
                  <c:v>2.6572100000000001</c:v>
                </c:pt>
                <c:pt idx="1328">
                  <c:v>3.73698</c:v>
                </c:pt>
                <c:pt idx="1329">
                  <c:v>#N/A</c:v>
                </c:pt>
                <c:pt idx="1330">
                  <c:v>3.1448499999999999</c:v>
                </c:pt>
                <c:pt idx="1331">
                  <c:v>3.0466899999999999</c:v>
                </c:pt>
                <c:pt idx="1332">
                  <c:v>2.5863499999999999</c:v>
                </c:pt>
                <c:pt idx="1333">
                  <c:v>#N/A</c:v>
                </c:pt>
                <c:pt idx="1334">
                  <c:v>2.4483799999999998</c:v>
                </c:pt>
                <c:pt idx="1335">
                  <c:v>2.2432300000000001</c:v>
                </c:pt>
                <c:pt idx="1336">
                  <c:v>1.9037200000000001</c:v>
                </c:pt>
                <c:pt idx="1337">
                  <c:v>#N/A</c:v>
                </c:pt>
                <c:pt idx="1338">
                  <c:v>2.3065099999999998</c:v>
                </c:pt>
                <c:pt idx="1339">
                  <c:v>2.61652</c:v>
                </c:pt>
                <c:pt idx="1340">
                  <c:v>2.8802699999999999</c:v>
                </c:pt>
                <c:pt idx="1341">
                  <c:v>#N/A</c:v>
                </c:pt>
                <c:pt idx="1342">
                  <c:v>1.95689</c:v>
                </c:pt>
                <c:pt idx="1343">
                  <c:v>2.18309</c:v>
                </c:pt>
                <c:pt idx="1344">
                  <c:v>1.5057499999999999</c:v>
                </c:pt>
                <c:pt idx="1345">
                  <c:v>#N/A</c:v>
                </c:pt>
                <c:pt idx="1346">
                  <c:v>1.7914099999999999</c:v>
                </c:pt>
                <c:pt idx="1347">
                  <c:v>2.1214499999999998</c:v>
                </c:pt>
                <c:pt idx="1348">
                  <c:v>#N/A</c:v>
                </c:pt>
                <c:pt idx="1349">
                  <c:v>1.8439700000000001</c:v>
                </c:pt>
                <c:pt idx="1350">
                  <c:v>2.35005</c:v>
                </c:pt>
                <c:pt idx="1351">
                  <c:v>3.07803</c:v>
                </c:pt>
                <c:pt idx="1352">
                  <c:v>#N/A</c:v>
                </c:pt>
                <c:pt idx="1353">
                  <c:v>3.24979</c:v>
                </c:pt>
                <c:pt idx="1354">
                  <c:v>3.5520800000000001</c:v>
                </c:pt>
                <c:pt idx="1355">
                  <c:v>2.5275799999999999</c:v>
                </c:pt>
                <c:pt idx="1356">
                  <c:v>#N/A</c:v>
                </c:pt>
                <c:pt idx="1357">
                  <c:v>2.1126</c:v>
                </c:pt>
                <c:pt idx="1358">
                  <c:v>2.11354</c:v>
                </c:pt>
                <c:pt idx="1359">
                  <c:v>2.4313899999999999</c:v>
                </c:pt>
                <c:pt idx="1360">
                  <c:v>#N/A</c:v>
                </c:pt>
                <c:pt idx="1361">
                  <c:v>2.6297000000000001</c:v>
                </c:pt>
                <c:pt idx="1362">
                  <c:v>2.7393399999999999</c:v>
                </c:pt>
                <c:pt idx="1363">
                  <c:v>2.2376399999999999</c:v>
                </c:pt>
                <c:pt idx="1364">
                  <c:v>#N/A</c:v>
                </c:pt>
                <c:pt idx="1365">
                  <c:v>2.64547</c:v>
                </c:pt>
                <c:pt idx="1366">
                  <c:v>2.0003199999999999</c:v>
                </c:pt>
                <c:pt idx="1367">
                  <c:v>#N/A</c:v>
                </c:pt>
                <c:pt idx="1368">
                  <c:v>1.5121599999999999</c:v>
                </c:pt>
                <c:pt idx="1369">
                  <c:v>2.2000600000000001</c:v>
                </c:pt>
                <c:pt idx="1370">
                  <c:v>2.77826</c:v>
                </c:pt>
                <c:pt idx="1371">
                  <c:v>#N/A</c:v>
                </c:pt>
                <c:pt idx="1372">
                  <c:v>2.7918599999999998</c:v>
                </c:pt>
                <c:pt idx="1373">
                  <c:v>#N/A</c:v>
                </c:pt>
                <c:pt idx="1374">
                  <c:v>2.5558000000000001</c:v>
                </c:pt>
                <c:pt idx="1375">
                  <c:v>2.4064199999999998</c:v>
                </c:pt>
                <c:pt idx="1376">
                  <c:v>#N/A</c:v>
                </c:pt>
                <c:pt idx="1377">
                  <c:v>2.1767300000000001</c:v>
                </c:pt>
                <c:pt idx="1378">
                  <c:v>2.30471</c:v>
                </c:pt>
                <c:pt idx="1379">
                  <c:v>2.5935100000000002</c:v>
                </c:pt>
                <c:pt idx="1380">
                  <c:v>#N/A</c:v>
                </c:pt>
                <c:pt idx="1381">
                  <c:v>2.2481399999999998</c:v>
                </c:pt>
                <c:pt idx="1382">
                  <c:v>2.6136599999999999</c:v>
                </c:pt>
                <c:pt idx="1383">
                  <c:v>2.2750499999999998</c:v>
                </c:pt>
                <c:pt idx="1384">
                  <c:v>#N/A</c:v>
                </c:pt>
                <c:pt idx="1385">
                  <c:v>2.9433500000000001</c:v>
                </c:pt>
                <c:pt idx="1386">
                  <c:v>2.2876699999999999</c:v>
                </c:pt>
                <c:pt idx="1387">
                  <c:v>#N/A</c:v>
                </c:pt>
                <c:pt idx="1388">
                  <c:v>2.5762100000000001</c:v>
                </c:pt>
                <c:pt idx="1389">
                  <c:v>2.3071999999999999</c:v>
                </c:pt>
                <c:pt idx="1390">
                  <c:v>2.9838900000000002</c:v>
                </c:pt>
                <c:pt idx="1391">
                  <c:v>#N/A</c:v>
                </c:pt>
                <c:pt idx="1392">
                  <c:v>3.2402600000000001</c:v>
                </c:pt>
                <c:pt idx="1393">
                  <c:v>3.09687</c:v>
                </c:pt>
                <c:pt idx="1394">
                  <c:v>2.5507300000000002</c:v>
                </c:pt>
                <c:pt idx="1395">
                  <c:v>#N/A</c:v>
                </c:pt>
                <c:pt idx="1396">
                  <c:v>2.5200999999999998</c:v>
                </c:pt>
                <c:pt idx="1397">
                  <c:v>1.903</c:v>
                </c:pt>
                <c:pt idx="1398">
                  <c:v>1.8830100000000001</c:v>
                </c:pt>
                <c:pt idx="1399">
                  <c:v>#N/A</c:v>
                </c:pt>
                <c:pt idx="1400">
                  <c:v>2.5429200000000001</c:v>
                </c:pt>
                <c:pt idx="1401">
                  <c:v>2.8565299999999998</c:v>
                </c:pt>
                <c:pt idx="1402">
                  <c:v>3.1151499999999999</c:v>
                </c:pt>
                <c:pt idx="1403">
                  <c:v>#N/A</c:v>
                </c:pt>
                <c:pt idx="1404">
                  <c:v>2.50264</c:v>
                </c:pt>
                <c:pt idx="1405">
                  <c:v>2.0553300000000001</c:v>
                </c:pt>
                <c:pt idx="1406">
                  <c:v>1.43632</c:v>
                </c:pt>
                <c:pt idx="1407">
                  <c:v>#N/A</c:v>
                </c:pt>
                <c:pt idx="1408">
                  <c:v>1.6787300000000001</c:v>
                </c:pt>
                <c:pt idx="1409">
                  <c:v>1.3744099999999999</c:v>
                </c:pt>
                <c:pt idx="1410">
                  <c:v>#N/A</c:v>
                </c:pt>
                <c:pt idx="1411">
                  <c:v>2.4704299999999999</c:v>
                </c:pt>
                <c:pt idx="1412">
                  <c:v>2.8387600000000002</c:v>
                </c:pt>
                <c:pt idx="1413">
                  <c:v>3.6912199999999999</c:v>
                </c:pt>
                <c:pt idx="1414">
                  <c:v>#N/A</c:v>
                </c:pt>
                <c:pt idx="1415">
                  <c:v>2.8016200000000002</c:v>
                </c:pt>
                <c:pt idx="1416">
                  <c:v>2.64777</c:v>
                </c:pt>
                <c:pt idx="1417">
                  <c:v>2.44929</c:v>
                </c:pt>
                <c:pt idx="1418">
                  <c:v>#N/A</c:v>
                </c:pt>
                <c:pt idx="1419">
                  <c:v>1.31728</c:v>
                </c:pt>
                <c:pt idx="1420">
                  <c:v>2.90421</c:v>
                </c:pt>
                <c:pt idx="1421">
                  <c:v>2.45825</c:v>
                </c:pt>
                <c:pt idx="1422">
                  <c:v>#N/A</c:v>
                </c:pt>
                <c:pt idx="1423">
                  <c:v>2.9912299999999998</c:v>
                </c:pt>
                <c:pt idx="1424">
                  <c:v>2.7621799999999999</c:v>
                </c:pt>
                <c:pt idx="1425">
                  <c:v>3.5674399999999999</c:v>
                </c:pt>
                <c:pt idx="1426">
                  <c:v>#N/A</c:v>
                </c:pt>
                <c:pt idx="1427">
                  <c:v>2.7423799999999998</c:v>
                </c:pt>
                <c:pt idx="1428">
                  <c:v>1.8770199999999999</c:v>
                </c:pt>
                <c:pt idx="1429">
                  <c:v>1.31114</c:v>
                </c:pt>
                <c:pt idx="1430">
                  <c:v>#N/A</c:v>
                </c:pt>
                <c:pt idx="1431">
                  <c:v>1.3257699999999999</c:v>
                </c:pt>
                <c:pt idx="1432">
                  <c:v>2.2887499999999998</c:v>
                </c:pt>
                <c:pt idx="1433">
                  <c:v>#N/A</c:v>
                </c:pt>
                <c:pt idx="1434">
                  <c:v>2.8391799999999998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2.28443</c:v>
                </c:pt>
                <c:pt idx="1514">
                  <c:v>2.24342</c:v>
                </c:pt>
                <c:pt idx="1515">
                  <c:v>2.6426799999999999</c:v>
                </c:pt>
                <c:pt idx="1516">
                  <c:v>#N/A</c:v>
                </c:pt>
                <c:pt idx="1517">
                  <c:v>3.3437199999999998</c:v>
                </c:pt>
                <c:pt idx="1518">
                  <c:v>3.1012400000000002</c:v>
                </c:pt>
                <c:pt idx="1519">
                  <c:v>2.6222400000000001</c:v>
                </c:pt>
                <c:pt idx="1520">
                  <c:v>#N/A</c:v>
                </c:pt>
                <c:pt idx="1521">
                  <c:v>2.8071000000000002</c:v>
                </c:pt>
                <c:pt idx="1522">
                  <c:v>2.5017499999999999</c:v>
                </c:pt>
                <c:pt idx="1523">
                  <c:v>#N/A</c:v>
                </c:pt>
                <c:pt idx="1524">
                  <c:v>2.6043099999999999</c:v>
                </c:pt>
                <c:pt idx="1525">
                  <c:v>2.36172</c:v>
                </c:pt>
                <c:pt idx="1526">
                  <c:v>2.4284699999999999</c:v>
                </c:pt>
                <c:pt idx="1527">
                  <c:v>#N/A</c:v>
                </c:pt>
                <c:pt idx="1528">
                  <c:v>2.3115399999999999</c:v>
                </c:pt>
                <c:pt idx="1529">
                  <c:v>2.3152599999999999</c:v>
                </c:pt>
                <c:pt idx="1530">
                  <c:v>2.4974599999999998</c:v>
                </c:pt>
                <c:pt idx="1531">
                  <c:v>#N/A</c:v>
                </c:pt>
                <c:pt idx="1532">
                  <c:v>2.28593</c:v>
                </c:pt>
                <c:pt idx="1533">
                  <c:v>2.6031499999999999</c:v>
                </c:pt>
                <c:pt idx="1534">
                  <c:v>2.8548100000000001</c:v>
                </c:pt>
                <c:pt idx="1535">
                  <c:v>#N/A</c:v>
                </c:pt>
                <c:pt idx="1536">
                  <c:v>3.39493</c:v>
                </c:pt>
                <c:pt idx="1537">
                  <c:v>3.5290300000000001</c:v>
                </c:pt>
                <c:pt idx="1538">
                  <c:v>#N/A</c:v>
                </c:pt>
                <c:pt idx="1539">
                  <c:v>4.0299500000000004</c:v>
                </c:pt>
                <c:pt idx="1540">
                  <c:v>3.84145</c:v>
                </c:pt>
                <c:pt idx="1541">
                  <c:v>3.2337799999999999</c:v>
                </c:pt>
                <c:pt idx="1542">
                  <c:v>#N/A</c:v>
                </c:pt>
                <c:pt idx="1543">
                  <c:v>2.89967</c:v>
                </c:pt>
                <c:pt idx="1544">
                  <c:v>2.1490499999999999</c:v>
                </c:pt>
                <c:pt idx="1545">
                  <c:v>2.14629</c:v>
                </c:pt>
                <c:pt idx="1546">
                  <c:v>#N/A</c:v>
                </c:pt>
                <c:pt idx="1547">
                  <c:v>3.38991</c:v>
                </c:pt>
                <c:pt idx="1548">
                  <c:v>3.5250400000000002</c:v>
                </c:pt>
                <c:pt idx="1549">
                  <c:v>2.9037999999999999</c:v>
                </c:pt>
                <c:pt idx="1550">
                  <c:v>#N/A</c:v>
                </c:pt>
                <c:pt idx="1551">
                  <c:v>2.5688</c:v>
                </c:pt>
                <c:pt idx="1552">
                  <c:v>2.25257</c:v>
                </c:pt>
                <c:pt idx="1553">
                  <c:v>2.0797300000000001</c:v>
                </c:pt>
                <c:pt idx="1554">
                  <c:v>#N/A</c:v>
                </c:pt>
                <c:pt idx="1555">
                  <c:v>1.52406</c:v>
                </c:pt>
                <c:pt idx="1556">
                  <c:v>1.6850099999999999</c:v>
                </c:pt>
                <c:pt idx="1557">
                  <c:v>2.75631</c:v>
                </c:pt>
                <c:pt idx="1558">
                  <c:v>#N/A</c:v>
                </c:pt>
                <c:pt idx="1559">
                  <c:v>3.5389300000000001</c:v>
                </c:pt>
                <c:pt idx="1560">
                  <c:v>3.8149999999999999</c:v>
                </c:pt>
                <c:pt idx="1561">
                  <c:v>3.63388</c:v>
                </c:pt>
                <c:pt idx="1562">
                  <c:v>#N/A</c:v>
                </c:pt>
                <c:pt idx="1563">
                  <c:v>3.4760900000000001</c:v>
                </c:pt>
                <c:pt idx="1564">
                  <c:v>2.22343</c:v>
                </c:pt>
                <c:pt idx="1565">
                  <c:v>3.1015600000000001</c:v>
                </c:pt>
                <c:pt idx="1566">
                  <c:v>#N/A</c:v>
                </c:pt>
                <c:pt idx="1567">
                  <c:v>2.75678</c:v>
                </c:pt>
                <c:pt idx="1568">
                  <c:v>2.5424899999999999</c:v>
                </c:pt>
                <c:pt idx="1569">
                  <c:v>#N/A</c:v>
                </c:pt>
                <c:pt idx="1570">
                  <c:v>3.4655399999999998</c:v>
                </c:pt>
                <c:pt idx="1571">
                  <c:v>3.4385300000000001</c:v>
                </c:pt>
                <c:pt idx="1572">
                  <c:v>3.3629199999999999</c:v>
                </c:pt>
                <c:pt idx="1573">
                  <c:v>#N/A</c:v>
                </c:pt>
                <c:pt idx="1574">
                  <c:v>2.6129199999999999</c:v>
                </c:pt>
                <c:pt idx="1575">
                  <c:v>2.30246</c:v>
                </c:pt>
                <c:pt idx="1576">
                  <c:v>#N/A</c:v>
                </c:pt>
                <c:pt idx="1577">
                  <c:v>1.9936100000000001</c:v>
                </c:pt>
                <c:pt idx="1578">
                  <c:v>2.2483200000000001</c:v>
                </c:pt>
                <c:pt idx="1579">
                  <c:v>2.7539600000000002</c:v>
                </c:pt>
                <c:pt idx="1580">
                  <c:v>#N/A</c:v>
                </c:pt>
                <c:pt idx="1581">
                  <c:v>3.0665800000000001</c:v>
                </c:pt>
                <c:pt idx="1582">
                  <c:v>2.6825999999999999</c:v>
                </c:pt>
                <c:pt idx="1583">
                  <c:v>3.1850299999999998</c:v>
                </c:pt>
                <c:pt idx="1584">
                  <c:v>#N/A</c:v>
                </c:pt>
                <c:pt idx="1585">
                  <c:v>2.7976000000000001</c:v>
                </c:pt>
                <c:pt idx="1586">
                  <c:v>2.8220100000000001</c:v>
                </c:pt>
                <c:pt idx="1587">
                  <c:v>#N/A</c:v>
                </c:pt>
                <c:pt idx="1588">
                  <c:v>2.6711900000000002</c:v>
                </c:pt>
                <c:pt idx="1589">
                  <c:v>2.6554000000000002</c:v>
                </c:pt>
                <c:pt idx="1590">
                  <c:v>3.29122</c:v>
                </c:pt>
                <c:pt idx="1591">
                  <c:v>#N/A</c:v>
                </c:pt>
                <c:pt idx="1592">
                  <c:v>2.8973800000000001</c:v>
                </c:pt>
                <c:pt idx="1593">
                  <c:v>2.9415100000000001</c:v>
                </c:pt>
                <c:pt idx="1594">
                  <c:v>2.4045800000000002</c:v>
                </c:pt>
                <c:pt idx="1595">
                  <c:v>#N/A</c:v>
                </c:pt>
                <c:pt idx="1596">
                  <c:v>2.7974199999999998</c:v>
                </c:pt>
                <c:pt idx="1597">
                  <c:v>2.8597999999999999</c:v>
                </c:pt>
                <c:pt idx="1598">
                  <c:v>#N/A</c:v>
                </c:pt>
                <c:pt idx="1599">
                  <c:v>3.4572600000000002</c:v>
                </c:pt>
                <c:pt idx="1600">
                  <c:v>3.47079</c:v>
                </c:pt>
                <c:pt idx="1601">
                  <c:v>#N/A</c:v>
                </c:pt>
                <c:pt idx="1602">
                  <c:v>3.58223</c:v>
                </c:pt>
                <c:pt idx="1603">
                  <c:v>2.7711999999999999</c:v>
                </c:pt>
                <c:pt idx="1604">
                  <c:v>2.6926299999999999</c:v>
                </c:pt>
                <c:pt idx="1605">
                  <c:v>#N/A</c:v>
                </c:pt>
                <c:pt idx="1606">
                  <c:v>2.7208100000000002</c:v>
                </c:pt>
                <c:pt idx="1607">
                  <c:v>2.8470900000000001</c:v>
                </c:pt>
                <c:pt idx="1608">
                  <c:v>3.3708499999999999</c:v>
                </c:pt>
                <c:pt idx="1609">
                  <c:v>#N/A</c:v>
                </c:pt>
                <c:pt idx="1610">
                  <c:v>2.9455399999999998</c:v>
                </c:pt>
                <c:pt idx="1611">
                  <c:v>3.16364</c:v>
                </c:pt>
                <c:pt idx="1612">
                  <c:v>2.6806100000000002</c:v>
                </c:pt>
                <c:pt idx="1613">
                  <c:v>#N/A</c:v>
                </c:pt>
                <c:pt idx="1614">
                  <c:v>3.0041199999999999</c:v>
                </c:pt>
                <c:pt idx="1615">
                  <c:v>2.3321200000000002</c:v>
                </c:pt>
                <c:pt idx="1616">
                  <c:v>2.4502299999999999</c:v>
                </c:pt>
                <c:pt idx="1617">
                  <c:v>#N/A</c:v>
                </c:pt>
                <c:pt idx="1618">
                  <c:v>2.8261099999999999</c:v>
                </c:pt>
                <c:pt idx="1619">
                  <c:v>2.8290899999999999</c:v>
                </c:pt>
                <c:pt idx="1620">
                  <c:v>3.5921400000000001</c:v>
                </c:pt>
                <c:pt idx="1621">
                  <c:v>#N/A</c:v>
                </c:pt>
                <c:pt idx="1622">
                  <c:v>3.7381600000000001</c:v>
                </c:pt>
                <c:pt idx="1623">
                  <c:v>3.64995</c:v>
                </c:pt>
                <c:pt idx="1624">
                  <c:v>#N/A</c:v>
                </c:pt>
                <c:pt idx="1625">
                  <c:v>3.4946299999999999</c:v>
                </c:pt>
                <c:pt idx="1626">
                  <c:v>3.0931899999999999</c:v>
                </c:pt>
                <c:pt idx="1627">
                  <c:v>2.5074100000000001</c:v>
                </c:pt>
                <c:pt idx="1628">
                  <c:v>#N/A</c:v>
                </c:pt>
                <c:pt idx="1629">
                  <c:v>2.33717</c:v>
                </c:pt>
                <c:pt idx="1630">
                  <c:v>2.73603</c:v>
                </c:pt>
                <c:pt idx="1631">
                  <c:v>3.44774</c:v>
                </c:pt>
                <c:pt idx="1632">
                  <c:v>#N/A</c:v>
                </c:pt>
                <c:pt idx="1633">
                  <c:v>3.6772100000000001</c:v>
                </c:pt>
                <c:pt idx="1634">
                  <c:v>2.6236799999999998</c:v>
                </c:pt>
                <c:pt idx="1635">
                  <c:v>2.7110099999999999</c:v>
                </c:pt>
                <c:pt idx="1636">
                  <c:v>#N/A</c:v>
                </c:pt>
                <c:pt idx="1637">
                  <c:v>2.2331799999999999</c:v>
                </c:pt>
                <c:pt idx="1638">
                  <c:v>2.0328200000000001</c:v>
                </c:pt>
                <c:pt idx="1639">
                  <c:v>2.1836500000000001</c:v>
                </c:pt>
                <c:pt idx="1640">
                  <c:v>#N/A</c:v>
                </c:pt>
                <c:pt idx="1641">
                  <c:v>3.0804999999999998</c:v>
                </c:pt>
                <c:pt idx="1642">
                  <c:v>3.5608900000000001</c:v>
                </c:pt>
                <c:pt idx="1643">
                  <c:v>3.9661200000000001</c:v>
                </c:pt>
                <c:pt idx="1644">
                  <c:v>#N/A</c:v>
                </c:pt>
                <c:pt idx="1645">
                  <c:v>3.8211499999999998</c:v>
                </c:pt>
                <c:pt idx="1646">
                  <c:v>2.9992200000000002</c:v>
                </c:pt>
                <c:pt idx="1647">
                  <c:v>#N/A</c:v>
                </c:pt>
                <c:pt idx="1648">
                  <c:v>2.53166</c:v>
                </c:pt>
                <c:pt idx="1649">
                  <c:v>2.8054000000000001</c:v>
                </c:pt>
                <c:pt idx="1650">
                  <c:v>2.3130299999999999</c:v>
                </c:pt>
                <c:pt idx="1651">
                  <c:v>#N/A</c:v>
                </c:pt>
                <c:pt idx="1652">
                  <c:v>2.95112</c:v>
                </c:pt>
                <c:pt idx="1653">
                  <c:v>3.20729</c:v>
                </c:pt>
                <c:pt idx="1654">
                  <c:v>3.2132700000000001</c:v>
                </c:pt>
                <c:pt idx="1655">
                  <c:v>#N/A</c:v>
                </c:pt>
                <c:pt idx="1656">
                  <c:v>3.2101899999999999</c:v>
                </c:pt>
                <c:pt idx="1657">
                  <c:v>3.3402400000000001</c:v>
                </c:pt>
                <c:pt idx="1658">
                  <c:v>2.8547400000000001</c:v>
                </c:pt>
                <c:pt idx="1659">
                  <c:v>#N/A</c:v>
                </c:pt>
                <c:pt idx="1660">
                  <c:v>2.7818000000000001</c:v>
                </c:pt>
                <c:pt idx="1661">
                  <c:v>2.6477900000000001</c:v>
                </c:pt>
                <c:pt idx="1662">
                  <c:v>3.3605200000000002</c:v>
                </c:pt>
                <c:pt idx="1663">
                  <c:v>#N/A</c:v>
                </c:pt>
                <c:pt idx="1664">
                  <c:v>3.7285400000000002</c:v>
                </c:pt>
                <c:pt idx="1665">
                  <c:v>3.71021</c:v>
                </c:pt>
                <c:pt idx="1666">
                  <c:v>#N/A</c:v>
                </c:pt>
                <c:pt idx="1667">
                  <c:v>3.4318200000000001</c:v>
                </c:pt>
                <c:pt idx="1668">
                  <c:v>3.4426800000000002</c:v>
                </c:pt>
                <c:pt idx="1669">
                  <c:v>3.2662499999999999</c:v>
                </c:pt>
                <c:pt idx="1670">
                  <c:v>#N/A</c:v>
                </c:pt>
                <c:pt idx="1671">
                  <c:v>3.2887499999999998</c:v>
                </c:pt>
                <c:pt idx="1672">
                  <c:v>2.8111999999999999</c:v>
                </c:pt>
                <c:pt idx="1673">
                  <c:v>#N/A</c:v>
                </c:pt>
                <c:pt idx="1674">
                  <c:v>2.8940000000000001</c:v>
                </c:pt>
                <c:pt idx="1675">
                  <c:v>3.08188</c:v>
                </c:pt>
                <c:pt idx="1676">
                  <c:v>#N/A</c:v>
                </c:pt>
                <c:pt idx="1677">
                  <c:v>2.72776</c:v>
                </c:pt>
                <c:pt idx="1678">
                  <c:v>2.0799400000000001</c:v>
                </c:pt>
                <c:pt idx="1679">
                  <c:v>#N/A</c:v>
                </c:pt>
                <c:pt idx="1680">
                  <c:v>2.5320900000000002</c:v>
                </c:pt>
                <c:pt idx="1681">
                  <c:v>2.9083399999999999</c:v>
                </c:pt>
                <c:pt idx="1682">
                  <c:v>3.2356600000000002</c:v>
                </c:pt>
                <c:pt idx="1683">
                  <c:v>#N/A</c:v>
                </c:pt>
                <c:pt idx="1684">
                  <c:v>3.73888</c:v>
                </c:pt>
                <c:pt idx="1685">
                  <c:v>4.0013899999999998</c:v>
                </c:pt>
                <c:pt idx="1686">
                  <c:v>3.2224599999999999</c:v>
                </c:pt>
                <c:pt idx="1687">
                  <c:v>#N/A</c:v>
                </c:pt>
                <c:pt idx="1688">
                  <c:v>3.6637</c:v>
                </c:pt>
                <c:pt idx="1689">
                  <c:v>3.4290400000000001</c:v>
                </c:pt>
                <c:pt idx="1690">
                  <c:v>3.06887</c:v>
                </c:pt>
                <c:pt idx="1691">
                  <c:v>#N/A</c:v>
                </c:pt>
                <c:pt idx="1692">
                  <c:v>3.0851999999999999</c:v>
                </c:pt>
                <c:pt idx="1693">
                  <c:v>3.9271500000000001</c:v>
                </c:pt>
                <c:pt idx="1694">
                  <c:v>3.80653</c:v>
                </c:pt>
                <c:pt idx="1695">
                  <c:v>#N/A</c:v>
                </c:pt>
                <c:pt idx="1696">
                  <c:v>2.9392399999999999</c:v>
                </c:pt>
                <c:pt idx="1697">
                  <c:v>2.91893</c:v>
                </c:pt>
                <c:pt idx="1698">
                  <c:v>#N/A</c:v>
                </c:pt>
                <c:pt idx="1699">
                  <c:v>2.7143600000000001</c:v>
                </c:pt>
                <c:pt idx="1700">
                  <c:v>1.8715900000000001</c:v>
                </c:pt>
                <c:pt idx="1701">
                  <c:v>2.31297</c:v>
                </c:pt>
                <c:pt idx="1702">
                  <c:v>#N/A</c:v>
                </c:pt>
                <c:pt idx="1703">
                  <c:v>2.2501199999999999</c:v>
                </c:pt>
                <c:pt idx="1704">
                  <c:v>2.8456100000000002</c:v>
                </c:pt>
                <c:pt idx="1705">
                  <c:v>3.0646</c:v>
                </c:pt>
                <c:pt idx="1706">
                  <c:v>#N/A</c:v>
                </c:pt>
                <c:pt idx="1707">
                  <c:v>3.5388899999999999</c:v>
                </c:pt>
                <c:pt idx="1708">
                  <c:v>3.0887600000000002</c:v>
                </c:pt>
                <c:pt idx="1709">
                  <c:v>2.4038599999999999</c:v>
                </c:pt>
                <c:pt idx="1710">
                  <c:v>#N/A</c:v>
                </c:pt>
                <c:pt idx="1711">
                  <c:v>1.9662599999999999</c:v>
                </c:pt>
                <c:pt idx="1712">
                  <c:v>2.0411299999999999</c:v>
                </c:pt>
                <c:pt idx="1713">
                  <c:v>2.14032</c:v>
                </c:pt>
                <c:pt idx="1714">
                  <c:v>#N/A</c:v>
                </c:pt>
                <c:pt idx="1715">
                  <c:v>2.5679699999999999</c:v>
                </c:pt>
                <c:pt idx="1716">
                  <c:v>3.14527</c:v>
                </c:pt>
                <c:pt idx="1717">
                  <c:v>3.6619199999999998</c:v>
                </c:pt>
                <c:pt idx="1718">
                  <c:v>#N/A</c:v>
                </c:pt>
                <c:pt idx="1719">
                  <c:v>3.3663699999999999</c:v>
                </c:pt>
                <c:pt idx="1720">
                  <c:v>2.5796700000000001</c:v>
                </c:pt>
                <c:pt idx="1721">
                  <c:v>#N/A</c:v>
                </c:pt>
                <c:pt idx="1722">
                  <c:v>2.6192000000000002</c:v>
                </c:pt>
                <c:pt idx="1723">
                  <c:v>2.5648200000000001</c:v>
                </c:pt>
                <c:pt idx="1724">
                  <c:v>2.5084599999999999</c:v>
                </c:pt>
                <c:pt idx="1725">
                  <c:v>#N/A</c:v>
                </c:pt>
                <c:pt idx="1726">
                  <c:v>2.5590199999999999</c:v>
                </c:pt>
                <c:pt idx="1727">
                  <c:v>2.8396499999999998</c:v>
                </c:pt>
                <c:pt idx="1728">
                  <c:v>2.8699499999999998</c:v>
                </c:pt>
                <c:pt idx="1729">
                  <c:v>#N/A</c:v>
                </c:pt>
                <c:pt idx="1730">
                  <c:v>3.3100399999999999</c:v>
                </c:pt>
                <c:pt idx="1731">
                  <c:v>3.0384099999999998</c:v>
                </c:pt>
                <c:pt idx="1732">
                  <c:v>2.6239400000000002</c:v>
                </c:pt>
                <c:pt idx="1733">
                  <c:v>#N/A</c:v>
                </c:pt>
                <c:pt idx="1734">
                  <c:v>2.0217399999999999</c:v>
                </c:pt>
                <c:pt idx="1735">
                  <c:v>1.9500900000000001</c:v>
                </c:pt>
                <c:pt idx="1736">
                  <c:v>2.0687000000000002</c:v>
                </c:pt>
                <c:pt idx="1737">
                  <c:v>#N/A</c:v>
                </c:pt>
                <c:pt idx="1738">
                  <c:v>2.6714199999999999</c:v>
                </c:pt>
                <c:pt idx="1739">
                  <c:v>2.6369500000000001</c:v>
                </c:pt>
                <c:pt idx="1740">
                  <c:v>2.7528299999999999</c:v>
                </c:pt>
                <c:pt idx="1741">
                  <c:v>#N/A</c:v>
                </c:pt>
                <c:pt idx="1742">
                  <c:v>2.5607099999999998</c:v>
                </c:pt>
                <c:pt idx="1743">
                  <c:v>2.3804699999999999</c:v>
                </c:pt>
                <c:pt idx="1744">
                  <c:v>#N/A</c:v>
                </c:pt>
                <c:pt idx="1745">
                  <c:v>2.6885599999999998</c:v>
                </c:pt>
                <c:pt idx="1746">
                  <c:v>3.30097</c:v>
                </c:pt>
                <c:pt idx="1747">
                  <c:v>#N/A</c:v>
                </c:pt>
                <c:pt idx="1748">
                  <c:v>2.9963600000000001</c:v>
                </c:pt>
                <c:pt idx="1749">
                  <c:v>2.7112400000000001</c:v>
                </c:pt>
                <c:pt idx="1750">
                  <c:v>#N/A</c:v>
                </c:pt>
                <c:pt idx="1751">
                  <c:v>2.9401700000000002</c:v>
                </c:pt>
                <c:pt idx="1752">
                  <c:v>2.6068500000000001</c:v>
                </c:pt>
                <c:pt idx="1753">
                  <c:v>2.87859</c:v>
                </c:pt>
                <c:pt idx="1754">
                  <c:v>#N/A</c:v>
                </c:pt>
                <c:pt idx="1755">
                  <c:v>2.9156900000000001</c:v>
                </c:pt>
                <c:pt idx="1756">
                  <c:v>3.6779899999999999</c:v>
                </c:pt>
                <c:pt idx="1757">
                  <c:v>3.5220500000000001</c:v>
                </c:pt>
                <c:pt idx="1758">
                  <c:v>#N/A</c:v>
                </c:pt>
                <c:pt idx="1759">
                  <c:v>3.5972599999999999</c:v>
                </c:pt>
                <c:pt idx="1760">
                  <c:v>3.0149499999999998</c:v>
                </c:pt>
                <c:pt idx="1761">
                  <c:v>#N/A</c:v>
                </c:pt>
                <c:pt idx="1762">
                  <c:v>2.5197400000000001</c:v>
                </c:pt>
                <c:pt idx="1763">
                  <c:v>2.95459</c:v>
                </c:pt>
                <c:pt idx="1764">
                  <c:v>2.9330400000000001</c:v>
                </c:pt>
                <c:pt idx="1765">
                  <c:v>#N/A</c:v>
                </c:pt>
                <c:pt idx="1766">
                  <c:v>2.4325299999999999</c:v>
                </c:pt>
                <c:pt idx="1767">
                  <c:v>2.7025299999999999</c:v>
                </c:pt>
                <c:pt idx="1768">
                  <c:v>3.32362</c:v>
                </c:pt>
                <c:pt idx="1769">
                  <c:v>#N/A</c:v>
                </c:pt>
                <c:pt idx="1770">
                  <c:v>3.3696999999999999</c:v>
                </c:pt>
                <c:pt idx="1771">
                  <c:v>3.2404500000000001</c:v>
                </c:pt>
                <c:pt idx="1772">
                  <c:v>2.4370500000000002</c:v>
                </c:pt>
                <c:pt idx="1773">
                  <c:v>#N/A</c:v>
                </c:pt>
                <c:pt idx="1774">
                  <c:v>2.3752</c:v>
                </c:pt>
                <c:pt idx="1775">
                  <c:v>2.12479</c:v>
                </c:pt>
                <c:pt idx="1776">
                  <c:v>2.7501500000000001</c:v>
                </c:pt>
                <c:pt idx="1777">
                  <c:v>#N/A</c:v>
                </c:pt>
                <c:pt idx="1778">
                  <c:v>2.8398699999999999</c:v>
                </c:pt>
                <c:pt idx="1779">
                  <c:v>3.26294</c:v>
                </c:pt>
                <c:pt idx="1780">
                  <c:v>#N/A</c:v>
                </c:pt>
                <c:pt idx="1781">
                  <c:v>2.9295499999999999</c:v>
                </c:pt>
                <c:pt idx="1782">
                  <c:v>3.08561</c:v>
                </c:pt>
                <c:pt idx="1783">
                  <c:v>2.9802499999999998</c:v>
                </c:pt>
                <c:pt idx="1784">
                  <c:v>#N/A</c:v>
                </c:pt>
                <c:pt idx="1785">
                  <c:v>2.5691199999999998</c:v>
                </c:pt>
                <c:pt idx="1786">
                  <c:v>2.3886599999999998</c:v>
                </c:pt>
                <c:pt idx="1787">
                  <c:v>2.7226499999999998</c:v>
                </c:pt>
                <c:pt idx="1788">
                  <c:v>#N/A</c:v>
                </c:pt>
                <c:pt idx="1789">
                  <c:v>3.3715600000000001</c:v>
                </c:pt>
                <c:pt idx="1790">
                  <c:v>3.65056</c:v>
                </c:pt>
                <c:pt idx="1791">
                  <c:v>3.6715100000000001</c:v>
                </c:pt>
                <c:pt idx="1792">
                  <c:v>#N/A</c:v>
                </c:pt>
                <c:pt idx="1793">
                  <c:v>3.9208699999999999</c:v>
                </c:pt>
                <c:pt idx="1794">
                  <c:v>3.4768400000000002</c:v>
                </c:pt>
                <c:pt idx="1795">
                  <c:v>3.0250499999999998</c:v>
                </c:pt>
                <c:pt idx="1796">
                  <c:v>#N/A</c:v>
                </c:pt>
                <c:pt idx="1797">
                  <c:v>3.34388</c:v>
                </c:pt>
                <c:pt idx="1798">
                  <c:v>2.7793000000000001</c:v>
                </c:pt>
                <c:pt idx="1799">
                  <c:v>3.1101700000000001</c:v>
                </c:pt>
                <c:pt idx="1800">
                  <c:v>#N/A</c:v>
                </c:pt>
                <c:pt idx="1801">
                  <c:v>3.4441099999999998</c:v>
                </c:pt>
                <c:pt idx="1802">
                  <c:v>3.45566</c:v>
                </c:pt>
                <c:pt idx="1803">
                  <c:v>#N/A</c:v>
                </c:pt>
                <c:pt idx="1804">
                  <c:v>2.49126</c:v>
                </c:pt>
                <c:pt idx="1805">
                  <c:v>2.7528999999999999</c:v>
                </c:pt>
                <c:pt idx="1806">
                  <c:v>2.5982500000000002</c:v>
                </c:pt>
                <c:pt idx="1807">
                  <c:v>#N/A</c:v>
                </c:pt>
                <c:pt idx="1808">
                  <c:v>3.12906</c:v>
                </c:pt>
                <c:pt idx="1809">
                  <c:v>3.4923500000000001</c:v>
                </c:pt>
                <c:pt idx="1810">
                  <c:v>3.5709900000000001</c:v>
                </c:pt>
                <c:pt idx="1811">
                  <c:v>#N/A</c:v>
                </c:pt>
                <c:pt idx="1812">
                  <c:v>3.1934</c:v>
                </c:pt>
                <c:pt idx="1813">
                  <c:v>2.9746899999999998</c:v>
                </c:pt>
                <c:pt idx="1814">
                  <c:v>3.07958</c:v>
                </c:pt>
                <c:pt idx="1815">
                  <c:v>#N/A</c:v>
                </c:pt>
                <c:pt idx="1816">
                  <c:v>2.7697400000000001</c:v>
                </c:pt>
                <c:pt idx="1817">
                  <c:v>3.16296</c:v>
                </c:pt>
                <c:pt idx="1818">
                  <c:v>#N/A</c:v>
                </c:pt>
                <c:pt idx="1819">
                  <c:v>3.1524000000000001</c:v>
                </c:pt>
                <c:pt idx="1820">
                  <c:v>3.7493099999999999</c:v>
                </c:pt>
                <c:pt idx="1821">
                  <c:v>3.1884999999999999</c:v>
                </c:pt>
                <c:pt idx="1822">
                  <c:v>#N/A</c:v>
                </c:pt>
                <c:pt idx="1823">
                  <c:v>2.5214799999999999</c:v>
                </c:pt>
                <c:pt idx="1824">
                  <c:v>#N/A</c:v>
                </c:pt>
                <c:pt idx="1825">
                  <c:v>1.93354</c:v>
                </c:pt>
                <c:pt idx="1826">
                  <c:v>2.1770299999999998</c:v>
                </c:pt>
                <c:pt idx="1827">
                  <c:v>2.5153500000000002</c:v>
                </c:pt>
                <c:pt idx="1828">
                  <c:v>#N/A</c:v>
                </c:pt>
                <c:pt idx="1829">
                  <c:v>2.95689</c:v>
                </c:pt>
                <c:pt idx="1830">
                  <c:v>2.9319899999999999</c:v>
                </c:pt>
                <c:pt idx="1831">
                  <c:v>2.9201299999999999</c:v>
                </c:pt>
                <c:pt idx="1832">
                  <c:v>#N/A</c:v>
                </c:pt>
                <c:pt idx="1833">
                  <c:v>2.7743500000000001</c:v>
                </c:pt>
                <c:pt idx="1834">
                  <c:v>2.3580999999999999</c:v>
                </c:pt>
                <c:pt idx="1835">
                  <c:v>2.1763599999999999</c:v>
                </c:pt>
                <c:pt idx="1836">
                  <c:v>#N/A</c:v>
                </c:pt>
                <c:pt idx="1837">
                  <c:v>2.1828400000000001</c:v>
                </c:pt>
                <c:pt idx="1838">
                  <c:v>2.2471999999999999</c:v>
                </c:pt>
                <c:pt idx="1839">
                  <c:v>#N/A</c:v>
                </c:pt>
                <c:pt idx="1840">
                  <c:v>2.7579699999999998</c:v>
                </c:pt>
                <c:pt idx="1841">
                  <c:v>3.2386900000000001</c:v>
                </c:pt>
                <c:pt idx="1842">
                  <c:v>3.1448999999999998</c:v>
                </c:pt>
                <c:pt idx="1843">
                  <c:v>#N/A</c:v>
                </c:pt>
                <c:pt idx="1844">
                  <c:v>3.2899600000000002</c:v>
                </c:pt>
                <c:pt idx="1845">
                  <c:v>3.1580400000000002</c:v>
                </c:pt>
                <c:pt idx="1846">
                  <c:v>2.1148699999999998</c:v>
                </c:pt>
                <c:pt idx="1847">
                  <c:v>#N/A</c:v>
                </c:pt>
                <c:pt idx="1848">
                  <c:v>2.20716</c:v>
                </c:pt>
                <c:pt idx="1849">
                  <c:v>1.79942</c:v>
                </c:pt>
                <c:pt idx="1850">
                  <c:v>2.5508299999999999</c:v>
                </c:pt>
                <c:pt idx="1851">
                  <c:v>#N/A</c:v>
                </c:pt>
                <c:pt idx="1852">
                  <c:v>3.4414600000000002</c:v>
                </c:pt>
                <c:pt idx="1853">
                  <c:v>3.47126</c:v>
                </c:pt>
                <c:pt idx="1854">
                  <c:v>3.4305099999999999</c:v>
                </c:pt>
                <c:pt idx="1855">
                  <c:v>#N/A</c:v>
                </c:pt>
                <c:pt idx="1856">
                  <c:v>2.7653500000000002</c:v>
                </c:pt>
                <c:pt idx="1857">
                  <c:v>2.2324099999999998</c:v>
                </c:pt>
                <c:pt idx="1858">
                  <c:v>#N/A</c:v>
                </c:pt>
                <c:pt idx="1859">
                  <c:v>2.0061100000000001</c:v>
                </c:pt>
                <c:pt idx="1860">
                  <c:v>2.45363</c:v>
                </c:pt>
                <c:pt idx="1861">
                  <c:v>2.7011599999999998</c:v>
                </c:pt>
                <c:pt idx="1862">
                  <c:v>#N/A</c:v>
                </c:pt>
                <c:pt idx="1863">
                  <c:v>2.9811700000000001</c:v>
                </c:pt>
                <c:pt idx="1864">
                  <c:v>2.6834600000000002</c:v>
                </c:pt>
                <c:pt idx="1865">
                  <c:v>2.75353</c:v>
                </c:pt>
                <c:pt idx="1866">
                  <c:v>#N/A</c:v>
                </c:pt>
                <c:pt idx="1867">
                  <c:v>2.4757199999999999</c:v>
                </c:pt>
                <c:pt idx="1868">
                  <c:v>2.7303099999999998</c:v>
                </c:pt>
                <c:pt idx="1869">
                  <c:v>2.97235</c:v>
                </c:pt>
                <c:pt idx="1870">
                  <c:v>#N/A</c:v>
                </c:pt>
                <c:pt idx="1871">
                  <c:v>2.9750299999999998</c:v>
                </c:pt>
                <c:pt idx="1872">
                  <c:v>3.6027200000000001</c:v>
                </c:pt>
                <c:pt idx="1873">
                  <c:v>2.9615</c:v>
                </c:pt>
                <c:pt idx="1874">
                  <c:v>#N/A</c:v>
                </c:pt>
                <c:pt idx="1875">
                  <c:v>3.13523</c:v>
                </c:pt>
                <c:pt idx="1876">
                  <c:v>3.15022</c:v>
                </c:pt>
                <c:pt idx="1877">
                  <c:v>#N/A</c:v>
                </c:pt>
                <c:pt idx="1878">
                  <c:v>2.9292699999999998</c:v>
                </c:pt>
                <c:pt idx="1879">
                  <c:v>2.3397100000000002</c:v>
                </c:pt>
                <c:pt idx="1880">
                  <c:v>2.79908</c:v>
                </c:pt>
                <c:pt idx="1881">
                  <c:v>#N/A</c:v>
                </c:pt>
                <c:pt idx="1882">
                  <c:v>2.78335</c:v>
                </c:pt>
                <c:pt idx="1883">
                  <c:v>3.17143</c:v>
                </c:pt>
                <c:pt idx="1884">
                  <c:v>2.8922400000000001</c:v>
                </c:pt>
                <c:pt idx="1885">
                  <c:v>#N/A</c:v>
                </c:pt>
                <c:pt idx="1886">
                  <c:v>2.1671499999999999</c:v>
                </c:pt>
                <c:pt idx="1887">
                  <c:v>1.8727100000000001</c:v>
                </c:pt>
                <c:pt idx="1888">
                  <c:v>1.6432199999999999</c:v>
                </c:pt>
                <c:pt idx="1889">
                  <c:v>#N/A</c:v>
                </c:pt>
                <c:pt idx="1890">
                  <c:v>1.86504</c:v>
                </c:pt>
                <c:pt idx="1891">
                  <c:v>1.8546199999999999</c:v>
                </c:pt>
                <c:pt idx="1892">
                  <c:v>2.3426</c:v>
                </c:pt>
                <c:pt idx="1893">
                  <c:v>#N/A</c:v>
                </c:pt>
                <c:pt idx="1894">
                  <c:v>3.0216099999999999</c:v>
                </c:pt>
                <c:pt idx="1895">
                  <c:v>2.7107600000000001</c:v>
                </c:pt>
                <c:pt idx="1896">
                  <c:v>2.5945399999999998</c:v>
                </c:pt>
                <c:pt idx="1897">
                  <c:v>#N/A</c:v>
                </c:pt>
                <c:pt idx="1898">
                  <c:v>#N/A</c:v>
                </c:pt>
                <c:pt idx="1899">
                  <c:v>2.38158</c:v>
                </c:pt>
                <c:pt idx="1900">
                  <c:v>2.10826</c:v>
                </c:pt>
                <c:pt idx="1901">
                  <c:v>2.5768200000000001</c:v>
                </c:pt>
                <c:pt idx="1902">
                  <c:v>#N/A</c:v>
                </c:pt>
                <c:pt idx="1903">
                  <c:v>2.7174499999999999</c:v>
                </c:pt>
                <c:pt idx="1904">
                  <c:v>2.9405899999999998</c:v>
                </c:pt>
                <c:pt idx="1905">
                  <c:v>2.8181699999999998</c:v>
                </c:pt>
                <c:pt idx="1906">
                  <c:v>#N/A</c:v>
                </c:pt>
                <c:pt idx="1907">
                  <c:v>2.3328899999999999</c:v>
                </c:pt>
                <c:pt idx="1908">
                  <c:v>1.66669</c:v>
                </c:pt>
                <c:pt idx="1909">
                  <c:v>1.9769300000000001</c:v>
                </c:pt>
                <c:pt idx="1910">
                  <c:v>#N/A</c:v>
                </c:pt>
                <c:pt idx="1911">
                  <c:v>2.01722</c:v>
                </c:pt>
                <c:pt idx="1912">
                  <c:v>2.4386800000000002</c:v>
                </c:pt>
                <c:pt idx="1913">
                  <c:v>#N/A</c:v>
                </c:pt>
                <c:pt idx="1914">
                  <c:v>2.7506699999999999</c:v>
                </c:pt>
                <c:pt idx="1915">
                  <c:v>3.08019</c:v>
                </c:pt>
                <c:pt idx="1916">
                  <c:v>2.5735299999999999</c:v>
                </c:pt>
                <c:pt idx="1917">
                  <c:v>#N/A</c:v>
                </c:pt>
                <c:pt idx="1918">
                  <c:v>2.3137400000000001</c:v>
                </c:pt>
                <c:pt idx="1919">
                  <c:v>2.49518</c:v>
                </c:pt>
                <c:pt idx="1920">
                  <c:v>2.0051899999999998</c:v>
                </c:pt>
                <c:pt idx="1921">
                  <c:v>#N/A</c:v>
                </c:pt>
                <c:pt idx="1922">
                  <c:v>1.8693900000000001</c:v>
                </c:pt>
                <c:pt idx="1923">
                  <c:v>2.4329399999999999</c:v>
                </c:pt>
                <c:pt idx="1924">
                  <c:v>2.64249</c:v>
                </c:pt>
                <c:pt idx="1925">
                  <c:v>#N/A</c:v>
                </c:pt>
                <c:pt idx="1926">
                  <c:v>2.7624300000000002</c:v>
                </c:pt>
                <c:pt idx="1927">
                  <c:v>2.5643899999999999</c:v>
                </c:pt>
                <c:pt idx="1928">
                  <c:v>2.5956999999999999</c:v>
                </c:pt>
                <c:pt idx="1929">
                  <c:v>#N/A</c:v>
                </c:pt>
                <c:pt idx="1930">
                  <c:v>1.8646100000000001</c:v>
                </c:pt>
                <c:pt idx="1931">
                  <c:v>2.2490000000000001</c:v>
                </c:pt>
                <c:pt idx="1932">
                  <c:v>#N/A</c:v>
                </c:pt>
                <c:pt idx="1933">
                  <c:v>2.0288499999999998</c:v>
                </c:pt>
                <c:pt idx="1934">
                  <c:v>2.4976600000000002</c:v>
                </c:pt>
                <c:pt idx="1935">
                  <c:v>3.5666199999999999</c:v>
                </c:pt>
                <c:pt idx="1936">
                  <c:v>#N/A</c:v>
                </c:pt>
                <c:pt idx="1937">
                  <c:v>3.34863</c:v>
                </c:pt>
                <c:pt idx="1938">
                  <c:v>3.2923900000000001</c:v>
                </c:pt>
                <c:pt idx="1939">
                  <c:v>2.5514199999999998</c:v>
                </c:pt>
                <c:pt idx="1940">
                  <c:v>#N/A</c:v>
                </c:pt>
                <c:pt idx="1941">
                  <c:v>2.4020000000000001</c:v>
                </c:pt>
                <c:pt idx="1942">
                  <c:v>2.2419600000000002</c:v>
                </c:pt>
                <c:pt idx="1943">
                  <c:v>2.2322299999999999</c:v>
                </c:pt>
                <c:pt idx="1944">
                  <c:v>#N/A</c:v>
                </c:pt>
                <c:pt idx="1945">
                  <c:v>2.4179400000000002</c:v>
                </c:pt>
                <c:pt idx="1946">
                  <c:v>2.7694299999999998</c:v>
                </c:pt>
                <c:pt idx="1947">
                  <c:v>2.5068199999999998</c:v>
                </c:pt>
                <c:pt idx="1948">
                  <c:v>#N/A</c:v>
                </c:pt>
                <c:pt idx="1949">
                  <c:v>2.6737099999999998</c:v>
                </c:pt>
                <c:pt idx="1950">
                  <c:v>2.06643</c:v>
                </c:pt>
                <c:pt idx="1951">
                  <c:v>1.82829</c:v>
                </c:pt>
                <c:pt idx="1952">
                  <c:v>#N/A</c:v>
                </c:pt>
                <c:pt idx="1953">
                  <c:v>1.9952099999999999</c:v>
                </c:pt>
                <c:pt idx="1954">
                  <c:v>2.4034200000000001</c:v>
                </c:pt>
                <c:pt idx="1955">
                  <c:v>2.17733</c:v>
                </c:pt>
                <c:pt idx="1956">
                  <c:v>#N/A</c:v>
                </c:pt>
                <c:pt idx="1957">
                  <c:v>2.50231</c:v>
                </c:pt>
                <c:pt idx="1958">
                  <c:v>2.82308</c:v>
                </c:pt>
                <c:pt idx="1959">
                  <c:v>2.5718899999999998</c:v>
                </c:pt>
                <c:pt idx="1960">
                  <c:v>#N/A</c:v>
                </c:pt>
                <c:pt idx="1961">
                  <c:v>2.5130599999999998</c:v>
                </c:pt>
                <c:pt idx="1962">
                  <c:v>1.88459</c:v>
                </c:pt>
                <c:pt idx="1963">
                  <c:v>2.3342200000000002</c:v>
                </c:pt>
                <c:pt idx="1964">
                  <c:v>#N/A</c:v>
                </c:pt>
                <c:pt idx="1965">
                  <c:v>3.2305000000000001</c:v>
                </c:pt>
                <c:pt idx="1966">
                  <c:v>3.13876</c:v>
                </c:pt>
                <c:pt idx="1967">
                  <c:v>#N/A</c:v>
                </c:pt>
                <c:pt idx="1968">
                  <c:v>2.7134299999999998</c:v>
                </c:pt>
                <c:pt idx="1969">
                  <c:v>2.1114299999999999</c:v>
                </c:pt>
                <c:pt idx="1970">
                  <c:v>1.8023499999999999</c:v>
                </c:pt>
                <c:pt idx="1971">
                  <c:v>#N/A</c:v>
                </c:pt>
                <c:pt idx="1972">
                  <c:v>1.9813099999999999</c:v>
                </c:pt>
                <c:pt idx="1973">
                  <c:v>#N/A</c:v>
                </c:pt>
                <c:pt idx="1974">
                  <c:v>2.3345699999999998</c:v>
                </c:pt>
                <c:pt idx="1975">
                  <c:v>2.8586299999999998</c:v>
                </c:pt>
                <c:pt idx="1976">
                  <c:v>#N/A</c:v>
                </c:pt>
                <c:pt idx="1977">
                  <c:v>3.2654999999999998</c:v>
                </c:pt>
                <c:pt idx="1978">
                  <c:v>2.7370399999999999</c:v>
                </c:pt>
                <c:pt idx="1979">
                  <c:v>2.5190999999999999</c:v>
                </c:pt>
                <c:pt idx="1980">
                  <c:v>#N/A</c:v>
                </c:pt>
                <c:pt idx="1981">
                  <c:v>2.0875300000000001</c:v>
                </c:pt>
                <c:pt idx="1982">
                  <c:v>1.8540099999999999</c:v>
                </c:pt>
                <c:pt idx="1983">
                  <c:v>2.4097900000000001</c:v>
                </c:pt>
                <c:pt idx="1984">
                  <c:v>#N/A</c:v>
                </c:pt>
                <c:pt idx="1985">
                  <c:v>2.3160599999999998</c:v>
                </c:pt>
                <c:pt idx="1986">
                  <c:v>2.68811</c:v>
                </c:pt>
                <c:pt idx="1987">
                  <c:v>3.0446200000000001</c:v>
                </c:pt>
                <c:pt idx="1988">
                  <c:v>#N/A</c:v>
                </c:pt>
                <c:pt idx="1989">
                  <c:v>3.2726899999999999</c:v>
                </c:pt>
                <c:pt idx="1990">
                  <c:v>2.43344</c:v>
                </c:pt>
                <c:pt idx="1991">
                  <c:v>#N/A</c:v>
                </c:pt>
                <c:pt idx="1992">
                  <c:v>2.4638300000000002</c:v>
                </c:pt>
                <c:pt idx="1993">
                  <c:v>2.3010600000000001</c:v>
                </c:pt>
                <c:pt idx="1994">
                  <c:v>1.87015</c:v>
                </c:pt>
                <c:pt idx="1995">
                  <c:v>#N/A</c:v>
                </c:pt>
                <c:pt idx="1996">
                  <c:v>2.6289600000000002</c:v>
                </c:pt>
                <c:pt idx="1997">
                  <c:v>2.79541</c:v>
                </c:pt>
                <c:pt idx="1998">
                  <c:v>3.1822900000000001</c:v>
                </c:pt>
                <c:pt idx="1999">
                  <c:v>#N/A</c:v>
                </c:pt>
                <c:pt idx="2000">
                  <c:v>3.23177</c:v>
                </c:pt>
                <c:pt idx="2001">
                  <c:v>3.3597800000000002</c:v>
                </c:pt>
                <c:pt idx="2002">
                  <c:v>2.81386</c:v>
                </c:pt>
                <c:pt idx="2003">
                  <c:v>#N/A</c:v>
                </c:pt>
                <c:pt idx="2004">
                  <c:v>2.5044400000000002</c:v>
                </c:pt>
                <c:pt idx="2005">
                  <c:v>2.4024299999999998</c:v>
                </c:pt>
                <c:pt idx="2006">
                  <c:v>2.4198200000000001</c:v>
                </c:pt>
                <c:pt idx="2007">
                  <c:v>#N/A</c:v>
                </c:pt>
                <c:pt idx="2008">
                  <c:v>2.4785400000000002</c:v>
                </c:pt>
                <c:pt idx="2009">
                  <c:v>2.69015</c:v>
                </c:pt>
                <c:pt idx="2010">
                  <c:v>2.9185699999999999</c:v>
                </c:pt>
                <c:pt idx="2011">
                  <c:v>#N/A</c:v>
                </c:pt>
                <c:pt idx="2012">
                  <c:v>2.9088699999999998</c:v>
                </c:pt>
                <c:pt idx="2013">
                  <c:v>2.3962400000000001</c:v>
                </c:pt>
                <c:pt idx="2014">
                  <c:v>1.85538</c:v>
                </c:pt>
                <c:pt idx="2015">
                  <c:v>#N/A</c:v>
                </c:pt>
                <c:pt idx="2016">
                  <c:v>1.8623099999999999</c:v>
                </c:pt>
                <c:pt idx="2017">
                  <c:v>2.19936</c:v>
                </c:pt>
                <c:pt idx="2018">
                  <c:v>2.8005200000000001</c:v>
                </c:pt>
                <c:pt idx="2019">
                  <c:v>#N/A</c:v>
                </c:pt>
                <c:pt idx="2020">
                  <c:v>3.1997900000000001</c:v>
                </c:pt>
                <c:pt idx="2021">
                  <c:v>2.9034499999999999</c:v>
                </c:pt>
                <c:pt idx="2022">
                  <c:v>#N/A</c:v>
                </c:pt>
                <c:pt idx="2023">
                  <c:v>2.80538</c:v>
                </c:pt>
                <c:pt idx="2024">
                  <c:v>2.6225299999999998</c:v>
                </c:pt>
                <c:pt idx="2025">
                  <c:v>2.2728199999999998</c:v>
                </c:pt>
                <c:pt idx="2026">
                  <c:v>#N/A</c:v>
                </c:pt>
                <c:pt idx="2027">
                  <c:v>2.2986300000000002</c:v>
                </c:pt>
                <c:pt idx="2028">
                  <c:v>2.6118100000000002</c:v>
                </c:pt>
                <c:pt idx="2029">
                  <c:v>2.9607100000000002</c:v>
                </c:pt>
                <c:pt idx="2030">
                  <c:v>#N/A</c:v>
                </c:pt>
                <c:pt idx="2031">
                  <c:v>2.1212599999999999</c:v>
                </c:pt>
                <c:pt idx="2032">
                  <c:v>2.3784299999999998</c:v>
                </c:pt>
                <c:pt idx="2033">
                  <c:v>2.6052599999999999</c:v>
                </c:pt>
                <c:pt idx="2034">
                  <c:v>#N/A</c:v>
                </c:pt>
                <c:pt idx="2035">
                  <c:v>2.0433699999999999</c:v>
                </c:pt>
                <c:pt idx="2036">
                  <c:v>2.4306100000000002</c:v>
                </c:pt>
                <c:pt idx="2037">
                  <c:v>2.3726099999999999</c:v>
                </c:pt>
                <c:pt idx="2038">
                  <c:v>#N/A</c:v>
                </c:pt>
                <c:pt idx="2039">
                  <c:v>2.63869</c:v>
                </c:pt>
                <c:pt idx="2040">
                  <c:v>2.9828100000000002</c:v>
                </c:pt>
                <c:pt idx="2041">
                  <c:v>2.6415899999999999</c:v>
                </c:pt>
                <c:pt idx="2042">
                  <c:v>#N/A</c:v>
                </c:pt>
                <c:pt idx="2043">
                  <c:v>2.60345</c:v>
                </c:pt>
                <c:pt idx="2044">
                  <c:v>2.58507</c:v>
                </c:pt>
                <c:pt idx="2045">
                  <c:v>2.4918499999999999</c:v>
                </c:pt>
                <c:pt idx="2046">
                  <c:v>#N/A</c:v>
                </c:pt>
                <c:pt idx="2047">
                  <c:v>2.6708799999999999</c:v>
                </c:pt>
                <c:pt idx="2048">
                  <c:v>#N/A</c:v>
                </c:pt>
                <c:pt idx="2049">
                  <c:v>2.3650799999999998</c:v>
                </c:pt>
                <c:pt idx="2050">
                  <c:v>3.1425200000000002</c:v>
                </c:pt>
                <c:pt idx="2051">
                  <c:v>#N/A</c:v>
                </c:pt>
                <c:pt idx="2052">
                  <c:v>3.0838800000000002</c:v>
                </c:pt>
                <c:pt idx="2053">
                  <c:v>2.68249</c:v>
                </c:pt>
                <c:pt idx="2054">
                  <c:v>2.3848600000000002</c:v>
                </c:pt>
                <c:pt idx="2055">
                  <c:v>#N/A</c:v>
                </c:pt>
                <c:pt idx="2056">
                  <c:v>2.0821200000000002</c:v>
                </c:pt>
                <c:pt idx="2057">
                  <c:v>2.6130499999999999</c:v>
                </c:pt>
                <c:pt idx="2058">
                  <c:v>#N/A</c:v>
                </c:pt>
                <c:pt idx="2059">
                  <c:v>2.7772600000000001</c:v>
                </c:pt>
                <c:pt idx="2060">
                  <c:v>3.2199499999999999</c:v>
                </c:pt>
                <c:pt idx="2061">
                  <c:v>3.2036799999999999</c:v>
                </c:pt>
                <c:pt idx="2062">
                  <c:v>#N/A</c:v>
                </c:pt>
                <c:pt idx="2063">
                  <c:v>3.4851800000000002</c:v>
                </c:pt>
                <c:pt idx="2064">
                  <c:v>2.38605</c:v>
                </c:pt>
                <c:pt idx="2065">
                  <c:v>#N/A</c:v>
                </c:pt>
                <c:pt idx="2066">
                  <c:v>2.5760100000000001</c:v>
                </c:pt>
                <c:pt idx="2067">
                  <c:v>2.3367200000000001</c:v>
                </c:pt>
                <c:pt idx="2068">
                  <c:v>2.3485</c:v>
                </c:pt>
                <c:pt idx="2069">
                  <c:v>#N/A</c:v>
                </c:pt>
                <c:pt idx="2070">
                  <c:v>3.1171899999999999</c:v>
                </c:pt>
                <c:pt idx="2071">
                  <c:v>3.3915500000000001</c:v>
                </c:pt>
                <c:pt idx="2072">
                  <c:v>#N/A</c:v>
                </c:pt>
                <c:pt idx="2073">
                  <c:v>3.0497299999999998</c:v>
                </c:pt>
                <c:pt idx="2074">
                  <c:v>2.9284699999999999</c:v>
                </c:pt>
                <c:pt idx="2075">
                  <c:v>2.9632499999999999</c:v>
                </c:pt>
                <c:pt idx="2076">
                  <c:v>#N/A</c:v>
                </c:pt>
                <c:pt idx="2077">
                  <c:v>2.2160799999999998</c:v>
                </c:pt>
                <c:pt idx="2078">
                  <c:v>2.0565500000000001</c:v>
                </c:pt>
                <c:pt idx="2079">
                  <c:v>2.1747000000000001</c:v>
                </c:pt>
                <c:pt idx="2080">
                  <c:v>#N/A</c:v>
                </c:pt>
                <c:pt idx="2081">
                  <c:v>2.8575300000000001</c:v>
                </c:pt>
                <c:pt idx="2082">
                  <c:v>3.6067900000000002</c:v>
                </c:pt>
                <c:pt idx="2083">
                  <c:v>3.5649099999999998</c:v>
                </c:pt>
                <c:pt idx="2084">
                  <c:v>#N/A</c:v>
                </c:pt>
                <c:pt idx="2085">
                  <c:v>3.2684099999999998</c:v>
                </c:pt>
                <c:pt idx="2086">
                  <c:v>2.57009</c:v>
                </c:pt>
                <c:pt idx="2087">
                  <c:v>2.4973800000000002</c:v>
                </c:pt>
                <c:pt idx="2088">
                  <c:v>#N/A</c:v>
                </c:pt>
                <c:pt idx="2089">
                  <c:v>2.3091900000000001</c:v>
                </c:pt>
                <c:pt idx="2090">
                  <c:v>2.27657</c:v>
                </c:pt>
                <c:pt idx="2091">
                  <c:v>#N/A</c:v>
                </c:pt>
                <c:pt idx="2092">
                  <c:v>2.51918</c:v>
                </c:pt>
                <c:pt idx="2093">
                  <c:v>2.7741799999999999</c:v>
                </c:pt>
                <c:pt idx="2094">
                  <c:v>3.0103499999999999</c:v>
                </c:pt>
                <c:pt idx="2095">
                  <c:v>#N/A</c:v>
                </c:pt>
                <c:pt idx="2096">
                  <c:v>2.6459600000000001</c:v>
                </c:pt>
                <c:pt idx="2097">
                  <c:v>1.9718599999999999</c:v>
                </c:pt>
                <c:pt idx="2098">
                  <c:v>2.29352</c:v>
                </c:pt>
                <c:pt idx="2099">
                  <c:v>#N/A</c:v>
                </c:pt>
                <c:pt idx="2100">
                  <c:v>2.3886799999999999</c:v>
                </c:pt>
                <c:pt idx="2101">
                  <c:v>2.79</c:v>
                </c:pt>
                <c:pt idx="2102">
                  <c:v>#N/A</c:v>
                </c:pt>
                <c:pt idx="2103">
                  <c:v>2.6825999999999999</c:v>
                </c:pt>
                <c:pt idx="2104">
                  <c:v>2.78932</c:v>
                </c:pt>
                <c:pt idx="2105">
                  <c:v>3.0421800000000001</c:v>
                </c:pt>
                <c:pt idx="2106">
                  <c:v>#N/A</c:v>
                </c:pt>
                <c:pt idx="2107">
                  <c:v>3.5786199999999999</c:v>
                </c:pt>
                <c:pt idx="2108">
                  <c:v>2.6059999999999999</c:v>
                </c:pt>
                <c:pt idx="2109">
                  <c:v>2.8899900000000001</c:v>
                </c:pt>
                <c:pt idx="2110">
                  <c:v>#N/A</c:v>
                </c:pt>
                <c:pt idx="2111">
                  <c:v>2.9494199999999999</c:v>
                </c:pt>
                <c:pt idx="2112">
                  <c:v>2.54345</c:v>
                </c:pt>
                <c:pt idx="2113">
                  <c:v>2.97838</c:v>
                </c:pt>
                <c:pt idx="2114">
                  <c:v>#N/A</c:v>
                </c:pt>
                <c:pt idx="2115">
                  <c:v>2.96584</c:v>
                </c:pt>
                <c:pt idx="2116">
                  <c:v>2.9531399999999999</c:v>
                </c:pt>
                <c:pt idx="2117">
                  <c:v>2.3982299999999999</c:v>
                </c:pt>
                <c:pt idx="2118">
                  <c:v>#N/A</c:v>
                </c:pt>
                <c:pt idx="2119">
                  <c:v>2.4598800000000001</c:v>
                </c:pt>
                <c:pt idx="2120">
                  <c:v>2.3271799999999998</c:v>
                </c:pt>
                <c:pt idx="2121">
                  <c:v>2.37384</c:v>
                </c:pt>
                <c:pt idx="2122">
                  <c:v>#N/A</c:v>
                </c:pt>
                <c:pt idx="2123">
                  <c:v>3.5785399999999998</c:v>
                </c:pt>
                <c:pt idx="2124">
                  <c:v>3.1627399999999999</c:v>
                </c:pt>
                <c:pt idx="2125">
                  <c:v>#N/A</c:v>
                </c:pt>
                <c:pt idx="2126">
                  <c:v>2.6231200000000001</c:v>
                </c:pt>
                <c:pt idx="2127">
                  <c:v>2.1645799999999999</c:v>
                </c:pt>
                <c:pt idx="2128">
                  <c:v>2.0445799999999998</c:v>
                </c:pt>
                <c:pt idx="2129">
                  <c:v>#N/A</c:v>
                </c:pt>
                <c:pt idx="2130">
                  <c:v>2.0636899999999998</c:v>
                </c:pt>
                <c:pt idx="2131">
                  <c:v>2.2716599999999998</c:v>
                </c:pt>
                <c:pt idx="2132">
                  <c:v>#N/A</c:v>
                </c:pt>
                <c:pt idx="2133">
                  <c:v>2.6722199999999998</c:v>
                </c:pt>
                <c:pt idx="2134">
                  <c:v>2.9518499999999999</c:v>
                </c:pt>
                <c:pt idx="2135">
                  <c:v>2.5896499999999998</c:v>
                </c:pt>
                <c:pt idx="2136">
                  <c:v>#N/A</c:v>
                </c:pt>
                <c:pt idx="2137">
                  <c:v>2.7602899999999999</c:v>
                </c:pt>
                <c:pt idx="2138">
                  <c:v>1.55141</c:v>
                </c:pt>
                <c:pt idx="2139">
                  <c:v>1.49854</c:v>
                </c:pt>
                <c:pt idx="2140">
                  <c:v>#N/A</c:v>
                </c:pt>
                <c:pt idx="2141">
                  <c:v>2.22933</c:v>
                </c:pt>
                <c:pt idx="2142">
                  <c:v>2.4753400000000001</c:v>
                </c:pt>
                <c:pt idx="2143">
                  <c:v>3.3791799999999999</c:v>
                </c:pt>
                <c:pt idx="2144">
                  <c:v>#N/A</c:v>
                </c:pt>
                <c:pt idx="2145">
                  <c:v>3.0967099999999999</c:v>
                </c:pt>
                <c:pt idx="2146">
                  <c:v>2.7965200000000001</c:v>
                </c:pt>
                <c:pt idx="2147">
                  <c:v>#N/A</c:v>
                </c:pt>
                <c:pt idx="2148">
                  <c:v>2.94848</c:v>
                </c:pt>
                <c:pt idx="2149">
                  <c:v>2.71916</c:v>
                </c:pt>
                <c:pt idx="2150">
                  <c:v>2.64771</c:v>
                </c:pt>
                <c:pt idx="2151">
                  <c:v>#N/A</c:v>
                </c:pt>
                <c:pt idx="2152">
                  <c:v>2.2164000000000001</c:v>
                </c:pt>
                <c:pt idx="2153">
                  <c:v>2.6992099999999999</c:v>
                </c:pt>
                <c:pt idx="2154">
                  <c:v>2.4982199999999999</c:v>
                </c:pt>
                <c:pt idx="2155">
                  <c:v>#N/A</c:v>
                </c:pt>
                <c:pt idx="2156">
                  <c:v>3.3543500000000002</c:v>
                </c:pt>
                <c:pt idx="2157">
                  <c:v>2.7369699999999999</c:v>
                </c:pt>
                <c:pt idx="2158">
                  <c:v>3.04474</c:v>
                </c:pt>
                <c:pt idx="2159">
                  <c:v>#N/A</c:v>
                </c:pt>
                <c:pt idx="2160">
                  <c:v>2.4993799999999999</c:v>
                </c:pt>
                <c:pt idx="2161">
                  <c:v>1.93662</c:v>
                </c:pt>
                <c:pt idx="2162">
                  <c:v>2.2823099999999998</c:v>
                </c:pt>
                <c:pt idx="2163">
                  <c:v>#N/A</c:v>
                </c:pt>
                <c:pt idx="2164">
                  <c:v>2.2023600000000001</c:v>
                </c:pt>
                <c:pt idx="2165">
                  <c:v>2.8242699999999998</c:v>
                </c:pt>
                <c:pt idx="2166">
                  <c:v>3.2446799999999998</c:v>
                </c:pt>
                <c:pt idx="2167">
                  <c:v>#N/A</c:v>
                </c:pt>
                <c:pt idx="2168">
                  <c:v>2.9827699999999999</c:v>
                </c:pt>
                <c:pt idx="2169">
                  <c:v>2.4034200000000001</c:v>
                </c:pt>
                <c:pt idx="2170">
                  <c:v>1.9930699999999999</c:v>
                </c:pt>
                <c:pt idx="2171">
                  <c:v>#N/A</c:v>
                </c:pt>
                <c:pt idx="2172">
                  <c:v>2.8889</c:v>
                </c:pt>
                <c:pt idx="2173">
                  <c:v>2.5718700000000001</c:v>
                </c:pt>
                <c:pt idx="2174">
                  <c:v>#N/A</c:v>
                </c:pt>
                <c:pt idx="2175">
                  <c:v>2.6346500000000002</c:v>
                </c:pt>
                <c:pt idx="2176">
                  <c:v>3.1960999999999999</c:v>
                </c:pt>
                <c:pt idx="2177">
                  <c:v>2.9984799999999998</c:v>
                </c:pt>
                <c:pt idx="2178">
                  <c:v>#N/A</c:v>
                </c:pt>
                <c:pt idx="2179">
                  <c:v>3.36999</c:v>
                </c:pt>
                <c:pt idx="2180">
                  <c:v>3.1273200000000001</c:v>
                </c:pt>
                <c:pt idx="2181">
                  <c:v>2.4182199999999998</c:v>
                </c:pt>
                <c:pt idx="2182">
                  <c:v>#N/A</c:v>
                </c:pt>
                <c:pt idx="2183">
                  <c:v>2.3652700000000002</c:v>
                </c:pt>
                <c:pt idx="2184">
                  <c:v>2.3275199999999998</c:v>
                </c:pt>
                <c:pt idx="2185">
                  <c:v>2.5221200000000001</c:v>
                </c:pt>
                <c:pt idx="2186">
                  <c:v>#N/A</c:v>
                </c:pt>
                <c:pt idx="2187">
                  <c:v>2.5716800000000002</c:v>
                </c:pt>
                <c:pt idx="2188">
                  <c:v>2.68702</c:v>
                </c:pt>
                <c:pt idx="2189">
                  <c:v>2.3578800000000002</c:v>
                </c:pt>
                <c:pt idx="2190">
                  <c:v>#N/A</c:v>
                </c:pt>
                <c:pt idx="2191">
                  <c:v>2.5194200000000002</c:v>
                </c:pt>
                <c:pt idx="2192">
                  <c:v>2.2498999999999998</c:v>
                </c:pt>
                <c:pt idx="2193">
                  <c:v>2.2408399999999999</c:v>
                </c:pt>
                <c:pt idx="2194">
                  <c:v>#N/A</c:v>
                </c:pt>
                <c:pt idx="2195">
                  <c:v>2.2748599999999999</c:v>
                </c:pt>
                <c:pt idx="2196">
                  <c:v>2.74708</c:v>
                </c:pt>
                <c:pt idx="2197">
                  <c:v>2.9538199999999999</c:v>
                </c:pt>
                <c:pt idx="2198">
                  <c:v>#N/A</c:v>
                </c:pt>
                <c:pt idx="2199">
                  <c:v>2.8016999999999999</c:v>
                </c:pt>
                <c:pt idx="2200">
                  <c:v>#N/A</c:v>
                </c:pt>
                <c:pt idx="2201">
                  <c:v>2.0127899999999999</c:v>
                </c:pt>
                <c:pt idx="2202">
                  <c:v>2.1465299999999998</c:v>
                </c:pt>
                <c:pt idx="2203">
                  <c:v>2.5400100000000001</c:v>
                </c:pt>
                <c:pt idx="2204">
                  <c:v>#N/A</c:v>
                </c:pt>
                <c:pt idx="2205">
                  <c:v>2.8883999999999999</c:v>
                </c:pt>
                <c:pt idx="2206">
                  <c:v>2.80253</c:v>
                </c:pt>
                <c:pt idx="2207">
                  <c:v>3.2120299999999999</c:v>
                </c:pt>
                <c:pt idx="2208">
                  <c:v>#N/A</c:v>
                </c:pt>
                <c:pt idx="2209">
                  <c:v>2.7380800000000001</c:v>
                </c:pt>
                <c:pt idx="2210">
                  <c:v>2.7366199999999998</c:v>
                </c:pt>
                <c:pt idx="2211">
                  <c:v>1.9852799999999999</c:v>
                </c:pt>
                <c:pt idx="2212">
                  <c:v>#N/A</c:v>
                </c:pt>
                <c:pt idx="2213">
                  <c:v>2.0762200000000002</c:v>
                </c:pt>
                <c:pt idx="2214">
                  <c:v>2.0183300000000002</c:v>
                </c:pt>
                <c:pt idx="2215">
                  <c:v>2.67909</c:v>
                </c:pt>
                <c:pt idx="2216">
                  <c:v>#N/A</c:v>
                </c:pt>
                <c:pt idx="2217">
                  <c:v>3.3558500000000002</c:v>
                </c:pt>
                <c:pt idx="2218">
                  <c:v>2.6323799999999999</c:v>
                </c:pt>
                <c:pt idx="2219">
                  <c:v>#N/A</c:v>
                </c:pt>
                <c:pt idx="2220">
                  <c:v>3.15056</c:v>
                </c:pt>
                <c:pt idx="2221">
                  <c:v>2.3086600000000002</c:v>
                </c:pt>
                <c:pt idx="2222">
                  <c:v>2.6313300000000002</c:v>
                </c:pt>
                <c:pt idx="2223">
                  <c:v>#N/A</c:v>
                </c:pt>
                <c:pt idx="2224">
                  <c:v>2.30118</c:v>
                </c:pt>
                <c:pt idx="2225">
                  <c:v>2.3352499999999998</c:v>
                </c:pt>
                <c:pt idx="2226">
                  <c:v>3.1583800000000002</c:v>
                </c:pt>
                <c:pt idx="2227">
                  <c:v>#N/A</c:v>
                </c:pt>
                <c:pt idx="2228">
                  <c:v>3.8675999999999999</c:v>
                </c:pt>
                <c:pt idx="2229">
                  <c:v>3.5508000000000002</c:v>
                </c:pt>
                <c:pt idx="2230">
                  <c:v>3.3744200000000002</c:v>
                </c:pt>
                <c:pt idx="2231">
                  <c:v>#N/A</c:v>
                </c:pt>
                <c:pt idx="2232">
                  <c:v>2.8099400000000001</c:v>
                </c:pt>
                <c:pt idx="2233">
                  <c:v>2.8774000000000002</c:v>
                </c:pt>
                <c:pt idx="2234">
                  <c:v>2.67354</c:v>
                </c:pt>
                <c:pt idx="2235">
                  <c:v>#N/A</c:v>
                </c:pt>
                <c:pt idx="2236">
                  <c:v>2.6549299999999998</c:v>
                </c:pt>
                <c:pt idx="2237">
                  <c:v>2.5888399999999998</c:v>
                </c:pt>
                <c:pt idx="2238">
                  <c:v>#N/A</c:v>
                </c:pt>
                <c:pt idx="2239">
                  <c:v>3.2039800000000001</c:v>
                </c:pt>
                <c:pt idx="2240">
                  <c:v>2.8395000000000001</c:v>
                </c:pt>
                <c:pt idx="2241">
                  <c:v>3.2115100000000001</c:v>
                </c:pt>
                <c:pt idx="2242">
                  <c:v>#N/A</c:v>
                </c:pt>
                <c:pt idx="2243">
                  <c:v>2.0072199999999998</c:v>
                </c:pt>
                <c:pt idx="2244">
                  <c:v>2.0549200000000001</c:v>
                </c:pt>
                <c:pt idx="2245">
                  <c:v>2.5322</c:v>
                </c:pt>
                <c:pt idx="2246">
                  <c:v>#N/A</c:v>
                </c:pt>
                <c:pt idx="2247">
                  <c:v>2.6886899999999998</c:v>
                </c:pt>
                <c:pt idx="2248">
                  <c:v>3.2816900000000002</c:v>
                </c:pt>
                <c:pt idx="2249">
                  <c:v>2.7561900000000001</c:v>
                </c:pt>
                <c:pt idx="2250">
                  <c:v>#N/A</c:v>
                </c:pt>
                <c:pt idx="2251">
                  <c:v>3.0217900000000002</c:v>
                </c:pt>
                <c:pt idx="2252">
                  <c:v>3.15795</c:v>
                </c:pt>
                <c:pt idx="2253">
                  <c:v>2.6617199999999999</c:v>
                </c:pt>
                <c:pt idx="2254">
                  <c:v>#N/A</c:v>
                </c:pt>
                <c:pt idx="2255">
                  <c:v>2.3238699999999999</c:v>
                </c:pt>
                <c:pt idx="2256">
                  <c:v>1.95343</c:v>
                </c:pt>
                <c:pt idx="2257">
                  <c:v>#N/A</c:v>
                </c:pt>
                <c:pt idx="2258">
                  <c:v>2.7512500000000002</c:v>
                </c:pt>
                <c:pt idx="2259">
                  <c:v>2.86212</c:v>
                </c:pt>
                <c:pt idx="2260">
                  <c:v>#N/A</c:v>
                </c:pt>
                <c:pt idx="2261">
                  <c:v>2.8359299999999998</c:v>
                </c:pt>
                <c:pt idx="2262">
                  <c:v>3.16995</c:v>
                </c:pt>
                <c:pt idx="2263">
                  <c:v>2.9637699999999998</c:v>
                </c:pt>
                <c:pt idx="2264">
                  <c:v>#N/A</c:v>
                </c:pt>
                <c:pt idx="2265">
                  <c:v>3.0058699999999998</c:v>
                </c:pt>
                <c:pt idx="2266">
                  <c:v>2.8421400000000001</c:v>
                </c:pt>
                <c:pt idx="2267">
                  <c:v>2.4293499999999999</c:v>
                </c:pt>
                <c:pt idx="2268">
                  <c:v>#N/A</c:v>
                </c:pt>
                <c:pt idx="2269">
                  <c:v>2.89209</c:v>
                </c:pt>
                <c:pt idx="2270">
                  <c:v>2.5948099999999998</c:v>
                </c:pt>
                <c:pt idx="2271">
                  <c:v>#N/A</c:v>
                </c:pt>
                <c:pt idx="2272">
                  <c:v>3.5361500000000001</c:v>
                </c:pt>
                <c:pt idx="2273">
                  <c:v>2.8539300000000001</c:v>
                </c:pt>
                <c:pt idx="2274">
                  <c:v>#N/A</c:v>
                </c:pt>
                <c:pt idx="2275">
                  <c:v>2.6612399999999998</c:v>
                </c:pt>
                <c:pt idx="2276">
                  <c:v>3.1241300000000001</c:v>
                </c:pt>
                <c:pt idx="2277">
                  <c:v>#N/A</c:v>
                </c:pt>
                <c:pt idx="2278">
                  <c:v>3.22472</c:v>
                </c:pt>
                <c:pt idx="2279">
                  <c:v>2.77711</c:v>
                </c:pt>
                <c:pt idx="2280">
                  <c:v>3.18384</c:v>
                </c:pt>
                <c:pt idx="2281">
                  <c:v>#N/A</c:v>
                </c:pt>
                <c:pt idx="2282">
                  <c:v>3.4501300000000001</c:v>
                </c:pt>
                <c:pt idx="2283">
                  <c:v>3.0682100000000001</c:v>
                </c:pt>
                <c:pt idx="2284">
                  <c:v>2.4457300000000002</c:v>
                </c:pt>
                <c:pt idx="2285">
                  <c:v>#N/A</c:v>
                </c:pt>
                <c:pt idx="2286">
                  <c:v>2.46258</c:v>
                </c:pt>
                <c:pt idx="2287">
                  <c:v>2.9631799999999999</c:v>
                </c:pt>
                <c:pt idx="2288">
                  <c:v>3.0386600000000001</c:v>
                </c:pt>
                <c:pt idx="2289">
                  <c:v>#N/A</c:v>
                </c:pt>
                <c:pt idx="2290">
                  <c:v>4.2115999999999998</c:v>
                </c:pt>
                <c:pt idx="2291">
                  <c:v>3.55661</c:v>
                </c:pt>
                <c:pt idx="2292">
                  <c:v>#N/A</c:v>
                </c:pt>
                <c:pt idx="2293">
                  <c:v>3.7159200000000001</c:v>
                </c:pt>
                <c:pt idx="2294">
                  <c:v>3.63585</c:v>
                </c:pt>
                <c:pt idx="2295">
                  <c:v>3.2884600000000002</c:v>
                </c:pt>
                <c:pt idx="2296">
                  <c:v>#N/A</c:v>
                </c:pt>
                <c:pt idx="2297">
                  <c:v>2.609</c:v>
                </c:pt>
                <c:pt idx="2298">
                  <c:v>2.4733700000000001</c:v>
                </c:pt>
                <c:pt idx="2299">
                  <c:v>3.1151800000000001</c:v>
                </c:pt>
                <c:pt idx="2300">
                  <c:v>#N/A</c:v>
                </c:pt>
                <c:pt idx="2301">
                  <c:v>3.81155</c:v>
                </c:pt>
                <c:pt idx="2302">
                  <c:v>3.7905899999999999</c:v>
                </c:pt>
                <c:pt idx="2303">
                  <c:v>3.8887399999999999</c:v>
                </c:pt>
                <c:pt idx="2304">
                  <c:v>#N/A</c:v>
                </c:pt>
                <c:pt idx="2305">
                  <c:v>3.5009600000000001</c:v>
                </c:pt>
                <c:pt idx="2306">
                  <c:v>3.06698</c:v>
                </c:pt>
                <c:pt idx="2307">
                  <c:v>3.2114199999999999</c:v>
                </c:pt>
                <c:pt idx="2308">
                  <c:v>#N/A</c:v>
                </c:pt>
                <c:pt idx="2309">
                  <c:v>2.86185</c:v>
                </c:pt>
                <c:pt idx="2310">
                  <c:v>2.7299899999999999</c:v>
                </c:pt>
                <c:pt idx="2311">
                  <c:v>3.9809399999999999</c:v>
                </c:pt>
                <c:pt idx="2312">
                  <c:v>#N/A</c:v>
                </c:pt>
                <c:pt idx="2313">
                  <c:v>3.9142800000000002</c:v>
                </c:pt>
                <c:pt idx="2314">
                  <c:v>4.0618699999999999</c:v>
                </c:pt>
                <c:pt idx="2315">
                  <c:v>#N/A</c:v>
                </c:pt>
                <c:pt idx="2316">
                  <c:v>3.5986199999999999</c:v>
                </c:pt>
                <c:pt idx="2317">
                  <c:v>3.35425</c:v>
                </c:pt>
                <c:pt idx="2318">
                  <c:v>3.3016299999999998</c:v>
                </c:pt>
                <c:pt idx="2319">
                  <c:v>#N/A</c:v>
                </c:pt>
                <c:pt idx="2320">
                  <c:v>2.6792199999999999</c:v>
                </c:pt>
                <c:pt idx="2321">
                  <c:v>3.2938000000000001</c:v>
                </c:pt>
                <c:pt idx="2322">
                  <c:v>2.8483800000000001</c:v>
                </c:pt>
                <c:pt idx="2323">
                  <c:v>#N/A</c:v>
                </c:pt>
                <c:pt idx="2324">
                  <c:v>3.4251900000000002</c:v>
                </c:pt>
                <c:pt idx="2325">
                  <c:v>3.5389599999999999</c:v>
                </c:pt>
                <c:pt idx="2326">
                  <c:v>3.2850199999999998</c:v>
                </c:pt>
                <c:pt idx="2327">
                  <c:v>#N/A</c:v>
                </c:pt>
                <c:pt idx="2328">
                  <c:v>2.6126299999999998</c:v>
                </c:pt>
                <c:pt idx="2329">
                  <c:v>3.0155099999999999</c:v>
                </c:pt>
                <c:pt idx="2330">
                  <c:v>#N/A</c:v>
                </c:pt>
                <c:pt idx="2331">
                  <c:v>3.6827800000000002</c:v>
                </c:pt>
                <c:pt idx="2332">
                  <c:v>3.80436</c:v>
                </c:pt>
                <c:pt idx="2333">
                  <c:v>3.9946899999999999</c:v>
                </c:pt>
                <c:pt idx="2334">
                  <c:v>#N/A</c:v>
                </c:pt>
                <c:pt idx="2335">
                  <c:v>3.2079599999999999</c:v>
                </c:pt>
                <c:pt idx="2336">
                  <c:v>3.1433800000000001</c:v>
                </c:pt>
                <c:pt idx="2337">
                  <c:v>3.15063</c:v>
                </c:pt>
                <c:pt idx="2338">
                  <c:v>#N/A</c:v>
                </c:pt>
                <c:pt idx="2339">
                  <c:v>2.4819399999999998</c:v>
                </c:pt>
                <c:pt idx="2340">
                  <c:v>2.77014</c:v>
                </c:pt>
                <c:pt idx="2341">
                  <c:v>3.4640399999999998</c:v>
                </c:pt>
                <c:pt idx="2342">
                  <c:v>#N/A</c:v>
                </c:pt>
                <c:pt idx="2343">
                  <c:v>4.3153699999999997</c:v>
                </c:pt>
                <c:pt idx="2344">
                  <c:v>4.0223899999999997</c:v>
                </c:pt>
                <c:pt idx="2345">
                  <c:v>3.33236</c:v>
                </c:pt>
                <c:pt idx="2346">
                  <c:v>#N/A</c:v>
                </c:pt>
                <c:pt idx="2347">
                  <c:v>2.6959200000000001</c:v>
                </c:pt>
                <c:pt idx="2348">
                  <c:v>2.89967</c:v>
                </c:pt>
                <c:pt idx="2349">
                  <c:v>#N/A</c:v>
                </c:pt>
                <c:pt idx="2350">
                  <c:v>2.6358899999999998</c:v>
                </c:pt>
                <c:pt idx="2351">
                  <c:v>#N/A</c:v>
                </c:pt>
                <c:pt idx="2352">
                  <c:v>2.6535299999999999</c:v>
                </c:pt>
                <c:pt idx="2353">
                  <c:v>3.7236199999999999</c:v>
                </c:pt>
                <c:pt idx="2354">
                  <c:v>#N/A</c:v>
                </c:pt>
                <c:pt idx="2355">
                  <c:v>4.0906799999999999</c:v>
                </c:pt>
                <c:pt idx="2356">
                  <c:v>3.7181899999999999</c:v>
                </c:pt>
                <c:pt idx="2357">
                  <c:v>3.5920200000000002</c:v>
                </c:pt>
                <c:pt idx="2358">
                  <c:v>#N/A</c:v>
                </c:pt>
                <c:pt idx="2359">
                  <c:v>3.2545299999999999</c:v>
                </c:pt>
                <c:pt idx="2360">
                  <c:v>2.8988700000000001</c:v>
                </c:pt>
                <c:pt idx="2361">
                  <c:v>#N/A</c:v>
                </c:pt>
                <c:pt idx="2362">
                  <c:v>2.9860099999999998</c:v>
                </c:pt>
                <c:pt idx="2363">
                  <c:v>3.2057199999999999</c:v>
                </c:pt>
                <c:pt idx="2364">
                  <c:v>3.30016</c:v>
                </c:pt>
                <c:pt idx="2365">
                  <c:v>#N/A</c:v>
                </c:pt>
                <c:pt idx="2366">
                  <c:v>3.20472</c:v>
                </c:pt>
                <c:pt idx="2367">
                  <c:v>3.2140399999999998</c:v>
                </c:pt>
                <c:pt idx="2368">
                  <c:v>3.45587</c:v>
                </c:pt>
                <c:pt idx="2369">
                  <c:v>#N/A</c:v>
                </c:pt>
                <c:pt idx="2370">
                  <c:v>3.2220200000000001</c:v>
                </c:pt>
                <c:pt idx="2371">
                  <c:v>4.0331400000000004</c:v>
                </c:pt>
                <c:pt idx="2372">
                  <c:v>3.8171300000000001</c:v>
                </c:pt>
                <c:pt idx="2373">
                  <c:v>#N/A</c:v>
                </c:pt>
                <c:pt idx="2374">
                  <c:v>3.8538999999999999</c:v>
                </c:pt>
                <c:pt idx="2375">
                  <c:v>3.88849</c:v>
                </c:pt>
                <c:pt idx="2376">
                  <c:v>3.1598000000000002</c:v>
                </c:pt>
                <c:pt idx="2377">
                  <c:v>#N/A</c:v>
                </c:pt>
                <c:pt idx="2378">
                  <c:v>3.3394400000000002</c:v>
                </c:pt>
                <c:pt idx="2379">
                  <c:v>3.5799300000000001</c:v>
                </c:pt>
                <c:pt idx="2380">
                  <c:v>2.8313000000000001</c:v>
                </c:pt>
                <c:pt idx="2381">
                  <c:v>#N/A</c:v>
                </c:pt>
                <c:pt idx="2382">
                  <c:v>3.3760300000000001</c:v>
                </c:pt>
                <c:pt idx="2383">
                  <c:v>3.7767200000000001</c:v>
                </c:pt>
                <c:pt idx="2384">
                  <c:v>3.5367899999999999</c:v>
                </c:pt>
                <c:pt idx="2385">
                  <c:v>#N/A</c:v>
                </c:pt>
                <c:pt idx="2386">
                  <c:v>3.4148100000000001</c:v>
                </c:pt>
                <c:pt idx="2387">
                  <c:v>3.6238100000000002</c:v>
                </c:pt>
                <c:pt idx="2388">
                  <c:v>2.9877500000000001</c:v>
                </c:pt>
                <c:pt idx="2389">
                  <c:v>#N/A</c:v>
                </c:pt>
                <c:pt idx="2390">
                  <c:v>2.2784599999999999</c:v>
                </c:pt>
                <c:pt idx="2391">
                  <c:v>2.3238400000000001</c:v>
                </c:pt>
                <c:pt idx="2392">
                  <c:v>#N/A</c:v>
                </c:pt>
                <c:pt idx="2393">
                  <c:v>2.4402300000000001</c:v>
                </c:pt>
                <c:pt idx="2394">
                  <c:v>3.3901599999999998</c:v>
                </c:pt>
                <c:pt idx="2395">
                  <c:v>4.2354700000000003</c:v>
                </c:pt>
                <c:pt idx="2396">
                  <c:v>#N/A</c:v>
                </c:pt>
                <c:pt idx="2397">
                  <c:v>4.4744900000000003</c:v>
                </c:pt>
                <c:pt idx="2398">
                  <c:v>4.1519899999999996</c:v>
                </c:pt>
                <c:pt idx="2399">
                  <c:v>3.45506</c:v>
                </c:pt>
                <c:pt idx="2400">
                  <c:v>#N/A</c:v>
                </c:pt>
                <c:pt idx="2401">
                  <c:v>3.0429599999999999</c:v>
                </c:pt>
                <c:pt idx="2402">
                  <c:v>2.65204</c:v>
                </c:pt>
                <c:pt idx="2403">
                  <c:v>#N/A</c:v>
                </c:pt>
                <c:pt idx="2404">
                  <c:v>3.0908099999999998</c:v>
                </c:pt>
                <c:pt idx="2405">
                  <c:v>3.7304400000000002</c:v>
                </c:pt>
                <c:pt idx="2406">
                  <c:v>3.7383299999999999</c:v>
                </c:pt>
                <c:pt idx="2407">
                  <c:v>#N/A</c:v>
                </c:pt>
                <c:pt idx="2408">
                  <c:v>4.0198600000000004</c:v>
                </c:pt>
                <c:pt idx="2409">
                  <c:v>3.92137</c:v>
                </c:pt>
                <c:pt idx="2410">
                  <c:v>3.6026400000000001</c:v>
                </c:pt>
                <c:pt idx="2411">
                  <c:v>#N/A</c:v>
                </c:pt>
                <c:pt idx="2412">
                  <c:v>3.4600900000000001</c:v>
                </c:pt>
                <c:pt idx="2413">
                  <c:v>3.0897399999999999</c:v>
                </c:pt>
                <c:pt idx="2414">
                  <c:v>3.4184000000000001</c:v>
                </c:pt>
                <c:pt idx="2415">
                  <c:v>#N/A</c:v>
                </c:pt>
                <c:pt idx="2416">
                  <c:v>3.7263000000000002</c:v>
                </c:pt>
                <c:pt idx="2417">
                  <c:v>3.7681800000000001</c:v>
                </c:pt>
                <c:pt idx="2418">
                  <c:v>3.75909</c:v>
                </c:pt>
                <c:pt idx="2419">
                  <c:v>#N/A</c:v>
                </c:pt>
                <c:pt idx="2420">
                  <c:v>3.9442499999999998</c:v>
                </c:pt>
                <c:pt idx="2421">
                  <c:v>3.8672499999999999</c:v>
                </c:pt>
                <c:pt idx="2422">
                  <c:v>3.55579</c:v>
                </c:pt>
                <c:pt idx="2423">
                  <c:v>#N/A</c:v>
                </c:pt>
                <c:pt idx="2424">
                  <c:v>3.6616900000000001</c:v>
                </c:pt>
                <c:pt idx="2425">
                  <c:v>3.6783000000000001</c:v>
                </c:pt>
                <c:pt idx="2426">
                  <c:v>3.8488500000000001</c:v>
                </c:pt>
                <c:pt idx="2427">
                  <c:v>#N/A</c:v>
                </c:pt>
                <c:pt idx="2428">
                  <c:v>3.78905</c:v>
                </c:pt>
                <c:pt idx="2429">
                  <c:v>3.1758799999999998</c:v>
                </c:pt>
                <c:pt idx="2430">
                  <c:v>#N/A</c:v>
                </c:pt>
                <c:pt idx="2431">
                  <c:v>2.78288</c:v>
                </c:pt>
                <c:pt idx="2432">
                  <c:v>2.3893300000000002</c:v>
                </c:pt>
                <c:pt idx="2433">
                  <c:v>3.0734499999999998</c:v>
                </c:pt>
                <c:pt idx="2434">
                  <c:v>#N/A</c:v>
                </c:pt>
                <c:pt idx="2435">
                  <c:v>3.6152600000000001</c:v>
                </c:pt>
                <c:pt idx="2436">
                  <c:v>3.8104</c:v>
                </c:pt>
                <c:pt idx="2437">
                  <c:v>3.8834300000000002</c:v>
                </c:pt>
                <c:pt idx="2438">
                  <c:v>#N/A</c:v>
                </c:pt>
                <c:pt idx="2439">
                  <c:v>3.8167399999999998</c:v>
                </c:pt>
                <c:pt idx="2440">
                  <c:v>3.3746700000000001</c:v>
                </c:pt>
                <c:pt idx="2441">
                  <c:v>3.1428400000000001</c:v>
                </c:pt>
                <c:pt idx="2442">
                  <c:v>#N/A</c:v>
                </c:pt>
                <c:pt idx="2443">
                  <c:v>3.0541399999999999</c:v>
                </c:pt>
                <c:pt idx="2444">
                  <c:v>3.2778100000000001</c:v>
                </c:pt>
                <c:pt idx="2445">
                  <c:v>2.71563</c:v>
                </c:pt>
                <c:pt idx="2446">
                  <c:v>#N/A</c:v>
                </c:pt>
                <c:pt idx="2447">
                  <c:v>3.4909599999999998</c:v>
                </c:pt>
                <c:pt idx="2448">
                  <c:v>3.4458299999999999</c:v>
                </c:pt>
                <c:pt idx="2449">
                  <c:v>3.3853399999999998</c:v>
                </c:pt>
                <c:pt idx="2450">
                  <c:v>#N/A</c:v>
                </c:pt>
                <c:pt idx="2451">
                  <c:v>2.9417200000000001</c:v>
                </c:pt>
                <c:pt idx="2452">
                  <c:v>2.9915600000000002</c:v>
                </c:pt>
                <c:pt idx="2453">
                  <c:v>2.25678</c:v>
                </c:pt>
                <c:pt idx="2454">
                  <c:v>#N/A</c:v>
                </c:pt>
                <c:pt idx="2455">
                  <c:v>2.0155500000000002</c:v>
                </c:pt>
                <c:pt idx="2456">
                  <c:v>2.6156100000000002</c:v>
                </c:pt>
                <c:pt idx="2457">
                  <c:v>#N/A</c:v>
                </c:pt>
                <c:pt idx="2458">
                  <c:v>3.1358199999999998</c:v>
                </c:pt>
                <c:pt idx="2459">
                  <c:v>3.52223</c:v>
                </c:pt>
                <c:pt idx="2460">
                  <c:v>3.5582699999999998</c:v>
                </c:pt>
                <c:pt idx="2461">
                  <c:v>#N/A</c:v>
                </c:pt>
                <c:pt idx="2462">
                  <c:v>3.7677800000000001</c:v>
                </c:pt>
                <c:pt idx="2463">
                  <c:v>2.3391999999999999</c:v>
                </c:pt>
                <c:pt idx="2464">
                  <c:v>2.63998</c:v>
                </c:pt>
                <c:pt idx="2465">
                  <c:v>#N/A</c:v>
                </c:pt>
                <c:pt idx="2466">
                  <c:v>2.4540799999999998</c:v>
                </c:pt>
                <c:pt idx="2467">
                  <c:v>2.8134100000000002</c:v>
                </c:pt>
                <c:pt idx="2468">
                  <c:v>3.4239700000000002</c:v>
                </c:pt>
                <c:pt idx="2469">
                  <c:v>#N/A</c:v>
                </c:pt>
                <c:pt idx="2470">
                  <c:v>3.3181699999999998</c:v>
                </c:pt>
                <c:pt idx="2471">
                  <c:v>3.2755700000000001</c:v>
                </c:pt>
                <c:pt idx="2472">
                  <c:v>3.09552</c:v>
                </c:pt>
                <c:pt idx="2473">
                  <c:v>#N/A</c:v>
                </c:pt>
                <c:pt idx="2474">
                  <c:v>2.6538499999999998</c:v>
                </c:pt>
                <c:pt idx="2475">
                  <c:v>2.6951000000000001</c:v>
                </c:pt>
                <c:pt idx="2476">
                  <c:v>#N/A</c:v>
                </c:pt>
                <c:pt idx="2477">
                  <c:v>2.3195199999999998</c:v>
                </c:pt>
                <c:pt idx="2478">
                  <c:v>2.7915399999999999</c:v>
                </c:pt>
                <c:pt idx="2479">
                  <c:v>2.7698800000000001</c:v>
                </c:pt>
                <c:pt idx="2480">
                  <c:v>#N/A</c:v>
                </c:pt>
                <c:pt idx="2481">
                  <c:v>2.9344000000000001</c:v>
                </c:pt>
                <c:pt idx="2482">
                  <c:v>3.3820800000000002</c:v>
                </c:pt>
                <c:pt idx="2483">
                  <c:v>2.89052</c:v>
                </c:pt>
                <c:pt idx="2484">
                  <c:v>#N/A</c:v>
                </c:pt>
                <c:pt idx="2485">
                  <c:v>2.5078100000000001</c:v>
                </c:pt>
                <c:pt idx="2486">
                  <c:v>2.6820300000000001</c:v>
                </c:pt>
                <c:pt idx="2487">
                  <c:v>2.6398299999999999</c:v>
                </c:pt>
                <c:pt idx="2488">
                  <c:v>#N/A</c:v>
                </c:pt>
                <c:pt idx="2489">
                  <c:v>2.7453599999999998</c:v>
                </c:pt>
                <c:pt idx="2490">
                  <c:v>2.7304300000000001</c:v>
                </c:pt>
                <c:pt idx="2491">
                  <c:v>2.7766999999999999</c:v>
                </c:pt>
                <c:pt idx="2492">
                  <c:v>#N/A</c:v>
                </c:pt>
                <c:pt idx="2493">
                  <c:v>2.42692</c:v>
                </c:pt>
                <c:pt idx="2494">
                  <c:v>2.2875299999999998</c:v>
                </c:pt>
                <c:pt idx="2495">
                  <c:v>2.81995</c:v>
                </c:pt>
                <c:pt idx="2496">
                  <c:v>#N/A</c:v>
                </c:pt>
                <c:pt idx="2497">
                  <c:v>2.7098</c:v>
                </c:pt>
                <c:pt idx="2498">
                  <c:v>3.03973</c:v>
                </c:pt>
                <c:pt idx="2499">
                  <c:v>#N/A</c:v>
                </c:pt>
                <c:pt idx="2500">
                  <c:v>3.0888399999999998</c:v>
                </c:pt>
                <c:pt idx="2501">
                  <c:v>3.3591799999999998</c:v>
                </c:pt>
                <c:pt idx="2502">
                  <c:v>3.0193699999999999</c:v>
                </c:pt>
                <c:pt idx="2503">
                  <c:v>#N/A</c:v>
                </c:pt>
                <c:pt idx="2504">
                  <c:v>2.74803</c:v>
                </c:pt>
                <c:pt idx="2505">
                  <c:v>3.0976499999999998</c:v>
                </c:pt>
                <c:pt idx="2506">
                  <c:v>2.5319199999999999</c:v>
                </c:pt>
                <c:pt idx="2507">
                  <c:v>#N/A</c:v>
                </c:pt>
                <c:pt idx="2508">
                  <c:v>2.9480300000000002</c:v>
                </c:pt>
                <c:pt idx="2509">
                  <c:v>2.8152300000000001</c:v>
                </c:pt>
                <c:pt idx="2510">
                  <c:v>3.1814499999999999</c:v>
                </c:pt>
                <c:pt idx="2511">
                  <c:v>#N/A</c:v>
                </c:pt>
                <c:pt idx="2512">
                  <c:v>2.86599</c:v>
                </c:pt>
                <c:pt idx="2513">
                  <c:v>2.76973</c:v>
                </c:pt>
                <c:pt idx="2514">
                  <c:v>2.21455</c:v>
                </c:pt>
                <c:pt idx="2515">
                  <c:v>#N/A</c:v>
                </c:pt>
                <c:pt idx="2516">
                  <c:v>1.7240800000000001</c:v>
                </c:pt>
                <c:pt idx="2517">
                  <c:v>2.23122</c:v>
                </c:pt>
                <c:pt idx="2518">
                  <c:v>2.1519900000000001</c:v>
                </c:pt>
                <c:pt idx="2519">
                  <c:v>#N/A</c:v>
                </c:pt>
                <c:pt idx="2520">
                  <c:v>2.73651</c:v>
                </c:pt>
                <c:pt idx="2521">
                  <c:v>3.7646700000000002</c:v>
                </c:pt>
                <c:pt idx="2522">
                  <c:v>3.3951600000000002</c:v>
                </c:pt>
                <c:pt idx="2523">
                  <c:v>#N/A</c:v>
                </c:pt>
                <c:pt idx="2524">
                  <c:v>3.5747300000000002</c:v>
                </c:pt>
                <c:pt idx="2525">
                  <c:v>3.2330000000000001</c:v>
                </c:pt>
                <c:pt idx="2526">
                  <c:v>2.93709</c:v>
                </c:pt>
                <c:pt idx="2527">
                  <c:v>#N/A</c:v>
                </c:pt>
                <c:pt idx="2528">
                  <c:v>2.62059</c:v>
                </c:pt>
                <c:pt idx="2529">
                  <c:v>3.4484300000000001</c:v>
                </c:pt>
                <c:pt idx="2530">
                  <c:v>#N/A</c:v>
                </c:pt>
                <c:pt idx="2531">
                  <c:v>3.5866099999999999</c:v>
                </c:pt>
                <c:pt idx="2532">
                  <c:v>3.4267599999999998</c:v>
                </c:pt>
                <c:pt idx="2533">
                  <c:v>3.3323299999999998</c:v>
                </c:pt>
                <c:pt idx="2534">
                  <c:v>#N/A</c:v>
                </c:pt>
                <c:pt idx="2535">
                  <c:v>3.3253499999999998</c:v>
                </c:pt>
                <c:pt idx="2536">
                  <c:v>3.1677499999999998</c:v>
                </c:pt>
                <c:pt idx="2537">
                  <c:v>2.4679199999999999</c:v>
                </c:pt>
                <c:pt idx="2538">
                  <c:v>#N/A</c:v>
                </c:pt>
                <c:pt idx="2539">
                  <c:v>2.7787799999999998</c:v>
                </c:pt>
                <c:pt idx="2540">
                  <c:v>3.2793600000000001</c:v>
                </c:pt>
                <c:pt idx="2541">
                  <c:v>3.4125000000000001</c:v>
                </c:pt>
                <c:pt idx="2542">
                  <c:v>#N/A</c:v>
                </c:pt>
                <c:pt idx="2543">
                  <c:v>3.46896</c:v>
                </c:pt>
                <c:pt idx="2544">
                  <c:v>3.66188</c:v>
                </c:pt>
                <c:pt idx="2545">
                  <c:v>3.2494000000000001</c:v>
                </c:pt>
                <c:pt idx="2546">
                  <c:v>#N/A</c:v>
                </c:pt>
                <c:pt idx="2547">
                  <c:v>2.9271799999999999</c:v>
                </c:pt>
                <c:pt idx="2548">
                  <c:v>2.4790199999999998</c:v>
                </c:pt>
                <c:pt idx="2549">
                  <c:v>2.5141200000000001</c:v>
                </c:pt>
                <c:pt idx="2550">
                  <c:v>#N/A</c:v>
                </c:pt>
                <c:pt idx="2551">
                  <c:v>3.0813600000000001</c:v>
                </c:pt>
                <c:pt idx="2552">
                  <c:v>3.7052900000000002</c:v>
                </c:pt>
                <c:pt idx="2553">
                  <c:v>#N/A</c:v>
                </c:pt>
                <c:pt idx="2554">
                  <c:v>3.4889399999999999</c:v>
                </c:pt>
                <c:pt idx="2555">
                  <c:v>3.55044</c:v>
                </c:pt>
                <c:pt idx="2556">
                  <c:v>3.1764000000000001</c:v>
                </c:pt>
                <c:pt idx="2557">
                  <c:v>#N/A</c:v>
                </c:pt>
                <c:pt idx="2558">
                  <c:v>2.71617</c:v>
                </c:pt>
                <c:pt idx="2559">
                  <c:v>2.8607100000000001</c:v>
                </c:pt>
                <c:pt idx="2560">
                  <c:v>2.8616700000000002</c:v>
                </c:pt>
                <c:pt idx="2561">
                  <c:v>#N/A</c:v>
                </c:pt>
                <c:pt idx="2562">
                  <c:v>2.9788399999999999</c:v>
                </c:pt>
                <c:pt idx="2563">
                  <c:v>2.8896999999999999</c:v>
                </c:pt>
                <c:pt idx="2564">
                  <c:v>3.1049699999999998</c:v>
                </c:pt>
                <c:pt idx="2565">
                  <c:v>#N/A</c:v>
                </c:pt>
                <c:pt idx="2566">
                  <c:v>3.5649799999999998</c:v>
                </c:pt>
                <c:pt idx="2567">
                  <c:v>3.2241900000000001</c:v>
                </c:pt>
                <c:pt idx="2568">
                  <c:v>2.71387</c:v>
                </c:pt>
                <c:pt idx="2569">
                  <c:v>#N/A</c:v>
                </c:pt>
                <c:pt idx="2570">
                  <c:v>2.52372</c:v>
                </c:pt>
                <c:pt idx="2571">
                  <c:v>2.65035</c:v>
                </c:pt>
                <c:pt idx="2572">
                  <c:v>#N/A</c:v>
                </c:pt>
                <c:pt idx="2573">
                  <c:v>3.1154700000000002</c:v>
                </c:pt>
                <c:pt idx="2574">
                  <c:v>#N/A</c:v>
                </c:pt>
                <c:pt idx="2575">
                  <c:v>2.84396</c:v>
                </c:pt>
                <c:pt idx="2576">
                  <c:v>2.8942600000000001</c:v>
                </c:pt>
                <c:pt idx="2577">
                  <c:v>#N/A</c:v>
                </c:pt>
                <c:pt idx="2578">
                  <c:v>2.55179</c:v>
                </c:pt>
                <c:pt idx="2579">
                  <c:v>2.33066</c:v>
                </c:pt>
                <c:pt idx="2580">
                  <c:v>2.81786</c:v>
                </c:pt>
                <c:pt idx="2581">
                  <c:v>#N/A</c:v>
                </c:pt>
                <c:pt idx="2582">
                  <c:v>2.93405</c:v>
                </c:pt>
                <c:pt idx="2583">
                  <c:v>3.5840999999999998</c:v>
                </c:pt>
                <c:pt idx="2584">
                  <c:v>3.5948699999999998</c:v>
                </c:pt>
                <c:pt idx="2585">
                  <c:v>#N/A</c:v>
                </c:pt>
                <c:pt idx="2586">
                  <c:v>3.1015899999999998</c:v>
                </c:pt>
                <c:pt idx="2587">
                  <c:v>3.0577200000000002</c:v>
                </c:pt>
                <c:pt idx="2588">
                  <c:v>2.9946700000000002</c:v>
                </c:pt>
                <c:pt idx="2589">
                  <c:v>#N/A</c:v>
                </c:pt>
                <c:pt idx="2590">
                  <c:v>2.56901</c:v>
                </c:pt>
                <c:pt idx="2591">
                  <c:v>2.7578100000000001</c:v>
                </c:pt>
                <c:pt idx="2592">
                  <c:v>3.6045099999999999</c:v>
                </c:pt>
                <c:pt idx="2593">
                  <c:v>#N/A</c:v>
                </c:pt>
                <c:pt idx="2594">
                  <c:v>3.5811299999999999</c:v>
                </c:pt>
                <c:pt idx="2595">
                  <c:v>3.3411200000000001</c:v>
                </c:pt>
                <c:pt idx="2596">
                  <c:v>#N/A</c:v>
                </c:pt>
                <c:pt idx="2597">
                  <c:v>2.6706799999999999</c:v>
                </c:pt>
                <c:pt idx="2598">
                  <c:v>3.0087100000000002</c:v>
                </c:pt>
                <c:pt idx="2599">
                  <c:v>1.794</c:v>
                </c:pt>
                <c:pt idx="2600">
                  <c:v>#N/A</c:v>
                </c:pt>
                <c:pt idx="2601">
                  <c:v>2.2385100000000002</c:v>
                </c:pt>
                <c:pt idx="2602">
                  <c:v>2.3370799999999998</c:v>
                </c:pt>
                <c:pt idx="2603">
                  <c:v>2.9222800000000002</c:v>
                </c:pt>
                <c:pt idx="2604">
                  <c:v>#N/A</c:v>
                </c:pt>
                <c:pt idx="2605">
                  <c:v>4.0451199999999998</c:v>
                </c:pt>
                <c:pt idx="2606">
                  <c:v>4.0052899999999996</c:v>
                </c:pt>
                <c:pt idx="2607">
                  <c:v>3.42144</c:v>
                </c:pt>
                <c:pt idx="2608">
                  <c:v>#N/A</c:v>
                </c:pt>
                <c:pt idx="2609">
                  <c:v>3.0901100000000001</c:v>
                </c:pt>
                <c:pt idx="2610">
                  <c:v>2.7202500000000001</c:v>
                </c:pt>
                <c:pt idx="2611">
                  <c:v>2.5660500000000002</c:v>
                </c:pt>
                <c:pt idx="2612">
                  <c:v>#N/A</c:v>
                </c:pt>
                <c:pt idx="2613">
                  <c:v>2.6093799999999998</c:v>
                </c:pt>
                <c:pt idx="2614">
                  <c:v>2.65781</c:v>
                </c:pt>
                <c:pt idx="2615">
                  <c:v>3.2865500000000001</c:v>
                </c:pt>
                <c:pt idx="2616">
                  <c:v>#N/A</c:v>
                </c:pt>
                <c:pt idx="2617">
                  <c:v>3.2715100000000001</c:v>
                </c:pt>
                <c:pt idx="2618">
                  <c:v>3.7572800000000002</c:v>
                </c:pt>
                <c:pt idx="2619">
                  <c:v>2.8737699999999999</c:v>
                </c:pt>
                <c:pt idx="2620">
                  <c:v>#N/A</c:v>
                </c:pt>
                <c:pt idx="2621">
                  <c:v>2.4828399999999999</c:v>
                </c:pt>
                <c:pt idx="2622">
                  <c:v>2.39236</c:v>
                </c:pt>
                <c:pt idx="2623">
                  <c:v>2.4401299999999999</c:v>
                </c:pt>
                <c:pt idx="2624">
                  <c:v>#N/A</c:v>
                </c:pt>
                <c:pt idx="2625">
                  <c:v>2.5086200000000001</c:v>
                </c:pt>
                <c:pt idx="2626">
                  <c:v>2.8705400000000001</c:v>
                </c:pt>
                <c:pt idx="2627">
                  <c:v>#N/A</c:v>
                </c:pt>
                <c:pt idx="2628">
                  <c:v>3.1197699999999999</c:v>
                </c:pt>
                <c:pt idx="2629">
                  <c:v>2.9552100000000001</c:v>
                </c:pt>
                <c:pt idx="2630">
                  <c:v>3.1770100000000001</c:v>
                </c:pt>
                <c:pt idx="2631">
                  <c:v>#N/A</c:v>
                </c:pt>
                <c:pt idx="2632">
                  <c:v>2.6380499999999998</c:v>
                </c:pt>
                <c:pt idx="2633">
                  <c:v>2.48611</c:v>
                </c:pt>
                <c:pt idx="2634">
                  <c:v>3.4051</c:v>
                </c:pt>
                <c:pt idx="2635">
                  <c:v>#N/A</c:v>
                </c:pt>
                <c:pt idx="2636">
                  <c:v>3.27521</c:v>
                </c:pt>
                <c:pt idx="2637">
                  <c:v>2.8130299999999999</c:v>
                </c:pt>
                <c:pt idx="2638">
                  <c:v>2.5035099999999999</c:v>
                </c:pt>
                <c:pt idx="2639">
                  <c:v>#N/A</c:v>
                </c:pt>
                <c:pt idx="2640">
                  <c:v>2.6032299999999999</c:v>
                </c:pt>
                <c:pt idx="2641">
                  <c:v>2.5256099999999999</c:v>
                </c:pt>
                <c:pt idx="2642">
                  <c:v>2.4695100000000001</c:v>
                </c:pt>
                <c:pt idx="2643">
                  <c:v>#N/A</c:v>
                </c:pt>
                <c:pt idx="2644">
                  <c:v>3.0849099999999998</c:v>
                </c:pt>
                <c:pt idx="2645">
                  <c:v>3.1777099999999998</c:v>
                </c:pt>
                <c:pt idx="2646">
                  <c:v>3.6587399999999999</c:v>
                </c:pt>
                <c:pt idx="2647">
                  <c:v>#N/A</c:v>
                </c:pt>
                <c:pt idx="2648">
                  <c:v>3.5235400000000001</c:v>
                </c:pt>
                <c:pt idx="2649">
                  <c:v>3.2492999999999999</c:v>
                </c:pt>
                <c:pt idx="2650">
                  <c:v>#N/A</c:v>
                </c:pt>
                <c:pt idx="2651">
                  <c:v>2.3657499999999998</c:v>
                </c:pt>
                <c:pt idx="2652">
                  <c:v>#N/A</c:v>
                </c:pt>
                <c:pt idx="2653">
                  <c:v>2.7133500000000002</c:v>
                </c:pt>
                <c:pt idx="2654">
                  <c:v>2.4022100000000002</c:v>
                </c:pt>
                <c:pt idx="2655">
                  <c:v>#N/A</c:v>
                </c:pt>
                <c:pt idx="2656">
                  <c:v>2.9615399999999998</c:v>
                </c:pt>
                <c:pt idx="2657">
                  <c:v>3.3210199999999999</c:v>
                </c:pt>
                <c:pt idx="2658">
                  <c:v>3.31793</c:v>
                </c:pt>
                <c:pt idx="2659">
                  <c:v>#N/A</c:v>
                </c:pt>
                <c:pt idx="2660">
                  <c:v>2.3590800000000001</c:v>
                </c:pt>
                <c:pt idx="2661">
                  <c:v>1.82803</c:v>
                </c:pt>
                <c:pt idx="2662">
                  <c:v>1.7679400000000001</c:v>
                </c:pt>
                <c:pt idx="2663">
                  <c:v>#N/A</c:v>
                </c:pt>
                <c:pt idx="2664">
                  <c:v>2.32063</c:v>
                </c:pt>
                <c:pt idx="2665">
                  <c:v>2.5679799999999999</c:v>
                </c:pt>
                <c:pt idx="2666">
                  <c:v>3.2791100000000002</c:v>
                </c:pt>
                <c:pt idx="2667">
                  <c:v>#N/A</c:v>
                </c:pt>
                <c:pt idx="2668">
                  <c:v>3.5894900000000001</c:v>
                </c:pt>
                <c:pt idx="2669">
                  <c:v>3.4420600000000001</c:v>
                </c:pt>
                <c:pt idx="2670">
                  <c:v>3.2909899999999999</c:v>
                </c:pt>
                <c:pt idx="2671">
                  <c:v>#N/A</c:v>
                </c:pt>
                <c:pt idx="2672">
                  <c:v>2.7618</c:v>
                </c:pt>
                <c:pt idx="2673">
                  <c:v>2.1810399999999999</c:v>
                </c:pt>
                <c:pt idx="2674">
                  <c:v>2.1136599999999999</c:v>
                </c:pt>
                <c:pt idx="2675">
                  <c:v>#N/A</c:v>
                </c:pt>
                <c:pt idx="2676">
                  <c:v>2.9542299999999999</c:v>
                </c:pt>
                <c:pt idx="2677">
                  <c:v>3.1946300000000001</c:v>
                </c:pt>
                <c:pt idx="2678">
                  <c:v>3.1241599999999998</c:v>
                </c:pt>
                <c:pt idx="2679">
                  <c:v>#N/A</c:v>
                </c:pt>
                <c:pt idx="2680">
                  <c:v>2.8079700000000001</c:v>
                </c:pt>
                <c:pt idx="2681">
                  <c:v>2.3744000000000001</c:v>
                </c:pt>
                <c:pt idx="2682">
                  <c:v>2.0266500000000001</c:v>
                </c:pt>
                <c:pt idx="2683">
                  <c:v>#N/A</c:v>
                </c:pt>
                <c:pt idx="2684">
                  <c:v>1.7634099999999999</c:v>
                </c:pt>
                <c:pt idx="2685">
                  <c:v>1.65361</c:v>
                </c:pt>
                <c:pt idx="2686">
                  <c:v>#N/A</c:v>
                </c:pt>
                <c:pt idx="2687">
                  <c:v>2.50928</c:v>
                </c:pt>
                <c:pt idx="2688">
                  <c:v>3.7839299999999998</c:v>
                </c:pt>
                <c:pt idx="2689">
                  <c:v>3.4591599999999998</c:v>
                </c:pt>
                <c:pt idx="2690">
                  <c:v>#N/A</c:v>
                </c:pt>
                <c:pt idx="2691">
                  <c:v>2.9434999999999998</c:v>
                </c:pt>
                <c:pt idx="2692">
                  <c:v>2.6945000000000001</c:v>
                </c:pt>
                <c:pt idx="2693">
                  <c:v>2.5108199999999998</c:v>
                </c:pt>
                <c:pt idx="2694">
                  <c:v>#N/A</c:v>
                </c:pt>
                <c:pt idx="2695">
                  <c:v>2.0108100000000002</c:v>
                </c:pt>
                <c:pt idx="2696">
                  <c:v>1.9609099999999999</c:v>
                </c:pt>
                <c:pt idx="2697">
                  <c:v>2.3908700000000001</c:v>
                </c:pt>
                <c:pt idx="2698">
                  <c:v>#N/A</c:v>
                </c:pt>
                <c:pt idx="2699">
                  <c:v>2.7610700000000001</c:v>
                </c:pt>
                <c:pt idx="2700">
                  <c:v>2.33738</c:v>
                </c:pt>
                <c:pt idx="2701">
                  <c:v>2.4026399999999999</c:v>
                </c:pt>
                <c:pt idx="2702">
                  <c:v>#N/A</c:v>
                </c:pt>
                <c:pt idx="2703">
                  <c:v>2.27264</c:v>
                </c:pt>
                <c:pt idx="2704">
                  <c:v>1.9816</c:v>
                </c:pt>
                <c:pt idx="2705">
                  <c:v>2.2613799999999999</c:v>
                </c:pt>
                <c:pt idx="2706">
                  <c:v>#N/A</c:v>
                </c:pt>
                <c:pt idx="2707">
                  <c:v>2.4958999999999998</c:v>
                </c:pt>
                <c:pt idx="2708">
                  <c:v>2.7078700000000002</c:v>
                </c:pt>
                <c:pt idx="2709">
                  <c:v>#N/A</c:v>
                </c:pt>
                <c:pt idx="2710">
                  <c:v>2.72234</c:v>
                </c:pt>
                <c:pt idx="2711">
                  <c:v>2.68384</c:v>
                </c:pt>
                <c:pt idx="2712">
                  <c:v>2.4746800000000002</c:v>
                </c:pt>
                <c:pt idx="2713">
                  <c:v>#N/A</c:v>
                </c:pt>
                <c:pt idx="2714">
                  <c:v>3.0009100000000002</c:v>
                </c:pt>
                <c:pt idx="2715">
                  <c:v>2.8252600000000001</c:v>
                </c:pt>
                <c:pt idx="2716">
                  <c:v>3.0891999999999999</c:v>
                </c:pt>
                <c:pt idx="2717">
                  <c:v>#N/A</c:v>
                </c:pt>
                <c:pt idx="2718">
                  <c:v>2.9338500000000001</c:v>
                </c:pt>
                <c:pt idx="2719">
                  <c:v>3.1408999999999998</c:v>
                </c:pt>
                <c:pt idx="2720">
                  <c:v>2.5304700000000002</c:v>
                </c:pt>
                <c:pt idx="2721">
                  <c:v>#N/A</c:v>
                </c:pt>
                <c:pt idx="2722">
                  <c:v>2.34382</c:v>
                </c:pt>
                <c:pt idx="2723">
                  <c:v>1.6806000000000001</c:v>
                </c:pt>
                <c:pt idx="2724">
                  <c:v>#N/A</c:v>
                </c:pt>
                <c:pt idx="2725">
                  <c:v>1.67696</c:v>
                </c:pt>
                <c:pt idx="2726">
                  <c:v>#N/A</c:v>
                </c:pt>
                <c:pt idx="2727">
                  <c:v>2.16073</c:v>
                </c:pt>
                <c:pt idx="2728">
                  <c:v>2.71</c:v>
                </c:pt>
                <c:pt idx="2729">
                  <c:v>#N/A</c:v>
                </c:pt>
                <c:pt idx="2730">
                  <c:v>3.4114800000000001</c:v>
                </c:pt>
                <c:pt idx="2731">
                  <c:v>3.5591699999999999</c:v>
                </c:pt>
                <c:pt idx="2732">
                  <c:v>#N/A</c:v>
                </c:pt>
                <c:pt idx="2733">
                  <c:v>2.82396</c:v>
                </c:pt>
                <c:pt idx="2734">
                  <c:v>2.1075900000000001</c:v>
                </c:pt>
                <c:pt idx="2735">
                  <c:v>2.1154899999999999</c:v>
                </c:pt>
                <c:pt idx="2736">
                  <c:v>#N/A</c:v>
                </c:pt>
                <c:pt idx="2737">
                  <c:v>2.4226299999999998</c:v>
                </c:pt>
                <c:pt idx="2738">
                  <c:v>2.5881400000000001</c:v>
                </c:pt>
                <c:pt idx="2739">
                  <c:v>3.0706500000000001</c:v>
                </c:pt>
                <c:pt idx="2740">
                  <c:v>#N/A</c:v>
                </c:pt>
                <c:pt idx="2741">
                  <c:v>3.11497</c:v>
                </c:pt>
                <c:pt idx="2742">
                  <c:v>3.7269999999999999</c:v>
                </c:pt>
                <c:pt idx="2743">
                  <c:v>3.3273600000000001</c:v>
                </c:pt>
                <c:pt idx="2744">
                  <c:v>#N/A</c:v>
                </c:pt>
                <c:pt idx="2745">
                  <c:v>2.3142200000000002</c:v>
                </c:pt>
                <c:pt idx="2746">
                  <c:v>2.0556399999999999</c:v>
                </c:pt>
                <c:pt idx="2747">
                  <c:v>1.77081</c:v>
                </c:pt>
                <c:pt idx="2748">
                  <c:v>#N/A</c:v>
                </c:pt>
                <c:pt idx="2749">
                  <c:v>2.3339400000000001</c:v>
                </c:pt>
                <c:pt idx="2750">
                  <c:v>3.1535299999999999</c:v>
                </c:pt>
                <c:pt idx="2751">
                  <c:v>3.5597799999999999</c:v>
                </c:pt>
                <c:pt idx="2752">
                  <c:v>#N/A</c:v>
                </c:pt>
                <c:pt idx="2753">
                  <c:v>3.3160699999999999</c:v>
                </c:pt>
                <c:pt idx="2754">
                  <c:v>3.2096499999999999</c:v>
                </c:pt>
                <c:pt idx="2755">
                  <c:v>#N/A</c:v>
                </c:pt>
                <c:pt idx="2756">
                  <c:v>2.1389</c:v>
                </c:pt>
                <c:pt idx="2757">
                  <c:v>1.6226</c:v>
                </c:pt>
                <c:pt idx="2758">
                  <c:v>1.7521899999999999</c:v>
                </c:pt>
                <c:pt idx="2759">
                  <c:v>#N/A</c:v>
                </c:pt>
                <c:pt idx="2760">
                  <c:v>2.32063</c:v>
                </c:pt>
                <c:pt idx="2761">
                  <c:v>3.3077299999999998</c:v>
                </c:pt>
                <c:pt idx="2762">
                  <c:v>3.18736</c:v>
                </c:pt>
                <c:pt idx="2763">
                  <c:v>#N/A</c:v>
                </c:pt>
                <c:pt idx="2764">
                  <c:v>3.0287000000000002</c:v>
                </c:pt>
                <c:pt idx="2765">
                  <c:v>2.3016299999999998</c:v>
                </c:pt>
                <c:pt idx="2766">
                  <c:v>#N/A</c:v>
                </c:pt>
                <c:pt idx="2767">
                  <c:v>1.7670999999999999</c:v>
                </c:pt>
                <c:pt idx="2768">
                  <c:v>2.0315599999999998</c:v>
                </c:pt>
                <c:pt idx="2769">
                  <c:v>2.5196200000000002</c:v>
                </c:pt>
                <c:pt idx="2770">
                  <c:v>#N/A</c:v>
                </c:pt>
                <c:pt idx="2771">
                  <c:v>2.9262800000000002</c:v>
                </c:pt>
                <c:pt idx="2772">
                  <c:v>3.2447599999999999</c:v>
                </c:pt>
                <c:pt idx="2773">
                  <c:v>3.23244</c:v>
                </c:pt>
                <c:pt idx="2774">
                  <c:v>#N/A</c:v>
                </c:pt>
                <c:pt idx="2775">
                  <c:v>3.4737300000000002</c:v>
                </c:pt>
                <c:pt idx="2776">
                  <c:v>3.45886</c:v>
                </c:pt>
                <c:pt idx="2777">
                  <c:v>#N/A</c:v>
                </c:pt>
                <c:pt idx="2778">
                  <c:v>2.7597499999999999</c:v>
                </c:pt>
                <c:pt idx="2779">
                  <c:v>2.3274400000000002</c:v>
                </c:pt>
                <c:pt idx="2780">
                  <c:v>3.0326499999999998</c:v>
                </c:pt>
                <c:pt idx="2781">
                  <c:v>#N/A</c:v>
                </c:pt>
                <c:pt idx="2782">
                  <c:v>2.9381200000000001</c:v>
                </c:pt>
                <c:pt idx="2783">
                  <c:v>2.7914699999999999</c:v>
                </c:pt>
                <c:pt idx="2784">
                  <c:v>2.5068600000000001</c:v>
                </c:pt>
                <c:pt idx="2785">
                  <c:v>#N/A</c:v>
                </c:pt>
                <c:pt idx="2786">
                  <c:v>2.6540599999999999</c:v>
                </c:pt>
                <c:pt idx="2787">
                  <c:v>2.6300699999999999</c:v>
                </c:pt>
                <c:pt idx="2788">
                  <c:v>2.6795300000000002</c:v>
                </c:pt>
                <c:pt idx="2789">
                  <c:v>#N/A</c:v>
                </c:pt>
                <c:pt idx="2790">
                  <c:v>2.4333399999999998</c:v>
                </c:pt>
                <c:pt idx="2791">
                  <c:v>2.8091699999999999</c:v>
                </c:pt>
                <c:pt idx="2792">
                  <c:v>3.1438799999999998</c:v>
                </c:pt>
                <c:pt idx="2793">
                  <c:v>#N/A</c:v>
                </c:pt>
                <c:pt idx="2794">
                  <c:v>3.26573</c:v>
                </c:pt>
                <c:pt idx="2795">
                  <c:v>2.78485</c:v>
                </c:pt>
                <c:pt idx="2796">
                  <c:v>2.71522</c:v>
                </c:pt>
                <c:pt idx="2797">
                  <c:v>#N/A</c:v>
                </c:pt>
                <c:pt idx="2798">
                  <c:v>2.58325</c:v>
                </c:pt>
                <c:pt idx="2799">
                  <c:v>2.54793</c:v>
                </c:pt>
                <c:pt idx="2800">
                  <c:v>#N/A</c:v>
                </c:pt>
                <c:pt idx="2801">
                  <c:v>2.6424500000000002</c:v>
                </c:pt>
                <c:pt idx="2802">
                  <c:v>2.97777</c:v>
                </c:pt>
                <c:pt idx="2803">
                  <c:v>3.1106799999999999</c:v>
                </c:pt>
                <c:pt idx="2804">
                  <c:v>#N/A</c:v>
                </c:pt>
                <c:pt idx="2805">
                  <c:v>2.3630900000000001</c:v>
                </c:pt>
                <c:pt idx="2806">
                  <c:v>2.19537</c:v>
                </c:pt>
                <c:pt idx="2807">
                  <c:v>1.57301</c:v>
                </c:pt>
                <c:pt idx="2808">
                  <c:v>#N/A</c:v>
                </c:pt>
                <c:pt idx="2809">
                  <c:v>2.3330099999999998</c:v>
                </c:pt>
                <c:pt idx="2810">
                  <c:v>2.5995499999999998</c:v>
                </c:pt>
                <c:pt idx="2811">
                  <c:v>3.0020600000000002</c:v>
                </c:pt>
                <c:pt idx="2812">
                  <c:v>#N/A</c:v>
                </c:pt>
                <c:pt idx="2813">
                  <c:v>3.1798600000000001</c:v>
                </c:pt>
                <c:pt idx="2814">
                  <c:v>3.36924</c:v>
                </c:pt>
                <c:pt idx="2815">
                  <c:v>3.4304600000000001</c:v>
                </c:pt>
                <c:pt idx="2816">
                  <c:v>#N/A</c:v>
                </c:pt>
                <c:pt idx="2817">
                  <c:v>2.1462599999999998</c:v>
                </c:pt>
                <c:pt idx="2818">
                  <c:v>2.4921799999999998</c:v>
                </c:pt>
                <c:pt idx="2819">
                  <c:v>2.3210299999999999</c:v>
                </c:pt>
                <c:pt idx="2820">
                  <c:v>#N/A</c:v>
                </c:pt>
                <c:pt idx="2821">
                  <c:v>2.15977</c:v>
                </c:pt>
                <c:pt idx="2822">
                  <c:v>2.70533</c:v>
                </c:pt>
                <c:pt idx="2823">
                  <c:v>3.09727</c:v>
                </c:pt>
                <c:pt idx="2824">
                  <c:v>#N/A</c:v>
                </c:pt>
                <c:pt idx="2825">
                  <c:v>3.4577499999999999</c:v>
                </c:pt>
                <c:pt idx="2826">
                  <c:v>3.1987399999999999</c:v>
                </c:pt>
                <c:pt idx="2827">
                  <c:v>#N/A</c:v>
                </c:pt>
                <c:pt idx="2828">
                  <c:v>2.9056299999999999</c:v>
                </c:pt>
                <c:pt idx="2829">
                  <c:v>2.47112</c:v>
                </c:pt>
                <c:pt idx="2830">
                  <c:v>2.0497299999999998</c:v>
                </c:pt>
                <c:pt idx="2831">
                  <c:v>#N/A</c:v>
                </c:pt>
                <c:pt idx="2832">
                  <c:v>2.1554600000000002</c:v>
                </c:pt>
                <c:pt idx="2833">
                  <c:v>2.1917300000000002</c:v>
                </c:pt>
                <c:pt idx="2834">
                  <c:v>3.19374</c:v>
                </c:pt>
                <c:pt idx="2835">
                  <c:v>#N/A</c:v>
                </c:pt>
                <c:pt idx="2836">
                  <c:v>3.25759</c:v>
                </c:pt>
                <c:pt idx="2837">
                  <c:v>3.31229</c:v>
                </c:pt>
                <c:pt idx="2838">
                  <c:v>2.8253499999999998</c:v>
                </c:pt>
                <c:pt idx="2839">
                  <c:v>#N/A</c:v>
                </c:pt>
                <c:pt idx="2840">
                  <c:v>2.26709</c:v>
                </c:pt>
                <c:pt idx="2841">
                  <c:v>2.4890500000000002</c:v>
                </c:pt>
                <c:pt idx="2842">
                  <c:v>2.1442299999999999</c:v>
                </c:pt>
                <c:pt idx="2843">
                  <c:v>#N/A</c:v>
                </c:pt>
                <c:pt idx="2844">
                  <c:v>2.4666600000000001</c:v>
                </c:pt>
                <c:pt idx="2845">
                  <c:v>2.6481499999999998</c:v>
                </c:pt>
                <c:pt idx="2846">
                  <c:v>3.2414000000000001</c:v>
                </c:pt>
                <c:pt idx="2847">
                  <c:v>#N/A</c:v>
                </c:pt>
                <c:pt idx="2848">
                  <c:v>3.2117599999999999</c:v>
                </c:pt>
                <c:pt idx="2849">
                  <c:v>2.9880599999999999</c:v>
                </c:pt>
                <c:pt idx="2850">
                  <c:v>2.4993099999999999</c:v>
                </c:pt>
                <c:pt idx="2851">
                  <c:v>#N/A</c:v>
                </c:pt>
                <c:pt idx="2852">
                  <c:v>2.35392</c:v>
                </c:pt>
                <c:pt idx="2853">
                  <c:v>2.4744600000000001</c:v>
                </c:pt>
                <c:pt idx="2854">
                  <c:v>#N/A</c:v>
                </c:pt>
                <c:pt idx="2855">
                  <c:v>2.7865000000000002</c:v>
                </c:pt>
                <c:pt idx="2856">
                  <c:v>2.8004699999999998</c:v>
                </c:pt>
                <c:pt idx="2857">
                  <c:v>3.2523200000000001</c:v>
                </c:pt>
                <c:pt idx="2858">
                  <c:v>#N/A</c:v>
                </c:pt>
                <c:pt idx="2859">
                  <c:v>3.23319</c:v>
                </c:pt>
                <c:pt idx="2860">
                  <c:v>3.0469900000000001</c:v>
                </c:pt>
                <c:pt idx="2861">
                  <c:v>2.7441</c:v>
                </c:pt>
                <c:pt idx="2862">
                  <c:v>#N/A</c:v>
                </c:pt>
                <c:pt idx="2863">
                  <c:v>2.45642</c:v>
                </c:pt>
                <c:pt idx="2864">
                  <c:v>3.1528999999999998</c:v>
                </c:pt>
                <c:pt idx="2865">
                  <c:v>3.6038800000000002</c:v>
                </c:pt>
                <c:pt idx="2866">
                  <c:v>#N/A</c:v>
                </c:pt>
                <c:pt idx="2867">
                  <c:v>3.2397399999999998</c:v>
                </c:pt>
                <c:pt idx="2868">
                  <c:v>2.8909199999999999</c:v>
                </c:pt>
                <c:pt idx="2869">
                  <c:v>#N/A</c:v>
                </c:pt>
                <c:pt idx="2870">
                  <c:v>2.4476599999999999</c:v>
                </c:pt>
                <c:pt idx="2871">
                  <c:v>2.4241600000000001</c:v>
                </c:pt>
                <c:pt idx="2872">
                  <c:v>2.5180899999999999</c:v>
                </c:pt>
                <c:pt idx="2873">
                  <c:v>#N/A</c:v>
                </c:pt>
                <c:pt idx="2874">
                  <c:v>2.5873699999999999</c:v>
                </c:pt>
                <c:pt idx="2875">
                  <c:v>#N/A</c:v>
                </c:pt>
                <c:pt idx="2876">
                  <c:v>3.0138799999999999</c:v>
                </c:pt>
                <c:pt idx="2877">
                  <c:v>2.94821</c:v>
                </c:pt>
                <c:pt idx="2878">
                  <c:v>#N/A</c:v>
                </c:pt>
                <c:pt idx="2879">
                  <c:v>2.7258599999999999</c:v>
                </c:pt>
                <c:pt idx="2880">
                  <c:v>2.9843299999999999</c:v>
                </c:pt>
                <c:pt idx="2881">
                  <c:v>#N/A</c:v>
                </c:pt>
                <c:pt idx="2882">
                  <c:v>2.6964199999999998</c:v>
                </c:pt>
                <c:pt idx="2883">
                  <c:v>2.6161099999999999</c:v>
                </c:pt>
                <c:pt idx="2884">
                  <c:v>2.9361000000000002</c:v>
                </c:pt>
                <c:pt idx="2885">
                  <c:v>#N/A</c:v>
                </c:pt>
                <c:pt idx="2886">
                  <c:v>3.3098999999999998</c:v>
                </c:pt>
                <c:pt idx="2887">
                  <c:v>2.85127</c:v>
                </c:pt>
                <c:pt idx="2888">
                  <c:v>3.2303199999999999</c:v>
                </c:pt>
                <c:pt idx="2889">
                  <c:v>#N/A</c:v>
                </c:pt>
                <c:pt idx="2890">
                  <c:v>2.7173799999999999</c:v>
                </c:pt>
                <c:pt idx="2891">
                  <c:v>2.67944</c:v>
                </c:pt>
                <c:pt idx="2892">
                  <c:v>2.8453900000000001</c:v>
                </c:pt>
                <c:pt idx="2893">
                  <c:v>#N/A</c:v>
                </c:pt>
                <c:pt idx="2894">
                  <c:v>2.5388799999999998</c:v>
                </c:pt>
                <c:pt idx="2895">
                  <c:v>3.3163299999999998</c:v>
                </c:pt>
                <c:pt idx="2896">
                  <c:v>3.31501</c:v>
                </c:pt>
                <c:pt idx="2897">
                  <c:v>#N/A</c:v>
                </c:pt>
                <c:pt idx="2898">
                  <c:v>4.1404800000000002</c:v>
                </c:pt>
                <c:pt idx="2899">
                  <c:v>3.35907</c:v>
                </c:pt>
                <c:pt idx="2900">
                  <c:v>2.9851899999999998</c:v>
                </c:pt>
                <c:pt idx="2901">
                  <c:v>#N/A</c:v>
                </c:pt>
                <c:pt idx="2902">
                  <c:v>2.9400300000000001</c:v>
                </c:pt>
                <c:pt idx="2903">
                  <c:v>2.53647</c:v>
                </c:pt>
                <c:pt idx="2904">
                  <c:v>#N/A</c:v>
                </c:pt>
                <c:pt idx="2905">
                  <c:v>2.39181</c:v>
                </c:pt>
                <c:pt idx="2906">
                  <c:v>3.3085900000000001</c:v>
                </c:pt>
                <c:pt idx="2907">
                  <c:v>3.2965</c:v>
                </c:pt>
                <c:pt idx="2908">
                  <c:v>#N/A</c:v>
                </c:pt>
                <c:pt idx="2909">
                  <c:v>3.4779200000000001</c:v>
                </c:pt>
                <c:pt idx="2910">
                  <c:v>3.33718</c:v>
                </c:pt>
                <c:pt idx="2911">
                  <c:v>2.49119</c:v>
                </c:pt>
                <c:pt idx="2912">
                  <c:v>#N/A</c:v>
                </c:pt>
                <c:pt idx="2913">
                  <c:v>1.9510400000000001</c:v>
                </c:pt>
                <c:pt idx="2914">
                  <c:v>2.56602</c:v>
                </c:pt>
                <c:pt idx="2915">
                  <c:v>2.6063499999999999</c:v>
                </c:pt>
                <c:pt idx="2916">
                  <c:v>#N/A</c:v>
                </c:pt>
                <c:pt idx="2917">
                  <c:v>2.50366</c:v>
                </c:pt>
                <c:pt idx="2918">
                  <c:v>3.3525</c:v>
                </c:pt>
                <c:pt idx="2919">
                  <c:v>3.4040599999999999</c:v>
                </c:pt>
                <c:pt idx="2920">
                  <c:v>#N/A</c:v>
                </c:pt>
                <c:pt idx="2921">
                  <c:v>3.3924300000000001</c:v>
                </c:pt>
                <c:pt idx="2922">
                  <c:v>2.9802900000000001</c:v>
                </c:pt>
                <c:pt idx="2923">
                  <c:v>2.5649600000000001</c:v>
                </c:pt>
                <c:pt idx="2924">
                  <c:v>#N/A</c:v>
                </c:pt>
                <c:pt idx="2925">
                  <c:v>2.5472600000000001</c:v>
                </c:pt>
                <c:pt idx="2926">
                  <c:v>2.37677</c:v>
                </c:pt>
                <c:pt idx="2927">
                  <c:v>#N/A</c:v>
                </c:pt>
                <c:pt idx="2928">
                  <c:v>2.4667300000000001</c:v>
                </c:pt>
                <c:pt idx="2929">
                  <c:v>2.4348999999999998</c:v>
                </c:pt>
                <c:pt idx="2930">
                  <c:v>3.2896800000000002</c:v>
                </c:pt>
                <c:pt idx="2931">
                  <c:v>#N/A</c:v>
                </c:pt>
                <c:pt idx="2932">
                  <c:v>3.0192899999999998</c:v>
                </c:pt>
                <c:pt idx="2933">
                  <c:v>2.47783</c:v>
                </c:pt>
                <c:pt idx="2934">
                  <c:v>2.3473000000000002</c:v>
                </c:pt>
                <c:pt idx="2935">
                  <c:v>#N/A</c:v>
                </c:pt>
                <c:pt idx="2936">
                  <c:v>1.8821099999999999</c:v>
                </c:pt>
                <c:pt idx="2937">
                  <c:v>2.3333300000000001</c:v>
                </c:pt>
                <c:pt idx="2938">
                  <c:v>2.4974500000000002</c:v>
                </c:pt>
                <c:pt idx="2939">
                  <c:v>#N/A</c:v>
                </c:pt>
                <c:pt idx="2940">
                  <c:v>2.6338699999999999</c:v>
                </c:pt>
                <c:pt idx="2941">
                  <c:v>2.4264800000000002</c:v>
                </c:pt>
                <c:pt idx="2942">
                  <c:v>#N/A</c:v>
                </c:pt>
                <c:pt idx="2943">
                  <c:v>2.0789800000000001</c:v>
                </c:pt>
                <c:pt idx="2944">
                  <c:v>2.45702</c:v>
                </c:pt>
                <c:pt idx="2945">
                  <c:v>2.7779199999999999</c:v>
                </c:pt>
                <c:pt idx="2946">
                  <c:v>#N/A</c:v>
                </c:pt>
                <c:pt idx="2947">
                  <c:v>2.6840899999999999</c:v>
                </c:pt>
                <c:pt idx="2948">
                  <c:v>3.0358299999999998</c:v>
                </c:pt>
                <c:pt idx="2949">
                  <c:v>#N/A</c:v>
                </c:pt>
                <c:pt idx="2950">
                  <c:v>3.34212</c:v>
                </c:pt>
                <c:pt idx="2951">
                  <c:v>2.5163099999999998</c:v>
                </c:pt>
                <c:pt idx="2952">
                  <c:v>#N/A</c:v>
                </c:pt>
                <c:pt idx="2953">
                  <c:v>3.0330599999999999</c:v>
                </c:pt>
                <c:pt idx="2954">
                  <c:v>2.2968700000000002</c:v>
                </c:pt>
                <c:pt idx="2955">
                  <c:v>2.1595800000000001</c:v>
                </c:pt>
                <c:pt idx="2956">
                  <c:v>#N/A</c:v>
                </c:pt>
                <c:pt idx="2957">
                  <c:v>2.47573</c:v>
                </c:pt>
                <c:pt idx="2958">
                  <c:v>3.03579</c:v>
                </c:pt>
                <c:pt idx="2959">
                  <c:v>#N/A</c:v>
                </c:pt>
                <c:pt idx="2960">
                  <c:v>3.25528</c:v>
                </c:pt>
                <c:pt idx="2961">
                  <c:v>3.4775800000000001</c:v>
                </c:pt>
                <c:pt idx="2962">
                  <c:v>3.2052399999999999</c:v>
                </c:pt>
                <c:pt idx="2963">
                  <c:v>#N/A</c:v>
                </c:pt>
                <c:pt idx="2964">
                  <c:v>3.19353</c:v>
                </c:pt>
                <c:pt idx="2965">
                  <c:v>3.00963</c:v>
                </c:pt>
                <c:pt idx="2966">
                  <c:v>2.4120200000000001</c:v>
                </c:pt>
                <c:pt idx="2967">
                  <c:v>#N/A</c:v>
                </c:pt>
                <c:pt idx="2968">
                  <c:v>1.9965599999999999</c:v>
                </c:pt>
                <c:pt idx="2969">
                  <c:v>2.6901000000000002</c:v>
                </c:pt>
                <c:pt idx="2970">
                  <c:v>3.3632200000000001</c:v>
                </c:pt>
                <c:pt idx="2971">
                  <c:v>#N/A</c:v>
                </c:pt>
                <c:pt idx="2972">
                  <c:v>3.4304600000000001</c:v>
                </c:pt>
                <c:pt idx="2973">
                  <c:v>3.3998699999999999</c:v>
                </c:pt>
                <c:pt idx="2974">
                  <c:v>3.0185300000000002</c:v>
                </c:pt>
                <c:pt idx="2975">
                  <c:v>#N/A</c:v>
                </c:pt>
                <c:pt idx="2976">
                  <c:v>2.6143399999999999</c:v>
                </c:pt>
                <c:pt idx="2977">
                  <c:v>2.8792200000000001</c:v>
                </c:pt>
                <c:pt idx="2978">
                  <c:v>2.8775200000000001</c:v>
                </c:pt>
                <c:pt idx="2979">
                  <c:v>#N/A</c:v>
                </c:pt>
                <c:pt idx="2980">
                  <c:v>3.2981799999999999</c:v>
                </c:pt>
                <c:pt idx="2981">
                  <c:v>3.2244600000000001</c:v>
                </c:pt>
                <c:pt idx="2982">
                  <c:v>3.0766200000000001</c:v>
                </c:pt>
                <c:pt idx="2983">
                  <c:v>#N/A</c:v>
                </c:pt>
                <c:pt idx="2984">
                  <c:v>2.9166799999999999</c:v>
                </c:pt>
                <c:pt idx="2985">
                  <c:v>2.6377899999999999</c:v>
                </c:pt>
                <c:pt idx="2986">
                  <c:v>2.9857200000000002</c:v>
                </c:pt>
                <c:pt idx="2987">
                  <c:v>#N/A</c:v>
                </c:pt>
                <c:pt idx="2988">
                  <c:v>2.4620700000000002</c:v>
                </c:pt>
                <c:pt idx="2989">
                  <c:v>3.2600199999999999</c:v>
                </c:pt>
                <c:pt idx="2990">
                  <c:v>2.8357700000000001</c:v>
                </c:pt>
                <c:pt idx="2991">
                  <c:v>#N/A</c:v>
                </c:pt>
                <c:pt idx="2992">
                  <c:v>2.4600399999999998</c:v>
                </c:pt>
                <c:pt idx="2993">
                  <c:v>2.6198399999999999</c:v>
                </c:pt>
                <c:pt idx="2994">
                  <c:v>#N/A</c:v>
                </c:pt>
                <c:pt idx="2995">
                  <c:v>2.7351800000000002</c:v>
                </c:pt>
                <c:pt idx="2996">
                  <c:v>2.4488500000000002</c:v>
                </c:pt>
                <c:pt idx="2997">
                  <c:v>2.1459199999999998</c:v>
                </c:pt>
                <c:pt idx="2998">
                  <c:v>#N/A</c:v>
                </c:pt>
                <c:pt idx="2999">
                  <c:v>2.0803699999999998</c:v>
                </c:pt>
                <c:pt idx="3000">
                  <c:v>2.6513399999999998</c:v>
                </c:pt>
                <c:pt idx="3001">
                  <c:v>2.85792</c:v>
                </c:pt>
                <c:pt idx="3002">
                  <c:v>#N/A</c:v>
                </c:pt>
                <c:pt idx="3003">
                  <c:v>3.1522000000000001</c:v>
                </c:pt>
                <c:pt idx="3004">
                  <c:v>3.2805399999999998</c:v>
                </c:pt>
                <c:pt idx="3005">
                  <c:v>#N/A</c:v>
                </c:pt>
                <c:pt idx="3006">
                  <c:v>2.7198600000000002</c:v>
                </c:pt>
                <c:pt idx="3007">
                  <c:v>#N/A</c:v>
                </c:pt>
                <c:pt idx="3008">
                  <c:v>2.76065</c:v>
                </c:pt>
                <c:pt idx="3009">
                  <c:v>2.3275700000000001</c:v>
                </c:pt>
                <c:pt idx="3010">
                  <c:v>3.42198</c:v>
                </c:pt>
                <c:pt idx="3011">
                  <c:v>#N/A</c:v>
                </c:pt>
                <c:pt idx="3012">
                  <c:v>2.7134499999999999</c:v>
                </c:pt>
                <c:pt idx="3013">
                  <c:v>3.2316600000000002</c:v>
                </c:pt>
                <c:pt idx="3014">
                  <c:v>2.7716799999999999</c:v>
                </c:pt>
                <c:pt idx="3015">
                  <c:v>#N/A</c:v>
                </c:pt>
                <c:pt idx="3016">
                  <c:v>2.60372</c:v>
                </c:pt>
                <c:pt idx="3017">
                  <c:v>2.5024099999999998</c:v>
                </c:pt>
                <c:pt idx="3018">
                  <c:v>#N/A</c:v>
                </c:pt>
                <c:pt idx="3019">
                  <c:v>2.6240899999999998</c:v>
                </c:pt>
                <c:pt idx="3020">
                  <c:v>2.28383</c:v>
                </c:pt>
                <c:pt idx="3021">
                  <c:v>2.53871</c:v>
                </c:pt>
                <c:pt idx="3022">
                  <c:v>#N/A</c:v>
                </c:pt>
                <c:pt idx="3023">
                  <c:v>2.7068400000000001</c:v>
                </c:pt>
                <c:pt idx="3024">
                  <c:v>2.8531399999999998</c:v>
                </c:pt>
                <c:pt idx="3025">
                  <c:v>3.3175300000000001</c:v>
                </c:pt>
                <c:pt idx="3026">
                  <c:v>#N/A</c:v>
                </c:pt>
                <c:pt idx="3027">
                  <c:v>2.6482100000000002</c:v>
                </c:pt>
                <c:pt idx="3028">
                  <c:v>2.5016600000000002</c:v>
                </c:pt>
                <c:pt idx="3029">
                  <c:v>2.2240899999999999</c:v>
                </c:pt>
                <c:pt idx="3030">
                  <c:v>#N/A</c:v>
                </c:pt>
                <c:pt idx="3031">
                  <c:v>2.8935</c:v>
                </c:pt>
                <c:pt idx="3032">
                  <c:v>2.68581</c:v>
                </c:pt>
                <c:pt idx="3033">
                  <c:v>2.8434400000000002</c:v>
                </c:pt>
                <c:pt idx="3034">
                  <c:v>#N/A</c:v>
                </c:pt>
                <c:pt idx="3035">
                  <c:v>2.8304900000000002</c:v>
                </c:pt>
                <c:pt idx="3036">
                  <c:v>2.4882399999999998</c:v>
                </c:pt>
                <c:pt idx="3037">
                  <c:v>2.1929099999999999</c:v>
                </c:pt>
                <c:pt idx="3038">
                  <c:v>#N/A</c:v>
                </c:pt>
                <c:pt idx="3039">
                  <c:v>1.7586200000000001</c:v>
                </c:pt>
                <c:pt idx="3040">
                  <c:v>1.9833099999999999</c:v>
                </c:pt>
                <c:pt idx="3041">
                  <c:v>#N/A</c:v>
                </c:pt>
                <c:pt idx="3042">
                  <c:v>2.7731300000000001</c:v>
                </c:pt>
                <c:pt idx="3043">
                  <c:v>2.85893</c:v>
                </c:pt>
                <c:pt idx="3044">
                  <c:v>3.29582</c:v>
                </c:pt>
                <c:pt idx="3045">
                  <c:v>#N/A</c:v>
                </c:pt>
                <c:pt idx="3046">
                  <c:v>2.63931</c:v>
                </c:pt>
                <c:pt idx="3047">
                  <c:v>2.7153499999999999</c:v>
                </c:pt>
                <c:pt idx="3048">
                  <c:v>2.1720299999999999</c:v>
                </c:pt>
                <c:pt idx="3049">
                  <c:v>#N/A</c:v>
                </c:pt>
                <c:pt idx="3050">
                  <c:v>1.7095400000000001</c:v>
                </c:pt>
                <c:pt idx="3051">
                  <c:v>1.8023199999999999</c:v>
                </c:pt>
                <c:pt idx="3052">
                  <c:v>2.3546800000000001</c:v>
                </c:pt>
                <c:pt idx="3053">
                  <c:v>#N/A</c:v>
                </c:pt>
                <c:pt idx="3054">
                  <c:v>2.4832200000000002</c:v>
                </c:pt>
                <c:pt idx="3055">
                  <c:v>2.68655</c:v>
                </c:pt>
                <c:pt idx="3056">
                  <c:v>2.2763100000000001</c:v>
                </c:pt>
                <c:pt idx="3057">
                  <c:v>#N/A</c:v>
                </c:pt>
                <c:pt idx="3058">
                  <c:v>2.04114</c:v>
                </c:pt>
                <c:pt idx="3059">
                  <c:v>1.74136</c:v>
                </c:pt>
                <c:pt idx="3060">
                  <c:v>1.7616099999999999</c:v>
                </c:pt>
                <c:pt idx="3061">
                  <c:v>#N/A</c:v>
                </c:pt>
                <c:pt idx="3062">
                  <c:v>2.1808900000000002</c:v>
                </c:pt>
                <c:pt idx="3063">
                  <c:v>2.6879200000000001</c:v>
                </c:pt>
                <c:pt idx="3064">
                  <c:v>2.88958</c:v>
                </c:pt>
                <c:pt idx="3065">
                  <c:v>#N/A</c:v>
                </c:pt>
                <c:pt idx="3066">
                  <c:v>3.0530300000000001</c:v>
                </c:pt>
                <c:pt idx="3067">
                  <c:v>3.1467200000000002</c:v>
                </c:pt>
                <c:pt idx="3068">
                  <c:v>2.3894899999999999</c:v>
                </c:pt>
                <c:pt idx="3069">
                  <c:v>#N/A</c:v>
                </c:pt>
                <c:pt idx="3070">
                  <c:v>2.3280500000000002</c:v>
                </c:pt>
                <c:pt idx="3071">
                  <c:v>2.2591700000000001</c:v>
                </c:pt>
                <c:pt idx="3072">
                  <c:v>2.5571700000000002</c:v>
                </c:pt>
                <c:pt idx="3073">
                  <c:v>#N/A</c:v>
                </c:pt>
                <c:pt idx="3074">
                  <c:v>2.8508800000000001</c:v>
                </c:pt>
                <c:pt idx="3075">
                  <c:v>2.61069</c:v>
                </c:pt>
                <c:pt idx="3076">
                  <c:v>2.6550400000000001</c:v>
                </c:pt>
                <c:pt idx="3077">
                  <c:v>#N/A</c:v>
                </c:pt>
                <c:pt idx="3078">
                  <c:v>2.4685899999999998</c:v>
                </c:pt>
                <c:pt idx="3079">
                  <c:v>2.1854800000000001</c:v>
                </c:pt>
                <c:pt idx="3080">
                  <c:v>#N/A</c:v>
                </c:pt>
                <c:pt idx="3081">
                  <c:v>1.8677600000000001</c:v>
                </c:pt>
                <c:pt idx="3082">
                  <c:v>1.95855</c:v>
                </c:pt>
                <c:pt idx="3083">
                  <c:v>2.0407299999999999</c:v>
                </c:pt>
                <c:pt idx="3084">
                  <c:v>#N/A</c:v>
                </c:pt>
                <c:pt idx="3085">
                  <c:v>2.7301000000000002</c:v>
                </c:pt>
                <c:pt idx="3086">
                  <c:v>3.6065100000000001</c:v>
                </c:pt>
                <c:pt idx="3087">
                  <c:v>3.0568399999999998</c:v>
                </c:pt>
                <c:pt idx="3088">
                  <c:v>#N/A</c:v>
                </c:pt>
                <c:pt idx="3089">
                  <c:v>3.0594000000000001</c:v>
                </c:pt>
                <c:pt idx="3090">
                  <c:v>2.3448799999999999</c:v>
                </c:pt>
                <c:pt idx="3091">
                  <c:v>2.2588599999999999</c:v>
                </c:pt>
                <c:pt idx="3092">
                  <c:v>#N/A</c:v>
                </c:pt>
                <c:pt idx="3093">
                  <c:v>2.2042600000000001</c:v>
                </c:pt>
                <c:pt idx="3094">
                  <c:v>2.70987</c:v>
                </c:pt>
                <c:pt idx="3095">
                  <c:v>2.59633</c:v>
                </c:pt>
                <c:pt idx="3096">
                  <c:v>#N/A</c:v>
                </c:pt>
                <c:pt idx="3097">
                  <c:v>2.5474600000000001</c:v>
                </c:pt>
                <c:pt idx="3098">
                  <c:v>1.7331399999999999</c:v>
                </c:pt>
                <c:pt idx="3099">
                  <c:v>#N/A</c:v>
                </c:pt>
                <c:pt idx="3100">
                  <c:v>1.6128199999999999</c:v>
                </c:pt>
                <c:pt idx="3101">
                  <c:v>1.96671</c:v>
                </c:pt>
                <c:pt idx="3102">
                  <c:v>#N/A</c:v>
                </c:pt>
                <c:pt idx="3103">
                  <c:v>1.7943199999999999</c:v>
                </c:pt>
                <c:pt idx="3104">
                  <c:v>2.7831800000000002</c:v>
                </c:pt>
                <c:pt idx="3105">
                  <c:v>2.7013600000000002</c:v>
                </c:pt>
                <c:pt idx="3106">
                  <c:v>#N/A</c:v>
                </c:pt>
                <c:pt idx="3107">
                  <c:v>2.5146799999999998</c:v>
                </c:pt>
                <c:pt idx="3108">
                  <c:v>2.3934000000000002</c:v>
                </c:pt>
                <c:pt idx="3109">
                  <c:v>2.2455500000000002</c:v>
                </c:pt>
                <c:pt idx="3110">
                  <c:v>#N/A</c:v>
                </c:pt>
                <c:pt idx="3111">
                  <c:v>2.5030199999999998</c:v>
                </c:pt>
                <c:pt idx="3112">
                  <c:v>2.3460299999999998</c:v>
                </c:pt>
                <c:pt idx="3113">
                  <c:v>2.2982399999999998</c:v>
                </c:pt>
                <c:pt idx="3114">
                  <c:v>#N/A</c:v>
                </c:pt>
                <c:pt idx="3115">
                  <c:v>2.4464100000000002</c:v>
                </c:pt>
                <c:pt idx="3116">
                  <c:v>2.8840599999999998</c:v>
                </c:pt>
                <c:pt idx="3117">
                  <c:v>2.9436900000000001</c:v>
                </c:pt>
                <c:pt idx="3118">
                  <c:v>#N/A</c:v>
                </c:pt>
                <c:pt idx="3119">
                  <c:v>2.7920699999999998</c:v>
                </c:pt>
                <c:pt idx="3120">
                  <c:v>2.0361799999999999</c:v>
                </c:pt>
                <c:pt idx="3121">
                  <c:v>1.99458</c:v>
                </c:pt>
                <c:pt idx="3122">
                  <c:v>#N/A</c:v>
                </c:pt>
                <c:pt idx="3123">
                  <c:v>1.50421</c:v>
                </c:pt>
                <c:pt idx="3124">
                  <c:v>2.09395</c:v>
                </c:pt>
                <c:pt idx="3125">
                  <c:v>#N/A</c:v>
                </c:pt>
                <c:pt idx="3126">
                  <c:v>2.2258300000000002</c:v>
                </c:pt>
                <c:pt idx="3127">
                  <c:v>2.9642599999999999</c:v>
                </c:pt>
                <c:pt idx="3128">
                  <c:v>2.79583</c:v>
                </c:pt>
                <c:pt idx="3129">
                  <c:v>#N/A</c:v>
                </c:pt>
                <c:pt idx="3130">
                  <c:v>2.9738600000000002</c:v>
                </c:pt>
                <c:pt idx="3131">
                  <c:v>2.1796500000000001</c:v>
                </c:pt>
                <c:pt idx="3132">
                  <c:v>2.0672700000000002</c:v>
                </c:pt>
                <c:pt idx="3133">
                  <c:v>#N/A</c:v>
                </c:pt>
                <c:pt idx="3134">
                  <c:v>1.80755</c:v>
                </c:pt>
                <c:pt idx="3135">
                  <c:v>1.8447100000000001</c:v>
                </c:pt>
                <c:pt idx="3136">
                  <c:v>1.9678599999999999</c:v>
                </c:pt>
                <c:pt idx="3137">
                  <c:v>#N/A</c:v>
                </c:pt>
                <c:pt idx="3138">
                  <c:v>2.59456</c:v>
                </c:pt>
                <c:pt idx="3139">
                  <c:v>2.8951500000000001</c:v>
                </c:pt>
                <c:pt idx="3140">
                  <c:v>2.9703499999999998</c:v>
                </c:pt>
                <c:pt idx="3141">
                  <c:v>#N/A</c:v>
                </c:pt>
                <c:pt idx="3142">
                  <c:v>2.79725</c:v>
                </c:pt>
                <c:pt idx="3143">
                  <c:v>2.3553199999999999</c:v>
                </c:pt>
                <c:pt idx="3144">
                  <c:v>2.4577900000000001</c:v>
                </c:pt>
                <c:pt idx="3145">
                  <c:v>#N/A</c:v>
                </c:pt>
                <c:pt idx="3146">
                  <c:v>2.4276</c:v>
                </c:pt>
                <c:pt idx="3147">
                  <c:v>2.6757900000000001</c:v>
                </c:pt>
                <c:pt idx="3148">
                  <c:v>3.1588500000000002</c:v>
                </c:pt>
                <c:pt idx="3149">
                  <c:v>#N/A</c:v>
                </c:pt>
                <c:pt idx="3150">
                  <c:v>3.0181300000000002</c:v>
                </c:pt>
                <c:pt idx="3151">
                  <c:v>2.7332700000000001</c:v>
                </c:pt>
                <c:pt idx="3152">
                  <c:v>2.3383799999999999</c:v>
                </c:pt>
                <c:pt idx="3153">
                  <c:v>#N/A</c:v>
                </c:pt>
                <c:pt idx="3154">
                  <c:v>2.02474</c:v>
                </c:pt>
                <c:pt idx="3155">
                  <c:v>2.2534900000000002</c:v>
                </c:pt>
                <c:pt idx="3156">
                  <c:v>#N/A</c:v>
                </c:pt>
                <c:pt idx="3157">
                  <c:v>2.7062400000000002</c:v>
                </c:pt>
                <c:pt idx="3158">
                  <c:v>2.68682</c:v>
                </c:pt>
                <c:pt idx="3159">
                  <c:v>2.3536600000000001</c:v>
                </c:pt>
                <c:pt idx="3160">
                  <c:v>#N/A</c:v>
                </c:pt>
                <c:pt idx="3161">
                  <c:v>1.6855899999999999</c:v>
                </c:pt>
                <c:pt idx="3162">
                  <c:v>2.0725600000000002</c:v>
                </c:pt>
                <c:pt idx="3163">
                  <c:v>1.3887499999999999</c:v>
                </c:pt>
                <c:pt idx="3164">
                  <c:v>#N/A</c:v>
                </c:pt>
                <c:pt idx="3165">
                  <c:v>1.95383</c:v>
                </c:pt>
                <c:pt idx="3166">
                  <c:v>2.0897999999999999</c:v>
                </c:pt>
                <c:pt idx="3167">
                  <c:v>2.5021599999999999</c:v>
                </c:pt>
                <c:pt idx="3168">
                  <c:v>#N/A</c:v>
                </c:pt>
                <c:pt idx="3169">
                  <c:v>3.0960899999999998</c:v>
                </c:pt>
                <c:pt idx="3170">
                  <c:v>2.63096</c:v>
                </c:pt>
                <c:pt idx="3171">
                  <c:v>2.1503899999999998</c:v>
                </c:pt>
                <c:pt idx="3172">
                  <c:v>#N/A</c:v>
                </c:pt>
                <c:pt idx="3173">
                  <c:v>1.7643899999999999</c:v>
                </c:pt>
                <c:pt idx="3174">
                  <c:v>#N/A</c:v>
                </c:pt>
                <c:pt idx="3175">
                  <c:v>1.7742199999999999</c:v>
                </c:pt>
                <c:pt idx="3176">
                  <c:v>2.5763500000000001</c:v>
                </c:pt>
                <c:pt idx="3177">
                  <c:v>#N/A</c:v>
                </c:pt>
                <c:pt idx="3178">
                  <c:v>2.8332000000000002</c:v>
                </c:pt>
                <c:pt idx="3179">
                  <c:v>3.0582400000000001</c:v>
                </c:pt>
                <c:pt idx="3180">
                  <c:v>#N/A</c:v>
                </c:pt>
                <c:pt idx="3181">
                  <c:v>2.9214699999999998</c:v>
                </c:pt>
                <c:pt idx="3182">
                  <c:v>2.40604</c:v>
                </c:pt>
                <c:pt idx="3183">
                  <c:v>2.25468</c:v>
                </c:pt>
                <c:pt idx="3184">
                  <c:v>#N/A</c:v>
                </c:pt>
                <c:pt idx="3185">
                  <c:v>1.82334</c:v>
                </c:pt>
                <c:pt idx="3186">
                  <c:v>1.5188299999999999</c:v>
                </c:pt>
                <c:pt idx="3187">
                  <c:v>2.0950899999999999</c:v>
                </c:pt>
                <c:pt idx="3188">
                  <c:v>#N/A</c:v>
                </c:pt>
                <c:pt idx="3189">
                  <c:v>2.9487899999999998</c:v>
                </c:pt>
                <c:pt idx="3190">
                  <c:v>3.58589</c:v>
                </c:pt>
                <c:pt idx="3191">
                  <c:v>#N/A</c:v>
                </c:pt>
                <c:pt idx="3192">
                  <c:v>3.3120599999999998</c:v>
                </c:pt>
                <c:pt idx="3193">
                  <c:v>3.18736</c:v>
                </c:pt>
                <c:pt idx="3194">
                  <c:v>1.82959</c:v>
                </c:pt>
                <c:pt idx="3195">
                  <c:v>#N/A</c:v>
                </c:pt>
                <c:pt idx="3196">
                  <c:v>2.3067899999999999</c:v>
                </c:pt>
                <c:pt idx="3197">
                  <c:v>1.73227</c:v>
                </c:pt>
                <c:pt idx="3198">
                  <c:v>2.1219899999999998</c:v>
                </c:pt>
                <c:pt idx="3199">
                  <c:v>#N/A</c:v>
                </c:pt>
                <c:pt idx="3200">
                  <c:v>2.55179</c:v>
                </c:pt>
                <c:pt idx="3201">
                  <c:v>2.8897400000000002</c:v>
                </c:pt>
                <c:pt idx="3202">
                  <c:v>2.88381</c:v>
                </c:pt>
                <c:pt idx="3203">
                  <c:v>#N/A</c:v>
                </c:pt>
                <c:pt idx="3204">
                  <c:v>2.4418799999999998</c:v>
                </c:pt>
                <c:pt idx="3205">
                  <c:v>2.2274799999999999</c:v>
                </c:pt>
                <c:pt idx="3206">
                  <c:v>1.41842</c:v>
                </c:pt>
                <c:pt idx="3207">
                  <c:v>#N/A</c:v>
                </c:pt>
                <c:pt idx="3208">
                  <c:v>2.1383800000000002</c:v>
                </c:pt>
                <c:pt idx="3209">
                  <c:v>2.7849400000000002</c:v>
                </c:pt>
                <c:pt idx="3210">
                  <c:v>#N/A</c:v>
                </c:pt>
                <c:pt idx="3211">
                  <c:v>3.01593</c:v>
                </c:pt>
                <c:pt idx="3212">
                  <c:v>3.3428499999999999</c:v>
                </c:pt>
                <c:pt idx="3213">
                  <c:v>3.3140100000000001</c:v>
                </c:pt>
                <c:pt idx="3214">
                  <c:v>#N/A</c:v>
                </c:pt>
                <c:pt idx="3215">
                  <c:v>2.9681099999999998</c:v>
                </c:pt>
                <c:pt idx="3216">
                  <c:v>2.49627</c:v>
                </c:pt>
                <c:pt idx="3217">
                  <c:v>2.54765</c:v>
                </c:pt>
                <c:pt idx="3218">
                  <c:v>#N/A</c:v>
                </c:pt>
                <c:pt idx="3219">
                  <c:v>2.30355</c:v>
                </c:pt>
                <c:pt idx="3220">
                  <c:v>2.6748400000000001</c:v>
                </c:pt>
                <c:pt idx="3221">
                  <c:v>2.68059</c:v>
                </c:pt>
                <c:pt idx="3222">
                  <c:v>#N/A</c:v>
                </c:pt>
                <c:pt idx="3223">
                  <c:v>3.02624</c:v>
                </c:pt>
                <c:pt idx="3224">
                  <c:v>2.2803100000000001</c:v>
                </c:pt>
                <c:pt idx="3225">
                  <c:v>2.3710900000000001</c:v>
                </c:pt>
                <c:pt idx="3226">
                  <c:v>#N/A</c:v>
                </c:pt>
                <c:pt idx="3227">
                  <c:v>2.2128299999999999</c:v>
                </c:pt>
                <c:pt idx="3228">
                  <c:v>2.0247799999999998</c:v>
                </c:pt>
                <c:pt idx="3229">
                  <c:v>#N/A</c:v>
                </c:pt>
                <c:pt idx="3230">
                  <c:v>2.2562899999999999</c:v>
                </c:pt>
                <c:pt idx="3231">
                  <c:v>2.2670699999999999</c:v>
                </c:pt>
                <c:pt idx="3232">
                  <c:v>2.4812500000000002</c:v>
                </c:pt>
                <c:pt idx="3233">
                  <c:v>#N/A</c:v>
                </c:pt>
                <c:pt idx="3234">
                  <c:v>2.10677</c:v>
                </c:pt>
                <c:pt idx="3235">
                  <c:v>2.5243000000000002</c:v>
                </c:pt>
                <c:pt idx="3236">
                  <c:v>2.4652400000000001</c:v>
                </c:pt>
                <c:pt idx="3237">
                  <c:v>#N/A</c:v>
                </c:pt>
                <c:pt idx="3238">
                  <c:v>2.4366400000000001</c:v>
                </c:pt>
                <c:pt idx="3239">
                  <c:v>2.35378</c:v>
                </c:pt>
                <c:pt idx="3240">
                  <c:v>2.88584</c:v>
                </c:pt>
                <c:pt idx="3241">
                  <c:v>#N/A</c:v>
                </c:pt>
                <c:pt idx="3242">
                  <c:v>2.9490099999999999</c:v>
                </c:pt>
                <c:pt idx="3243">
                  <c:v>2.59015</c:v>
                </c:pt>
                <c:pt idx="3244">
                  <c:v>2.3742899999999998</c:v>
                </c:pt>
                <c:pt idx="3245">
                  <c:v>#N/A</c:v>
                </c:pt>
                <c:pt idx="3246">
                  <c:v>2.4788700000000001</c:v>
                </c:pt>
                <c:pt idx="3247">
                  <c:v>1.88</c:v>
                </c:pt>
                <c:pt idx="3248">
                  <c:v>2.7525400000000002</c:v>
                </c:pt>
                <c:pt idx="3249">
                  <c:v>#N/A</c:v>
                </c:pt>
                <c:pt idx="3250">
                  <c:v>3.3017799999999999</c:v>
                </c:pt>
                <c:pt idx="3251">
                  <c:v>#N/A</c:v>
                </c:pt>
                <c:pt idx="3252">
                  <c:v>3.3815900000000001</c:v>
                </c:pt>
                <c:pt idx="3253">
                  <c:v>3.35101</c:v>
                </c:pt>
                <c:pt idx="3254">
                  <c:v>3.1810200000000002</c:v>
                </c:pt>
                <c:pt idx="3255">
                  <c:v>#N/A</c:v>
                </c:pt>
                <c:pt idx="3256">
                  <c:v>2.2236199999999999</c:v>
                </c:pt>
                <c:pt idx="3257">
                  <c:v>2.09057</c:v>
                </c:pt>
                <c:pt idx="3258">
                  <c:v>1.6163099999999999</c:v>
                </c:pt>
                <c:pt idx="3259">
                  <c:v>#N/A</c:v>
                </c:pt>
                <c:pt idx="3260">
                  <c:v>1.4444900000000001</c:v>
                </c:pt>
                <c:pt idx="3261">
                  <c:v>2.33127</c:v>
                </c:pt>
                <c:pt idx="3262">
                  <c:v>3.1278899999999998</c:v>
                </c:pt>
                <c:pt idx="3263">
                  <c:v>#N/A</c:v>
                </c:pt>
                <c:pt idx="3264">
                  <c:v>2.7872699999999999</c:v>
                </c:pt>
                <c:pt idx="3265">
                  <c:v>2.8524500000000002</c:v>
                </c:pt>
                <c:pt idx="3266">
                  <c:v>2.2354400000000001</c:v>
                </c:pt>
                <c:pt idx="3267">
                  <c:v>#N/A</c:v>
                </c:pt>
                <c:pt idx="3268">
                  <c:v>2.2009799999999999</c:v>
                </c:pt>
                <c:pt idx="3269">
                  <c:v>1.85704</c:v>
                </c:pt>
                <c:pt idx="3270">
                  <c:v>2.16194</c:v>
                </c:pt>
                <c:pt idx="3271">
                  <c:v>#N/A</c:v>
                </c:pt>
                <c:pt idx="3272">
                  <c:v>2.4085399999999999</c:v>
                </c:pt>
                <c:pt idx="3273">
                  <c:v>3.3925100000000001</c:v>
                </c:pt>
                <c:pt idx="3274">
                  <c:v>#N/A</c:v>
                </c:pt>
                <c:pt idx="3275">
                  <c:v>3.8893599999999999</c:v>
                </c:pt>
                <c:pt idx="3276">
                  <c:v>3.0757300000000001</c:v>
                </c:pt>
                <c:pt idx="3277">
                  <c:v>2.6318800000000002</c:v>
                </c:pt>
                <c:pt idx="3278">
                  <c:v>#N/A</c:v>
                </c:pt>
                <c:pt idx="3279">
                  <c:v>2.4961500000000001</c:v>
                </c:pt>
                <c:pt idx="3280">
                  <c:v>2.09592</c:v>
                </c:pt>
                <c:pt idx="3281">
                  <c:v>1.5921700000000001</c:v>
                </c:pt>
                <c:pt idx="3282">
                  <c:v>#N/A</c:v>
                </c:pt>
                <c:pt idx="3283">
                  <c:v>1.9945200000000001</c:v>
                </c:pt>
                <c:pt idx="3284">
                  <c:v>2.1195900000000001</c:v>
                </c:pt>
                <c:pt idx="3285">
                  <c:v>2.8849200000000002</c:v>
                </c:pt>
                <c:pt idx="3286">
                  <c:v>#N/A</c:v>
                </c:pt>
                <c:pt idx="3287">
                  <c:v>2.9582899999999999</c:v>
                </c:pt>
                <c:pt idx="3288">
                  <c:v>2.7071200000000002</c:v>
                </c:pt>
                <c:pt idx="3289">
                  <c:v>#N/A</c:v>
                </c:pt>
                <c:pt idx="3290">
                  <c:v>2.2321900000000001</c:v>
                </c:pt>
                <c:pt idx="3291">
                  <c:v>1.84596</c:v>
                </c:pt>
                <c:pt idx="3292">
                  <c:v>2.1598099999999998</c:v>
                </c:pt>
                <c:pt idx="3293">
                  <c:v>#N/A</c:v>
                </c:pt>
                <c:pt idx="3294">
                  <c:v>2.9204599999999998</c:v>
                </c:pt>
                <c:pt idx="3295">
                  <c:v>3.42706</c:v>
                </c:pt>
                <c:pt idx="3296">
                  <c:v>3.4251800000000001</c:v>
                </c:pt>
                <c:pt idx="3297">
                  <c:v>#N/A</c:v>
                </c:pt>
                <c:pt idx="3298">
                  <c:v>3.9881099999999998</c:v>
                </c:pt>
                <c:pt idx="3299">
                  <c:v>3.5661399999999999</c:v>
                </c:pt>
                <c:pt idx="3300">
                  <c:v>2.7913100000000002</c:v>
                </c:pt>
                <c:pt idx="3301">
                  <c:v>#N/A</c:v>
                </c:pt>
                <c:pt idx="3302">
                  <c:v>2.6188600000000002</c:v>
                </c:pt>
                <c:pt idx="3303">
                  <c:v>2.7955800000000002</c:v>
                </c:pt>
                <c:pt idx="3304">
                  <c:v>3.3246500000000001</c:v>
                </c:pt>
                <c:pt idx="3305">
                  <c:v>#N/A</c:v>
                </c:pt>
                <c:pt idx="3306">
                  <c:v>2.8348599999999999</c:v>
                </c:pt>
                <c:pt idx="3307">
                  <c:v>2.5291899999999998</c:v>
                </c:pt>
                <c:pt idx="3308">
                  <c:v>2.5742799999999999</c:v>
                </c:pt>
                <c:pt idx="3309">
                  <c:v>#N/A</c:v>
                </c:pt>
                <c:pt idx="3310">
                  <c:v>2.0199500000000001</c:v>
                </c:pt>
                <c:pt idx="3311">
                  <c:v>2.2241</c:v>
                </c:pt>
                <c:pt idx="3312">
                  <c:v>#N/A</c:v>
                </c:pt>
                <c:pt idx="3313">
                  <c:v>2.3060499999999999</c:v>
                </c:pt>
                <c:pt idx="3314">
                  <c:v>2.5540600000000002</c:v>
                </c:pt>
                <c:pt idx="3315">
                  <c:v>3.2103899999999999</c:v>
                </c:pt>
                <c:pt idx="3316">
                  <c:v>#N/A</c:v>
                </c:pt>
                <c:pt idx="3317">
                  <c:v>3.6266099999999999</c:v>
                </c:pt>
                <c:pt idx="3318">
                  <c:v>3.1435499999999998</c:v>
                </c:pt>
                <c:pt idx="3319">
                  <c:v>2.84579</c:v>
                </c:pt>
                <c:pt idx="3320">
                  <c:v>#N/A</c:v>
                </c:pt>
                <c:pt idx="3321">
                  <c:v>2.4106900000000002</c:v>
                </c:pt>
                <c:pt idx="3322">
                  <c:v>2.46875</c:v>
                </c:pt>
                <c:pt idx="3323">
                  <c:v>3.1974200000000002</c:v>
                </c:pt>
                <c:pt idx="3324">
                  <c:v>#N/A</c:v>
                </c:pt>
                <c:pt idx="3325">
                  <c:v>2.8473000000000002</c:v>
                </c:pt>
                <c:pt idx="3326">
                  <c:v>#N/A</c:v>
                </c:pt>
                <c:pt idx="3327">
                  <c:v>3.3109299999999999</c:v>
                </c:pt>
                <c:pt idx="3328">
                  <c:v>3.1298599999999999</c:v>
                </c:pt>
                <c:pt idx="3329">
                  <c:v>#N/A</c:v>
                </c:pt>
                <c:pt idx="3330">
                  <c:v>2.38611</c:v>
                </c:pt>
                <c:pt idx="3331">
                  <c:v>2.2610100000000002</c:v>
                </c:pt>
                <c:pt idx="3332">
                  <c:v>#N/A</c:v>
                </c:pt>
                <c:pt idx="3333">
                  <c:v>2.4399600000000001</c:v>
                </c:pt>
                <c:pt idx="3334">
                  <c:v>2.5724100000000001</c:v>
                </c:pt>
                <c:pt idx="3335">
                  <c:v>3.4163700000000001</c:v>
                </c:pt>
                <c:pt idx="3336">
                  <c:v>#N/A</c:v>
                </c:pt>
                <c:pt idx="3337">
                  <c:v>3.30287</c:v>
                </c:pt>
                <c:pt idx="3338">
                  <c:v>2.1388500000000001</c:v>
                </c:pt>
                <c:pt idx="3339">
                  <c:v>#N/A</c:v>
                </c:pt>
                <c:pt idx="3340">
                  <c:v>2.5430600000000001</c:v>
                </c:pt>
                <c:pt idx="3341">
                  <c:v>2.15659</c:v>
                </c:pt>
                <c:pt idx="3342">
                  <c:v>1.9010899999999999</c:v>
                </c:pt>
                <c:pt idx="3343">
                  <c:v>#N/A</c:v>
                </c:pt>
                <c:pt idx="3344">
                  <c:v>2.0293299999999999</c:v>
                </c:pt>
                <c:pt idx="3345">
                  <c:v>2.1752899999999999</c:v>
                </c:pt>
                <c:pt idx="3346">
                  <c:v>2.5767199999999999</c:v>
                </c:pt>
                <c:pt idx="3347">
                  <c:v>#N/A</c:v>
                </c:pt>
                <c:pt idx="3348">
                  <c:v>3.0163799999999998</c:v>
                </c:pt>
                <c:pt idx="3349">
                  <c:v>2.0037600000000002</c:v>
                </c:pt>
                <c:pt idx="3350">
                  <c:v>#N/A</c:v>
                </c:pt>
                <c:pt idx="3351">
                  <c:v>2.5125899999999999</c:v>
                </c:pt>
                <c:pt idx="3352">
                  <c:v>1.1254999999999999</c:v>
                </c:pt>
                <c:pt idx="3353">
                  <c:v>2.2343999999999999</c:v>
                </c:pt>
                <c:pt idx="3354">
                  <c:v>#N/A</c:v>
                </c:pt>
                <c:pt idx="3355">
                  <c:v>1.9966600000000001</c:v>
                </c:pt>
                <c:pt idx="3356">
                  <c:v>2.68363</c:v>
                </c:pt>
                <c:pt idx="3357">
                  <c:v>3.3461099999999999</c:v>
                </c:pt>
                <c:pt idx="3358">
                  <c:v>#N/A</c:v>
                </c:pt>
                <c:pt idx="3359">
                  <c:v>3.4645199999999998</c:v>
                </c:pt>
                <c:pt idx="3360">
                  <c:v>3.6345299999999998</c:v>
                </c:pt>
                <c:pt idx="3361">
                  <c:v>2.8426300000000002</c:v>
                </c:pt>
                <c:pt idx="3362">
                  <c:v>#N/A</c:v>
                </c:pt>
                <c:pt idx="3363">
                  <c:v>2.5604900000000002</c:v>
                </c:pt>
                <c:pt idx="3364">
                  <c:v>1.8345</c:v>
                </c:pt>
                <c:pt idx="3365">
                  <c:v>2.1516799999999998</c:v>
                </c:pt>
                <c:pt idx="3366">
                  <c:v>#N/A</c:v>
                </c:pt>
                <c:pt idx="3367">
                  <c:v>2.0987800000000001</c:v>
                </c:pt>
                <c:pt idx="3368">
                  <c:v>2.37601</c:v>
                </c:pt>
                <c:pt idx="3369">
                  <c:v>2.8308200000000001</c:v>
                </c:pt>
                <c:pt idx="3370">
                  <c:v>#N/A</c:v>
                </c:pt>
                <c:pt idx="3371">
                  <c:v>2.5532900000000001</c:v>
                </c:pt>
                <c:pt idx="3372">
                  <c:v>2.6523599999999998</c:v>
                </c:pt>
                <c:pt idx="3373">
                  <c:v>2.1283300000000001</c:v>
                </c:pt>
                <c:pt idx="3374">
                  <c:v>#N/A</c:v>
                </c:pt>
                <c:pt idx="3375">
                  <c:v>1.87659</c:v>
                </c:pt>
                <c:pt idx="3376">
                  <c:v>2.0438100000000001</c:v>
                </c:pt>
                <c:pt idx="3377">
                  <c:v>2.20594</c:v>
                </c:pt>
                <c:pt idx="3378">
                  <c:v>#N/A</c:v>
                </c:pt>
                <c:pt idx="3379">
                  <c:v>2.65333</c:v>
                </c:pt>
                <c:pt idx="3380">
                  <c:v>2.6629100000000001</c:v>
                </c:pt>
                <c:pt idx="3381">
                  <c:v>2.4962499999999999</c:v>
                </c:pt>
                <c:pt idx="3382">
                  <c:v>#N/A</c:v>
                </c:pt>
                <c:pt idx="3383">
                  <c:v>2.8411499999999998</c:v>
                </c:pt>
                <c:pt idx="3384">
                  <c:v>2.5492599999999999</c:v>
                </c:pt>
                <c:pt idx="3385">
                  <c:v>2.2056100000000001</c:v>
                </c:pt>
                <c:pt idx="3386">
                  <c:v>#N/A</c:v>
                </c:pt>
                <c:pt idx="3387">
                  <c:v>2.8468599999999999</c:v>
                </c:pt>
                <c:pt idx="3388">
                  <c:v>2.4666000000000001</c:v>
                </c:pt>
                <c:pt idx="3389">
                  <c:v>#N/A</c:v>
                </c:pt>
                <c:pt idx="3390">
                  <c:v>2.0341100000000001</c:v>
                </c:pt>
                <c:pt idx="3391">
                  <c:v>2.1590699999999998</c:v>
                </c:pt>
                <c:pt idx="3392">
                  <c:v>1.91673</c:v>
                </c:pt>
                <c:pt idx="3393">
                  <c:v>#N/A</c:v>
                </c:pt>
                <c:pt idx="3394">
                  <c:v>1.82283</c:v>
                </c:pt>
                <c:pt idx="3395">
                  <c:v>1.84544</c:v>
                </c:pt>
                <c:pt idx="3396">
                  <c:v>2.2657099999999999</c:v>
                </c:pt>
                <c:pt idx="3397">
                  <c:v>#N/A</c:v>
                </c:pt>
                <c:pt idx="3398">
                  <c:v>2.3930199999999999</c:v>
                </c:pt>
                <c:pt idx="3399">
                  <c:v>3.2139099999999998</c:v>
                </c:pt>
                <c:pt idx="3400">
                  <c:v>1.7802199999999999</c:v>
                </c:pt>
                <c:pt idx="3401">
                  <c:v>#N/A</c:v>
                </c:pt>
                <c:pt idx="3402">
                  <c:v>2.42584</c:v>
                </c:pt>
                <c:pt idx="3403">
                  <c:v>1.8662099999999999</c:v>
                </c:pt>
                <c:pt idx="3404">
                  <c:v>#N/A</c:v>
                </c:pt>
                <c:pt idx="3405">
                  <c:v>1.97736</c:v>
                </c:pt>
                <c:pt idx="3406">
                  <c:v>1.8126800000000001</c:v>
                </c:pt>
                <c:pt idx="3407">
                  <c:v>2.7197800000000001</c:v>
                </c:pt>
                <c:pt idx="3408">
                  <c:v>#N/A</c:v>
                </c:pt>
                <c:pt idx="3409">
                  <c:v>3.0932599999999999</c:v>
                </c:pt>
                <c:pt idx="3410">
                  <c:v>2.9169</c:v>
                </c:pt>
                <c:pt idx="3411">
                  <c:v>2.2921900000000002</c:v>
                </c:pt>
                <c:pt idx="3412">
                  <c:v>#N/A</c:v>
                </c:pt>
                <c:pt idx="3413">
                  <c:v>2.1599699999999999</c:v>
                </c:pt>
                <c:pt idx="3414">
                  <c:v>1.82958</c:v>
                </c:pt>
                <c:pt idx="3415">
                  <c:v>1.6401300000000001</c:v>
                </c:pt>
                <c:pt idx="3416">
                  <c:v>#N/A</c:v>
                </c:pt>
                <c:pt idx="3417">
                  <c:v>2.0369999999999999</c:v>
                </c:pt>
                <c:pt idx="3418">
                  <c:v>2.4313600000000002</c:v>
                </c:pt>
                <c:pt idx="3419">
                  <c:v>#N/A</c:v>
                </c:pt>
                <c:pt idx="3420">
                  <c:v>2.9527999999999999</c:v>
                </c:pt>
                <c:pt idx="3421">
                  <c:v>3.20044</c:v>
                </c:pt>
                <c:pt idx="3422">
                  <c:v>2.8603499999999999</c:v>
                </c:pt>
                <c:pt idx="3423">
                  <c:v>#N/A</c:v>
                </c:pt>
                <c:pt idx="3424">
                  <c:v>2.3626200000000002</c:v>
                </c:pt>
                <c:pt idx="3425">
                  <c:v>1.91418</c:v>
                </c:pt>
                <c:pt idx="3426">
                  <c:v>#N/A</c:v>
                </c:pt>
                <c:pt idx="3427">
                  <c:v>1.92265</c:v>
                </c:pt>
                <c:pt idx="3428">
                  <c:v>1.84446</c:v>
                </c:pt>
                <c:pt idx="3429">
                  <c:v>2.3650799999999998</c:v>
                </c:pt>
                <c:pt idx="3430">
                  <c:v>#N/A</c:v>
                </c:pt>
                <c:pt idx="3431">
                  <c:v>2.7391800000000002</c:v>
                </c:pt>
                <c:pt idx="3432">
                  <c:v>3.2760199999999999</c:v>
                </c:pt>
                <c:pt idx="3433">
                  <c:v>2.7149999999999999</c:v>
                </c:pt>
                <c:pt idx="3434">
                  <c:v>#N/A</c:v>
                </c:pt>
                <c:pt idx="3435">
                  <c:v>2.14655</c:v>
                </c:pt>
                <c:pt idx="3436">
                  <c:v>1.88845</c:v>
                </c:pt>
                <c:pt idx="3437">
                  <c:v>1.6504000000000001</c:v>
                </c:pt>
                <c:pt idx="3438">
                  <c:v>#N/A</c:v>
                </c:pt>
                <c:pt idx="3439">
                  <c:v>2.4464299999999999</c:v>
                </c:pt>
                <c:pt idx="3440">
                  <c:v>2.7493500000000002</c:v>
                </c:pt>
                <c:pt idx="3441">
                  <c:v>2.8431299999999999</c:v>
                </c:pt>
                <c:pt idx="3442">
                  <c:v>#N/A</c:v>
                </c:pt>
                <c:pt idx="3443">
                  <c:v>2.86334</c:v>
                </c:pt>
                <c:pt idx="3444">
                  <c:v>3.3186399999999998</c:v>
                </c:pt>
                <c:pt idx="3445">
                  <c:v>2.99824</c:v>
                </c:pt>
                <c:pt idx="3446">
                  <c:v>#N/A</c:v>
                </c:pt>
                <c:pt idx="3447">
                  <c:v>2.4386800000000002</c:v>
                </c:pt>
                <c:pt idx="3448">
                  <c:v>2.2593399999999999</c:v>
                </c:pt>
                <c:pt idx="3449">
                  <c:v>2.57856</c:v>
                </c:pt>
                <c:pt idx="3450">
                  <c:v>#N/A</c:v>
                </c:pt>
                <c:pt idx="3451">
                  <c:v>2.8175699999999999</c:v>
                </c:pt>
                <c:pt idx="3452">
                  <c:v>2.4305400000000001</c:v>
                </c:pt>
                <c:pt idx="3453">
                  <c:v>2.1681300000000001</c:v>
                </c:pt>
                <c:pt idx="3454">
                  <c:v>#N/A</c:v>
                </c:pt>
                <c:pt idx="3455">
                  <c:v>2.15828</c:v>
                </c:pt>
                <c:pt idx="3456">
                  <c:v>2.4113799999999999</c:v>
                </c:pt>
                <c:pt idx="3457">
                  <c:v>#N/A</c:v>
                </c:pt>
                <c:pt idx="3458">
                  <c:v>2.2811400000000002</c:v>
                </c:pt>
                <c:pt idx="3459">
                  <c:v>1.7216</c:v>
                </c:pt>
                <c:pt idx="3460">
                  <c:v>2.2033299999999998</c:v>
                </c:pt>
                <c:pt idx="3461">
                  <c:v>#N/A</c:v>
                </c:pt>
                <c:pt idx="3462">
                  <c:v>2.4316200000000001</c:v>
                </c:pt>
                <c:pt idx="3463">
                  <c:v>3.0742500000000001</c:v>
                </c:pt>
                <c:pt idx="3464">
                  <c:v>2.5885099999999999</c:v>
                </c:pt>
                <c:pt idx="3465">
                  <c:v>#N/A</c:v>
                </c:pt>
                <c:pt idx="3466">
                  <c:v>2.39588</c:v>
                </c:pt>
                <c:pt idx="3467">
                  <c:v>2.1162200000000002</c:v>
                </c:pt>
                <c:pt idx="3468">
                  <c:v>1.8887700000000001</c:v>
                </c:pt>
                <c:pt idx="3469">
                  <c:v>#N/A</c:v>
                </c:pt>
                <c:pt idx="3470">
                  <c:v>2.4145300000000001</c:v>
                </c:pt>
                <c:pt idx="3471">
                  <c:v>2.5281199999999999</c:v>
                </c:pt>
                <c:pt idx="3472">
                  <c:v>2.77976</c:v>
                </c:pt>
                <c:pt idx="3473">
                  <c:v>#N/A</c:v>
                </c:pt>
                <c:pt idx="3474">
                  <c:v>2.2377400000000001</c:v>
                </c:pt>
                <c:pt idx="3475">
                  <c:v>2.2170899999999998</c:v>
                </c:pt>
                <c:pt idx="3476">
                  <c:v>1.15378</c:v>
                </c:pt>
                <c:pt idx="3477">
                  <c:v>#N/A</c:v>
                </c:pt>
                <c:pt idx="3478">
                  <c:v>1.92181</c:v>
                </c:pt>
                <c:pt idx="3479">
                  <c:v>1.5154000000000001</c:v>
                </c:pt>
                <c:pt idx="3480">
                  <c:v>2.3774600000000001</c:v>
                </c:pt>
                <c:pt idx="3481">
                  <c:v>#N/A</c:v>
                </c:pt>
                <c:pt idx="3482">
                  <c:v>2.7707299999999999</c:v>
                </c:pt>
                <c:pt idx="3483">
                  <c:v>2.9641500000000001</c:v>
                </c:pt>
                <c:pt idx="3484">
                  <c:v>3.1766100000000002</c:v>
                </c:pt>
                <c:pt idx="3485">
                  <c:v>#N/A</c:v>
                </c:pt>
                <c:pt idx="3486">
                  <c:v>2.3664000000000001</c:v>
                </c:pt>
                <c:pt idx="3487">
                  <c:v>2.7126600000000001</c:v>
                </c:pt>
                <c:pt idx="3488">
                  <c:v>#N/A</c:v>
                </c:pt>
                <c:pt idx="3489">
                  <c:v>2.07254</c:v>
                </c:pt>
                <c:pt idx="3490">
                  <c:v>1.7462200000000001</c:v>
                </c:pt>
                <c:pt idx="3491">
                  <c:v>2.6490300000000002</c:v>
                </c:pt>
                <c:pt idx="3492">
                  <c:v>#N/A</c:v>
                </c:pt>
                <c:pt idx="3493">
                  <c:v>2.8424</c:v>
                </c:pt>
                <c:pt idx="3494">
                  <c:v>2.85093</c:v>
                </c:pt>
                <c:pt idx="3495">
                  <c:v>2.3467099999999999</c:v>
                </c:pt>
                <c:pt idx="3496">
                  <c:v>#N/A</c:v>
                </c:pt>
                <c:pt idx="3497">
                  <c:v>1.8824099999999999</c:v>
                </c:pt>
                <c:pt idx="3498">
                  <c:v>1.6066400000000001</c:v>
                </c:pt>
                <c:pt idx="3499">
                  <c:v>1.7516</c:v>
                </c:pt>
                <c:pt idx="3500">
                  <c:v>#N/A</c:v>
                </c:pt>
                <c:pt idx="3501">
                  <c:v>1.94574</c:v>
                </c:pt>
                <c:pt idx="3502">
                  <c:v>1.5457399999999999</c:v>
                </c:pt>
                <c:pt idx="3503">
                  <c:v>2.9470999999999998</c:v>
                </c:pt>
                <c:pt idx="3504">
                  <c:v>#N/A</c:v>
                </c:pt>
                <c:pt idx="3505">
                  <c:v>2.6903800000000002</c:v>
                </c:pt>
                <c:pt idx="3506">
                  <c:v>2.92191</c:v>
                </c:pt>
                <c:pt idx="3507">
                  <c:v>2.12561</c:v>
                </c:pt>
                <c:pt idx="3508">
                  <c:v>#N/A</c:v>
                </c:pt>
                <c:pt idx="3509">
                  <c:v>1.97522</c:v>
                </c:pt>
                <c:pt idx="3510">
                  <c:v>#N/A</c:v>
                </c:pt>
                <c:pt idx="3511">
                  <c:v>1.89195</c:v>
                </c:pt>
                <c:pt idx="3512">
                  <c:v>3.1936900000000001</c:v>
                </c:pt>
                <c:pt idx="3513">
                  <c:v>2.8578800000000002</c:v>
                </c:pt>
                <c:pt idx="3514">
                  <c:v>#N/A</c:v>
                </c:pt>
                <c:pt idx="3515">
                  <c:v>2.7941199999999999</c:v>
                </c:pt>
                <c:pt idx="3516">
                  <c:v>2.70444</c:v>
                </c:pt>
                <c:pt idx="3517">
                  <c:v>2.94285</c:v>
                </c:pt>
                <c:pt idx="3518">
                  <c:v>#N/A</c:v>
                </c:pt>
                <c:pt idx="3519">
                  <c:v>2.28531</c:v>
                </c:pt>
                <c:pt idx="3520">
                  <c:v>1.92404</c:v>
                </c:pt>
                <c:pt idx="3521">
                  <c:v>#N/A</c:v>
                </c:pt>
                <c:pt idx="3522">
                  <c:v>2.06595</c:v>
                </c:pt>
                <c:pt idx="3523">
                  <c:v>2.1744500000000002</c:v>
                </c:pt>
                <c:pt idx="3524">
                  <c:v>3.0904199999999999</c:v>
                </c:pt>
                <c:pt idx="3525">
                  <c:v>#N/A</c:v>
                </c:pt>
                <c:pt idx="3526">
                  <c:v>3.0739899999999998</c:v>
                </c:pt>
                <c:pt idx="3527">
                  <c:v>2.8844500000000002</c:v>
                </c:pt>
                <c:pt idx="3528">
                  <c:v>2.8701599999999998</c:v>
                </c:pt>
                <c:pt idx="3529">
                  <c:v>#N/A</c:v>
                </c:pt>
                <c:pt idx="3530">
                  <c:v>2.43899</c:v>
                </c:pt>
                <c:pt idx="3531">
                  <c:v>2.60371</c:v>
                </c:pt>
                <c:pt idx="3532">
                  <c:v>2.1231599999999999</c:v>
                </c:pt>
                <c:pt idx="3533">
                  <c:v>#N/A</c:v>
                </c:pt>
                <c:pt idx="3534">
                  <c:v>2.0205299999999999</c:v>
                </c:pt>
                <c:pt idx="3535">
                  <c:v>1.97637</c:v>
                </c:pt>
                <c:pt idx="3536">
                  <c:v>2.97472</c:v>
                </c:pt>
                <c:pt idx="3537">
                  <c:v>#N/A</c:v>
                </c:pt>
                <c:pt idx="3538">
                  <c:v>2.1367600000000002</c:v>
                </c:pt>
                <c:pt idx="3539">
                  <c:v>1.70092</c:v>
                </c:pt>
                <c:pt idx="3540">
                  <c:v>#N/A</c:v>
                </c:pt>
                <c:pt idx="3541">
                  <c:v>2.2851300000000001</c:v>
                </c:pt>
                <c:pt idx="3542">
                  <c:v>2.3021099999999999</c:v>
                </c:pt>
                <c:pt idx="3543">
                  <c:v>2.8723100000000001</c:v>
                </c:pt>
                <c:pt idx="3544">
                  <c:v>#N/A</c:v>
                </c:pt>
                <c:pt idx="3545">
                  <c:v>3.0360299999999998</c:v>
                </c:pt>
                <c:pt idx="3546">
                  <c:v>2.7771499999999998</c:v>
                </c:pt>
                <c:pt idx="3547">
                  <c:v>3.1164800000000001</c:v>
                </c:pt>
                <c:pt idx="3548">
                  <c:v>#N/A</c:v>
                </c:pt>
                <c:pt idx="3549">
                  <c:v>3.19123</c:v>
                </c:pt>
                <c:pt idx="3550">
                  <c:v>2.4712800000000001</c:v>
                </c:pt>
                <c:pt idx="3551">
                  <c:v>#N/A</c:v>
                </c:pt>
                <c:pt idx="3552">
                  <c:v>2.5418599999999998</c:v>
                </c:pt>
                <c:pt idx="3553">
                  <c:v>#N/A</c:v>
                </c:pt>
                <c:pt idx="3554">
                  <c:v>3.2826900000000001</c:v>
                </c:pt>
                <c:pt idx="3555">
                  <c:v>2.9123399999999999</c:v>
                </c:pt>
                <c:pt idx="3556">
                  <c:v>#N/A</c:v>
                </c:pt>
                <c:pt idx="3557">
                  <c:v>2.72071</c:v>
                </c:pt>
                <c:pt idx="3558">
                  <c:v>1.77722</c:v>
                </c:pt>
                <c:pt idx="3559">
                  <c:v>2.0381499999999999</c:v>
                </c:pt>
                <c:pt idx="3560">
                  <c:v>#N/A</c:v>
                </c:pt>
                <c:pt idx="3561">
                  <c:v>2.05369</c:v>
                </c:pt>
                <c:pt idx="3562">
                  <c:v>1.6659200000000001</c:v>
                </c:pt>
                <c:pt idx="3563">
                  <c:v>2.3802500000000002</c:v>
                </c:pt>
                <c:pt idx="3564">
                  <c:v>#N/A</c:v>
                </c:pt>
                <c:pt idx="3565">
                  <c:v>2.8652299999999999</c:v>
                </c:pt>
                <c:pt idx="3566">
                  <c:v>3.9498700000000002</c:v>
                </c:pt>
                <c:pt idx="3567">
                  <c:v>3.516</c:v>
                </c:pt>
                <c:pt idx="3568">
                  <c:v>#N/A</c:v>
                </c:pt>
                <c:pt idx="3569">
                  <c:v>2.8550900000000001</c:v>
                </c:pt>
                <c:pt idx="3570">
                  <c:v>1.9467000000000001</c:v>
                </c:pt>
                <c:pt idx="3571">
                  <c:v>#N/A</c:v>
                </c:pt>
                <c:pt idx="3572">
                  <c:v>2.05627</c:v>
                </c:pt>
                <c:pt idx="3573">
                  <c:v>2.6624300000000001</c:v>
                </c:pt>
                <c:pt idx="3574">
                  <c:v>2.7209500000000002</c:v>
                </c:pt>
                <c:pt idx="3575">
                  <c:v>#N/A</c:v>
                </c:pt>
                <c:pt idx="3576">
                  <c:v>2.7432300000000001</c:v>
                </c:pt>
                <c:pt idx="3577">
                  <c:v>3.2633000000000001</c:v>
                </c:pt>
                <c:pt idx="3578">
                  <c:v>3.0762800000000001</c:v>
                </c:pt>
                <c:pt idx="3579">
                  <c:v>#N/A</c:v>
                </c:pt>
                <c:pt idx="3580">
                  <c:v>2.9940500000000001</c:v>
                </c:pt>
                <c:pt idx="3581">
                  <c:v>2.1045600000000002</c:v>
                </c:pt>
                <c:pt idx="3582">
                  <c:v>1.9604999999999999</c:v>
                </c:pt>
                <c:pt idx="3583">
                  <c:v>#N/A</c:v>
                </c:pt>
                <c:pt idx="3584">
                  <c:v>1.7973600000000001</c:v>
                </c:pt>
                <c:pt idx="3585">
                  <c:v>2.2603800000000001</c:v>
                </c:pt>
                <c:pt idx="3586">
                  <c:v>#N/A</c:v>
                </c:pt>
                <c:pt idx="3587">
                  <c:v>2.6658300000000001</c:v>
                </c:pt>
                <c:pt idx="3588">
                  <c:v>3.53687</c:v>
                </c:pt>
                <c:pt idx="3589">
                  <c:v>2.87087</c:v>
                </c:pt>
                <c:pt idx="3590">
                  <c:v>#N/A</c:v>
                </c:pt>
                <c:pt idx="3591">
                  <c:v>3.3491200000000001</c:v>
                </c:pt>
                <c:pt idx="3592">
                  <c:v>2.6068199999999999</c:v>
                </c:pt>
                <c:pt idx="3593">
                  <c:v>2.1614100000000001</c:v>
                </c:pt>
                <c:pt idx="3594">
                  <c:v>#N/A</c:v>
                </c:pt>
                <c:pt idx="3595">
                  <c:v>1.87435</c:v>
                </c:pt>
                <c:pt idx="3596">
                  <c:v>2.3275000000000001</c:v>
                </c:pt>
                <c:pt idx="3597">
                  <c:v>2.4883700000000002</c:v>
                </c:pt>
                <c:pt idx="3598">
                  <c:v>#N/A</c:v>
                </c:pt>
                <c:pt idx="3599">
                  <c:v>2.71286</c:v>
                </c:pt>
                <c:pt idx="3600">
                  <c:v>2.9107500000000002</c:v>
                </c:pt>
                <c:pt idx="3601">
                  <c:v>3.21692</c:v>
                </c:pt>
                <c:pt idx="3602">
                  <c:v>#N/A</c:v>
                </c:pt>
                <c:pt idx="3603">
                  <c:v>2.7248899999999998</c:v>
                </c:pt>
                <c:pt idx="3604">
                  <c:v>2.30145</c:v>
                </c:pt>
                <c:pt idx="3605">
                  <c:v>2.2040899999999999</c:v>
                </c:pt>
                <c:pt idx="3606">
                  <c:v>#N/A</c:v>
                </c:pt>
                <c:pt idx="3607">
                  <c:v>2.3835099999999998</c:v>
                </c:pt>
                <c:pt idx="3608">
                  <c:v>2.7129300000000001</c:v>
                </c:pt>
                <c:pt idx="3609">
                  <c:v>#N/A</c:v>
                </c:pt>
                <c:pt idx="3610">
                  <c:v>3.0769199999999999</c:v>
                </c:pt>
                <c:pt idx="3611">
                  <c:v>2.63585</c:v>
                </c:pt>
                <c:pt idx="3612">
                  <c:v>2.13015</c:v>
                </c:pt>
                <c:pt idx="3613">
                  <c:v>#N/A</c:v>
                </c:pt>
                <c:pt idx="3614">
                  <c:v>2.4413200000000002</c:v>
                </c:pt>
                <c:pt idx="3615">
                  <c:v>3.0189900000000001</c:v>
                </c:pt>
                <c:pt idx="3616">
                  <c:v>3.2823199999999999</c:v>
                </c:pt>
                <c:pt idx="3617">
                  <c:v>#N/A</c:v>
                </c:pt>
                <c:pt idx="3618">
                  <c:v>2.8527900000000002</c:v>
                </c:pt>
                <c:pt idx="3619">
                  <c:v>3.1495199999999999</c:v>
                </c:pt>
                <c:pt idx="3620">
                  <c:v>3.2368299999999999</c:v>
                </c:pt>
                <c:pt idx="3621">
                  <c:v>#N/A</c:v>
                </c:pt>
                <c:pt idx="3622">
                  <c:v>2.7612999999999999</c:v>
                </c:pt>
                <c:pt idx="3623">
                  <c:v>2.2115800000000001</c:v>
                </c:pt>
                <c:pt idx="3624">
                  <c:v>1.9423600000000001</c:v>
                </c:pt>
                <c:pt idx="3625">
                  <c:v>#N/A</c:v>
                </c:pt>
                <c:pt idx="3626">
                  <c:v>2.48583</c:v>
                </c:pt>
                <c:pt idx="3627">
                  <c:v>3.1943100000000002</c:v>
                </c:pt>
                <c:pt idx="3628">
                  <c:v>3.6752600000000002</c:v>
                </c:pt>
                <c:pt idx="3629">
                  <c:v>#N/A</c:v>
                </c:pt>
                <c:pt idx="3630">
                  <c:v>3.6682700000000001</c:v>
                </c:pt>
                <c:pt idx="3631">
                  <c:v>3.3865599999999998</c:v>
                </c:pt>
                <c:pt idx="3632">
                  <c:v>2.7625600000000001</c:v>
                </c:pt>
                <c:pt idx="3633">
                  <c:v>#N/A</c:v>
                </c:pt>
                <c:pt idx="3634">
                  <c:v>2.7902200000000001</c:v>
                </c:pt>
                <c:pt idx="3635">
                  <c:v>2.2498900000000002</c:v>
                </c:pt>
                <c:pt idx="3636">
                  <c:v>2.51905</c:v>
                </c:pt>
                <c:pt idx="3637">
                  <c:v>#N/A</c:v>
                </c:pt>
                <c:pt idx="3638">
                  <c:v>2.82267</c:v>
                </c:pt>
                <c:pt idx="3639">
                  <c:v>3.4956700000000001</c:v>
                </c:pt>
                <c:pt idx="3640">
                  <c:v>#N/A</c:v>
                </c:pt>
                <c:pt idx="3641">
                  <c:v>3.0912600000000001</c:v>
                </c:pt>
                <c:pt idx="3642">
                  <c:v>2.4853399999999999</c:v>
                </c:pt>
                <c:pt idx="3643">
                  <c:v>2.2505099999999998</c:v>
                </c:pt>
                <c:pt idx="3644">
                  <c:v>#N/A</c:v>
                </c:pt>
                <c:pt idx="3645">
                  <c:v>1.8312900000000001</c:v>
                </c:pt>
                <c:pt idx="3646">
                  <c:v>2.1067399999999998</c:v>
                </c:pt>
                <c:pt idx="3647">
                  <c:v>2.4352499999999999</c:v>
                </c:pt>
                <c:pt idx="3648">
                  <c:v>#N/A</c:v>
                </c:pt>
                <c:pt idx="3649">
                  <c:v>2.9098000000000002</c:v>
                </c:pt>
                <c:pt idx="3650">
                  <c:v>3.0294500000000002</c:v>
                </c:pt>
                <c:pt idx="3651">
                  <c:v>#N/A</c:v>
                </c:pt>
                <c:pt idx="3652">
                  <c:v>3.4610599999999998</c:v>
                </c:pt>
                <c:pt idx="3653">
                  <c:v>2.6627399999999999</c:v>
                </c:pt>
                <c:pt idx="3654">
                  <c:v>2.4756100000000001</c:v>
                </c:pt>
                <c:pt idx="3655">
                  <c:v>#N/A</c:v>
                </c:pt>
                <c:pt idx="3656">
                  <c:v>2.3554400000000002</c:v>
                </c:pt>
                <c:pt idx="3657">
                  <c:v>2.29251</c:v>
                </c:pt>
                <c:pt idx="3658">
                  <c:v>2.1056400000000002</c:v>
                </c:pt>
                <c:pt idx="3659">
                  <c:v>#N/A</c:v>
                </c:pt>
                <c:pt idx="3660">
                  <c:v>2.83264</c:v>
                </c:pt>
                <c:pt idx="3661">
                  <c:v>2.91547</c:v>
                </c:pt>
                <c:pt idx="3662">
                  <c:v>3.01701</c:v>
                </c:pt>
                <c:pt idx="3663">
                  <c:v>#N/A</c:v>
                </c:pt>
                <c:pt idx="3664">
                  <c:v>2.7426300000000001</c:v>
                </c:pt>
                <c:pt idx="3665">
                  <c:v>2.6458300000000001</c:v>
                </c:pt>
                <c:pt idx="3666">
                  <c:v>2.1895600000000002</c:v>
                </c:pt>
                <c:pt idx="3667">
                  <c:v>#N/A</c:v>
                </c:pt>
                <c:pt idx="3668">
                  <c:v>2.2972999999999999</c:v>
                </c:pt>
                <c:pt idx="3669">
                  <c:v>3.0894900000000001</c:v>
                </c:pt>
                <c:pt idx="3670">
                  <c:v>3.3191600000000001</c:v>
                </c:pt>
                <c:pt idx="3671">
                  <c:v>#N/A</c:v>
                </c:pt>
                <c:pt idx="3672">
                  <c:v>3.7224400000000002</c:v>
                </c:pt>
                <c:pt idx="3673">
                  <c:v>3.3287900000000001</c:v>
                </c:pt>
                <c:pt idx="3674">
                  <c:v>#N/A</c:v>
                </c:pt>
                <c:pt idx="3675">
                  <c:v>#N/A</c:v>
                </c:pt>
                <c:pt idx="3676">
                  <c:v>#N/A</c:v>
                </c:pt>
                <c:pt idx="3677">
                  <c:v>#N/A</c:v>
                </c:pt>
                <c:pt idx="3678">
                  <c:v>#N/A</c:v>
                </c:pt>
                <c:pt idx="3679">
                  <c:v>#N/A</c:v>
                </c:pt>
                <c:pt idx="3680">
                  <c:v>#N/A</c:v>
                </c:pt>
                <c:pt idx="3681">
                  <c:v>#N/A</c:v>
                </c:pt>
                <c:pt idx="3682">
                  <c:v>#N/A</c:v>
                </c:pt>
                <c:pt idx="3683">
                  <c:v>#N/A</c:v>
                </c:pt>
                <c:pt idx="3684">
                  <c:v>#N/A</c:v>
                </c:pt>
                <c:pt idx="3685">
                  <c:v>#N/A</c:v>
                </c:pt>
                <c:pt idx="3686">
                  <c:v>#N/A</c:v>
                </c:pt>
                <c:pt idx="3687">
                  <c:v>#N/A</c:v>
                </c:pt>
                <c:pt idx="3688">
                  <c:v>#N/A</c:v>
                </c:pt>
                <c:pt idx="3689">
                  <c:v>#N/A</c:v>
                </c:pt>
                <c:pt idx="3690">
                  <c:v>#N/A</c:v>
                </c:pt>
                <c:pt idx="3691">
                  <c:v>#N/A</c:v>
                </c:pt>
                <c:pt idx="3692">
                  <c:v>#N/A</c:v>
                </c:pt>
                <c:pt idx="3693">
                  <c:v>#N/A</c:v>
                </c:pt>
                <c:pt idx="3694">
                  <c:v>#N/A</c:v>
                </c:pt>
                <c:pt idx="3695">
                  <c:v>#N/A</c:v>
                </c:pt>
                <c:pt idx="3696">
                  <c:v>#N/A</c:v>
                </c:pt>
                <c:pt idx="3697">
                  <c:v>2.92598</c:v>
                </c:pt>
                <c:pt idx="3698">
                  <c:v>2.5375899999999998</c:v>
                </c:pt>
                <c:pt idx="3699">
                  <c:v>#N/A</c:v>
                </c:pt>
                <c:pt idx="3700">
                  <c:v>3.12731</c:v>
                </c:pt>
                <c:pt idx="3701">
                  <c:v>3.0768</c:v>
                </c:pt>
                <c:pt idx="3702">
                  <c:v>#N/A</c:v>
                </c:pt>
                <c:pt idx="3703">
                  <c:v>3.1116299999999999</c:v>
                </c:pt>
                <c:pt idx="3704">
                  <c:v>#N/A</c:v>
                </c:pt>
                <c:pt idx="3705">
                  <c:v>2.7436799999999999</c:v>
                </c:pt>
                <c:pt idx="3706">
                  <c:v>1.90622</c:v>
                </c:pt>
                <c:pt idx="3707">
                  <c:v>2.1595399999999998</c:v>
                </c:pt>
                <c:pt idx="3708">
                  <c:v>#N/A</c:v>
                </c:pt>
                <c:pt idx="3709">
                  <c:v>2.0883500000000002</c:v>
                </c:pt>
                <c:pt idx="3710">
                  <c:v>2.5250400000000002</c:v>
                </c:pt>
                <c:pt idx="3711">
                  <c:v>2.9194200000000001</c:v>
                </c:pt>
                <c:pt idx="3712">
                  <c:v>#N/A</c:v>
                </c:pt>
                <c:pt idx="3713">
                  <c:v>3.4616600000000002</c:v>
                </c:pt>
                <c:pt idx="3714">
                  <c:v>3.3529</c:v>
                </c:pt>
                <c:pt idx="3715">
                  <c:v>2.7192699999999999</c:v>
                </c:pt>
                <c:pt idx="3716">
                  <c:v>#N/A</c:v>
                </c:pt>
                <c:pt idx="3717">
                  <c:v>2.4684900000000001</c:v>
                </c:pt>
                <c:pt idx="3718">
                  <c:v>2.0448400000000002</c:v>
                </c:pt>
                <c:pt idx="3719">
                  <c:v>#N/A</c:v>
                </c:pt>
                <c:pt idx="3720">
                  <c:v>2.1075300000000001</c:v>
                </c:pt>
                <c:pt idx="3721">
                  <c:v>2.5977600000000001</c:v>
                </c:pt>
                <c:pt idx="3722">
                  <c:v>2.98359</c:v>
                </c:pt>
                <c:pt idx="3723">
                  <c:v>#N/A</c:v>
                </c:pt>
                <c:pt idx="3724">
                  <c:v>2.9451100000000001</c:v>
                </c:pt>
                <c:pt idx="3725">
                  <c:v>3.1917800000000001</c:v>
                </c:pt>
                <c:pt idx="3726">
                  <c:v>2.7144599999999999</c:v>
                </c:pt>
                <c:pt idx="3727">
                  <c:v>#N/A</c:v>
                </c:pt>
                <c:pt idx="3728">
                  <c:v>2.5087000000000002</c:v>
                </c:pt>
                <c:pt idx="3729">
                  <c:v>2.4815800000000001</c:v>
                </c:pt>
                <c:pt idx="3730">
                  <c:v>2.32647</c:v>
                </c:pt>
                <c:pt idx="3731">
                  <c:v>#N/A</c:v>
                </c:pt>
                <c:pt idx="3732">
                  <c:v>2.2229399999999999</c:v>
                </c:pt>
                <c:pt idx="3733">
                  <c:v>3.0086599999999999</c:v>
                </c:pt>
                <c:pt idx="3734">
                  <c:v>3.3043100000000001</c:v>
                </c:pt>
                <c:pt idx="3735">
                  <c:v>#N/A</c:v>
                </c:pt>
                <c:pt idx="3736">
                  <c:v>3.6352500000000001</c:v>
                </c:pt>
                <c:pt idx="3737">
                  <c:v>3.63883</c:v>
                </c:pt>
                <c:pt idx="3738">
                  <c:v>3.1396099999999998</c:v>
                </c:pt>
                <c:pt idx="3739">
                  <c:v>#N/A</c:v>
                </c:pt>
                <c:pt idx="3740">
                  <c:v>2.5034200000000002</c:v>
                </c:pt>
                <c:pt idx="3741">
                  <c:v>2.75421</c:v>
                </c:pt>
                <c:pt idx="3742">
                  <c:v>#N/A</c:v>
                </c:pt>
                <c:pt idx="3743">
                  <c:v>2.9824600000000001</c:v>
                </c:pt>
                <c:pt idx="3744">
                  <c:v>3.1964199999999998</c:v>
                </c:pt>
                <c:pt idx="3745">
                  <c:v>2.6707800000000002</c:v>
                </c:pt>
                <c:pt idx="3746">
                  <c:v>#N/A</c:v>
                </c:pt>
                <c:pt idx="3747">
                  <c:v>3.0938300000000001</c:v>
                </c:pt>
                <c:pt idx="3748">
                  <c:v>3.0331899999999998</c:v>
                </c:pt>
                <c:pt idx="3749">
                  <c:v>2.7305100000000002</c:v>
                </c:pt>
                <c:pt idx="3750">
                  <c:v>#N/A</c:v>
                </c:pt>
                <c:pt idx="3751">
                  <c:v>3.0170400000000002</c:v>
                </c:pt>
                <c:pt idx="3752">
                  <c:v>3.3499400000000001</c:v>
                </c:pt>
                <c:pt idx="3753">
                  <c:v>3.60473</c:v>
                </c:pt>
                <c:pt idx="3754">
                  <c:v>#N/A</c:v>
                </c:pt>
                <c:pt idx="3755">
                  <c:v>3.9568400000000001</c:v>
                </c:pt>
                <c:pt idx="3756">
                  <c:v>3.7696299999999998</c:v>
                </c:pt>
                <c:pt idx="3757">
                  <c:v>3.5695700000000001</c:v>
                </c:pt>
                <c:pt idx="3758">
                  <c:v>#N/A</c:v>
                </c:pt>
                <c:pt idx="3759">
                  <c:v>3.1736300000000002</c:v>
                </c:pt>
                <c:pt idx="3760">
                  <c:v>3.3288000000000002</c:v>
                </c:pt>
                <c:pt idx="3761">
                  <c:v>3.2087400000000001</c:v>
                </c:pt>
                <c:pt idx="3762">
                  <c:v>#N/A</c:v>
                </c:pt>
                <c:pt idx="3763">
                  <c:v>3.6265200000000002</c:v>
                </c:pt>
                <c:pt idx="3764">
                  <c:v>3.1440700000000001</c:v>
                </c:pt>
                <c:pt idx="3765">
                  <c:v>#N/A</c:v>
                </c:pt>
                <c:pt idx="3766">
                  <c:v>3.51972</c:v>
                </c:pt>
                <c:pt idx="3767">
                  <c:v>3.3587099999999999</c:v>
                </c:pt>
                <c:pt idx="3768">
                  <c:v>2.6909900000000002</c:v>
                </c:pt>
                <c:pt idx="3769">
                  <c:v>#N/A</c:v>
                </c:pt>
                <c:pt idx="3770">
                  <c:v>2.73705</c:v>
                </c:pt>
                <c:pt idx="3771">
                  <c:v>2.1651799999999999</c:v>
                </c:pt>
                <c:pt idx="3772">
                  <c:v>3.1983100000000002</c:v>
                </c:pt>
                <c:pt idx="3773">
                  <c:v>#N/A</c:v>
                </c:pt>
                <c:pt idx="3774">
                  <c:v>#N/A</c:v>
                </c:pt>
                <c:pt idx="3775">
                  <c:v>3.27216</c:v>
                </c:pt>
                <c:pt idx="3776">
                  <c:v>3.9475600000000002</c:v>
                </c:pt>
                <c:pt idx="3777">
                  <c:v>3.5065</c:v>
                </c:pt>
                <c:pt idx="3778">
                  <c:v>#N/A</c:v>
                </c:pt>
                <c:pt idx="3779">
                  <c:v>3.1845699999999999</c:v>
                </c:pt>
                <c:pt idx="3780">
                  <c:v>3.1294900000000001</c:v>
                </c:pt>
                <c:pt idx="3781">
                  <c:v>2.6388600000000002</c:v>
                </c:pt>
                <c:pt idx="3782">
                  <c:v>#N/A</c:v>
                </c:pt>
                <c:pt idx="3783">
                  <c:v>3.0474100000000002</c:v>
                </c:pt>
                <c:pt idx="3784">
                  <c:v>3.38537</c:v>
                </c:pt>
                <c:pt idx="3785">
                  <c:v>#N/A</c:v>
                </c:pt>
                <c:pt idx="3786">
                  <c:v>4.1417900000000003</c:v>
                </c:pt>
                <c:pt idx="3787">
                  <c:v>3.88463</c:v>
                </c:pt>
                <c:pt idx="3788">
                  <c:v>4.1582699999999999</c:v>
                </c:pt>
                <c:pt idx="3789">
                  <c:v>#N/A</c:v>
                </c:pt>
                <c:pt idx="3790">
                  <c:v>2.48095</c:v>
                </c:pt>
                <c:pt idx="3791">
                  <c:v>2.39676</c:v>
                </c:pt>
                <c:pt idx="3792">
                  <c:v>#N/A</c:v>
                </c:pt>
                <c:pt idx="3793">
                  <c:v>2.5784899999999999</c:v>
                </c:pt>
                <c:pt idx="3794">
                  <c:v>2.68486</c:v>
                </c:pt>
                <c:pt idx="3795">
                  <c:v>3.58108</c:v>
                </c:pt>
                <c:pt idx="3796">
                  <c:v>#N/A</c:v>
                </c:pt>
                <c:pt idx="3797">
                  <c:v>3.6476000000000002</c:v>
                </c:pt>
                <c:pt idx="3798">
                  <c:v>3.7860399999999998</c:v>
                </c:pt>
                <c:pt idx="3799">
                  <c:v>3.4102100000000002</c:v>
                </c:pt>
                <c:pt idx="3800">
                  <c:v>#N/A</c:v>
                </c:pt>
                <c:pt idx="3801">
                  <c:v>3.0926499999999999</c:v>
                </c:pt>
                <c:pt idx="3802">
                  <c:v>2.44543</c:v>
                </c:pt>
                <c:pt idx="3803">
                  <c:v>2.5666600000000002</c:v>
                </c:pt>
                <c:pt idx="3804">
                  <c:v>#N/A</c:v>
                </c:pt>
                <c:pt idx="3805">
                  <c:v>2.7278500000000001</c:v>
                </c:pt>
                <c:pt idx="3806">
                  <c:v>3.09036</c:v>
                </c:pt>
                <c:pt idx="3807">
                  <c:v>2.9556100000000001</c:v>
                </c:pt>
                <c:pt idx="3808">
                  <c:v>#N/A</c:v>
                </c:pt>
                <c:pt idx="3809">
                  <c:v>3.54419</c:v>
                </c:pt>
                <c:pt idx="3810">
                  <c:v>3.5202300000000002</c:v>
                </c:pt>
                <c:pt idx="3811">
                  <c:v>2.7949299999999999</c:v>
                </c:pt>
                <c:pt idx="3812">
                  <c:v>#N/A</c:v>
                </c:pt>
                <c:pt idx="3813">
                  <c:v>2.5272800000000002</c:v>
                </c:pt>
                <c:pt idx="3814">
                  <c:v>2.61754</c:v>
                </c:pt>
                <c:pt idx="3815">
                  <c:v>#N/A</c:v>
                </c:pt>
                <c:pt idx="3816">
                  <c:v>2.9043000000000001</c:v>
                </c:pt>
                <c:pt idx="3817">
                  <c:v>3.43682</c:v>
                </c:pt>
                <c:pt idx="3818">
                  <c:v>3.7441300000000002</c:v>
                </c:pt>
                <c:pt idx="3819">
                  <c:v>#N/A</c:v>
                </c:pt>
                <c:pt idx="3820">
                  <c:v>3.1112700000000002</c:v>
                </c:pt>
                <c:pt idx="3821">
                  <c:v>3.2526299999999999</c:v>
                </c:pt>
                <c:pt idx="3822">
                  <c:v>3.1164299999999998</c:v>
                </c:pt>
                <c:pt idx="3823">
                  <c:v>#N/A</c:v>
                </c:pt>
                <c:pt idx="3824">
                  <c:v>3.16323</c:v>
                </c:pt>
                <c:pt idx="3825">
                  <c:v>2.5005299999999999</c:v>
                </c:pt>
                <c:pt idx="3826">
                  <c:v>3.1028799999999999</c:v>
                </c:pt>
                <c:pt idx="3827">
                  <c:v>#N/A</c:v>
                </c:pt>
                <c:pt idx="3828">
                  <c:v>2.9394399999999998</c:v>
                </c:pt>
                <c:pt idx="3829">
                  <c:v>3.11402</c:v>
                </c:pt>
                <c:pt idx="3830">
                  <c:v>2.7675700000000001</c:v>
                </c:pt>
                <c:pt idx="3831">
                  <c:v>#N/A</c:v>
                </c:pt>
                <c:pt idx="3832">
                  <c:v>2.4649000000000001</c:v>
                </c:pt>
                <c:pt idx="3833">
                  <c:v>2.6491899999999999</c:v>
                </c:pt>
                <c:pt idx="3834">
                  <c:v>2.4673699999999998</c:v>
                </c:pt>
                <c:pt idx="3835">
                  <c:v>#N/A</c:v>
                </c:pt>
                <c:pt idx="3836">
                  <c:v>2.5786099999999998</c:v>
                </c:pt>
                <c:pt idx="3837">
                  <c:v>2.8778899999999998</c:v>
                </c:pt>
                <c:pt idx="3838">
                  <c:v>#N/A</c:v>
                </c:pt>
                <c:pt idx="3839">
                  <c:v>3.46231</c:v>
                </c:pt>
                <c:pt idx="3840">
                  <c:v>3.16031</c:v>
                </c:pt>
                <c:pt idx="3841">
                  <c:v>2.8439299999999998</c:v>
                </c:pt>
                <c:pt idx="3842">
                  <c:v>#N/A</c:v>
                </c:pt>
                <c:pt idx="3843">
                  <c:v>2.2589000000000001</c:v>
                </c:pt>
                <c:pt idx="3844">
                  <c:v>2.6392000000000002</c:v>
                </c:pt>
                <c:pt idx="3845">
                  <c:v>#N/A</c:v>
                </c:pt>
                <c:pt idx="3846">
                  <c:v>2.5107599999999999</c:v>
                </c:pt>
                <c:pt idx="3847">
                  <c:v>3.1024799999999999</c:v>
                </c:pt>
                <c:pt idx="3848">
                  <c:v>3.9550200000000002</c:v>
                </c:pt>
                <c:pt idx="3849">
                  <c:v>#N/A</c:v>
                </c:pt>
                <c:pt idx="3850">
                  <c:v>3.5004900000000001</c:v>
                </c:pt>
                <c:pt idx="3851">
                  <c:v>#N/A</c:v>
                </c:pt>
                <c:pt idx="3852">
                  <c:v>2.8342399999999999</c:v>
                </c:pt>
                <c:pt idx="3853">
                  <c:v>2.7392099999999999</c:v>
                </c:pt>
                <c:pt idx="3854">
                  <c:v>#N/A</c:v>
                </c:pt>
                <c:pt idx="3855">
                  <c:v>2.21698</c:v>
                </c:pt>
                <c:pt idx="3856">
                  <c:v>2.6382400000000001</c:v>
                </c:pt>
                <c:pt idx="3857">
                  <c:v>3.1827800000000002</c:v>
                </c:pt>
                <c:pt idx="3858">
                  <c:v>#N/A</c:v>
                </c:pt>
                <c:pt idx="3859">
                  <c:v>4.0033899999999996</c:v>
                </c:pt>
                <c:pt idx="3860">
                  <c:v>3.8371300000000002</c:v>
                </c:pt>
                <c:pt idx="3861">
                  <c:v>3.39276</c:v>
                </c:pt>
                <c:pt idx="3862">
                  <c:v>#N/A</c:v>
                </c:pt>
                <c:pt idx="3863">
                  <c:v>3.32538</c:v>
                </c:pt>
                <c:pt idx="3864">
                  <c:v>2.7252900000000002</c:v>
                </c:pt>
                <c:pt idx="3865">
                  <c:v>#N/A</c:v>
                </c:pt>
                <c:pt idx="3866">
                  <c:v>2.08656</c:v>
                </c:pt>
                <c:pt idx="3867">
                  <c:v>2.3279200000000002</c:v>
                </c:pt>
                <c:pt idx="3868">
                  <c:v>2.8956300000000001</c:v>
                </c:pt>
                <c:pt idx="3869">
                  <c:v>#N/A</c:v>
                </c:pt>
                <c:pt idx="3870">
                  <c:v>3.9395899999999999</c:v>
                </c:pt>
                <c:pt idx="3871">
                  <c:v>3.68642</c:v>
                </c:pt>
                <c:pt idx="3872">
                  <c:v>3.4025599999999998</c:v>
                </c:pt>
                <c:pt idx="3873">
                  <c:v>#N/A</c:v>
                </c:pt>
                <c:pt idx="3874">
                  <c:v>2.5859999999999999</c:v>
                </c:pt>
                <c:pt idx="3875">
                  <c:v>2.8632200000000001</c:v>
                </c:pt>
                <c:pt idx="3876">
                  <c:v>2.9370599999999998</c:v>
                </c:pt>
                <c:pt idx="3877">
                  <c:v>#N/A</c:v>
                </c:pt>
                <c:pt idx="3878">
                  <c:v>3.0664600000000002</c:v>
                </c:pt>
                <c:pt idx="3879">
                  <c:v>3.9473199999999999</c:v>
                </c:pt>
                <c:pt idx="3880">
                  <c:v>4.0783300000000002</c:v>
                </c:pt>
                <c:pt idx="3881">
                  <c:v>#N/A</c:v>
                </c:pt>
                <c:pt idx="3882">
                  <c:v>4.2826899999999997</c:v>
                </c:pt>
                <c:pt idx="3883">
                  <c:v>3.8684599999999998</c:v>
                </c:pt>
                <c:pt idx="3884">
                  <c:v>3.5372300000000001</c:v>
                </c:pt>
                <c:pt idx="3885">
                  <c:v>#N/A</c:v>
                </c:pt>
                <c:pt idx="3886">
                  <c:v>3.0694300000000001</c:v>
                </c:pt>
                <c:pt idx="3887">
                  <c:v>3.14723</c:v>
                </c:pt>
                <c:pt idx="3888">
                  <c:v>3.5221200000000001</c:v>
                </c:pt>
                <c:pt idx="3889">
                  <c:v>#N/A</c:v>
                </c:pt>
                <c:pt idx="3890">
                  <c:v>3.2934999999999999</c:v>
                </c:pt>
                <c:pt idx="3891">
                  <c:v>3.1351399999999998</c:v>
                </c:pt>
                <c:pt idx="3892">
                  <c:v>#N/A</c:v>
                </c:pt>
                <c:pt idx="3893">
                  <c:v>3.2831999999999999</c:v>
                </c:pt>
                <c:pt idx="3894">
                  <c:v>3.6376499999999998</c:v>
                </c:pt>
                <c:pt idx="3895">
                  <c:v>3.0427</c:v>
                </c:pt>
                <c:pt idx="3896">
                  <c:v>#N/A</c:v>
                </c:pt>
                <c:pt idx="3897">
                  <c:v>2.7128000000000001</c:v>
                </c:pt>
                <c:pt idx="3898">
                  <c:v>3.1272000000000002</c:v>
                </c:pt>
                <c:pt idx="3899">
                  <c:v>3.30063</c:v>
                </c:pt>
                <c:pt idx="3900">
                  <c:v>#N/A</c:v>
                </c:pt>
                <c:pt idx="3901">
                  <c:v>3.5454500000000002</c:v>
                </c:pt>
                <c:pt idx="3902">
                  <c:v>3.1549299999999998</c:v>
                </c:pt>
                <c:pt idx="3903">
                  <c:v>2.7555200000000002</c:v>
                </c:pt>
                <c:pt idx="3904">
                  <c:v>#N/A</c:v>
                </c:pt>
                <c:pt idx="3905">
                  <c:v>2.9742799999999998</c:v>
                </c:pt>
                <c:pt idx="3906">
                  <c:v>3.19502</c:v>
                </c:pt>
                <c:pt idx="3907">
                  <c:v>3.7339699999999998</c:v>
                </c:pt>
                <c:pt idx="3908">
                  <c:v>#N/A</c:v>
                </c:pt>
                <c:pt idx="3909">
                  <c:v>3.2164600000000001</c:v>
                </c:pt>
                <c:pt idx="3910">
                  <c:v>3.0634700000000001</c:v>
                </c:pt>
                <c:pt idx="3911">
                  <c:v>3.2747299999999999</c:v>
                </c:pt>
                <c:pt idx="3912">
                  <c:v>#N/A</c:v>
                </c:pt>
                <c:pt idx="3913">
                  <c:v>3.4738500000000001</c:v>
                </c:pt>
                <c:pt idx="3914">
                  <c:v>3.7962099999999999</c:v>
                </c:pt>
                <c:pt idx="3915">
                  <c:v>2.49762</c:v>
                </c:pt>
                <c:pt idx="3916">
                  <c:v>#N/A</c:v>
                </c:pt>
                <c:pt idx="3917">
                  <c:v>2.6856599999999999</c:v>
                </c:pt>
                <c:pt idx="3918">
                  <c:v>2.9601999999999999</c:v>
                </c:pt>
                <c:pt idx="3919">
                  <c:v>3.2564899999999999</c:v>
                </c:pt>
                <c:pt idx="3920">
                  <c:v>#N/A</c:v>
                </c:pt>
                <c:pt idx="3921">
                  <c:v>3.0575399999999999</c:v>
                </c:pt>
                <c:pt idx="3922">
                  <c:v>3.12852</c:v>
                </c:pt>
                <c:pt idx="3923">
                  <c:v>#N/A</c:v>
                </c:pt>
                <c:pt idx="3924">
                  <c:v>2.7439100000000001</c:v>
                </c:pt>
                <c:pt idx="3925">
                  <c:v>2.6146199999999999</c:v>
                </c:pt>
                <c:pt idx="3926">
                  <c:v>#N/A</c:v>
                </c:pt>
                <c:pt idx="3927">
                  <c:v>2.41134</c:v>
                </c:pt>
                <c:pt idx="3928">
                  <c:v>2.8657699999999999</c:v>
                </c:pt>
                <c:pt idx="3929">
                  <c:v>#N/A</c:v>
                </c:pt>
                <c:pt idx="3930">
                  <c:v>2.7453599999999998</c:v>
                </c:pt>
                <c:pt idx="3931">
                  <c:v>3.3435100000000002</c:v>
                </c:pt>
                <c:pt idx="3932">
                  <c:v>#N/A</c:v>
                </c:pt>
                <c:pt idx="3933">
                  <c:v>3.46705</c:v>
                </c:pt>
                <c:pt idx="3934">
                  <c:v>3.4758</c:v>
                </c:pt>
                <c:pt idx="3935">
                  <c:v>2.9409200000000002</c:v>
                </c:pt>
                <c:pt idx="3936">
                  <c:v>#N/A</c:v>
                </c:pt>
                <c:pt idx="3937">
                  <c:v>3.0218099999999999</c:v>
                </c:pt>
                <c:pt idx="3938">
                  <c:v>2.8141799999999999</c:v>
                </c:pt>
                <c:pt idx="3939">
                  <c:v>2.2792300000000001</c:v>
                </c:pt>
                <c:pt idx="3940">
                  <c:v>#N/A</c:v>
                </c:pt>
                <c:pt idx="3941">
                  <c:v>2.6488700000000001</c:v>
                </c:pt>
                <c:pt idx="3942">
                  <c:v>3.5743999999999998</c:v>
                </c:pt>
                <c:pt idx="3943">
                  <c:v>4.1646000000000001</c:v>
                </c:pt>
                <c:pt idx="3944">
                  <c:v>#N/A</c:v>
                </c:pt>
                <c:pt idx="3945">
                  <c:v>3.3552</c:v>
                </c:pt>
                <c:pt idx="3946">
                  <c:v>3.5415899999999998</c:v>
                </c:pt>
                <c:pt idx="3947">
                  <c:v>#N/A</c:v>
                </c:pt>
                <c:pt idx="3948">
                  <c:v>2.7056</c:v>
                </c:pt>
                <c:pt idx="3949">
                  <c:v>1.9686699999999999</c:v>
                </c:pt>
                <c:pt idx="3950">
                  <c:v>1.49535</c:v>
                </c:pt>
                <c:pt idx="3951">
                  <c:v>#N/A</c:v>
                </c:pt>
                <c:pt idx="3952">
                  <c:v>2.30565</c:v>
                </c:pt>
                <c:pt idx="3953">
                  <c:v>2.9857</c:v>
                </c:pt>
                <c:pt idx="3954">
                  <c:v>2.7769300000000001</c:v>
                </c:pt>
                <c:pt idx="3955">
                  <c:v>#N/A</c:v>
                </c:pt>
                <c:pt idx="3956">
                  <c:v>3.4787499999999998</c:v>
                </c:pt>
                <c:pt idx="3957">
                  <c:v>2.23325</c:v>
                </c:pt>
                <c:pt idx="3958">
                  <c:v>2.1485300000000001</c:v>
                </c:pt>
                <c:pt idx="3959">
                  <c:v>#N/A</c:v>
                </c:pt>
                <c:pt idx="3960">
                  <c:v>2.47376</c:v>
                </c:pt>
                <c:pt idx="3961">
                  <c:v>2.3773499999999999</c:v>
                </c:pt>
                <c:pt idx="3962">
                  <c:v>2.6487699999999998</c:v>
                </c:pt>
                <c:pt idx="3963">
                  <c:v>#N/A</c:v>
                </c:pt>
                <c:pt idx="3964">
                  <c:v>3.68466</c:v>
                </c:pt>
                <c:pt idx="3965">
                  <c:v>3.5591699999999999</c:v>
                </c:pt>
                <c:pt idx="3966">
                  <c:v>3.4834900000000002</c:v>
                </c:pt>
                <c:pt idx="3967">
                  <c:v>#N/A</c:v>
                </c:pt>
                <c:pt idx="3968">
                  <c:v>3.9336099999999998</c:v>
                </c:pt>
                <c:pt idx="3969">
                  <c:v>3.18181</c:v>
                </c:pt>
                <c:pt idx="3970">
                  <c:v>3.1648100000000001</c:v>
                </c:pt>
                <c:pt idx="3971">
                  <c:v>#N/A</c:v>
                </c:pt>
                <c:pt idx="3972">
                  <c:v>2.7728899999999999</c:v>
                </c:pt>
                <c:pt idx="3973">
                  <c:v>3.3223199999999999</c:v>
                </c:pt>
                <c:pt idx="3974">
                  <c:v>3.43438</c:v>
                </c:pt>
                <c:pt idx="3975">
                  <c:v>#N/A</c:v>
                </c:pt>
                <c:pt idx="3976">
                  <c:v>2.73794</c:v>
                </c:pt>
                <c:pt idx="3977">
                  <c:v>2.77718</c:v>
                </c:pt>
                <c:pt idx="3978">
                  <c:v>1.84213</c:v>
                </c:pt>
                <c:pt idx="3979">
                  <c:v>#N/A</c:v>
                </c:pt>
                <c:pt idx="3980">
                  <c:v>2.52468</c:v>
                </c:pt>
                <c:pt idx="3981">
                  <c:v>2.1154299999999999</c:v>
                </c:pt>
                <c:pt idx="3982">
                  <c:v>2.56941</c:v>
                </c:pt>
                <c:pt idx="3983">
                  <c:v>#N/A</c:v>
                </c:pt>
                <c:pt idx="3984">
                  <c:v>3.0554600000000001</c:v>
                </c:pt>
                <c:pt idx="3985">
                  <c:v>3.41744</c:v>
                </c:pt>
                <c:pt idx="3986">
                  <c:v>#N/A</c:v>
                </c:pt>
                <c:pt idx="3987">
                  <c:v>3.2752400000000002</c:v>
                </c:pt>
                <c:pt idx="3988">
                  <c:v>2.9145300000000001</c:v>
                </c:pt>
                <c:pt idx="3989">
                  <c:v>2.7693300000000001</c:v>
                </c:pt>
                <c:pt idx="3990">
                  <c:v>#N/A</c:v>
                </c:pt>
                <c:pt idx="3991">
                  <c:v>2.4862099999999998</c:v>
                </c:pt>
                <c:pt idx="3992">
                  <c:v>3.24444</c:v>
                </c:pt>
                <c:pt idx="3993">
                  <c:v>3.51397</c:v>
                </c:pt>
                <c:pt idx="3994">
                  <c:v>#N/A</c:v>
                </c:pt>
                <c:pt idx="3995">
                  <c:v>3.7398199999999999</c:v>
                </c:pt>
                <c:pt idx="3996">
                  <c:v>3.1819999999999999</c:v>
                </c:pt>
                <c:pt idx="3997">
                  <c:v>#N/A</c:v>
                </c:pt>
                <c:pt idx="3998">
                  <c:v>2.83466</c:v>
                </c:pt>
                <c:pt idx="3999">
                  <c:v>2.3278599999999998</c:v>
                </c:pt>
                <c:pt idx="4000">
                  <c:v>#N/A</c:v>
                </c:pt>
                <c:pt idx="4001">
                  <c:v>2.44624</c:v>
                </c:pt>
                <c:pt idx="4002">
                  <c:v>2.5678200000000002</c:v>
                </c:pt>
                <c:pt idx="4003">
                  <c:v>#N/A</c:v>
                </c:pt>
                <c:pt idx="4004">
                  <c:v>4.0041700000000002</c:v>
                </c:pt>
                <c:pt idx="4005">
                  <c:v>3.6554700000000002</c:v>
                </c:pt>
                <c:pt idx="4006">
                  <c:v>3.6880600000000001</c:v>
                </c:pt>
                <c:pt idx="4007">
                  <c:v>#N/A</c:v>
                </c:pt>
                <c:pt idx="4008">
                  <c:v>2.8094700000000001</c:v>
                </c:pt>
                <c:pt idx="4009">
                  <c:v>2.6968899999999998</c:v>
                </c:pt>
                <c:pt idx="4010">
                  <c:v>2.6707999999999998</c:v>
                </c:pt>
                <c:pt idx="4011">
                  <c:v>#N/A</c:v>
                </c:pt>
                <c:pt idx="4012">
                  <c:v>2.1473100000000001</c:v>
                </c:pt>
                <c:pt idx="4013">
                  <c:v>2.6078899999999998</c:v>
                </c:pt>
                <c:pt idx="4014">
                  <c:v>#N/A</c:v>
                </c:pt>
                <c:pt idx="4015">
                  <c:v>2.4542000000000002</c:v>
                </c:pt>
                <c:pt idx="4016">
                  <c:v>3.50901</c:v>
                </c:pt>
                <c:pt idx="4017">
                  <c:v>3.21509</c:v>
                </c:pt>
                <c:pt idx="4018">
                  <c:v>#N/A</c:v>
                </c:pt>
                <c:pt idx="4019">
                  <c:v>2.96787</c:v>
                </c:pt>
                <c:pt idx="4020">
                  <c:v>3.0686</c:v>
                </c:pt>
                <c:pt idx="4021">
                  <c:v>2.28071</c:v>
                </c:pt>
                <c:pt idx="4022">
                  <c:v>#N/A</c:v>
                </c:pt>
                <c:pt idx="4023">
                  <c:v>2.41255</c:v>
                </c:pt>
                <c:pt idx="4024">
                  <c:v>2.0150399999999999</c:v>
                </c:pt>
                <c:pt idx="4025">
                  <c:v>2.66283</c:v>
                </c:pt>
                <c:pt idx="4026">
                  <c:v>#N/A</c:v>
                </c:pt>
                <c:pt idx="4027">
                  <c:v>3.02691</c:v>
                </c:pt>
                <c:pt idx="4028">
                  <c:v>3.6642600000000001</c:v>
                </c:pt>
                <c:pt idx="4029">
                  <c:v>3.4748899999999998</c:v>
                </c:pt>
                <c:pt idx="4030">
                  <c:v>#N/A</c:v>
                </c:pt>
                <c:pt idx="4031">
                  <c:v>2.9681799999999998</c:v>
                </c:pt>
                <c:pt idx="4032">
                  <c:v>2.4614099999999999</c:v>
                </c:pt>
                <c:pt idx="4033">
                  <c:v>#N/A</c:v>
                </c:pt>
                <c:pt idx="4034">
                  <c:v>2.21888</c:v>
                </c:pt>
                <c:pt idx="4035">
                  <c:v>3.1600600000000001</c:v>
                </c:pt>
                <c:pt idx="4036">
                  <c:v>2.97418</c:v>
                </c:pt>
                <c:pt idx="4037">
                  <c:v>#N/A</c:v>
                </c:pt>
                <c:pt idx="4038">
                  <c:v>2.82578</c:v>
                </c:pt>
                <c:pt idx="4039">
                  <c:v>2.79311</c:v>
                </c:pt>
                <c:pt idx="4040">
                  <c:v>3.16391</c:v>
                </c:pt>
                <c:pt idx="4041">
                  <c:v>#N/A</c:v>
                </c:pt>
                <c:pt idx="4042">
                  <c:v>2.1212399999999998</c:v>
                </c:pt>
                <c:pt idx="4043">
                  <c:v>2.3797799999999998</c:v>
                </c:pt>
                <c:pt idx="4044">
                  <c:v>1.87551</c:v>
                </c:pt>
                <c:pt idx="4045">
                  <c:v>#N/A</c:v>
                </c:pt>
                <c:pt idx="4046">
                  <c:v>2.7896299999999998</c:v>
                </c:pt>
                <c:pt idx="4047">
                  <c:v>3.7318699999999998</c:v>
                </c:pt>
                <c:pt idx="4048">
                  <c:v>3.3693300000000002</c:v>
                </c:pt>
                <c:pt idx="4049">
                  <c:v>#N/A</c:v>
                </c:pt>
                <c:pt idx="4050">
                  <c:v>2.8864899999999998</c:v>
                </c:pt>
                <c:pt idx="4051">
                  <c:v>2.76857</c:v>
                </c:pt>
                <c:pt idx="4052">
                  <c:v>#N/A</c:v>
                </c:pt>
                <c:pt idx="4053">
                  <c:v>2.7681900000000002</c:v>
                </c:pt>
                <c:pt idx="4054">
                  <c:v>2.8167800000000001</c:v>
                </c:pt>
                <c:pt idx="4055">
                  <c:v>2.8900100000000002</c:v>
                </c:pt>
                <c:pt idx="4056">
                  <c:v>#N/A</c:v>
                </c:pt>
                <c:pt idx="4057">
                  <c:v>3.2593700000000001</c:v>
                </c:pt>
                <c:pt idx="4058">
                  <c:v>3.0604300000000002</c:v>
                </c:pt>
                <c:pt idx="4059">
                  <c:v>3.6015299999999999</c:v>
                </c:pt>
                <c:pt idx="4060">
                  <c:v>#N/A</c:v>
                </c:pt>
                <c:pt idx="4061">
                  <c:v>2.8469600000000002</c:v>
                </c:pt>
                <c:pt idx="4062">
                  <c:v>2.2458900000000002</c:v>
                </c:pt>
                <c:pt idx="4063">
                  <c:v>2.0567799999999998</c:v>
                </c:pt>
                <c:pt idx="4064">
                  <c:v>#N/A</c:v>
                </c:pt>
                <c:pt idx="4065">
                  <c:v>2.71434</c:v>
                </c:pt>
                <c:pt idx="4066">
                  <c:v>2.8023099999999999</c:v>
                </c:pt>
                <c:pt idx="4067">
                  <c:v>3.6485500000000002</c:v>
                </c:pt>
                <c:pt idx="4068">
                  <c:v>#N/A</c:v>
                </c:pt>
                <c:pt idx="4069">
                  <c:v>3.8424299999999998</c:v>
                </c:pt>
                <c:pt idx="4070">
                  <c:v>3.5548199999999999</c:v>
                </c:pt>
                <c:pt idx="4071">
                  <c:v>#N/A</c:v>
                </c:pt>
                <c:pt idx="4072">
                  <c:v>3.4482900000000001</c:v>
                </c:pt>
                <c:pt idx="4073">
                  <c:v>2.4022000000000001</c:v>
                </c:pt>
                <c:pt idx="4074">
                  <c:v>2.4333499999999999</c:v>
                </c:pt>
                <c:pt idx="4075">
                  <c:v>#N/A</c:v>
                </c:pt>
                <c:pt idx="4076">
                  <c:v>2.6496900000000001</c:v>
                </c:pt>
                <c:pt idx="4077">
                  <c:v>#N/A</c:v>
                </c:pt>
                <c:pt idx="4078">
                  <c:v>3.2614399999999999</c:v>
                </c:pt>
                <c:pt idx="4079">
                  <c:v>2.9952399999999999</c:v>
                </c:pt>
                <c:pt idx="4080">
                  <c:v>#N/A</c:v>
                </c:pt>
                <c:pt idx="4081">
                  <c:v>2.88748</c:v>
                </c:pt>
                <c:pt idx="4082">
                  <c:v>2.9247299999999998</c:v>
                </c:pt>
                <c:pt idx="4083">
                  <c:v>2.88151</c:v>
                </c:pt>
                <c:pt idx="4084">
                  <c:v>#N/A</c:v>
                </c:pt>
                <c:pt idx="4085">
                  <c:v>1.8259000000000001</c:v>
                </c:pt>
                <c:pt idx="4086">
                  <c:v>2.08453</c:v>
                </c:pt>
                <c:pt idx="4087">
                  <c:v>2.8052199999999998</c:v>
                </c:pt>
                <c:pt idx="4088">
                  <c:v>#N/A</c:v>
                </c:pt>
                <c:pt idx="4089">
                  <c:v>3.43981</c:v>
                </c:pt>
                <c:pt idx="4090">
                  <c:v>3.7483900000000001</c:v>
                </c:pt>
                <c:pt idx="4091">
                  <c:v>3.4537900000000001</c:v>
                </c:pt>
                <c:pt idx="4092">
                  <c:v>#N/A</c:v>
                </c:pt>
                <c:pt idx="4093">
                  <c:v>3.0713599999999999</c:v>
                </c:pt>
                <c:pt idx="4094">
                  <c:v>2.5219100000000001</c:v>
                </c:pt>
                <c:pt idx="4095">
                  <c:v>2.4429500000000002</c:v>
                </c:pt>
                <c:pt idx="4096">
                  <c:v>#N/A</c:v>
                </c:pt>
                <c:pt idx="4097">
                  <c:v>2.5449000000000002</c:v>
                </c:pt>
                <c:pt idx="4098">
                  <c:v>3.0134099999999999</c:v>
                </c:pt>
                <c:pt idx="4099">
                  <c:v>3.0416300000000001</c:v>
                </c:pt>
                <c:pt idx="4100">
                  <c:v>#N/A</c:v>
                </c:pt>
                <c:pt idx="4101">
                  <c:v>3.47417</c:v>
                </c:pt>
                <c:pt idx="4102">
                  <c:v>3.2890100000000002</c:v>
                </c:pt>
                <c:pt idx="4103">
                  <c:v>2.3987599999999998</c:v>
                </c:pt>
                <c:pt idx="4104">
                  <c:v>#N/A</c:v>
                </c:pt>
                <c:pt idx="4105">
                  <c:v>2.1510899999999999</c:v>
                </c:pt>
                <c:pt idx="4106">
                  <c:v>2.2302599999999999</c:v>
                </c:pt>
                <c:pt idx="4107">
                  <c:v>#N/A</c:v>
                </c:pt>
                <c:pt idx="4108">
                  <c:v>2.9984500000000001</c:v>
                </c:pt>
                <c:pt idx="4109">
                  <c:v>3.3963399999999999</c:v>
                </c:pt>
                <c:pt idx="4110">
                  <c:v>2.9874299999999998</c:v>
                </c:pt>
                <c:pt idx="4111">
                  <c:v>#N/A</c:v>
                </c:pt>
                <c:pt idx="4112">
                  <c:v>3.4368699999999999</c:v>
                </c:pt>
                <c:pt idx="4113">
                  <c:v>3.68364</c:v>
                </c:pt>
                <c:pt idx="4114">
                  <c:v>#N/A</c:v>
                </c:pt>
                <c:pt idx="4115">
                  <c:v>3.3646799999999999</c:v>
                </c:pt>
                <c:pt idx="4116">
                  <c:v>2.7156099999999999</c:v>
                </c:pt>
                <c:pt idx="4117">
                  <c:v>2.6278700000000002</c:v>
                </c:pt>
                <c:pt idx="4118">
                  <c:v>#N/A</c:v>
                </c:pt>
                <c:pt idx="4119">
                  <c:v>2.90388</c:v>
                </c:pt>
                <c:pt idx="4120">
                  <c:v>3.33901</c:v>
                </c:pt>
                <c:pt idx="4121">
                  <c:v>2.9752999999999998</c:v>
                </c:pt>
                <c:pt idx="4122">
                  <c:v>#N/A</c:v>
                </c:pt>
                <c:pt idx="4123">
                  <c:v>3.1356999999999999</c:v>
                </c:pt>
                <c:pt idx="4124">
                  <c:v>3.2647300000000001</c:v>
                </c:pt>
                <c:pt idx="4125">
                  <c:v>3.0745399999999998</c:v>
                </c:pt>
                <c:pt idx="4126">
                  <c:v>#N/A</c:v>
                </c:pt>
                <c:pt idx="4127">
                  <c:v>2.4888499999999998</c:v>
                </c:pt>
                <c:pt idx="4128">
                  <c:v>2.0777399999999999</c:v>
                </c:pt>
                <c:pt idx="4129">
                  <c:v>2.28417</c:v>
                </c:pt>
                <c:pt idx="4130">
                  <c:v>#N/A</c:v>
                </c:pt>
                <c:pt idx="4131">
                  <c:v>2.9842200000000001</c:v>
                </c:pt>
                <c:pt idx="4132">
                  <c:v>2.88</c:v>
                </c:pt>
                <c:pt idx="4133">
                  <c:v>2.69686</c:v>
                </c:pt>
                <c:pt idx="4134">
                  <c:v>#N/A</c:v>
                </c:pt>
                <c:pt idx="4135">
                  <c:v>3.0687600000000002</c:v>
                </c:pt>
                <c:pt idx="4136">
                  <c:v>2.7062499999999998</c:v>
                </c:pt>
                <c:pt idx="4137">
                  <c:v>2.8839399999999999</c:v>
                </c:pt>
                <c:pt idx="4138">
                  <c:v>#N/A</c:v>
                </c:pt>
                <c:pt idx="4139">
                  <c:v>2.6784300000000001</c:v>
                </c:pt>
                <c:pt idx="4140">
                  <c:v>2.9960200000000001</c:v>
                </c:pt>
                <c:pt idx="4141">
                  <c:v>2.5464099999999998</c:v>
                </c:pt>
                <c:pt idx="4142">
                  <c:v>#N/A</c:v>
                </c:pt>
                <c:pt idx="4143">
                  <c:v>3.2439</c:v>
                </c:pt>
                <c:pt idx="4144">
                  <c:v>2.3948800000000001</c:v>
                </c:pt>
                <c:pt idx="4145">
                  <c:v>2.5598999999999998</c:v>
                </c:pt>
                <c:pt idx="4146">
                  <c:v>#N/A</c:v>
                </c:pt>
                <c:pt idx="4147">
                  <c:v>2.2328800000000002</c:v>
                </c:pt>
                <c:pt idx="4148">
                  <c:v>2.4487199999999998</c:v>
                </c:pt>
                <c:pt idx="4149">
                  <c:v>#N/A</c:v>
                </c:pt>
                <c:pt idx="4150">
                  <c:v>3.12296</c:v>
                </c:pt>
                <c:pt idx="4151">
                  <c:v>#N/A</c:v>
                </c:pt>
                <c:pt idx="4152">
                  <c:v>3.7864499999999999</c:v>
                </c:pt>
                <c:pt idx="4153">
                  <c:v>3.4858500000000001</c:v>
                </c:pt>
                <c:pt idx="4154">
                  <c:v>#N/A</c:v>
                </c:pt>
                <c:pt idx="4155">
                  <c:v>3.2498100000000001</c:v>
                </c:pt>
                <c:pt idx="4156">
                  <c:v>2.4267599999999998</c:v>
                </c:pt>
                <c:pt idx="4157">
                  <c:v>2.3985099999999999</c:v>
                </c:pt>
                <c:pt idx="4158">
                  <c:v>#N/A</c:v>
                </c:pt>
                <c:pt idx="4159">
                  <c:v>1.9569700000000001</c:v>
                </c:pt>
                <c:pt idx="4160">
                  <c:v>2.7916799999999999</c:v>
                </c:pt>
                <c:pt idx="4161">
                  <c:v>3.2727300000000001</c:v>
                </c:pt>
                <c:pt idx="4162">
                  <c:v>#N/A</c:v>
                </c:pt>
                <c:pt idx="4163">
                  <c:v>3.4839899999999999</c:v>
                </c:pt>
                <c:pt idx="4164">
                  <c:v>3.2351399999999999</c:v>
                </c:pt>
                <c:pt idx="4165">
                  <c:v>#N/A</c:v>
                </c:pt>
                <c:pt idx="4166">
                  <c:v>2.7957100000000001</c:v>
                </c:pt>
                <c:pt idx="4167">
                  <c:v>2.3749799999999999</c:v>
                </c:pt>
                <c:pt idx="4168">
                  <c:v>2.1929099999999999</c:v>
                </c:pt>
                <c:pt idx="4169">
                  <c:v>#N/A</c:v>
                </c:pt>
                <c:pt idx="4170">
                  <c:v>2.0946199999999999</c:v>
                </c:pt>
                <c:pt idx="4171">
                  <c:v>2.4854400000000001</c:v>
                </c:pt>
                <c:pt idx="4172">
                  <c:v>3.0906899999999999</c:v>
                </c:pt>
                <c:pt idx="4173">
                  <c:v>#N/A</c:v>
                </c:pt>
                <c:pt idx="4174">
                  <c:v>3.6499899999999998</c:v>
                </c:pt>
                <c:pt idx="4175">
                  <c:v>3.5603099999999999</c:v>
                </c:pt>
                <c:pt idx="4176">
                  <c:v>3.08894</c:v>
                </c:pt>
                <c:pt idx="4177">
                  <c:v>#N/A</c:v>
                </c:pt>
                <c:pt idx="4178">
                  <c:v>2.7324999999999999</c:v>
                </c:pt>
                <c:pt idx="4179">
                  <c:v>3.03714</c:v>
                </c:pt>
                <c:pt idx="4180">
                  <c:v>#N/A</c:v>
                </c:pt>
                <c:pt idx="4181">
                  <c:v>3.6412100000000001</c:v>
                </c:pt>
                <c:pt idx="4182">
                  <c:v>2.7179799999999998</c:v>
                </c:pt>
                <c:pt idx="4183">
                  <c:v>3.8401900000000002</c:v>
                </c:pt>
                <c:pt idx="4184">
                  <c:v>#N/A</c:v>
                </c:pt>
                <c:pt idx="4185">
                  <c:v>3.2358699999999998</c:v>
                </c:pt>
                <c:pt idx="4186">
                  <c:v>3.44617</c:v>
                </c:pt>
                <c:pt idx="4187">
                  <c:v>2.7128700000000001</c:v>
                </c:pt>
                <c:pt idx="4188">
                  <c:v>#N/A</c:v>
                </c:pt>
                <c:pt idx="4189">
                  <c:v>2.5116100000000001</c:v>
                </c:pt>
                <c:pt idx="4190">
                  <c:v>2.5714000000000001</c:v>
                </c:pt>
                <c:pt idx="4191">
                  <c:v>3.1175299999999999</c:v>
                </c:pt>
                <c:pt idx="4192">
                  <c:v>#N/A</c:v>
                </c:pt>
                <c:pt idx="4193">
                  <c:v>3.9481700000000002</c:v>
                </c:pt>
                <c:pt idx="4194">
                  <c:v>3.65191</c:v>
                </c:pt>
                <c:pt idx="4195">
                  <c:v>#N/A</c:v>
                </c:pt>
                <c:pt idx="4196">
                  <c:v>3.3277999999999999</c:v>
                </c:pt>
                <c:pt idx="4197">
                  <c:v>3.5232299999999999</c:v>
                </c:pt>
                <c:pt idx="4198">
                  <c:v>2.6105200000000002</c:v>
                </c:pt>
                <c:pt idx="4199">
                  <c:v>#N/A</c:v>
                </c:pt>
                <c:pt idx="4200">
                  <c:v>1.9454899999999999</c:v>
                </c:pt>
                <c:pt idx="4201">
                  <c:v>2.3680099999999999</c:v>
                </c:pt>
                <c:pt idx="4202">
                  <c:v>2.95546</c:v>
                </c:pt>
                <c:pt idx="4203">
                  <c:v>#N/A</c:v>
                </c:pt>
                <c:pt idx="4204">
                  <c:v>2.6238700000000001</c:v>
                </c:pt>
                <c:pt idx="4205">
                  <c:v>2.3544100000000001</c:v>
                </c:pt>
                <c:pt idx="4206">
                  <c:v>2.4879600000000002</c:v>
                </c:pt>
                <c:pt idx="4207">
                  <c:v>#N/A</c:v>
                </c:pt>
                <c:pt idx="4208">
                  <c:v>2.8116599999999998</c:v>
                </c:pt>
                <c:pt idx="4209">
                  <c:v>2.47967</c:v>
                </c:pt>
                <c:pt idx="4210">
                  <c:v>2.5484499999999999</c:v>
                </c:pt>
                <c:pt idx="4211">
                  <c:v>#N/A</c:v>
                </c:pt>
                <c:pt idx="4212">
                  <c:v>2.7064599999999999</c:v>
                </c:pt>
                <c:pt idx="4213">
                  <c:v>3.4010600000000002</c:v>
                </c:pt>
                <c:pt idx="4214">
                  <c:v>3.7738299999999998</c:v>
                </c:pt>
                <c:pt idx="4215">
                  <c:v>#N/A</c:v>
                </c:pt>
                <c:pt idx="4216">
                  <c:v>3.7341799999999998</c:v>
                </c:pt>
                <c:pt idx="4217">
                  <c:v>3.1825000000000001</c:v>
                </c:pt>
                <c:pt idx="4218">
                  <c:v>2.8624700000000001</c:v>
                </c:pt>
                <c:pt idx="4219">
                  <c:v>#N/A</c:v>
                </c:pt>
                <c:pt idx="4220">
                  <c:v>2.4552800000000001</c:v>
                </c:pt>
                <c:pt idx="4221">
                  <c:v>2.4926300000000001</c:v>
                </c:pt>
                <c:pt idx="4222">
                  <c:v>2.46584</c:v>
                </c:pt>
                <c:pt idx="4223">
                  <c:v>#N/A</c:v>
                </c:pt>
                <c:pt idx="4224">
                  <c:v>3.22363</c:v>
                </c:pt>
                <c:pt idx="4225">
                  <c:v>3.4475699999999998</c:v>
                </c:pt>
                <c:pt idx="4226">
                  <c:v>#N/A</c:v>
                </c:pt>
                <c:pt idx="4227">
                  <c:v>3.4439899999999999</c:v>
                </c:pt>
                <c:pt idx="4228">
                  <c:v>#N/A</c:v>
                </c:pt>
                <c:pt idx="4229">
                  <c:v>2.96191</c:v>
                </c:pt>
                <c:pt idx="4230">
                  <c:v>2.5177800000000001</c:v>
                </c:pt>
                <c:pt idx="4231">
                  <c:v>1.38568</c:v>
                </c:pt>
                <c:pt idx="4232">
                  <c:v>#N/A</c:v>
                </c:pt>
                <c:pt idx="4233">
                  <c:v>2.0908899999999999</c:v>
                </c:pt>
                <c:pt idx="4234">
                  <c:v>2.7002100000000002</c:v>
                </c:pt>
                <c:pt idx="4235">
                  <c:v>3.9801600000000001</c:v>
                </c:pt>
                <c:pt idx="4236">
                  <c:v>#N/A</c:v>
                </c:pt>
                <c:pt idx="4237">
                  <c:v>3.68038</c:v>
                </c:pt>
                <c:pt idx="4238">
                  <c:v>3.0071300000000001</c:v>
                </c:pt>
                <c:pt idx="4239">
                  <c:v>2.7547700000000002</c:v>
                </c:pt>
                <c:pt idx="4240">
                  <c:v>#N/A</c:v>
                </c:pt>
                <c:pt idx="4241">
                  <c:v>2.5544899999999999</c:v>
                </c:pt>
                <c:pt idx="4242">
                  <c:v>2.69062</c:v>
                </c:pt>
                <c:pt idx="4243">
                  <c:v>2.6353599999999999</c:v>
                </c:pt>
                <c:pt idx="4244">
                  <c:v>#N/A</c:v>
                </c:pt>
                <c:pt idx="4245">
                  <c:v>3.1903899999999998</c:v>
                </c:pt>
                <c:pt idx="4246">
                  <c:v>3.1653699999999998</c:v>
                </c:pt>
                <c:pt idx="4247">
                  <c:v>3.6175999999999999</c:v>
                </c:pt>
                <c:pt idx="4248">
                  <c:v>#N/A</c:v>
                </c:pt>
                <c:pt idx="4249">
                  <c:v>3.4836399999999998</c:v>
                </c:pt>
                <c:pt idx="4250">
                  <c:v>2.8374799999999998</c:v>
                </c:pt>
                <c:pt idx="4251">
                  <c:v>2.8357299999999999</c:v>
                </c:pt>
                <c:pt idx="4252">
                  <c:v>#N/A</c:v>
                </c:pt>
                <c:pt idx="4253">
                  <c:v>2.41513</c:v>
                </c:pt>
                <c:pt idx="4254">
                  <c:v>2.2235</c:v>
                </c:pt>
                <c:pt idx="4255">
                  <c:v>2.7964699999999998</c:v>
                </c:pt>
                <c:pt idx="4256">
                  <c:v>#N/A</c:v>
                </c:pt>
                <c:pt idx="4257">
                  <c:v>2.8271600000000001</c:v>
                </c:pt>
                <c:pt idx="4258">
                  <c:v>3.2486899999999999</c:v>
                </c:pt>
                <c:pt idx="4259">
                  <c:v>#N/A</c:v>
                </c:pt>
                <c:pt idx="4260">
                  <c:v>3.2307399999999999</c:v>
                </c:pt>
                <c:pt idx="4261">
                  <c:v>2.8753299999999999</c:v>
                </c:pt>
                <c:pt idx="4262">
                  <c:v>2.41717</c:v>
                </c:pt>
                <c:pt idx="4263">
                  <c:v>#N/A</c:v>
                </c:pt>
                <c:pt idx="4264">
                  <c:v>2.3803200000000002</c:v>
                </c:pt>
                <c:pt idx="4265">
                  <c:v>2.5532300000000001</c:v>
                </c:pt>
                <c:pt idx="4266">
                  <c:v>2.7246700000000001</c:v>
                </c:pt>
                <c:pt idx="4267">
                  <c:v>#N/A</c:v>
                </c:pt>
                <c:pt idx="4268">
                  <c:v>2.4404599999999999</c:v>
                </c:pt>
                <c:pt idx="4269">
                  <c:v>2.4569100000000001</c:v>
                </c:pt>
                <c:pt idx="4270">
                  <c:v>2.5550999999999999</c:v>
                </c:pt>
                <c:pt idx="4271">
                  <c:v>#N/A</c:v>
                </c:pt>
                <c:pt idx="4272">
                  <c:v>2.4274200000000001</c:v>
                </c:pt>
                <c:pt idx="4273">
                  <c:v>2.5611100000000002</c:v>
                </c:pt>
                <c:pt idx="4274">
                  <c:v>2.64689</c:v>
                </c:pt>
                <c:pt idx="4275">
                  <c:v>#N/A</c:v>
                </c:pt>
                <c:pt idx="4276">
                  <c:v>3.0543999999999998</c:v>
                </c:pt>
                <c:pt idx="4277">
                  <c:v>3.7114099999999999</c:v>
                </c:pt>
                <c:pt idx="4278">
                  <c:v>#N/A</c:v>
                </c:pt>
                <c:pt idx="4279">
                  <c:v>2.9748000000000001</c:v>
                </c:pt>
                <c:pt idx="4280">
                  <c:v>2.6958899999999999</c:v>
                </c:pt>
                <c:pt idx="4281">
                  <c:v>2.3094199999999998</c:v>
                </c:pt>
                <c:pt idx="4282">
                  <c:v>#N/A</c:v>
                </c:pt>
                <c:pt idx="4283">
                  <c:v>2.3982100000000002</c:v>
                </c:pt>
                <c:pt idx="4284">
                  <c:v>2.3434900000000001</c:v>
                </c:pt>
                <c:pt idx="4285">
                  <c:v>2.7444999999999999</c:v>
                </c:pt>
                <c:pt idx="4286">
                  <c:v>#N/A</c:v>
                </c:pt>
                <c:pt idx="4287">
                  <c:v>3.0326300000000002</c:v>
                </c:pt>
                <c:pt idx="4288">
                  <c:v>3.1714000000000002</c:v>
                </c:pt>
                <c:pt idx="4289">
                  <c:v>2.9532600000000002</c:v>
                </c:pt>
                <c:pt idx="4290">
                  <c:v>#N/A</c:v>
                </c:pt>
                <c:pt idx="4291">
                  <c:v>2.8671099999999998</c:v>
                </c:pt>
                <c:pt idx="4292">
                  <c:v>2.5517400000000001</c:v>
                </c:pt>
                <c:pt idx="4293">
                  <c:v>#N/A</c:v>
                </c:pt>
                <c:pt idx="4294">
                  <c:v>2.3454899999999999</c:v>
                </c:pt>
                <c:pt idx="4295">
                  <c:v>2.71923</c:v>
                </c:pt>
                <c:pt idx="4296">
                  <c:v>2.9931299999999998</c:v>
                </c:pt>
                <c:pt idx="4297">
                  <c:v>#N/A</c:v>
                </c:pt>
                <c:pt idx="4298">
                  <c:v>3.35371</c:v>
                </c:pt>
                <c:pt idx="4299">
                  <c:v>3.55816</c:v>
                </c:pt>
                <c:pt idx="4300">
                  <c:v>3.1311499999999999</c:v>
                </c:pt>
                <c:pt idx="4301">
                  <c:v>#N/A</c:v>
                </c:pt>
                <c:pt idx="4302">
                  <c:v>#N/A</c:v>
                </c:pt>
                <c:pt idx="4303">
                  <c:v>2.6847400000000001</c:v>
                </c:pt>
                <c:pt idx="4304">
                  <c:v>2.67401</c:v>
                </c:pt>
                <c:pt idx="4305">
                  <c:v>2.3892000000000002</c:v>
                </c:pt>
                <c:pt idx="4306">
                  <c:v>#N/A</c:v>
                </c:pt>
                <c:pt idx="4307">
                  <c:v>3.0995400000000002</c:v>
                </c:pt>
                <c:pt idx="4308">
                  <c:v>2.7614999999999998</c:v>
                </c:pt>
                <c:pt idx="4309">
                  <c:v>3.1721599999999999</c:v>
                </c:pt>
                <c:pt idx="4310">
                  <c:v>#N/A</c:v>
                </c:pt>
                <c:pt idx="4311">
                  <c:v>2.8401399999999999</c:v>
                </c:pt>
                <c:pt idx="4312">
                  <c:v>2.5801599999999998</c:v>
                </c:pt>
                <c:pt idx="4313">
                  <c:v>#N/A</c:v>
                </c:pt>
                <c:pt idx="4314">
                  <c:v>2.5363799999999999</c:v>
                </c:pt>
                <c:pt idx="4315">
                  <c:v>2.2347000000000001</c:v>
                </c:pt>
                <c:pt idx="4316">
                  <c:v>2.3012800000000002</c:v>
                </c:pt>
                <c:pt idx="4317">
                  <c:v>#N/A</c:v>
                </c:pt>
                <c:pt idx="4318">
                  <c:v>2.7267399999999999</c:v>
                </c:pt>
                <c:pt idx="4319">
                  <c:v>3.4789300000000001</c:v>
                </c:pt>
                <c:pt idx="4320">
                  <c:v>3.7130700000000001</c:v>
                </c:pt>
                <c:pt idx="4321">
                  <c:v>#N/A</c:v>
                </c:pt>
                <c:pt idx="4322">
                  <c:v>3.6599300000000001</c:v>
                </c:pt>
                <c:pt idx="4323">
                  <c:v>3.1041500000000002</c:v>
                </c:pt>
                <c:pt idx="4324">
                  <c:v>2.7911000000000001</c:v>
                </c:pt>
                <c:pt idx="4325">
                  <c:v>#N/A</c:v>
                </c:pt>
                <c:pt idx="4326">
                  <c:v>2.1880799999999998</c:v>
                </c:pt>
                <c:pt idx="4327">
                  <c:v>2.37826</c:v>
                </c:pt>
                <c:pt idx="4328">
                  <c:v>2.1952400000000001</c:v>
                </c:pt>
                <c:pt idx="4329">
                  <c:v>#N/A</c:v>
                </c:pt>
                <c:pt idx="4330">
                  <c:v>2.75718</c:v>
                </c:pt>
                <c:pt idx="4331">
                  <c:v>3.4452099999999999</c:v>
                </c:pt>
                <c:pt idx="4332">
                  <c:v>#N/A</c:v>
                </c:pt>
                <c:pt idx="4333">
                  <c:v>3.1116000000000001</c:v>
                </c:pt>
                <c:pt idx="4334">
                  <c:v>2.75989</c:v>
                </c:pt>
                <c:pt idx="4335">
                  <c:v>2.46746</c:v>
                </c:pt>
                <c:pt idx="4336">
                  <c:v>#N/A</c:v>
                </c:pt>
                <c:pt idx="4337">
                  <c:v>2.6859299999999999</c:v>
                </c:pt>
                <c:pt idx="4338">
                  <c:v>2.8510499999999999</c:v>
                </c:pt>
                <c:pt idx="4339">
                  <c:v>3.2188400000000001</c:v>
                </c:pt>
                <c:pt idx="4340">
                  <c:v>#N/A</c:v>
                </c:pt>
                <c:pt idx="4341">
                  <c:v>3.3388599999999999</c:v>
                </c:pt>
                <c:pt idx="4342">
                  <c:v>2.7511299999999999</c:v>
                </c:pt>
                <c:pt idx="4343">
                  <c:v>3.0049700000000001</c:v>
                </c:pt>
                <c:pt idx="4344">
                  <c:v>#N/A</c:v>
                </c:pt>
                <c:pt idx="4345">
                  <c:v>3.13287</c:v>
                </c:pt>
                <c:pt idx="4346">
                  <c:v>2.9083399999999999</c:v>
                </c:pt>
                <c:pt idx="4347">
                  <c:v>3.31433</c:v>
                </c:pt>
                <c:pt idx="4348">
                  <c:v>#N/A</c:v>
                </c:pt>
                <c:pt idx="4349">
                  <c:v>3.4287100000000001</c:v>
                </c:pt>
                <c:pt idx="4350">
                  <c:v>3.0365199999999999</c:v>
                </c:pt>
                <c:pt idx="4351">
                  <c:v>2.9021300000000001</c:v>
                </c:pt>
                <c:pt idx="4352">
                  <c:v>#N/A</c:v>
                </c:pt>
                <c:pt idx="4353">
                  <c:v>2.4942500000000001</c:v>
                </c:pt>
                <c:pt idx="4354">
                  <c:v>2.415</c:v>
                </c:pt>
                <c:pt idx="4355">
                  <c:v>2.1920600000000001</c:v>
                </c:pt>
                <c:pt idx="4356">
                  <c:v>#N/A</c:v>
                </c:pt>
                <c:pt idx="4357">
                  <c:v>2.5223100000000001</c:v>
                </c:pt>
                <c:pt idx="4358">
                  <c:v>2.69787</c:v>
                </c:pt>
                <c:pt idx="4359">
                  <c:v>2.9881099999999998</c:v>
                </c:pt>
                <c:pt idx="4360">
                  <c:v>#N/A</c:v>
                </c:pt>
                <c:pt idx="4361">
                  <c:v>3.8379099999999999</c:v>
                </c:pt>
                <c:pt idx="4362">
                  <c:v>3.3686400000000001</c:v>
                </c:pt>
                <c:pt idx="4363">
                  <c:v>#N/A</c:v>
                </c:pt>
                <c:pt idx="4364">
                  <c:v>3.1128200000000001</c:v>
                </c:pt>
                <c:pt idx="4365">
                  <c:v>2.9668199999999998</c:v>
                </c:pt>
                <c:pt idx="4366">
                  <c:v>2.7199200000000001</c:v>
                </c:pt>
                <c:pt idx="4367">
                  <c:v>#N/A</c:v>
                </c:pt>
                <c:pt idx="4368">
                  <c:v>3.0950799999999998</c:v>
                </c:pt>
                <c:pt idx="4369">
                  <c:v>3.2831199999999998</c:v>
                </c:pt>
                <c:pt idx="4370">
                  <c:v>3.2937799999999999</c:v>
                </c:pt>
                <c:pt idx="4371">
                  <c:v>#N/A</c:v>
                </c:pt>
                <c:pt idx="4372">
                  <c:v>3.2065999999999999</c:v>
                </c:pt>
                <c:pt idx="4373">
                  <c:v>3.0425399999999998</c:v>
                </c:pt>
                <c:pt idx="4374">
                  <c:v>#N/A</c:v>
                </c:pt>
                <c:pt idx="4375">
                  <c:v>2.97573</c:v>
                </c:pt>
                <c:pt idx="4376">
                  <c:v>2.2848000000000002</c:v>
                </c:pt>
                <c:pt idx="4377">
                  <c:v>#N/A</c:v>
                </c:pt>
                <c:pt idx="4378">
                  <c:v>2.1529600000000002</c:v>
                </c:pt>
                <c:pt idx="4379">
                  <c:v>2.52718</c:v>
                </c:pt>
                <c:pt idx="4380">
                  <c:v>#N/A</c:v>
                </c:pt>
                <c:pt idx="4381">
                  <c:v>3.0254500000000002</c:v>
                </c:pt>
                <c:pt idx="4382">
                  <c:v>3.1787999999999998</c:v>
                </c:pt>
                <c:pt idx="4383">
                  <c:v>3.0608399999999998</c:v>
                </c:pt>
                <c:pt idx="4384">
                  <c:v>#N/A</c:v>
                </c:pt>
                <c:pt idx="4385">
                  <c:v>3.4167999999999998</c:v>
                </c:pt>
                <c:pt idx="4386">
                  <c:v>2.5969899999999999</c:v>
                </c:pt>
                <c:pt idx="4387">
                  <c:v>2.5630600000000001</c:v>
                </c:pt>
                <c:pt idx="4388">
                  <c:v>#N/A</c:v>
                </c:pt>
                <c:pt idx="4389">
                  <c:v>2.4256099999999998</c:v>
                </c:pt>
                <c:pt idx="4390">
                  <c:v>2.8884699999999999</c:v>
                </c:pt>
                <c:pt idx="4391">
                  <c:v>#N/A</c:v>
                </c:pt>
                <c:pt idx="4392">
                  <c:v>2.8237299999999999</c:v>
                </c:pt>
                <c:pt idx="4393">
                  <c:v>3.4593400000000001</c:v>
                </c:pt>
                <c:pt idx="4394">
                  <c:v>3.00779</c:v>
                </c:pt>
                <c:pt idx="4395">
                  <c:v>#N/A</c:v>
                </c:pt>
                <c:pt idx="4396">
                  <c:v>3.0926900000000002</c:v>
                </c:pt>
                <c:pt idx="4397">
                  <c:v>2.98149</c:v>
                </c:pt>
                <c:pt idx="4398">
                  <c:v>2.7178399999999998</c:v>
                </c:pt>
                <c:pt idx="4399">
                  <c:v>#N/A</c:v>
                </c:pt>
                <c:pt idx="4400">
                  <c:v>2.7613599999999998</c:v>
                </c:pt>
                <c:pt idx="4401">
                  <c:v>3.05139</c:v>
                </c:pt>
                <c:pt idx="4402">
                  <c:v>3.0674899999999998</c:v>
                </c:pt>
                <c:pt idx="4403">
                  <c:v>#N/A</c:v>
                </c:pt>
                <c:pt idx="4404">
                  <c:v>3.8159200000000002</c:v>
                </c:pt>
                <c:pt idx="4405">
                  <c:v>3.4700600000000001</c:v>
                </c:pt>
                <c:pt idx="4406">
                  <c:v>3.9689999999999999</c:v>
                </c:pt>
                <c:pt idx="4407">
                  <c:v>#N/A</c:v>
                </c:pt>
                <c:pt idx="4408">
                  <c:v>2.8586999999999998</c:v>
                </c:pt>
                <c:pt idx="4409">
                  <c:v>2.7079599999999999</c:v>
                </c:pt>
                <c:pt idx="4410">
                  <c:v>2.7748200000000001</c:v>
                </c:pt>
                <c:pt idx="4411">
                  <c:v>#N/A</c:v>
                </c:pt>
                <c:pt idx="4412">
                  <c:v>2.8599700000000001</c:v>
                </c:pt>
                <c:pt idx="4413">
                  <c:v>3.2247400000000002</c:v>
                </c:pt>
                <c:pt idx="4414">
                  <c:v>3.1280000000000001</c:v>
                </c:pt>
                <c:pt idx="4415">
                  <c:v>#N/A</c:v>
                </c:pt>
                <c:pt idx="4416">
                  <c:v>2.6348099999999999</c:v>
                </c:pt>
                <c:pt idx="4417">
                  <c:v>2.52698</c:v>
                </c:pt>
                <c:pt idx="4418">
                  <c:v>2.87601</c:v>
                </c:pt>
                <c:pt idx="4419">
                  <c:v>#N/A</c:v>
                </c:pt>
                <c:pt idx="4420">
                  <c:v>2.9761600000000001</c:v>
                </c:pt>
                <c:pt idx="4421">
                  <c:v>2.6713800000000001</c:v>
                </c:pt>
                <c:pt idx="4422">
                  <c:v>3.4235199999999999</c:v>
                </c:pt>
                <c:pt idx="4423">
                  <c:v>#N/A</c:v>
                </c:pt>
                <c:pt idx="4424">
                  <c:v>3.9271099999999999</c:v>
                </c:pt>
                <c:pt idx="4425">
                  <c:v>3.6741000000000001</c:v>
                </c:pt>
                <c:pt idx="4426">
                  <c:v>3.6224500000000002</c:v>
                </c:pt>
                <c:pt idx="4427">
                  <c:v>#N/A</c:v>
                </c:pt>
                <c:pt idx="4428">
                  <c:v>3.5517099999999999</c:v>
                </c:pt>
                <c:pt idx="4429">
                  <c:v>3.1259999999999999</c:v>
                </c:pt>
                <c:pt idx="4430">
                  <c:v>3.3165800000000001</c:v>
                </c:pt>
                <c:pt idx="4431">
                  <c:v>#N/A</c:v>
                </c:pt>
                <c:pt idx="4432">
                  <c:v>3.2597399999999999</c:v>
                </c:pt>
                <c:pt idx="4433">
                  <c:v>2.9758800000000001</c:v>
                </c:pt>
                <c:pt idx="4434">
                  <c:v>3.1491199999999999</c:v>
                </c:pt>
                <c:pt idx="4435">
                  <c:v>#N/A</c:v>
                </c:pt>
                <c:pt idx="4436">
                  <c:v>3.2229100000000002</c:v>
                </c:pt>
                <c:pt idx="4437">
                  <c:v>2.94164</c:v>
                </c:pt>
                <c:pt idx="4438">
                  <c:v>#N/A</c:v>
                </c:pt>
                <c:pt idx="4439">
                  <c:v>2.3892500000000001</c:v>
                </c:pt>
                <c:pt idx="4440">
                  <c:v>2.46414</c:v>
                </c:pt>
                <c:pt idx="4441">
                  <c:v>2.2414700000000001</c:v>
                </c:pt>
                <c:pt idx="4442">
                  <c:v>#N/A</c:v>
                </c:pt>
                <c:pt idx="4443">
                  <c:v>3.0219399999999998</c:v>
                </c:pt>
                <c:pt idx="4444">
                  <c:v>3.45112</c:v>
                </c:pt>
                <c:pt idx="4445">
                  <c:v>3.5681500000000002</c:v>
                </c:pt>
                <c:pt idx="4446">
                  <c:v>#N/A</c:v>
                </c:pt>
                <c:pt idx="4447">
                  <c:v>3.2789600000000001</c:v>
                </c:pt>
                <c:pt idx="4448">
                  <c:v>3.4407100000000002</c:v>
                </c:pt>
                <c:pt idx="4449">
                  <c:v>3.1317300000000001</c:v>
                </c:pt>
                <c:pt idx="4450">
                  <c:v>#N/A</c:v>
                </c:pt>
                <c:pt idx="4451">
                  <c:v>2.4956900000000002</c:v>
                </c:pt>
                <c:pt idx="4452">
                  <c:v>#N/A</c:v>
                </c:pt>
                <c:pt idx="4453">
                  <c:v>2.52806</c:v>
                </c:pt>
                <c:pt idx="4454">
                  <c:v>3.1059700000000001</c:v>
                </c:pt>
                <c:pt idx="4455">
                  <c:v>#N/A</c:v>
                </c:pt>
                <c:pt idx="4456">
                  <c:v>3.1509999999999998</c:v>
                </c:pt>
                <c:pt idx="4457">
                  <c:v>2.9255300000000002</c:v>
                </c:pt>
                <c:pt idx="4458">
                  <c:v>3.1069800000000001</c:v>
                </c:pt>
                <c:pt idx="4459">
                  <c:v>#N/A</c:v>
                </c:pt>
                <c:pt idx="4460">
                  <c:v>2.2985600000000002</c:v>
                </c:pt>
                <c:pt idx="4461">
                  <c:v>1.9177599999999999</c:v>
                </c:pt>
                <c:pt idx="4462">
                  <c:v>2.1792500000000001</c:v>
                </c:pt>
                <c:pt idx="4463">
                  <c:v>#N/A</c:v>
                </c:pt>
                <c:pt idx="4464">
                  <c:v>2.8064499999999999</c:v>
                </c:pt>
                <c:pt idx="4465">
                  <c:v>3.7070799999999999</c:v>
                </c:pt>
                <c:pt idx="4466">
                  <c:v>#N/A</c:v>
                </c:pt>
                <c:pt idx="4467">
                  <c:v>3.8749099999999999</c:v>
                </c:pt>
                <c:pt idx="4468">
                  <c:v>3.32395</c:v>
                </c:pt>
                <c:pt idx="4469">
                  <c:v>2.6464099999999999</c:v>
                </c:pt>
                <c:pt idx="4470">
                  <c:v>#N/A</c:v>
                </c:pt>
                <c:pt idx="4471">
                  <c:v>2.7531500000000002</c:v>
                </c:pt>
                <c:pt idx="4472">
                  <c:v>3.20459</c:v>
                </c:pt>
                <c:pt idx="4473">
                  <c:v>2.8144</c:v>
                </c:pt>
                <c:pt idx="4474">
                  <c:v>#N/A</c:v>
                </c:pt>
                <c:pt idx="4475">
                  <c:v>2.93669</c:v>
                </c:pt>
                <c:pt idx="4476">
                  <c:v>2.8048000000000002</c:v>
                </c:pt>
                <c:pt idx="4477">
                  <c:v>3.29895</c:v>
                </c:pt>
                <c:pt idx="4478">
                  <c:v>#N/A</c:v>
                </c:pt>
                <c:pt idx="4479">
                  <c:v>3.0799099999999999</c:v>
                </c:pt>
                <c:pt idx="4480">
                  <c:v>2.66656</c:v>
                </c:pt>
                <c:pt idx="4481">
                  <c:v>2.6586799999999999</c:v>
                </c:pt>
                <c:pt idx="4482">
                  <c:v>#N/A</c:v>
                </c:pt>
                <c:pt idx="4483">
                  <c:v>2.61652</c:v>
                </c:pt>
                <c:pt idx="4484">
                  <c:v>3.2954599999999998</c:v>
                </c:pt>
                <c:pt idx="4485">
                  <c:v>3.0499000000000001</c:v>
                </c:pt>
                <c:pt idx="4486">
                  <c:v>#N/A</c:v>
                </c:pt>
                <c:pt idx="4487">
                  <c:v>3.3178100000000001</c:v>
                </c:pt>
                <c:pt idx="4488">
                  <c:v>3.3542299999999998</c:v>
                </c:pt>
                <c:pt idx="4489">
                  <c:v>3.71271</c:v>
                </c:pt>
                <c:pt idx="4490">
                  <c:v>#N/A</c:v>
                </c:pt>
                <c:pt idx="4491">
                  <c:v>2.8667400000000001</c:v>
                </c:pt>
                <c:pt idx="4492">
                  <c:v>2.6868099999999999</c:v>
                </c:pt>
                <c:pt idx="4493">
                  <c:v>#N/A</c:v>
                </c:pt>
                <c:pt idx="4494">
                  <c:v>2.45547</c:v>
                </c:pt>
                <c:pt idx="4495">
                  <c:v>2.6134400000000002</c:v>
                </c:pt>
                <c:pt idx="4496">
                  <c:v>3.3056999999999999</c:v>
                </c:pt>
                <c:pt idx="4497">
                  <c:v>#N/A</c:v>
                </c:pt>
                <c:pt idx="4498">
                  <c:v>2.6405099999999999</c:v>
                </c:pt>
                <c:pt idx="4499">
                  <c:v>#N/A</c:v>
                </c:pt>
                <c:pt idx="4500">
                  <c:v>2.4666000000000001</c:v>
                </c:pt>
                <c:pt idx="4501">
                  <c:v>2.4947499999999998</c:v>
                </c:pt>
                <c:pt idx="4502">
                  <c:v>#N/A</c:v>
                </c:pt>
                <c:pt idx="4503">
                  <c:v>2.2608700000000002</c:v>
                </c:pt>
                <c:pt idx="4504">
                  <c:v>2.4000900000000001</c:v>
                </c:pt>
                <c:pt idx="4505">
                  <c:v>2.4756300000000002</c:v>
                </c:pt>
                <c:pt idx="4506">
                  <c:v>#N/A</c:v>
                </c:pt>
                <c:pt idx="4507">
                  <c:v>3.4793500000000002</c:v>
                </c:pt>
                <c:pt idx="4508">
                  <c:v>3.2879900000000002</c:v>
                </c:pt>
                <c:pt idx="4509">
                  <c:v>3.0677099999999999</c:v>
                </c:pt>
                <c:pt idx="4510">
                  <c:v>#N/A</c:v>
                </c:pt>
                <c:pt idx="4511">
                  <c:v>3.49675</c:v>
                </c:pt>
                <c:pt idx="4512">
                  <c:v>3.0708299999999999</c:v>
                </c:pt>
                <c:pt idx="4513">
                  <c:v>2.6674000000000002</c:v>
                </c:pt>
                <c:pt idx="4514">
                  <c:v>#N/A</c:v>
                </c:pt>
                <c:pt idx="4515">
                  <c:v>3.0734599999999999</c:v>
                </c:pt>
                <c:pt idx="4516">
                  <c:v>2.9462700000000002</c:v>
                </c:pt>
                <c:pt idx="4517">
                  <c:v>3.8759800000000002</c:v>
                </c:pt>
                <c:pt idx="4518">
                  <c:v>#N/A</c:v>
                </c:pt>
                <c:pt idx="4519">
                  <c:v>3.6949299999999998</c:v>
                </c:pt>
                <c:pt idx="4520">
                  <c:v>2.8086700000000002</c:v>
                </c:pt>
                <c:pt idx="4521">
                  <c:v>2.5149499999999998</c:v>
                </c:pt>
                <c:pt idx="4522">
                  <c:v>#N/A</c:v>
                </c:pt>
                <c:pt idx="4523">
                  <c:v>2.2932800000000002</c:v>
                </c:pt>
                <c:pt idx="4524">
                  <c:v>2.8916400000000002</c:v>
                </c:pt>
                <c:pt idx="4525">
                  <c:v>3.0507</c:v>
                </c:pt>
                <c:pt idx="4526">
                  <c:v>#N/A</c:v>
                </c:pt>
                <c:pt idx="4527">
                  <c:v>3.8456299999999999</c:v>
                </c:pt>
                <c:pt idx="4528">
                  <c:v>#N/A</c:v>
                </c:pt>
                <c:pt idx="4529">
                  <c:v>3.3609499999999999</c:v>
                </c:pt>
                <c:pt idx="4530">
                  <c:v>3.1972200000000002</c:v>
                </c:pt>
                <c:pt idx="4531">
                  <c:v>2.96034</c:v>
                </c:pt>
                <c:pt idx="4532">
                  <c:v>#N/A</c:v>
                </c:pt>
                <c:pt idx="4533">
                  <c:v>2.8584800000000001</c:v>
                </c:pt>
                <c:pt idx="4534">
                  <c:v>2.87656</c:v>
                </c:pt>
                <c:pt idx="4535">
                  <c:v>2.5103200000000001</c:v>
                </c:pt>
                <c:pt idx="4536">
                  <c:v>#N/A</c:v>
                </c:pt>
                <c:pt idx="4537">
                  <c:v>2.9856699999999998</c:v>
                </c:pt>
                <c:pt idx="4538">
                  <c:v>3.0167000000000002</c:v>
                </c:pt>
                <c:pt idx="4539">
                  <c:v>3.3406699999999998</c:v>
                </c:pt>
                <c:pt idx="4540">
                  <c:v>#N/A</c:v>
                </c:pt>
                <c:pt idx="4541">
                  <c:v>2.80966</c:v>
                </c:pt>
                <c:pt idx="4542">
                  <c:v>2.85195</c:v>
                </c:pt>
                <c:pt idx="4543">
                  <c:v>#N/A</c:v>
                </c:pt>
                <c:pt idx="4544">
                  <c:v>2.2591399999999999</c:v>
                </c:pt>
                <c:pt idx="4545">
                  <c:v>3.3226900000000001</c:v>
                </c:pt>
                <c:pt idx="4546">
                  <c:v>3.0026299999999999</c:v>
                </c:pt>
                <c:pt idx="4547">
                  <c:v>#N/A</c:v>
                </c:pt>
                <c:pt idx="4548">
                  <c:v>2.99885</c:v>
                </c:pt>
                <c:pt idx="4549">
                  <c:v>3.46801</c:v>
                </c:pt>
                <c:pt idx="4550">
                  <c:v>#N/A</c:v>
                </c:pt>
                <c:pt idx="4551">
                  <c:v>3.8133699999999999</c:v>
                </c:pt>
                <c:pt idx="4552">
                  <c:v>3.6684000000000001</c:v>
                </c:pt>
                <c:pt idx="4553">
                  <c:v>3.1928299999999998</c:v>
                </c:pt>
                <c:pt idx="4554">
                  <c:v>#N/A</c:v>
                </c:pt>
                <c:pt idx="4555">
                  <c:v>2.6474000000000002</c:v>
                </c:pt>
                <c:pt idx="4556">
                  <c:v>2.5966200000000002</c:v>
                </c:pt>
                <c:pt idx="4557">
                  <c:v>2.7180800000000001</c:v>
                </c:pt>
                <c:pt idx="4558">
                  <c:v>#N/A</c:v>
                </c:pt>
                <c:pt idx="4559">
                  <c:v>2.6713499999999999</c:v>
                </c:pt>
                <c:pt idx="4560">
                  <c:v>2.8643800000000001</c:v>
                </c:pt>
                <c:pt idx="4561">
                  <c:v>2.49959</c:v>
                </c:pt>
                <c:pt idx="4562">
                  <c:v>#N/A</c:v>
                </c:pt>
                <c:pt idx="4563">
                  <c:v>3.1397200000000001</c:v>
                </c:pt>
                <c:pt idx="4564">
                  <c:v>2.3782700000000001</c:v>
                </c:pt>
                <c:pt idx="4565">
                  <c:v>2.4260000000000002</c:v>
                </c:pt>
                <c:pt idx="4566">
                  <c:v>#N/A</c:v>
                </c:pt>
                <c:pt idx="4567">
                  <c:v>2.4495100000000001</c:v>
                </c:pt>
                <c:pt idx="4568">
                  <c:v>2.9991400000000001</c:v>
                </c:pt>
                <c:pt idx="4569">
                  <c:v>3.3626499999999999</c:v>
                </c:pt>
                <c:pt idx="4570">
                  <c:v>#N/A</c:v>
                </c:pt>
                <c:pt idx="4571">
                  <c:v>3.0548899999999999</c:v>
                </c:pt>
                <c:pt idx="4572">
                  <c:v>2.8910399999999998</c:v>
                </c:pt>
                <c:pt idx="4573">
                  <c:v>2.7204700000000002</c:v>
                </c:pt>
                <c:pt idx="4574">
                  <c:v>#N/A</c:v>
                </c:pt>
                <c:pt idx="4575">
                  <c:v>2.6947100000000002</c:v>
                </c:pt>
                <c:pt idx="4576">
                  <c:v>2.7593299999999998</c:v>
                </c:pt>
                <c:pt idx="4577">
                  <c:v>2.9666100000000002</c:v>
                </c:pt>
                <c:pt idx="4578">
                  <c:v>#N/A</c:v>
                </c:pt>
                <c:pt idx="4579">
                  <c:v>3.1746500000000002</c:v>
                </c:pt>
                <c:pt idx="4580">
                  <c:v>3.1525400000000001</c:v>
                </c:pt>
                <c:pt idx="4581">
                  <c:v>#N/A</c:v>
                </c:pt>
                <c:pt idx="4582">
                  <c:v>3.3452799999999998</c:v>
                </c:pt>
                <c:pt idx="4583">
                  <c:v>2.8047399999999998</c:v>
                </c:pt>
                <c:pt idx="4584">
                  <c:v>2.5230000000000001</c:v>
                </c:pt>
                <c:pt idx="4585">
                  <c:v>#N/A</c:v>
                </c:pt>
                <c:pt idx="4586">
                  <c:v>2.68607</c:v>
                </c:pt>
                <c:pt idx="4587">
                  <c:v>2.3609800000000001</c:v>
                </c:pt>
                <c:pt idx="4588">
                  <c:v>3.0220899999999999</c:v>
                </c:pt>
                <c:pt idx="4589">
                  <c:v>#N/A</c:v>
                </c:pt>
                <c:pt idx="4590">
                  <c:v>3.2136900000000002</c:v>
                </c:pt>
                <c:pt idx="4591">
                  <c:v>3.8937599999999999</c:v>
                </c:pt>
                <c:pt idx="4592">
                  <c:v>3.7005599999999998</c:v>
                </c:pt>
                <c:pt idx="4593">
                  <c:v>#N/A</c:v>
                </c:pt>
                <c:pt idx="4594">
                  <c:v>3.1488800000000001</c:v>
                </c:pt>
                <c:pt idx="4595">
                  <c:v>2.8807</c:v>
                </c:pt>
                <c:pt idx="4596">
                  <c:v>2.3751000000000002</c:v>
                </c:pt>
                <c:pt idx="4597">
                  <c:v>#N/A</c:v>
                </c:pt>
                <c:pt idx="4598">
                  <c:v>2.0427499999999998</c:v>
                </c:pt>
                <c:pt idx="4599">
                  <c:v>2.9662500000000001</c:v>
                </c:pt>
                <c:pt idx="4600">
                  <c:v>#N/A</c:v>
                </c:pt>
                <c:pt idx="4601">
                  <c:v>2.9229699999999998</c:v>
                </c:pt>
                <c:pt idx="4602">
                  <c:v>2.99234</c:v>
                </c:pt>
                <c:pt idx="4603">
                  <c:v>#N/A</c:v>
                </c:pt>
                <c:pt idx="4604">
                  <c:v>3.1247199999999999</c:v>
                </c:pt>
                <c:pt idx="4605">
                  <c:v>2.1991000000000001</c:v>
                </c:pt>
                <c:pt idx="4606">
                  <c:v>#N/A</c:v>
                </c:pt>
                <c:pt idx="4607">
                  <c:v>2.4706000000000001</c:v>
                </c:pt>
                <c:pt idx="4608">
                  <c:v>2.1183100000000001</c:v>
                </c:pt>
                <c:pt idx="4609">
                  <c:v>2.4848400000000002</c:v>
                </c:pt>
                <c:pt idx="4610">
                  <c:v>#N/A</c:v>
                </c:pt>
                <c:pt idx="4611">
                  <c:v>2.6225999999999998</c:v>
                </c:pt>
                <c:pt idx="4612">
                  <c:v>3.7097099999999998</c:v>
                </c:pt>
                <c:pt idx="4613">
                  <c:v>3.41187</c:v>
                </c:pt>
                <c:pt idx="4614">
                  <c:v>#N/A</c:v>
                </c:pt>
                <c:pt idx="4615">
                  <c:v>3.1809699999999999</c:v>
                </c:pt>
                <c:pt idx="4616">
                  <c:v>2.5569299999999999</c:v>
                </c:pt>
                <c:pt idx="4617">
                  <c:v>#N/A</c:v>
                </c:pt>
                <c:pt idx="4618">
                  <c:v>2.1244800000000001</c:v>
                </c:pt>
                <c:pt idx="4619">
                  <c:v>2.3857200000000001</c:v>
                </c:pt>
                <c:pt idx="4620">
                  <c:v>2.71197</c:v>
                </c:pt>
                <c:pt idx="4621">
                  <c:v>#N/A</c:v>
                </c:pt>
                <c:pt idx="4622">
                  <c:v>2.8347699999999998</c:v>
                </c:pt>
                <c:pt idx="4623">
                  <c:v>3.0067699999999999</c:v>
                </c:pt>
                <c:pt idx="4624">
                  <c:v>3.0126400000000002</c:v>
                </c:pt>
                <c:pt idx="4625">
                  <c:v>#N/A</c:v>
                </c:pt>
                <c:pt idx="4626">
                  <c:v>2.4232999999999998</c:v>
                </c:pt>
                <c:pt idx="4627">
                  <c:v>1.97946</c:v>
                </c:pt>
                <c:pt idx="4628">
                  <c:v>2.3324699999999998</c:v>
                </c:pt>
                <c:pt idx="4629">
                  <c:v>#N/A</c:v>
                </c:pt>
                <c:pt idx="4630">
                  <c:v>2.4397500000000001</c:v>
                </c:pt>
                <c:pt idx="4631">
                  <c:v>2.8304800000000001</c:v>
                </c:pt>
                <c:pt idx="4632">
                  <c:v>2.9938600000000002</c:v>
                </c:pt>
                <c:pt idx="4633">
                  <c:v>#N/A</c:v>
                </c:pt>
                <c:pt idx="4634">
                  <c:v>3.3405999999999998</c:v>
                </c:pt>
                <c:pt idx="4635">
                  <c:v>3.23333</c:v>
                </c:pt>
                <c:pt idx="4636">
                  <c:v>#N/A</c:v>
                </c:pt>
                <c:pt idx="4637">
                  <c:v>3.42299</c:v>
                </c:pt>
                <c:pt idx="4638">
                  <c:v>2.83209</c:v>
                </c:pt>
                <c:pt idx="4639">
                  <c:v>3.0022500000000001</c:v>
                </c:pt>
                <c:pt idx="4640">
                  <c:v>#N/A</c:v>
                </c:pt>
                <c:pt idx="4641">
                  <c:v>2.81284</c:v>
                </c:pt>
                <c:pt idx="4642">
                  <c:v>2.82673</c:v>
                </c:pt>
                <c:pt idx="4643">
                  <c:v>3.7302499999999998</c:v>
                </c:pt>
                <c:pt idx="4644">
                  <c:v>#N/A</c:v>
                </c:pt>
                <c:pt idx="4645">
                  <c:v>2.99119</c:v>
                </c:pt>
                <c:pt idx="4646">
                  <c:v>2.6513800000000001</c:v>
                </c:pt>
                <c:pt idx="4647">
                  <c:v>2.2978700000000001</c:v>
                </c:pt>
                <c:pt idx="4648">
                  <c:v>#N/A</c:v>
                </c:pt>
                <c:pt idx="4649">
                  <c:v>2.7204199999999998</c:v>
                </c:pt>
                <c:pt idx="4650">
                  <c:v>2.5586500000000001</c:v>
                </c:pt>
                <c:pt idx="4651">
                  <c:v>3.3453400000000002</c:v>
                </c:pt>
                <c:pt idx="4652">
                  <c:v>#N/A</c:v>
                </c:pt>
                <c:pt idx="4653">
                  <c:v>3.3778199999999998</c:v>
                </c:pt>
                <c:pt idx="4654">
                  <c:v>2.9091300000000002</c:v>
                </c:pt>
                <c:pt idx="4655">
                  <c:v>2.6773699999999998</c:v>
                </c:pt>
                <c:pt idx="4656">
                  <c:v>#N/A</c:v>
                </c:pt>
                <c:pt idx="4657">
                  <c:v>2.8103600000000002</c:v>
                </c:pt>
                <c:pt idx="4658">
                  <c:v>2.5476399999999999</c:v>
                </c:pt>
                <c:pt idx="4659">
                  <c:v>#N/A</c:v>
                </c:pt>
                <c:pt idx="4660">
                  <c:v>2.58758</c:v>
                </c:pt>
                <c:pt idx="4661">
                  <c:v>2.5548099999999998</c:v>
                </c:pt>
                <c:pt idx="4662">
                  <c:v>2.8514900000000001</c:v>
                </c:pt>
                <c:pt idx="4663">
                  <c:v>#N/A</c:v>
                </c:pt>
                <c:pt idx="4664">
                  <c:v>3.2952499999999998</c:v>
                </c:pt>
                <c:pt idx="4665">
                  <c:v>3.0508999999999999</c:v>
                </c:pt>
                <c:pt idx="4666">
                  <c:v>#N/A</c:v>
                </c:pt>
                <c:pt idx="4667">
                  <c:v>3.31691</c:v>
                </c:pt>
                <c:pt idx="4668">
                  <c:v>2.66492</c:v>
                </c:pt>
                <c:pt idx="4669">
                  <c:v>2.4872200000000002</c:v>
                </c:pt>
                <c:pt idx="4670">
                  <c:v>#N/A</c:v>
                </c:pt>
                <c:pt idx="4671">
                  <c:v>2.63734</c:v>
                </c:pt>
                <c:pt idx="4672">
                  <c:v>2.5577800000000002</c:v>
                </c:pt>
                <c:pt idx="4673">
                  <c:v>3.26546</c:v>
                </c:pt>
                <c:pt idx="4674">
                  <c:v>#N/A</c:v>
                </c:pt>
                <c:pt idx="4675">
                  <c:v>3.3240500000000002</c:v>
                </c:pt>
                <c:pt idx="4676">
                  <c:v>3.4319199999999999</c:v>
                </c:pt>
                <c:pt idx="4677">
                  <c:v>3.17456</c:v>
                </c:pt>
                <c:pt idx="4678">
                  <c:v>#N/A</c:v>
                </c:pt>
                <c:pt idx="4679">
                  <c:v>3.0417200000000002</c:v>
                </c:pt>
                <c:pt idx="4680">
                  <c:v>#N/A</c:v>
                </c:pt>
                <c:pt idx="4681">
                  <c:v>2.40401</c:v>
                </c:pt>
                <c:pt idx="4682">
                  <c:v>2.48766</c:v>
                </c:pt>
                <c:pt idx="4683">
                  <c:v>2.4213499999999999</c:v>
                </c:pt>
                <c:pt idx="4684">
                  <c:v>#N/A</c:v>
                </c:pt>
                <c:pt idx="4685">
                  <c:v>2.6063399999999999</c:v>
                </c:pt>
                <c:pt idx="4686">
                  <c:v>2.52678</c:v>
                </c:pt>
                <c:pt idx="4687">
                  <c:v>2.3932500000000001</c:v>
                </c:pt>
                <c:pt idx="4688">
                  <c:v>#N/A</c:v>
                </c:pt>
                <c:pt idx="4689">
                  <c:v>2.41919</c:v>
                </c:pt>
                <c:pt idx="4690">
                  <c:v>2.22688</c:v>
                </c:pt>
                <c:pt idx="4691">
                  <c:v>2.6047600000000002</c:v>
                </c:pt>
                <c:pt idx="4692">
                  <c:v>#N/A</c:v>
                </c:pt>
                <c:pt idx="4693">
                  <c:v>2.2315100000000001</c:v>
                </c:pt>
                <c:pt idx="4694">
                  <c:v>2.53159</c:v>
                </c:pt>
                <c:pt idx="4695">
                  <c:v>#N/A</c:v>
                </c:pt>
                <c:pt idx="4696">
                  <c:v>3.2803599999999999</c:v>
                </c:pt>
                <c:pt idx="4697">
                  <c:v>3.6251000000000002</c:v>
                </c:pt>
                <c:pt idx="4698">
                  <c:v>2.9293200000000001</c:v>
                </c:pt>
                <c:pt idx="4699">
                  <c:v>#N/A</c:v>
                </c:pt>
                <c:pt idx="4700">
                  <c:v>2.4065699999999999</c:v>
                </c:pt>
                <c:pt idx="4701">
                  <c:v>2.6798500000000001</c:v>
                </c:pt>
                <c:pt idx="4702">
                  <c:v>#N/A</c:v>
                </c:pt>
                <c:pt idx="4703">
                  <c:v>2.4072499999999999</c:v>
                </c:pt>
                <c:pt idx="4704">
                  <c:v>3.3494799999999998</c:v>
                </c:pt>
                <c:pt idx="4705">
                  <c:v>2.8992800000000001</c:v>
                </c:pt>
                <c:pt idx="4706">
                  <c:v>#N/A</c:v>
                </c:pt>
                <c:pt idx="4707">
                  <c:v>2.6482000000000001</c:v>
                </c:pt>
                <c:pt idx="4708">
                  <c:v>2.6585899999999998</c:v>
                </c:pt>
                <c:pt idx="4709">
                  <c:v>2.9119000000000002</c:v>
                </c:pt>
                <c:pt idx="4710">
                  <c:v>#N/A</c:v>
                </c:pt>
                <c:pt idx="4711">
                  <c:v>2.1931600000000002</c:v>
                </c:pt>
                <c:pt idx="4712">
                  <c:v>2.0650599999999999</c:v>
                </c:pt>
                <c:pt idx="4713">
                  <c:v>2.07497</c:v>
                </c:pt>
                <c:pt idx="4714">
                  <c:v>#N/A</c:v>
                </c:pt>
                <c:pt idx="4715">
                  <c:v>2.75257</c:v>
                </c:pt>
                <c:pt idx="4716">
                  <c:v>3.1630199999999999</c:v>
                </c:pt>
                <c:pt idx="4717">
                  <c:v>3.1901799999999998</c:v>
                </c:pt>
                <c:pt idx="4718">
                  <c:v>#N/A</c:v>
                </c:pt>
                <c:pt idx="4719">
                  <c:v>2.8968600000000002</c:v>
                </c:pt>
                <c:pt idx="4720">
                  <c:v>3.1840799999999998</c:v>
                </c:pt>
                <c:pt idx="4721">
                  <c:v>3.0421100000000001</c:v>
                </c:pt>
                <c:pt idx="4722">
                  <c:v>#N/A</c:v>
                </c:pt>
                <c:pt idx="4723">
                  <c:v>2.1953</c:v>
                </c:pt>
                <c:pt idx="4724">
                  <c:v>2.6671499999999999</c:v>
                </c:pt>
                <c:pt idx="4725">
                  <c:v>3.1038899999999998</c:v>
                </c:pt>
                <c:pt idx="4726">
                  <c:v>#N/A</c:v>
                </c:pt>
                <c:pt idx="4727">
                  <c:v>3.8263500000000001</c:v>
                </c:pt>
                <c:pt idx="4728">
                  <c:v>3.3219799999999999</c:v>
                </c:pt>
                <c:pt idx="4729">
                  <c:v>2.8894099999999998</c:v>
                </c:pt>
                <c:pt idx="4730">
                  <c:v>#N/A</c:v>
                </c:pt>
                <c:pt idx="4731">
                  <c:v>2.1327600000000002</c:v>
                </c:pt>
                <c:pt idx="4732">
                  <c:v>2.2037399999999998</c:v>
                </c:pt>
                <c:pt idx="4733">
                  <c:v>2.46713</c:v>
                </c:pt>
                <c:pt idx="4734">
                  <c:v>#N/A</c:v>
                </c:pt>
                <c:pt idx="4735">
                  <c:v>3.0689099999999998</c:v>
                </c:pt>
                <c:pt idx="4736">
                  <c:v>3.1771699999999998</c:v>
                </c:pt>
                <c:pt idx="4737">
                  <c:v>3.4491200000000002</c:v>
                </c:pt>
                <c:pt idx="4738">
                  <c:v>#N/A</c:v>
                </c:pt>
                <c:pt idx="4739">
                  <c:v>3.4081899999999998</c:v>
                </c:pt>
                <c:pt idx="4740">
                  <c:v>2.79203</c:v>
                </c:pt>
                <c:pt idx="4741">
                  <c:v>2.5080300000000002</c:v>
                </c:pt>
                <c:pt idx="4742">
                  <c:v>#N/A</c:v>
                </c:pt>
                <c:pt idx="4743">
                  <c:v>2.2878799999999999</c:v>
                </c:pt>
                <c:pt idx="4744">
                  <c:v>2.75454</c:v>
                </c:pt>
                <c:pt idx="4745">
                  <c:v>#N/A</c:v>
                </c:pt>
                <c:pt idx="4746">
                  <c:v>3.6071300000000002</c:v>
                </c:pt>
                <c:pt idx="4747">
                  <c:v>3.0978599999999998</c:v>
                </c:pt>
                <c:pt idx="4748">
                  <c:v>2.8320599999999998</c:v>
                </c:pt>
                <c:pt idx="4749">
                  <c:v>#N/A</c:v>
                </c:pt>
                <c:pt idx="4750">
                  <c:v>3.05437</c:v>
                </c:pt>
                <c:pt idx="4751">
                  <c:v>2.8323499999999999</c:v>
                </c:pt>
                <c:pt idx="4752">
                  <c:v>2.48359</c:v>
                </c:pt>
                <c:pt idx="4753">
                  <c:v>#N/A</c:v>
                </c:pt>
                <c:pt idx="4754">
                  <c:v>2.46583</c:v>
                </c:pt>
                <c:pt idx="4755">
                  <c:v>#N/A</c:v>
                </c:pt>
                <c:pt idx="4756">
                  <c:v>2.9378799999999998</c:v>
                </c:pt>
                <c:pt idx="4757">
                  <c:v>#N/A</c:v>
                </c:pt>
                <c:pt idx="4758">
                  <c:v>3.6496900000000001</c:v>
                </c:pt>
                <c:pt idx="4759">
                  <c:v>3.5452300000000001</c:v>
                </c:pt>
                <c:pt idx="4760">
                  <c:v>3.5773199999999998</c:v>
                </c:pt>
                <c:pt idx="4761">
                  <c:v>#N/A</c:v>
                </c:pt>
                <c:pt idx="4762">
                  <c:v>3.1055700000000002</c:v>
                </c:pt>
                <c:pt idx="4763">
                  <c:v>2.7880199999999999</c:v>
                </c:pt>
                <c:pt idx="4764">
                  <c:v>#N/A</c:v>
                </c:pt>
                <c:pt idx="4765">
                  <c:v>2.83277</c:v>
                </c:pt>
                <c:pt idx="4766">
                  <c:v>2.3847200000000002</c:v>
                </c:pt>
                <c:pt idx="4767">
                  <c:v>2.0827100000000001</c:v>
                </c:pt>
                <c:pt idx="4768">
                  <c:v>#N/A</c:v>
                </c:pt>
                <c:pt idx="4769">
                  <c:v>3.1886399999999999</c:v>
                </c:pt>
                <c:pt idx="4770">
                  <c:v>3.5541399999999999</c:v>
                </c:pt>
                <c:pt idx="4771">
                  <c:v>3.0367000000000002</c:v>
                </c:pt>
                <c:pt idx="4772">
                  <c:v>#N/A</c:v>
                </c:pt>
                <c:pt idx="4773">
                  <c:v>2.3678300000000001</c:v>
                </c:pt>
                <c:pt idx="4774">
                  <c:v>2.3046099999999998</c:v>
                </c:pt>
                <c:pt idx="4775">
                  <c:v>2.5792199999999998</c:v>
                </c:pt>
                <c:pt idx="4776">
                  <c:v>#N/A</c:v>
                </c:pt>
                <c:pt idx="4777">
                  <c:v>2.4366099999999999</c:v>
                </c:pt>
                <c:pt idx="4778">
                  <c:v>3.3765200000000002</c:v>
                </c:pt>
                <c:pt idx="4779">
                  <c:v>2.8937499999999998</c:v>
                </c:pt>
                <c:pt idx="4780">
                  <c:v>#N/A</c:v>
                </c:pt>
                <c:pt idx="4781">
                  <c:v>3.3465799999999999</c:v>
                </c:pt>
                <c:pt idx="4782">
                  <c:v>3.6972</c:v>
                </c:pt>
                <c:pt idx="4783">
                  <c:v>3.2484899999999999</c:v>
                </c:pt>
                <c:pt idx="4784">
                  <c:v>#N/A</c:v>
                </c:pt>
                <c:pt idx="4785">
                  <c:v>2.3392499999999998</c:v>
                </c:pt>
                <c:pt idx="4786">
                  <c:v>2.3756400000000002</c:v>
                </c:pt>
                <c:pt idx="4787">
                  <c:v>2.9918300000000002</c:v>
                </c:pt>
                <c:pt idx="4788">
                  <c:v>#N/A</c:v>
                </c:pt>
                <c:pt idx="4789">
                  <c:v>3.2759200000000002</c:v>
                </c:pt>
                <c:pt idx="4790">
                  <c:v>2.9047800000000001</c:v>
                </c:pt>
                <c:pt idx="4791">
                  <c:v>2.7472699999999999</c:v>
                </c:pt>
                <c:pt idx="4792">
                  <c:v>#N/A</c:v>
                </c:pt>
                <c:pt idx="4793">
                  <c:v>2.92814</c:v>
                </c:pt>
                <c:pt idx="4794">
                  <c:v>2.6529500000000001</c:v>
                </c:pt>
                <c:pt idx="4795">
                  <c:v>#N/A</c:v>
                </c:pt>
                <c:pt idx="4796">
                  <c:v>2.2647699999999999</c:v>
                </c:pt>
                <c:pt idx="4797">
                  <c:v>2.67049</c:v>
                </c:pt>
                <c:pt idx="4798">
                  <c:v>2.9159799999999998</c:v>
                </c:pt>
                <c:pt idx="4799">
                  <c:v>#N/A</c:v>
                </c:pt>
                <c:pt idx="4800">
                  <c:v>3.6615500000000001</c:v>
                </c:pt>
                <c:pt idx="4801">
                  <c:v>3.2996799999999999</c:v>
                </c:pt>
                <c:pt idx="4802">
                  <c:v>2.3766699999999998</c:v>
                </c:pt>
                <c:pt idx="4803">
                  <c:v>#N/A</c:v>
                </c:pt>
                <c:pt idx="4804">
                  <c:v>2.2725200000000001</c:v>
                </c:pt>
                <c:pt idx="4805">
                  <c:v>2.0344699999999998</c:v>
                </c:pt>
                <c:pt idx="4806">
                  <c:v>2.94197</c:v>
                </c:pt>
                <c:pt idx="4807">
                  <c:v>#N/A</c:v>
                </c:pt>
                <c:pt idx="4808">
                  <c:v>2.57423</c:v>
                </c:pt>
                <c:pt idx="4809">
                  <c:v>2.98638</c:v>
                </c:pt>
                <c:pt idx="4810">
                  <c:v>2.8108900000000001</c:v>
                </c:pt>
                <c:pt idx="4811">
                  <c:v>#N/A</c:v>
                </c:pt>
                <c:pt idx="4812">
                  <c:v>2.7083300000000001</c:v>
                </c:pt>
                <c:pt idx="4813">
                  <c:v>3.12249</c:v>
                </c:pt>
                <c:pt idx="4814">
                  <c:v>2.1274000000000002</c:v>
                </c:pt>
                <c:pt idx="4815">
                  <c:v>#N/A</c:v>
                </c:pt>
                <c:pt idx="4816">
                  <c:v>2.1536599999999999</c:v>
                </c:pt>
                <c:pt idx="4817">
                  <c:v>2.5802900000000002</c:v>
                </c:pt>
                <c:pt idx="4818">
                  <c:v>#N/A</c:v>
                </c:pt>
                <c:pt idx="4819">
                  <c:v>3.0535199999999998</c:v>
                </c:pt>
                <c:pt idx="4820">
                  <c:v>3.3402799999999999</c:v>
                </c:pt>
                <c:pt idx="4821">
                  <c:v>3.7565200000000001</c:v>
                </c:pt>
                <c:pt idx="4822">
                  <c:v>#N/A</c:v>
                </c:pt>
                <c:pt idx="4823">
                  <c:v>3.4589599999999998</c:v>
                </c:pt>
                <c:pt idx="4824">
                  <c:v>2.6311800000000001</c:v>
                </c:pt>
                <c:pt idx="4825">
                  <c:v>2.2541000000000002</c:v>
                </c:pt>
                <c:pt idx="4826">
                  <c:v>#N/A</c:v>
                </c:pt>
                <c:pt idx="4827">
                  <c:v>1.6115900000000001</c:v>
                </c:pt>
                <c:pt idx="4828">
                  <c:v>1.9108000000000001</c:v>
                </c:pt>
                <c:pt idx="4829">
                  <c:v>#N/A</c:v>
                </c:pt>
                <c:pt idx="4830">
                  <c:v>2.5162800000000001</c:v>
                </c:pt>
                <c:pt idx="4831">
                  <c:v>3.8259799999999999</c:v>
                </c:pt>
                <c:pt idx="4832">
                  <c:v>#N/A</c:v>
                </c:pt>
                <c:pt idx="4833">
                  <c:v>2.4944899999999999</c:v>
                </c:pt>
                <c:pt idx="4834">
                  <c:v>3.1035900000000001</c:v>
                </c:pt>
                <c:pt idx="4835">
                  <c:v>1.89676</c:v>
                </c:pt>
                <c:pt idx="4836">
                  <c:v>#N/A</c:v>
                </c:pt>
                <c:pt idx="4837">
                  <c:v>1.99587</c:v>
                </c:pt>
                <c:pt idx="4838">
                  <c:v>1.54105</c:v>
                </c:pt>
                <c:pt idx="4839">
                  <c:v>2.4987699999999999</c:v>
                </c:pt>
                <c:pt idx="4840">
                  <c:v>#N/A</c:v>
                </c:pt>
                <c:pt idx="4841">
                  <c:v>2.5803799999999999</c:v>
                </c:pt>
                <c:pt idx="4842">
                  <c:v>2.9554</c:v>
                </c:pt>
                <c:pt idx="4843">
                  <c:v>3.3532500000000001</c:v>
                </c:pt>
                <c:pt idx="4844">
                  <c:v>#N/A</c:v>
                </c:pt>
                <c:pt idx="4845">
                  <c:v>3.1964100000000002</c:v>
                </c:pt>
                <c:pt idx="4846">
                  <c:v>3.37</c:v>
                </c:pt>
                <c:pt idx="4847">
                  <c:v>#N/A</c:v>
                </c:pt>
                <c:pt idx="4848">
                  <c:v>2.87385</c:v>
                </c:pt>
                <c:pt idx="4849">
                  <c:v>2.7828400000000002</c:v>
                </c:pt>
                <c:pt idx="4850">
                  <c:v>2.6250300000000002</c:v>
                </c:pt>
                <c:pt idx="4851">
                  <c:v>#N/A</c:v>
                </c:pt>
                <c:pt idx="4852">
                  <c:v>2.7143700000000002</c:v>
                </c:pt>
                <c:pt idx="4853">
                  <c:v>2.98109</c:v>
                </c:pt>
                <c:pt idx="4854">
                  <c:v>3.2572000000000001</c:v>
                </c:pt>
                <c:pt idx="4855">
                  <c:v>#N/A</c:v>
                </c:pt>
                <c:pt idx="4856">
                  <c:v>3.13137</c:v>
                </c:pt>
                <c:pt idx="4857">
                  <c:v>3.44855</c:v>
                </c:pt>
                <c:pt idx="4858">
                  <c:v>2.9681000000000002</c:v>
                </c:pt>
                <c:pt idx="4859">
                  <c:v>#N/A</c:v>
                </c:pt>
                <c:pt idx="4860">
                  <c:v>2.45167</c:v>
                </c:pt>
                <c:pt idx="4861">
                  <c:v>3.0038100000000001</c:v>
                </c:pt>
                <c:pt idx="4862">
                  <c:v>3.12738</c:v>
                </c:pt>
                <c:pt idx="4863">
                  <c:v>#N/A</c:v>
                </c:pt>
                <c:pt idx="4864">
                  <c:v>2.6060099999999999</c:v>
                </c:pt>
                <c:pt idx="4865">
                  <c:v>2.50746</c:v>
                </c:pt>
                <c:pt idx="4866">
                  <c:v>2.9189699999999998</c:v>
                </c:pt>
                <c:pt idx="4867">
                  <c:v>#N/A</c:v>
                </c:pt>
                <c:pt idx="4868">
                  <c:v>2.9293499999999999</c:v>
                </c:pt>
                <c:pt idx="4869">
                  <c:v>2.6901799999999998</c:v>
                </c:pt>
                <c:pt idx="4870">
                  <c:v>2.7188099999999999</c:v>
                </c:pt>
                <c:pt idx="4871">
                  <c:v>#N/A</c:v>
                </c:pt>
                <c:pt idx="4872">
                  <c:v>2.6051099999999998</c:v>
                </c:pt>
                <c:pt idx="4873">
                  <c:v>2.7478099999999999</c:v>
                </c:pt>
                <c:pt idx="4874">
                  <c:v>3.0833599999999999</c:v>
                </c:pt>
                <c:pt idx="4875">
                  <c:v>#N/A</c:v>
                </c:pt>
                <c:pt idx="4876">
                  <c:v>2.4520499999999998</c:v>
                </c:pt>
                <c:pt idx="4877">
                  <c:v>2.5472600000000001</c:v>
                </c:pt>
                <c:pt idx="4878">
                  <c:v>#N/A</c:v>
                </c:pt>
                <c:pt idx="4879">
                  <c:v>2.6978300000000002</c:v>
                </c:pt>
                <c:pt idx="4880">
                  <c:v>3.0375800000000002</c:v>
                </c:pt>
                <c:pt idx="4881">
                  <c:v>3.1456</c:v>
                </c:pt>
                <c:pt idx="4882">
                  <c:v>#N/A</c:v>
                </c:pt>
                <c:pt idx="4883">
                  <c:v>3.94482</c:v>
                </c:pt>
                <c:pt idx="4884">
                  <c:v>3.3763899999999998</c:v>
                </c:pt>
                <c:pt idx="4885">
                  <c:v>2.9372799999999999</c:v>
                </c:pt>
                <c:pt idx="4886">
                  <c:v>#N/A</c:v>
                </c:pt>
                <c:pt idx="4887">
                  <c:v>2.59971</c:v>
                </c:pt>
                <c:pt idx="4888">
                  <c:v>1.92014</c:v>
                </c:pt>
                <c:pt idx="4889">
                  <c:v>1.99091</c:v>
                </c:pt>
                <c:pt idx="4890">
                  <c:v>#N/A</c:v>
                </c:pt>
                <c:pt idx="4891">
                  <c:v>2.5153300000000001</c:v>
                </c:pt>
                <c:pt idx="4892">
                  <c:v>3.0692300000000001</c:v>
                </c:pt>
                <c:pt idx="4893">
                  <c:v>3.3992</c:v>
                </c:pt>
                <c:pt idx="4894">
                  <c:v>#N/A</c:v>
                </c:pt>
                <c:pt idx="4895">
                  <c:v>2.78959</c:v>
                </c:pt>
                <c:pt idx="4896">
                  <c:v>2.7727300000000001</c:v>
                </c:pt>
                <c:pt idx="4897">
                  <c:v>2.3752900000000001</c:v>
                </c:pt>
                <c:pt idx="4898">
                  <c:v>#N/A</c:v>
                </c:pt>
                <c:pt idx="4899">
                  <c:v>1.6448400000000001</c:v>
                </c:pt>
                <c:pt idx="4900">
                  <c:v>1.7501800000000001</c:v>
                </c:pt>
                <c:pt idx="4901">
                  <c:v>2.5439500000000002</c:v>
                </c:pt>
                <c:pt idx="4902">
                  <c:v>#N/A</c:v>
                </c:pt>
                <c:pt idx="4903">
                  <c:v>3.0669200000000001</c:v>
                </c:pt>
                <c:pt idx="4904">
                  <c:v>3.9871500000000002</c:v>
                </c:pt>
                <c:pt idx="4905">
                  <c:v>3.6441499999999998</c:v>
                </c:pt>
                <c:pt idx="4906">
                  <c:v>#N/A</c:v>
                </c:pt>
                <c:pt idx="4907">
                  <c:v>3.2591399999999999</c:v>
                </c:pt>
                <c:pt idx="4908">
                  <c:v>3.0975700000000002</c:v>
                </c:pt>
                <c:pt idx="4909">
                  <c:v>2.7981600000000002</c:v>
                </c:pt>
                <c:pt idx="4910">
                  <c:v>#N/A</c:v>
                </c:pt>
                <c:pt idx="4911">
                  <c:v>2.6023900000000002</c:v>
                </c:pt>
                <c:pt idx="4912">
                  <c:v>2.4598300000000002</c:v>
                </c:pt>
                <c:pt idx="4913">
                  <c:v>#N/A</c:v>
                </c:pt>
                <c:pt idx="4914">
                  <c:v>3.0309699999999999</c:v>
                </c:pt>
                <c:pt idx="4915">
                  <c:v>2.7581899999999999</c:v>
                </c:pt>
                <c:pt idx="4916">
                  <c:v>3.2142400000000002</c:v>
                </c:pt>
                <c:pt idx="4917">
                  <c:v>#N/A</c:v>
                </c:pt>
                <c:pt idx="4918">
                  <c:v>3.4341900000000001</c:v>
                </c:pt>
                <c:pt idx="4919">
                  <c:v>2.91567</c:v>
                </c:pt>
                <c:pt idx="4920">
                  <c:v>2.7331500000000002</c:v>
                </c:pt>
                <c:pt idx="4921">
                  <c:v>#N/A</c:v>
                </c:pt>
                <c:pt idx="4922">
                  <c:v>2.7142200000000001</c:v>
                </c:pt>
                <c:pt idx="4923">
                  <c:v>2.3030300000000001</c:v>
                </c:pt>
                <c:pt idx="4924">
                  <c:v>2.8106300000000002</c:v>
                </c:pt>
                <c:pt idx="4925">
                  <c:v>#N/A</c:v>
                </c:pt>
                <c:pt idx="4926">
                  <c:v>3.1399599999999999</c:v>
                </c:pt>
                <c:pt idx="4927">
                  <c:v>3.4883899999999999</c:v>
                </c:pt>
                <c:pt idx="4928">
                  <c:v>#N/A</c:v>
                </c:pt>
                <c:pt idx="4929">
                  <c:v>3.5148100000000002</c:v>
                </c:pt>
                <c:pt idx="4930">
                  <c:v>2.8616700000000002</c:v>
                </c:pt>
                <c:pt idx="4931">
                  <c:v>2.74064</c:v>
                </c:pt>
                <c:pt idx="4932">
                  <c:v>#N/A</c:v>
                </c:pt>
                <c:pt idx="4933">
                  <c:v>2.4887299999999999</c:v>
                </c:pt>
                <c:pt idx="4934">
                  <c:v>2.9764900000000001</c:v>
                </c:pt>
                <c:pt idx="4935">
                  <c:v>3.3254299999999999</c:v>
                </c:pt>
                <c:pt idx="4936">
                  <c:v>#N/A</c:v>
                </c:pt>
                <c:pt idx="4937">
                  <c:v>2.9491999999999998</c:v>
                </c:pt>
                <c:pt idx="4938">
                  <c:v>2.5774499999999998</c:v>
                </c:pt>
                <c:pt idx="4939">
                  <c:v>2.3597299999999999</c:v>
                </c:pt>
                <c:pt idx="4940">
                  <c:v>#N/A</c:v>
                </c:pt>
                <c:pt idx="4941">
                  <c:v>0.85758599999999996</c:v>
                </c:pt>
                <c:pt idx="4942">
                  <c:v>-0.28076499999999999</c:v>
                </c:pt>
                <c:pt idx="4943">
                  <c:v>-0.494286</c:v>
                </c:pt>
                <c:pt idx="4944">
                  <c:v>#N/A</c:v>
                </c:pt>
                <c:pt idx="4945">
                  <c:v>-3.5708199999999999</c:v>
                </c:pt>
                <c:pt idx="4946">
                  <c:v>-5.6526899999999998</c:v>
                </c:pt>
                <c:pt idx="4947">
                  <c:v>-8.5778999999999996</c:v>
                </c:pt>
                <c:pt idx="4948">
                  <c:v>#N/A</c:v>
                </c:pt>
                <c:pt idx="4949">
                  <c:v>-10.6096</c:v>
                </c:pt>
                <c:pt idx="4950">
                  <c:v>-11.944100000000001</c:v>
                </c:pt>
                <c:pt idx="4951">
                  <c:v>#N/A</c:v>
                </c:pt>
                <c:pt idx="4952">
                  <c:v>-13.3697</c:v>
                </c:pt>
                <c:pt idx="4953">
                  <c:v>-13.8643</c:v>
                </c:pt>
                <c:pt idx="4954">
                  <c:v>-13.835699999999999</c:v>
                </c:pt>
                <c:pt idx="4955">
                  <c:v>#N/A</c:v>
                </c:pt>
                <c:pt idx="4956">
                  <c:v>-14.709899999999999</c:v>
                </c:pt>
                <c:pt idx="4957">
                  <c:v>-15.086</c:v>
                </c:pt>
                <c:pt idx="4958">
                  <c:v>-15.078099999999999</c:v>
                </c:pt>
                <c:pt idx="4959">
                  <c:v>#N/A</c:v>
                </c:pt>
                <c:pt idx="4960">
                  <c:v>-15.159700000000001</c:v>
                </c:pt>
                <c:pt idx="4961">
                  <c:v>-15.700100000000001</c:v>
                </c:pt>
                <c:pt idx="4962">
                  <c:v>-14.349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-8.00757E-2</c:v>
                </c:pt>
                <c:pt idx="5035">
                  <c:v>#N/A</c:v>
                </c:pt>
                <c:pt idx="5036">
                  <c:v>-7.8261500000000005E-3</c:v>
                </c:pt>
                <c:pt idx="5037">
                  <c:v>-8.1920900000000005E-2</c:v>
                </c:pt>
                <c:pt idx="5038">
                  <c:v>5.1556499999999998E-2</c:v>
                </c:pt>
                <c:pt idx="5039">
                  <c:v>#N/A</c:v>
                </c:pt>
                <c:pt idx="5040">
                  <c:v>-0.121737</c:v>
                </c:pt>
                <c:pt idx="5041">
                  <c:v>-0.196182</c:v>
                </c:pt>
                <c:pt idx="5042">
                  <c:v>-0.11135</c:v>
                </c:pt>
                <c:pt idx="5043">
                  <c:v>#N/A</c:v>
                </c:pt>
                <c:pt idx="5044">
                  <c:v>-8.02749E-3</c:v>
                </c:pt>
                <c:pt idx="5045">
                  <c:v>-8.3863900000000005E-2</c:v>
                </c:pt>
                <c:pt idx="5046">
                  <c:v>-0.50986900000000002</c:v>
                </c:pt>
                <c:pt idx="5047">
                  <c:v>#N/A</c:v>
                </c:pt>
                <c:pt idx="5048">
                  <c:v>-0.85924699999999998</c:v>
                </c:pt>
                <c:pt idx="5049">
                  <c:v>-0.93381099999999995</c:v>
                </c:pt>
                <c:pt idx="5050">
                  <c:v>#N/A</c:v>
                </c:pt>
                <c:pt idx="5051">
                  <c:v>-2.3156500000000002</c:v>
                </c:pt>
                <c:pt idx="5052">
                  <c:v>-5.2419200000000004</c:v>
                </c:pt>
                <c:pt idx="5053">
                  <c:v>#N/A</c:v>
                </c:pt>
                <c:pt idx="5054">
                  <c:v>-7.2655200000000004</c:v>
                </c:pt>
                <c:pt idx="5055">
                  <c:v>-8.6428999999999991</c:v>
                </c:pt>
                <c:pt idx="5056">
                  <c:v>#N/A</c:v>
                </c:pt>
                <c:pt idx="5057">
                  <c:v>-10.1006</c:v>
                </c:pt>
                <c:pt idx="5058">
                  <c:v>-12.183299999999999</c:v>
                </c:pt>
                <c:pt idx="5059">
                  <c:v>-13.6691</c:v>
                </c:pt>
                <c:pt idx="5060">
                  <c:v>#N/A</c:v>
                </c:pt>
                <c:pt idx="5061">
                  <c:v>-15.0998</c:v>
                </c:pt>
                <c:pt idx="5062">
                  <c:v>-17.797599999999999</c:v>
                </c:pt>
                <c:pt idx="5063">
                  <c:v>#N/A</c:v>
                </c:pt>
                <c:pt idx="5064">
                  <c:v>-17.753299999999999</c:v>
                </c:pt>
                <c:pt idx="5065">
                  <c:v>-18.643999999999998</c:v>
                </c:pt>
                <c:pt idx="5066">
                  <c:v>-18.885100000000001</c:v>
                </c:pt>
                <c:pt idx="5067">
                  <c:v>#N/A</c:v>
                </c:pt>
                <c:pt idx="5068">
                  <c:v>-18.997599999999998</c:v>
                </c:pt>
                <c:pt idx="5069">
                  <c:v>-19.135100000000001</c:v>
                </c:pt>
                <c:pt idx="5070">
                  <c:v>-19.334</c:v>
                </c:pt>
                <c:pt idx="5071">
                  <c:v>#N/A</c:v>
                </c:pt>
                <c:pt idx="5072">
                  <c:v>-19.082599999999999</c:v>
                </c:pt>
                <c:pt idx="5073">
                  <c:v>-18.0396</c:v>
                </c:pt>
                <c:pt idx="5074">
                  <c:v>-17.5398</c:v>
                </c:pt>
                <c:pt idx="5075">
                  <c:v>#N/A</c:v>
                </c:pt>
                <c:pt idx="5076">
                  <c:v>-18.116399999999999</c:v>
                </c:pt>
                <c:pt idx="5077">
                  <c:v>-17.778600000000001</c:v>
                </c:pt>
                <c:pt idx="5078">
                  <c:v>-17.1158</c:v>
                </c:pt>
                <c:pt idx="5079">
                  <c:v>#N/A</c:v>
                </c:pt>
                <c:pt idx="5080">
                  <c:v>-17.129799999999999</c:v>
                </c:pt>
                <c:pt idx="5081">
                  <c:v>-17.238700000000001</c:v>
                </c:pt>
                <c:pt idx="5082">
                  <c:v>#N/A</c:v>
                </c:pt>
                <c:pt idx="5083">
                  <c:v>-16.411799999999999</c:v>
                </c:pt>
                <c:pt idx="5084">
                  <c:v>-14.3248</c:v>
                </c:pt>
                <c:pt idx="5085">
                  <c:v>-13.0069</c:v>
                </c:pt>
                <c:pt idx="5086">
                  <c:v>#N/A</c:v>
                </c:pt>
                <c:pt idx="5087">
                  <c:v>-11.610900000000001</c:v>
                </c:pt>
                <c:pt idx="5088">
                  <c:v>-8.9496800000000007</c:v>
                </c:pt>
                <c:pt idx="5089">
                  <c:v>#N/A</c:v>
                </c:pt>
                <c:pt idx="5090">
                  <c:v>-7.1455299999999999</c:v>
                </c:pt>
                <c:pt idx="5091">
                  <c:v>-6.0198999999999998</c:v>
                </c:pt>
                <c:pt idx="5092">
                  <c:v>-5.01762</c:v>
                </c:pt>
                <c:pt idx="5093">
                  <c:v>#N/A</c:v>
                </c:pt>
                <c:pt idx="5094">
                  <c:v>-4.5845599999999997</c:v>
                </c:pt>
                <c:pt idx="5095">
                  <c:v>-3.99037</c:v>
                </c:pt>
                <c:pt idx="5096">
                  <c:v>-3.3303199999999999</c:v>
                </c:pt>
                <c:pt idx="5097">
                  <c:v>#N/A</c:v>
                </c:pt>
                <c:pt idx="5098">
                  <c:v>-1.72492</c:v>
                </c:pt>
                <c:pt idx="5099">
                  <c:v>-1.9209700000000001</c:v>
                </c:pt>
                <c:pt idx="5100">
                  <c:v>#N/A</c:v>
                </c:pt>
                <c:pt idx="5101">
                  <c:v>-1.5164299999999999</c:v>
                </c:pt>
                <c:pt idx="5102">
                  <c:v>-2.3355899999999998</c:v>
                </c:pt>
                <c:pt idx="5103">
                  <c:v>-2.01085</c:v>
                </c:pt>
                <c:pt idx="5104">
                  <c:v>#N/A</c:v>
                </c:pt>
                <c:pt idx="5105">
                  <c:v>-2.8407100000000001</c:v>
                </c:pt>
                <c:pt idx="5106">
                  <c:v>-3.0177399999999999</c:v>
                </c:pt>
                <c:pt idx="5107">
                  <c:v>#N/A</c:v>
                </c:pt>
                <c:pt idx="5108">
                  <c:v>-3.6959599999999999</c:v>
                </c:pt>
                <c:pt idx="5109">
                  <c:v>-2.6476899999999999</c:v>
                </c:pt>
                <c:pt idx="5110">
                  <c:v>-2.19503</c:v>
                </c:pt>
                <c:pt idx="5111">
                  <c:v>#N/A</c:v>
                </c:pt>
                <c:pt idx="5112">
                  <c:v>-2.2117599999999999</c:v>
                </c:pt>
                <c:pt idx="5113">
                  <c:v>-2.6682999999999999</c:v>
                </c:pt>
                <c:pt idx="5114">
                  <c:v>-3.28464</c:v>
                </c:pt>
                <c:pt idx="5115">
                  <c:v>#N/A</c:v>
                </c:pt>
                <c:pt idx="5116">
                  <c:v>-3.25867</c:v>
                </c:pt>
                <c:pt idx="5117">
                  <c:v>-3.3376700000000001</c:v>
                </c:pt>
                <c:pt idx="5118">
                  <c:v>-3.0897000000000001</c:v>
                </c:pt>
                <c:pt idx="5119">
                  <c:v>#N/A</c:v>
                </c:pt>
                <c:pt idx="5120">
                  <c:v>-3.4133599999999999</c:v>
                </c:pt>
                <c:pt idx="5121">
                  <c:v>-2.72289</c:v>
                </c:pt>
                <c:pt idx="5122">
                  <c:v>-2.6103800000000001</c:v>
                </c:pt>
                <c:pt idx="5123">
                  <c:v>#N/A</c:v>
                </c:pt>
                <c:pt idx="5124">
                  <c:v>-2.7296900000000002</c:v>
                </c:pt>
                <c:pt idx="5125">
                  <c:v>-2.8769999999999998</c:v>
                </c:pt>
                <c:pt idx="5126">
                  <c:v>-2.86809</c:v>
                </c:pt>
                <c:pt idx="5127">
                  <c:v>#N/A</c:v>
                </c:pt>
                <c:pt idx="5128">
                  <c:v>-2.7953700000000001</c:v>
                </c:pt>
                <c:pt idx="5129">
                  <c:v>#N/A</c:v>
                </c:pt>
                <c:pt idx="5130">
                  <c:v>-2.71401</c:v>
                </c:pt>
                <c:pt idx="5131">
                  <c:v>-2.55721</c:v>
                </c:pt>
                <c:pt idx="5132">
                  <c:v>#N/A</c:v>
                </c:pt>
                <c:pt idx="5133">
                  <c:v>-2.43465</c:v>
                </c:pt>
                <c:pt idx="5134">
                  <c:v>#N/A</c:v>
                </c:pt>
                <c:pt idx="5135">
                  <c:v>-2.42862</c:v>
                </c:pt>
                <c:pt idx="5136">
                  <c:v>-2.9773999999999998</c:v>
                </c:pt>
                <c:pt idx="5137">
                  <c:v>-3.6972</c:v>
                </c:pt>
                <c:pt idx="5138">
                  <c:v>#N/A</c:v>
                </c:pt>
                <c:pt idx="5139">
                  <c:v>-3.62757</c:v>
                </c:pt>
                <c:pt idx="5140">
                  <c:v>-2.7132999999999998</c:v>
                </c:pt>
                <c:pt idx="5141">
                  <c:v>-2.62609</c:v>
                </c:pt>
                <c:pt idx="5142">
                  <c:v>#N/A</c:v>
                </c:pt>
                <c:pt idx="5143">
                  <c:v>-2.18059</c:v>
                </c:pt>
                <c:pt idx="5144">
                  <c:v>-2.5578099999999999</c:v>
                </c:pt>
                <c:pt idx="5145">
                  <c:v>-3.1388099999999999</c:v>
                </c:pt>
                <c:pt idx="5146">
                  <c:v>#N/A</c:v>
                </c:pt>
                <c:pt idx="5147">
                  <c:v>-2.9289999999999998</c:v>
                </c:pt>
                <c:pt idx="5148">
                  <c:v>-3.3506399999999998</c:v>
                </c:pt>
                <c:pt idx="5149">
                  <c:v>-3.80572</c:v>
                </c:pt>
                <c:pt idx="5150">
                  <c:v>#N/A</c:v>
                </c:pt>
                <c:pt idx="5151">
                  <c:v>-3.5470899999999999</c:v>
                </c:pt>
                <c:pt idx="5152">
                  <c:v>-2.4871099999999999</c:v>
                </c:pt>
                <c:pt idx="5153">
                  <c:v>-2.1949299999999998</c:v>
                </c:pt>
                <c:pt idx="5154">
                  <c:v>#N/A</c:v>
                </c:pt>
                <c:pt idx="5155">
                  <c:v>-2.4703900000000001</c:v>
                </c:pt>
                <c:pt idx="5156">
                  <c:v>-2.9371700000000001</c:v>
                </c:pt>
                <c:pt idx="5157">
                  <c:v>-2.5949900000000001</c:v>
                </c:pt>
                <c:pt idx="5158">
                  <c:v>#N/A</c:v>
                </c:pt>
                <c:pt idx="5159">
                  <c:v>-2.7808099999999998</c:v>
                </c:pt>
                <c:pt idx="5160">
                  <c:v>-3.6912799999999999</c:v>
                </c:pt>
                <c:pt idx="5161">
                  <c:v>-2.7412299999999998</c:v>
                </c:pt>
                <c:pt idx="5162">
                  <c:v>#N/A</c:v>
                </c:pt>
                <c:pt idx="5163">
                  <c:v>-2.87473</c:v>
                </c:pt>
                <c:pt idx="5164">
                  <c:v>-2.3775400000000002</c:v>
                </c:pt>
                <c:pt idx="5165">
                  <c:v>-2.4148100000000001</c:v>
                </c:pt>
                <c:pt idx="5166">
                  <c:v>#N/A</c:v>
                </c:pt>
                <c:pt idx="5167">
                  <c:v>-2.2363</c:v>
                </c:pt>
                <c:pt idx="5168">
                  <c:v>-2.8986499999999999</c:v>
                </c:pt>
                <c:pt idx="5169">
                  <c:v>#N/A</c:v>
                </c:pt>
                <c:pt idx="5170">
                  <c:v>-2.8087200000000001</c:v>
                </c:pt>
                <c:pt idx="5171">
                  <c:v>-2.7978999999999998</c:v>
                </c:pt>
                <c:pt idx="5172">
                  <c:v>-2.8083999999999998</c:v>
                </c:pt>
                <c:pt idx="5173">
                  <c:v>#N/A</c:v>
                </c:pt>
                <c:pt idx="5174">
                  <c:v>-3.06549</c:v>
                </c:pt>
                <c:pt idx="5175">
                  <c:v>-2.6469</c:v>
                </c:pt>
                <c:pt idx="5176">
                  <c:v>-2.3092199999999998</c:v>
                </c:pt>
                <c:pt idx="5177">
                  <c:v>#N/A</c:v>
                </c:pt>
                <c:pt idx="5178">
                  <c:v>-2.9647299999999999</c:v>
                </c:pt>
                <c:pt idx="5179">
                  <c:v>-2.9658000000000002</c:v>
                </c:pt>
                <c:pt idx="5180">
                  <c:v>-2.9899399999999998</c:v>
                </c:pt>
                <c:pt idx="5181">
                  <c:v>#N/A</c:v>
                </c:pt>
                <c:pt idx="5182">
                  <c:v>-2.3520400000000001</c:v>
                </c:pt>
                <c:pt idx="5183">
                  <c:v>-2.3496899999999998</c:v>
                </c:pt>
                <c:pt idx="5184">
                  <c:v>-2.2929900000000001</c:v>
                </c:pt>
                <c:pt idx="5185">
                  <c:v>#N/A</c:v>
                </c:pt>
                <c:pt idx="5186">
                  <c:v>-2.6567099999999999</c:v>
                </c:pt>
                <c:pt idx="5187">
                  <c:v>-3.0530900000000001</c:v>
                </c:pt>
                <c:pt idx="5188">
                  <c:v>-3.1007899999999999</c:v>
                </c:pt>
                <c:pt idx="5189">
                  <c:v>#N/A</c:v>
                </c:pt>
                <c:pt idx="5190">
                  <c:v>-2.8103600000000002</c:v>
                </c:pt>
                <c:pt idx="5191">
                  <c:v>-2.9163399999999999</c:v>
                </c:pt>
                <c:pt idx="5192">
                  <c:v>-1.84379</c:v>
                </c:pt>
                <c:pt idx="5193">
                  <c:v>#N/A</c:v>
                </c:pt>
                <c:pt idx="5194">
                  <c:v>-1.615</c:v>
                </c:pt>
                <c:pt idx="5195">
                  <c:v>-1.69299</c:v>
                </c:pt>
                <c:pt idx="5196">
                  <c:v>-2.6383299999999998</c:v>
                </c:pt>
                <c:pt idx="5197">
                  <c:v>#N/A</c:v>
                </c:pt>
                <c:pt idx="5198">
                  <c:v>-3.30084</c:v>
                </c:pt>
                <c:pt idx="5199">
                  <c:v>-3.6867800000000002</c:v>
                </c:pt>
                <c:pt idx="5200">
                  <c:v>-3.5209700000000002</c:v>
                </c:pt>
                <c:pt idx="5201">
                  <c:v>#N/A</c:v>
                </c:pt>
                <c:pt idx="5202">
                  <c:v>-3.29454</c:v>
                </c:pt>
                <c:pt idx="5203">
                  <c:v>-2.9808699999999999</c:v>
                </c:pt>
                <c:pt idx="5204">
                  <c:v>-2.1182799999999999</c:v>
                </c:pt>
                <c:pt idx="5205">
                  <c:v>#N/A</c:v>
                </c:pt>
                <c:pt idx="5206">
                  <c:v>-1.91733</c:v>
                </c:pt>
                <c:pt idx="5207">
                  <c:v>-2.5580699999999998</c:v>
                </c:pt>
                <c:pt idx="5208">
                  <c:v>-2.9065699999999999</c:v>
                </c:pt>
                <c:pt idx="5209">
                  <c:v>#N/A</c:v>
                </c:pt>
                <c:pt idx="5210">
                  <c:v>-3.7940100000000001</c:v>
                </c:pt>
                <c:pt idx="5211">
                  <c:v>-4.0871199999999996</c:v>
                </c:pt>
                <c:pt idx="5212">
                  <c:v>-3.3061799999999999</c:v>
                </c:pt>
                <c:pt idx="5213">
                  <c:v>#N/A</c:v>
                </c:pt>
                <c:pt idx="5214">
                  <c:v>-2.7972999999999999</c:v>
                </c:pt>
                <c:pt idx="5215">
                  <c:v>-1.99099</c:v>
                </c:pt>
                <c:pt idx="5216">
                  <c:v>-1.8164499999999999</c:v>
                </c:pt>
                <c:pt idx="5217">
                  <c:v>#N/A</c:v>
                </c:pt>
                <c:pt idx="5218">
                  <c:v>-1.5531999999999999</c:v>
                </c:pt>
                <c:pt idx="5219">
                  <c:v>-2.6419800000000002</c:v>
                </c:pt>
                <c:pt idx="5220">
                  <c:v>#N/A</c:v>
                </c:pt>
                <c:pt idx="5221">
                  <c:v>-3.2625099999999998</c:v>
                </c:pt>
                <c:pt idx="5222">
                  <c:v>-3.53193</c:v>
                </c:pt>
                <c:pt idx="5223">
                  <c:v>-2.7519100000000001</c:v>
                </c:pt>
                <c:pt idx="5224">
                  <c:v>#N/A</c:v>
                </c:pt>
                <c:pt idx="5225">
                  <c:v>-2.5613899999999998</c:v>
                </c:pt>
                <c:pt idx="5226">
                  <c:v>-2.6626099999999999</c:v>
                </c:pt>
                <c:pt idx="5227">
                  <c:v>-2.2315700000000001</c:v>
                </c:pt>
                <c:pt idx="5228">
                  <c:v>#N/A</c:v>
                </c:pt>
                <c:pt idx="5229">
                  <c:v>-2.43641</c:v>
                </c:pt>
                <c:pt idx="5230">
                  <c:v>-2.50204</c:v>
                </c:pt>
                <c:pt idx="5231">
                  <c:v>#N/A</c:v>
                </c:pt>
                <c:pt idx="5232">
                  <c:v>-2.9835099999999999</c:v>
                </c:pt>
                <c:pt idx="5233">
                  <c:v>-3.5697700000000001</c:v>
                </c:pt>
                <c:pt idx="5234">
                  <c:v>-3.4337399999999998</c:v>
                </c:pt>
                <c:pt idx="5235">
                  <c:v>#N/A</c:v>
                </c:pt>
                <c:pt idx="5236">
                  <c:v>-3.1430899999999999</c:v>
                </c:pt>
                <c:pt idx="5237">
                  <c:v>-2.5049199999999998</c:v>
                </c:pt>
                <c:pt idx="5238">
                  <c:v>-2.3324799999999999</c:v>
                </c:pt>
                <c:pt idx="5239">
                  <c:v>#N/A</c:v>
                </c:pt>
                <c:pt idx="5240">
                  <c:v>-2.5728499999999999</c:v>
                </c:pt>
                <c:pt idx="5241">
                  <c:v>-2.2137799999999999</c:v>
                </c:pt>
                <c:pt idx="5242">
                  <c:v>-3.5667900000000001</c:v>
                </c:pt>
                <c:pt idx="5243">
                  <c:v>#N/A</c:v>
                </c:pt>
                <c:pt idx="5244">
                  <c:v>-3.2262400000000002</c:v>
                </c:pt>
                <c:pt idx="5245">
                  <c:v>-3.6059700000000001</c:v>
                </c:pt>
                <c:pt idx="5246">
                  <c:v>-2.5564900000000002</c:v>
                </c:pt>
                <c:pt idx="5247">
                  <c:v>#N/A</c:v>
                </c:pt>
                <c:pt idx="5248">
                  <c:v>-2.2709999999999999</c:v>
                </c:pt>
                <c:pt idx="5249">
                  <c:v>-2.2113200000000002</c:v>
                </c:pt>
                <c:pt idx="5250">
                  <c:v>-2.94523</c:v>
                </c:pt>
                <c:pt idx="5251">
                  <c:v>#N/A</c:v>
                </c:pt>
                <c:pt idx="5252">
                  <c:v>-2.6739999999999999</c:v>
                </c:pt>
                <c:pt idx="5253">
                  <c:v>-2.2004299999999999</c:v>
                </c:pt>
                <c:pt idx="5254">
                  <c:v>-2.4449200000000002</c:v>
                </c:pt>
                <c:pt idx="5255">
                  <c:v>#N/A</c:v>
                </c:pt>
                <c:pt idx="5256">
                  <c:v>-2.3176100000000002</c:v>
                </c:pt>
                <c:pt idx="5257">
                  <c:v>-2.5545499999999999</c:v>
                </c:pt>
                <c:pt idx="5258">
                  <c:v>-2.0752700000000002</c:v>
                </c:pt>
                <c:pt idx="5259">
                  <c:v>#N/A</c:v>
                </c:pt>
                <c:pt idx="5260">
                  <c:v>-2.9432900000000002</c:v>
                </c:pt>
                <c:pt idx="5261">
                  <c:v>-3.1916799999999999</c:v>
                </c:pt>
                <c:pt idx="5262">
                  <c:v>#N/A</c:v>
                </c:pt>
                <c:pt idx="5263">
                  <c:v>-3.4691299999999998</c:v>
                </c:pt>
                <c:pt idx="5264">
                  <c:v>-2.9788199999999998</c:v>
                </c:pt>
                <c:pt idx="5265">
                  <c:v>-2.1436199999999999</c:v>
                </c:pt>
                <c:pt idx="5266">
                  <c:v>#N/A</c:v>
                </c:pt>
                <c:pt idx="5267">
                  <c:v>-1.94235</c:v>
                </c:pt>
                <c:pt idx="5268">
                  <c:v>-2.45729</c:v>
                </c:pt>
                <c:pt idx="5269">
                  <c:v>-2.4188399999999999</c:v>
                </c:pt>
                <c:pt idx="5270">
                  <c:v>#N/A</c:v>
                </c:pt>
                <c:pt idx="5271">
                  <c:v>-2.4220600000000001</c:v>
                </c:pt>
                <c:pt idx="5272">
                  <c:v>-3.4668999999999999</c:v>
                </c:pt>
                <c:pt idx="5273">
                  <c:v>-3.69272</c:v>
                </c:pt>
                <c:pt idx="5274">
                  <c:v>#N/A</c:v>
                </c:pt>
                <c:pt idx="5275">
                  <c:v>-3.3165100000000001</c:v>
                </c:pt>
                <c:pt idx="5276">
                  <c:v>-2.57165</c:v>
                </c:pt>
                <c:pt idx="5277">
                  <c:v>-1.7593000000000001</c:v>
                </c:pt>
                <c:pt idx="5278">
                  <c:v>#N/A</c:v>
                </c:pt>
                <c:pt idx="5279">
                  <c:v>-1.50082</c:v>
                </c:pt>
                <c:pt idx="5280">
                  <c:v>-2.5470999999999999</c:v>
                </c:pt>
                <c:pt idx="5281">
                  <c:v>-2.84721</c:v>
                </c:pt>
                <c:pt idx="5282">
                  <c:v>#N/A</c:v>
                </c:pt>
                <c:pt idx="5283">
                  <c:v>-3.5557500000000002</c:v>
                </c:pt>
                <c:pt idx="5284">
                  <c:v>-3.3202799999999999</c:v>
                </c:pt>
                <c:pt idx="5285">
                  <c:v>-3.1194500000000001</c:v>
                </c:pt>
                <c:pt idx="5286">
                  <c:v>#N/A</c:v>
                </c:pt>
                <c:pt idx="5287">
                  <c:v>-2.9912399999999999</c:v>
                </c:pt>
                <c:pt idx="5288">
                  <c:v>-2.1915399999999998</c:v>
                </c:pt>
                <c:pt idx="5289">
                  <c:v>-2.4147099999999999</c:v>
                </c:pt>
                <c:pt idx="5290">
                  <c:v>#N/A</c:v>
                </c:pt>
                <c:pt idx="5291">
                  <c:v>-2.4733900000000002</c:v>
                </c:pt>
                <c:pt idx="5292">
                  <c:v>-2.94679</c:v>
                </c:pt>
                <c:pt idx="5293">
                  <c:v>#N/A</c:v>
                </c:pt>
                <c:pt idx="5294">
                  <c:v>-3.5868099999999998</c:v>
                </c:pt>
                <c:pt idx="5295">
                  <c:v>-3.9566599999999998</c:v>
                </c:pt>
                <c:pt idx="5296">
                  <c:v>-3.1149</c:v>
                </c:pt>
                <c:pt idx="5297">
                  <c:v>#N/A</c:v>
                </c:pt>
                <c:pt idx="5298">
                  <c:v>-2.8952599999999999</c:v>
                </c:pt>
                <c:pt idx="5299">
                  <c:v>-2.6702599999999999</c:v>
                </c:pt>
                <c:pt idx="5300">
                  <c:v>-2.1402100000000002</c:v>
                </c:pt>
                <c:pt idx="5301">
                  <c:v>#N/A</c:v>
                </c:pt>
                <c:pt idx="5302">
                  <c:v>-1.58291</c:v>
                </c:pt>
                <c:pt idx="5303">
                  <c:v>-2.6290900000000001</c:v>
                </c:pt>
                <c:pt idx="5304">
                  <c:v>#N/A</c:v>
                </c:pt>
                <c:pt idx="5305">
                  <c:v>-3.0079600000000002</c:v>
                </c:pt>
                <c:pt idx="5306">
                  <c:v>-3.1911299999999998</c:v>
                </c:pt>
                <c:pt idx="5307">
                  <c:v>-3.3709600000000002</c:v>
                </c:pt>
                <c:pt idx="5308">
                  <c:v>#N/A</c:v>
                </c:pt>
                <c:pt idx="5309">
                  <c:v>-2.8900399999999999</c:v>
                </c:pt>
                <c:pt idx="5310">
                  <c:v>-2.5256599999999998</c:v>
                </c:pt>
                <c:pt idx="5311">
                  <c:v>-3.1401300000000001</c:v>
                </c:pt>
                <c:pt idx="5312">
                  <c:v>#N/A</c:v>
                </c:pt>
                <c:pt idx="5313">
                  <c:v>-2.2162299999999999</c:v>
                </c:pt>
                <c:pt idx="5314">
                  <c:v>-2.8680300000000001</c:v>
                </c:pt>
                <c:pt idx="5315">
                  <c:v>-2.8112599999999999</c:v>
                </c:pt>
                <c:pt idx="5316">
                  <c:v>#N/A</c:v>
                </c:pt>
                <c:pt idx="5317">
                  <c:v>-3.3228800000000001</c:v>
                </c:pt>
                <c:pt idx="5318">
                  <c:v>-2.8989799999999999</c:v>
                </c:pt>
                <c:pt idx="5319">
                  <c:v>-2.59735</c:v>
                </c:pt>
                <c:pt idx="5320">
                  <c:v>#N/A</c:v>
                </c:pt>
                <c:pt idx="5321">
                  <c:v>-2.6236700000000002</c:v>
                </c:pt>
                <c:pt idx="5322">
                  <c:v>-2.73888</c:v>
                </c:pt>
                <c:pt idx="5323">
                  <c:v>-2.9630399999999999</c:v>
                </c:pt>
                <c:pt idx="5324">
                  <c:v>#N/A</c:v>
                </c:pt>
                <c:pt idx="5325">
                  <c:v>-3.00284</c:v>
                </c:pt>
                <c:pt idx="5326">
                  <c:v>-2.6376300000000001</c:v>
                </c:pt>
                <c:pt idx="5327">
                  <c:v>-2.9256000000000002</c:v>
                </c:pt>
                <c:pt idx="5328">
                  <c:v>#N/A</c:v>
                </c:pt>
                <c:pt idx="5329">
                  <c:v>-2.8721100000000002</c:v>
                </c:pt>
                <c:pt idx="5330">
                  <c:v>-2.8923100000000002</c:v>
                </c:pt>
                <c:pt idx="5331">
                  <c:v>#N/A</c:v>
                </c:pt>
                <c:pt idx="5332">
                  <c:v>-3.0342899999999999</c:v>
                </c:pt>
                <c:pt idx="5333">
                  <c:v>-2.9111899999999999</c:v>
                </c:pt>
                <c:pt idx="5334">
                  <c:v>-2.7393100000000001</c:v>
                </c:pt>
                <c:pt idx="5335">
                  <c:v>#N/A</c:v>
                </c:pt>
                <c:pt idx="5336">
                  <c:v>-3.3204799999999999</c:v>
                </c:pt>
                <c:pt idx="5337">
                  <c:v>-3.0864400000000001</c:v>
                </c:pt>
                <c:pt idx="5338">
                  <c:v>-2.9531000000000001</c:v>
                </c:pt>
                <c:pt idx="5339">
                  <c:v>#N/A</c:v>
                </c:pt>
                <c:pt idx="5340">
                  <c:v>-2.5736699999999999</c:v>
                </c:pt>
                <c:pt idx="5341">
                  <c:v>-2.0937000000000001</c:v>
                </c:pt>
                <c:pt idx="5342">
                  <c:v>-2.4250099999999999</c:v>
                </c:pt>
                <c:pt idx="5343">
                  <c:v>#N/A</c:v>
                </c:pt>
                <c:pt idx="5344">
                  <c:v>-2.3210799999999998</c:v>
                </c:pt>
                <c:pt idx="5345">
                  <c:v>-3.1097800000000002</c:v>
                </c:pt>
                <c:pt idx="5346">
                  <c:v>-3.5150800000000002</c:v>
                </c:pt>
                <c:pt idx="5347">
                  <c:v>#N/A</c:v>
                </c:pt>
                <c:pt idx="5348">
                  <c:v>-3.3903599999999998</c:v>
                </c:pt>
                <c:pt idx="5349">
                  <c:v>-2.7899500000000002</c:v>
                </c:pt>
                <c:pt idx="5350">
                  <c:v>-2.7165900000000001</c:v>
                </c:pt>
                <c:pt idx="5351">
                  <c:v>#N/A</c:v>
                </c:pt>
                <c:pt idx="5352">
                  <c:v>-2.2224499999999998</c:v>
                </c:pt>
                <c:pt idx="5353">
                  <c:v>-2.7054299999999998</c:v>
                </c:pt>
                <c:pt idx="5354">
                  <c:v>#N/A</c:v>
                </c:pt>
                <c:pt idx="5355">
                  <c:v>-2.9695999999999998</c:v>
                </c:pt>
                <c:pt idx="5356">
                  <c:v>-3.5432800000000002</c:v>
                </c:pt>
                <c:pt idx="5357">
                  <c:v>#N/A</c:v>
                </c:pt>
                <c:pt idx="5358">
                  <c:v>-3.1206900000000002</c:v>
                </c:pt>
                <c:pt idx="5359">
                  <c:v>-2.8202400000000001</c:v>
                </c:pt>
                <c:pt idx="5360">
                  <c:v>-2.5162200000000001</c:v>
                </c:pt>
                <c:pt idx="5361">
                  <c:v>#N/A</c:v>
                </c:pt>
                <c:pt idx="5362">
                  <c:v>-1.92604</c:v>
                </c:pt>
                <c:pt idx="5363">
                  <c:v>-3.06792</c:v>
                </c:pt>
                <c:pt idx="5364">
                  <c:v>#N/A</c:v>
                </c:pt>
                <c:pt idx="5365">
                  <c:v>-2.7220200000000001</c:v>
                </c:pt>
                <c:pt idx="5366">
                  <c:v>-3.03776</c:v>
                </c:pt>
                <c:pt idx="5367">
                  <c:v>-2.6983100000000002</c:v>
                </c:pt>
                <c:pt idx="5368">
                  <c:v>#N/A</c:v>
                </c:pt>
                <c:pt idx="5369">
                  <c:v>-3.5209899999999998</c:v>
                </c:pt>
                <c:pt idx="5370">
                  <c:v>-2.6674600000000002</c:v>
                </c:pt>
                <c:pt idx="5371">
                  <c:v>-2.3394699999999999</c:v>
                </c:pt>
                <c:pt idx="5372">
                  <c:v>#N/A</c:v>
                </c:pt>
                <c:pt idx="5373">
                  <c:v>-2.07612</c:v>
                </c:pt>
                <c:pt idx="5374">
                  <c:v>-2.4627699999999999</c:v>
                </c:pt>
                <c:pt idx="5375">
                  <c:v>-2.7603399999999998</c:v>
                </c:pt>
                <c:pt idx="5376">
                  <c:v>#N/A</c:v>
                </c:pt>
                <c:pt idx="5377">
                  <c:v>-2.84165</c:v>
                </c:pt>
                <c:pt idx="5378">
                  <c:v>-3.3137500000000002</c:v>
                </c:pt>
                <c:pt idx="5379">
                  <c:v>-3.1800899999999999</c:v>
                </c:pt>
                <c:pt idx="5380">
                  <c:v>#N/A</c:v>
                </c:pt>
                <c:pt idx="5381">
                  <c:v>-3.5991900000000001</c:v>
                </c:pt>
                <c:pt idx="5382">
                  <c:v>-2.7593700000000001</c:v>
                </c:pt>
                <c:pt idx="5383">
                  <c:v>#N/A</c:v>
                </c:pt>
                <c:pt idx="5384">
                  <c:v>-2.5446</c:v>
                </c:pt>
                <c:pt idx="5385">
                  <c:v>-2.59145</c:v>
                </c:pt>
                <c:pt idx="5386">
                  <c:v>-3.0032700000000001</c:v>
                </c:pt>
                <c:pt idx="5387">
                  <c:v>#N/A</c:v>
                </c:pt>
                <c:pt idx="5388">
                  <c:v>-2.96271</c:v>
                </c:pt>
                <c:pt idx="5389">
                  <c:v>-3.5432700000000001</c:v>
                </c:pt>
                <c:pt idx="5390">
                  <c:v>#N/A</c:v>
                </c:pt>
                <c:pt idx="5391">
                  <c:v>-3.2224400000000002</c:v>
                </c:pt>
                <c:pt idx="5392">
                  <c:v>-3.1642600000000001</c:v>
                </c:pt>
                <c:pt idx="5393">
                  <c:v>-2.6620499999999998</c:v>
                </c:pt>
                <c:pt idx="5394">
                  <c:v>#N/A</c:v>
                </c:pt>
                <c:pt idx="5395">
                  <c:v>-2.7968799999999998</c:v>
                </c:pt>
                <c:pt idx="5396">
                  <c:v>-2.5763600000000002</c:v>
                </c:pt>
                <c:pt idx="5397">
                  <c:v>-2.9711099999999999</c:v>
                </c:pt>
                <c:pt idx="5398">
                  <c:v>#N/A</c:v>
                </c:pt>
                <c:pt idx="5399">
                  <c:v>-3.5206</c:v>
                </c:pt>
                <c:pt idx="5400">
                  <c:v>-3.4575200000000001</c:v>
                </c:pt>
                <c:pt idx="5401">
                  <c:v>-2.36063</c:v>
                </c:pt>
                <c:pt idx="5402">
                  <c:v>#N/A</c:v>
                </c:pt>
                <c:pt idx="5403">
                  <c:v>-2.81839</c:v>
                </c:pt>
                <c:pt idx="5404">
                  <c:v>-2.3493300000000001</c:v>
                </c:pt>
                <c:pt idx="5405">
                  <c:v>-2.5856300000000001</c:v>
                </c:pt>
                <c:pt idx="5406">
                  <c:v>#N/A</c:v>
                </c:pt>
                <c:pt idx="5407">
                  <c:v>-2.9733000000000001</c:v>
                </c:pt>
                <c:pt idx="5408">
                  <c:v>-2.8818000000000001</c:v>
                </c:pt>
                <c:pt idx="5409">
                  <c:v>-3.0329799999999998</c:v>
                </c:pt>
                <c:pt idx="5410">
                  <c:v>#N/A</c:v>
                </c:pt>
                <c:pt idx="5411">
                  <c:v>-2.9248599999999998</c:v>
                </c:pt>
                <c:pt idx="5412">
                  <c:v>-3.3447900000000002</c:v>
                </c:pt>
                <c:pt idx="5413">
                  <c:v>-2.5377000000000001</c:v>
                </c:pt>
                <c:pt idx="5414">
                  <c:v>#N/A</c:v>
                </c:pt>
                <c:pt idx="5415">
                  <c:v>-2.7573599999999998</c:v>
                </c:pt>
                <c:pt idx="5416">
                  <c:v>-2.7185700000000002</c:v>
                </c:pt>
                <c:pt idx="5417">
                  <c:v>#N/A</c:v>
                </c:pt>
                <c:pt idx="5418">
                  <c:v>-3.04596</c:v>
                </c:pt>
                <c:pt idx="5419">
                  <c:v>-3.0880200000000002</c:v>
                </c:pt>
                <c:pt idx="5420">
                  <c:v>-3.5771000000000002</c:v>
                </c:pt>
                <c:pt idx="5421">
                  <c:v>#N/A</c:v>
                </c:pt>
                <c:pt idx="5422">
                  <c:v>-3.0395099999999999</c:v>
                </c:pt>
                <c:pt idx="5423">
                  <c:v>-2.83507</c:v>
                </c:pt>
                <c:pt idx="5424">
                  <c:v>-2.3890199999999999</c:v>
                </c:pt>
                <c:pt idx="5425">
                  <c:v>#N/A</c:v>
                </c:pt>
                <c:pt idx="5426">
                  <c:v>-2.0158499999999999</c:v>
                </c:pt>
                <c:pt idx="5427">
                  <c:v>-2.14385</c:v>
                </c:pt>
                <c:pt idx="5428">
                  <c:v>-2.94869</c:v>
                </c:pt>
                <c:pt idx="5429">
                  <c:v>#N/A</c:v>
                </c:pt>
                <c:pt idx="5430">
                  <c:v>-3.4338500000000001</c:v>
                </c:pt>
                <c:pt idx="5431">
                  <c:v>-2.9805700000000002</c:v>
                </c:pt>
                <c:pt idx="5432">
                  <c:v>-2.7054299999999998</c:v>
                </c:pt>
                <c:pt idx="5433">
                  <c:v>#N/A</c:v>
                </c:pt>
                <c:pt idx="5434">
                  <c:v>-2.9814699999999998</c:v>
                </c:pt>
                <c:pt idx="5435">
                  <c:v>-2.4537</c:v>
                </c:pt>
                <c:pt idx="5436">
                  <c:v>-2.5558299999999998</c:v>
                </c:pt>
                <c:pt idx="5437">
                  <c:v>#N/A</c:v>
                </c:pt>
                <c:pt idx="5438">
                  <c:v>-2.6217299999999999</c:v>
                </c:pt>
                <c:pt idx="5439">
                  <c:v>-3.3487900000000002</c:v>
                </c:pt>
                <c:pt idx="5440">
                  <c:v>-3.4596100000000001</c:v>
                </c:pt>
                <c:pt idx="5441">
                  <c:v>#N/A</c:v>
                </c:pt>
                <c:pt idx="5442">
                  <c:v>-3.6006499999999999</c:v>
                </c:pt>
                <c:pt idx="5443">
                  <c:v>-3.5902599999999998</c:v>
                </c:pt>
                <c:pt idx="5444">
                  <c:v>#N/A</c:v>
                </c:pt>
                <c:pt idx="5445">
                  <c:v>-2.6366399999999999</c:v>
                </c:pt>
                <c:pt idx="5446">
                  <c:v>-2.70445</c:v>
                </c:pt>
                <c:pt idx="5447">
                  <c:v>-2.6227900000000002</c:v>
                </c:pt>
                <c:pt idx="5448">
                  <c:v>#N/A</c:v>
                </c:pt>
                <c:pt idx="5449">
                  <c:v>-3.02271</c:v>
                </c:pt>
                <c:pt idx="5450">
                  <c:v>-2.7904900000000001</c:v>
                </c:pt>
                <c:pt idx="5451">
                  <c:v>-3.45424</c:v>
                </c:pt>
                <c:pt idx="5452">
                  <c:v>#N/A</c:v>
                </c:pt>
                <c:pt idx="5453">
                  <c:v>-3.7136999999999998</c:v>
                </c:pt>
                <c:pt idx="5454">
                  <c:v>-3.6371699999999998</c:v>
                </c:pt>
                <c:pt idx="5455">
                  <c:v>-2.57111</c:v>
                </c:pt>
                <c:pt idx="5456">
                  <c:v>#N/A</c:v>
                </c:pt>
                <c:pt idx="5457">
                  <c:v>-2.2885200000000001</c:v>
                </c:pt>
                <c:pt idx="5458">
                  <c:v>-2.8752200000000001</c:v>
                </c:pt>
                <c:pt idx="5459">
                  <c:v>-2.9239799999999998</c:v>
                </c:pt>
                <c:pt idx="5460">
                  <c:v>#N/A</c:v>
                </c:pt>
                <c:pt idx="5461">
                  <c:v>-3.0487099999999998</c:v>
                </c:pt>
                <c:pt idx="5462">
                  <c:v>-3.3151799999999998</c:v>
                </c:pt>
                <c:pt idx="5463">
                  <c:v>-3.6284000000000001</c:v>
                </c:pt>
                <c:pt idx="5464">
                  <c:v>#N/A</c:v>
                </c:pt>
                <c:pt idx="5465">
                  <c:v>-2.7985099999999998</c:v>
                </c:pt>
                <c:pt idx="5466">
                  <c:v>-2.8509799999999998</c:v>
                </c:pt>
                <c:pt idx="5467">
                  <c:v>#N/A</c:v>
                </c:pt>
                <c:pt idx="5468">
                  <c:v>-2.8122199999999999</c:v>
                </c:pt>
                <c:pt idx="5469">
                  <c:v>-2.5905300000000002</c:v>
                </c:pt>
                <c:pt idx="5470">
                  <c:v>-3.5800900000000002</c:v>
                </c:pt>
                <c:pt idx="5471">
                  <c:v>#N/A</c:v>
                </c:pt>
                <c:pt idx="5472">
                  <c:v>-3.2803399999999998</c:v>
                </c:pt>
                <c:pt idx="5473">
                  <c:v>-3.3775300000000001</c:v>
                </c:pt>
                <c:pt idx="5474">
                  <c:v>-2.8931399999999998</c:v>
                </c:pt>
                <c:pt idx="5475">
                  <c:v>#N/A</c:v>
                </c:pt>
                <c:pt idx="5476">
                  <c:v>-2.9102299999999999</c:v>
                </c:pt>
                <c:pt idx="5477">
                  <c:v>-2.31284</c:v>
                </c:pt>
                <c:pt idx="5478">
                  <c:v>-2.4731000000000001</c:v>
                </c:pt>
                <c:pt idx="5479">
                  <c:v>#N/A</c:v>
                </c:pt>
                <c:pt idx="5480">
                  <c:v>-2.80219</c:v>
                </c:pt>
                <c:pt idx="5481">
                  <c:v>-2.9390299999999998</c:v>
                </c:pt>
                <c:pt idx="5482">
                  <c:v>-3.1799900000000001</c:v>
                </c:pt>
                <c:pt idx="5483">
                  <c:v>#N/A</c:v>
                </c:pt>
                <c:pt idx="5484">
                  <c:v>-2.8822000000000001</c:v>
                </c:pt>
                <c:pt idx="5485">
                  <c:v>-2.5984400000000001</c:v>
                </c:pt>
                <c:pt idx="5486">
                  <c:v>-2.1190699999999998</c:v>
                </c:pt>
                <c:pt idx="5487">
                  <c:v>#N/A</c:v>
                </c:pt>
                <c:pt idx="5488">
                  <c:v>-2.1055700000000002</c:v>
                </c:pt>
                <c:pt idx="5489">
                  <c:v>-2.6839499999999998</c:v>
                </c:pt>
                <c:pt idx="5490">
                  <c:v>-2.90524</c:v>
                </c:pt>
                <c:pt idx="5491">
                  <c:v>#N/A</c:v>
                </c:pt>
                <c:pt idx="5492">
                  <c:v>-2.7932700000000001</c:v>
                </c:pt>
                <c:pt idx="5493">
                  <c:v>-2.71732</c:v>
                </c:pt>
                <c:pt idx="5494">
                  <c:v>#N/A</c:v>
                </c:pt>
                <c:pt idx="5495">
                  <c:v>-2.9137499999999998</c:v>
                </c:pt>
                <c:pt idx="5496">
                  <c:v>-2.5498699999999999</c:v>
                </c:pt>
                <c:pt idx="5497">
                  <c:v>#N/A</c:v>
                </c:pt>
                <c:pt idx="5498">
                  <c:v>-2.0445199999999999</c:v>
                </c:pt>
                <c:pt idx="5499">
                  <c:v>-2.3835899999999999</c:v>
                </c:pt>
                <c:pt idx="5500">
                  <c:v>-2.77902</c:v>
                </c:pt>
                <c:pt idx="5501">
                  <c:v>#N/A</c:v>
                </c:pt>
                <c:pt idx="5502">
                  <c:v>-3.3497499999999998</c:v>
                </c:pt>
                <c:pt idx="5503">
                  <c:v>-3.9380799999999998</c:v>
                </c:pt>
                <c:pt idx="5504">
                  <c:v>-3.7260399999999998</c:v>
                </c:pt>
                <c:pt idx="5505">
                  <c:v>#N/A</c:v>
                </c:pt>
                <c:pt idx="5506">
                  <c:v>-2.83447</c:v>
                </c:pt>
                <c:pt idx="5507">
                  <c:v>-2.81054</c:v>
                </c:pt>
                <c:pt idx="5508">
                  <c:v>-2.7629100000000002</c:v>
                </c:pt>
                <c:pt idx="5509">
                  <c:v>#N/A</c:v>
                </c:pt>
                <c:pt idx="5510">
                  <c:v>-2.16804</c:v>
                </c:pt>
                <c:pt idx="5511">
                  <c:v>-2.8407</c:v>
                </c:pt>
                <c:pt idx="5512">
                  <c:v>-3.1889099999999999</c:v>
                </c:pt>
                <c:pt idx="5513">
                  <c:v>#N/A</c:v>
                </c:pt>
                <c:pt idx="5514">
                  <c:v>-3.2972000000000001</c:v>
                </c:pt>
                <c:pt idx="5515">
                  <c:v>-3.56202</c:v>
                </c:pt>
                <c:pt idx="5516">
                  <c:v>-3.0950099999999998</c:v>
                </c:pt>
                <c:pt idx="5517">
                  <c:v>#N/A</c:v>
                </c:pt>
                <c:pt idx="5518">
                  <c:v>-2.70261</c:v>
                </c:pt>
                <c:pt idx="5519">
                  <c:v>-2.2788499999999998</c:v>
                </c:pt>
                <c:pt idx="5520">
                  <c:v>-2.5784099999999999</c:v>
                </c:pt>
                <c:pt idx="5521">
                  <c:v>#N/A</c:v>
                </c:pt>
                <c:pt idx="5522">
                  <c:v>-2.48685</c:v>
                </c:pt>
                <c:pt idx="5523">
                  <c:v>-2.72662</c:v>
                </c:pt>
                <c:pt idx="5524">
                  <c:v>-3.8321200000000002</c:v>
                </c:pt>
                <c:pt idx="5525">
                  <c:v>#N/A</c:v>
                </c:pt>
                <c:pt idx="5526">
                  <c:v>-3.6229399999999998</c:v>
                </c:pt>
                <c:pt idx="5527">
                  <c:v>-3.2666599999999999</c:v>
                </c:pt>
                <c:pt idx="5528">
                  <c:v>-2.7766600000000001</c:v>
                </c:pt>
                <c:pt idx="5529">
                  <c:v>#N/A</c:v>
                </c:pt>
                <c:pt idx="5530">
                  <c:v>-2.0492499999999998</c:v>
                </c:pt>
                <c:pt idx="5531">
                  <c:v>-2.4372099999999999</c:v>
                </c:pt>
                <c:pt idx="5532">
                  <c:v>#N/A</c:v>
                </c:pt>
                <c:pt idx="5533">
                  <c:v>-2.5730300000000002</c:v>
                </c:pt>
                <c:pt idx="5534">
                  <c:v>-3.1164999999999998</c:v>
                </c:pt>
                <c:pt idx="5535">
                  <c:v>-3.4462100000000002</c:v>
                </c:pt>
                <c:pt idx="5536">
                  <c:v>#N/A</c:v>
                </c:pt>
                <c:pt idx="5537">
                  <c:v>-3.47281</c:v>
                </c:pt>
                <c:pt idx="5538">
                  <c:v>-3.3972899999999999</c:v>
                </c:pt>
                <c:pt idx="5539">
                  <c:v>-3.0373899999999998</c:v>
                </c:pt>
                <c:pt idx="5540">
                  <c:v>#N/A</c:v>
                </c:pt>
                <c:pt idx="5541">
                  <c:v>-2.4931700000000001</c:v>
                </c:pt>
                <c:pt idx="5542">
                  <c:v>-2.9282300000000001</c:v>
                </c:pt>
                <c:pt idx="5543">
                  <c:v>-3.0500799999999999</c:v>
                </c:pt>
                <c:pt idx="5544">
                  <c:v>#N/A</c:v>
                </c:pt>
                <c:pt idx="5545">
                  <c:v>-2.99607</c:v>
                </c:pt>
                <c:pt idx="5546">
                  <c:v>-3.0828199999999999</c:v>
                </c:pt>
                <c:pt idx="5547">
                  <c:v>-2.98882</c:v>
                </c:pt>
                <c:pt idx="5548">
                  <c:v>#N/A</c:v>
                </c:pt>
                <c:pt idx="5549">
                  <c:v>-2.36924</c:v>
                </c:pt>
                <c:pt idx="5550">
                  <c:v>-2.4759600000000002</c:v>
                </c:pt>
                <c:pt idx="5551">
                  <c:v>-2.3662999999999998</c:v>
                </c:pt>
                <c:pt idx="5552">
                  <c:v>#N/A</c:v>
                </c:pt>
                <c:pt idx="5553">
                  <c:v>-2.2432400000000001</c:v>
                </c:pt>
                <c:pt idx="5554">
                  <c:v>-2.98285</c:v>
                </c:pt>
                <c:pt idx="5555">
                  <c:v>-3.3043900000000002</c:v>
                </c:pt>
                <c:pt idx="5556">
                  <c:v>#N/A</c:v>
                </c:pt>
                <c:pt idx="5557">
                  <c:v>-3.3647100000000001</c:v>
                </c:pt>
                <c:pt idx="5558">
                  <c:v>-2.6813899999999999</c:v>
                </c:pt>
                <c:pt idx="5559">
                  <c:v>-2.4353799999999999</c:v>
                </c:pt>
                <c:pt idx="5560">
                  <c:v>#N/A</c:v>
                </c:pt>
                <c:pt idx="5561">
                  <c:v>-2.5656699999999999</c:v>
                </c:pt>
                <c:pt idx="5562">
                  <c:v>-2.9188399999999999</c:v>
                </c:pt>
                <c:pt idx="5563">
                  <c:v>#N/A</c:v>
                </c:pt>
                <c:pt idx="5564">
                  <c:v>-3.5197500000000002</c:v>
                </c:pt>
                <c:pt idx="5565">
                  <c:v>-3.3975599999999999</c:v>
                </c:pt>
                <c:pt idx="5566">
                  <c:v>-3.4449700000000001</c:v>
                </c:pt>
                <c:pt idx="5567">
                  <c:v>#N/A</c:v>
                </c:pt>
                <c:pt idx="5568">
                  <c:v>-3.0355300000000001</c:v>
                </c:pt>
                <c:pt idx="5569">
                  <c:v>-2.7489699999999999</c:v>
                </c:pt>
                <c:pt idx="5570">
                  <c:v>-2.1557200000000001</c:v>
                </c:pt>
                <c:pt idx="5571">
                  <c:v>#N/A</c:v>
                </c:pt>
                <c:pt idx="5572">
                  <c:v>-2.1790400000000001</c:v>
                </c:pt>
                <c:pt idx="5573">
                  <c:v>-2.6201300000000001</c:v>
                </c:pt>
                <c:pt idx="5574">
                  <c:v>#N/A</c:v>
                </c:pt>
                <c:pt idx="5575">
                  <c:v>-2.79392</c:v>
                </c:pt>
                <c:pt idx="5576">
                  <c:v>-3.3524600000000002</c:v>
                </c:pt>
                <c:pt idx="5577">
                  <c:v>#N/A</c:v>
                </c:pt>
                <c:pt idx="5578">
                  <c:v>-2.7937400000000001</c:v>
                </c:pt>
                <c:pt idx="5579">
                  <c:v>-2.6507499999999999</c:v>
                </c:pt>
                <c:pt idx="5580">
                  <c:v>#N/A</c:v>
                </c:pt>
                <c:pt idx="5581">
                  <c:v>-2.1333700000000002</c:v>
                </c:pt>
                <c:pt idx="5582">
                  <c:v>-2.2446999999999999</c:v>
                </c:pt>
                <c:pt idx="5583">
                  <c:v>#N/A</c:v>
                </c:pt>
                <c:pt idx="5584">
                  <c:v>-2.7446199999999998</c:v>
                </c:pt>
                <c:pt idx="5585">
                  <c:v>-3.2700200000000001</c:v>
                </c:pt>
                <c:pt idx="5586">
                  <c:v>-3.36673</c:v>
                </c:pt>
                <c:pt idx="5587">
                  <c:v>#N/A</c:v>
                </c:pt>
                <c:pt idx="5588">
                  <c:v>-3.37392</c:v>
                </c:pt>
                <c:pt idx="5589">
                  <c:v>-3.2044800000000002</c:v>
                </c:pt>
                <c:pt idx="5590">
                  <c:v>-2.5986500000000001</c:v>
                </c:pt>
                <c:pt idx="5591">
                  <c:v>#N/A</c:v>
                </c:pt>
                <c:pt idx="5592">
                  <c:v>-2.6094900000000001</c:v>
                </c:pt>
                <c:pt idx="5593">
                  <c:v>-2.3548200000000001</c:v>
                </c:pt>
                <c:pt idx="5594">
                  <c:v>-2.5382699999999998</c:v>
                </c:pt>
                <c:pt idx="5595">
                  <c:v>#N/A</c:v>
                </c:pt>
                <c:pt idx="5596">
                  <c:v>-3.0837699999999999</c:v>
                </c:pt>
                <c:pt idx="5597">
                  <c:v>-3.0646300000000002</c:v>
                </c:pt>
                <c:pt idx="5598">
                  <c:v>#N/A</c:v>
                </c:pt>
                <c:pt idx="5599">
                  <c:v>-3.05931</c:v>
                </c:pt>
                <c:pt idx="5600">
                  <c:v>-3.1917800000000001</c:v>
                </c:pt>
                <c:pt idx="5601">
                  <c:v>-2.8539500000000002</c:v>
                </c:pt>
                <c:pt idx="5602">
                  <c:v>#N/A</c:v>
                </c:pt>
                <c:pt idx="5603">
                  <c:v>-2.68215</c:v>
                </c:pt>
                <c:pt idx="5604">
                  <c:v>-2.8584800000000001</c:v>
                </c:pt>
                <c:pt idx="5605">
                  <c:v>#N/A</c:v>
                </c:pt>
                <c:pt idx="5606">
                  <c:v>-2.4302199999999998</c:v>
                </c:pt>
                <c:pt idx="5607">
                  <c:v>-3.0719599999999998</c:v>
                </c:pt>
                <c:pt idx="5608">
                  <c:v>-3.5960800000000002</c:v>
                </c:pt>
                <c:pt idx="5609">
                  <c:v>#N/A</c:v>
                </c:pt>
                <c:pt idx="5610">
                  <c:v>-3.3109099999999998</c:v>
                </c:pt>
                <c:pt idx="5611">
                  <c:v>-2.9310399999999999</c:v>
                </c:pt>
                <c:pt idx="5612">
                  <c:v>-2.5196100000000001</c:v>
                </c:pt>
                <c:pt idx="5613">
                  <c:v>#N/A</c:v>
                </c:pt>
                <c:pt idx="5614">
                  <c:v>-2.0493399999999999</c:v>
                </c:pt>
                <c:pt idx="5615">
                  <c:v>-2.2320700000000002</c:v>
                </c:pt>
                <c:pt idx="5616">
                  <c:v>-2.8967000000000001</c:v>
                </c:pt>
                <c:pt idx="5617">
                  <c:v>#N/A</c:v>
                </c:pt>
                <c:pt idx="5618">
                  <c:v>-2.9557199999999999</c:v>
                </c:pt>
                <c:pt idx="5619">
                  <c:v>-2.8425600000000002</c:v>
                </c:pt>
                <c:pt idx="5620">
                  <c:v>-2.8483499999999999</c:v>
                </c:pt>
                <c:pt idx="5621">
                  <c:v>#N/A</c:v>
                </c:pt>
                <c:pt idx="5622">
                  <c:v>-3.0515500000000002</c:v>
                </c:pt>
                <c:pt idx="5623">
                  <c:v>-2.7787999999999999</c:v>
                </c:pt>
                <c:pt idx="5624">
                  <c:v>-2.6583000000000001</c:v>
                </c:pt>
                <c:pt idx="5625">
                  <c:v>#N/A</c:v>
                </c:pt>
                <c:pt idx="5626">
                  <c:v>-2.5701999999999998</c:v>
                </c:pt>
                <c:pt idx="5627">
                  <c:v>-3.3295599999999999</c:v>
                </c:pt>
                <c:pt idx="5628">
                  <c:v>-3.5245799999999998</c:v>
                </c:pt>
                <c:pt idx="5629">
                  <c:v>#N/A</c:v>
                </c:pt>
                <c:pt idx="5630">
                  <c:v>-3.2097500000000001</c:v>
                </c:pt>
                <c:pt idx="5631">
                  <c:v>-2.8886799999999999</c:v>
                </c:pt>
                <c:pt idx="5632">
                  <c:v>#N/A</c:v>
                </c:pt>
                <c:pt idx="5633">
                  <c:v>-2.6189300000000002</c:v>
                </c:pt>
                <c:pt idx="5634">
                  <c:v>-2.58643</c:v>
                </c:pt>
                <c:pt idx="5635">
                  <c:v>-2.6124100000000001</c:v>
                </c:pt>
                <c:pt idx="5636">
                  <c:v>#N/A</c:v>
                </c:pt>
                <c:pt idx="5637">
                  <c:v>-2.7618499999999999</c:v>
                </c:pt>
                <c:pt idx="5638">
                  <c:v>-2.8985099999999999</c:v>
                </c:pt>
                <c:pt idx="5639">
                  <c:v>-3.40164</c:v>
                </c:pt>
                <c:pt idx="5640">
                  <c:v>#N/A</c:v>
                </c:pt>
                <c:pt idx="5641">
                  <c:v>-3.24207</c:v>
                </c:pt>
                <c:pt idx="5642">
                  <c:v>-2.8113000000000001</c:v>
                </c:pt>
                <c:pt idx="5643">
                  <c:v>-2.2631399999999999</c:v>
                </c:pt>
                <c:pt idx="5644">
                  <c:v>#N/A</c:v>
                </c:pt>
                <c:pt idx="5645">
                  <c:v>-2.3354200000000001</c:v>
                </c:pt>
                <c:pt idx="5646">
                  <c:v>-2.96835</c:v>
                </c:pt>
                <c:pt idx="5647">
                  <c:v>-3.5548000000000002</c:v>
                </c:pt>
                <c:pt idx="5648">
                  <c:v>#N/A</c:v>
                </c:pt>
                <c:pt idx="5649">
                  <c:v>-3.5291100000000002</c:v>
                </c:pt>
                <c:pt idx="5650">
                  <c:v>-3.4367899999999998</c:v>
                </c:pt>
                <c:pt idx="5651">
                  <c:v>-3.2647900000000001</c:v>
                </c:pt>
                <c:pt idx="5652">
                  <c:v>#N/A</c:v>
                </c:pt>
                <c:pt idx="5653">
                  <c:v>-2.6197599999999999</c:v>
                </c:pt>
                <c:pt idx="5654">
                  <c:v>#N/A</c:v>
                </c:pt>
                <c:pt idx="5655">
                  <c:v>-2.3652299999999999</c:v>
                </c:pt>
                <c:pt idx="5656">
                  <c:v>-2.44042</c:v>
                </c:pt>
                <c:pt idx="5657">
                  <c:v>#N/A</c:v>
                </c:pt>
                <c:pt idx="5658">
                  <c:v>-3.2626300000000001</c:v>
                </c:pt>
                <c:pt idx="5659">
                  <c:v>-3.4202499999999998</c:v>
                </c:pt>
                <c:pt idx="5660">
                  <c:v>-3.65849</c:v>
                </c:pt>
                <c:pt idx="5661">
                  <c:v>#N/A</c:v>
                </c:pt>
                <c:pt idx="5662">
                  <c:v>-3.5977100000000002</c:v>
                </c:pt>
                <c:pt idx="5663">
                  <c:v>-2.9106800000000002</c:v>
                </c:pt>
                <c:pt idx="5664">
                  <c:v>-2.0859700000000001</c:v>
                </c:pt>
                <c:pt idx="5665">
                  <c:v>#N/A</c:v>
                </c:pt>
                <c:pt idx="5666">
                  <c:v>-1.90743</c:v>
                </c:pt>
                <c:pt idx="5667">
                  <c:v>-2.7867299999999999</c:v>
                </c:pt>
                <c:pt idx="5668">
                  <c:v>-2.71956</c:v>
                </c:pt>
                <c:pt idx="5669">
                  <c:v>#N/A</c:v>
                </c:pt>
                <c:pt idx="5670">
                  <c:v>-2.9701</c:v>
                </c:pt>
                <c:pt idx="5671">
                  <c:v>-3.2157499999999999</c:v>
                </c:pt>
                <c:pt idx="5672">
                  <c:v>-3.14636</c:v>
                </c:pt>
                <c:pt idx="5673">
                  <c:v>#N/A</c:v>
                </c:pt>
                <c:pt idx="5674">
                  <c:v>-2.3324799999999999</c:v>
                </c:pt>
                <c:pt idx="5675">
                  <c:v>-2.6444399999999999</c:v>
                </c:pt>
                <c:pt idx="5676">
                  <c:v>#N/A</c:v>
                </c:pt>
                <c:pt idx="5677">
                  <c:v>-1.9223699999999999</c:v>
                </c:pt>
                <c:pt idx="5678">
                  <c:v>-1.80142</c:v>
                </c:pt>
                <c:pt idx="5679">
                  <c:v>-2.8273199999999998</c:v>
                </c:pt>
                <c:pt idx="5680">
                  <c:v>#N/A</c:v>
                </c:pt>
                <c:pt idx="5681">
                  <c:v>-2.9763700000000002</c:v>
                </c:pt>
                <c:pt idx="5682">
                  <c:v>-3.3687800000000001</c:v>
                </c:pt>
                <c:pt idx="5683">
                  <c:v>-3.1124100000000001</c:v>
                </c:pt>
                <c:pt idx="5684">
                  <c:v>#N/A</c:v>
                </c:pt>
                <c:pt idx="5685">
                  <c:v>-3.16384</c:v>
                </c:pt>
                <c:pt idx="5686">
                  <c:v>-2.4087000000000001</c:v>
                </c:pt>
                <c:pt idx="5687">
                  <c:v>-2.7782800000000001</c:v>
                </c:pt>
                <c:pt idx="5688">
                  <c:v>#N/A</c:v>
                </c:pt>
                <c:pt idx="5689">
                  <c:v>-2.8209200000000001</c:v>
                </c:pt>
                <c:pt idx="5690">
                  <c:v>-2.4753500000000002</c:v>
                </c:pt>
                <c:pt idx="5691">
                  <c:v>#N/A</c:v>
                </c:pt>
                <c:pt idx="5692">
                  <c:v>-3.0068100000000002</c:v>
                </c:pt>
                <c:pt idx="5693">
                  <c:v>-3.01464</c:v>
                </c:pt>
                <c:pt idx="5694">
                  <c:v>-2.6638999999999999</c:v>
                </c:pt>
                <c:pt idx="5695">
                  <c:v>#N/A</c:v>
                </c:pt>
                <c:pt idx="5696">
                  <c:v>-2.2961</c:v>
                </c:pt>
                <c:pt idx="5697">
                  <c:v>-2.19008</c:v>
                </c:pt>
                <c:pt idx="5698">
                  <c:v>-2.3057599999999998</c:v>
                </c:pt>
                <c:pt idx="5699">
                  <c:v>#N/A</c:v>
                </c:pt>
                <c:pt idx="5700">
                  <c:v>-2.6947999999999999</c:v>
                </c:pt>
                <c:pt idx="5701">
                  <c:v>-2.6618599999999999</c:v>
                </c:pt>
                <c:pt idx="5702">
                  <c:v>-2.5706799999999999</c:v>
                </c:pt>
                <c:pt idx="5703">
                  <c:v>#N/A</c:v>
                </c:pt>
                <c:pt idx="5704">
                  <c:v>-2.1740599999999999</c:v>
                </c:pt>
                <c:pt idx="5705">
                  <c:v>-2.5081000000000002</c:v>
                </c:pt>
                <c:pt idx="5706">
                  <c:v>-1.9708699999999999</c:v>
                </c:pt>
                <c:pt idx="5707">
                  <c:v>#N/A</c:v>
                </c:pt>
                <c:pt idx="5708">
                  <c:v>-2.0678200000000002</c:v>
                </c:pt>
                <c:pt idx="5709">
                  <c:v>-2.4849600000000001</c:v>
                </c:pt>
                <c:pt idx="5710">
                  <c:v>#N/A</c:v>
                </c:pt>
                <c:pt idx="5711">
                  <c:v>-3.1011799999999998</c:v>
                </c:pt>
                <c:pt idx="5712">
                  <c:v>-3.2263999999999999</c:v>
                </c:pt>
                <c:pt idx="5713">
                  <c:v>-3.2513999999999998</c:v>
                </c:pt>
                <c:pt idx="5714">
                  <c:v>#N/A</c:v>
                </c:pt>
                <c:pt idx="5715">
                  <c:v>-2.6219199999999998</c:v>
                </c:pt>
                <c:pt idx="5716">
                  <c:v>-2.69774</c:v>
                </c:pt>
                <c:pt idx="5717">
                  <c:v>-2.2447499999999998</c:v>
                </c:pt>
                <c:pt idx="5718">
                  <c:v>#N/A</c:v>
                </c:pt>
                <c:pt idx="5719">
                  <c:v>-2.4781900000000001</c:v>
                </c:pt>
                <c:pt idx="5720">
                  <c:v>-2.45235</c:v>
                </c:pt>
                <c:pt idx="5721">
                  <c:v>-3.0547</c:v>
                </c:pt>
                <c:pt idx="5722">
                  <c:v>#N/A</c:v>
                </c:pt>
                <c:pt idx="5723">
                  <c:v>-3.5221300000000002</c:v>
                </c:pt>
                <c:pt idx="5724">
                  <c:v>-3.22662</c:v>
                </c:pt>
                <c:pt idx="5725">
                  <c:v>#N/A</c:v>
                </c:pt>
                <c:pt idx="5726">
                  <c:v>-2.46217</c:v>
                </c:pt>
                <c:pt idx="5727">
                  <c:v>-2.0146199999999999</c:v>
                </c:pt>
                <c:pt idx="5728">
                  <c:v>#N/A</c:v>
                </c:pt>
                <c:pt idx="5729">
                  <c:v>-2.0273699999999999</c:v>
                </c:pt>
                <c:pt idx="5730">
                  <c:v>#N/A</c:v>
                </c:pt>
                <c:pt idx="5731">
                  <c:v>-2.1161599999999998</c:v>
                </c:pt>
                <c:pt idx="5732">
                  <c:v>-2.82003</c:v>
                </c:pt>
                <c:pt idx="5733">
                  <c:v>#N/A</c:v>
                </c:pt>
                <c:pt idx="5734">
                  <c:v>-3.3184300000000002</c:v>
                </c:pt>
                <c:pt idx="5735">
                  <c:v>-2.9370699999999998</c:v>
                </c:pt>
                <c:pt idx="5736">
                  <c:v>#N/A</c:v>
                </c:pt>
                <c:pt idx="5737">
                  <c:v>-2.6790500000000002</c:v>
                </c:pt>
                <c:pt idx="5738">
                  <c:v>-2.1585399999999999</c:v>
                </c:pt>
                <c:pt idx="5739">
                  <c:v>-1.94051</c:v>
                </c:pt>
                <c:pt idx="5740">
                  <c:v>#N/A</c:v>
                </c:pt>
                <c:pt idx="5741">
                  <c:v>-1.9226799999999999</c:v>
                </c:pt>
                <c:pt idx="5742">
                  <c:v>-2.1953399999999998</c:v>
                </c:pt>
                <c:pt idx="5743">
                  <c:v>-3.66926</c:v>
                </c:pt>
                <c:pt idx="5744">
                  <c:v>#N/A</c:v>
                </c:pt>
                <c:pt idx="5745">
                  <c:v>-3.5127100000000002</c:v>
                </c:pt>
                <c:pt idx="5746">
                  <c:v>-2.6606399999999999</c:v>
                </c:pt>
                <c:pt idx="5747">
                  <c:v>-2.72736</c:v>
                </c:pt>
                <c:pt idx="5748">
                  <c:v>#N/A</c:v>
                </c:pt>
                <c:pt idx="5749">
                  <c:v>-2.6601499999999998</c:v>
                </c:pt>
                <c:pt idx="5750">
                  <c:v>-2.8325300000000002</c:v>
                </c:pt>
                <c:pt idx="5751">
                  <c:v>-2.2121499999999998</c:v>
                </c:pt>
                <c:pt idx="5752">
                  <c:v>#N/A</c:v>
                </c:pt>
                <c:pt idx="5753">
                  <c:v>-2.63781</c:v>
                </c:pt>
                <c:pt idx="5754">
                  <c:v>-2.9028900000000002</c:v>
                </c:pt>
                <c:pt idx="5755">
                  <c:v>-3.6831499999999999</c:v>
                </c:pt>
                <c:pt idx="5756">
                  <c:v>#N/A</c:v>
                </c:pt>
                <c:pt idx="5757">
                  <c:v>-2.76959</c:v>
                </c:pt>
                <c:pt idx="5758">
                  <c:v>-2.7677399999999999</c:v>
                </c:pt>
                <c:pt idx="5759">
                  <c:v>#N/A</c:v>
                </c:pt>
                <c:pt idx="5760">
                  <c:v>-1.98909</c:v>
                </c:pt>
                <c:pt idx="5761">
                  <c:v>-2.5263800000000001</c:v>
                </c:pt>
                <c:pt idx="5762">
                  <c:v>-2.7809599999999999</c:v>
                </c:pt>
                <c:pt idx="5763">
                  <c:v>#N/A</c:v>
                </c:pt>
                <c:pt idx="5764">
                  <c:v>-3.0611999999999999</c:v>
                </c:pt>
                <c:pt idx="5765">
                  <c:v>-2.8477199999999998</c:v>
                </c:pt>
                <c:pt idx="5766">
                  <c:v>-3.0329600000000001</c:v>
                </c:pt>
                <c:pt idx="5767">
                  <c:v>#N/A</c:v>
                </c:pt>
                <c:pt idx="5768">
                  <c:v>-3.1955900000000002</c:v>
                </c:pt>
                <c:pt idx="5769">
                  <c:v>-2.4350700000000001</c:v>
                </c:pt>
                <c:pt idx="5770">
                  <c:v>-2.6836099999999998</c:v>
                </c:pt>
                <c:pt idx="5771">
                  <c:v>#N/A</c:v>
                </c:pt>
                <c:pt idx="5772">
                  <c:v>-2.6652499999999999</c:v>
                </c:pt>
                <c:pt idx="5773">
                  <c:v>-3.0603400000000001</c:v>
                </c:pt>
                <c:pt idx="5774">
                  <c:v>-3.2227299999999999</c:v>
                </c:pt>
                <c:pt idx="5775">
                  <c:v>#N/A</c:v>
                </c:pt>
                <c:pt idx="5776">
                  <c:v>-3.0468500000000001</c:v>
                </c:pt>
                <c:pt idx="5777">
                  <c:v>-2.7431399999999999</c:v>
                </c:pt>
                <c:pt idx="5778">
                  <c:v>-2.7288999999999999</c:v>
                </c:pt>
                <c:pt idx="5779">
                  <c:v>#N/A</c:v>
                </c:pt>
                <c:pt idx="5780">
                  <c:v>-2.70038</c:v>
                </c:pt>
                <c:pt idx="5781">
                  <c:v>-2.1230500000000001</c:v>
                </c:pt>
                <c:pt idx="5782">
                  <c:v>-2.6067800000000001</c:v>
                </c:pt>
                <c:pt idx="5783">
                  <c:v>#N/A</c:v>
                </c:pt>
                <c:pt idx="5784">
                  <c:v>-3.2095199999999999</c:v>
                </c:pt>
                <c:pt idx="5785">
                  <c:v>-3.2102900000000001</c:v>
                </c:pt>
                <c:pt idx="5786">
                  <c:v>-3.0901900000000002</c:v>
                </c:pt>
                <c:pt idx="5787">
                  <c:v>#N/A</c:v>
                </c:pt>
                <c:pt idx="5788">
                  <c:v>-2.5543499999999999</c:v>
                </c:pt>
                <c:pt idx="5789">
                  <c:v>-2.8094999999999999</c:v>
                </c:pt>
                <c:pt idx="5790">
                  <c:v>-2.3650799999999998</c:v>
                </c:pt>
                <c:pt idx="5791">
                  <c:v>#N/A</c:v>
                </c:pt>
                <c:pt idx="5792">
                  <c:v>-2.1946300000000001</c:v>
                </c:pt>
                <c:pt idx="5793">
                  <c:v>-2.2744900000000001</c:v>
                </c:pt>
                <c:pt idx="5794">
                  <c:v>-2.82002</c:v>
                </c:pt>
                <c:pt idx="5795">
                  <c:v>#N/A</c:v>
                </c:pt>
                <c:pt idx="5796">
                  <c:v>-3.43981</c:v>
                </c:pt>
                <c:pt idx="5797">
                  <c:v>-3.5402900000000002</c:v>
                </c:pt>
                <c:pt idx="5798">
                  <c:v>#N/A</c:v>
                </c:pt>
                <c:pt idx="5799">
                  <c:v>-2.7190599999999998</c:v>
                </c:pt>
                <c:pt idx="5800">
                  <c:v>-2.19733</c:v>
                </c:pt>
                <c:pt idx="5801">
                  <c:v>-1.81359</c:v>
                </c:pt>
                <c:pt idx="5802">
                  <c:v>#N/A</c:v>
                </c:pt>
                <c:pt idx="5803">
                  <c:v>-2.4908100000000002</c:v>
                </c:pt>
                <c:pt idx="5804">
                  <c:v>-3.03715</c:v>
                </c:pt>
                <c:pt idx="5805">
                  <c:v>#N/A</c:v>
                </c:pt>
                <c:pt idx="5806">
                  <c:v>-3.69428</c:v>
                </c:pt>
                <c:pt idx="5807">
                  <c:v>#N/A</c:v>
                </c:pt>
                <c:pt idx="5808">
                  <c:v>-3.6512600000000002</c:v>
                </c:pt>
                <c:pt idx="5809">
                  <c:v>-3.0416500000000002</c:v>
                </c:pt>
                <c:pt idx="5810">
                  <c:v>#N/A</c:v>
                </c:pt>
                <c:pt idx="5811">
                  <c:v>-2.2899400000000001</c:v>
                </c:pt>
                <c:pt idx="5812">
                  <c:v>-1.8771800000000001</c:v>
                </c:pt>
                <c:pt idx="5813">
                  <c:v>-2.3887999999999998</c:v>
                </c:pt>
                <c:pt idx="5814">
                  <c:v>#N/A</c:v>
                </c:pt>
                <c:pt idx="5815">
                  <c:v>-2.5122599999999999</c:v>
                </c:pt>
                <c:pt idx="5816">
                  <c:v>-3.3412600000000001</c:v>
                </c:pt>
                <c:pt idx="5817">
                  <c:v>#N/A</c:v>
                </c:pt>
                <c:pt idx="5818">
                  <c:v>-3.07395</c:v>
                </c:pt>
                <c:pt idx="5819">
                  <c:v>-3.1417799999999998</c:v>
                </c:pt>
                <c:pt idx="5820">
                  <c:v>-2.4798300000000002</c:v>
                </c:pt>
                <c:pt idx="5821">
                  <c:v>#N/A</c:v>
                </c:pt>
                <c:pt idx="5822">
                  <c:v>-2.3950399999999998</c:v>
                </c:pt>
                <c:pt idx="5823">
                  <c:v>-1.51552</c:v>
                </c:pt>
                <c:pt idx="5824">
                  <c:v>-1.82605</c:v>
                </c:pt>
                <c:pt idx="5825">
                  <c:v>#N/A</c:v>
                </c:pt>
                <c:pt idx="5826">
                  <c:v>-2.6271800000000001</c:v>
                </c:pt>
                <c:pt idx="5827">
                  <c:v>-3.1177000000000001</c:v>
                </c:pt>
                <c:pt idx="5828">
                  <c:v>-3.0231499999999998</c:v>
                </c:pt>
                <c:pt idx="5829">
                  <c:v>#N/A</c:v>
                </c:pt>
                <c:pt idx="5830">
                  <c:v>-3.0975899999999998</c:v>
                </c:pt>
                <c:pt idx="5831">
                  <c:v>-2.4531499999999999</c:v>
                </c:pt>
                <c:pt idx="5832">
                  <c:v>-2.2749899999999998</c:v>
                </c:pt>
                <c:pt idx="5833">
                  <c:v>#N/A</c:v>
                </c:pt>
                <c:pt idx="5834">
                  <c:v>-3.1254200000000001</c:v>
                </c:pt>
                <c:pt idx="5835">
                  <c:v>-3.16066</c:v>
                </c:pt>
                <c:pt idx="5836">
                  <c:v>-3.4310499999999999</c:v>
                </c:pt>
                <c:pt idx="5837">
                  <c:v>#N/A</c:v>
                </c:pt>
                <c:pt idx="5838">
                  <c:v>-3.7160799999999998</c:v>
                </c:pt>
                <c:pt idx="5839">
                  <c:v>-3.9220700000000002</c:v>
                </c:pt>
                <c:pt idx="5840">
                  <c:v>#N/A</c:v>
                </c:pt>
                <c:pt idx="5841">
                  <c:v>-3.2258200000000001</c:v>
                </c:pt>
                <c:pt idx="5842">
                  <c:v>-2.8016299999999998</c:v>
                </c:pt>
                <c:pt idx="5843">
                  <c:v>-2.4377</c:v>
                </c:pt>
                <c:pt idx="5844">
                  <c:v>#N/A</c:v>
                </c:pt>
                <c:pt idx="5845">
                  <c:v>-2.6011299999999999</c:v>
                </c:pt>
                <c:pt idx="5846">
                  <c:v>-2.8329300000000002</c:v>
                </c:pt>
                <c:pt idx="5847">
                  <c:v>-3.0977700000000001</c:v>
                </c:pt>
                <c:pt idx="5848">
                  <c:v>#N/A</c:v>
                </c:pt>
                <c:pt idx="5849">
                  <c:v>-2.76858</c:v>
                </c:pt>
                <c:pt idx="5850">
                  <c:v>-2.6528999999999998</c:v>
                </c:pt>
                <c:pt idx="5851">
                  <c:v>-2.8332799999999998</c:v>
                </c:pt>
                <c:pt idx="5852">
                  <c:v>#N/A</c:v>
                </c:pt>
                <c:pt idx="5853">
                  <c:v>-2.2406600000000001</c:v>
                </c:pt>
                <c:pt idx="5854">
                  <c:v>-1.93973</c:v>
                </c:pt>
                <c:pt idx="5855">
                  <c:v>#N/A</c:v>
                </c:pt>
                <c:pt idx="5856">
                  <c:v>-2.38679</c:v>
                </c:pt>
                <c:pt idx="5857">
                  <c:v>-2.3283999999999998</c:v>
                </c:pt>
                <c:pt idx="5858">
                  <c:v>-2.4604900000000001</c:v>
                </c:pt>
                <c:pt idx="5859">
                  <c:v>#N/A</c:v>
                </c:pt>
                <c:pt idx="5860">
                  <c:v>-2.5107900000000001</c:v>
                </c:pt>
                <c:pt idx="5861">
                  <c:v>-2.4376199999999999</c:v>
                </c:pt>
                <c:pt idx="5862">
                  <c:v>-2.2588699999999999</c:v>
                </c:pt>
                <c:pt idx="5863">
                  <c:v>#N/A</c:v>
                </c:pt>
                <c:pt idx="5864">
                  <c:v>-2.6032000000000002</c:v>
                </c:pt>
                <c:pt idx="5865">
                  <c:v>-3.1143700000000001</c:v>
                </c:pt>
                <c:pt idx="5866">
                  <c:v>-2.6793100000000001</c:v>
                </c:pt>
                <c:pt idx="5867">
                  <c:v>#N/A</c:v>
                </c:pt>
                <c:pt idx="5868">
                  <c:v>-3.0511699999999999</c:v>
                </c:pt>
                <c:pt idx="5869">
                  <c:v>-3.6612399999999998</c:v>
                </c:pt>
                <c:pt idx="5870">
                  <c:v>-3.58</c:v>
                </c:pt>
                <c:pt idx="5871">
                  <c:v>#N/A</c:v>
                </c:pt>
                <c:pt idx="5872">
                  <c:v>-2.5955699999999999</c:v>
                </c:pt>
                <c:pt idx="5873">
                  <c:v>-2.4760399999999998</c:v>
                </c:pt>
                <c:pt idx="5874">
                  <c:v>#N/A</c:v>
                </c:pt>
                <c:pt idx="5875">
                  <c:v>-2.30932</c:v>
                </c:pt>
                <c:pt idx="5876">
                  <c:v>-3.1757900000000001</c:v>
                </c:pt>
                <c:pt idx="5877">
                  <c:v>-3.1508099999999999</c:v>
                </c:pt>
                <c:pt idx="5878">
                  <c:v>#N/A</c:v>
                </c:pt>
                <c:pt idx="5879">
                  <c:v>-3.5362200000000001</c:v>
                </c:pt>
                <c:pt idx="5880">
                  <c:v>-3.6692300000000002</c:v>
                </c:pt>
                <c:pt idx="5881">
                  <c:v>-3.3876499999999998</c:v>
                </c:pt>
                <c:pt idx="5882">
                  <c:v>#N/A</c:v>
                </c:pt>
                <c:pt idx="5883">
                  <c:v>-2.88056</c:v>
                </c:pt>
                <c:pt idx="5884">
                  <c:v>-2.3975599999999999</c:v>
                </c:pt>
                <c:pt idx="5885">
                  <c:v>-2.1070700000000002</c:v>
                </c:pt>
                <c:pt idx="5886">
                  <c:v>#N/A</c:v>
                </c:pt>
                <c:pt idx="5887">
                  <c:v>-2.2099500000000001</c:v>
                </c:pt>
                <c:pt idx="5888">
                  <c:v>-3.2341099999999998</c:v>
                </c:pt>
                <c:pt idx="5889">
                  <c:v>#N/A</c:v>
                </c:pt>
                <c:pt idx="5890">
                  <c:v>-2.8926699999999999</c:v>
                </c:pt>
                <c:pt idx="5891">
                  <c:v>-3.21922</c:v>
                </c:pt>
                <c:pt idx="5892">
                  <c:v>-2.9809399999999999</c:v>
                </c:pt>
                <c:pt idx="5893">
                  <c:v>#N/A</c:v>
                </c:pt>
                <c:pt idx="5894">
                  <c:v>-2.9891999999999999</c:v>
                </c:pt>
                <c:pt idx="5895">
                  <c:v>-2.8544999999999998</c:v>
                </c:pt>
                <c:pt idx="5896">
                  <c:v>-2.0777399999999999</c:v>
                </c:pt>
                <c:pt idx="5897">
                  <c:v>#N/A</c:v>
                </c:pt>
                <c:pt idx="5898">
                  <c:v>-2.5885899999999999</c:v>
                </c:pt>
                <c:pt idx="5899">
                  <c:v>-3.47953</c:v>
                </c:pt>
                <c:pt idx="5900">
                  <c:v>-3.37053</c:v>
                </c:pt>
                <c:pt idx="5901">
                  <c:v>#N/A</c:v>
                </c:pt>
                <c:pt idx="5902">
                  <c:v>-3.5590000000000002</c:v>
                </c:pt>
                <c:pt idx="5903">
                  <c:v>-3.35493</c:v>
                </c:pt>
                <c:pt idx="5904">
                  <c:v>-2.5251999999999999</c:v>
                </c:pt>
                <c:pt idx="5905">
                  <c:v>#N/A</c:v>
                </c:pt>
                <c:pt idx="5906">
                  <c:v>-2.35778</c:v>
                </c:pt>
                <c:pt idx="5907">
                  <c:v>-2.6056599999999999</c:v>
                </c:pt>
                <c:pt idx="5908">
                  <c:v>-2.3972000000000002</c:v>
                </c:pt>
                <c:pt idx="5909">
                  <c:v>#N/A</c:v>
                </c:pt>
                <c:pt idx="5910">
                  <c:v>-2.4755400000000001</c:v>
                </c:pt>
                <c:pt idx="5911">
                  <c:v>-3.1327699999999998</c:v>
                </c:pt>
                <c:pt idx="5912">
                  <c:v>#N/A</c:v>
                </c:pt>
                <c:pt idx="5913">
                  <c:v>-2.94943</c:v>
                </c:pt>
                <c:pt idx="5914">
                  <c:v>-2.8605499999999999</c:v>
                </c:pt>
                <c:pt idx="5915">
                  <c:v>-2.2936899999999998</c:v>
                </c:pt>
                <c:pt idx="5916">
                  <c:v>#N/A</c:v>
                </c:pt>
                <c:pt idx="5917">
                  <c:v>-2.2704800000000001</c:v>
                </c:pt>
                <c:pt idx="5918">
                  <c:v>-2.6815899999999999</c:v>
                </c:pt>
                <c:pt idx="5919">
                  <c:v>#N/A</c:v>
                </c:pt>
                <c:pt idx="5920">
                  <c:v>-2.8558699999999999</c:v>
                </c:pt>
                <c:pt idx="5921">
                  <c:v>-2.92014</c:v>
                </c:pt>
                <c:pt idx="5922">
                  <c:v>-2.2908300000000001</c:v>
                </c:pt>
                <c:pt idx="5923">
                  <c:v>#N/A</c:v>
                </c:pt>
                <c:pt idx="5924">
                  <c:v>-2.5430999999999999</c:v>
                </c:pt>
                <c:pt idx="5925">
                  <c:v>-2.78484</c:v>
                </c:pt>
                <c:pt idx="5926">
                  <c:v>-2.64317</c:v>
                </c:pt>
                <c:pt idx="5927">
                  <c:v>#N/A</c:v>
                </c:pt>
                <c:pt idx="5928">
                  <c:v>-2.4574699999999998</c:v>
                </c:pt>
                <c:pt idx="5929">
                  <c:v>-2.58121</c:v>
                </c:pt>
                <c:pt idx="5930">
                  <c:v>-3.0486599999999999</c:v>
                </c:pt>
                <c:pt idx="5931">
                  <c:v>#N/A</c:v>
                </c:pt>
                <c:pt idx="5932">
                  <c:v>-3.62866</c:v>
                </c:pt>
                <c:pt idx="5933">
                  <c:v>#N/A</c:v>
                </c:pt>
                <c:pt idx="5934">
                  <c:v>#N/A</c:v>
                </c:pt>
                <c:pt idx="5935">
                  <c:v>#N/A</c:v>
                </c:pt>
                <c:pt idx="5936">
                  <c:v>#N/A</c:v>
                </c:pt>
                <c:pt idx="5937">
                  <c:v>#N/A</c:v>
                </c:pt>
                <c:pt idx="5938">
                  <c:v>#N/A</c:v>
                </c:pt>
                <c:pt idx="5939">
                  <c:v>#N/A</c:v>
                </c:pt>
                <c:pt idx="5940">
                  <c:v>#N/A</c:v>
                </c:pt>
                <c:pt idx="5941">
                  <c:v>#N/A</c:v>
                </c:pt>
                <c:pt idx="5942">
                  <c:v>#N/A</c:v>
                </c:pt>
                <c:pt idx="5943">
                  <c:v>#N/A</c:v>
                </c:pt>
                <c:pt idx="5944">
                  <c:v>#N/A</c:v>
                </c:pt>
                <c:pt idx="5945">
                  <c:v>#N/A</c:v>
                </c:pt>
                <c:pt idx="5946">
                  <c:v>#N/A</c:v>
                </c:pt>
                <c:pt idx="5947">
                  <c:v>#N/A</c:v>
                </c:pt>
                <c:pt idx="5948">
                  <c:v>#N/A</c:v>
                </c:pt>
                <c:pt idx="5949">
                  <c:v>#N/A</c:v>
                </c:pt>
                <c:pt idx="5950">
                  <c:v>#N/A</c:v>
                </c:pt>
                <c:pt idx="5951">
                  <c:v>#N/A</c:v>
                </c:pt>
                <c:pt idx="5952">
                  <c:v>#N/A</c:v>
                </c:pt>
                <c:pt idx="5953">
                  <c:v>#N/A</c:v>
                </c:pt>
                <c:pt idx="5954">
                  <c:v>#N/A</c:v>
                </c:pt>
                <c:pt idx="5955">
                  <c:v>-2.8157000000000001</c:v>
                </c:pt>
                <c:pt idx="5956">
                  <c:v>#N/A</c:v>
                </c:pt>
                <c:pt idx="5957">
                  <c:v>-2.3197899999999998</c:v>
                </c:pt>
                <c:pt idx="5958">
                  <c:v>-2.2898999999999998</c:v>
                </c:pt>
                <c:pt idx="5959">
                  <c:v>-2.5189300000000001</c:v>
                </c:pt>
                <c:pt idx="5960">
                  <c:v>#N/A</c:v>
                </c:pt>
                <c:pt idx="5961">
                  <c:v>-2.5817800000000002</c:v>
                </c:pt>
                <c:pt idx="5962">
                  <c:v>-3.1544099999999999</c:v>
                </c:pt>
                <c:pt idx="5963">
                  <c:v>-3.5762399999999999</c:v>
                </c:pt>
                <c:pt idx="5964">
                  <c:v>#N/A</c:v>
                </c:pt>
                <c:pt idx="5965">
                  <c:v>-4.1608099999999997</c:v>
                </c:pt>
                <c:pt idx="5966">
                  <c:v>-3.2123499999999998</c:v>
                </c:pt>
                <c:pt idx="5967">
                  <c:v>#N/A</c:v>
                </c:pt>
                <c:pt idx="5968">
                  <c:v>-2.5504600000000002</c:v>
                </c:pt>
                <c:pt idx="5969">
                  <c:v>-2.0565099999999998</c:v>
                </c:pt>
                <c:pt idx="5970">
                  <c:v>-1.9014899999999999</c:v>
                </c:pt>
                <c:pt idx="5971">
                  <c:v>#N/A</c:v>
                </c:pt>
                <c:pt idx="5972">
                  <c:v>-2.6251600000000002</c:v>
                </c:pt>
                <c:pt idx="5973">
                  <c:v>-3.3944299999999998</c:v>
                </c:pt>
                <c:pt idx="5974">
                  <c:v>-3.3447800000000001</c:v>
                </c:pt>
                <c:pt idx="5975">
                  <c:v>#N/A</c:v>
                </c:pt>
                <c:pt idx="5976">
                  <c:v>-3.27013</c:v>
                </c:pt>
                <c:pt idx="5977">
                  <c:v>-3.15374</c:v>
                </c:pt>
                <c:pt idx="5978">
                  <c:v>#N/A</c:v>
                </c:pt>
                <c:pt idx="5979">
                  <c:v>-2.9808400000000002</c:v>
                </c:pt>
                <c:pt idx="5980">
                  <c:v>-2.5163099999999998</c:v>
                </c:pt>
                <c:pt idx="5981">
                  <c:v>-2.3948499999999999</c:v>
                </c:pt>
                <c:pt idx="5982">
                  <c:v>#N/A</c:v>
                </c:pt>
                <c:pt idx="5983">
                  <c:v>-2.3735200000000001</c:v>
                </c:pt>
                <c:pt idx="5984">
                  <c:v>-2.8807900000000002</c:v>
                </c:pt>
                <c:pt idx="5985">
                  <c:v>-3.3753000000000002</c:v>
                </c:pt>
                <c:pt idx="5986">
                  <c:v>#N/A</c:v>
                </c:pt>
                <c:pt idx="5987">
                  <c:v>-3.54637</c:v>
                </c:pt>
                <c:pt idx="5988">
                  <c:v>-2.8352200000000001</c:v>
                </c:pt>
                <c:pt idx="5989">
                  <c:v>-2.9490099999999999</c:v>
                </c:pt>
                <c:pt idx="5990">
                  <c:v>#N/A</c:v>
                </c:pt>
                <c:pt idx="5991">
                  <c:v>-2.6180400000000001</c:v>
                </c:pt>
                <c:pt idx="5992">
                  <c:v>-2.1855799999999999</c:v>
                </c:pt>
                <c:pt idx="5993">
                  <c:v>-2.49302</c:v>
                </c:pt>
                <c:pt idx="5994">
                  <c:v>#N/A</c:v>
                </c:pt>
                <c:pt idx="5995">
                  <c:v>-2.996</c:v>
                </c:pt>
                <c:pt idx="5996">
                  <c:v>-2.85053</c:v>
                </c:pt>
                <c:pt idx="5997">
                  <c:v>-2.4756399999999998</c:v>
                </c:pt>
                <c:pt idx="5998">
                  <c:v>#N/A</c:v>
                </c:pt>
                <c:pt idx="5999">
                  <c:v>-2.7748400000000002</c:v>
                </c:pt>
                <c:pt idx="6000">
                  <c:v>-2.20025</c:v>
                </c:pt>
                <c:pt idx="6001">
                  <c:v>-2.9375300000000002</c:v>
                </c:pt>
                <c:pt idx="6002">
                  <c:v>#N/A</c:v>
                </c:pt>
                <c:pt idx="6003">
                  <c:v>-3.2162099999999998</c:v>
                </c:pt>
                <c:pt idx="6004">
                  <c:v>-2.95756</c:v>
                </c:pt>
                <c:pt idx="6005">
                  <c:v>-2.9625599999999999</c:v>
                </c:pt>
                <c:pt idx="6006">
                  <c:v>#N/A</c:v>
                </c:pt>
                <c:pt idx="6007">
                  <c:v>-2.91465</c:v>
                </c:pt>
                <c:pt idx="6008">
                  <c:v>-2.7940100000000001</c:v>
                </c:pt>
                <c:pt idx="6009">
                  <c:v>#N/A</c:v>
                </c:pt>
                <c:pt idx="6010">
                  <c:v>-2.36103</c:v>
                </c:pt>
                <c:pt idx="6011">
                  <c:v>-2.4313400000000001</c:v>
                </c:pt>
                <c:pt idx="6012">
                  <c:v>-2.5453000000000001</c:v>
                </c:pt>
                <c:pt idx="6013">
                  <c:v>#N/A</c:v>
                </c:pt>
                <c:pt idx="6014">
                  <c:v>-3.17428</c:v>
                </c:pt>
                <c:pt idx="6015">
                  <c:v>-3.5231300000000001</c:v>
                </c:pt>
                <c:pt idx="6016">
                  <c:v>-3.0626099999999998</c:v>
                </c:pt>
                <c:pt idx="6017">
                  <c:v>#N/A</c:v>
                </c:pt>
                <c:pt idx="6018">
                  <c:v>-2.70411</c:v>
                </c:pt>
                <c:pt idx="6019">
                  <c:v>-2.9866100000000002</c:v>
                </c:pt>
                <c:pt idx="6020">
                  <c:v>-2.4796100000000001</c:v>
                </c:pt>
                <c:pt idx="6021">
                  <c:v>#N/A</c:v>
                </c:pt>
                <c:pt idx="6022">
                  <c:v>-2.0987100000000001</c:v>
                </c:pt>
                <c:pt idx="6023">
                  <c:v>-2.4245199999999998</c:v>
                </c:pt>
                <c:pt idx="6024">
                  <c:v>#N/A</c:v>
                </c:pt>
                <c:pt idx="6025">
                  <c:v>-3.1259000000000001</c:v>
                </c:pt>
                <c:pt idx="6026">
                  <c:v>-3.4190700000000001</c:v>
                </c:pt>
                <c:pt idx="6027">
                  <c:v>-3.2261099999999998</c:v>
                </c:pt>
                <c:pt idx="6028">
                  <c:v>#N/A</c:v>
                </c:pt>
                <c:pt idx="6029">
                  <c:v>-2.6590500000000001</c:v>
                </c:pt>
                <c:pt idx="6030">
                  <c:v>-1.72261</c:v>
                </c:pt>
                <c:pt idx="6031">
                  <c:v>-2.0754800000000002</c:v>
                </c:pt>
                <c:pt idx="6032">
                  <c:v>#N/A</c:v>
                </c:pt>
                <c:pt idx="6033">
                  <c:v>-2.6594799999999998</c:v>
                </c:pt>
                <c:pt idx="6034">
                  <c:v>-2.5137100000000001</c:v>
                </c:pt>
                <c:pt idx="6035">
                  <c:v>-2.64209</c:v>
                </c:pt>
                <c:pt idx="6036">
                  <c:v>#N/A</c:v>
                </c:pt>
                <c:pt idx="6037">
                  <c:v>-3.2480199999999999</c:v>
                </c:pt>
                <c:pt idx="6038">
                  <c:v>-3.1722999999999999</c:v>
                </c:pt>
                <c:pt idx="6039">
                  <c:v>-3.1074799999999998</c:v>
                </c:pt>
                <c:pt idx="6040">
                  <c:v>#N/A</c:v>
                </c:pt>
                <c:pt idx="6041">
                  <c:v>-2.4210400000000001</c:v>
                </c:pt>
                <c:pt idx="6042">
                  <c:v>-1.85215</c:v>
                </c:pt>
                <c:pt idx="6043">
                  <c:v>-1.7422200000000001</c:v>
                </c:pt>
                <c:pt idx="6044">
                  <c:v>#N/A</c:v>
                </c:pt>
                <c:pt idx="6045">
                  <c:v>-2.2073700000000001</c:v>
                </c:pt>
                <c:pt idx="6046">
                  <c:v>-3.0604399999999998</c:v>
                </c:pt>
                <c:pt idx="6047">
                  <c:v>#N/A</c:v>
                </c:pt>
                <c:pt idx="6048">
                  <c:v>-3.1919400000000002</c:v>
                </c:pt>
                <c:pt idx="6049">
                  <c:v>-3.1394600000000001</c:v>
                </c:pt>
                <c:pt idx="6050">
                  <c:v>-3.3432900000000001</c:v>
                </c:pt>
                <c:pt idx="6051">
                  <c:v>#N/A</c:v>
                </c:pt>
                <c:pt idx="6052">
                  <c:v>-2.4768599999999998</c:v>
                </c:pt>
                <c:pt idx="6053">
                  <c:v>-2.3523999999999998</c:v>
                </c:pt>
                <c:pt idx="6054">
                  <c:v>-2.0343200000000001</c:v>
                </c:pt>
                <c:pt idx="6055">
                  <c:v>#N/A</c:v>
                </c:pt>
                <c:pt idx="6056">
                  <c:v>-2.4838399999999998</c:v>
                </c:pt>
                <c:pt idx="6057">
                  <c:v>-3.0551900000000001</c:v>
                </c:pt>
                <c:pt idx="6058">
                  <c:v>-3.5113500000000002</c:v>
                </c:pt>
                <c:pt idx="6059">
                  <c:v>#N/A</c:v>
                </c:pt>
                <c:pt idx="6060">
                  <c:v>-3.0790999999999999</c:v>
                </c:pt>
                <c:pt idx="6061">
                  <c:v>-3.10534</c:v>
                </c:pt>
                <c:pt idx="6062">
                  <c:v>-2.6188699999999998</c:v>
                </c:pt>
                <c:pt idx="6063">
                  <c:v>#N/A</c:v>
                </c:pt>
                <c:pt idx="6064">
                  <c:v>-2.67062</c:v>
                </c:pt>
                <c:pt idx="6065">
                  <c:v>-2.1523500000000002</c:v>
                </c:pt>
                <c:pt idx="6066">
                  <c:v>-2.60677</c:v>
                </c:pt>
                <c:pt idx="6067">
                  <c:v>#N/A</c:v>
                </c:pt>
                <c:pt idx="6068">
                  <c:v>-2.6473200000000001</c:v>
                </c:pt>
                <c:pt idx="6069">
                  <c:v>-2.9708000000000001</c:v>
                </c:pt>
                <c:pt idx="6070">
                  <c:v>-2.7915199999999998</c:v>
                </c:pt>
                <c:pt idx="6071">
                  <c:v>#N/A</c:v>
                </c:pt>
                <c:pt idx="6072">
                  <c:v>-2.6526000000000001</c:v>
                </c:pt>
                <c:pt idx="6073">
                  <c:v>-2.5293399999999999</c:v>
                </c:pt>
                <c:pt idx="6074">
                  <c:v>-2.6341800000000002</c:v>
                </c:pt>
                <c:pt idx="6075">
                  <c:v>#N/A</c:v>
                </c:pt>
                <c:pt idx="6076">
                  <c:v>-2.99376</c:v>
                </c:pt>
                <c:pt idx="6077">
                  <c:v>-2.7171400000000001</c:v>
                </c:pt>
                <c:pt idx="6078">
                  <c:v>#N/A</c:v>
                </c:pt>
                <c:pt idx="6079">
                  <c:v>-2.9460199999999999</c:v>
                </c:pt>
                <c:pt idx="6080">
                  <c:v>-3.15734</c:v>
                </c:pt>
                <c:pt idx="6081">
                  <c:v>-3.3909600000000002</c:v>
                </c:pt>
                <c:pt idx="6082">
                  <c:v>#N/A</c:v>
                </c:pt>
                <c:pt idx="6083">
                  <c:v>-1.8872199999999999</c:v>
                </c:pt>
                <c:pt idx="6084">
                  <c:v>-2.6958099999999998</c:v>
                </c:pt>
                <c:pt idx="6085">
                  <c:v>#N/A</c:v>
                </c:pt>
                <c:pt idx="6086">
                  <c:v>-2.77501</c:v>
                </c:pt>
                <c:pt idx="6087">
                  <c:v>-3.0932400000000002</c:v>
                </c:pt>
                <c:pt idx="6088">
                  <c:v>-3.8309799999999998</c:v>
                </c:pt>
                <c:pt idx="6089">
                  <c:v>#N/A</c:v>
                </c:pt>
                <c:pt idx="6090">
                  <c:v>-3.4052600000000002</c:v>
                </c:pt>
                <c:pt idx="6091">
                  <c:v>-2.7110799999999999</c:v>
                </c:pt>
                <c:pt idx="6092">
                  <c:v>-2.4891200000000002</c:v>
                </c:pt>
                <c:pt idx="6093">
                  <c:v>#N/A</c:v>
                </c:pt>
                <c:pt idx="6094">
                  <c:v>-2.2544400000000002</c:v>
                </c:pt>
                <c:pt idx="6095">
                  <c:v>-2.0787800000000001</c:v>
                </c:pt>
                <c:pt idx="6096">
                  <c:v>-2.7008899999999998</c:v>
                </c:pt>
                <c:pt idx="6097">
                  <c:v>#N/A</c:v>
                </c:pt>
                <c:pt idx="6098">
                  <c:v>-3.73813</c:v>
                </c:pt>
                <c:pt idx="6099">
                  <c:v>-3.3844599999999998</c:v>
                </c:pt>
                <c:pt idx="6100">
                  <c:v>-3.36205</c:v>
                </c:pt>
                <c:pt idx="6101">
                  <c:v>#N/A</c:v>
                </c:pt>
                <c:pt idx="6102">
                  <c:v>-2.7575400000000001</c:v>
                </c:pt>
                <c:pt idx="6103">
                  <c:v>#N/A</c:v>
                </c:pt>
                <c:pt idx="6104">
                  <c:v>-1.7755099999999999</c:v>
                </c:pt>
                <c:pt idx="6105">
                  <c:v>-2.5304500000000001</c:v>
                </c:pt>
                <c:pt idx="6106">
                  <c:v>#N/A</c:v>
                </c:pt>
                <c:pt idx="6107">
                  <c:v>-2.5162900000000001</c:v>
                </c:pt>
                <c:pt idx="6108">
                  <c:v>-3.0313599999999998</c:v>
                </c:pt>
                <c:pt idx="6109">
                  <c:v>#N/A</c:v>
                </c:pt>
                <c:pt idx="6110">
                  <c:v>-3.3727900000000002</c:v>
                </c:pt>
                <c:pt idx="6111">
                  <c:v>-3.3458999999999999</c:v>
                </c:pt>
                <c:pt idx="6112">
                  <c:v>-3.1593900000000001</c:v>
                </c:pt>
                <c:pt idx="6113">
                  <c:v>#N/A</c:v>
                </c:pt>
                <c:pt idx="6114">
                  <c:v>-2.37527</c:v>
                </c:pt>
                <c:pt idx="6115">
                  <c:v>-2.2942499999999999</c:v>
                </c:pt>
                <c:pt idx="6116">
                  <c:v>-2.3322500000000002</c:v>
                </c:pt>
                <c:pt idx="6117">
                  <c:v>#N/A</c:v>
                </c:pt>
                <c:pt idx="6118">
                  <c:v>-2.8282400000000001</c:v>
                </c:pt>
                <c:pt idx="6119">
                  <c:v>-3.5465499999999999</c:v>
                </c:pt>
                <c:pt idx="6120">
                  <c:v>-4.0377000000000001</c:v>
                </c:pt>
                <c:pt idx="6121">
                  <c:v>#N/A</c:v>
                </c:pt>
                <c:pt idx="6122">
                  <c:v>-3.1897700000000002</c:v>
                </c:pt>
                <c:pt idx="6123">
                  <c:v>-2.7724299999999999</c:v>
                </c:pt>
                <c:pt idx="6124">
                  <c:v>-2.4669400000000001</c:v>
                </c:pt>
                <c:pt idx="6125">
                  <c:v>#N/A</c:v>
                </c:pt>
                <c:pt idx="6126">
                  <c:v>-2.48461</c:v>
                </c:pt>
                <c:pt idx="6127">
                  <c:v>-2.8134100000000002</c:v>
                </c:pt>
                <c:pt idx="6128">
                  <c:v>-2.6283099999999999</c:v>
                </c:pt>
                <c:pt idx="6129">
                  <c:v>#N/A</c:v>
                </c:pt>
                <c:pt idx="6130">
                  <c:v>-2.6723400000000002</c:v>
                </c:pt>
                <c:pt idx="6131">
                  <c:v>-2.5706099999999998</c:v>
                </c:pt>
                <c:pt idx="6132">
                  <c:v>#N/A</c:v>
                </c:pt>
                <c:pt idx="6133">
                  <c:v>-2.6308400000000001</c:v>
                </c:pt>
                <c:pt idx="6134">
                  <c:v>-2.7795399999999999</c:v>
                </c:pt>
                <c:pt idx="6135">
                  <c:v>-3.0964399999999999</c:v>
                </c:pt>
                <c:pt idx="6136">
                  <c:v>#N/A</c:v>
                </c:pt>
                <c:pt idx="6137">
                  <c:v>-2.5663100000000001</c:v>
                </c:pt>
                <c:pt idx="6138">
                  <c:v>-2.5277500000000002</c:v>
                </c:pt>
                <c:pt idx="6139">
                  <c:v>-3.1730700000000001</c:v>
                </c:pt>
                <c:pt idx="6140">
                  <c:v>#N/A</c:v>
                </c:pt>
                <c:pt idx="6141">
                  <c:v>-3.2991600000000001</c:v>
                </c:pt>
                <c:pt idx="6142">
                  <c:v>-3.4468700000000001</c:v>
                </c:pt>
                <c:pt idx="6143">
                  <c:v>-2.5882999999999998</c:v>
                </c:pt>
                <c:pt idx="6144">
                  <c:v>#N/A</c:v>
                </c:pt>
                <c:pt idx="6145">
                  <c:v>-3.3843299999999998</c:v>
                </c:pt>
                <c:pt idx="6146">
                  <c:v>-2.8139699999999999</c:v>
                </c:pt>
                <c:pt idx="6147">
                  <c:v>#N/A</c:v>
                </c:pt>
                <c:pt idx="6148">
                  <c:v>-2.7399499999999999</c:v>
                </c:pt>
                <c:pt idx="6149">
                  <c:v>-2.63645</c:v>
                </c:pt>
                <c:pt idx="6150">
                  <c:v>-2.6621999999999999</c:v>
                </c:pt>
                <c:pt idx="6151">
                  <c:v>#N/A</c:v>
                </c:pt>
                <c:pt idx="6152">
                  <c:v>-2.7226300000000001</c:v>
                </c:pt>
                <c:pt idx="6153">
                  <c:v>-3.0852300000000001</c:v>
                </c:pt>
                <c:pt idx="6154">
                  <c:v>-2.49614</c:v>
                </c:pt>
                <c:pt idx="6155">
                  <c:v>#N/A</c:v>
                </c:pt>
                <c:pt idx="6156">
                  <c:v>-2.1695000000000002</c:v>
                </c:pt>
                <c:pt idx="6157">
                  <c:v>-2.2000999999999999</c:v>
                </c:pt>
                <c:pt idx="6158">
                  <c:v>-2.46252</c:v>
                </c:pt>
                <c:pt idx="6159">
                  <c:v>#N/A</c:v>
                </c:pt>
                <c:pt idx="6160">
                  <c:v>-2.7762899999999999</c:v>
                </c:pt>
                <c:pt idx="6161">
                  <c:v>-3.29358</c:v>
                </c:pt>
                <c:pt idx="6162">
                  <c:v>-3.2505899999999999</c:v>
                </c:pt>
                <c:pt idx="6163">
                  <c:v>#N/A</c:v>
                </c:pt>
                <c:pt idx="6164">
                  <c:v>-3.24871</c:v>
                </c:pt>
                <c:pt idx="6165">
                  <c:v>-2.6450200000000001</c:v>
                </c:pt>
                <c:pt idx="6166">
                  <c:v>-2.23116</c:v>
                </c:pt>
                <c:pt idx="6167">
                  <c:v>#N/A</c:v>
                </c:pt>
                <c:pt idx="6168">
                  <c:v>-1.9686600000000001</c:v>
                </c:pt>
                <c:pt idx="6169">
                  <c:v>-2.60094</c:v>
                </c:pt>
                <c:pt idx="6170">
                  <c:v>-3.35005</c:v>
                </c:pt>
                <c:pt idx="6171">
                  <c:v>#N/A</c:v>
                </c:pt>
                <c:pt idx="6172">
                  <c:v>-3.3096899999999998</c:v>
                </c:pt>
                <c:pt idx="6173">
                  <c:v>-3.3658299999999999</c:v>
                </c:pt>
                <c:pt idx="6174">
                  <c:v>-3.4263699999999999</c:v>
                </c:pt>
                <c:pt idx="6175">
                  <c:v>#N/A</c:v>
                </c:pt>
                <c:pt idx="6176">
                  <c:v>-1.8470500000000001</c:v>
                </c:pt>
                <c:pt idx="6177">
                  <c:v>#N/A</c:v>
                </c:pt>
                <c:pt idx="6178">
                  <c:v>-1.87721</c:v>
                </c:pt>
                <c:pt idx="6179">
                  <c:v>#N/A</c:v>
                </c:pt>
                <c:pt idx="6180">
                  <c:v>-1.9536500000000001</c:v>
                </c:pt>
                <c:pt idx="6181">
                  <c:v>-3.1129899999999999</c:v>
                </c:pt>
                <c:pt idx="6182">
                  <c:v>-3.3595199999999998</c:v>
                </c:pt>
                <c:pt idx="6183">
                  <c:v>#N/A</c:v>
                </c:pt>
                <c:pt idx="6184">
                  <c:v>-3.8958200000000001</c:v>
                </c:pt>
                <c:pt idx="6185">
                  <c:v>-2.9093200000000001</c:v>
                </c:pt>
                <c:pt idx="6186">
                  <c:v>-2.7752400000000002</c:v>
                </c:pt>
                <c:pt idx="6187">
                  <c:v>#N/A</c:v>
                </c:pt>
                <c:pt idx="6188">
                  <c:v>-2.2935500000000002</c:v>
                </c:pt>
                <c:pt idx="6189">
                  <c:v>-2.2166199999999998</c:v>
                </c:pt>
                <c:pt idx="6190">
                  <c:v>-2.2214900000000002</c:v>
                </c:pt>
                <c:pt idx="6191">
                  <c:v>#N/A</c:v>
                </c:pt>
                <c:pt idx="6192">
                  <c:v>-2.79915</c:v>
                </c:pt>
                <c:pt idx="6193">
                  <c:v>-3.3292799999999998</c:v>
                </c:pt>
                <c:pt idx="6194">
                  <c:v>-3.6463100000000002</c:v>
                </c:pt>
                <c:pt idx="6195">
                  <c:v>#N/A</c:v>
                </c:pt>
                <c:pt idx="6196">
                  <c:v>-3.5010500000000002</c:v>
                </c:pt>
                <c:pt idx="6197">
                  <c:v>-2.85982</c:v>
                </c:pt>
                <c:pt idx="6198">
                  <c:v>-2.8170700000000002</c:v>
                </c:pt>
                <c:pt idx="6199">
                  <c:v>#N/A</c:v>
                </c:pt>
                <c:pt idx="6200">
                  <c:v>-2.2943500000000001</c:v>
                </c:pt>
                <c:pt idx="6201">
                  <c:v>-3.4757500000000001</c:v>
                </c:pt>
                <c:pt idx="6202">
                  <c:v>-3.15205</c:v>
                </c:pt>
                <c:pt idx="6203">
                  <c:v>#N/A</c:v>
                </c:pt>
                <c:pt idx="6204">
                  <c:v>-3.17611</c:v>
                </c:pt>
                <c:pt idx="6205">
                  <c:v>-3.3706999999999998</c:v>
                </c:pt>
                <c:pt idx="6206">
                  <c:v>#N/A</c:v>
                </c:pt>
                <c:pt idx="6207">
                  <c:v>-3.1951299999999998</c:v>
                </c:pt>
                <c:pt idx="6208">
                  <c:v>-2.8521999999999998</c:v>
                </c:pt>
                <c:pt idx="6209">
                  <c:v>-2.9589599999999998</c:v>
                </c:pt>
                <c:pt idx="6210">
                  <c:v>#N/A</c:v>
                </c:pt>
                <c:pt idx="6211">
                  <c:v>-2.9306399999999999</c:v>
                </c:pt>
                <c:pt idx="6212">
                  <c:v>-3.2220800000000001</c:v>
                </c:pt>
                <c:pt idx="6213">
                  <c:v>-2.7458800000000001</c:v>
                </c:pt>
                <c:pt idx="6214">
                  <c:v>#N/A</c:v>
                </c:pt>
                <c:pt idx="6215">
                  <c:v>-2.9540899999999999</c:v>
                </c:pt>
                <c:pt idx="6216">
                  <c:v>-2.8022999999999998</c:v>
                </c:pt>
                <c:pt idx="6217">
                  <c:v>-2.2874599999999998</c:v>
                </c:pt>
                <c:pt idx="6218">
                  <c:v>#N/A</c:v>
                </c:pt>
                <c:pt idx="6219">
                  <c:v>-2.4698099999999998</c:v>
                </c:pt>
                <c:pt idx="6220">
                  <c:v>-2.3963800000000002</c:v>
                </c:pt>
                <c:pt idx="6221">
                  <c:v>-2.5178799999999999</c:v>
                </c:pt>
                <c:pt idx="6222">
                  <c:v>#N/A</c:v>
                </c:pt>
                <c:pt idx="6223">
                  <c:v>-2.77346</c:v>
                </c:pt>
                <c:pt idx="6224">
                  <c:v>-3.0369999999999999</c:v>
                </c:pt>
                <c:pt idx="6225">
                  <c:v>#N/A</c:v>
                </c:pt>
                <c:pt idx="6226">
                  <c:v>-2.9124699999999999</c:v>
                </c:pt>
                <c:pt idx="6227">
                  <c:v>-2.4703200000000001</c:v>
                </c:pt>
                <c:pt idx="6228">
                  <c:v>-2.9472499999999999</c:v>
                </c:pt>
                <c:pt idx="6229">
                  <c:v>#N/A</c:v>
                </c:pt>
                <c:pt idx="6230">
                  <c:v>-2.4370500000000002</c:v>
                </c:pt>
                <c:pt idx="6231">
                  <c:v>-2.5175800000000002</c:v>
                </c:pt>
                <c:pt idx="6232">
                  <c:v>-3.1100699999999999</c:v>
                </c:pt>
                <c:pt idx="6233">
                  <c:v>#N/A</c:v>
                </c:pt>
                <c:pt idx="6234">
                  <c:v>-3.2521200000000001</c:v>
                </c:pt>
                <c:pt idx="6235">
                  <c:v>-3.1927400000000001</c:v>
                </c:pt>
                <c:pt idx="6236">
                  <c:v>-3.2332299999999998</c:v>
                </c:pt>
                <c:pt idx="6237">
                  <c:v>#N/A</c:v>
                </c:pt>
                <c:pt idx="6238">
                  <c:v>-2.2095899999999999</c:v>
                </c:pt>
                <c:pt idx="6239">
                  <c:v>-1.9956199999999999</c:v>
                </c:pt>
                <c:pt idx="6240">
                  <c:v>-2.1818499999999998</c:v>
                </c:pt>
                <c:pt idx="6241">
                  <c:v>#N/A</c:v>
                </c:pt>
                <c:pt idx="6242">
                  <c:v>-2.4574699999999998</c:v>
                </c:pt>
                <c:pt idx="6243">
                  <c:v>-1.85501</c:v>
                </c:pt>
                <c:pt idx="6244">
                  <c:v>-3.06928</c:v>
                </c:pt>
                <c:pt idx="6245">
                  <c:v>#N/A</c:v>
                </c:pt>
                <c:pt idx="6246">
                  <c:v>-3.7932399999999999</c:v>
                </c:pt>
                <c:pt idx="6247">
                  <c:v>-3.4987499999999998</c:v>
                </c:pt>
                <c:pt idx="6248">
                  <c:v>#N/A</c:v>
                </c:pt>
                <c:pt idx="6249">
                  <c:v>-2.9619599999999999</c:v>
                </c:pt>
                <c:pt idx="6250">
                  <c:v>-2.42117</c:v>
                </c:pt>
                <c:pt idx="6251">
                  <c:v>-2.2826499999999998</c:v>
                </c:pt>
                <c:pt idx="6252">
                  <c:v>#N/A</c:v>
                </c:pt>
                <c:pt idx="6253">
                  <c:v>-2.4521299999999999</c:v>
                </c:pt>
                <c:pt idx="6254">
                  <c:v>-2.8520799999999999</c:v>
                </c:pt>
                <c:pt idx="6255">
                  <c:v>-3.3151299999999999</c:v>
                </c:pt>
                <c:pt idx="6256">
                  <c:v>#N/A</c:v>
                </c:pt>
                <c:pt idx="6257">
                  <c:v>-3.5104299999999999</c:v>
                </c:pt>
                <c:pt idx="6258">
                  <c:v>-3.1413000000000002</c:v>
                </c:pt>
                <c:pt idx="6259">
                  <c:v>-2.6176300000000001</c:v>
                </c:pt>
                <c:pt idx="6260">
                  <c:v>#N/A</c:v>
                </c:pt>
                <c:pt idx="6261">
                  <c:v>-2.1170200000000001</c:v>
                </c:pt>
                <c:pt idx="6262">
                  <c:v>-2.0400800000000001</c:v>
                </c:pt>
                <c:pt idx="6263">
                  <c:v>-2.57985</c:v>
                </c:pt>
                <c:pt idx="6264">
                  <c:v>#N/A</c:v>
                </c:pt>
                <c:pt idx="6265">
                  <c:v>-2.6408200000000002</c:v>
                </c:pt>
                <c:pt idx="6266">
                  <c:v>-3.5469499999999998</c:v>
                </c:pt>
                <c:pt idx="6267">
                  <c:v>-3.2268699999999999</c:v>
                </c:pt>
                <c:pt idx="6268">
                  <c:v>#N/A</c:v>
                </c:pt>
                <c:pt idx="6269">
                  <c:v>-2.99973</c:v>
                </c:pt>
                <c:pt idx="6270">
                  <c:v>-2.7122999999999999</c:v>
                </c:pt>
                <c:pt idx="6271">
                  <c:v>-2.1386400000000001</c:v>
                </c:pt>
                <c:pt idx="6272">
                  <c:v>#N/A</c:v>
                </c:pt>
                <c:pt idx="6273">
                  <c:v>-2.1822599999999999</c:v>
                </c:pt>
                <c:pt idx="6274">
                  <c:v>-2.0343200000000001</c:v>
                </c:pt>
                <c:pt idx="6275">
                  <c:v>#N/A</c:v>
                </c:pt>
                <c:pt idx="6276">
                  <c:v>-2.7591999999999999</c:v>
                </c:pt>
                <c:pt idx="6277">
                  <c:v>-3.0102899999999999</c:v>
                </c:pt>
                <c:pt idx="6278">
                  <c:v>-3.7447499999999998</c:v>
                </c:pt>
                <c:pt idx="6279">
                  <c:v>#N/A</c:v>
                </c:pt>
                <c:pt idx="6280">
                  <c:v>-2.7244299999999999</c:v>
                </c:pt>
                <c:pt idx="6281">
                  <c:v>-2.5274999999999999</c:v>
                </c:pt>
                <c:pt idx="6282">
                  <c:v>-1.9113899999999999</c:v>
                </c:pt>
                <c:pt idx="6283">
                  <c:v>#N/A</c:v>
                </c:pt>
                <c:pt idx="6284">
                  <c:v>-2.4007399999999999</c:v>
                </c:pt>
                <c:pt idx="6285">
                  <c:v>-2.3313000000000001</c:v>
                </c:pt>
                <c:pt idx="6286">
                  <c:v>-2.1728800000000001</c:v>
                </c:pt>
                <c:pt idx="6287">
                  <c:v>#N/A</c:v>
                </c:pt>
                <c:pt idx="6288">
                  <c:v>-2.36327</c:v>
                </c:pt>
                <c:pt idx="6289">
                  <c:v>-2.9007800000000001</c:v>
                </c:pt>
                <c:pt idx="6290">
                  <c:v>-2.8254600000000001</c:v>
                </c:pt>
                <c:pt idx="6291">
                  <c:v>#N/A</c:v>
                </c:pt>
                <c:pt idx="6292">
                  <c:v>-2.2486199999999998</c:v>
                </c:pt>
                <c:pt idx="6293">
                  <c:v>-2.4460299999999999</c:v>
                </c:pt>
                <c:pt idx="6294">
                  <c:v>-2.3771100000000001</c:v>
                </c:pt>
                <c:pt idx="6295">
                  <c:v>#N/A</c:v>
                </c:pt>
                <c:pt idx="6296">
                  <c:v>-2.6156299999999999</c:v>
                </c:pt>
                <c:pt idx="6297">
                  <c:v>-2.8236300000000001</c:v>
                </c:pt>
                <c:pt idx="6298">
                  <c:v>-2.83351</c:v>
                </c:pt>
                <c:pt idx="6299">
                  <c:v>#N/A</c:v>
                </c:pt>
                <c:pt idx="6300">
                  <c:v>-2.8099500000000002</c:v>
                </c:pt>
                <c:pt idx="6301">
                  <c:v>-2.3940899999999998</c:v>
                </c:pt>
                <c:pt idx="6302">
                  <c:v>#N/A</c:v>
                </c:pt>
                <c:pt idx="6303">
                  <c:v>-2.45695</c:v>
                </c:pt>
                <c:pt idx="6304">
                  <c:v>-2.3340200000000002</c:v>
                </c:pt>
                <c:pt idx="6305">
                  <c:v>-2.4740099999999998</c:v>
                </c:pt>
                <c:pt idx="6306">
                  <c:v>#N/A</c:v>
                </c:pt>
                <c:pt idx="6307">
                  <c:v>-2.9212099999999999</c:v>
                </c:pt>
                <c:pt idx="6308">
                  <c:v>-2.9567199999999998</c:v>
                </c:pt>
                <c:pt idx="6309">
                  <c:v>-3.0873200000000001</c:v>
                </c:pt>
                <c:pt idx="6310">
                  <c:v>#N/A</c:v>
                </c:pt>
                <c:pt idx="6311">
                  <c:v>-2.34396</c:v>
                </c:pt>
                <c:pt idx="6312">
                  <c:v>-2.47458</c:v>
                </c:pt>
                <c:pt idx="6313">
                  <c:v>-2.4226100000000002</c:v>
                </c:pt>
                <c:pt idx="6314">
                  <c:v>#N/A</c:v>
                </c:pt>
                <c:pt idx="6315">
                  <c:v>-2.74797</c:v>
                </c:pt>
                <c:pt idx="6316">
                  <c:v>-3.0522399999999998</c:v>
                </c:pt>
                <c:pt idx="6317">
                  <c:v>-3.4873699999999999</c:v>
                </c:pt>
                <c:pt idx="6318">
                  <c:v>#N/A</c:v>
                </c:pt>
                <c:pt idx="6319">
                  <c:v>-3.4904000000000002</c:v>
                </c:pt>
                <c:pt idx="6320">
                  <c:v>-3.14472</c:v>
                </c:pt>
                <c:pt idx="6321">
                  <c:v>#N/A</c:v>
                </c:pt>
                <c:pt idx="6322">
                  <c:v>-2.7522000000000002</c:v>
                </c:pt>
                <c:pt idx="6323">
                  <c:v>-2.5865200000000002</c:v>
                </c:pt>
                <c:pt idx="6324">
                  <c:v>-2.4086599999999998</c:v>
                </c:pt>
                <c:pt idx="6325">
                  <c:v>#N/A</c:v>
                </c:pt>
                <c:pt idx="6326">
                  <c:v>-2.5346700000000002</c:v>
                </c:pt>
                <c:pt idx="6327">
                  <c:v>-2.85805</c:v>
                </c:pt>
                <c:pt idx="6328">
                  <c:v>#N/A</c:v>
                </c:pt>
                <c:pt idx="6329">
                  <c:v>-2.8642599999999998</c:v>
                </c:pt>
                <c:pt idx="6330">
                  <c:v>-3.3609800000000001</c:v>
                </c:pt>
                <c:pt idx="6331">
                  <c:v>#N/A</c:v>
                </c:pt>
                <c:pt idx="6332">
                  <c:v>-2.6208499999999999</c:v>
                </c:pt>
                <c:pt idx="6333">
                  <c:v>-2.40659</c:v>
                </c:pt>
                <c:pt idx="6334">
                  <c:v>#N/A</c:v>
                </c:pt>
                <c:pt idx="6335">
                  <c:v>-1.4584999999999999</c:v>
                </c:pt>
                <c:pt idx="6336">
                  <c:v>-2.4486500000000002</c:v>
                </c:pt>
                <c:pt idx="6337">
                  <c:v>-2.9300299999999999</c:v>
                </c:pt>
                <c:pt idx="6338">
                  <c:v>#N/A</c:v>
                </c:pt>
                <c:pt idx="6339">
                  <c:v>-2.9052199999999999</c:v>
                </c:pt>
                <c:pt idx="6340">
                  <c:v>-3.2460100000000001</c:v>
                </c:pt>
                <c:pt idx="6341">
                  <c:v>-3.2406999999999999</c:v>
                </c:pt>
                <c:pt idx="6342">
                  <c:v>#N/A</c:v>
                </c:pt>
                <c:pt idx="6343">
                  <c:v>-2.7144499999999998</c:v>
                </c:pt>
                <c:pt idx="6344">
                  <c:v>-2.1090499999999999</c:v>
                </c:pt>
                <c:pt idx="6345">
                  <c:v>-1.7237899999999999</c:v>
                </c:pt>
                <c:pt idx="6346">
                  <c:v>#N/A</c:v>
                </c:pt>
                <c:pt idx="6347">
                  <c:v>-1.9845699999999999</c:v>
                </c:pt>
                <c:pt idx="6348">
                  <c:v>-2.6037599999999999</c:v>
                </c:pt>
                <c:pt idx="6349">
                  <c:v>-2.4838499999999999</c:v>
                </c:pt>
                <c:pt idx="6350">
                  <c:v>#N/A</c:v>
                </c:pt>
                <c:pt idx="6351">
                  <c:v>-2.8290099999999998</c:v>
                </c:pt>
                <c:pt idx="6352">
                  <c:v>-2.6165500000000002</c:v>
                </c:pt>
                <c:pt idx="6353">
                  <c:v>-2.8946700000000001</c:v>
                </c:pt>
                <c:pt idx="6354">
                  <c:v>#N/A</c:v>
                </c:pt>
                <c:pt idx="6355">
                  <c:v>-2.1634699999999998</c:v>
                </c:pt>
                <c:pt idx="6356">
                  <c:v>-2.2057600000000002</c:v>
                </c:pt>
                <c:pt idx="6357">
                  <c:v>#N/A</c:v>
                </c:pt>
                <c:pt idx="6358">
                  <c:v>-1.7346600000000001</c:v>
                </c:pt>
                <c:pt idx="6359">
                  <c:v>-2.4514300000000002</c:v>
                </c:pt>
                <c:pt idx="6360">
                  <c:v>-2.968</c:v>
                </c:pt>
                <c:pt idx="6361">
                  <c:v>#N/A</c:v>
                </c:pt>
                <c:pt idx="6362">
                  <c:v>-3.1265399999999999</c:v>
                </c:pt>
                <c:pt idx="6363">
                  <c:v>-2.0007799999999998</c:v>
                </c:pt>
                <c:pt idx="6364">
                  <c:v>-2.1231</c:v>
                </c:pt>
                <c:pt idx="6365">
                  <c:v>#N/A</c:v>
                </c:pt>
                <c:pt idx="6366">
                  <c:v>-2.4156399999999998</c:v>
                </c:pt>
                <c:pt idx="6367">
                  <c:v>-2.5470000000000002</c:v>
                </c:pt>
                <c:pt idx="6368">
                  <c:v>-2.1743000000000001</c:v>
                </c:pt>
                <c:pt idx="6369">
                  <c:v>#N/A</c:v>
                </c:pt>
                <c:pt idx="6370">
                  <c:v>-2.9266000000000001</c:v>
                </c:pt>
                <c:pt idx="6371">
                  <c:v>-2.5126900000000001</c:v>
                </c:pt>
                <c:pt idx="6372">
                  <c:v>#N/A</c:v>
                </c:pt>
                <c:pt idx="6373">
                  <c:v>-2.7360500000000001</c:v>
                </c:pt>
                <c:pt idx="6374">
                  <c:v>-2.6194199999999999</c:v>
                </c:pt>
                <c:pt idx="6375">
                  <c:v>-2.0478499999999999</c:v>
                </c:pt>
                <c:pt idx="6376">
                  <c:v>#N/A</c:v>
                </c:pt>
                <c:pt idx="6377">
                  <c:v>-2.3273299999999999</c:v>
                </c:pt>
                <c:pt idx="6378">
                  <c:v>-2.52834</c:v>
                </c:pt>
                <c:pt idx="6379">
                  <c:v>-2.82484</c:v>
                </c:pt>
                <c:pt idx="6380">
                  <c:v>#N/A</c:v>
                </c:pt>
                <c:pt idx="6381">
                  <c:v>-2.90862</c:v>
                </c:pt>
                <c:pt idx="6382">
                  <c:v>-2.9009399999999999</c:v>
                </c:pt>
                <c:pt idx="6383">
                  <c:v>-3.44651</c:v>
                </c:pt>
                <c:pt idx="6384">
                  <c:v>#N/A</c:v>
                </c:pt>
                <c:pt idx="6385">
                  <c:v>-3.1327799999999999</c:v>
                </c:pt>
                <c:pt idx="6386">
                  <c:v>-2.6449699999999998</c:v>
                </c:pt>
                <c:pt idx="6387">
                  <c:v>-2.1525300000000001</c:v>
                </c:pt>
                <c:pt idx="6388">
                  <c:v>#N/A</c:v>
                </c:pt>
                <c:pt idx="6389">
                  <c:v>-2.2325499999999998</c:v>
                </c:pt>
                <c:pt idx="6390">
                  <c:v>-2.4725299999999999</c:v>
                </c:pt>
                <c:pt idx="6391">
                  <c:v>-3.0242599999999999</c:v>
                </c:pt>
                <c:pt idx="6392">
                  <c:v>#N/A</c:v>
                </c:pt>
                <c:pt idx="6393">
                  <c:v>-3.0672000000000001</c:v>
                </c:pt>
                <c:pt idx="6394">
                  <c:v>-2.49621</c:v>
                </c:pt>
                <c:pt idx="6395">
                  <c:v>#N/A</c:v>
                </c:pt>
                <c:pt idx="6396">
                  <c:v>-2.1964899999999998</c:v>
                </c:pt>
                <c:pt idx="6397">
                  <c:v>-1.8666400000000001</c:v>
                </c:pt>
                <c:pt idx="6398">
                  <c:v>-1.86639</c:v>
                </c:pt>
                <c:pt idx="6399">
                  <c:v>#N/A</c:v>
                </c:pt>
                <c:pt idx="6400">
                  <c:v>-1.90516</c:v>
                </c:pt>
                <c:pt idx="6401">
                  <c:v>-2.7409500000000002</c:v>
                </c:pt>
                <c:pt idx="6402">
                  <c:v>#N/A</c:v>
                </c:pt>
                <c:pt idx="6403">
                  <c:v>-2.7827099999999998</c:v>
                </c:pt>
                <c:pt idx="6404">
                  <c:v>#N/A</c:v>
                </c:pt>
                <c:pt idx="6405">
                  <c:v>-2.6414499999999999</c:v>
                </c:pt>
                <c:pt idx="6406">
                  <c:v>-2.0119600000000002</c:v>
                </c:pt>
                <c:pt idx="6407">
                  <c:v>#N/A</c:v>
                </c:pt>
                <c:pt idx="6408">
                  <c:v>-1.9466300000000001</c:v>
                </c:pt>
                <c:pt idx="6409">
                  <c:v>-1.3971800000000001</c:v>
                </c:pt>
                <c:pt idx="6410">
                  <c:v>-1.9901500000000001</c:v>
                </c:pt>
                <c:pt idx="6411">
                  <c:v>#N/A</c:v>
                </c:pt>
                <c:pt idx="6412">
                  <c:v>-2.6230699999999998</c:v>
                </c:pt>
                <c:pt idx="6413">
                  <c:v>-3.43418</c:v>
                </c:pt>
                <c:pt idx="6414">
                  <c:v>-3.4159099999999998</c:v>
                </c:pt>
                <c:pt idx="6415">
                  <c:v>#N/A</c:v>
                </c:pt>
                <c:pt idx="6416">
                  <c:v>-2.9325000000000001</c:v>
                </c:pt>
                <c:pt idx="6417">
                  <c:v>-2.1877200000000001</c:v>
                </c:pt>
                <c:pt idx="6418">
                  <c:v>-2.2810999999999999</c:v>
                </c:pt>
                <c:pt idx="6419">
                  <c:v>#N/A</c:v>
                </c:pt>
                <c:pt idx="6420">
                  <c:v>-2.5190899999999998</c:v>
                </c:pt>
                <c:pt idx="6421">
                  <c:v>-2.5383300000000002</c:v>
                </c:pt>
                <c:pt idx="6422">
                  <c:v>-3.0296400000000001</c:v>
                </c:pt>
                <c:pt idx="6423">
                  <c:v>#N/A</c:v>
                </c:pt>
                <c:pt idx="6424">
                  <c:v>-3.1350500000000001</c:v>
                </c:pt>
                <c:pt idx="6425">
                  <c:v>-2.9013399999999998</c:v>
                </c:pt>
                <c:pt idx="6426">
                  <c:v>-2.4221599999999999</c:v>
                </c:pt>
                <c:pt idx="6427">
                  <c:v>#N/A</c:v>
                </c:pt>
                <c:pt idx="6428">
                  <c:v>-2.0475400000000001</c:v>
                </c:pt>
                <c:pt idx="6429">
                  <c:v>-1.7928299999999999</c:v>
                </c:pt>
                <c:pt idx="6430">
                  <c:v>-2.54419</c:v>
                </c:pt>
                <c:pt idx="6431">
                  <c:v>#N/A</c:v>
                </c:pt>
                <c:pt idx="6432">
                  <c:v>-2.7444099999999998</c:v>
                </c:pt>
                <c:pt idx="6433">
                  <c:v>-2.74071</c:v>
                </c:pt>
                <c:pt idx="6434">
                  <c:v>#N/A</c:v>
                </c:pt>
                <c:pt idx="6435">
                  <c:v>-2.8599100000000002</c:v>
                </c:pt>
                <c:pt idx="6436">
                  <c:v>-2.2707000000000002</c:v>
                </c:pt>
                <c:pt idx="6437">
                  <c:v>-2.66466</c:v>
                </c:pt>
                <c:pt idx="6438">
                  <c:v>#N/A</c:v>
                </c:pt>
                <c:pt idx="6439">
                  <c:v>-2.49884</c:v>
                </c:pt>
                <c:pt idx="6440">
                  <c:v>-2.2453099999999999</c:v>
                </c:pt>
                <c:pt idx="6441">
                  <c:v>#N/A</c:v>
                </c:pt>
                <c:pt idx="6442">
                  <c:v>-2.8458399999999999</c:v>
                </c:pt>
                <c:pt idx="6443">
                  <c:v>-3.0412400000000002</c:v>
                </c:pt>
                <c:pt idx="6444">
                  <c:v>-2.87622</c:v>
                </c:pt>
                <c:pt idx="6445">
                  <c:v>#N/A</c:v>
                </c:pt>
                <c:pt idx="6446">
                  <c:v>-2.6313200000000001</c:v>
                </c:pt>
                <c:pt idx="6447">
                  <c:v>-2.5066600000000001</c:v>
                </c:pt>
                <c:pt idx="6448">
                  <c:v>-1.8727799999999999</c:v>
                </c:pt>
                <c:pt idx="6449">
                  <c:v>#N/A</c:v>
                </c:pt>
                <c:pt idx="6450">
                  <c:v>-2.1767699999999999</c:v>
                </c:pt>
                <c:pt idx="6451">
                  <c:v>-2.5520399999999999</c:v>
                </c:pt>
                <c:pt idx="6452">
                  <c:v>-2.5600299999999998</c:v>
                </c:pt>
                <c:pt idx="6453">
                  <c:v>#N/A</c:v>
                </c:pt>
                <c:pt idx="6454">
                  <c:v>-2.8752200000000001</c:v>
                </c:pt>
                <c:pt idx="6455">
                  <c:v>-2.8844599999999998</c:v>
                </c:pt>
                <c:pt idx="6456">
                  <c:v>-3.0806300000000002</c:v>
                </c:pt>
                <c:pt idx="6457">
                  <c:v>#N/A</c:v>
                </c:pt>
                <c:pt idx="6458">
                  <c:v>-2.5160499999999999</c:v>
                </c:pt>
                <c:pt idx="6459">
                  <c:v>-2.21069</c:v>
                </c:pt>
                <c:pt idx="6460">
                  <c:v>-2.22587</c:v>
                </c:pt>
                <c:pt idx="6461">
                  <c:v>#N/A</c:v>
                </c:pt>
                <c:pt idx="6462">
                  <c:v>-2.5674100000000002</c:v>
                </c:pt>
                <c:pt idx="6463">
                  <c:v>-2.5891899999999999</c:v>
                </c:pt>
                <c:pt idx="6464">
                  <c:v>-3.0022799999999998</c:v>
                </c:pt>
                <c:pt idx="6465">
                  <c:v>#N/A</c:v>
                </c:pt>
                <c:pt idx="6466">
                  <c:v>-2.89994</c:v>
                </c:pt>
                <c:pt idx="6467">
                  <c:v>-3.1387800000000001</c:v>
                </c:pt>
                <c:pt idx="6468">
                  <c:v>-2.6017399999999999</c:v>
                </c:pt>
                <c:pt idx="6469">
                  <c:v>#N/A</c:v>
                </c:pt>
                <c:pt idx="6470">
                  <c:v>-1.80481</c:v>
                </c:pt>
                <c:pt idx="6471">
                  <c:v>-1.3471200000000001</c:v>
                </c:pt>
                <c:pt idx="6472">
                  <c:v>-1.73844</c:v>
                </c:pt>
                <c:pt idx="6473">
                  <c:v>#N/A</c:v>
                </c:pt>
                <c:pt idx="6474">
                  <c:v>-1.9861800000000001</c:v>
                </c:pt>
                <c:pt idx="6475">
                  <c:v>-3.0143900000000001</c:v>
                </c:pt>
                <c:pt idx="6476">
                  <c:v>#N/A</c:v>
                </c:pt>
                <c:pt idx="6477">
                  <c:v>-3.1510400000000001</c:v>
                </c:pt>
                <c:pt idx="6478">
                  <c:v>-3.13124</c:v>
                </c:pt>
                <c:pt idx="6479">
                  <c:v>#N/A</c:v>
                </c:pt>
                <c:pt idx="6480">
                  <c:v>-2.1838600000000001</c:v>
                </c:pt>
                <c:pt idx="6481">
                  <c:v>-1.8801000000000001</c:v>
                </c:pt>
                <c:pt idx="6482">
                  <c:v>#N/A</c:v>
                </c:pt>
                <c:pt idx="6483">
                  <c:v>-2.3207300000000002</c:v>
                </c:pt>
                <c:pt idx="6484">
                  <c:v>-2.3627899999999999</c:v>
                </c:pt>
                <c:pt idx="6485">
                  <c:v>#N/A</c:v>
                </c:pt>
                <c:pt idx="6486">
                  <c:v>-2.8473099999999998</c:v>
                </c:pt>
                <c:pt idx="6487">
                  <c:v>-2.38374</c:v>
                </c:pt>
                <c:pt idx="6488">
                  <c:v>-2.7380800000000001</c:v>
                </c:pt>
                <c:pt idx="6489">
                  <c:v>#N/A</c:v>
                </c:pt>
                <c:pt idx="6490">
                  <c:v>-2.79366</c:v>
                </c:pt>
                <c:pt idx="6491">
                  <c:v>-2.4136700000000002</c:v>
                </c:pt>
                <c:pt idx="6492">
                  <c:v>-2.1718199999999999</c:v>
                </c:pt>
                <c:pt idx="6493">
                  <c:v>#N/A</c:v>
                </c:pt>
                <c:pt idx="6494">
                  <c:v>-2.19048</c:v>
                </c:pt>
                <c:pt idx="6495">
                  <c:v>-2.0108700000000002</c:v>
                </c:pt>
                <c:pt idx="6496">
                  <c:v>#N/A</c:v>
                </c:pt>
                <c:pt idx="6497">
                  <c:v>-2.5018899999999999</c:v>
                </c:pt>
                <c:pt idx="6498">
                  <c:v>-2.3789400000000001</c:v>
                </c:pt>
                <c:pt idx="6499">
                  <c:v>-2.5681099999999999</c:v>
                </c:pt>
                <c:pt idx="6500">
                  <c:v>#N/A</c:v>
                </c:pt>
                <c:pt idx="6501">
                  <c:v>-2.4982899999999999</c:v>
                </c:pt>
                <c:pt idx="6502">
                  <c:v>-2.5389400000000002</c:v>
                </c:pt>
                <c:pt idx="6503">
                  <c:v>-2.6897600000000002</c:v>
                </c:pt>
                <c:pt idx="6504">
                  <c:v>#N/A</c:v>
                </c:pt>
                <c:pt idx="6505">
                  <c:v>-2.32273</c:v>
                </c:pt>
                <c:pt idx="6506">
                  <c:v>-3.04711</c:v>
                </c:pt>
                <c:pt idx="6507">
                  <c:v>#N/A</c:v>
                </c:pt>
                <c:pt idx="6508">
                  <c:v>-2.91194</c:v>
                </c:pt>
                <c:pt idx="6509">
                  <c:v>-2.4847100000000002</c:v>
                </c:pt>
                <c:pt idx="6510">
                  <c:v>-2.1203599999999998</c:v>
                </c:pt>
                <c:pt idx="6511">
                  <c:v>#N/A</c:v>
                </c:pt>
                <c:pt idx="6512">
                  <c:v>-2.43492</c:v>
                </c:pt>
                <c:pt idx="6513">
                  <c:v>-2.1192500000000001</c:v>
                </c:pt>
                <c:pt idx="6514">
                  <c:v>#N/A</c:v>
                </c:pt>
                <c:pt idx="6515">
                  <c:v>-1.8884399999999999</c:v>
                </c:pt>
                <c:pt idx="6516">
                  <c:v>-2.5797500000000002</c:v>
                </c:pt>
                <c:pt idx="6517">
                  <c:v>-2.5729700000000002</c:v>
                </c:pt>
                <c:pt idx="6518">
                  <c:v>#N/A</c:v>
                </c:pt>
                <c:pt idx="6519">
                  <c:v>-2.6635200000000001</c:v>
                </c:pt>
                <c:pt idx="6520">
                  <c:v>-1.91848</c:v>
                </c:pt>
                <c:pt idx="6521">
                  <c:v>-2.6193300000000002</c:v>
                </c:pt>
                <c:pt idx="6522">
                  <c:v>#N/A</c:v>
                </c:pt>
                <c:pt idx="6523">
                  <c:v>-1.9891399999999999</c:v>
                </c:pt>
                <c:pt idx="6524">
                  <c:v>-2.4244500000000002</c:v>
                </c:pt>
                <c:pt idx="6525">
                  <c:v>-2.87208</c:v>
                </c:pt>
                <c:pt idx="6526">
                  <c:v>#N/A</c:v>
                </c:pt>
                <c:pt idx="6527">
                  <c:v>-2.5897999999999999</c:v>
                </c:pt>
                <c:pt idx="6528">
                  <c:v>-3.0750799999999998</c:v>
                </c:pt>
                <c:pt idx="6529">
                  <c:v>-2.7850299999999999</c:v>
                </c:pt>
                <c:pt idx="6530">
                  <c:v>#N/A</c:v>
                </c:pt>
                <c:pt idx="6531">
                  <c:v>-2.54813</c:v>
                </c:pt>
                <c:pt idx="6532">
                  <c:v>-2.0047899999999998</c:v>
                </c:pt>
                <c:pt idx="6533">
                  <c:v>-1.9978100000000001</c:v>
                </c:pt>
                <c:pt idx="6534">
                  <c:v>#N/A</c:v>
                </c:pt>
                <c:pt idx="6535">
                  <c:v>-1.9477500000000001</c:v>
                </c:pt>
                <c:pt idx="6536">
                  <c:v>-2.6836500000000001</c:v>
                </c:pt>
                <c:pt idx="6537">
                  <c:v>#N/A</c:v>
                </c:pt>
                <c:pt idx="6538">
                  <c:v>-3.0884800000000001</c:v>
                </c:pt>
                <c:pt idx="6539">
                  <c:v>-3.1785299999999999</c:v>
                </c:pt>
                <c:pt idx="6540">
                  <c:v>-2.9194</c:v>
                </c:pt>
                <c:pt idx="6541">
                  <c:v>#N/A</c:v>
                </c:pt>
                <c:pt idx="6542">
                  <c:v>-2.8316699999999999</c:v>
                </c:pt>
                <c:pt idx="6543">
                  <c:v>-2.5505599999999999</c:v>
                </c:pt>
                <c:pt idx="6544">
                  <c:v>-1.9644999999999999</c:v>
                </c:pt>
                <c:pt idx="6545">
                  <c:v>#N/A</c:v>
                </c:pt>
                <c:pt idx="6546">
                  <c:v>-2.3144399999999998</c:v>
                </c:pt>
                <c:pt idx="6547">
                  <c:v>-2.55348</c:v>
                </c:pt>
                <c:pt idx="6548">
                  <c:v>-3.2168700000000001</c:v>
                </c:pt>
                <c:pt idx="6549">
                  <c:v>#N/A</c:v>
                </c:pt>
                <c:pt idx="6550">
                  <c:v>-3.0865999999999998</c:v>
                </c:pt>
                <c:pt idx="6551">
                  <c:v>-2.6396299999999999</c:v>
                </c:pt>
                <c:pt idx="6552">
                  <c:v>#N/A</c:v>
                </c:pt>
                <c:pt idx="6553">
                  <c:v>-1.74919</c:v>
                </c:pt>
                <c:pt idx="6554">
                  <c:v>-1.5067900000000001</c:v>
                </c:pt>
                <c:pt idx="6555">
                  <c:v>#N/A</c:v>
                </c:pt>
                <c:pt idx="6556">
                  <c:v>-1.47966</c:v>
                </c:pt>
                <c:pt idx="6557">
                  <c:v>-2.0448</c:v>
                </c:pt>
                <c:pt idx="6558">
                  <c:v>#N/A</c:v>
                </c:pt>
                <c:pt idx="6559">
                  <c:v>-2.7030699999999999</c:v>
                </c:pt>
                <c:pt idx="6560">
                  <c:v>-2.7748300000000001</c:v>
                </c:pt>
                <c:pt idx="6561">
                  <c:v>-2.8656100000000002</c:v>
                </c:pt>
                <c:pt idx="6562">
                  <c:v>#N/A</c:v>
                </c:pt>
                <c:pt idx="6563">
                  <c:v>-2.7876300000000001</c:v>
                </c:pt>
                <c:pt idx="6564">
                  <c:v>-2.35989</c:v>
                </c:pt>
                <c:pt idx="6565">
                  <c:v>-1.84999</c:v>
                </c:pt>
                <c:pt idx="6566">
                  <c:v>#N/A</c:v>
                </c:pt>
                <c:pt idx="6567">
                  <c:v>-2.1188199999999999</c:v>
                </c:pt>
                <c:pt idx="6568">
                  <c:v>-2.7004299999999999</c:v>
                </c:pt>
                <c:pt idx="6569">
                  <c:v>-3.1879400000000002</c:v>
                </c:pt>
                <c:pt idx="6570">
                  <c:v>#N/A</c:v>
                </c:pt>
                <c:pt idx="6571">
                  <c:v>-3.1766800000000002</c:v>
                </c:pt>
                <c:pt idx="6572">
                  <c:v>-2.8072300000000001</c:v>
                </c:pt>
                <c:pt idx="6573">
                  <c:v>-2.26708</c:v>
                </c:pt>
                <c:pt idx="6574">
                  <c:v>#N/A</c:v>
                </c:pt>
                <c:pt idx="6575">
                  <c:v>-2.1229499999999999</c:v>
                </c:pt>
                <c:pt idx="6576">
                  <c:v>-2.6100699999999999</c:v>
                </c:pt>
                <c:pt idx="6577">
                  <c:v>-1.6014999999999999</c:v>
                </c:pt>
                <c:pt idx="6578">
                  <c:v>#N/A</c:v>
                </c:pt>
                <c:pt idx="6579">
                  <c:v>-2.0862099999999999</c:v>
                </c:pt>
                <c:pt idx="6580">
                  <c:v>-2.5708299999999999</c:v>
                </c:pt>
                <c:pt idx="6581">
                  <c:v>-2.9209900000000002</c:v>
                </c:pt>
                <c:pt idx="6582">
                  <c:v>#N/A</c:v>
                </c:pt>
                <c:pt idx="6583">
                  <c:v>-2.9739</c:v>
                </c:pt>
                <c:pt idx="6584">
                  <c:v>-2.1748699999999999</c:v>
                </c:pt>
                <c:pt idx="6585">
                  <c:v>#N/A</c:v>
                </c:pt>
                <c:pt idx="6586">
                  <c:v>-2.0114100000000001</c:v>
                </c:pt>
                <c:pt idx="6587">
                  <c:v>-2.3647900000000002</c:v>
                </c:pt>
                <c:pt idx="6588">
                  <c:v>-2.3126099999999998</c:v>
                </c:pt>
                <c:pt idx="6589">
                  <c:v>#N/A</c:v>
                </c:pt>
                <c:pt idx="6590">
                  <c:v>-2.3155399999999999</c:v>
                </c:pt>
                <c:pt idx="6591">
                  <c:v>-2.5203700000000002</c:v>
                </c:pt>
                <c:pt idx="6592">
                  <c:v>-2.5228000000000002</c:v>
                </c:pt>
                <c:pt idx="6593">
                  <c:v>#N/A</c:v>
                </c:pt>
                <c:pt idx="6594">
                  <c:v>-2.25177</c:v>
                </c:pt>
                <c:pt idx="6595">
                  <c:v>-1.35788</c:v>
                </c:pt>
                <c:pt idx="6596">
                  <c:v>-1.6111800000000001</c:v>
                </c:pt>
                <c:pt idx="6597">
                  <c:v>#N/A</c:v>
                </c:pt>
                <c:pt idx="6598">
                  <c:v>-1.43859</c:v>
                </c:pt>
                <c:pt idx="6599">
                  <c:v>-2.5384000000000002</c:v>
                </c:pt>
                <c:pt idx="6600">
                  <c:v>#N/A</c:v>
                </c:pt>
                <c:pt idx="6601">
                  <c:v>-2.9802</c:v>
                </c:pt>
                <c:pt idx="6602">
                  <c:v>-2.2979099999999999</c:v>
                </c:pt>
                <c:pt idx="6603">
                  <c:v>-1.9488099999999999</c:v>
                </c:pt>
                <c:pt idx="6604">
                  <c:v>#N/A</c:v>
                </c:pt>
                <c:pt idx="6605">
                  <c:v>-1.9189000000000001</c:v>
                </c:pt>
                <c:pt idx="6606">
                  <c:v>-2.2956599999999998</c:v>
                </c:pt>
                <c:pt idx="6607">
                  <c:v>#N/A</c:v>
                </c:pt>
                <c:pt idx="6608">
                  <c:v>-2.3182700000000001</c:v>
                </c:pt>
                <c:pt idx="6609">
                  <c:v>-2.5464699999999998</c:v>
                </c:pt>
                <c:pt idx="6610">
                  <c:v>-2.7646899999999999</c:v>
                </c:pt>
                <c:pt idx="6611">
                  <c:v>#N/A</c:v>
                </c:pt>
                <c:pt idx="6612">
                  <c:v>-3.4402699999999999</c:v>
                </c:pt>
                <c:pt idx="6613">
                  <c:v>-3.3872900000000001</c:v>
                </c:pt>
                <c:pt idx="6614">
                  <c:v>-2.6773199999999999</c:v>
                </c:pt>
                <c:pt idx="6615">
                  <c:v>#N/A</c:v>
                </c:pt>
                <c:pt idx="6616">
                  <c:v>-2.3650000000000002</c:v>
                </c:pt>
                <c:pt idx="6617">
                  <c:v>-1.5894900000000001</c:v>
                </c:pt>
                <c:pt idx="6618">
                  <c:v>-2.0771899999999999</c:v>
                </c:pt>
                <c:pt idx="6619">
                  <c:v>#N/A</c:v>
                </c:pt>
                <c:pt idx="6620">
                  <c:v>-1.7983499999999999</c:v>
                </c:pt>
                <c:pt idx="6621">
                  <c:v>-2.1861000000000002</c:v>
                </c:pt>
                <c:pt idx="6622">
                  <c:v>-3.01159</c:v>
                </c:pt>
                <c:pt idx="6623">
                  <c:v>#N/A</c:v>
                </c:pt>
                <c:pt idx="6624">
                  <c:v>-3.0098500000000001</c:v>
                </c:pt>
                <c:pt idx="6625">
                  <c:v>-2.8010899999999999</c:v>
                </c:pt>
                <c:pt idx="6626">
                  <c:v>-1.80905</c:v>
                </c:pt>
                <c:pt idx="6627">
                  <c:v>#N/A</c:v>
                </c:pt>
                <c:pt idx="6628">
                  <c:v>-2.1408</c:v>
                </c:pt>
                <c:pt idx="6629">
                  <c:v>#N/A</c:v>
                </c:pt>
                <c:pt idx="6630">
                  <c:v>-1.9489799999999999</c:v>
                </c:pt>
                <c:pt idx="6631">
                  <c:v>-2.6314099999999998</c:v>
                </c:pt>
                <c:pt idx="6632">
                  <c:v>#N/A</c:v>
                </c:pt>
                <c:pt idx="6633">
                  <c:v>-2.9306299999999998</c:v>
                </c:pt>
                <c:pt idx="6634">
                  <c:v>-3.1078999999999999</c:v>
                </c:pt>
                <c:pt idx="6635">
                  <c:v>#N/A</c:v>
                </c:pt>
                <c:pt idx="6636">
                  <c:v>-2.99234</c:v>
                </c:pt>
                <c:pt idx="6637">
                  <c:v>-2.2995299999999999</c:v>
                </c:pt>
                <c:pt idx="6638">
                  <c:v>-1.4289000000000001</c:v>
                </c:pt>
                <c:pt idx="6639">
                  <c:v>#N/A</c:v>
                </c:pt>
                <c:pt idx="6640">
                  <c:v>-1.8168200000000001</c:v>
                </c:pt>
                <c:pt idx="6641">
                  <c:v>-2.57606</c:v>
                </c:pt>
                <c:pt idx="6642">
                  <c:v>-2.9364300000000001</c:v>
                </c:pt>
                <c:pt idx="6643">
                  <c:v>#N/A</c:v>
                </c:pt>
                <c:pt idx="6644">
                  <c:v>-3.17</c:v>
                </c:pt>
                <c:pt idx="6645">
                  <c:v>-3.3431999999999999</c:v>
                </c:pt>
                <c:pt idx="6646">
                  <c:v>-2.7489599999999998</c:v>
                </c:pt>
                <c:pt idx="6647">
                  <c:v>#N/A</c:v>
                </c:pt>
                <c:pt idx="6648">
                  <c:v>-2.6705800000000002</c:v>
                </c:pt>
                <c:pt idx="6649">
                  <c:v>-1.91696</c:v>
                </c:pt>
                <c:pt idx="6650">
                  <c:v>-1.6116699999999999</c:v>
                </c:pt>
                <c:pt idx="6651">
                  <c:v>#N/A</c:v>
                </c:pt>
                <c:pt idx="6652">
                  <c:v>-2.2527699999999999</c:v>
                </c:pt>
                <c:pt idx="6653">
                  <c:v>-2.32402</c:v>
                </c:pt>
                <c:pt idx="6654">
                  <c:v>#N/A</c:v>
                </c:pt>
                <c:pt idx="6655">
                  <c:v>-3.0232199999999998</c:v>
                </c:pt>
                <c:pt idx="6656">
                  <c:v>-2.71509</c:v>
                </c:pt>
                <c:pt idx="6657">
                  <c:v>-2.0968599999999999</c:v>
                </c:pt>
                <c:pt idx="6658">
                  <c:v>#N/A</c:v>
                </c:pt>
                <c:pt idx="6659">
                  <c:v>-2.2216499999999999</c:v>
                </c:pt>
                <c:pt idx="6660">
                  <c:v>-2.1668599999999998</c:v>
                </c:pt>
                <c:pt idx="6661">
                  <c:v>-2.2059000000000002</c:v>
                </c:pt>
                <c:pt idx="6662">
                  <c:v>#N/A</c:v>
                </c:pt>
                <c:pt idx="6663">
                  <c:v>-2.1699600000000001</c:v>
                </c:pt>
                <c:pt idx="6664">
                  <c:v>-2.3426499999999999</c:v>
                </c:pt>
                <c:pt idx="6665">
                  <c:v>-2.3235800000000002</c:v>
                </c:pt>
                <c:pt idx="6666">
                  <c:v>#N/A</c:v>
                </c:pt>
                <c:pt idx="6667">
                  <c:v>-1.90838</c:v>
                </c:pt>
                <c:pt idx="6668">
                  <c:v>-1.9730700000000001</c:v>
                </c:pt>
                <c:pt idx="6669">
                  <c:v>-2.4734600000000002</c:v>
                </c:pt>
                <c:pt idx="6670">
                  <c:v>#N/A</c:v>
                </c:pt>
                <c:pt idx="6671">
                  <c:v>-3.2861899999999999</c:v>
                </c:pt>
                <c:pt idx="6672">
                  <c:v>-3.2427800000000002</c:v>
                </c:pt>
                <c:pt idx="6673">
                  <c:v>-3.0135999999999998</c:v>
                </c:pt>
                <c:pt idx="6674">
                  <c:v>#N/A</c:v>
                </c:pt>
                <c:pt idx="6675">
                  <c:v>-2.7946499999999999</c:v>
                </c:pt>
                <c:pt idx="6676">
                  <c:v>-2.4704799999999998</c:v>
                </c:pt>
                <c:pt idx="6677">
                  <c:v>#N/A</c:v>
                </c:pt>
                <c:pt idx="6678">
                  <c:v>-2.09795</c:v>
                </c:pt>
                <c:pt idx="6679">
                  <c:v>-2.0535000000000001</c:v>
                </c:pt>
                <c:pt idx="6680">
                  <c:v>-1.79145</c:v>
                </c:pt>
                <c:pt idx="6681">
                  <c:v>#N/A</c:v>
                </c:pt>
                <c:pt idx="6682">
                  <c:v>-1.9976499999999999</c:v>
                </c:pt>
                <c:pt idx="6683">
                  <c:v>-3.30748</c:v>
                </c:pt>
                <c:pt idx="6684">
                  <c:v>-3.2776999999999998</c:v>
                </c:pt>
                <c:pt idx="6685">
                  <c:v>#N/A</c:v>
                </c:pt>
                <c:pt idx="6686">
                  <c:v>-2.8080699999999998</c:v>
                </c:pt>
                <c:pt idx="6687">
                  <c:v>-2.4760499999999999</c:v>
                </c:pt>
                <c:pt idx="6688">
                  <c:v>-2.3044500000000001</c:v>
                </c:pt>
                <c:pt idx="6689">
                  <c:v>#N/A</c:v>
                </c:pt>
                <c:pt idx="6690">
                  <c:v>-1.5325500000000001</c:v>
                </c:pt>
                <c:pt idx="6691">
                  <c:v>-1.82</c:v>
                </c:pt>
                <c:pt idx="6692">
                  <c:v>-1.8154999999999999</c:v>
                </c:pt>
                <c:pt idx="6693">
                  <c:v>#N/A</c:v>
                </c:pt>
                <c:pt idx="6694">
                  <c:v>-2.7986599999999999</c:v>
                </c:pt>
                <c:pt idx="6695">
                  <c:v>-3.3358300000000001</c:v>
                </c:pt>
                <c:pt idx="6696">
                  <c:v>-3.4093900000000001</c:v>
                </c:pt>
                <c:pt idx="6697">
                  <c:v>#N/A</c:v>
                </c:pt>
                <c:pt idx="6698">
                  <c:v>-2.53931</c:v>
                </c:pt>
                <c:pt idx="6699">
                  <c:v>-1.48427</c:v>
                </c:pt>
                <c:pt idx="6700">
                  <c:v>-1.64923</c:v>
                </c:pt>
                <c:pt idx="6701">
                  <c:v>#N/A</c:v>
                </c:pt>
                <c:pt idx="6702">
                  <c:v>-1.9792400000000001</c:v>
                </c:pt>
                <c:pt idx="6703">
                  <c:v>-1.96126</c:v>
                </c:pt>
                <c:pt idx="6704">
                  <c:v>#N/A</c:v>
                </c:pt>
                <c:pt idx="6705">
                  <c:v>-2.6543399999999999</c:v>
                </c:pt>
                <c:pt idx="6706">
                  <c:v>-3.18729</c:v>
                </c:pt>
                <c:pt idx="6707">
                  <c:v>-2.9773000000000001</c:v>
                </c:pt>
                <c:pt idx="6708">
                  <c:v>#N/A</c:v>
                </c:pt>
                <c:pt idx="6709">
                  <c:v>-2.7878500000000002</c:v>
                </c:pt>
                <c:pt idx="6710">
                  <c:v>-1.8138799999999999</c:v>
                </c:pt>
                <c:pt idx="6711">
                  <c:v>-1.58328</c:v>
                </c:pt>
                <c:pt idx="6712">
                  <c:v>#N/A</c:v>
                </c:pt>
                <c:pt idx="6713">
                  <c:v>-1.43956</c:v>
                </c:pt>
                <c:pt idx="6714">
                  <c:v>-1.9311700000000001</c:v>
                </c:pt>
                <c:pt idx="6715">
                  <c:v>-2.43526</c:v>
                </c:pt>
                <c:pt idx="6716">
                  <c:v>#N/A</c:v>
                </c:pt>
                <c:pt idx="6717">
                  <c:v>-2.7471199999999998</c:v>
                </c:pt>
                <c:pt idx="6718">
                  <c:v>-2.4699499999999999</c:v>
                </c:pt>
                <c:pt idx="6719">
                  <c:v>-2.4782000000000002</c:v>
                </c:pt>
                <c:pt idx="6720">
                  <c:v>#N/A</c:v>
                </c:pt>
                <c:pt idx="6721">
                  <c:v>-2.1142099999999999</c:v>
                </c:pt>
                <c:pt idx="6722">
                  <c:v>-1.6470899999999999</c:v>
                </c:pt>
                <c:pt idx="6723">
                  <c:v>-1.7060500000000001</c:v>
                </c:pt>
                <c:pt idx="6724">
                  <c:v>#N/A</c:v>
                </c:pt>
                <c:pt idx="6725">
                  <c:v>-2.0092500000000002</c:v>
                </c:pt>
                <c:pt idx="6726">
                  <c:v>-2.69543</c:v>
                </c:pt>
                <c:pt idx="6727">
                  <c:v>-2.63897</c:v>
                </c:pt>
                <c:pt idx="6728">
                  <c:v>#N/A</c:v>
                </c:pt>
                <c:pt idx="6729">
                  <c:v>-2.47227</c:v>
                </c:pt>
                <c:pt idx="6730">
                  <c:v>-2.3151099999999998</c:v>
                </c:pt>
                <c:pt idx="6731">
                  <c:v>#N/A</c:v>
                </c:pt>
                <c:pt idx="6732">
                  <c:v>-2.25387</c:v>
                </c:pt>
                <c:pt idx="6733">
                  <c:v>-2.43106</c:v>
                </c:pt>
                <c:pt idx="6734">
                  <c:v>-2.1603300000000001</c:v>
                </c:pt>
                <c:pt idx="6735">
                  <c:v>#N/A</c:v>
                </c:pt>
                <c:pt idx="6736">
                  <c:v>#N/A</c:v>
                </c:pt>
                <c:pt idx="6737">
                  <c:v>-2.5894200000000001</c:v>
                </c:pt>
                <c:pt idx="6738">
                  <c:v>#N/A</c:v>
                </c:pt>
                <c:pt idx="6739">
                  <c:v>-2.7521800000000001</c:v>
                </c:pt>
                <c:pt idx="6740">
                  <c:v>-2.13564</c:v>
                </c:pt>
                <c:pt idx="6741">
                  <c:v>-1.5418000000000001</c:v>
                </c:pt>
                <c:pt idx="6742">
                  <c:v>#N/A</c:v>
                </c:pt>
                <c:pt idx="6743">
                  <c:v>-1.55237</c:v>
                </c:pt>
                <c:pt idx="6744">
                  <c:v>-2.25257</c:v>
                </c:pt>
                <c:pt idx="6745">
                  <c:v>-2.42353</c:v>
                </c:pt>
                <c:pt idx="6746">
                  <c:v>#N/A</c:v>
                </c:pt>
                <c:pt idx="6747">
                  <c:v>-2.5715300000000001</c:v>
                </c:pt>
                <c:pt idx="6748">
                  <c:v>-2.2068400000000001</c:v>
                </c:pt>
                <c:pt idx="6749">
                  <c:v>-2.5251700000000001</c:v>
                </c:pt>
                <c:pt idx="6750">
                  <c:v>#N/A</c:v>
                </c:pt>
                <c:pt idx="6751">
                  <c:v>-2.3974000000000002</c:v>
                </c:pt>
                <c:pt idx="6752">
                  <c:v>-2.13483</c:v>
                </c:pt>
                <c:pt idx="6753">
                  <c:v>-2.5460699999999998</c:v>
                </c:pt>
                <c:pt idx="6754">
                  <c:v>#N/A</c:v>
                </c:pt>
                <c:pt idx="6755">
                  <c:v>-2.2359399999999998</c:v>
                </c:pt>
                <c:pt idx="6756">
                  <c:v>-2.7663000000000002</c:v>
                </c:pt>
                <c:pt idx="6757">
                  <c:v>-3.1373099999999998</c:v>
                </c:pt>
                <c:pt idx="6758">
                  <c:v>#N/A</c:v>
                </c:pt>
                <c:pt idx="6759">
                  <c:v>-2.9855900000000002</c:v>
                </c:pt>
                <c:pt idx="6760">
                  <c:v>-2.1555</c:v>
                </c:pt>
                <c:pt idx="6761">
                  <c:v>-2.4993799999999999</c:v>
                </c:pt>
                <c:pt idx="6762">
                  <c:v>#N/A</c:v>
                </c:pt>
                <c:pt idx="6763">
                  <c:v>-2.4570099999999999</c:v>
                </c:pt>
                <c:pt idx="6764">
                  <c:v>-2.3936899999999999</c:v>
                </c:pt>
                <c:pt idx="6765">
                  <c:v>-2.3260999999999998</c:v>
                </c:pt>
                <c:pt idx="6766">
                  <c:v>#N/A</c:v>
                </c:pt>
                <c:pt idx="6767">
                  <c:v>-2.8432900000000001</c:v>
                </c:pt>
                <c:pt idx="6768">
                  <c:v>-2.66797</c:v>
                </c:pt>
                <c:pt idx="6769">
                  <c:v>-2.6720999999999999</c:v>
                </c:pt>
                <c:pt idx="6770">
                  <c:v>#N/A</c:v>
                </c:pt>
                <c:pt idx="6771">
                  <c:v>-1.8849400000000001</c:v>
                </c:pt>
                <c:pt idx="6772">
                  <c:v>-1.50024</c:v>
                </c:pt>
                <c:pt idx="6773">
                  <c:v>#N/A</c:v>
                </c:pt>
                <c:pt idx="6774">
                  <c:v>-1.48421</c:v>
                </c:pt>
                <c:pt idx="6775">
                  <c:v>-1.8217300000000001</c:v>
                </c:pt>
                <c:pt idx="6776">
                  <c:v>-1.95713</c:v>
                </c:pt>
                <c:pt idx="6777">
                  <c:v>#N/A</c:v>
                </c:pt>
                <c:pt idx="6778">
                  <c:v>-2.1939199999999999</c:v>
                </c:pt>
                <c:pt idx="6779">
                  <c:v>-2.99885</c:v>
                </c:pt>
                <c:pt idx="6780">
                  <c:v>-3.0473599999999998</c:v>
                </c:pt>
                <c:pt idx="6781">
                  <c:v>#N/A</c:v>
                </c:pt>
                <c:pt idx="6782">
                  <c:v>-2.8442400000000001</c:v>
                </c:pt>
                <c:pt idx="6783">
                  <c:v>-2.3546100000000001</c:v>
                </c:pt>
                <c:pt idx="6784">
                  <c:v>-1.69041</c:v>
                </c:pt>
                <c:pt idx="6785">
                  <c:v>#N/A</c:v>
                </c:pt>
                <c:pt idx="6786">
                  <c:v>-1.6999500000000001</c:v>
                </c:pt>
                <c:pt idx="6787">
                  <c:v>-2.3730199999999999</c:v>
                </c:pt>
                <c:pt idx="6788">
                  <c:v>#N/A</c:v>
                </c:pt>
                <c:pt idx="6789">
                  <c:v>-2.3291300000000001</c:v>
                </c:pt>
                <c:pt idx="6790">
                  <c:v>-2.8943699999999999</c:v>
                </c:pt>
                <c:pt idx="6791">
                  <c:v>-2.97017</c:v>
                </c:pt>
                <c:pt idx="6792">
                  <c:v>#N/A</c:v>
                </c:pt>
                <c:pt idx="6793">
                  <c:v>-3.0596100000000002</c:v>
                </c:pt>
                <c:pt idx="6794">
                  <c:v>-2.0249799999999998</c:v>
                </c:pt>
                <c:pt idx="6795">
                  <c:v>-1.33667</c:v>
                </c:pt>
                <c:pt idx="6796">
                  <c:v>#N/A</c:v>
                </c:pt>
                <c:pt idx="6797">
                  <c:v>-1.0298400000000001</c:v>
                </c:pt>
                <c:pt idx="6798">
                  <c:v>-1.9040600000000001</c:v>
                </c:pt>
                <c:pt idx="6799">
                  <c:v>-2.2515499999999999</c:v>
                </c:pt>
                <c:pt idx="6800">
                  <c:v>#N/A</c:v>
                </c:pt>
                <c:pt idx="6801">
                  <c:v>-2.03626</c:v>
                </c:pt>
                <c:pt idx="6802">
                  <c:v>-2.3144300000000002</c:v>
                </c:pt>
                <c:pt idx="6803">
                  <c:v>-2.2837800000000001</c:v>
                </c:pt>
                <c:pt idx="6804">
                  <c:v>#N/A</c:v>
                </c:pt>
                <c:pt idx="6805">
                  <c:v>-2.6184699999999999</c:v>
                </c:pt>
                <c:pt idx="6806">
                  <c:v>-2.2102499999999998</c:v>
                </c:pt>
                <c:pt idx="6807">
                  <c:v>-1.9260699999999999</c:v>
                </c:pt>
                <c:pt idx="6808">
                  <c:v>#N/A</c:v>
                </c:pt>
                <c:pt idx="6809">
                  <c:v>-1.95394</c:v>
                </c:pt>
                <c:pt idx="6810">
                  <c:v>-3.0536699999999999</c:v>
                </c:pt>
                <c:pt idx="6811">
                  <c:v>#N/A</c:v>
                </c:pt>
                <c:pt idx="6812">
                  <c:v>-2.8268499999999999</c:v>
                </c:pt>
                <c:pt idx="6813">
                  <c:v>-2.9149799999999999</c:v>
                </c:pt>
                <c:pt idx="6814">
                  <c:v>-2.72227</c:v>
                </c:pt>
                <c:pt idx="6815">
                  <c:v>#N/A</c:v>
                </c:pt>
                <c:pt idx="6816">
                  <c:v>-2.14893</c:v>
                </c:pt>
                <c:pt idx="6817">
                  <c:v>-2.4571200000000002</c:v>
                </c:pt>
                <c:pt idx="6818">
                  <c:v>-2.1692999999999998</c:v>
                </c:pt>
                <c:pt idx="6819">
                  <c:v>#N/A</c:v>
                </c:pt>
                <c:pt idx="6820">
                  <c:v>-2.1394799999999998</c:v>
                </c:pt>
                <c:pt idx="6821">
                  <c:v>-2.4400400000000002</c:v>
                </c:pt>
                <c:pt idx="6822">
                  <c:v>-2.01423</c:v>
                </c:pt>
                <c:pt idx="6823">
                  <c:v>#N/A</c:v>
                </c:pt>
                <c:pt idx="6824">
                  <c:v>-1.99874</c:v>
                </c:pt>
                <c:pt idx="6825">
                  <c:v>-1.85703</c:v>
                </c:pt>
                <c:pt idx="6826">
                  <c:v>-1.5363</c:v>
                </c:pt>
                <c:pt idx="6827">
                  <c:v>#N/A</c:v>
                </c:pt>
                <c:pt idx="6828">
                  <c:v>-2.2916599999999998</c:v>
                </c:pt>
                <c:pt idx="6829">
                  <c:v>-2.57429</c:v>
                </c:pt>
                <c:pt idx="6830">
                  <c:v>-2.4584800000000002</c:v>
                </c:pt>
                <c:pt idx="6831">
                  <c:v>#N/A</c:v>
                </c:pt>
                <c:pt idx="6832">
                  <c:v>-2.7205300000000001</c:v>
                </c:pt>
                <c:pt idx="6833">
                  <c:v>-2.6311</c:v>
                </c:pt>
                <c:pt idx="6834">
                  <c:v>-2.1322199999999998</c:v>
                </c:pt>
                <c:pt idx="6835">
                  <c:v>#N/A</c:v>
                </c:pt>
                <c:pt idx="6836">
                  <c:v>-2.0268000000000002</c:v>
                </c:pt>
                <c:pt idx="6837">
                  <c:v>-1.7506699999999999</c:v>
                </c:pt>
                <c:pt idx="6838">
                  <c:v>-1.8922399999999999</c:v>
                </c:pt>
                <c:pt idx="6839">
                  <c:v>#N/A</c:v>
                </c:pt>
                <c:pt idx="6840">
                  <c:v>-2.9918999999999998</c:v>
                </c:pt>
                <c:pt idx="6841">
                  <c:v>-3.4514900000000002</c:v>
                </c:pt>
                <c:pt idx="6842">
                  <c:v>#N/A</c:v>
                </c:pt>
                <c:pt idx="6843">
                  <c:v>-3.3338100000000002</c:v>
                </c:pt>
                <c:pt idx="6844">
                  <c:v>-2.7703899999999999</c:v>
                </c:pt>
                <c:pt idx="6845">
                  <c:v>-1.74644</c:v>
                </c:pt>
                <c:pt idx="6846">
                  <c:v>#N/A</c:v>
                </c:pt>
                <c:pt idx="6847">
                  <c:v>-1.4654400000000001</c:v>
                </c:pt>
                <c:pt idx="6848">
                  <c:v>-1.45383</c:v>
                </c:pt>
                <c:pt idx="6849">
                  <c:v>-1.92276</c:v>
                </c:pt>
                <c:pt idx="6850">
                  <c:v>#N/A</c:v>
                </c:pt>
                <c:pt idx="6851">
                  <c:v>-2.2513200000000002</c:v>
                </c:pt>
                <c:pt idx="6852">
                  <c:v>-3.27467</c:v>
                </c:pt>
                <c:pt idx="6853">
                  <c:v>#N/A</c:v>
                </c:pt>
                <c:pt idx="6854">
                  <c:v>-3.1371000000000002</c:v>
                </c:pt>
                <c:pt idx="6855">
                  <c:v>#N/A</c:v>
                </c:pt>
                <c:pt idx="6856">
                  <c:v>-2.32443</c:v>
                </c:pt>
                <c:pt idx="6857">
                  <c:v>-2.1636799999999998</c:v>
                </c:pt>
                <c:pt idx="6858">
                  <c:v>-1.4992700000000001</c:v>
                </c:pt>
                <c:pt idx="6859">
                  <c:v>#N/A</c:v>
                </c:pt>
                <c:pt idx="6860">
                  <c:v>-2.02624</c:v>
                </c:pt>
                <c:pt idx="6861">
                  <c:v>-2.7189999999999999</c:v>
                </c:pt>
                <c:pt idx="6862">
                  <c:v>-2.8830300000000002</c:v>
                </c:pt>
                <c:pt idx="6863">
                  <c:v>#N/A</c:v>
                </c:pt>
                <c:pt idx="6864">
                  <c:v>-3.3615300000000001</c:v>
                </c:pt>
                <c:pt idx="6865">
                  <c:v>-3.4930300000000001</c:v>
                </c:pt>
                <c:pt idx="6866">
                  <c:v>-2.4313400000000001</c:v>
                </c:pt>
                <c:pt idx="6867">
                  <c:v>#N/A</c:v>
                </c:pt>
                <c:pt idx="6868">
                  <c:v>-2.0792700000000002</c:v>
                </c:pt>
                <c:pt idx="6869">
                  <c:v>-2.1577199999999999</c:v>
                </c:pt>
                <c:pt idx="6870">
                  <c:v>#N/A</c:v>
                </c:pt>
                <c:pt idx="6871">
                  <c:v>-3.2503099999999998</c:v>
                </c:pt>
                <c:pt idx="6872">
                  <c:v>-2.6566200000000002</c:v>
                </c:pt>
                <c:pt idx="6873">
                  <c:v>-2.6172599999999999</c:v>
                </c:pt>
                <c:pt idx="6874">
                  <c:v>#N/A</c:v>
                </c:pt>
                <c:pt idx="6875">
                  <c:v>-3.38015</c:v>
                </c:pt>
                <c:pt idx="6876">
                  <c:v>-2.7178800000000001</c:v>
                </c:pt>
                <c:pt idx="6877">
                  <c:v>-2.3511600000000001</c:v>
                </c:pt>
                <c:pt idx="6878">
                  <c:v>#N/A</c:v>
                </c:pt>
                <c:pt idx="6879">
                  <c:v>-2.23055</c:v>
                </c:pt>
                <c:pt idx="6880">
                  <c:v>-1.63001</c:v>
                </c:pt>
                <c:pt idx="6881">
                  <c:v>-2.1908599999999998</c:v>
                </c:pt>
                <c:pt idx="6882">
                  <c:v>#N/A</c:v>
                </c:pt>
                <c:pt idx="6883">
                  <c:v>-2.5739399999999999</c:v>
                </c:pt>
                <c:pt idx="6884">
                  <c:v>-2.6593200000000001</c:v>
                </c:pt>
                <c:pt idx="6885">
                  <c:v>-2.5146600000000001</c:v>
                </c:pt>
                <c:pt idx="6886">
                  <c:v>#N/A</c:v>
                </c:pt>
                <c:pt idx="6887">
                  <c:v>-2.4294699999999998</c:v>
                </c:pt>
                <c:pt idx="6888">
                  <c:v>-2.30965</c:v>
                </c:pt>
                <c:pt idx="6889">
                  <c:v>-2.1865199999999998</c:v>
                </c:pt>
                <c:pt idx="6890">
                  <c:v>#N/A</c:v>
                </c:pt>
                <c:pt idx="6891">
                  <c:v>-2.10514</c:v>
                </c:pt>
                <c:pt idx="6892">
                  <c:v>-2.5707499999999999</c:v>
                </c:pt>
                <c:pt idx="6893">
                  <c:v>-2.40924</c:v>
                </c:pt>
                <c:pt idx="6894">
                  <c:v>#N/A</c:v>
                </c:pt>
                <c:pt idx="6895">
                  <c:v>-2.0215000000000001</c:v>
                </c:pt>
                <c:pt idx="6896">
                  <c:v>-2.4119000000000002</c:v>
                </c:pt>
                <c:pt idx="6897">
                  <c:v>-2.0876299999999999</c:v>
                </c:pt>
                <c:pt idx="6898">
                  <c:v>#N/A</c:v>
                </c:pt>
                <c:pt idx="6899">
                  <c:v>-1.8943099999999999</c:v>
                </c:pt>
                <c:pt idx="6900">
                  <c:v>-2.0729700000000002</c:v>
                </c:pt>
                <c:pt idx="6901">
                  <c:v>#N/A</c:v>
                </c:pt>
                <c:pt idx="6902">
                  <c:v>-2.1625700000000001</c:v>
                </c:pt>
                <c:pt idx="6903">
                  <c:v>-2.4646599999999999</c:v>
                </c:pt>
                <c:pt idx="6904">
                  <c:v>-2.5502500000000001</c:v>
                </c:pt>
                <c:pt idx="6905">
                  <c:v>#N/A</c:v>
                </c:pt>
                <c:pt idx="6906">
                  <c:v>-2.3149799999999998</c:v>
                </c:pt>
                <c:pt idx="6907">
                  <c:v>-2.22465</c:v>
                </c:pt>
                <c:pt idx="6908">
                  <c:v>-1.7881499999999999</c:v>
                </c:pt>
                <c:pt idx="6909">
                  <c:v>#N/A</c:v>
                </c:pt>
                <c:pt idx="6910">
                  <c:v>-2.0310899999999998</c:v>
                </c:pt>
                <c:pt idx="6911">
                  <c:v>-2.16045</c:v>
                </c:pt>
                <c:pt idx="6912">
                  <c:v>#N/A</c:v>
                </c:pt>
                <c:pt idx="6913">
                  <c:v>-2.37113</c:v>
                </c:pt>
                <c:pt idx="6914">
                  <c:v>-2.8259699999999999</c:v>
                </c:pt>
                <c:pt idx="6915">
                  <c:v>-2.9319199999999999</c:v>
                </c:pt>
                <c:pt idx="6916">
                  <c:v>#N/A</c:v>
                </c:pt>
                <c:pt idx="6917">
                  <c:v>-3.1635499999999999</c:v>
                </c:pt>
                <c:pt idx="6918">
                  <c:v>-2.1112099999999998</c:v>
                </c:pt>
                <c:pt idx="6919">
                  <c:v>-1.61297</c:v>
                </c:pt>
                <c:pt idx="6920">
                  <c:v>#N/A</c:v>
                </c:pt>
                <c:pt idx="6921">
                  <c:v>-1.7294799999999999</c:v>
                </c:pt>
                <c:pt idx="6922">
                  <c:v>-2.2844500000000001</c:v>
                </c:pt>
                <c:pt idx="6923">
                  <c:v>-2.4634399999999999</c:v>
                </c:pt>
                <c:pt idx="6924">
                  <c:v>#N/A</c:v>
                </c:pt>
                <c:pt idx="6925">
                  <c:v>-2.3875799999999998</c:v>
                </c:pt>
                <c:pt idx="6926">
                  <c:v>-2.9283899999999998</c:v>
                </c:pt>
                <c:pt idx="6927">
                  <c:v>#N/A</c:v>
                </c:pt>
                <c:pt idx="6928">
                  <c:v>-2.10426</c:v>
                </c:pt>
                <c:pt idx="6929">
                  <c:v>-1.38215</c:v>
                </c:pt>
                <c:pt idx="6930">
                  <c:v>#N/A</c:v>
                </c:pt>
                <c:pt idx="6931">
                  <c:v>-1.3935599999999999</c:v>
                </c:pt>
                <c:pt idx="6932">
                  <c:v>-2.5103499999999999</c:v>
                </c:pt>
                <c:pt idx="6933">
                  <c:v>#N/A</c:v>
                </c:pt>
                <c:pt idx="6934">
                  <c:v>-1.9905999999999999</c:v>
                </c:pt>
                <c:pt idx="6935">
                  <c:v>-2.5682</c:v>
                </c:pt>
                <c:pt idx="6936">
                  <c:v>-2.4131100000000001</c:v>
                </c:pt>
                <c:pt idx="6937">
                  <c:v>#N/A</c:v>
                </c:pt>
                <c:pt idx="6938">
                  <c:v>-2.3327800000000001</c:v>
                </c:pt>
                <c:pt idx="6939">
                  <c:v>-2.6237400000000002</c:v>
                </c:pt>
                <c:pt idx="6940">
                  <c:v>-2.1406800000000001</c:v>
                </c:pt>
                <c:pt idx="6941">
                  <c:v>#N/A</c:v>
                </c:pt>
                <c:pt idx="6942">
                  <c:v>-1.89428</c:v>
                </c:pt>
                <c:pt idx="6943">
                  <c:v>-1.4876199999999999</c:v>
                </c:pt>
                <c:pt idx="6944">
                  <c:v>-2.6501800000000002</c:v>
                </c:pt>
                <c:pt idx="6945">
                  <c:v>#N/A</c:v>
                </c:pt>
                <c:pt idx="6946">
                  <c:v>-2.8151700000000002</c:v>
                </c:pt>
                <c:pt idx="6947">
                  <c:v>-3.3801299999999999</c:v>
                </c:pt>
                <c:pt idx="6948">
                  <c:v>-3.2277900000000002</c:v>
                </c:pt>
                <c:pt idx="6949">
                  <c:v>#N/A</c:v>
                </c:pt>
                <c:pt idx="6950">
                  <c:v>-2.1593399999999998</c:v>
                </c:pt>
                <c:pt idx="6951">
                  <c:v>-1.7535700000000001</c:v>
                </c:pt>
                <c:pt idx="6952">
                  <c:v>-1.88751</c:v>
                </c:pt>
                <c:pt idx="6953">
                  <c:v>#N/A</c:v>
                </c:pt>
                <c:pt idx="6954">
                  <c:v>-1.24133</c:v>
                </c:pt>
                <c:pt idx="6955">
                  <c:v>-1.6697299999999999</c:v>
                </c:pt>
                <c:pt idx="6956">
                  <c:v>-2.3283100000000001</c:v>
                </c:pt>
                <c:pt idx="6957">
                  <c:v>#N/A</c:v>
                </c:pt>
                <c:pt idx="6958">
                  <c:v>-2.7475200000000002</c:v>
                </c:pt>
                <c:pt idx="6959">
                  <c:v>-2.2917700000000001</c:v>
                </c:pt>
                <c:pt idx="6960">
                  <c:v>#N/A</c:v>
                </c:pt>
                <c:pt idx="6961">
                  <c:v>-1.68641</c:v>
                </c:pt>
                <c:pt idx="6962">
                  <c:v>-1.8130599999999999</c:v>
                </c:pt>
                <c:pt idx="6963">
                  <c:v>-2.5099200000000002</c:v>
                </c:pt>
                <c:pt idx="6964">
                  <c:v>#N/A</c:v>
                </c:pt>
                <c:pt idx="6965">
                  <c:v>-1.90262</c:v>
                </c:pt>
                <c:pt idx="6966">
                  <c:v>-2.3997000000000002</c:v>
                </c:pt>
                <c:pt idx="6967">
                  <c:v>#N/A</c:v>
                </c:pt>
                <c:pt idx="6968">
                  <c:v>-2.2953999999999999</c:v>
                </c:pt>
                <c:pt idx="6969">
                  <c:v>-3.1324299999999998</c:v>
                </c:pt>
                <c:pt idx="6970">
                  <c:v>-2.6320299999999999</c:v>
                </c:pt>
                <c:pt idx="6971">
                  <c:v>#N/A</c:v>
                </c:pt>
                <c:pt idx="6972">
                  <c:v>-2.1842800000000002</c:v>
                </c:pt>
                <c:pt idx="6973">
                  <c:v>-2.4335100000000001</c:v>
                </c:pt>
                <c:pt idx="6974">
                  <c:v>-2.94834</c:v>
                </c:pt>
                <c:pt idx="6975">
                  <c:v>#N/A</c:v>
                </c:pt>
                <c:pt idx="6976">
                  <c:v>-3.0161500000000001</c:v>
                </c:pt>
                <c:pt idx="6977">
                  <c:v>-2.9004699999999999</c:v>
                </c:pt>
                <c:pt idx="6978">
                  <c:v>-2.9083800000000002</c:v>
                </c:pt>
                <c:pt idx="6979">
                  <c:v>#N/A</c:v>
                </c:pt>
                <c:pt idx="6980">
                  <c:v>-2.33</c:v>
                </c:pt>
                <c:pt idx="6981">
                  <c:v>-2.1607599999999998</c:v>
                </c:pt>
                <c:pt idx="6982">
                  <c:v>-2.4528699999999999</c:v>
                </c:pt>
                <c:pt idx="6983">
                  <c:v>#N/A</c:v>
                </c:pt>
                <c:pt idx="6984">
                  <c:v>-2.0810900000000001</c:v>
                </c:pt>
                <c:pt idx="6985">
                  <c:v>-3.1001300000000001</c:v>
                </c:pt>
                <c:pt idx="6986">
                  <c:v>#N/A</c:v>
                </c:pt>
                <c:pt idx="6987">
                  <c:v>-2.94455</c:v>
                </c:pt>
                <c:pt idx="6988">
                  <c:v>-3.4345599999999998</c:v>
                </c:pt>
                <c:pt idx="6989">
                  <c:v>-3.17605</c:v>
                </c:pt>
                <c:pt idx="6990">
                  <c:v>#N/A</c:v>
                </c:pt>
                <c:pt idx="6991">
                  <c:v>-2.8679600000000001</c:v>
                </c:pt>
                <c:pt idx="6992">
                  <c:v>-2.81534</c:v>
                </c:pt>
                <c:pt idx="6993">
                  <c:v>-2.31854</c:v>
                </c:pt>
                <c:pt idx="6994">
                  <c:v>#N/A</c:v>
                </c:pt>
                <c:pt idx="6995">
                  <c:v>-2.33189</c:v>
                </c:pt>
                <c:pt idx="6996">
                  <c:v>-2.8622200000000002</c:v>
                </c:pt>
                <c:pt idx="6997">
                  <c:v>-3.1115200000000001</c:v>
                </c:pt>
                <c:pt idx="6998">
                  <c:v>#N/A</c:v>
                </c:pt>
                <c:pt idx="6999">
                  <c:v>-3.3713600000000001</c:v>
                </c:pt>
                <c:pt idx="7000">
                  <c:v>-3.6104500000000002</c:v>
                </c:pt>
                <c:pt idx="7001">
                  <c:v>#N/A</c:v>
                </c:pt>
                <c:pt idx="7002">
                  <c:v>-2.8565900000000002</c:v>
                </c:pt>
                <c:pt idx="7003">
                  <c:v>#N/A</c:v>
                </c:pt>
                <c:pt idx="7004">
                  <c:v>-2.1384500000000002</c:v>
                </c:pt>
                <c:pt idx="7005">
                  <c:v>-2.6815099999999998</c:v>
                </c:pt>
                <c:pt idx="7006">
                  <c:v>-3.0721400000000001</c:v>
                </c:pt>
                <c:pt idx="7007">
                  <c:v>#N/A</c:v>
                </c:pt>
                <c:pt idx="7008">
                  <c:v>-3.23265</c:v>
                </c:pt>
                <c:pt idx="7009">
                  <c:v>-3.3718300000000001</c:v>
                </c:pt>
                <c:pt idx="7010">
                  <c:v>-3.40002</c:v>
                </c:pt>
                <c:pt idx="7011">
                  <c:v>#N/A</c:v>
                </c:pt>
                <c:pt idx="7012">
                  <c:v>-2.9731700000000001</c:v>
                </c:pt>
                <c:pt idx="7013">
                  <c:v>-2.6105399999999999</c:v>
                </c:pt>
                <c:pt idx="7014">
                  <c:v>-2.0612300000000001</c:v>
                </c:pt>
                <c:pt idx="7015">
                  <c:v>#N/A</c:v>
                </c:pt>
                <c:pt idx="7016">
                  <c:v>-2.4893100000000001</c:v>
                </c:pt>
                <c:pt idx="7017">
                  <c:v>-3.0255200000000002</c:v>
                </c:pt>
                <c:pt idx="7018">
                  <c:v>-2.4516</c:v>
                </c:pt>
                <c:pt idx="7019">
                  <c:v>#N/A</c:v>
                </c:pt>
                <c:pt idx="7020">
                  <c:v>-2.8452700000000002</c:v>
                </c:pt>
                <c:pt idx="7021">
                  <c:v>-2.58704</c:v>
                </c:pt>
                <c:pt idx="7022">
                  <c:v>#N/A</c:v>
                </c:pt>
                <c:pt idx="7023">
                  <c:v>-3.0423900000000001</c:v>
                </c:pt>
                <c:pt idx="7024">
                  <c:v>-2.4012899999999999</c:v>
                </c:pt>
                <c:pt idx="7025">
                  <c:v>-2.4832800000000002</c:v>
                </c:pt>
                <c:pt idx="7026">
                  <c:v>#N/A</c:v>
                </c:pt>
                <c:pt idx="7027">
                  <c:v>-2.7215099999999999</c:v>
                </c:pt>
                <c:pt idx="7028">
                  <c:v>-2.59266</c:v>
                </c:pt>
                <c:pt idx="7029">
                  <c:v>#N/A</c:v>
                </c:pt>
                <c:pt idx="7030">
                  <c:v>-3.0692499999999998</c:v>
                </c:pt>
                <c:pt idx="7031">
                  <c:v>-3.4601500000000001</c:v>
                </c:pt>
                <c:pt idx="7032">
                  <c:v>-2.5749599999999999</c:v>
                </c:pt>
                <c:pt idx="7033">
                  <c:v>#N/A</c:v>
                </c:pt>
                <c:pt idx="7034">
                  <c:v>-2.5003500000000001</c:v>
                </c:pt>
                <c:pt idx="7035">
                  <c:v>-1.97576</c:v>
                </c:pt>
                <c:pt idx="7036">
                  <c:v>-2.6718999999999999</c:v>
                </c:pt>
                <c:pt idx="7037">
                  <c:v>#N/A</c:v>
                </c:pt>
                <c:pt idx="7038">
                  <c:v>-2.8797799999999998</c:v>
                </c:pt>
                <c:pt idx="7039">
                  <c:v>-3.03823</c:v>
                </c:pt>
                <c:pt idx="7040">
                  <c:v>-2.7320099999999998</c:v>
                </c:pt>
                <c:pt idx="7041">
                  <c:v>#N/A</c:v>
                </c:pt>
                <c:pt idx="7042">
                  <c:v>-2.94625</c:v>
                </c:pt>
                <c:pt idx="7043">
                  <c:v>-2.6357200000000001</c:v>
                </c:pt>
                <c:pt idx="7044">
                  <c:v>#N/A</c:v>
                </c:pt>
                <c:pt idx="7045">
                  <c:v>-2.1638199999999999</c:v>
                </c:pt>
                <c:pt idx="7046">
                  <c:v>-2.5899100000000002</c:v>
                </c:pt>
                <c:pt idx="7047">
                  <c:v>-2.9611100000000001</c:v>
                </c:pt>
                <c:pt idx="7048">
                  <c:v>#N/A</c:v>
                </c:pt>
                <c:pt idx="7049">
                  <c:v>-3.1920899999999999</c:v>
                </c:pt>
                <c:pt idx="7050">
                  <c:v>-3.0735199999999998</c:v>
                </c:pt>
                <c:pt idx="7051">
                  <c:v>-3.4539900000000001</c:v>
                </c:pt>
                <c:pt idx="7052">
                  <c:v>#N/A</c:v>
                </c:pt>
                <c:pt idx="7053">
                  <c:v>-3.5839500000000002</c:v>
                </c:pt>
                <c:pt idx="7054">
                  <c:v>-3.24221</c:v>
                </c:pt>
                <c:pt idx="7055">
                  <c:v>-2.5965699999999998</c:v>
                </c:pt>
                <c:pt idx="7056">
                  <c:v>#N/A</c:v>
                </c:pt>
                <c:pt idx="7057">
                  <c:v>-2.2690800000000002</c:v>
                </c:pt>
                <c:pt idx="7058">
                  <c:v>-2.2628699999999999</c:v>
                </c:pt>
                <c:pt idx="7059">
                  <c:v>-3.1001699999999999</c:v>
                </c:pt>
                <c:pt idx="7060">
                  <c:v>#N/A</c:v>
                </c:pt>
                <c:pt idx="7061">
                  <c:v>-3.2433900000000002</c:v>
                </c:pt>
                <c:pt idx="7062">
                  <c:v>-2.7175600000000002</c:v>
                </c:pt>
                <c:pt idx="7063">
                  <c:v>-2.6181199999999998</c:v>
                </c:pt>
                <c:pt idx="7064">
                  <c:v>#N/A</c:v>
                </c:pt>
                <c:pt idx="7065">
                  <c:v>-2.5470199999999998</c:v>
                </c:pt>
                <c:pt idx="7066">
                  <c:v>-2.1629200000000002</c:v>
                </c:pt>
                <c:pt idx="7067">
                  <c:v>#N/A</c:v>
                </c:pt>
                <c:pt idx="7068">
                  <c:v>-2.8317600000000001</c:v>
                </c:pt>
                <c:pt idx="7069">
                  <c:v>-3.0415999999999999</c:v>
                </c:pt>
                <c:pt idx="7070">
                  <c:v>-2.8044099999999998</c:v>
                </c:pt>
                <c:pt idx="7071">
                  <c:v>#N/A</c:v>
                </c:pt>
                <c:pt idx="7072">
                  <c:v>-3.1234700000000002</c:v>
                </c:pt>
                <c:pt idx="7073">
                  <c:v>-3.45452</c:v>
                </c:pt>
                <c:pt idx="7074">
                  <c:v>-2.8718699999999999</c:v>
                </c:pt>
                <c:pt idx="7075">
                  <c:v>#N/A</c:v>
                </c:pt>
                <c:pt idx="7076">
                  <c:v>-2.3903500000000002</c:v>
                </c:pt>
                <c:pt idx="7077">
                  <c:v>-2.33487</c:v>
                </c:pt>
                <c:pt idx="7078">
                  <c:v>-2.9216799999999998</c:v>
                </c:pt>
                <c:pt idx="7079">
                  <c:v>#N/A</c:v>
                </c:pt>
                <c:pt idx="7080">
                  <c:v>-2.7421700000000002</c:v>
                </c:pt>
                <c:pt idx="7081">
                  <c:v>-3.39913</c:v>
                </c:pt>
                <c:pt idx="7082">
                  <c:v>-3.5919699999999999</c:v>
                </c:pt>
                <c:pt idx="7083">
                  <c:v>#N/A</c:v>
                </c:pt>
                <c:pt idx="7084">
                  <c:v>-2.7772800000000002</c:v>
                </c:pt>
                <c:pt idx="7085">
                  <c:v>-2.9065500000000002</c:v>
                </c:pt>
                <c:pt idx="7086">
                  <c:v>-2.6280100000000002</c:v>
                </c:pt>
                <c:pt idx="7087">
                  <c:v>#N/A</c:v>
                </c:pt>
                <c:pt idx="7088">
                  <c:v>-2.4394200000000001</c:v>
                </c:pt>
                <c:pt idx="7089">
                  <c:v>-2.3445800000000001</c:v>
                </c:pt>
                <c:pt idx="7090">
                  <c:v>-3.0459000000000001</c:v>
                </c:pt>
                <c:pt idx="7091">
                  <c:v>#N/A</c:v>
                </c:pt>
                <c:pt idx="7092">
                  <c:v>-3.01024</c:v>
                </c:pt>
                <c:pt idx="7093">
                  <c:v>-3.18824</c:v>
                </c:pt>
                <c:pt idx="7094">
                  <c:v>-3.11083</c:v>
                </c:pt>
                <c:pt idx="7095">
                  <c:v>#N/A</c:v>
                </c:pt>
                <c:pt idx="7096">
                  <c:v>-2.6905999999999999</c:v>
                </c:pt>
                <c:pt idx="7097">
                  <c:v>-2.55219</c:v>
                </c:pt>
                <c:pt idx="7098">
                  <c:v>#N/A</c:v>
                </c:pt>
                <c:pt idx="7099">
                  <c:v>-2.1332399999999998</c:v>
                </c:pt>
                <c:pt idx="7100">
                  <c:v>-2.5102899999999999</c:v>
                </c:pt>
                <c:pt idx="7101">
                  <c:v>-3.3633099999999998</c:v>
                </c:pt>
                <c:pt idx="7102">
                  <c:v>#N/A</c:v>
                </c:pt>
                <c:pt idx="7103">
                  <c:v>-3.5618500000000002</c:v>
                </c:pt>
                <c:pt idx="7104">
                  <c:v>-2.9096500000000001</c:v>
                </c:pt>
                <c:pt idx="7105">
                  <c:v>-3.1877</c:v>
                </c:pt>
                <c:pt idx="7106">
                  <c:v>#N/A</c:v>
                </c:pt>
                <c:pt idx="7107">
                  <c:v>-3.06047</c:v>
                </c:pt>
                <c:pt idx="7108">
                  <c:v>-3.0879300000000001</c:v>
                </c:pt>
                <c:pt idx="7109">
                  <c:v>-2.6507499999999999</c:v>
                </c:pt>
                <c:pt idx="7110">
                  <c:v>#N/A</c:v>
                </c:pt>
                <c:pt idx="7111">
                  <c:v>-2.6739600000000001</c:v>
                </c:pt>
                <c:pt idx="7112">
                  <c:v>-2.9044500000000002</c:v>
                </c:pt>
                <c:pt idx="7113">
                  <c:v>-2.52094</c:v>
                </c:pt>
                <c:pt idx="7114">
                  <c:v>#N/A</c:v>
                </c:pt>
                <c:pt idx="7115">
                  <c:v>-3.0653600000000001</c:v>
                </c:pt>
                <c:pt idx="7116">
                  <c:v>-2.6148799999999999</c:v>
                </c:pt>
                <c:pt idx="7117">
                  <c:v>-2.0963599999999998</c:v>
                </c:pt>
                <c:pt idx="7118">
                  <c:v>#N/A</c:v>
                </c:pt>
                <c:pt idx="7119">
                  <c:v>-2.46699</c:v>
                </c:pt>
                <c:pt idx="7120">
                  <c:v>-2.93974</c:v>
                </c:pt>
                <c:pt idx="7121">
                  <c:v>-2.0013000000000001</c:v>
                </c:pt>
                <c:pt idx="7122">
                  <c:v>#N/A</c:v>
                </c:pt>
                <c:pt idx="7123">
                  <c:v>-2.3391099999999998</c:v>
                </c:pt>
                <c:pt idx="7124">
                  <c:v>-2.6542400000000002</c:v>
                </c:pt>
                <c:pt idx="7125">
                  <c:v>-2.5646100000000001</c:v>
                </c:pt>
                <c:pt idx="7126">
                  <c:v>#N/A</c:v>
                </c:pt>
                <c:pt idx="7127">
                  <c:v>-2.7210100000000002</c:v>
                </c:pt>
                <c:pt idx="7128">
                  <c:v>-2.5567099999999998</c:v>
                </c:pt>
                <c:pt idx="7129">
                  <c:v>-2.2395700000000001</c:v>
                </c:pt>
                <c:pt idx="7130">
                  <c:v>#N/A</c:v>
                </c:pt>
                <c:pt idx="7131">
                  <c:v>-2.8648899999999999</c:v>
                </c:pt>
                <c:pt idx="7132">
                  <c:v>-2.94015</c:v>
                </c:pt>
                <c:pt idx="7133">
                  <c:v>#N/A</c:v>
                </c:pt>
                <c:pt idx="7134">
                  <c:v>-3.19862</c:v>
                </c:pt>
                <c:pt idx="7135">
                  <c:v>-3.0085799999999998</c:v>
                </c:pt>
                <c:pt idx="7136">
                  <c:v>-2.6282199999999998</c:v>
                </c:pt>
                <c:pt idx="7137">
                  <c:v>#N/A</c:v>
                </c:pt>
                <c:pt idx="7138">
                  <c:v>-2.0590600000000001</c:v>
                </c:pt>
                <c:pt idx="7139">
                  <c:v>-2.2069999999999999</c:v>
                </c:pt>
                <c:pt idx="7140">
                  <c:v>#N/A</c:v>
                </c:pt>
                <c:pt idx="7141">
                  <c:v>-2.0484800000000001</c:v>
                </c:pt>
                <c:pt idx="7142">
                  <c:v>-3.0636299999999999</c:v>
                </c:pt>
                <c:pt idx="7143">
                  <c:v>-2.7839800000000001</c:v>
                </c:pt>
                <c:pt idx="7144">
                  <c:v>#N/A</c:v>
                </c:pt>
                <c:pt idx="7145">
                  <c:v>-2.9492699999999998</c:v>
                </c:pt>
                <c:pt idx="7146">
                  <c:v>-2.9286699999999999</c:v>
                </c:pt>
                <c:pt idx="7147">
                  <c:v>-2.2271800000000002</c:v>
                </c:pt>
                <c:pt idx="7148">
                  <c:v>#N/A</c:v>
                </c:pt>
                <c:pt idx="7149">
                  <c:v>-2.0972400000000002</c:v>
                </c:pt>
                <c:pt idx="7150">
                  <c:v>-1.8201499999999999</c:v>
                </c:pt>
                <c:pt idx="7151">
                  <c:v>#N/A</c:v>
                </c:pt>
                <c:pt idx="7152">
                  <c:v>-2.13923</c:v>
                </c:pt>
                <c:pt idx="7153">
                  <c:v>#N/A</c:v>
                </c:pt>
                <c:pt idx="7154">
                  <c:v>-3.3389600000000002</c:v>
                </c:pt>
                <c:pt idx="7155">
                  <c:v>-3.6467399999999999</c:v>
                </c:pt>
                <c:pt idx="7156">
                  <c:v>#N/A</c:v>
                </c:pt>
                <c:pt idx="7157">
                  <c:v>-3.7531699999999999</c:v>
                </c:pt>
                <c:pt idx="7158">
                  <c:v>-3.1713</c:v>
                </c:pt>
                <c:pt idx="7159">
                  <c:v>-2.4511099999999999</c:v>
                </c:pt>
                <c:pt idx="7160">
                  <c:v>#N/A</c:v>
                </c:pt>
                <c:pt idx="7161">
                  <c:v>-2.1097800000000002</c:v>
                </c:pt>
                <c:pt idx="7162">
                  <c:v>-3.06325</c:v>
                </c:pt>
                <c:pt idx="7163">
                  <c:v>-2.8326199999999999</c:v>
                </c:pt>
                <c:pt idx="7164">
                  <c:v>#N/A</c:v>
                </c:pt>
                <c:pt idx="7165">
                  <c:v>-2.2422200000000001</c:v>
                </c:pt>
                <c:pt idx="7166">
                  <c:v>-3.0982500000000002</c:v>
                </c:pt>
                <c:pt idx="7167">
                  <c:v>-2.9278900000000001</c:v>
                </c:pt>
                <c:pt idx="7168">
                  <c:v>#N/A</c:v>
                </c:pt>
                <c:pt idx="7169">
                  <c:v>-3.1986300000000001</c:v>
                </c:pt>
                <c:pt idx="7170">
                  <c:v>-2.72723</c:v>
                </c:pt>
                <c:pt idx="7171">
                  <c:v>#N/A</c:v>
                </c:pt>
                <c:pt idx="7172">
                  <c:v>-2.4685700000000002</c:v>
                </c:pt>
                <c:pt idx="7173">
                  <c:v>-1.6876599999999999</c:v>
                </c:pt>
                <c:pt idx="7174">
                  <c:v>-2.13862</c:v>
                </c:pt>
                <c:pt idx="7175">
                  <c:v>#N/A</c:v>
                </c:pt>
                <c:pt idx="7176">
                  <c:v>-2.6100400000000001</c:v>
                </c:pt>
                <c:pt idx="7177">
                  <c:v>-2.3884599999999998</c:v>
                </c:pt>
                <c:pt idx="7178">
                  <c:v>-2.2919200000000002</c:v>
                </c:pt>
                <c:pt idx="7179">
                  <c:v>#N/A</c:v>
                </c:pt>
                <c:pt idx="7180">
                  <c:v>-2.5970200000000001</c:v>
                </c:pt>
                <c:pt idx="7181">
                  <c:v>-2.6702499999999998</c:v>
                </c:pt>
                <c:pt idx="7182">
                  <c:v>#N/A</c:v>
                </c:pt>
                <c:pt idx="7183">
                  <c:v>-2.1804000000000001</c:v>
                </c:pt>
                <c:pt idx="7184">
                  <c:v>-1.76169</c:v>
                </c:pt>
                <c:pt idx="7185">
                  <c:v>-2.4657300000000002</c:v>
                </c:pt>
                <c:pt idx="7186">
                  <c:v>#N/A</c:v>
                </c:pt>
                <c:pt idx="7187">
                  <c:v>-2.2798699999999998</c:v>
                </c:pt>
                <c:pt idx="7188">
                  <c:v>-2.8429199999999999</c:v>
                </c:pt>
                <c:pt idx="7189">
                  <c:v>-2.5575700000000001</c:v>
                </c:pt>
                <c:pt idx="7190">
                  <c:v>#N/A</c:v>
                </c:pt>
                <c:pt idx="7191">
                  <c:v>-2.4157099999999998</c:v>
                </c:pt>
                <c:pt idx="7192">
                  <c:v>-2.3860600000000001</c:v>
                </c:pt>
                <c:pt idx="7193">
                  <c:v>-3.4228000000000001</c:v>
                </c:pt>
                <c:pt idx="7194">
                  <c:v>#N/A</c:v>
                </c:pt>
                <c:pt idx="7195">
                  <c:v>-2.8022200000000002</c:v>
                </c:pt>
                <c:pt idx="7196">
                  <c:v>-3.0389499999999998</c:v>
                </c:pt>
                <c:pt idx="7197">
                  <c:v>-3.0254699999999999</c:v>
                </c:pt>
                <c:pt idx="7198">
                  <c:v>#N/A</c:v>
                </c:pt>
                <c:pt idx="7199">
                  <c:v>-2.5124599999999999</c:v>
                </c:pt>
                <c:pt idx="7200">
                  <c:v>-2.4662700000000002</c:v>
                </c:pt>
                <c:pt idx="7201">
                  <c:v>-2.1412</c:v>
                </c:pt>
                <c:pt idx="7202">
                  <c:v>#N/A</c:v>
                </c:pt>
                <c:pt idx="7203">
                  <c:v>-2.4301300000000001</c:v>
                </c:pt>
                <c:pt idx="7204">
                  <c:v>-2.5973099999999998</c:v>
                </c:pt>
                <c:pt idx="7205">
                  <c:v>-2.8701599999999998</c:v>
                </c:pt>
                <c:pt idx="7206">
                  <c:v>#N/A</c:v>
                </c:pt>
                <c:pt idx="7207">
                  <c:v>-3.4620500000000001</c:v>
                </c:pt>
                <c:pt idx="7208">
                  <c:v>-3.0360399999999998</c:v>
                </c:pt>
                <c:pt idx="7209">
                  <c:v>#N/A</c:v>
                </c:pt>
                <c:pt idx="7210">
                  <c:v>-2.8915999999999999</c:v>
                </c:pt>
                <c:pt idx="7211">
                  <c:v>-2.33548</c:v>
                </c:pt>
                <c:pt idx="7212">
                  <c:v>-2.2858299999999998</c:v>
                </c:pt>
                <c:pt idx="7213">
                  <c:v>#N/A</c:v>
                </c:pt>
                <c:pt idx="7214">
                  <c:v>-2.2510400000000002</c:v>
                </c:pt>
                <c:pt idx="7215">
                  <c:v>-2.8778600000000001</c:v>
                </c:pt>
                <c:pt idx="7216">
                  <c:v>-2.9386199999999998</c:v>
                </c:pt>
                <c:pt idx="7217">
                  <c:v>#N/A</c:v>
                </c:pt>
                <c:pt idx="7218">
                  <c:v>-3.6531899999999999</c:v>
                </c:pt>
                <c:pt idx="7219">
                  <c:v>-3.7175199999999999</c:v>
                </c:pt>
                <c:pt idx="7220">
                  <c:v>-2.9145500000000002</c:v>
                </c:pt>
                <c:pt idx="7221">
                  <c:v>#N/A</c:v>
                </c:pt>
                <c:pt idx="7222">
                  <c:v>-2.4500299999999999</c:v>
                </c:pt>
                <c:pt idx="7223">
                  <c:v>-2.7080700000000002</c:v>
                </c:pt>
                <c:pt idx="7224">
                  <c:v>-2.9716800000000001</c:v>
                </c:pt>
                <c:pt idx="7225">
                  <c:v>#N/A</c:v>
                </c:pt>
                <c:pt idx="7226">
                  <c:v>-2.1310699999999998</c:v>
                </c:pt>
                <c:pt idx="7227">
                  <c:v>-2.6881300000000001</c:v>
                </c:pt>
                <c:pt idx="7228">
                  <c:v>#N/A</c:v>
                </c:pt>
                <c:pt idx="7229">
                  <c:v>-2.6868699999999999</c:v>
                </c:pt>
                <c:pt idx="7230">
                  <c:v>#N/A</c:v>
                </c:pt>
                <c:pt idx="7231">
                  <c:v>-2.8000600000000002</c:v>
                </c:pt>
                <c:pt idx="7232">
                  <c:v>-2.4480400000000002</c:v>
                </c:pt>
                <c:pt idx="7233">
                  <c:v>#N/A</c:v>
                </c:pt>
                <c:pt idx="7234">
                  <c:v>-2.00678</c:v>
                </c:pt>
                <c:pt idx="7235">
                  <c:v>-1.99434</c:v>
                </c:pt>
                <c:pt idx="7236">
                  <c:v>-2.62636</c:v>
                </c:pt>
                <c:pt idx="7237">
                  <c:v>#N/A</c:v>
                </c:pt>
                <c:pt idx="7238">
                  <c:v>-2.5858500000000002</c:v>
                </c:pt>
                <c:pt idx="7239">
                  <c:v>-2.8897900000000001</c:v>
                </c:pt>
                <c:pt idx="7240">
                  <c:v>#N/A</c:v>
                </c:pt>
                <c:pt idx="7241">
                  <c:v>-3.0236499999999999</c:v>
                </c:pt>
                <c:pt idx="7242">
                  <c:v>-2.9386899999999998</c:v>
                </c:pt>
                <c:pt idx="7243">
                  <c:v>-2.2862399999999998</c:v>
                </c:pt>
                <c:pt idx="7244">
                  <c:v>#N/A</c:v>
                </c:pt>
                <c:pt idx="7245">
                  <c:v>-2.1239400000000002</c:v>
                </c:pt>
                <c:pt idx="7246">
                  <c:v>-1.6840599999999999</c:v>
                </c:pt>
                <c:pt idx="7247">
                  <c:v>-2.0992500000000001</c:v>
                </c:pt>
                <c:pt idx="7248">
                  <c:v>#N/A</c:v>
                </c:pt>
                <c:pt idx="7249">
                  <c:v>-2.5203099999999998</c:v>
                </c:pt>
                <c:pt idx="7250">
                  <c:v>-2.55355</c:v>
                </c:pt>
                <c:pt idx="7251">
                  <c:v>-2.39011</c:v>
                </c:pt>
                <c:pt idx="7252">
                  <c:v>#N/A</c:v>
                </c:pt>
                <c:pt idx="7253">
                  <c:v>-2.3927800000000001</c:v>
                </c:pt>
                <c:pt idx="7254">
                  <c:v>-2.4591699999999999</c:v>
                </c:pt>
                <c:pt idx="7255">
                  <c:v>-1.8900300000000001</c:v>
                </c:pt>
                <c:pt idx="7256">
                  <c:v>#N/A</c:v>
                </c:pt>
                <c:pt idx="7257">
                  <c:v>-1.78888</c:v>
                </c:pt>
                <c:pt idx="7258">
                  <c:v>-2.0815800000000002</c:v>
                </c:pt>
                <c:pt idx="7259">
                  <c:v>-2.0962100000000001</c:v>
                </c:pt>
                <c:pt idx="7260">
                  <c:v>#N/A</c:v>
                </c:pt>
                <c:pt idx="7261">
                  <c:v>-2.7054</c:v>
                </c:pt>
                <c:pt idx="7262">
                  <c:v>-2.38436</c:v>
                </c:pt>
                <c:pt idx="7263">
                  <c:v>-2.5552000000000001</c:v>
                </c:pt>
                <c:pt idx="7264">
                  <c:v>#N/A</c:v>
                </c:pt>
                <c:pt idx="7265">
                  <c:v>-2.3876900000000001</c:v>
                </c:pt>
                <c:pt idx="7266">
                  <c:v>-2.1020599999999998</c:v>
                </c:pt>
                <c:pt idx="7267">
                  <c:v>-2.10432</c:v>
                </c:pt>
                <c:pt idx="7268">
                  <c:v>#N/A</c:v>
                </c:pt>
                <c:pt idx="7269">
                  <c:v>-2.7237800000000001</c:v>
                </c:pt>
                <c:pt idx="7270">
                  <c:v>-2.9178299999999999</c:v>
                </c:pt>
                <c:pt idx="7271">
                  <c:v>-2.7704900000000001</c:v>
                </c:pt>
                <c:pt idx="7272">
                  <c:v>#N/A</c:v>
                </c:pt>
                <c:pt idx="7273">
                  <c:v>-2.1041099999999999</c:v>
                </c:pt>
                <c:pt idx="7274">
                  <c:v>-1.59253</c:v>
                </c:pt>
                <c:pt idx="7275">
                  <c:v>#N/A</c:v>
                </c:pt>
                <c:pt idx="7276">
                  <c:v>-1.54097</c:v>
                </c:pt>
                <c:pt idx="7277">
                  <c:v>-2.65455</c:v>
                </c:pt>
                <c:pt idx="7278">
                  <c:v>-2.5286599999999999</c:v>
                </c:pt>
                <c:pt idx="7279">
                  <c:v>#N/A</c:v>
                </c:pt>
                <c:pt idx="7280">
                  <c:v>-2.6477499999999998</c:v>
                </c:pt>
                <c:pt idx="7281">
                  <c:v>-2.8436300000000001</c:v>
                </c:pt>
                <c:pt idx="7282">
                  <c:v>-2.6333700000000002</c:v>
                </c:pt>
                <c:pt idx="7283">
                  <c:v>#N/A</c:v>
                </c:pt>
                <c:pt idx="7284">
                  <c:v>-3.0565500000000001</c:v>
                </c:pt>
                <c:pt idx="7285">
                  <c:v>-1.9748300000000001</c:v>
                </c:pt>
                <c:pt idx="7286">
                  <c:v>-1.53912</c:v>
                </c:pt>
                <c:pt idx="7287">
                  <c:v>#N/A</c:v>
                </c:pt>
                <c:pt idx="7288">
                  <c:v>-1.9568099999999999</c:v>
                </c:pt>
                <c:pt idx="7289">
                  <c:v>-2.5484399999999998</c:v>
                </c:pt>
                <c:pt idx="7290">
                  <c:v>-3.0808399999999998</c:v>
                </c:pt>
                <c:pt idx="7291">
                  <c:v>#N/A</c:v>
                </c:pt>
                <c:pt idx="7292">
                  <c:v>-2.9611700000000001</c:v>
                </c:pt>
                <c:pt idx="7293">
                  <c:v>-2.56067</c:v>
                </c:pt>
                <c:pt idx="7294">
                  <c:v>-2.1184099999999999</c:v>
                </c:pt>
                <c:pt idx="7295">
                  <c:v>#N/A</c:v>
                </c:pt>
                <c:pt idx="7296">
                  <c:v>-1.97736</c:v>
                </c:pt>
                <c:pt idx="7297">
                  <c:v>-1.54183</c:v>
                </c:pt>
                <c:pt idx="7298">
                  <c:v>-1.88775</c:v>
                </c:pt>
                <c:pt idx="7299">
                  <c:v>#N/A</c:v>
                </c:pt>
                <c:pt idx="7300">
                  <c:v>-2.9368599999999998</c:v>
                </c:pt>
                <c:pt idx="7301">
                  <c:v>#N/A</c:v>
                </c:pt>
                <c:pt idx="7302">
                  <c:v>-2.9799000000000002</c:v>
                </c:pt>
                <c:pt idx="7303">
                  <c:v>#N/A</c:v>
                </c:pt>
                <c:pt idx="7304">
                  <c:v>-2.8482400000000001</c:v>
                </c:pt>
                <c:pt idx="7305">
                  <c:v>-1.8573299999999999</c:v>
                </c:pt>
                <c:pt idx="7306">
                  <c:v>#N/A</c:v>
                </c:pt>
                <c:pt idx="7307">
                  <c:v>-2.0735700000000001</c:v>
                </c:pt>
                <c:pt idx="7308">
                  <c:v>-1.43401</c:v>
                </c:pt>
                <c:pt idx="7309">
                  <c:v>-1.59816</c:v>
                </c:pt>
                <c:pt idx="7310">
                  <c:v>#N/A</c:v>
                </c:pt>
                <c:pt idx="7311">
                  <c:v>-2.4019200000000001</c:v>
                </c:pt>
                <c:pt idx="7312">
                  <c:v>-3.2145999999999999</c:v>
                </c:pt>
                <c:pt idx="7313">
                  <c:v>-3.4660799999999998</c:v>
                </c:pt>
                <c:pt idx="7314">
                  <c:v>#N/A</c:v>
                </c:pt>
                <c:pt idx="7315">
                  <c:v>-2.5289600000000001</c:v>
                </c:pt>
                <c:pt idx="7316">
                  <c:v>-2.33873</c:v>
                </c:pt>
                <c:pt idx="7317">
                  <c:v>-2.10317</c:v>
                </c:pt>
                <c:pt idx="7318">
                  <c:v>#N/A</c:v>
                </c:pt>
                <c:pt idx="7319">
                  <c:v>-2.2582900000000001</c:v>
                </c:pt>
                <c:pt idx="7320">
                  <c:v>-2.0245099999999998</c:v>
                </c:pt>
                <c:pt idx="7321">
                  <c:v>-2.6338200000000001</c:v>
                </c:pt>
                <c:pt idx="7322">
                  <c:v>#N/A</c:v>
                </c:pt>
                <c:pt idx="7323">
                  <c:v>-2.48306</c:v>
                </c:pt>
                <c:pt idx="7324">
                  <c:v>-2.4939499999999999</c:v>
                </c:pt>
                <c:pt idx="7325">
                  <c:v>-2.6623100000000002</c:v>
                </c:pt>
                <c:pt idx="7326">
                  <c:v>#N/A</c:v>
                </c:pt>
                <c:pt idx="7327">
                  <c:v>-2.5235699999999999</c:v>
                </c:pt>
                <c:pt idx="7328">
                  <c:v>-2.11212</c:v>
                </c:pt>
                <c:pt idx="7329">
                  <c:v>-2.1743899999999998</c:v>
                </c:pt>
                <c:pt idx="7330">
                  <c:v>#N/A</c:v>
                </c:pt>
                <c:pt idx="7331">
                  <c:v>-2.52806</c:v>
                </c:pt>
                <c:pt idx="7332">
                  <c:v>-1.88348</c:v>
                </c:pt>
                <c:pt idx="7333">
                  <c:v>-2.0483799999999999</c:v>
                </c:pt>
                <c:pt idx="7334">
                  <c:v>#N/A</c:v>
                </c:pt>
                <c:pt idx="7335">
                  <c:v>-2.3645700000000001</c:v>
                </c:pt>
                <c:pt idx="7336">
                  <c:v>-2.1835399999999998</c:v>
                </c:pt>
                <c:pt idx="7337">
                  <c:v>#N/A</c:v>
                </c:pt>
                <c:pt idx="7338">
                  <c:v>-2.7507199999999998</c:v>
                </c:pt>
                <c:pt idx="7339">
                  <c:v>-2.5137100000000001</c:v>
                </c:pt>
                <c:pt idx="7340">
                  <c:v>-2.1881300000000001</c:v>
                </c:pt>
                <c:pt idx="7341">
                  <c:v>#N/A</c:v>
                </c:pt>
                <c:pt idx="7342">
                  <c:v>-2.6248399999999998</c:v>
                </c:pt>
                <c:pt idx="7343">
                  <c:v>-2.7192699999999999</c:v>
                </c:pt>
                <c:pt idx="7344">
                  <c:v>#N/A</c:v>
                </c:pt>
                <c:pt idx="7345">
                  <c:v>-3.1797300000000002</c:v>
                </c:pt>
                <c:pt idx="7346">
                  <c:v>-2.6142799999999999</c:v>
                </c:pt>
                <c:pt idx="7347">
                  <c:v>-2.3475999999999999</c:v>
                </c:pt>
                <c:pt idx="7348">
                  <c:v>#N/A</c:v>
                </c:pt>
                <c:pt idx="7349">
                  <c:v>-2.2963399999999998</c:v>
                </c:pt>
                <c:pt idx="7350">
                  <c:v>-2.76892</c:v>
                </c:pt>
                <c:pt idx="7351">
                  <c:v>-2.6480199999999998</c:v>
                </c:pt>
                <c:pt idx="7352">
                  <c:v>#N/A</c:v>
                </c:pt>
                <c:pt idx="7353">
                  <c:v>-2.5994199999999998</c:v>
                </c:pt>
                <c:pt idx="7354">
                  <c:v>-2.3766400000000001</c:v>
                </c:pt>
                <c:pt idx="7355">
                  <c:v>-2.40998</c:v>
                </c:pt>
                <c:pt idx="7356">
                  <c:v>#N/A</c:v>
                </c:pt>
                <c:pt idx="7357">
                  <c:v>-2.3440599999999998</c:v>
                </c:pt>
                <c:pt idx="7358">
                  <c:v>-1.7217</c:v>
                </c:pt>
                <c:pt idx="7359">
                  <c:v>-1.6590100000000001</c:v>
                </c:pt>
                <c:pt idx="7360">
                  <c:v>#N/A</c:v>
                </c:pt>
                <c:pt idx="7361">
                  <c:v>-2.3315399999999999</c:v>
                </c:pt>
                <c:pt idx="7362">
                  <c:v>-2.7187000000000001</c:v>
                </c:pt>
                <c:pt idx="7363">
                  <c:v>-2.79223</c:v>
                </c:pt>
                <c:pt idx="7364">
                  <c:v>#N/A</c:v>
                </c:pt>
                <c:pt idx="7365">
                  <c:v>-3.2913100000000002</c:v>
                </c:pt>
                <c:pt idx="7366">
                  <c:v>-3.1046200000000002</c:v>
                </c:pt>
                <c:pt idx="7367">
                  <c:v>-2.7510300000000001</c:v>
                </c:pt>
                <c:pt idx="7368">
                  <c:v>#N/A</c:v>
                </c:pt>
                <c:pt idx="7369">
                  <c:v>-1.9740500000000001</c:v>
                </c:pt>
                <c:pt idx="7370">
                  <c:v>-1.6143099999999999</c:v>
                </c:pt>
                <c:pt idx="7371">
                  <c:v>-1.80105</c:v>
                </c:pt>
                <c:pt idx="7372">
                  <c:v>#N/A</c:v>
                </c:pt>
                <c:pt idx="7373">
                  <c:v>-2.64682</c:v>
                </c:pt>
                <c:pt idx="7374">
                  <c:v>-3.1796199999999999</c:v>
                </c:pt>
                <c:pt idx="7375">
                  <c:v>#N/A</c:v>
                </c:pt>
                <c:pt idx="7376">
                  <c:v>-3.6169500000000001</c:v>
                </c:pt>
                <c:pt idx="7377">
                  <c:v>#N/A</c:v>
                </c:pt>
                <c:pt idx="7378">
                  <c:v>-3.07091</c:v>
                </c:pt>
                <c:pt idx="7379">
                  <c:v>-2.4760900000000001</c:v>
                </c:pt>
                <c:pt idx="7380">
                  <c:v>-1.81711</c:v>
                </c:pt>
                <c:pt idx="7381">
                  <c:v>#N/A</c:v>
                </c:pt>
                <c:pt idx="7382">
                  <c:v>-2.1866400000000001</c:v>
                </c:pt>
                <c:pt idx="7383">
                  <c:v>-2.5194800000000002</c:v>
                </c:pt>
                <c:pt idx="7384">
                  <c:v>-3.3905799999999999</c:v>
                </c:pt>
                <c:pt idx="7385">
                  <c:v>#N/A</c:v>
                </c:pt>
                <c:pt idx="7386">
                  <c:v>-3.6477599999999999</c:v>
                </c:pt>
                <c:pt idx="7387">
                  <c:v>-3.24987</c:v>
                </c:pt>
                <c:pt idx="7388">
                  <c:v>-3.0657700000000001</c:v>
                </c:pt>
                <c:pt idx="7389">
                  <c:v>#N/A</c:v>
                </c:pt>
                <c:pt idx="7390">
                  <c:v>-2.72566</c:v>
                </c:pt>
                <c:pt idx="7391">
                  <c:v>-2.4022700000000001</c:v>
                </c:pt>
                <c:pt idx="7392">
                  <c:v>#N/A</c:v>
                </c:pt>
                <c:pt idx="7393">
                  <c:v>-2.3093400000000002</c:v>
                </c:pt>
                <c:pt idx="7394">
                  <c:v>-3.1116600000000001</c:v>
                </c:pt>
                <c:pt idx="7395">
                  <c:v>-3.1329600000000002</c:v>
                </c:pt>
                <c:pt idx="7396">
                  <c:v>#N/A</c:v>
                </c:pt>
                <c:pt idx="7397">
                  <c:v>-2.99709</c:v>
                </c:pt>
                <c:pt idx="7398">
                  <c:v>-3.0322100000000001</c:v>
                </c:pt>
                <c:pt idx="7399">
                  <c:v>-2.8554400000000002</c:v>
                </c:pt>
                <c:pt idx="7400">
                  <c:v>#N/A</c:v>
                </c:pt>
                <c:pt idx="7401">
                  <c:v>-2.9125399999999999</c:v>
                </c:pt>
                <c:pt idx="7402">
                  <c:v>-3.3337300000000001</c:v>
                </c:pt>
                <c:pt idx="7403">
                  <c:v>-2.9006599999999998</c:v>
                </c:pt>
                <c:pt idx="7404">
                  <c:v>#N/A</c:v>
                </c:pt>
                <c:pt idx="7405">
                  <c:v>-2.6549900000000002</c:v>
                </c:pt>
                <c:pt idx="7406">
                  <c:v>-3.50258</c:v>
                </c:pt>
                <c:pt idx="7407">
                  <c:v>-3.2471700000000001</c:v>
                </c:pt>
                <c:pt idx="7408">
                  <c:v>#N/A</c:v>
                </c:pt>
                <c:pt idx="7409">
                  <c:v>-3.4106700000000001</c:v>
                </c:pt>
                <c:pt idx="7410">
                  <c:v>-2.6538599999999999</c:v>
                </c:pt>
                <c:pt idx="7411">
                  <c:v>-3.0257800000000001</c:v>
                </c:pt>
                <c:pt idx="7412">
                  <c:v>#N/A</c:v>
                </c:pt>
                <c:pt idx="7413">
                  <c:v>-2.9296700000000002</c:v>
                </c:pt>
                <c:pt idx="7414">
                  <c:v>-3.1733600000000002</c:v>
                </c:pt>
                <c:pt idx="7415">
                  <c:v>#N/A</c:v>
                </c:pt>
                <c:pt idx="7416">
                  <c:v>-2.99376</c:v>
                </c:pt>
                <c:pt idx="7417">
                  <c:v>-2.84646</c:v>
                </c:pt>
                <c:pt idx="7418">
                  <c:v>-2.7781799999999999</c:v>
                </c:pt>
                <c:pt idx="7419">
                  <c:v>#N/A</c:v>
                </c:pt>
                <c:pt idx="7420">
                  <c:v>-2.6324299999999998</c:v>
                </c:pt>
                <c:pt idx="7421">
                  <c:v>-2.50962</c:v>
                </c:pt>
                <c:pt idx="7422">
                  <c:v>-2.48163</c:v>
                </c:pt>
                <c:pt idx="7423">
                  <c:v>#N/A</c:v>
                </c:pt>
                <c:pt idx="7424">
                  <c:v>-2.9639000000000002</c:v>
                </c:pt>
                <c:pt idx="7425">
                  <c:v>-3.4285399999999999</c:v>
                </c:pt>
                <c:pt idx="7426">
                  <c:v>-3.1597</c:v>
                </c:pt>
                <c:pt idx="7427">
                  <c:v>#N/A</c:v>
                </c:pt>
                <c:pt idx="7428">
                  <c:v>-3.05131</c:v>
                </c:pt>
                <c:pt idx="7429">
                  <c:v>-2.5350299999999999</c:v>
                </c:pt>
                <c:pt idx="7430">
                  <c:v>#N/A</c:v>
                </c:pt>
                <c:pt idx="7431">
                  <c:v>-2.3651</c:v>
                </c:pt>
                <c:pt idx="7432">
                  <c:v>-2.1287400000000001</c:v>
                </c:pt>
                <c:pt idx="7433">
                  <c:v>-2.6877499999999999</c:v>
                </c:pt>
                <c:pt idx="7434">
                  <c:v>#N/A</c:v>
                </c:pt>
                <c:pt idx="7435">
                  <c:v>-2.26797</c:v>
                </c:pt>
                <c:pt idx="7436">
                  <c:v>-3.1852499999999999</c:v>
                </c:pt>
                <c:pt idx="7437">
                  <c:v>-3.2062300000000001</c:v>
                </c:pt>
                <c:pt idx="7438">
                  <c:v>#N/A</c:v>
                </c:pt>
                <c:pt idx="7439">
                  <c:v>-3.5893199999999998</c:v>
                </c:pt>
                <c:pt idx="7440">
                  <c:v>-2.8549500000000001</c:v>
                </c:pt>
                <c:pt idx="7441">
                  <c:v>-2.35318</c:v>
                </c:pt>
                <c:pt idx="7442">
                  <c:v>#N/A</c:v>
                </c:pt>
                <c:pt idx="7443">
                  <c:v>-2.1678700000000002</c:v>
                </c:pt>
                <c:pt idx="7444">
                  <c:v>-2.2862399999999998</c:v>
                </c:pt>
                <c:pt idx="7445">
                  <c:v>-2.43323</c:v>
                </c:pt>
                <c:pt idx="7446">
                  <c:v>#N/A</c:v>
                </c:pt>
                <c:pt idx="7447">
                  <c:v>-2.6907000000000001</c:v>
                </c:pt>
                <c:pt idx="7448">
                  <c:v>-3.34613</c:v>
                </c:pt>
                <c:pt idx="7449">
                  <c:v>-3.21</c:v>
                </c:pt>
                <c:pt idx="7450">
                  <c:v>#N/A</c:v>
                </c:pt>
                <c:pt idx="7451">
                  <c:v>-2.6526800000000001</c:v>
                </c:pt>
                <c:pt idx="7452">
                  <c:v>#N/A</c:v>
                </c:pt>
                <c:pt idx="7453">
                  <c:v>-1.90262</c:v>
                </c:pt>
                <c:pt idx="7454">
                  <c:v>-2.1436099999999998</c:v>
                </c:pt>
                <c:pt idx="7455">
                  <c:v>#N/A</c:v>
                </c:pt>
                <c:pt idx="7456">
                  <c:v>-2.4298000000000002</c:v>
                </c:pt>
                <c:pt idx="7457">
                  <c:v>-2.5535199999999998</c:v>
                </c:pt>
                <c:pt idx="7458">
                  <c:v>-2.7264699999999999</c:v>
                </c:pt>
                <c:pt idx="7459">
                  <c:v>#N/A</c:v>
                </c:pt>
                <c:pt idx="7460">
                  <c:v>-2.931</c:v>
                </c:pt>
                <c:pt idx="7461">
                  <c:v>-2.8020999999999998</c:v>
                </c:pt>
                <c:pt idx="7462">
                  <c:v>#N/A</c:v>
                </c:pt>
                <c:pt idx="7463">
                  <c:v>-2.31474</c:v>
                </c:pt>
                <c:pt idx="7464">
                  <c:v>-2.1959599999999999</c:v>
                </c:pt>
                <c:pt idx="7465">
                  <c:v>-2.3513199999999999</c:v>
                </c:pt>
                <c:pt idx="7466">
                  <c:v>#N/A</c:v>
                </c:pt>
                <c:pt idx="7467">
                  <c:v>-3.5974699999999999</c:v>
                </c:pt>
                <c:pt idx="7468">
                  <c:v>-2.7685200000000001</c:v>
                </c:pt>
                <c:pt idx="7469">
                  <c:v>#N/A</c:v>
                </c:pt>
                <c:pt idx="7470">
                  <c:v>-3.0553499999999998</c:v>
                </c:pt>
                <c:pt idx="7471">
                  <c:v>-3.0190600000000001</c:v>
                </c:pt>
                <c:pt idx="7472">
                  <c:v>-2.9590800000000002</c:v>
                </c:pt>
                <c:pt idx="7473">
                  <c:v>#N/A</c:v>
                </c:pt>
                <c:pt idx="7474">
                  <c:v>-2.4727800000000002</c:v>
                </c:pt>
                <c:pt idx="7475">
                  <c:v>-2.1501100000000002</c:v>
                </c:pt>
                <c:pt idx="7476">
                  <c:v>-2.2539199999999999</c:v>
                </c:pt>
                <c:pt idx="7477">
                  <c:v>#N/A</c:v>
                </c:pt>
                <c:pt idx="7478">
                  <c:v>-2.3231999999999999</c:v>
                </c:pt>
                <c:pt idx="7479">
                  <c:v>-3.20804</c:v>
                </c:pt>
                <c:pt idx="7480">
                  <c:v>-3.05402</c:v>
                </c:pt>
                <c:pt idx="7481">
                  <c:v>#N/A</c:v>
                </c:pt>
                <c:pt idx="7482">
                  <c:v>-2.5179999999999998</c:v>
                </c:pt>
                <c:pt idx="7483">
                  <c:v>#N/A</c:v>
                </c:pt>
                <c:pt idx="7484">
                  <c:v>-2.2309800000000002</c:v>
                </c:pt>
                <c:pt idx="7485">
                  <c:v>-2.4678300000000002</c:v>
                </c:pt>
                <c:pt idx="7486">
                  <c:v>#N/A</c:v>
                </c:pt>
                <c:pt idx="7487">
                  <c:v>-2.0672999999999999</c:v>
                </c:pt>
                <c:pt idx="7488">
                  <c:v>-2.7653400000000001</c:v>
                </c:pt>
                <c:pt idx="7489">
                  <c:v>#N/A</c:v>
                </c:pt>
                <c:pt idx="7490">
                  <c:v>-3.0817299999999999</c:v>
                </c:pt>
                <c:pt idx="7491">
                  <c:v>-3.1179299999999999</c:v>
                </c:pt>
                <c:pt idx="7492">
                  <c:v>-2.7229100000000002</c:v>
                </c:pt>
                <c:pt idx="7493">
                  <c:v>#N/A</c:v>
                </c:pt>
                <c:pt idx="7494">
                  <c:v>-2.6735600000000002</c:v>
                </c:pt>
                <c:pt idx="7495">
                  <c:v>-1.67154</c:v>
                </c:pt>
                <c:pt idx="7496">
                  <c:v>#N/A</c:v>
                </c:pt>
                <c:pt idx="7497">
                  <c:v>-2.5535899999999998</c:v>
                </c:pt>
                <c:pt idx="7498">
                  <c:v>-2.8448000000000002</c:v>
                </c:pt>
                <c:pt idx="7499">
                  <c:v>-2.77128</c:v>
                </c:pt>
                <c:pt idx="7500">
                  <c:v>#N/A</c:v>
                </c:pt>
                <c:pt idx="7501">
                  <c:v>-3.1531500000000001</c:v>
                </c:pt>
                <c:pt idx="7502">
                  <c:v>-2.8412999999999999</c:v>
                </c:pt>
                <c:pt idx="7503">
                  <c:v>-2.6882999999999999</c:v>
                </c:pt>
                <c:pt idx="7504">
                  <c:v>#N/A</c:v>
                </c:pt>
                <c:pt idx="7505">
                  <c:v>-2.4704100000000002</c:v>
                </c:pt>
                <c:pt idx="7506">
                  <c:v>-2.4983900000000001</c:v>
                </c:pt>
                <c:pt idx="7507">
                  <c:v>-2.8603900000000002</c:v>
                </c:pt>
                <c:pt idx="7508">
                  <c:v>#N/A</c:v>
                </c:pt>
                <c:pt idx="7509">
                  <c:v>-3.3205399999999998</c:v>
                </c:pt>
                <c:pt idx="7510">
                  <c:v>-2.9081299999999999</c:v>
                </c:pt>
                <c:pt idx="7511">
                  <c:v>-3.1319900000000001</c:v>
                </c:pt>
                <c:pt idx="7512">
                  <c:v>#N/A</c:v>
                </c:pt>
                <c:pt idx="7513">
                  <c:v>-2.47092</c:v>
                </c:pt>
                <c:pt idx="7514">
                  <c:v>-2.2854999999999999</c:v>
                </c:pt>
                <c:pt idx="7515">
                  <c:v>-2.2805399999999998</c:v>
                </c:pt>
                <c:pt idx="7516">
                  <c:v>#N/A</c:v>
                </c:pt>
                <c:pt idx="7517">
                  <c:v>-2.2132299999999998</c:v>
                </c:pt>
                <c:pt idx="7518">
                  <c:v>-2.1918799999999998</c:v>
                </c:pt>
                <c:pt idx="7519">
                  <c:v>-3.0477500000000002</c:v>
                </c:pt>
                <c:pt idx="7520">
                  <c:v>#N/A</c:v>
                </c:pt>
                <c:pt idx="7521">
                  <c:v>-3.5893700000000002</c:v>
                </c:pt>
                <c:pt idx="7522">
                  <c:v>-3.8008600000000001</c:v>
                </c:pt>
                <c:pt idx="7523">
                  <c:v>-2.9878800000000001</c:v>
                </c:pt>
                <c:pt idx="7524">
                  <c:v>#N/A</c:v>
                </c:pt>
                <c:pt idx="7525">
                  <c:v>-2.8005599999999999</c:v>
                </c:pt>
                <c:pt idx="7526">
                  <c:v>-2.4232399999999998</c:v>
                </c:pt>
                <c:pt idx="7527">
                  <c:v>#N/A</c:v>
                </c:pt>
                <c:pt idx="7528">
                  <c:v>-2.9197899999999999</c:v>
                </c:pt>
                <c:pt idx="7529">
                  <c:v>#N/A</c:v>
                </c:pt>
                <c:pt idx="7530">
                  <c:v>-3.0260600000000002</c:v>
                </c:pt>
                <c:pt idx="7531">
                  <c:v>-3.5966200000000002</c:v>
                </c:pt>
                <c:pt idx="7532">
                  <c:v>#N/A</c:v>
                </c:pt>
                <c:pt idx="7533">
                  <c:v>-3.5587800000000001</c:v>
                </c:pt>
                <c:pt idx="7534">
                  <c:v>-2.5941299999999998</c:v>
                </c:pt>
                <c:pt idx="7535">
                  <c:v>#N/A</c:v>
                </c:pt>
                <c:pt idx="7536">
                  <c:v>-2.1476000000000002</c:v>
                </c:pt>
                <c:pt idx="7537">
                  <c:v>-2.0503300000000002</c:v>
                </c:pt>
                <c:pt idx="7538">
                  <c:v>-1.7291000000000001</c:v>
                </c:pt>
                <c:pt idx="7539">
                  <c:v>#N/A</c:v>
                </c:pt>
                <c:pt idx="7540">
                  <c:v>-2.17177</c:v>
                </c:pt>
                <c:pt idx="7541">
                  <c:v>-2.3050199999999998</c:v>
                </c:pt>
                <c:pt idx="7542">
                  <c:v>-3.0158499999999999</c:v>
                </c:pt>
                <c:pt idx="7543">
                  <c:v>#N/A</c:v>
                </c:pt>
                <c:pt idx="7544">
                  <c:v>-2.40734</c:v>
                </c:pt>
                <c:pt idx="7545">
                  <c:v>-2.72424</c:v>
                </c:pt>
                <c:pt idx="7546">
                  <c:v>-2.1816399999999998</c:v>
                </c:pt>
                <c:pt idx="7547">
                  <c:v>#N/A</c:v>
                </c:pt>
                <c:pt idx="7548">
                  <c:v>-2.16622</c:v>
                </c:pt>
                <c:pt idx="7549">
                  <c:v>-2.2175600000000002</c:v>
                </c:pt>
                <c:pt idx="7550">
                  <c:v>-2.8763899999999998</c:v>
                </c:pt>
                <c:pt idx="7551">
                  <c:v>#N/A</c:v>
                </c:pt>
                <c:pt idx="7552">
                  <c:v>-3.0615700000000001</c:v>
                </c:pt>
                <c:pt idx="7553">
                  <c:v>-2.6370499999999999</c:v>
                </c:pt>
                <c:pt idx="7554">
                  <c:v>-2.71712</c:v>
                </c:pt>
                <c:pt idx="7555">
                  <c:v>#N/A</c:v>
                </c:pt>
                <c:pt idx="7556">
                  <c:v>-2.4710899999999998</c:v>
                </c:pt>
                <c:pt idx="7557">
                  <c:v>-2.7776700000000001</c:v>
                </c:pt>
                <c:pt idx="7558">
                  <c:v>#N/A</c:v>
                </c:pt>
                <c:pt idx="7559">
                  <c:v>-2.2989199999999999</c:v>
                </c:pt>
                <c:pt idx="7560">
                  <c:v>-2.5454300000000001</c:v>
                </c:pt>
                <c:pt idx="7561">
                  <c:v>-2.9699499999999999</c:v>
                </c:pt>
                <c:pt idx="7562">
                  <c:v>#N/A</c:v>
                </c:pt>
                <c:pt idx="7563">
                  <c:v>-2.4197600000000001</c:v>
                </c:pt>
                <c:pt idx="7564">
                  <c:v>-2.6086100000000001</c:v>
                </c:pt>
                <c:pt idx="7565">
                  <c:v>#N/A</c:v>
                </c:pt>
                <c:pt idx="7566">
                  <c:v>-2.37825</c:v>
                </c:pt>
                <c:pt idx="7567">
                  <c:v>-2.35955</c:v>
                </c:pt>
                <c:pt idx="7568">
                  <c:v>-1.8860399999999999</c:v>
                </c:pt>
                <c:pt idx="7569">
                  <c:v>#N/A</c:v>
                </c:pt>
                <c:pt idx="7570">
                  <c:v>-2.49546</c:v>
                </c:pt>
                <c:pt idx="7571">
                  <c:v>-2.85853</c:v>
                </c:pt>
                <c:pt idx="7572">
                  <c:v>#N/A</c:v>
                </c:pt>
                <c:pt idx="7573">
                  <c:v>-3.34029</c:v>
                </c:pt>
                <c:pt idx="7574">
                  <c:v>-2.7571699999999999</c:v>
                </c:pt>
                <c:pt idx="7575">
                  <c:v>-2.6922000000000001</c:v>
                </c:pt>
                <c:pt idx="7576">
                  <c:v>#N/A</c:v>
                </c:pt>
                <c:pt idx="7577">
                  <c:v>-2.2365200000000001</c:v>
                </c:pt>
                <c:pt idx="7578">
                  <c:v>-1.9987699999999999</c:v>
                </c:pt>
                <c:pt idx="7579">
                  <c:v>-2.2209599999999998</c:v>
                </c:pt>
                <c:pt idx="7580">
                  <c:v>#N/A</c:v>
                </c:pt>
                <c:pt idx="7581">
                  <c:v>-2.1377299999999999</c:v>
                </c:pt>
                <c:pt idx="7582">
                  <c:v>-3.5137900000000002</c:v>
                </c:pt>
                <c:pt idx="7583">
                  <c:v>#N/A</c:v>
                </c:pt>
                <c:pt idx="7584">
                  <c:v>-3.6220699999999999</c:v>
                </c:pt>
                <c:pt idx="7585">
                  <c:v>-3.2416299999999998</c:v>
                </c:pt>
                <c:pt idx="7586">
                  <c:v>-2.58758</c:v>
                </c:pt>
                <c:pt idx="7587">
                  <c:v>#N/A</c:v>
                </c:pt>
                <c:pt idx="7588">
                  <c:v>-2.69516</c:v>
                </c:pt>
                <c:pt idx="7589">
                  <c:v>-2.48956</c:v>
                </c:pt>
                <c:pt idx="7590">
                  <c:v>-2.38198</c:v>
                </c:pt>
                <c:pt idx="7591">
                  <c:v>#N/A</c:v>
                </c:pt>
                <c:pt idx="7592">
                  <c:v>-2.9772099999999999</c:v>
                </c:pt>
                <c:pt idx="7593">
                  <c:v>-3.7767400000000002</c:v>
                </c:pt>
                <c:pt idx="7594">
                  <c:v>-3.86964</c:v>
                </c:pt>
                <c:pt idx="7595">
                  <c:v>#N/A</c:v>
                </c:pt>
                <c:pt idx="7596">
                  <c:v>-3.93493</c:v>
                </c:pt>
                <c:pt idx="7597">
                  <c:v>-3.4001800000000002</c:v>
                </c:pt>
                <c:pt idx="7598">
                  <c:v>-2.5622600000000002</c:v>
                </c:pt>
                <c:pt idx="7599">
                  <c:v>#N/A</c:v>
                </c:pt>
                <c:pt idx="7600">
                  <c:v>-1.88504</c:v>
                </c:pt>
                <c:pt idx="7601">
                  <c:v>-2.2571599999999998</c:v>
                </c:pt>
                <c:pt idx="7602">
                  <c:v>#N/A</c:v>
                </c:pt>
                <c:pt idx="7603">
                  <c:v>-2.9666199999999998</c:v>
                </c:pt>
                <c:pt idx="7604">
                  <c:v>#N/A</c:v>
                </c:pt>
                <c:pt idx="7605">
                  <c:v>-3.89758</c:v>
                </c:pt>
                <c:pt idx="7606">
                  <c:v>-3.3648500000000001</c:v>
                </c:pt>
                <c:pt idx="7607">
                  <c:v>#N/A</c:v>
                </c:pt>
                <c:pt idx="7608">
                  <c:v>-3.3393600000000001</c:v>
                </c:pt>
                <c:pt idx="7609">
                  <c:v>-2.7749100000000002</c:v>
                </c:pt>
                <c:pt idx="7610">
                  <c:v>-2.6898900000000001</c:v>
                </c:pt>
                <c:pt idx="7611">
                  <c:v>#N/A</c:v>
                </c:pt>
                <c:pt idx="7612">
                  <c:v>-2.5195699999999999</c:v>
                </c:pt>
                <c:pt idx="7613">
                  <c:v>-3.1343100000000002</c:v>
                </c:pt>
                <c:pt idx="7614">
                  <c:v>-3.4173499999999999</c:v>
                </c:pt>
                <c:pt idx="7615">
                  <c:v>#N/A</c:v>
                </c:pt>
                <c:pt idx="7616">
                  <c:v>-3.9225699999999999</c:v>
                </c:pt>
                <c:pt idx="7617">
                  <c:v>-3.4574799999999999</c:v>
                </c:pt>
                <c:pt idx="7618">
                  <c:v>-3.6379600000000001</c:v>
                </c:pt>
                <c:pt idx="7619">
                  <c:v>#N/A</c:v>
                </c:pt>
                <c:pt idx="7620">
                  <c:v>-2.9009800000000001</c:v>
                </c:pt>
                <c:pt idx="7621">
                  <c:v>-2.6892499999999999</c:v>
                </c:pt>
                <c:pt idx="7622">
                  <c:v>#N/A</c:v>
                </c:pt>
                <c:pt idx="7623">
                  <c:v>-2.8168299999999999</c:v>
                </c:pt>
                <c:pt idx="7624">
                  <c:v>-3.11442</c:v>
                </c:pt>
                <c:pt idx="7625">
                  <c:v>-3.65388</c:v>
                </c:pt>
                <c:pt idx="7626">
                  <c:v>#N/A</c:v>
                </c:pt>
                <c:pt idx="7627">
                  <c:v>-3.6925599999999998</c:v>
                </c:pt>
                <c:pt idx="7628">
                  <c:v>-3.28857</c:v>
                </c:pt>
                <c:pt idx="7629">
                  <c:v>-3.0900799999999999</c:v>
                </c:pt>
                <c:pt idx="7630">
                  <c:v>#N/A</c:v>
                </c:pt>
                <c:pt idx="7631">
                  <c:v>-3.1700300000000001</c:v>
                </c:pt>
                <c:pt idx="7632">
                  <c:v>-3.3851399999999998</c:v>
                </c:pt>
                <c:pt idx="7633">
                  <c:v>-3.0868899999999999</c:v>
                </c:pt>
                <c:pt idx="7634">
                  <c:v>#N/A</c:v>
                </c:pt>
                <c:pt idx="7635">
                  <c:v>-3.5398100000000001</c:v>
                </c:pt>
                <c:pt idx="7636">
                  <c:v>-3.3062100000000001</c:v>
                </c:pt>
                <c:pt idx="7637">
                  <c:v>-3.5625800000000001</c:v>
                </c:pt>
                <c:pt idx="7638">
                  <c:v>#N/A</c:v>
                </c:pt>
                <c:pt idx="7639">
                  <c:v>-3.3499699999999999</c:v>
                </c:pt>
                <c:pt idx="7640">
                  <c:v>-3.0058799999999999</c:v>
                </c:pt>
                <c:pt idx="7641">
                  <c:v>#N/A</c:v>
                </c:pt>
                <c:pt idx="7642">
                  <c:v>-3.0789900000000001</c:v>
                </c:pt>
                <c:pt idx="7643">
                  <c:v>-3.2894199999999998</c:v>
                </c:pt>
                <c:pt idx="7644">
                  <c:v>-3.6581000000000001</c:v>
                </c:pt>
                <c:pt idx="7645">
                  <c:v>#N/A</c:v>
                </c:pt>
                <c:pt idx="7646">
                  <c:v>-3.2749799999999998</c:v>
                </c:pt>
                <c:pt idx="7647">
                  <c:v>-3.3590900000000001</c:v>
                </c:pt>
                <c:pt idx="7648">
                  <c:v>-3.01709</c:v>
                </c:pt>
                <c:pt idx="7649">
                  <c:v>#N/A</c:v>
                </c:pt>
                <c:pt idx="7650">
                  <c:v>-3.3402699999999999</c:v>
                </c:pt>
                <c:pt idx="7651">
                  <c:v>-2.7390400000000001</c:v>
                </c:pt>
                <c:pt idx="7652">
                  <c:v>-2.9479500000000001</c:v>
                </c:pt>
                <c:pt idx="7653">
                  <c:v>#N/A</c:v>
                </c:pt>
                <c:pt idx="7654">
                  <c:v>-3.34789</c:v>
                </c:pt>
                <c:pt idx="7655">
                  <c:v>-3.1198199999999998</c:v>
                </c:pt>
                <c:pt idx="7656">
                  <c:v>-3.58127</c:v>
                </c:pt>
                <c:pt idx="7657">
                  <c:v>#N/A</c:v>
                </c:pt>
                <c:pt idx="7658">
                  <c:v>-3.13754</c:v>
                </c:pt>
                <c:pt idx="7659">
                  <c:v>-3.32294</c:v>
                </c:pt>
                <c:pt idx="7660">
                  <c:v>-3.25515</c:v>
                </c:pt>
                <c:pt idx="7661">
                  <c:v>#N/A</c:v>
                </c:pt>
                <c:pt idx="7662">
                  <c:v>-3.3253200000000001</c:v>
                </c:pt>
                <c:pt idx="7663">
                  <c:v>-2.8807200000000002</c:v>
                </c:pt>
                <c:pt idx="7664">
                  <c:v>-3.0348000000000002</c:v>
                </c:pt>
                <c:pt idx="7665">
                  <c:v>#N/A</c:v>
                </c:pt>
                <c:pt idx="7666">
                  <c:v>-3.18405</c:v>
                </c:pt>
                <c:pt idx="7667">
                  <c:v>-3.2882099999999999</c:v>
                </c:pt>
                <c:pt idx="7668">
                  <c:v>-2.8635899999999999</c:v>
                </c:pt>
                <c:pt idx="7669">
                  <c:v>#N/A</c:v>
                </c:pt>
                <c:pt idx="7670">
                  <c:v>-2.6698499999999998</c:v>
                </c:pt>
                <c:pt idx="7671">
                  <c:v>-1.70082</c:v>
                </c:pt>
                <c:pt idx="7672">
                  <c:v>#N/A</c:v>
                </c:pt>
                <c:pt idx="7673">
                  <c:v>-1.5256799999999999</c:v>
                </c:pt>
                <c:pt idx="7674">
                  <c:v>-2.38679</c:v>
                </c:pt>
                <c:pt idx="7675">
                  <c:v>-2.0999099999999999</c:v>
                </c:pt>
                <c:pt idx="7676">
                  <c:v>#N/A</c:v>
                </c:pt>
                <c:pt idx="7677">
                  <c:v>-3.11185</c:v>
                </c:pt>
                <c:pt idx="7678">
                  <c:v>-3.19563</c:v>
                </c:pt>
                <c:pt idx="7679">
                  <c:v>-3.6161799999999999</c:v>
                </c:pt>
                <c:pt idx="7680">
                  <c:v>#N/A</c:v>
                </c:pt>
                <c:pt idx="7681">
                  <c:v>-2.45709</c:v>
                </c:pt>
                <c:pt idx="7682">
                  <c:v>-2.02481</c:v>
                </c:pt>
                <c:pt idx="7683">
                  <c:v>-1.60869</c:v>
                </c:pt>
                <c:pt idx="7684">
                  <c:v>#N/A</c:v>
                </c:pt>
                <c:pt idx="7685">
                  <c:v>-1.7282599999999999</c:v>
                </c:pt>
                <c:pt idx="7686">
                  <c:v>-2.52454</c:v>
                </c:pt>
                <c:pt idx="7687">
                  <c:v>-2.4610400000000001</c:v>
                </c:pt>
                <c:pt idx="7688">
                  <c:v>#N/A</c:v>
                </c:pt>
                <c:pt idx="7689">
                  <c:v>-2.9847100000000002</c:v>
                </c:pt>
                <c:pt idx="7690">
                  <c:v>-3.1250499999999999</c:v>
                </c:pt>
                <c:pt idx="7691">
                  <c:v>-3.37873</c:v>
                </c:pt>
                <c:pt idx="7692">
                  <c:v>#N/A</c:v>
                </c:pt>
                <c:pt idx="7693">
                  <c:v>-2.4764900000000001</c:v>
                </c:pt>
                <c:pt idx="7694">
                  <c:v>-1.9937400000000001</c:v>
                </c:pt>
                <c:pt idx="7695">
                  <c:v>-2.4132699999999998</c:v>
                </c:pt>
                <c:pt idx="7696">
                  <c:v>#N/A</c:v>
                </c:pt>
                <c:pt idx="7697">
                  <c:v>-1.99594</c:v>
                </c:pt>
                <c:pt idx="7698">
                  <c:v>-2.1373600000000001</c:v>
                </c:pt>
                <c:pt idx="7699">
                  <c:v>#N/A</c:v>
                </c:pt>
                <c:pt idx="7700">
                  <c:v>-2.6860599999999999</c:v>
                </c:pt>
                <c:pt idx="7701">
                  <c:v>-2.8201299999999998</c:v>
                </c:pt>
                <c:pt idx="7702">
                  <c:v>-2.7260599999999999</c:v>
                </c:pt>
                <c:pt idx="7703">
                  <c:v>#N/A</c:v>
                </c:pt>
                <c:pt idx="7704">
                  <c:v>-2.94685</c:v>
                </c:pt>
                <c:pt idx="7705">
                  <c:v>-2.3702700000000001</c:v>
                </c:pt>
                <c:pt idx="7706">
                  <c:v>-2.3332799999999998</c:v>
                </c:pt>
                <c:pt idx="7707">
                  <c:v>#N/A</c:v>
                </c:pt>
                <c:pt idx="7708">
                  <c:v>-2.4051900000000002</c:v>
                </c:pt>
                <c:pt idx="7709">
                  <c:v>-2.90395</c:v>
                </c:pt>
                <c:pt idx="7710">
                  <c:v>#N/A</c:v>
                </c:pt>
                <c:pt idx="7711">
                  <c:v>-2.4885999999999999</c:v>
                </c:pt>
                <c:pt idx="7712">
                  <c:v>-2.5157400000000001</c:v>
                </c:pt>
                <c:pt idx="7713">
                  <c:v>-2.5501800000000001</c:v>
                </c:pt>
                <c:pt idx="7714">
                  <c:v>#N/A</c:v>
                </c:pt>
                <c:pt idx="7715">
                  <c:v>-2.9196300000000002</c:v>
                </c:pt>
                <c:pt idx="7716">
                  <c:v>-3.7380200000000001</c:v>
                </c:pt>
                <c:pt idx="7717">
                  <c:v>-3.0456699999999999</c:v>
                </c:pt>
                <c:pt idx="7718">
                  <c:v>#N/A</c:v>
                </c:pt>
                <c:pt idx="7719">
                  <c:v>-2.9817</c:v>
                </c:pt>
                <c:pt idx="7720">
                  <c:v>-3.0205799999999998</c:v>
                </c:pt>
                <c:pt idx="7721">
                  <c:v>-3.3372199999999999</c:v>
                </c:pt>
                <c:pt idx="7722">
                  <c:v>#N/A</c:v>
                </c:pt>
                <c:pt idx="7723">
                  <c:v>-2.7626200000000001</c:v>
                </c:pt>
                <c:pt idx="7724">
                  <c:v>-2.1586799999999999</c:v>
                </c:pt>
                <c:pt idx="7725">
                  <c:v>-2.78118</c:v>
                </c:pt>
                <c:pt idx="7726">
                  <c:v>#N/A</c:v>
                </c:pt>
                <c:pt idx="7727">
                  <c:v>-3.2235</c:v>
                </c:pt>
                <c:pt idx="7728">
                  <c:v>-3.1385999999999998</c:v>
                </c:pt>
                <c:pt idx="7729">
                  <c:v>-3.5862799999999999</c:v>
                </c:pt>
                <c:pt idx="7730">
                  <c:v>#N/A</c:v>
                </c:pt>
                <c:pt idx="7731">
                  <c:v>-3.1708799999999999</c:v>
                </c:pt>
                <c:pt idx="7732">
                  <c:v>-3.24396</c:v>
                </c:pt>
                <c:pt idx="7733">
                  <c:v>#N/A</c:v>
                </c:pt>
                <c:pt idx="7734">
                  <c:v>-2.5420699999999998</c:v>
                </c:pt>
                <c:pt idx="7735">
                  <c:v>-2.7022200000000001</c:v>
                </c:pt>
                <c:pt idx="7736">
                  <c:v>-1.915</c:v>
                </c:pt>
                <c:pt idx="7737">
                  <c:v>#N/A</c:v>
                </c:pt>
                <c:pt idx="7738">
                  <c:v>-2.1606700000000001</c:v>
                </c:pt>
                <c:pt idx="7739">
                  <c:v>-3.68032</c:v>
                </c:pt>
                <c:pt idx="7740">
                  <c:v>-3.8564600000000002</c:v>
                </c:pt>
                <c:pt idx="7741">
                  <c:v>#N/A</c:v>
                </c:pt>
                <c:pt idx="7742">
                  <c:v>-3.5514999999999999</c:v>
                </c:pt>
                <c:pt idx="7743">
                  <c:v>-3.6614800000000001</c:v>
                </c:pt>
                <c:pt idx="7744">
                  <c:v>-2.6855699999999998</c:v>
                </c:pt>
                <c:pt idx="7745">
                  <c:v>#N/A</c:v>
                </c:pt>
                <c:pt idx="7746">
                  <c:v>-2.45424</c:v>
                </c:pt>
                <c:pt idx="7747">
                  <c:v>-2.2697600000000002</c:v>
                </c:pt>
                <c:pt idx="7748">
                  <c:v>-2.1713800000000001</c:v>
                </c:pt>
                <c:pt idx="7749">
                  <c:v>#N/A</c:v>
                </c:pt>
                <c:pt idx="7750">
                  <c:v>-3.0374500000000002</c:v>
                </c:pt>
                <c:pt idx="7751">
                  <c:v>-3.7433999999999998</c:v>
                </c:pt>
                <c:pt idx="7752">
                  <c:v>#N/A</c:v>
                </c:pt>
                <c:pt idx="7753">
                  <c:v>-3.6827000000000001</c:v>
                </c:pt>
                <c:pt idx="7754">
                  <c:v>-3.4067400000000001</c:v>
                </c:pt>
                <c:pt idx="7755">
                  <c:v>#N/A</c:v>
                </c:pt>
                <c:pt idx="7756">
                  <c:v>-3.1917</c:v>
                </c:pt>
                <c:pt idx="7757">
                  <c:v>-2.57917</c:v>
                </c:pt>
                <c:pt idx="7758">
                  <c:v>#N/A</c:v>
                </c:pt>
                <c:pt idx="7759">
                  <c:v>-2.6273</c:v>
                </c:pt>
                <c:pt idx="7760">
                  <c:v>-2.67117</c:v>
                </c:pt>
                <c:pt idx="7761">
                  <c:v>-3.1233399999999998</c:v>
                </c:pt>
                <c:pt idx="7762">
                  <c:v>#N/A</c:v>
                </c:pt>
                <c:pt idx="7763">
                  <c:v>-3.32335</c:v>
                </c:pt>
                <c:pt idx="7764">
                  <c:v>-3.2356099999999999</c:v>
                </c:pt>
                <c:pt idx="7765">
                  <c:v>-2.9121000000000001</c:v>
                </c:pt>
                <c:pt idx="7766">
                  <c:v>#N/A</c:v>
                </c:pt>
                <c:pt idx="7767">
                  <c:v>-2.6337199999999998</c:v>
                </c:pt>
                <c:pt idx="7768">
                  <c:v>-3.3046500000000001</c:v>
                </c:pt>
                <c:pt idx="7769">
                  <c:v>-2.9771399999999999</c:v>
                </c:pt>
                <c:pt idx="7770">
                  <c:v>#N/A</c:v>
                </c:pt>
                <c:pt idx="7771">
                  <c:v>-3.2133099999999999</c:v>
                </c:pt>
                <c:pt idx="7772">
                  <c:v>-3.2305600000000001</c:v>
                </c:pt>
                <c:pt idx="7773">
                  <c:v>-3.3834599999999999</c:v>
                </c:pt>
                <c:pt idx="7774">
                  <c:v>#N/A</c:v>
                </c:pt>
                <c:pt idx="7775">
                  <c:v>-3.3982000000000001</c:v>
                </c:pt>
                <c:pt idx="7776">
                  <c:v>-2.53328</c:v>
                </c:pt>
                <c:pt idx="7777">
                  <c:v>-2.37174</c:v>
                </c:pt>
                <c:pt idx="7778">
                  <c:v>#N/A</c:v>
                </c:pt>
                <c:pt idx="7779">
                  <c:v>-2.5133399999999999</c:v>
                </c:pt>
                <c:pt idx="7780">
                  <c:v>-2.8144200000000001</c:v>
                </c:pt>
                <c:pt idx="7781">
                  <c:v>#N/A</c:v>
                </c:pt>
                <c:pt idx="7782">
                  <c:v>-3.1414499999999999</c:v>
                </c:pt>
                <c:pt idx="7783">
                  <c:v>-3.5463200000000001</c:v>
                </c:pt>
                <c:pt idx="7784">
                  <c:v>-3.2453799999999999</c:v>
                </c:pt>
                <c:pt idx="7785">
                  <c:v>#N/A</c:v>
                </c:pt>
                <c:pt idx="7786">
                  <c:v>-3.0046499999999998</c:v>
                </c:pt>
                <c:pt idx="7787">
                  <c:v>-2.4974699999999999</c:v>
                </c:pt>
                <c:pt idx="7788">
                  <c:v>-2.2665000000000002</c:v>
                </c:pt>
                <c:pt idx="7789">
                  <c:v>#N/A</c:v>
                </c:pt>
                <c:pt idx="7790">
                  <c:v>-2.88402</c:v>
                </c:pt>
                <c:pt idx="7791">
                  <c:v>-3.0861200000000002</c:v>
                </c:pt>
                <c:pt idx="7792">
                  <c:v>-2.99234</c:v>
                </c:pt>
                <c:pt idx="7793">
                  <c:v>#N/A</c:v>
                </c:pt>
                <c:pt idx="7794">
                  <c:v>-3.1162200000000002</c:v>
                </c:pt>
                <c:pt idx="7795">
                  <c:v>-3.14954</c:v>
                </c:pt>
                <c:pt idx="7796">
                  <c:v>-3.1230799999999999</c:v>
                </c:pt>
                <c:pt idx="7797">
                  <c:v>#N/A</c:v>
                </c:pt>
                <c:pt idx="7798">
                  <c:v>-3.1251899999999999</c:v>
                </c:pt>
                <c:pt idx="7799">
                  <c:v>-3.0947399999999998</c:v>
                </c:pt>
                <c:pt idx="7800">
                  <c:v>#N/A</c:v>
                </c:pt>
                <c:pt idx="7801">
                  <c:v>-2.5990500000000001</c:v>
                </c:pt>
                <c:pt idx="7802">
                  <c:v>-2.56474</c:v>
                </c:pt>
                <c:pt idx="7803">
                  <c:v>-3.2423099999999998</c:v>
                </c:pt>
                <c:pt idx="7804">
                  <c:v>#N/A</c:v>
                </c:pt>
                <c:pt idx="7805">
                  <c:v>-3.2258200000000001</c:v>
                </c:pt>
                <c:pt idx="7806">
                  <c:v>-2.7989199999999999</c:v>
                </c:pt>
                <c:pt idx="7807">
                  <c:v>#N/A</c:v>
                </c:pt>
                <c:pt idx="7808">
                  <c:v>-2.7728000000000002</c:v>
                </c:pt>
                <c:pt idx="7809">
                  <c:v>-2.36103</c:v>
                </c:pt>
                <c:pt idx="7810">
                  <c:v>-2.6309399999999998</c:v>
                </c:pt>
                <c:pt idx="7811">
                  <c:v>#N/A</c:v>
                </c:pt>
                <c:pt idx="7812">
                  <c:v>-2.94129</c:v>
                </c:pt>
                <c:pt idx="7813">
                  <c:v>-3.39601</c:v>
                </c:pt>
                <c:pt idx="7814">
                  <c:v>-2.9473600000000002</c:v>
                </c:pt>
                <c:pt idx="7815">
                  <c:v>#N/A</c:v>
                </c:pt>
                <c:pt idx="7816">
                  <c:v>-2.8812799999999998</c:v>
                </c:pt>
                <c:pt idx="7817">
                  <c:v>-3.03199</c:v>
                </c:pt>
                <c:pt idx="7818">
                  <c:v>-2.5337399999999999</c:v>
                </c:pt>
                <c:pt idx="7819">
                  <c:v>#N/A</c:v>
                </c:pt>
                <c:pt idx="7820">
                  <c:v>-2.6161400000000001</c:v>
                </c:pt>
                <c:pt idx="7821">
                  <c:v>-2.83494</c:v>
                </c:pt>
                <c:pt idx="7822">
                  <c:v>-2.8086199999999999</c:v>
                </c:pt>
                <c:pt idx="7823">
                  <c:v>#N/A</c:v>
                </c:pt>
                <c:pt idx="7824">
                  <c:v>-3.5365000000000002</c:v>
                </c:pt>
                <c:pt idx="7825">
                  <c:v>-3.9363100000000002</c:v>
                </c:pt>
                <c:pt idx="7826">
                  <c:v>-3.1905700000000001</c:v>
                </c:pt>
                <c:pt idx="7827">
                  <c:v>#N/A</c:v>
                </c:pt>
                <c:pt idx="7828">
                  <c:v>-2.25054</c:v>
                </c:pt>
                <c:pt idx="7829">
                  <c:v>#N/A</c:v>
                </c:pt>
                <c:pt idx="7830">
                  <c:v>-1.5571200000000001</c:v>
                </c:pt>
                <c:pt idx="7831">
                  <c:v>#N/A</c:v>
                </c:pt>
                <c:pt idx="7832">
                  <c:v>-1.82952</c:v>
                </c:pt>
                <c:pt idx="7833">
                  <c:v>-2.47153</c:v>
                </c:pt>
                <c:pt idx="7834">
                  <c:v>-3.0788700000000002</c:v>
                </c:pt>
                <c:pt idx="7835">
                  <c:v>#N/A</c:v>
                </c:pt>
                <c:pt idx="7836">
                  <c:v>-3.3751899999999999</c:v>
                </c:pt>
                <c:pt idx="7837">
                  <c:v>-2.9785200000000001</c:v>
                </c:pt>
                <c:pt idx="7838">
                  <c:v>-2.8005599999999999</c:v>
                </c:pt>
                <c:pt idx="7839">
                  <c:v>#N/A</c:v>
                </c:pt>
                <c:pt idx="7840">
                  <c:v>-2.51647</c:v>
                </c:pt>
                <c:pt idx="7841">
                  <c:v>-1.8676999999999999</c:v>
                </c:pt>
                <c:pt idx="7842">
                  <c:v>-1.9536</c:v>
                </c:pt>
                <c:pt idx="7843">
                  <c:v>#N/A</c:v>
                </c:pt>
                <c:pt idx="7844">
                  <c:v>-2.5991499999999998</c:v>
                </c:pt>
                <c:pt idx="7845">
                  <c:v>-2.38551</c:v>
                </c:pt>
                <c:pt idx="7846">
                  <c:v>-3.0574400000000002</c:v>
                </c:pt>
                <c:pt idx="7847">
                  <c:v>#N/A</c:v>
                </c:pt>
                <c:pt idx="7848">
                  <c:v>-3.5340400000000001</c:v>
                </c:pt>
                <c:pt idx="7849">
                  <c:v>-2.8412500000000001</c:v>
                </c:pt>
                <c:pt idx="7850">
                  <c:v>#N/A</c:v>
                </c:pt>
                <c:pt idx="7851">
                  <c:v>-2.8310599999999999</c:v>
                </c:pt>
                <c:pt idx="7852">
                  <c:v>-2.65361</c:v>
                </c:pt>
                <c:pt idx="7853">
                  <c:v>-2.62974</c:v>
                </c:pt>
                <c:pt idx="7854">
                  <c:v>#N/A</c:v>
                </c:pt>
                <c:pt idx="7855">
                  <c:v>-2.46909</c:v>
                </c:pt>
                <c:pt idx="7856">
                  <c:v>-2.7637900000000002</c:v>
                </c:pt>
                <c:pt idx="7857">
                  <c:v>-2.6773699999999998</c:v>
                </c:pt>
                <c:pt idx="7858">
                  <c:v>#N/A</c:v>
                </c:pt>
                <c:pt idx="7859">
                  <c:v>-3.1129699999999998</c:v>
                </c:pt>
                <c:pt idx="7860">
                  <c:v>-3.0260899999999999</c:v>
                </c:pt>
                <c:pt idx="7861">
                  <c:v>#N/A</c:v>
                </c:pt>
                <c:pt idx="7862">
                  <c:v>-2.8773499999999999</c:v>
                </c:pt>
                <c:pt idx="7863">
                  <c:v>-2.3958499999999998</c:v>
                </c:pt>
                <c:pt idx="7864">
                  <c:v>-3.60656</c:v>
                </c:pt>
                <c:pt idx="7865">
                  <c:v>#N/A</c:v>
                </c:pt>
                <c:pt idx="7866">
                  <c:v>-3.07145</c:v>
                </c:pt>
                <c:pt idx="7867">
                  <c:v>-2.52589</c:v>
                </c:pt>
                <c:pt idx="7868">
                  <c:v>-2.3637299999999999</c:v>
                </c:pt>
                <c:pt idx="7869">
                  <c:v>#N/A</c:v>
                </c:pt>
                <c:pt idx="7870">
                  <c:v>-2.2641800000000001</c:v>
                </c:pt>
                <c:pt idx="7871">
                  <c:v>-1.97163</c:v>
                </c:pt>
                <c:pt idx="7872">
                  <c:v>-2.9598399999999998</c:v>
                </c:pt>
                <c:pt idx="7873">
                  <c:v>#N/A</c:v>
                </c:pt>
                <c:pt idx="7874">
                  <c:v>-2.7663799999999998</c:v>
                </c:pt>
                <c:pt idx="7875">
                  <c:v>-3.4014600000000002</c:v>
                </c:pt>
                <c:pt idx="7876">
                  <c:v>-3.6572100000000001</c:v>
                </c:pt>
                <c:pt idx="7877">
                  <c:v>#N/A</c:v>
                </c:pt>
                <c:pt idx="7878">
                  <c:v>-3.2361</c:v>
                </c:pt>
                <c:pt idx="7879">
                  <c:v>-2.3351899999999999</c:v>
                </c:pt>
                <c:pt idx="7880">
                  <c:v>-2.25217</c:v>
                </c:pt>
                <c:pt idx="7881">
                  <c:v>#N/A</c:v>
                </c:pt>
                <c:pt idx="7882">
                  <c:v>-1.8000100000000001</c:v>
                </c:pt>
                <c:pt idx="7883">
                  <c:v>-1.7937700000000001</c:v>
                </c:pt>
                <c:pt idx="7884">
                  <c:v>-2.6221000000000001</c:v>
                </c:pt>
                <c:pt idx="7885">
                  <c:v>#N/A</c:v>
                </c:pt>
                <c:pt idx="7886">
                  <c:v>-3.4053399999999998</c:v>
                </c:pt>
                <c:pt idx="7887">
                  <c:v>-3.09687</c:v>
                </c:pt>
                <c:pt idx="7888">
                  <c:v>-3.0616699999999999</c:v>
                </c:pt>
                <c:pt idx="7889">
                  <c:v>#N/A</c:v>
                </c:pt>
                <c:pt idx="7890">
                  <c:v>-2.5667900000000001</c:v>
                </c:pt>
                <c:pt idx="7891">
                  <c:v>-1.83003</c:v>
                </c:pt>
                <c:pt idx="7892">
                  <c:v>-1.55559</c:v>
                </c:pt>
                <c:pt idx="7893">
                  <c:v>#N/A</c:v>
                </c:pt>
                <c:pt idx="7894">
                  <c:v>-1.7724500000000001</c:v>
                </c:pt>
                <c:pt idx="7895">
                  <c:v>-2.6071</c:v>
                </c:pt>
                <c:pt idx="7896">
                  <c:v>#N/A</c:v>
                </c:pt>
                <c:pt idx="7897">
                  <c:v>-2.3353299999999999</c:v>
                </c:pt>
                <c:pt idx="7898">
                  <c:v>-2.70655</c:v>
                </c:pt>
                <c:pt idx="7899">
                  <c:v>-3.0004599999999999</c:v>
                </c:pt>
                <c:pt idx="7900">
                  <c:v>#N/A</c:v>
                </c:pt>
                <c:pt idx="7901">
                  <c:v>-3.08006</c:v>
                </c:pt>
                <c:pt idx="7902">
                  <c:v>-2.4740600000000001</c:v>
                </c:pt>
                <c:pt idx="7903">
                  <c:v>#N/A</c:v>
                </c:pt>
                <c:pt idx="7904">
                  <c:v>-2.2307000000000001</c:v>
                </c:pt>
                <c:pt idx="7905">
                  <c:v>#N/A</c:v>
                </c:pt>
                <c:pt idx="7906">
                  <c:v>-2.09076</c:v>
                </c:pt>
                <c:pt idx="7907">
                  <c:v>-2.87405</c:v>
                </c:pt>
                <c:pt idx="7908">
                  <c:v>#N/A</c:v>
                </c:pt>
                <c:pt idx="7909">
                  <c:v>-3.2115499999999999</c:v>
                </c:pt>
                <c:pt idx="7910">
                  <c:v>-2.9849100000000002</c:v>
                </c:pt>
                <c:pt idx="7911">
                  <c:v>-2.8222999999999998</c:v>
                </c:pt>
                <c:pt idx="7912">
                  <c:v>#N/A</c:v>
                </c:pt>
                <c:pt idx="7913">
                  <c:v>-2.3559600000000001</c:v>
                </c:pt>
                <c:pt idx="7914">
                  <c:v>-1.94201</c:v>
                </c:pt>
                <c:pt idx="7915">
                  <c:v>-1.7659199999999999</c:v>
                </c:pt>
                <c:pt idx="7916">
                  <c:v>#N/A</c:v>
                </c:pt>
                <c:pt idx="7917">
                  <c:v>-2.3709699999999998</c:v>
                </c:pt>
                <c:pt idx="7918">
                  <c:v>-2.4885799999999998</c:v>
                </c:pt>
                <c:pt idx="7919">
                  <c:v>#N/A</c:v>
                </c:pt>
                <c:pt idx="7920">
                  <c:v>-2.6572399999999998</c:v>
                </c:pt>
                <c:pt idx="7921">
                  <c:v>-2.4283000000000001</c:v>
                </c:pt>
                <c:pt idx="7922">
                  <c:v>-1.96516</c:v>
                </c:pt>
                <c:pt idx="7923">
                  <c:v>#N/A</c:v>
                </c:pt>
                <c:pt idx="7924">
                  <c:v>-2.11904</c:v>
                </c:pt>
                <c:pt idx="7925">
                  <c:v>-2.3808099999999999</c:v>
                </c:pt>
                <c:pt idx="7926">
                  <c:v>-2.5984699999999998</c:v>
                </c:pt>
                <c:pt idx="7927">
                  <c:v>#N/A</c:v>
                </c:pt>
                <c:pt idx="7928">
                  <c:v>-2.4973100000000001</c:v>
                </c:pt>
                <c:pt idx="7929">
                  <c:v>-2.8935599999999999</c:v>
                </c:pt>
                <c:pt idx="7930">
                  <c:v>-2.6914099999999999</c:v>
                </c:pt>
                <c:pt idx="7931">
                  <c:v>#N/A</c:v>
                </c:pt>
                <c:pt idx="7932">
                  <c:v>-2.4557500000000001</c:v>
                </c:pt>
                <c:pt idx="7933">
                  <c:v>-1.99579</c:v>
                </c:pt>
                <c:pt idx="7934">
                  <c:v>-2.0416300000000001</c:v>
                </c:pt>
                <c:pt idx="7935">
                  <c:v>#N/A</c:v>
                </c:pt>
                <c:pt idx="7936">
                  <c:v>-2.41622</c:v>
                </c:pt>
                <c:pt idx="7937">
                  <c:v>-2.7450299999999999</c:v>
                </c:pt>
                <c:pt idx="7938">
                  <c:v>-2.9639000000000002</c:v>
                </c:pt>
                <c:pt idx="7939">
                  <c:v>#N/A</c:v>
                </c:pt>
                <c:pt idx="7940">
                  <c:v>-2.6267299999999998</c:v>
                </c:pt>
                <c:pt idx="7941">
                  <c:v>-2.5283799999999998</c:v>
                </c:pt>
                <c:pt idx="7942">
                  <c:v>#N/A</c:v>
                </c:pt>
                <c:pt idx="7943">
                  <c:v>-2.4466399999999999</c:v>
                </c:pt>
                <c:pt idx="7944">
                  <c:v>-2.5183399999999998</c:v>
                </c:pt>
                <c:pt idx="7945">
                  <c:v>-2.33006</c:v>
                </c:pt>
                <c:pt idx="7946">
                  <c:v>#N/A</c:v>
                </c:pt>
                <c:pt idx="7947">
                  <c:v>-2.8080400000000001</c:v>
                </c:pt>
                <c:pt idx="7948">
                  <c:v>-2.46285</c:v>
                </c:pt>
                <c:pt idx="7949">
                  <c:v>-2.83114</c:v>
                </c:pt>
                <c:pt idx="7950">
                  <c:v>#N/A</c:v>
                </c:pt>
                <c:pt idx="7951">
                  <c:v>-2.6949800000000002</c:v>
                </c:pt>
                <c:pt idx="7952">
                  <c:v>-2.32151</c:v>
                </c:pt>
                <c:pt idx="7953">
                  <c:v>-1.7992900000000001</c:v>
                </c:pt>
                <c:pt idx="7954">
                  <c:v>#N/A</c:v>
                </c:pt>
                <c:pt idx="7955">
                  <c:v>-1.6140000000000001</c:v>
                </c:pt>
                <c:pt idx="7956">
                  <c:v>-1.6524799999999999</c:v>
                </c:pt>
                <c:pt idx="7957">
                  <c:v>-1.99214</c:v>
                </c:pt>
                <c:pt idx="7958">
                  <c:v>#N/A</c:v>
                </c:pt>
                <c:pt idx="7959">
                  <c:v>-2.8895</c:v>
                </c:pt>
                <c:pt idx="7960">
                  <c:v>-2.80945</c:v>
                </c:pt>
                <c:pt idx="7961">
                  <c:v>-2.8947099999999999</c:v>
                </c:pt>
                <c:pt idx="7962">
                  <c:v>#N/A</c:v>
                </c:pt>
                <c:pt idx="7963">
                  <c:v>-2.74769</c:v>
                </c:pt>
                <c:pt idx="7964">
                  <c:v>-2.02224</c:v>
                </c:pt>
                <c:pt idx="7965">
                  <c:v>-1.75417</c:v>
                </c:pt>
                <c:pt idx="7966">
                  <c:v>#N/A</c:v>
                </c:pt>
                <c:pt idx="7967">
                  <c:v>-2.2301199999999999</c:v>
                </c:pt>
                <c:pt idx="7968">
                  <c:v>-2.7738200000000002</c:v>
                </c:pt>
                <c:pt idx="7969">
                  <c:v>-2.71495</c:v>
                </c:pt>
                <c:pt idx="7970">
                  <c:v>#N/A</c:v>
                </c:pt>
                <c:pt idx="7971">
                  <c:v>-3.2581500000000001</c:v>
                </c:pt>
                <c:pt idx="7972">
                  <c:v>-3.3426</c:v>
                </c:pt>
                <c:pt idx="7973">
                  <c:v>#N/A</c:v>
                </c:pt>
                <c:pt idx="7974">
                  <c:v>-2.6769500000000002</c:v>
                </c:pt>
                <c:pt idx="7975">
                  <c:v>-1.85642</c:v>
                </c:pt>
                <c:pt idx="7976">
                  <c:v>-1.8894599999999999</c:v>
                </c:pt>
                <c:pt idx="7977">
                  <c:v>#N/A</c:v>
                </c:pt>
                <c:pt idx="7978">
                  <c:v>-1.55888</c:v>
                </c:pt>
                <c:pt idx="7979">
                  <c:v>#N/A</c:v>
                </c:pt>
                <c:pt idx="7980">
                  <c:v>-2.7395100000000001</c:v>
                </c:pt>
                <c:pt idx="7981">
                  <c:v>-2.8365100000000001</c:v>
                </c:pt>
                <c:pt idx="7982">
                  <c:v>-3.3567800000000001</c:v>
                </c:pt>
                <c:pt idx="7983">
                  <c:v>#N/A</c:v>
                </c:pt>
                <c:pt idx="7984">
                  <c:v>-2.9815900000000002</c:v>
                </c:pt>
                <c:pt idx="7985">
                  <c:v>-2.4660000000000002</c:v>
                </c:pt>
                <c:pt idx="7986">
                  <c:v>-1.80575</c:v>
                </c:pt>
                <c:pt idx="7987">
                  <c:v>#N/A</c:v>
                </c:pt>
                <c:pt idx="7988">
                  <c:v>-1.9722299999999999</c:v>
                </c:pt>
                <c:pt idx="7989">
                  <c:v>-2.3509199999999999</c:v>
                </c:pt>
                <c:pt idx="7990">
                  <c:v>#N/A</c:v>
                </c:pt>
                <c:pt idx="7991">
                  <c:v>-2.1877800000000001</c:v>
                </c:pt>
                <c:pt idx="7992">
                  <c:v>-2.4276200000000001</c:v>
                </c:pt>
                <c:pt idx="7993">
                  <c:v>-2.8500100000000002</c:v>
                </c:pt>
                <c:pt idx="7994">
                  <c:v>#N/A</c:v>
                </c:pt>
                <c:pt idx="7995">
                  <c:v>-2.7268400000000002</c:v>
                </c:pt>
                <c:pt idx="7996">
                  <c:v>-2.0519099999999999</c:v>
                </c:pt>
                <c:pt idx="7997">
                  <c:v>-2.1915</c:v>
                </c:pt>
                <c:pt idx="7998">
                  <c:v>#N/A</c:v>
                </c:pt>
                <c:pt idx="7999">
                  <c:v>-1.9700899999999999</c:v>
                </c:pt>
                <c:pt idx="8000">
                  <c:v>-2.0351599999999999</c:v>
                </c:pt>
                <c:pt idx="8001">
                  <c:v>#N/A</c:v>
                </c:pt>
                <c:pt idx="8002">
                  <c:v>-2.7701699999999998</c:v>
                </c:pt>
                <c:pt idx="8003">
                  <c:v>-2.14242</c:v>
                </c:pt>
                <c:pt idx="8004">
                  <c:v>-2.1779799999999998</c:v>
                </c:pt>
                <c:pt idx="8005">
                  <c:v>#N/A</c:v>
                </c:pt>
                <c:pt idx="8006">
                  <c:v>-2.5998600000000001</c:v>
                </c:pt>
                <c:pt idx="8007">
                  <c:v>-2.2630400000000002</c:v>
                </c:pt>
                <c:pt idx="8008">
                  <c:v>-1.78769</c:v>
                </c:pt>
                <c:pt idx="8009">
                  <c:v>#N/A</c:v>
                </c:pt>
                <c:pt idx="8010">
                  <c:v>-1.95594</c:v>
                </c:pt>
                <c:pt idx="8011">
                  <c:v>-2.2834300000000001</c:v>
                </c:pt>
                <c:pt idx="8012">
                  <c:v>-2.5207700000000002</c:v>
                </c:pt>
                <c:pt idx="8013">
                  <c:v>#N/A</c:v>
                </c:pt>
                <c:pt idx="8014">
                  <c:v>-2.7065299999999999</c:v>
                </c:pt>
                <c:pt idx="8015">
                  <c:v>-2.0610900000000001</c:v>
                </c:pt>
                <c:pt idx="8016">
                  <c:v>-1.77668</c:v>
                </c:pt>
                <c:pt idx="8017">
                  <c:v>#N/A</c:v>
                </c:pt>
                <c:pt idx="8018">
                  <c:v>-1.61795</c:v>
                </c:pt>
                <c:pt idx="8019">
                  <c:v>-2.2817099999999999</c:v>
                </c:pt>
                <c:pt idx="8020">
                  <c:v>-1.85602</c:v>
                </c:pt>
                <c:pt idx="8021">
                  <c:v>#N/A</c:v>
                </c:pt>
                <c:pt idx="8022">
                  <c:v>-1.9314199999999999</c:v>
                </c:pt>
                <c:pt idx="8023">
                  <c:v>-2.8112699999999999</c:v>
                </c:pt>
                <c:pt idx="8024">
                  <c:v>-2.6485099999999999</c:v>
                </c:pt>
                <c:pt idx="8025">
                  <c:v>#N/A</c:v>
                </c:pt>
                <c:pt idx="8026">
                  <c:v>-2.3344900000000002</c:v>
                </c:pt>
                <c:pt idx="8027">
                  <c:v>-1.82392</c:v>
                </c:pt>
                <c:pt idx="8028">
                  <c:v>-1.5651200000000001</c:v>
                </c:pt>
                <c:pt idx="8029">
                  <c:v>#N/A</c:v>
                </c:pt>
                <c:pt idx="8030">
                  <c:v>-2.0476700000000001</c:v>
                </c:pt>
                <c:pt idx="8031">
                  <c:v>-2.5144799999999998</c:v>
                </c:pt>
                <c:pt idx="8032">
                  <c:v>#N/A</c:v>
                </c:pt>
                <c:pt idx="8033">
                  <c:v>-2.6571699999999998</c:v>
                </c:pt>
                <c:pt idx="8034">
                  <c:v>-3.0112800000000002</c:v>
                </c:pt>
                <c:pt idx="8035">
                  <c:v>-2.21156</c:v>
                </c:pt>
                <c:pt idx="8036">
                  <c:v>#N/A</c:v>
                </c:pt>
                <c:pt idx="8037">
                  <c:v>-2.30775</c:v>
                </c:pt>
                <c:pt idx="8038">
                  <c:v>-1.2085999999999999</c:v>
                </c:pt>
                <c:pt idx="8039">
                  <c:v>-1.2451700000000001</c:v>
                </c:pt>
                <c:pt idx="8040">
                  <c:v>#N/A</c:v>
                </c:pt>
                <c:pt idx="8041">
                  <c:v>-1.6670400000000001</c:v>
                </c:pt>
                <c:pt idx="8042">
                  <c:v>-2.61388</c:v>
                </c:pt>
                <c:pt idx="8043">
                  <c:v>-2.6501000000000001</c:v>
                </c:pt>
                <c:pt idx="8044">
                  <c:v>#N/A</c:v>
                </c:pt>
                <c:pt idx="8045">
                  <c:v>-2.63442</c:v>
                </c:pt>
                <c:pt idx="8046">
                  <c:v>-1.70797</c:v>
                </c:pt>
                <c:pt idx="8047">
                  <c:v>-2.0219800000000001</c:v>
                </c:pt>
                <c:pt idx="8048">
                  <c:v>#N/A</c:v>
                </c:pt>
                <c:pt idx="8049">
                  <c:v>-1.78915</c:v>
                </c:pt>
                <c:pt idx="8050">
                  <c:v>-1.4830399999999999</c:v>
                </c:pt>
                <c:pt idx="8051">
                  <c:v>-1.9841</c:v>
                </c:pt>
                <c:pt idx="8052">
                  <c:v>#N/A</c:v>
                </c:pt>
                <c:pt idx="8053">
                  <c:v>-2.3130099999999998</c:v>
                </c:pt>
                <c:pt idx="8054">
                  <c:v>-2.9475799999999999</c:v>
                </c:pt>
                <c:pt idx="8055">
                  <c:v>#N/A</c:v>
                </c:pt>
                <c:pt idx="8056">
                  <c:v>-3.1228600000000002</c:v>
                </c:pt>
                <c:pt idx="8057">
                  <c:v>-2.7642099999999998</c:v>
                </c:pt>
                <c:pt idx="8058">
                  <c:v>-2.3025699999999998</c:v>
                </c:pt>
                <c:pt idx="8059">
                  <c:v>#N/A</c:v>
                </c:pt>
                <c:pt idx="8060">
                  <c:v>-2.2974899999999998</c:v>
                </c:pt>
                <c:pt idx="8061">
                  <c:v>-1.90543</c:v>
                </c:pt>
                <c:pt idx="8062">
                  <c:v>-2.2389399999999999</c:v>
                </c:pt>
                <c:pt idx="8063">
                  <c:v>#N/A</c:v>
                </c:pt>
                <c:pt idx="8064">
                  <c:v>-2.1053500000000001</c:v>
                </c:pt>
                <c:pt idx="8065">
                  <c:v>-2.5228199999999998</c:v>
                </c:pt>
                <c:pt idx="8066">
                  <c:v>-3.1066600000000002</c:v>
                </c:pt>
                <c:pt idx="8067">
                  <c:v>#N/A</c:v>
                </c:pt>
                <c:pt idx="8068">
                  <c:v>-2.9613299999999998</c:v>
                </c:pt>
                <c:pt idx="8069">
                  <c:v>-1.7870600000000001</c:v>
                </c:pt>
                <c:pt idx="8070">
                  <c:v>-1.82168</c:v>
                </c:pt>
                <c:pt idx="8071">
                  <c:v>#N/A</c:v>
                </c:pt>
                <c:pt idx="8072">
                  <c:v>-2.2277800000000001</c:v>
                </c:pt>
                <c:pt idx="8073">
                  <c:v>-2.2583700000000002</c:v>
                </c:pt>
                <c:pt idx="8074">
                  <c:v>#N/A</c:v>
                </c:pt>
                <c:pt idx="8075">
                  <c:v>-2.6518899999999999</c:v>
                </c:pt>
                <c:pt idx="8076">
                  <c:v>-2.45743</c:v>
                </c:pt>
                <c:pt idx="8077">
                  <c:v>-2.2754699999999999</c:v>
                </c:pt>
                <c:pt idx="8078">
                  <c:v>#N/A</c:v>
                </c:pt>
                <c:pt idx="8079">
                  <c:v>-2.3124199999999999</c:v>
                </c:pt>
                <c:pt idx="8080">
                  <c:v>-2.1788799999999999</c:v>
                </c:pt>
                <c:pt idx="8081">
                  <c:v>-2.32341</c:v>
                </c:pt>
                <c:pt idx="8082">
                  <c:v>#N/A</c:v>
                </c:pt>
                <c:pt idx="8083">
                  <c:v>-2.1899500000000001</c:v>
                </c:pt>
                <c:pt idx="8084">
                  <c:v>-2.75732</c:v>
                </c:pt>
                <c:pt idx="8085">
                  <c:v>-2.8830399999999998</c:v>
                </c:pt>
                <c:pt idx="8086">
                  <c:v>#N/A</c:v>
                </c:pt>
                <c:pt idx="8087">
                  <c:v>-2.73543</c:v>
                </c:pt>
                <c:pt idx="8088">
                  <c:v>-2.6663000000000001</c:v>
                </c:pt>
                <c:pt idx="8089">
                  <c:v>-2.6776300000000002</c:v>
                </c:pt>
                <c:pt idx="8090">
                  <c:v>#N/A</c:v>
                </c:pt>
                <c:pt idx="8091">
                  <c:v>-2.3282400000000001</c:v>
                </c:pt>
                <c:pt idx="8092">
                  <c:v>-2.0851799999999998</c:v>
                </c:pt>
                <c:pt idx="8093">
                  <c:v>-1.9968999999999999</c:v>
                </c:pt>
                <c:pt idx="8094">
                  <c:v>#N/A</c:v>
                </c:pt>
                <c:pt idx="8095">
                  <c:v>-2.3477000000000001</c:v>
                </c:pt>
                <c:pt idx="8096">
                  <c:v>-2.6341199999999998</c:v>
                </c:pt>
                <c:pt idx="8097">
                  <c:v>-2.5860699999999999</c:v>
                </c:pt>
                <c:pt idx="8098">
                  <c:v>#N/A</c:v>
                </c:pt>
                <c:pt idx="8099">
                  <c:v>-2.3603200000000002</c:v>
                </c:pt>
                <c:pt idx="8100">
                  <c:v>-1.28298</c:v>
                </c:pt>
                <c:pt idx="8101">
                  <c:v>#N/A</c:v>
                </c:pt>
                <c:pt idx="8102">
                  <c:v>-1.4431400000000001</c:v>
                </c:pt>
                <c:pt idx="8103">
                  <c:v>-2.4380999999999999</c:v>
                </c:pt>
                <c:pt idx="8104">
                  <c:v>-1.7327699999999999</c:v>
                </c:pt>
                <c:pt idx="8105">
                  <c:v>#N/A</c:v>
                </c:pt>
                <c:pt idx="8106">
                  <c:v>-2.3534799999999998</c:v>
                </c:pt>
                <c:pt idx="8107">
                  <c:v>-2.4586299999999999</c:v>
                </c:pt>
                <c:pt idx="8108">
                  <c:v>-2.5706899999999999</c:v>
                </c:pt>
                <c:pt idx="8109">
                  <c:v>#N/A</c:v>
                </c:pt>
                <c:pt idx="8110">
                  <c:v>-2.2587799999999998</c:v>
                </c:pt>
                <c:pt idx="8111">
                  <c:v>-1.65472</c:v>
                </c:pt>
                <c:pt idx="8112">
                  <c:v>-1.72553</c:v>
                </c:pt>
                <c:pt idx="8113">
                  <c:v>#N/A</c:v>
                </c:pt>
                <c:pt idx="8114">
                  <c:v>-1.4934499999999999</c:v>
                </c:pt>
                <c:pt idx="8115">
                  <c:v>-2.33188</c:v>
                </c:pt>
                <c:pt idx="8116">
                  <c:v>-2.93411</c:v>
                </c:pt>
                <c:pt idx="8117">
                  <c:v>#N/A</c:v>
                </c:pt>
                <c:pt idx="8118">
                  <c:v>-2.7578399999999998</c:v>
                </c:pt>
                <c:pt idx="8119">
                  <c:v>-2.57369</c:v>
                </c:pt>
                <c:pt idx="8120">
                  <c:v>-2.37913</c:v>
                </c:pt>
                <c:pt idx="8121">
                  <c:v>#N/A</c:v>
                </c:pt>
                <c:pt idx="8122">
                  <c:v>-1.83412</c:v>
                </c:pt>
                <c:pt idx="8123">
                  <c:v>-1.2903800000000001</c:v>
                </c:pt>
                <c:pt idx="8124">
                  <c:v>-1.4837400000000001</c:v>
                </c:pt>
                <c:pt idx="8125">
                  <c:v>#N/A</c:v>
                </c:pt>
                <c:pt idx="8126">
                  <c:v>-1.94842</c:v>
                </c:pt>
                <c:pt idx="8127">
                  <c:v>-2.5302500000000001</c:v>
                </c:pt>
                <c:pt idx="8128">
                  <c:v>#N/A</c:v>
                </c:pt>
                <c:pt idx="8129">
                  <c:v>-3.16465</c:v>
                </c:pt>
                <c:pt idx="8130">
                  <c:v>-2.2704</c:v>
                </c:pt>
                <c:pt idx="8131">
                  <c:v>#N/A</c:v>
                </c:pt>
                <c:pt idx="8132">
                  <c:v>-1.9137</c:v>
                </c:pt>
                <c:pt idx="8133">
                  <c:v>-1.7765500000000001</c:v>
                </c:pt>
                <c:pt idx="8134">
                  <c:v>#N/A</c:v>
                </c:pt>
                <c:pt idx="8135">
                  <c:v>-1.84578</c:v>
                </c:pt>
                <c:pt idx="8136">
                  <c:v>-1.88794</c:v>
                </c:pt>
                <c:pt idx="8137">
                  <c:v>-2.2664800000000001</c:v>
                </c:pt>
                <c:pt idx="8138">
                  <c:v>#N/A</c:v>
                </c:pt>
                <c:pt idx="8139">
                  <c:v>-2.0484100000000001</c:v>
                </c:pt>
                <c:pt idx="8140">
                  <c:v>-2.58677</c:v>
                </c:pt>
                <c:pt idx="8141">
                  <c:v>-2.4411399999999999</c:v>
                </c:pt>
                <c:pt idx="8142">
                  <c:v>#N/A</c:v>
                </c:pt>
                <c:pt idx="8143">
                  <c:v>-1.7259199999999999</c:v>
                </c:pt>
                <c:pt idx="8144">
                  <c:v>-1.60263</c:v>
                </c:pt>
                <c:pt idx="8145">
                  <c:v>-1.66733</c:v>
                </c:pt>
                <c:pt idx="8146">
                  <c:v>#N/A</c:v>
                </c:pt>
                <c:pt idx="8147">
                  <c:v>-2.4319299999999999</c:v>
                </c:pt>
                <c:pt idx="8148">
                  <c:v>-2.6062699999999999</c:v>
                </c:pt>
                <c:pt idx="8149">
                  <c:v>-2.5885699999999998</c:v>
                </c:pt>
                <c:pt idx="8150">
                  <c:v>#N/A</c:v>
                </c:pt>
                <c:pt idx="8151">
                  <c:v>-2.1194000000000002</c:v>
                </c:pt>
                <c:pt idx="8152">
                  <c:v>-2.1238299999999999</c:v>
                </c:pt>
                <c:pt idx="8153">
                  <c:v>#N/A</c:v>
                </c:pt>
                <c:pt idx="8154">
                  <c:v>-2.2795399999999999</c:v>
                </c:pt>
                <c:pt idx="8155">
                  <c:v>-2.8733499999999998</c:v>
                </c:pt>
                <c:pt idx="8156">
                  <c:v>-2.3251400000000002</c:v>
                </c:pt>
                <c:pt idx="8157">
                  <c:v>#N/A</c:v>
                </c:pt>
                <c:pt idx="8158">
                  <c:v>-2.7492700000000001</c:v>
                </c:pt>
                <c:pt idx="8159">
                  <c:v>-2.5077199999999999</c:v>
                </c:pt>
                <c:pt idx="8160">
                  <c:v>-2.4321700000000002</c:v>
                </c:pt>
                <c:pt idx="8161">
                  <c:v>#N/A</c:v>
                </c:pt>
                <c:pt idx="8162">
                  <c:v>-2.1022400000000001</c:v>
                </c:pt>
                <c:pt idx="8163">
                  <c:v>-1.8527</c:v>
                </c:pt>
                <c:pt idx="8164">
                  <c:v>-1.8142</c:v>
                </c:pt>
                <c:pt idx="8165">
                  <c:v>#N/A</c:v>
                </c:pt>
                <c:pt idx="8166">
                  <c:v>-2.4313899999999999</c:v>
                </c:pt>
                <c:pt idx="8167">
                  <c:v>-2.27027</c:v>
                </c:pt>
                <c:pt idx="8168">
                  <c:v>#N/A</c:v>
                </c:pt>
                <c:pt idx="8169">
                  <c:v>-2.6203699999999999</c:v>
                </c:pt>
                <c:pt idx="8170">
                  <c:v>-2.1992500000000001</c:v>
                </c:pt>
                <c:pt idx="8171">
                  <c:v>-2.5782799999999999</c:v>
                </c:pt>
                <c:pt idx="8172">
                  <c:v>#N/A</c:v>
                </c:pt>
                <c:pt idx="8173">
                  <c:v>-2.3621699999999999</c:v>
                </c:pt>
                <c:pt idx="8174">
                  <c:v>-1.677</c:v>
                </c:pt>
                <c:pt idx="8175">
                  <c:v>-2.1632099999999999</c:v>
                </c:pt>
                <c:pt idx="8176">
                  <c:v>#N/A</c:v>
                </c:pt>
                <c:pt idx="8177">
                  <c:v>-2.0839699999999999</c:v>
                </c:pt>
                <c:pt idx="8178">
                  <c:v>-2.8986399999999999</c:v>
                </c:pt>
                <c:pt idx="8179">
                  <c:v>-2.9762200000000001</c:v>
                </c:pt>
                <c:pt idx="8180">
                  <c:v>#N/A</c:v>
                </c:pt>
                <c:pt idx="8181">
                  <c:v>-3.09233</c:v>
                </c:pt>
                <c:pt idx="8182">
                  <c:v>-2.6074700000000002</c:v>
                </c:pt>
                <c:pt idx="8183">
                  <c:v>-2.27738</c:v>
                </c:pt>
                <c:pt idx="8184">
                  <c:v>#N/A</c:v>
                </c:pt>
                <c:pt idx="8185">
                  <c:v>-2.1965400000000002</c:v>
                </c:pt>
                <c:pt idx="8186">
                  <c:v>-1.9655899999999999</c:v>
                </c:pt>
                <c:pt idx="8187">
                  <c:v>-2.0760900000000002</c:v>
                </c:pt>
                <c:pt idx="8188">
                  <c:v>#N/A</c:v>
                </c:pt>
                <c:pt idx="8189">
                  <c:v>-3.2835299999999998</c:v>
                </c:pt>
                <c:pt idx="8190">
                  <c:v>-2.9055</c:v>
                </c:pt>
                <c:pt idx="8191">
                  <c:v>#N/A</c:v>
                </c:pt>
                <c:pt idx="8192">
                  <c:v>#N/A</c:v>
                </c:pt>
                <c:pt idx="8193">
                  <c:v>#N/A</c:v>
                </c:pt>
                <c:pt idx="8194">
                  <c:v>#N/A</c:v>
                </c:pt>
                <c:pt idx="8195">
                  <c:v>#N/A</c:v>
                </c:pt>
                <c:pt idx="8196">
                  <c:v>#N/A</c:v>
                </c:pt>
                <c:pt idx="8197">
                  <c:v>#N/A</c:v>
                </c:pt>
                <c:pt idx="8198">
                  <c:v>#N/A</c:v>
                </c:pt>
                <c:pt idx="8199">
                  <c:v>#N/A</c:v>
                </c:pt>
                <c:pt idx="8200">
                  <c:v>#N/A</c:v>
                </c:pt>
                <c:pt idx="8201">
                  <c:v>#N/A</c:v>
                </c:pt>
                <c:pt idx="8202">
                  <c:v>#N/A</c:v>
                </c:pt>
                <c:pt idx="8203">
                  <c:v>#N/A</c:v>
                </c:pt>
                <c:pt idx="8204">
                  <c:v>#N/A</c:v>
                </c:pt>
                <c:pt idx="8205">
                  <c:v>#N/A</c:v>
                </c:pt>
                <c:pt idx="8206">
                  <c:v>#N/A</c:v>
                </c:pt>
                <c:pt idx="8207">
                  <c:v>#N/A</c:v>
                </c:pt>
                <c:pt idx="8208">
                  <c:v>#N/A</c:v>
                </c:pt>
                <c:pt idx="8209">
                  <c:v>#N/A</c:v>
                </c:pt>
                <c:pt idx="8210">
                  <c:v>#N/A</c:v>
                </c:pt>
                <c:pt idx="8211">
                  <c:v>#N/A</c:v>
                </c:pt>
                <c:pt idx="8212">
                  <c:v>#N/A</c:v>
                </c:pt>
                <c:pt idx="8213">
                  <c:v>#N/A</c:v>
                </c:pt>
                <c:pt idx="8214">
                  <c:v>#N/A</c:v>
                </c:pt>
                <c:pt idx="8215">
                  <c:v>-2.8078799999999999</c:v>
                </c:pt>
                <c:pt idx="8216">
                  <c:v>#N/A</c:v>
                </c:pt>
                <c:pt idx="8217">
                  <c:v>-2.5006499999999998</c:v>
                </c:pt>
                <c:pt idx="8218">
                  <c:v>-2.82206</c:v>
                </c:pt>
                <c:pt idx="8219">
                  <c:v>-2.7734100000000002</c:v>
                </c:pt>
                <c:pt idx="8220">
                  <c:v>#N/A</c:v>
                </c:pt>
                <c:pt idx="8221">
                  <c:v>-2.8077000000000001</c:v>
                </c:pt>
                <c:pt idx="8222">
                  <c:v>-2.9683099999999998</c:v>
                </c:pt>
                <c:pt idx="8223">
                  <c:v>-3.1564100000000002</c:v>
                </c:pt>
                <c:pt idx="8224">
                  <c:v>#N/A</c:v>
                </c:pt>
                <c:pt idx="8225">
                  <c:v>-3.19198</c:v>
                </c:pt>
                <c:pt idx="8226">
                  <c:v>-2.0853899999999999</c:v>
                </c:pt>
                <c:pt idx="8227">
                  <c:v>-2.2789299999999999</c:v>
                </c:pt>
                <c:pt idx="8228">
                  <c:v>#N/A</c:v>
                </c:pt>
                <c:pt idx="8229">
                  <c:v>-2.3256100000000002</c:v>
                </c:pt>
                <c:pt idx="8230">
                  <c:v>-2.5389200000000001</c:v>
                </c:pt>
                <c:pt idx="8231">
                  <c:v>#N/A</c:v>
                </c:pt>
                <c:pt idx="8232">
                  <c:v>-3.6478700000000002</c:v>
                </c:pt>
                <c:pt idx="8233">
                  <c:v>-3.3775400000000002</c:v>
                </c:pt>
                <c:pt idx="8234">
                  <c:v>-2.47315</c:v>
                </c:pt>
                <c:pt idx="8235">
                  <c:v>#N/A</c:v>
                </c:pt>
                <c:pt idx="8236">
                  <c:v>-2.9365600000000001</c:v>
                </c:pt>
                <c:pt idx="8237">
                  <c:v>-2.7231200000000002</c:v>
                </c:pt>
                <c:pt idx="8238">
                  <c:v>-2.7185800000000002</c:v>
                </c:pt>
                <c:pt idx="8239">
                  <c:v>#N/A</c:v>
                </c:pt>
                <c:pt idx="8240">
                  <c:v>-2.9437799999999998</c:v>
                </c:pt>
                <c:pt idx="8241">
                  <c:v>-3.4137300000000002</c:v>
                </c:pt>
                <c:pt idx="8242">
                  <c:v>-3.41066</c:v>
                </c:pt>
                <c:pt idx="8243">
                  <c:v>#N/A</c:v>
                </c:pt>
                <c:pt idx="8244">
                  <c:v>-3.6499799999999998</c:v>
                </c:pt>
                <c:pt idx="8245">
                  <c:v>-2.9082300000000001</c:v>
                </c:pt>
                <c:pt idx="8246">
                  <c:v>#N/A</c:v>
                </c:pt>
                <c:pt idx="8247">
                  <c:v>-2.30342</c:v>
                </c:pt>
                <c:pt idx="8248">
                  <c:v>-2.4066999999999998</c:v>
                </c:pt>
                <c:pt idx="8249">
                  <c:v>-3.4263300000000001</c:v>
                </c:pt>
                <c:pt idx="8250">
                  <c:v>#N/A</c:v>
                </c:pt>
                <c:pt idx="8251">
                  <c:v>-3.4142700000000001</c:v>
                </c:pt>
                <c:pt idx="8252">
                  <c:v>-3.2349700000000001</c:v>
                </c:pt>
                <c:pt idx="8253">
                  <c:v>-3.0683199999999999</c:v>
                </c:pt>
                <c:pt idx="8254">
                  <c:v>#N/A</c:v>
                </c:pt>
                <c:pt idx="8255">
                  <c:v>-2.7757900000000002</c:v>
                </c:pt>
                <c:pt idx="8256">
                  <c:v>-2.6237699999999999</c:v>
                </c:pt>
                <c:pt idx="8257">
                  <c:v>-1.81298</c:v>
                </c:pt>
                <c:pt idx="8258">
                  <c:v>#N/A</c:v>
                </c:pt>
                <c:pt idx="8259">
                  <c:v>-1.871</c:v>
                </c:pt>
                <c:pt idx="8260">
                  <c:v>-2.4211999999999998</c:v>
                </c:pt>
                <c:pt idx="8261">
                  <c:v>-3.5440100000000001</c:v>
                </c:pt>
                <c:pt idx="8262">
                  <c:v>#N/A</c:v>
                </c:pt>
                <c:pt idx="8263">
                  <c:v>-3.4643600000000001</c:v>
                </c:pt>
                <c:pt idx="8264">
                  <c:v>-3.6855099999999998</c:v>
                </c:pt>
                <c:pt idx="8265">
                  <c:v>-3.14994</c:v>
                </c:pt>
                <c:pt idx="8266">
                  <c:v>#N/A</c:v>
                </c:pt>
                <c:pt idx="8267">
                  <c:v>-3.38585</c:v>
                </c:pt>
                <c:pt idx="8268">
                  <c:v>-3.2547799999999998</c:v>
                </c:pt>
                <c:pt idx="8269">
                  <c:v>-3.1281300000000001</c:v>
                </c:pt>
                <c:pt idx="8270">
                  <c:v>#N/A</c:v>
                </c:pt>
                <c:pt idx="8271">
                  <c:v>-3.1256499999999998</c:v>
                </c:pt>
                <c:pt idx="8272">
                  <c:v>-3.3486799999999999</c:v>
                </c:pt>
                <c:pt idx="8273">
                  <c:v>-3.8071000000000002</c:v>
                </c:pt>
                <c:pt idx="8274">
                  <c:v>#N/A</c:v>
                </c:pt>
                <c:pt idx="8275">
                  <c:v>-4.2079599999999999</c:v>
                </c:pt>
                <c:pt idx="8276">
                  <c:v>-3.0428299999999999</c:v>
                </c:pt>
                <c:pt idx="8277">
                  <c:v>-2.6445699999999999</c:v>
                </c:pt>
                <c:pt idx="8278">
                  <c:v>#N/A</c:v>
                </c:pt>
                <c:pt idx="8279">
                  <c:v>-2.2121900000000001</c:v>
                </c:pt>
                <c:pt idx="8280">
                  <c:v>-1.899</c:v>
                </c:pt>
                <c:pt idx="8281">
                  <c:v>#N/A</c:v>
                </c:pt>
                <c:pt idx="8282">
                  <c:v>-2.3869799999999999</c:v>
                </c:pt>
                <c:pt idx="8283">
                  <c:v>-2.6855899999999999</c:v>
                </c:pt>
                <c:pt idx="8284">
                  <c:v>-2.77922</c:v>
                </c:pt>
                <c:pt idx="8285">
                  <c:v>#N/A</c:v>
                </c:pt>
                <c:pt idx="8286">
                  <c:v>-2.9547099999999999</c:v>
                </c:pt>
                <c:pt idx="8287">
                  <c:v>-2.6957499999999999</c:v>
                </c:pt>
                <c:pt idx="8288">
                  <c:v>-2.2294299999999998</c:v>
                </c:pt>
                <c:pt idx="8289">
                  <c:v>#N/A</c:v>
                </c:pt>
                <c:pt idx="8290">
                  <c:v>-1.8745000000000001</c:v>
                </c:pt>
                <c:pt idx="8291">
                  <c:v>-1.58067</c:v>
                </c:pt>
                <c:pt idx="8292">
                  <c:v>-2.1136699999999999</c:v>
                </c:pt>
                <c:pt idx="8293">
                  <c:v>#N/A</c:v>
                </c:pt>
                <c:pt idx="8294">
                  <c:v>-2.6270899999999999</c:v>
                </c:pt>
                <c:pt idx="8295">
                  <c:v>-3.3201200000000002</c:v>
                </c:pt>
                <c:pt idx="8296">
                  <c:v>-3.4028900000000002</c:v>
                </c:pt>
                <c:pt idx="8297">
                  <c:v>#N/A</c:v>
                </c:pt>
                <c:pt idx="8298">
                  <c:v>-2.79434</c:v>
                </c:pt>
                <c:pt idx="8299">
                  <c:v>-2.9247899999999998</c:v>
                </c:pt>
                <c:pt idx="8300">
                  <c:v>-2.70302</c:v>
                </c:pt>
                <c:pt idx="8301">
                  <c:v>#N/A</c:v>
                </c:pt>
                <c:pt idx="8302">
                  <c:v>-3.5432700000000001</c:v>
                </c:pt>
                <c:pt idx="8303">
                  <c:v>-2.7077399999999998</c:v>
                </c:pt>
                <c:pt idx="8304">
                  <c:v>#N/A</c:v>
                </c:pt>
                <c:pt idx="8305">
                  <c:v>-3.2558099999999999</c:v>
                </c:pt>
                <c:pt idx="8306">
                  <c:v>-3.3218100000000002</c:v>
                </c:pt>
                <c:pt idx="8307">
                  <c:v>-2.2738399999999999</c:v>
                </c:pt>
                <c:pt idx="8308">
                  <c:v>#N/A</c:v>
                </c:pt>
                <c:pt idx="8309">
                  <c:v>-2.4383300000000001</c:v>
                </c:pt>
                <c:pt idx="8310">
                  <c:v>-2.4119899999999999</c:v>
                </c:pt>
                <c:pt idx="8311">
                  <c:v>-3.0285199999999999</c:v>
                </c:pt>
                <c:pt idx="8312">
                  <c:v>#N/A</c:v>
                </c:pt>
                <c:pt idx="8313">
                  <c:v>-2.9250799999999999</c:v>
                </c:pt>
                <c:pt idx="8314">
                  <c:v>-3.2677700000000001</c:v>
                </c:pt>
                <c:pt idx="8315">
                  <c:v>-3.3806099999999999</c:v>
                </c:pt>
                <c:pt idx="8316">
                  <c:v>#N/A</c:v>
                </c:pt>
                <c:pt idx="8317">
                  <c:v>-2.5701200000000002</c:v>
                </c:pt>
                <c:pt idx="8318">
                  <c:v>-1.99491</c:v>
                </c:pt>
                <c:pt idx="8319">
                  <c:v>-1.95302</c:v>
                </c:pt>
                <c:pt idx="8320">
                  <c:v>#N/A</c:v>
                </c:pt>
                <c:pt idx="8321">
                  <c:v>-2.2999200000000002</c:v>
                </c:pt>
                <c:pt idx="8322">
                  <c:v>-2.46916</c:v>
                </c:pt>
                <c:pt idx="8323">
                  <c:v>-2.59938</c:v>
                </c:pt>
                <c:pt idx="8324">
                  <c:v>#N/A</c:v>
                </c:pt>
                <c:pt idx="8325">
                  <c:v>-3.3331400000000002</c:v>
                </c:pt>
                <c:pt idx="8326">
                  <c:v>-3.9286699999999999</c:v>
                </c:pt>
                <c:pt idx="8327">
                  <c:v>-3.3065699999999998</c:v>
                </c:pt>
                <c:pt idx="8328">
                  <c:v>#N/A</c:v>
                </c:pt>
                <c:pt idx="8329">
                  <c:v>-2.2425099999999998</c:v>
                </c:pt>
                <c:pt idx="8330">
                  <c:v>-2.10006</c:v>
                </c:pt>
                <c:pt idx="8331">
                  <c:v>-2.1537799999999998</c:v>
                </c:pt>
                <c:pt idx="8332">
                  <c:v>#N/A</c:v>
                </c:pt>
                <c:pt idx="8333">
                  <c:v>-3.0185599999999999</c:v>
                </c:pt>
                <c:pt idx="8334">
                  <c:v>-2.7427700000000002</c:v>
                </c:pt>
                <c:pt idx="8335">
                  <c:v>-3.2403400000000002</c:v>
                </c:pt>
                <c:pt idx="8336">
                  <c:v>#N/A</c:v>
                </c:pt>
                <c:pt idx="8337">
                  <c:v>-3.3504999999999998</c:v>
                </c:pt>
                <c:pt idx="8338">
                  <c:v>-3.43411</c:v>
                </c:pt>
                <c:pt idx="8339">
                  <c:v>#N/A</c:v>
                </c:pt>
                <c:pt idx="8340">
                  <c:v>-2.9269699999999998</c:v>
                </c:pt>
                <c:pt idx="8341">
                  <c:v>-2.1465200000000002</c:v>
                </c:pt>
                <c:pt idx="8342">
                  <c:v>-2.18512</c:v>
                </c:pt>
                <c:pt idx="8343">
                  <c:v>#N/A</c:v>
                </c:pt>
                <c:pt idx="8344">
                  <c:v>-2.6959</c:v>
                </c:pt>
                <c:pt idx="8345">
                  <c:v>-2.8405100000000001</c:v>
                </c:pt>
                <c:pt idx="8346">
                  <c:v>-3.4027799999999999</c:v>
                </c:pt>
                <c:pt idx="8347">
                  <c:v>#N/A</c:v>
                </c:pt>
                <c:pt idx="8348">
                  <c:v>-3.3811200000000001</c:v>
                </c:pt>
                <c:pt idx="8349">
                  <c:v>-2.8921700000000001</c:v>
                </c:pt>
                <c:pt idx="8350">
                  <c:v>#N/A</c:v>
                </c:pt>
                <c:pt idx="8351">
                  <c:v>-2.5084599999999999</c:v>
                </c:pt>
                <c:pt idx="8352">
                  <c:v>-1.61758</c:v>
                </c:pt>
                <c:pt idx="8353">
                  <c:v>#N/A</c:v>
                </c:pt>
                <c:pt idx="8354">
                  <c:v>-2.09294</c:v>
                </c:pt>
                <c:pt idx="8355">
                  <c:v>-2.3670300000000002</c:v>
                </c:pt>
                <c:pt idx="8356">
                  <c:v>#N/A</c:v>
                </c:pt>
                <c:pt idx="8357">
                  <c:v>-2.83534</c:v>
                </c:pt>
                <c:pt idx="8358">
                  <c:v>-2.7068300000000001</c:v>
                </c:pt>
                <c:pt idx="8359">
                  <c:v>#N/A</c:v>
                </c:pt>
                <c:pt idx="8360">
                  <c:v>-2.72939</c:v>
                </c:pt>
                <c:pt idx="8361">
                  <c:v>-2.7035300000000002</c:v>
                </c:pt>
                <c:pt idx="8362">
                  <c:v>-2.82294</c:v>
                </c:pt>
                <c:pt idx="8363">
                  <c:v>#N/A</c:v>
                </c:pt>
                <c:pt idx="8364">
                  <c:v>-2.30802</c:v>
                </c:pt>
                <c:pt idx="8365">
                  <c:v>-2.54305</c:v>
                </c:pt>
                <c:pt idx="8366">
                  <c:v>-2.9852599999999998</c:v>
                </c:pt>
                <c:pt idx="8367">
                  <c:v>#N/A</c:v>
                </c:pt>
                <c:pt idx="8368">
                  <c:v>-3.1234199999999999</c:v>
                </c:pt>
                <c:pt idx="8369">
                  <c:v>-3.4995099999999999</c:v>
                </c:pt>
                <c:pt idx="8370">
                  <c:v>-3.05532</c:v>
                </c:pt>
                <c:pt idx="8371">
                  <c:v>#N/A</c:v>
                </c:pt>
                <c:pt idx="8372">
                  <c:v>-2.3039000000000001</c:v>
                </c:pt>
                <c:pt idx="8373">
                  <c:v>-2.9091900000000002</c:v>
                </c:pt>
                <c:pt idx="8374">
                  <c:v>#N/A</c:v>
                </c:pt>
                <c:pt idx="8375">
                  <c:v>-2.44136</c:v>
                </c:pt>
                <c:pt idx="8376">
                  <c:v>-2.3072499999999998</c:v>
                </c:pt>
                <c:pt idx="8377">
                  <c:v>-2.55627</c:v>
                </c:pt>
                <c:pt idx="8378">
                  <c:v>#N/A</c:v>
                </c:pt>
                <c:pt idx="8379">
                  <c:v>-2.5517799999999999</c:v>
                </c:pt>
                <c:pt idx="8380">
                  <c:v>-2.48828</c:v>
                </c:pt>
                <c:pt idx="8381">
                  <c:v>-2.59267</c:v>
                </c:pt>
                <c:pt idx="8382">
                  <c:v>#N/A</c:v>
                </c:pt>
                <c:pt idx="8383">
                  <c:v>-2.2682899999999999</c:v>
                </c:pt>
                <c:pt idx="8384">
                  <c:v>-2.2225999999999999</c:v>
                </c:pt>
                <c:pt idx="8385">
                  <c:v>-3.05843</c:v>
                </c:pt>
                <c:pt idx="8386">
                  <c:v>#N/A</c:v>
                </c:pt>
                <c:pt idx="8387">
                  <c:v>-3.2166199999999998</c:v>
                </c:pt>
                <c:pt idx="8388">
                  <c:v>-3.4986199999999998</c:v>
                </c:pt>
                <c:pt idx="8389">
                  <c:v>-3.33636</c:v>
                </c:pt>
                <c:pt idx="8390">
                  <c:v>#N/A</c:v>
                </c:pt>
                <c:pt idx="8391">
                  <c:v>-3.0968800000000001</c:v>
                </c:pt>
                <c:pt idx="8392">
                  <c:v>-3.2399800000000001</c:v>
                </c:pt>
                <c:pt idx="8393">
                  <c:v>-2.93188</c:v>
                </c:pt>
                <c:pt idx="8394">
                  <c:v>#N/A</c:v>
                </c:pt>
                <c:pt idx="8395">
                  <c:v>-2.2110799999999999</c:v>
                </c:pt>
                <c:pt idx="8396">
                  <c:v>-2.85643</c:v>
                </c:pt>
                <c:pt idx="8397">
                  <c:v>-3.31359</c:v>
                </c:pt>
                <c:pt idx="8398">
                  <c:v>#N/A</c:v>
                </c:pt>
                <c:pt idx="8399">
                  <c:v>-3.7150699999999999</c:v>
                </c:pt>
                <c:pt idx="8400">
                  <c:v>-3.38144</c:v>
                </c:pt>
                <c:pt idx="8401">
                  <c:v>-2.9443100000000002</c:v>
                </c:pt>
                <c:pt idx="8402">
                  <c:v>#N/A</c:v>
                </c:pt>
                <c:pt idx="8403">
                  <c:v>-2.2152500000000002</c:v>
                </c:pt>
                <c:pt idx="8404">
                  <c:v>-2.1965400000000002</c:v>
                </c:pt>
                <c:pt idx="8405">
                  <c:v>#N/A</c:v>
                </c:pt>
                <c:pt idx="8406">
                  <c:v>-2.56976</c:v>
                </c:pt>
                <c:pt idx="8407">
                  <c:v>-3.0170300000000001</c:v>
                </c:pt>
                <c:pt idx="8408">
                  <c:v>-3.0352299999999999</c:v>
                </c:pt>
                <c:pt idx="8409">
                  <c:v>#N/A</c:v>
                </c:pt>
                <c:pt idx="8410">
                  <c:v>-3.49695</c:v>
                </c:pt>
                <c:pt idx="8411">
                  <c:v>-3.4289299999999998</c:v>
                </c:pt>
                <c:pt idx="8412">
                  <c:v>-2.8405</c:v>
                </c:pt>
                <c:pt idx="8413">
                  <c:v>#N/A</c:v>
                </c:pt>
                <c:pt idx="8414">
                  <c:v>-2.7574800000000002</c:v>
                </c:pt>
                <c:pt idx="8415">
                  <c:v>-2.24078</c:v>
                </c:pt>
                <c:pt idx="8416">
                  <c:v>-2.6901199999999998</c:v>
                </c:pt>
                <c:pt idx="8417">
                  <c:v>#N/A</c:v>
                </c:pt>
                <c:pt idx="8418">
                  <c:v>-2.3059099999999999</c:v>
                </c:pt>
                <c:pt idx="8419">
                  <c:v>-3.0996100000000002</c:v>
                </c:pt>
                <c:pt idx="8420">
                  <c:v>-2.8756900000000001</c:v>
                </c:pt>
                <c:pt idx="8421">
                  <c:v>#N/A</c:v>
                </c:pt>
                <c:pt idx="8422">
                  <c:v>-3.4560399999999998</c:v>
                </c:pt>
                <c:pt idx="8423">
                  <c:v>-3.3667500000000001</c:v>
                </c:pt>
                <c:pt idx="8424">
                  <c:v>-2.7816900000000002</c:v>
                </c:pt>
                <c:pt idx="8425">
                  <c:v>#N/A</c:v>
                </c:pt>
                <c:pt idx="8426">
                  <c:v>-2.7591299999999999</c:v>
                </c:pt>
                <c:pt idx="8427">
                  <c:v>#N/A</c:v>
                </c:pt>
                <c:pt idx="8428">
                  <c:v>-2.1979000000000002</c:v>
                </c:pt>
                <c:pt idx="8429">
                  <c:v>-2.6388400000000001</c:v>
                </c:pt>
                <c:pt idx="8430">
                  <c:v>-2.9127000000000001</c:v>
                </c:pt>
                <c:pt idx="8431">
                  <c:v>#N/A</c:v>
                </c:pt>
                <c:pt idx="8432">
                  <c:v>-3.17441</c:v>
                </c:pt>
                <c:pt idx="8433">
                  <c:v>-3.0301</c:v>
                </c:pt>
                <c:pt idx="8434">
                  <c:v>-3.03111</c:v>
                </c:pt>
                <c:pt idx="8435">
                  <c:v>#N/A</c:v>
                </c:pt>
                <c:pt idx="8436">
                  <c:v>-3.16255</c:v>
                </c:pt>
                <c:pt idx="8437">
                  <c:v>-2.6162000000000001</c:v>
                </c:pt>
                <c:pt idx="8438">
                  <c:v>-2.4277799999999998</c:v>
                </c:pt>
                <c:pt idx="8439">
                  <c:v>#N/A</c:v>
                </c:pt>
                <c:pt idx="8440">
                  <c:v>-2.8967200000000002</c:v>
                </c:pt>
                <c:pt idx="8441">
                  <c:v>-2.8121299999999998</c:v>
                </c:pt>
                <c:pt idx="8442">
                  <c:v>-3.0107300000000001</c:v>
                </c:pt>
                <c:pt idx="8443">
                  <c:v>#N/A</c:v>
                </c:pt>
                <c:pt idx="8444">
                  <c:v>-3.0299</c:v>
                </c:pt>
                <c:pt idx="8445">
                  <c:v>-2.8521399999999999</c:v>
                </c:pt>
                <c:pt idx="8446">
                  <c:v>-2.59653</c:v>
                </c:pt>
                <c:pt idx="8447">
                  <c:v>#N/A</c:v>
                </c:pt>
                <c:pt idx="8448">
                  <c:v>-2.7194400000000001</c:v>
                </c:pt>
                <c:pt idx="8449">
                  <c:v>-3.0636700000000001</c:v>
                </c:pt>
                <c:pt idx="8450">
                  <c:v>#N/A</c:v>
                </c:pt>
                <c:pt idx="8451">
                  <c:v>-3.13523</c:v>
                </c:pt>
                <c:pt idx="8452">
                  <c:v>-3.3536999999999999</c:v>
                </c:pt>
                <c:pt idx="8453">
                  <c:v>-3.2482099999999998</c:v>
                </c:pt>
                <c:pt idx="8454">
                  <c:v>#N/A</c:v>
                </c:pt>
                <c:pt idx="8455">
                  <c:v>-2.4773399999999999</c:v>
                </c:pt>
                <c:pt idx="8456">
                  <c:v>-1.9629700000000001</c:v>
                </c:pt>
                <c:pt idx="8457">
                  <c:v>-2.1964899999999998</c:v>
                </c:pt>
                <c:pt idx="8458">
                  <c:v>#N/A</c:v>
                </c:pt>
                <c:pt idx="8459">
                  <c:v>-2.6712699999999998</c:v>
                </c:pt>
                <c:pt idx="8460">
                  <c:v>-2.8127499999999999</c:v>
                </c:pt>
                <c:pt idx="8461">
                  <c:v>-2.89493</c:v>
                </c:pt>
                <c:pt idx="8462">
                  <c:v>#N/A</c:v>
                </c:pt>
                <c:pt idx="8463">
                  <c:v>-2.40293</c:v>
                </c:pt>
                <c:pt idx="8464">
                  <c:v>-2.59396</c:v>
                </c:pt>
                <c:pt idx="8465">
                  <c:v>-2.29834</c:v>
                </c:pt>
                <c:pt idx="8466">
                  <c:v>#N/A</c:v>
                </c:pt>
                <c:pt idx="8467">
                  <c:v>-2.4159099999999998</c:v>
                </c:pt>
                <c:pt idx="8468">
                  <c:v>-2.25522</c:v>
                </c:pt>
                <c:pt idx="8469">
                  <c:v>-2.7503000000000002</c:v>
                </c:pt>
                <c:pt idx="8470">
                  <c:v>#N/A</c:v>
                </c:pt>
                <c:pt idx="8471">
                  <c:v>-2.9006400000000001</c:v>
                </c:pt>
                <c:pt idx="8472">
                  <c:v>-3.20811</c:v>
                </c:pt>
                <c:pt idx="8473">
                  <c:v>-2.4537800000000001</c:v>
                </c:pt>
                <c:pt idx="8474">
                  <c:v>#N/A</c:v>
                </c:pt>
                <c:pt idx="8475">
                  <c:v>-2.1245699999999998</c:v>
                </c:pt>
                <c:pt idx="8476">
                  <c:v>-1.4622900000000001</c:v>
                </c:pt>
                <c:pt idx="8477">
                  <c:v>-1.48488</c:v>
                </c:pt>
                <c:pt idx="8478">
                  <c:v>#N/A</c:v>
                </c:pt>
                <c:pt idx="8479">
                  <c:v>-1.75163</c:v>
                </c:pt>
                <c:pt idx="8480">
                  <c:v>-1.6880599999999999</c:v>
                </c:pt>
                <c:pt idx="8481">
                  <c:v>-2.8184800000000001</c:v>
                </c:pt>
                <c:pt idx="8482">
                  <c:v>#N/A</c:v>
                </c:pt>
                <c:pt idx="8483">
                  <c:v>-2.9681500000000001</c:v>
                </c:pt>
                <c:pt idx="8484">
                  <c:v>-2.7128399999999999</c:v>
                </c:pt>
                <c:pt idx="8485">
                  <c:v>#N/A</c:v>
                </c:pt>
                <c:pt idx="8486">
                  <c:v>-2.1207799999999999</c:v>
                </c:pt>
                <c:pt idx="8487">
                  <c:v>-1.5010699999999999</c:v>
                </c:pt>
                <c:pt idx="8488">
                  <c:v>#N/A</c:v>
                </c:pt>
                <c:pt idx="8489">
                  <c:v>-1.2532700000000001</c:v>
                </c:pt>
                <c:pt idx="8490">
                  <c:v>-1.9977799999999999</c:v>
                </c:pt>
                <c:pt idx="8491">
                  <c:v>-2.4761600000000001</c:v>
                </c:pt>
                <c:pt idx="8492">
                  <c:v>#N/A</c:v>
                </c:pt>
                <c:pt idx="8493">
                  <c:v>-2.8320099999999999</c:v>
                </c:pt>
                <c:pt idx="8494">
                  <c:v>-3.5873200000000001</c:v>
                </c:pt>
                <c:pt idx="8495">
                  <c:v>-3.2746300000000002</c:v>
                </c:pt>
                <c:pt idx="8496">
                  <c:v>#N/A</c:v>
                </c:pt>
                <c:pt idx="8497">
                  <c:v>-2.9132799999999999</c:v>
                </c:pt>
                <c:pt idx="8498">
                  <c:v>-1.9005099999999999</c:v>
                </c:pt>
                <c:pt idx="8499">
                  <c:v>-1.24777</c:v>
                </c:pt>
                <c:pt idx="8500">
                  <c:v>#N/A</c:v>
                </c:pt>
                <c:pt idx="8501">
                  <c:v>-1.93479</c:v>
                </c:pt>
                <c:pt idx="8502">
                  <c:v>#N/A</c:v>
                </c:pt>
                <c:pt idx="8503">
                  <c:v>-2.2977400000000001</c:v>
                </c:pt>
                <c:pt idx="8504">
                  <c:v>-3.0175700000000001</c:v>
                </c:pt>
                <c:pt idx="8505">
                  <c:v>#N/A</c:v>
                </c:pt>
                <c:pt idx="8506">
                  <c:v>-3.02244</c:v>
                </c:pt>
                <c:pt idx="8507">
                  <c:v>-3.1269399999999998</c:v>
                </c:pt>
                <c:pt idx="8508">
                  <c:v>#N/A</c:v>
                </c:pt>
                <c:pt idx="8509">
                  <c:v>-2.34416</c:v>
                </c:pt>
                <c:pt idx="8510">
                  <c:v>-1.9622599999999999</c:v>
                </c:pt>
                <c:pt idx="8511">
                  <c:v>-1.83525</c:v>
                </c:pt>
                <c:pt idx="8512">
                  <c:v>#N/A</c:v>
                </c:pt>
                <c:pt idx="8513">
                  <c:v>-2.6972299999999998</c:v>
                </c:pt>
                <c:pt idx="8514">
                  <c:v>-3.2591299999999999</c:v>
                </c:pt>
                <c:pt idx="8515">
                  <c:v>-3.37059</c:v>
                </c:pt>
                <c:pt idx="8516">
                  <c:v>#N/A</c:v>
                </c:pt>
                <c:pt idx="8517">
                  <c:v>-2.4652400000000001</c:v>
                </c:pt>
                <c:pt idx="8518">
                  <c:v>-3.1883300000000001</c:v>
                </c:pt>
                <c:pt idx="8519">
                  <c:v>-2.8861500000000002</c:v>
                </c:pt>
                <c:pt idx="8520">
                  <c:v>#N/A</c:v>
                </c:pt>
                <c:pt idx="8521">
                  <c:v>-2.88734</c:v>
                </c:pt>
                <c:pt idx="8522">
                  <c:v>-1.9583200000000001</c:v>
                </c:pt>
                <c:pt idx="8523">
                  <c:v>-2.8891200000000001</c:v>
                </c:pt>
                <c:pt idx="8524">
                  <c:v>#N/A</c:v>
                </c:pt>
                <c:pt idx="8525">
                  <c:v>-2.37737</c:v>
                </c:pt>
                <c:pt idx="8526">
                  <c:v>-2.9741900000000001</c:v>
                </c:pt>
                <c:pt idx="8527">
                  <c:v>#N/A</c:v>
                </c:pt>
                <c:pt idx="8528">
                  <c:v>-2.8649499999999999</c:v>
                </c:pt>
                <c:pt idx="8529">
                  <c:v>-2.4144199999999998</c:v>
                </c:pt>
                <c:pt idx="8530">
                  <c:v>-2.2906300000000002</c:v>
                </c:pt>
                <c:pt idx="8531">
                  <c:v>#N/A</c:v>
                </c:pt>
                <c:pt idx="8532">
                  <c:v>-2.6385700000000001</c:v>
                </c:pt>
                <c:pt idx="8533">
                  <c:v>-2.6747299999999998</c:v>
                </c:pt>
                <c:pt idx="8534">
                  <c:v>-2.3001</c:v>
                </c:pt>
                <c:pt idx="8535">
                  <c:v>#N/A</c:v>
                </c:pt>
                <c:pt idx="8536">
                  <c:v>-2.2596099999999999</c:v>
                </c:pt>
                <c:pt idx="8537">
                  <c:v>-2.0356800000000002</c:v>
                </c:pt>
                <c:pt idx="8538">
                  <c:v>-1.9250700000000001</c:v>
                </c:pt>
                <c:pt idx="8539">
                  <c:v>#N/A</c:v>
                </c:pt>
                <c:pt idx="8540">
                  <c:v>-1.4342699999999999</c:v>
                </c:pt>
                <c:pt idx="8541">
                  <c:v>-1.7619800000000001</c:v>
                </c:pt>
                <c:pt idx="8542">
                  <c:v>#N/A</c:v>
                </c:pt>
                <c:pt idx="8543">
                  <c:v>-2.2211599999999998</c:v>
                </c:pt>
                <c:pt idx="8544">
                  <c:v>-2.3410700000000002</c:v>
                </c:pt>
                <c:pt idx="8545">
                  <c:v>-3.3213300000000001</c:v>
                </c:pt>
                <c:pt idx="8546">
                  <c:v>#N/A</c:v>
                </c:pt>
                <c:pt idx="8547">
                  <c:v>-2.5425</c:v>
                </c:pt>
                <c:pt idx="8548">
                  <c:v>-2.4043999999999999</c:v>
                </c:pt>
                <c:pt idx="8549">
                  <c:v>-2.016</c:v>
                </c:pt>
                <c:pt idx="8550">
                  <c:v>#N/A</c:v>
                </c:pt>
                <c:pt idx="8551">
                  <c:v>-2.18614</c:v>
                </c:pt>
                <c:pt idx="8552">
                  <c:v>-1.96363</c:v>
                </c:pt>
                <c:pt idx="8553">
                  <c:v>-2.1472799999999999</c:v>
                </c:pt>
                <c:pt idx="8554">
                  <c:v>#N/A</c:v>
                </c:pt>
                <c:pt idx="8555">
                  <c:v>-3.3703799999999999</c:v>
                </c:pt>
                <c:pt idx="8556">
                  <c:v>-2.76647</c:v>
                </c:pt>
                <c:pt idx="8557">
                  <c:v>-3.1453199999999999</c:v>
                </c:pt>
                <c:pt idx="8558">
                  <c:v>#N/A</c:v>
                </c:pt>
                <c:pt idx="8559">
                  <c:v>-2.1099399999999999</c:v>
                </c:pt>
                <c:pt idx="8560">
                  <c:v>-1.6349499999999999</c:v>
                </c:pt>
                <c:pt idx="8561">
                  <c:v>#N/A</c:v>
                </c:pt>
                <c:pt idx="8562">
                  <c:v>-1.35761</c:v>
                </c:pt>
                <c:pt idx="8563">
                  <c:v>-1.8509100000000001</c:v>
                </c:pt>
                <c:pt idx="8564">
                  <c:v>-2.29922</c:v>
                </c:pt>
                <c:pt idx="8565">
                  <c:v>#N/A</c:v>
                </c:pt>
                <c:pt idx="8566">
                  <c:v>-2.6368200000000002</c:v>
                </c:pt>
                <c:pt idx="8567">
                  <c:v>-3.2156899999999999</c:v>
                </c:pt>
                <c:pt idx="8568">
                  <c:v>-2.9568699999999999</c:v>
                </c:pt>
                <c:pt idx="8569">
                  <c:v>#N/A</c:v>
                </c:pt>
                <c:pt idx="8570">
                  <c:v>-3.0598399999999999</c:v>
                </c:pt>
                <c:pt idx="8571">
                  <c:v>-1.84087</c:v>
                </c:pt>
                <c:pt idx="8572">
                  <c:v>-1.72482</c:v>
                </c:pt>
                <c:pt idx="8573">
                  <c:v>#N/A</c:v>
                </c:pt>
                <c:pt idx="8574">
                  <c:v>-2.2604299999999999</c:v>
                </c:pt>
                <c:pt idx="8575">
                  <c:v>-2.9666199999999998</c:v>
                </c:pt>
                <c:pt idx="8576">
                  <c:v>-2.9066900000000002</c:v>
                </c:pt>
                <c:pt idx="8577">
                  <c:v>#N/A</c:v>
                </c:pt>
                <c:pt idx="8578">
                  <c:v>-2.8500899999999998</c:v>
                </c:pt>
                <c:pt idx="8579">
                  <c:v>#N/A</c:v>
                </c:pt>
                <c:pt idx="8580">
                  <c:v>-2.7791299999999999</c:v>
                </c:pt>
                <c:pt idx="8581">
                  <c:v>-2.5325600000000001</c:v>
                </c:pt>
                <c:pt idx="8582">
                  <c:v>-1.88893</c:v>
                </c:pt>
                <c:pt idx="8583">
                  <c:v>#N/A</c:v>
                </c:pt>
                <c:pt idx="8584">
                  <c:v>-2.4875699999999998</c:v>
                </c:pt>
                <c:pt idx="8585">
                  <c:v>-1.8397300000000001</c:v>
                </c:pt>
                <c:pt idx="8586">
                  <c:v>#N/A</c:v>
                </c:pt>
                <c:pt idx="8587">
                  <c:v>-3.0043199999999999</c:v>
                </c:pt>
                <c:pt idx="8588">
                  <c:v>-2.9301900000000001</c:v>
                </c:pt>
                <c:pt idx="8589">
                  <c:v>-3.0484900000000001</c:v>
                </c:pt>
                <c:pt idx="8590">
                  <c:v>#N/A</c:v>
                </c:pt>
                <c:pt idx="8591">
                  <c:v>-2.8844599999999998</c:v>
                </c:pt>
                <c:pt idx="8592">
                  <c:v>-2.6594899999999999</c:v>
                </c:pt>
                <c:pt idx="8593">
                  <c:v>-2.2485300000000001</c:v>
                </c:pt>
                <c:pt idx="8594">
                  <c:v>#N/A</c:v>
                </c:pt>
                <c:pt idx="8595">
                  <c:v>-2.4118200000000001</c:v>
                </c:pt>
                <c:pt idx="8596">
                  <c:v>-2.3359200000000002</c:v>
                </c:pt>
                <c:pt idx="8597">
                  <c:v>-2.3801700000000001</c:v>
                </c:pt>
                <c:pt idx="8598">
                  <c:v>#N/A</c:v>
                </c:pt>
                <c:pt idx="8599">
                  <c:v>-2.94611</c:v>
                </c:pt>
                <c:pt idx="8600">
                  <c:v>-2.88889</c:v>
                </c:pt>
                <c:pt idx="8601">
                  <c:v>-2.0217100000000001</c:v>
                </c:pt>
                <c:pt idx="8602">
                  <c:v>#N/A</c:v>
                </c:pt>
                <c:pt idx="8603">
                  <c:v>-1.49847</c:v>
                </c:pt>
                <c:pt idx="8604">
                  <c:v>-1.9346099999999999</c:v>
                </c:pt>
                <c:pt idx="8605">
                  <c:v>#N/A</c:v>
                </c:pt>
                <c:pt idx="8606">
                  <c:v>-1.91089</c:v>
                </c:pt>
                <c:pt idx="8607">
                  <c:v>-2.57023</c:v>
                </c:pt>
                <c:pt idx="8608">
                  <c:v>-2.8746100000000001</c:v>
                </c:pt>
                <c:pt idx="8609">
                  <c:v>#N/A</c:v>
                </c:pt>
                <c:pt idx="8610">
                  <c:v>-2.4585699999999999</c:v>
                </c:pt>
                <c:pt idx="8611">
                  <c:v>-2.1487799999999999</c:v>
                </c:pt>
                <c:pt idx="8612">
                  <c:v>-2.2549000000000001</c:v>
                </c:pt>
                <c:pt idx="8613">
                  <c:v>#N/A</c:v>
                </c:pt>
                <c:pt idx="8614">
                  <c:v>-2.3256800000000002</c:v>
                </c:pt>
                <c:pt idx="8615">
                  <c:v>-3.1769799999999999</c:v>
                </c:pt>
                <c:pt idx="8616">
                  <c:v>#N/A</c:v>
                </c:pt>
                <c:pt idx="8617">
                  <c:v>-3.6975699999999998</c:v>
                </c:pt>
                <c:pt idx="8618">
                  <c:v>-3.4740799999999998</c:v>
                </c:pt>
                <c:pt idx="8619">
                  <c:v>-3.0195400000000001</c:v>
                </c:pt>
                <c:pt idx="8620">
                  <c:v>#N/A</c:v>
                </c:pt>
                <c:pt idx="8621">
                  <c:v>-2.7968500000000001</c:v>
                </c:pt>
                <c:pt idx="8622">
                  <c:v>-2.5030700000000001</c:v>
                </c:pt>
                <c:pt idx="8623">
                  <c:v>-2.2886600000000001</c:v>
                </c:pt>
                <c:pt idx="8624">
                  <c:v>#N/A</c:v>
                </c:pt>
                <c:pt idx="8625">
                  <c:v>-2.1254900000000001</c:v>
                </c:pt>
                <c:pt idx="8626">
                  <c:v>-2.06189</c:v>
                </c:pt>
                <c:pt idx="8627">
                  <c:v>-2.2777500000000002</c:v>
                </c:pt>
                <c:pt idx="8628">
                  <c:v>#N/A</c:v>
                </c:pt>
                <c:pt idx="8629">
                  <c:v>-3.3473199999999999</c:v>
                </c:pt>
                <c:pt idx="8630">
                  <c:v>-3.3511899999999999</c:v>
                </c:pt>
                <c:pt idx="8631">
                  <c:v>-2.90652</c:v>
                </c:pt>
                <c:pt idx="8632">
                  <c:v>#N/A</c:v>
                </c:pt>
                <c:pt idx="8633">
                  <c:v>-2.5169999999999999</c:v>
                </c:pt>
                <c:pt idx="8634">
                  <c:v>-2.26959</c:v>
                </c:pt>
                <c:pt idx="8635">
                  <c:v>-2.7295500000000001</c:v>
                </c:pt>
                <c:pt idx="8636">
                  <c:v>#N/A</c:v>
                </c:pt>
                <c:pt idx="8637">
                  <c:v>-2.21163</c:v>
                </c:pt>
                <c:pt idx="8638">
                  <c:v>-2.7894000000000001</c:v>
                </c:pt>
                <c:pt idx="8639">
                  <c:v>-3.0086300000000001</c:v>
                </c:pt>
                <c:pt idx="8640">
                  <c:v>#N/A</c:v>
                </c:pt>
                <c:pt idx="8641">
                  <c:v>-3.1744300000000001</c:v>
                </c:pt>
                <c:pt idx="8642">
                  <c:v>-2.2798099999999999</c:v>
                </c:pt>
                <c:pt idx="8643">
                  <c:v>-2.2408999999999999</c:v>
                </c:pt>
                <c:pt idx="8644">
                  <c:v>#N/A</c:v>
                </c:pt>
                <c:pt idx="8645">
                  <c:v>-1.7399</c:v>
                </c:pt>
                <c:pt idx="8646">
                  <c:v>-1.6810400000000001</c:v>
                </c:pt>
                <c:pt idx="8647">
                  <c:v>#N/A</c:v>
                </c:pt>
                <c:pt idx="8648">
                  <c:v>-1.95363</c:v>
                </c:pt>
                <c:pt idx="8649">
                  <c:v>-2.3331</c:v>
                </c:pt>
                <c:pt idx="8650">
                  <c:v>-2.9212199999999999</c:v>
                </c:pt>
                <c:pt idx="8651">
                  <c:v>#N/A</c:v>
                </c:pt>
                <c:pt idx="8652">
                  <c:v>-3.1341800000000002</c:v>
                </c:pt>
                <c:pt idx="8653">
                  <c:v>-2.6000100000000002</c:v>
                </c:pt>
                <c:pt idx="8654">
                  <c:v>#N/A</c:v>
                </c:pt>
                <c:pt idx="8655">
                  <c:v>-1.9766600000000001</c:v>
                </c:pt>
                <c:pt idx="8656">
                  <c:v>-1.5491699999999999</c:v>
                </c:pt>
                <c:pt idx="8657">
                  <c:v>#N/A</c:v>
                </c:pt>
                <c:pt idx="8658">
                  <c:v>-0.88177799999999995</c:v>
                </c:pt>
                <c:pt idx="8659">
                  <c:v>-2.0832099999999998</c:v>
                </c:pt>
                <c:pt idx="8660">
                  <c:v>-2.7931900000000001</c:v>
                </c:pt>
                <c:pt idx="8661">
                  <c:v>#N/A</c:v>
                </c:pt>
                <c:pt idx="8662">
                  <c:v>-2.6639200000000001</c:v>
                </c:pt>
                <c:pt idx="8663">
                  <c:v>-2.3956</c:v>
                </c:pt>
                <c:pt idx="8664">
                  <c:v>-2.21225</c:v>
                </c:pt>
                <c:pt idx="8665">
                  <c:v>#N/A</c:v>
                </c:pt>
                <c:pt idx="8666">
                  <c:v>-1.93184</c:v>
                </c:pt>
                <c:pt idx="8667">
                  <c:v>-1.3204499999999999</c:v>
                </c:pt>
                <c:pt idx="8668">
                  <c:v>-2.0052099999999999</c:v>
                </c:pt>
                <c:pt idx="8669">
                  <c:v>#N/A</c:v>
                </c:pt>
                <c:pt idx="8670">
                  <c:v>-1.80233</c:v>
                </c:pt>
                <c:pt idx="8671">
                  <c:v>-2.63652</c:v>
                </c:pt>
                <c:pt idx="8672">
                  <c:v>-2.5399699999999998</c:v>
                </c:pt>
                <c:pt idx="8673">
                  <c:v>#N/A</c:v>
                </c:pt>
                <c:pt idx="8674">
                  <c:v>-2.4598399999999998</c:v>
                </c:pt>
                <c:pt idx="8675">
                  <c:v>-1.6487000000000001</c:v>
                </c:pt>
                <c:pt idx="8676">
                  <c:v>-1.7667900000000001</c:v>
                </c:pt>
                <c:pt idx="8677">
                  <c:v>#N/A</c:v>
                </c:pt>
                <c:pt idx="8678">
                  <c:v>-2.49986</c:v>
                </c:pt>
                <c:pt idx="8679">
                  <c:v>-2.6644999999999999</c:v>
                </c:pt>
                <c:pt idx="8680">
                  <c:v>-2.38015</c:v>
                </c:pt>
                <c:pt idx="8681">
                  <c:v>#N/A</c:v>
                </c:pt>
                <c:pt idx="8682">
                  <c:v>-2.3926400000000001</c:v>
                </c:pt>
                <c:pt idx="8683">
                  <c:v>-2.96143</c:v>
                </c:pt>
                <c:pt idx="8684">
                  <c:v>-1.78098</c:v>
                </c:pt>
                <c:pt idx="8685">
                  <c:v>#N/A</c:v>
                </c:pt>
                <c:pt idx="8686">
                  <c:v>-1.5659400000000001</c:v>
                </c:pt>
                <c:pt idx="8687">
                  <c:v>-1.6547400000000001</c:v>
                </c:pt>
                <c:pt idx="8688">
                  <c:v>-2.3727</c:v>
                </c:pt>
                <c:pt idx="8689">
                  <c:v>#N/A</c:v>
                </c:pt>
                <c:pt idx="8690">
                  <c:v>-2.73786</c:v>
                </c:pt>
                <c:pt idx="8691">
                  <c:v>-3.2191200000000002</c:v>
                </c:pt>
                <c:pt idx="8692">
                  <c:v>#N/A</c:v>
                </c:pt>
                <c:pt idx="8693">
                  <c:v>-2.4947599999999999</c:v>
                </c:pt>
                <c:pt idx="8694">
                  <c:v>-2.5880299999999998</c:v>
                </c:pt>
                <c:pt idx="8695">
                  <c:v>-2.4171499999999999</c:v>
                </c:pt>
                <c:pt idx="8696">
                  <c:v>#N/A</c:v>
                </c:pt>
                <c:pt idx="8697">
                  <c:v>-2.4184199999999998</c:v>
                </c:pt>
                <c:pt idx="8698">
                  <c:v>-2.26335</c:v>
                </c:pt>
                <c:pt idx="8699">
                  <c:v>-2.5573299999999999</c:v>
                </c:pt>
                <c:pt idx="8700">
                  <c:v>#N/A</c:v>
                </c:pt>
                <c:pt idx="8701">
                  <c:v>-2.7323499999999998</c:v>
                </c:pt>
                <c:pt idx="8702">
                  <c:v>-2.9223599999999998</c:v>
                </c:pt>
                <c:pt idx="8703">
                  <c:v>-2.8602300000000001</c:v>
                </c:pt>
                <c:pt idx="8704">
                  <c:v>#N/A</c:v>
                </c:pt>
                <c:pt idx="8705">
                  <c:v>-2.5291600000000001</c:v>
                </c:pt>
                <c:pt idx="8706">
                  <c:v>-1.85053</c:v>
                </c:pt>
                <c:pt idx="8707">
                  <c:v>-2.2697699999999998</c:v>
                </c:pt>
                <c:pt idx="8708">
                  <c:v>#N/A</c:v>
                </c:pt>
                <c:pt idx="8709">
                  <c:v>-2.3946200000000002</c:v>
                </c:pt>
                <c:pt idx="8710">
                  <c:v>-2.1453000000000002</c:v>
                </c:pt>
                <c:pt idx="8711">
                  <c:v>-2.75949</c:v>
                </c:pt>
                <c:pt idx="8712">
                  <c:v>#N/A</c:v>
                </c:pt>
                <c:pt idx="8713">
                  <c:v>-3.10806</c:v>
                </c:pt>
                <c:pt idx="8714">
                  <c:v>-2.84612</c:v>
                </c:pt>
                <c:pt idx="8715">
                  <c:v>-2.0847799999999999</c:v>
                </c:pt>
                <c:pt idx="8716">
                  <c:v>#N/A</c:v>
                </c:pt>
                <c:pt idx="8717">
                  <c:v>-2.3970799999999999</c:v>
                </c:pt>
                <c:pt idx="8718">
                  <c:v>-1.6180300000000001</c:v>
                </c:pt>
                <c:pt idx="8719">
                  <c:v>-2.6040899999999998</c:v>
                </c:pt>
                <c:pt idx="8720">
                  <c:v>#N/A</c:v>
                </c:pt>
                <c:pt idx="8721">
                  <c:v>-2.4807800000000002</c:v>
                </c:pt>
                <c:pt idx="8722">
                  <c:v>-2.58989</c:v>
                </c:pt>
                <c:pt idx="8723">
                  <c:v>-2.9373499999999999</c:v>
                </c:pt>
                <c:pt idx="8724">
                  <c:v>#N/A</c:v>
                </c:pt>
                <c:pt idx="8725">
                  <c:v>-2.8653300000000002</c:v>
                </c:pt>
                <c:pt idx="8726">
                  <c:v>-2.5601799999999999</c:v>
                </c:pt>
                <c:pt idx="8727">
                  <c:v>#N/A</c:v>
                </c:pt>
                <c:pt idx="8728">
                  <c:v>-2.4593400000000001</c:v>
                </c:pt>
                <c:pt idx="8729">
                  <c:v>#N/A</c:v>
                </c:pt>
                <c:pt idx="8730">
                  <c:v>-1.90638</c:v>
                </c:pt>
                <c:pt idx="8731">
                  <c:v>#N/A</c:v>
                </c:pt>
                <c:pt idx="8732">
                  <c:v>-2.7079300000000002</c:v>
                </c:pt>
                <c:pt idx="8733">
                  <c:v>-2.4572600000000002</c:v>
                </c:pt>
                <c:pt idx="8734">
                  <c:v>-2.7530399999999999</c:v>
                </c:pt>
                <c:pt idx="8735">
                  <c:v>#N/A</c:v>
                </c:pt>
                <c:pt idx="8736">
                  <c:v>-2.4981900000000001</c:v>
                </c:pt>
                <c:pt idx="8737">
                  <c:v>-2.6963900000000001</c:v>
                </c:pt>
                <c:pt idx="8738">
                  <c:v>-2.3491599999999999</c:v>
                </c:pt>
                <c:pt idx="8739">
                  <c:v>#N/A</c:v>
                </c:pt>
                <c:pt idx="8740">
                  <c:v>-2.2720099999999999</c:v>
                </c:pt>
                <c:pt idx="8741">
                  <c:v>-2.0785399999999998</c:v>
                </c:pt>
                <c:pt idx="8742">
                  <c:v>-2.11741</c:v>
                </c:pt>
                <c:pt idx="8743">
                  <c:v>#N/A</c:v>
                </c:pt>
                <c:pt idx="8744">
                  <c:v>-2.6149100000000001</c:v>
                </c:pt>
                <c:pt idx="8745">
                  <c:v>-2.6090900000000001</c:v>
                </c:pt>
                <c:pt idx="8746">
                  <c:v>-2.8622000000000001</c:v>
                </c:pt>
                <c:pt idx="8747">
                  <c:v>#N/A</c:v>
                </c:pt>
                <c:pt idx="8748">
                  <c:v>-2.32741</c:v>
                </c:pt>
                <c:pt idx="8749">
                  <c:v>-2.4738799999999999</c:v>
                </c:pt>
                <c:pt idx="8750">
                  <c:v>-2.1123799999999999</c:v>
                </c:pt>
                <c:pt idx="8751">
                  <c:v>#N/A</c:v>
                </c:pt>
                <c:pt idx="8752">
                  <c:v>-2.0345900000000001</c:v>
                </c:pt>
                <c:pt idx="8753">
                  <c:v>-2.2808899999999999</c:v>
                </c:pt>
                <c:pt idx="8754">
                  <c:v>#N/A</c:v>
                </c:pt>
                <c:pt idx="8755">
                  <c:v>-2.82212</c:v>
                </c:pt>
                <c:pt idx="8756">
                  <c:v>-3.3739499999999998</c:v>
                </c:pt>
                <c:pt idx="8757">
                  <c:v>-2.8994900000000001</c:v>
                </c:pt>
                <c:pt idx="8758">
                  <c:v>#N/A</c:v>
                </c:pt>
                <c:pt idx="8759">
                  <c:v>-2.3767</c:v>
                </c:pt>
                <c:pt idx="8760">
                  <c:v>-1.7506600000000001</c:v>
                </c:pt>
                <c:pt idx="8761">
                  <c:v>-2.12859</c:v>
                </c:pt>
                <c:pt idx="8762">
                  <c:v>#N/A</c:v>
                </c:pt>
                <c:pt idx="8763">
                  <c:v>-2.2702200000000001</c:v>
                </c:pt>
                <c:pt idx="8764">
                  <c:v>-2.50414</c:v>
                </c:pt>
                <c:pt idx="8765">
                  <c:v>#N/A</c:v>
                </c:pt>
                <c:pt idx="8766">
                  <c:v>-2.8892799999999998</c:v>
                </c:pt>
                <c:pt idx="8767">
                  <c:v>-2.1781199999999998</c:v>
                </c:pt>
                <c:pt idx="8768">
                  <c:v>-2.3445299999999998</c:v>
                </c:pt>
                <c:pt idx="8769">
                  <c:v>#N/A</c:v>
                </c:pt>
                <c:pt idx="8770">
                  <c:v>-2.17869</c:v>
                </c:pt>
                <c:pt idx="8771">
                  <c:v>-1.6854800000000001</c:v>
                </c:pt>
                <c:pt idx="8772">
                  <c:v>-1.8546100000000001</c:v>
                </c:pt>
                <c:pt idx="8773">
                  <c:v>#N/A</c:v>
                </c:pt>
                <c:pt idx="8774">
                  <c:v>-2.9023599999999998</c:v>
                </c:pt>
                <c:pt idx="8775">
                  <c:v>-2.6372200000000001</c:v>
                </c:pt>
                <c:pt idx="8776">
                  <c:v>-2.7688999999999999</c:v>
                </c:pt>
                <c:pt idx="8777">
                  <c:v>#N/A</c:v>
                </c:pt>
                <c:pt idx="8778">
                  <c:v>-1.9392799999999999</c:v>
                </c:pt>
                <c:pt idx="8779">
                  <c:v>-1.7471399999999999</c:v>
                </c:pt>
                <c:pt idx="8780">
                  <c:v>-1.92954</c:v>
                </c:pt>
                <c:pt idx="8781">
                  <c:v>#N/A</c:v>
                </c:pt>
                <c:pt idx="8782">
                  <c:v>-1.9056</c:v>
                </c:pt>
                <c:pt idx="8783">
                  <c:v>-1.7302299999999999</c:v>
                </c:pt>
                <c:pt idx="8784">
                  <c:v>#N/A</c:v>
                </c:pt>
                <c:pt idx="8785">
                  <c:v>-2.6190500000000001</c:v>
                </c:pt>
                <c:pt idx="8786">
                  <c:v>-2.9443100000000002</c:v>
                </c:pt>
                <c:pt idx="8787">
                  <c:v>-3.3050700000000002</c:v>
                </c:pt>
                <c:pt idx="8788">
                  <c:v>#N/A</c:v>
                </c:pt>
                <c:pt idx="8789">
                  <c:v>-2.4474499999999999</c:v>
                </c:pt>
                <c:pt idx="8790">
                  <c:v>-2.29928</c:v>
                </c:pt>
                <c:pt idx="8791">
                  <c:v>-1.93974</c:v>
                </c:pt>
                <c:pt idx="8792">
                  <c:v>#N/A</c:v>
                </c:pt>
                <c:pt idx="8793">
                  <c:v>-1.9080600000000001</c:v>
                </c:pt>
                <c:pt idx="8794">
                  <c:v>-1.9542200000000001</c:v>
                </c:pt>
                <c:pt idx="8795">
                  <c:v>-2.62012</c:v>
                </c:pt>
                <c:pt idx="8796">
                  <c:v>#N/A</c:v>
                </c:pt>
                <c:pt idx="8797">
                  <c:v>-2.84144</c:v>
                </c:pt>
                <c:pt idx="8798">
                  <c:v>-3.2984</c:v>
                </c:pt>
                <c:pt idx="8799">
                  <c:v>-2.9410400000000001</c:v>
                </c:pt>
                <c:pt idx="8800">
                  <c:v>#N/A</c:v>
                </c:pt>
                <c:pt idx="8801">
                  <c:v>-2.2257899999999999</c:v>
                </c:pt>
                <c:pt idx="8802">
                  <c:v>-1.5669900000000001</c:v>
                </c:pt>
                <c:pt idx="8803">
                  <c:v>#N/A</c:v>
                </c:pt>
                <c:pt idx="8804">
                  <c:v>-1.5079499999999999</c:v>
                </c:pt>
                <c:pt idx="8805">
                  <c:v>-1.96465</c:v>
                </c:pt>
                <c:pt idx="8806">
                  <c:v>#N/A</c:v>
                </c:pt>
                <c:pt idx="8807">
                  <c:v>-2.5613299999999999</c:v>
                </c:pt>
                <c:pt idx="8808">
                  <c:v>-2.6872799999999999</c:v>
                </c:pt>
                <c:pt idx="8809">
                  <c:v>-2.2199</c:v>
                </c:pt>
                <c:pt idx="8810">
                  <c:v>#N/A</c:v>
                </c:pt>
                <c:pt idx="8811">
                  <c:v>-2.64642</c:v>
                </c:pt>
                <c:pt idx="8812">
                  <c:v>-2.3767399999999999</c:v>
                </c:pt>
                <c:pt idx="8813">
                  <c:v>-2.1240100000000002</c:v>
                </c:pt>
                <c:pt idx="8814">
                  <c:v>#N/A</c:v>
                </c:pt>
                <c:pt idx="8815">
                  <c:v>-1.40622</c:v>
                </c:pt>
                <c:pt idx="8816">
                  <c:v>-2.0105599999999999</c:v>
                </c:pt>
                <c:pt idx="8817">
                  <c:v>#N/A</c:v>
                </c:pt>
                <c:pt idx="8818">
                  <c:v>-2.8973499999999999</c:v>
                </c:pt>
                <c:pt idx="8819">
                  <c:v>-2.95947</c:v>
                </c:pt>
                <c:pt idx="8820">
                  <c:v>-2.5663100000000001</c:v>
                </c:pt>
                <c:pt idx="8821">
                  <c:v>#N/A</c:v>
                </c:pt>
                <c:pt idx="8822">
                  <c:v>-2.5015800000000001</c:v>
                </c:pt>
                <c:pt idx="8823">
                  <c:v>-2.0111300000000001</c:v>
                </c:pt>
                <c:pt idx="8824">
                  <c:v>-2.8759999999999999</c:v>
                </c:pt>
                <c:pt idx="8825">
                  <c:v>#N/A</c:v>
                </c:pt>
                <c:pt idx="8826">
                  <c:v>-2.2897699999999999</c:v>
                </c:pt>
                <c:pt idx="8827">
                  <c:v>-2.3160699999999999</c:v>
                </c:pt>
                <c:pt idx="8828">
                  <c:v>-1.7580100000000001</c:v>
                </c:pt>
                <c:pt idx="8829">
                  <c:v>#N/A</c:v>
                </c:pt>
                <c:pt idx="8830">
                  <c:v>-2.2492000000000001</c:v>
                </c:pt>
                <c:pt idx="8831">
                  <c:v>-2.3922599999999998</c:v>
                </c:pt>
                <c:pt idx="8832">
                  <c:v>-1.7836700000000001</c:v>
                </c:pt>
                <c:pt idx="8833">
                  <c:v>#N/A</c:v>
                </c:pt>
                <c:pt idx="8834">
                  <c:v>-1.8484499999999999</c:v>
                </c:pt>
                <c:pt idx="8835">
                  <c:v>-2.09415</c:v>
                </c:pt>
                <c:pt idx="8836">
                  <c:v>-2.6218900000000001</c:v>
                </c:pt>
                <c:pt idx="8837">
                  <c:v>#N/A</c:v>
                </c:pt>
                <c:pt idx="8838">
                  <c:v>-3.0040200000000001</c:v>
                </c:pt>
                <c:pt idx="8839">
                  <c:v>-2.5681699999999998</c:v>
                </c:pt>
                <c:pt idx="8840">
                  <c:v>-1.88324</c:v>
                </c:pt>
                <c:pt idx="8841">
                  <c:v>#N/A</c:v>
                </c:pt>
                <c:pt idx="8842">
                  <c:v>-1.8923000000000001</c:v>
                </c:pt>
                <c:pt idx="8843">
                  <c:v>-1.7541</c:v>
                </c:pt>
                <c:pt idx="8844">
                  <c:v>-2.3052700000000002</c:v>
                </c:pt>
                <c:pt idx="8845">
                  <c:v>#N/A</c:v>
                </c:pt>
                <c:pt idx="8846">
                  <c:v>-2.21868</c:v>
                </c:pt>
                <c:pt idx="8847">
                  <c:v>-3.1838000000000002</c:v>
                </c:pt>
                <c:pt idx="8848">
                  <c:v>#N/A</c:v>
                </c:pt>
                <c:pt idx="8849">
                  <c:v>-3.2501099999999998</c:v>
                </c:pt>
                <c:pt idx="8850">
                  <c:v>-2.9629699999999999</c:v>
                </c:pt>
                <c:pt idx="8851">
                  <c:v>-2.3716300000000001</c:v>
                </c:pt>
                <c:pt idx="8852">
                  <c:v>#N/A</c:v>
                </c:pt>
                <c:pt idx="8853">
                  <c:v>-1.39943</c:v>
                </c:pt>
                <c:pt idx="8854">
                  <c:v>-1.0837600000000001</c:v>
                </c:pt>
                <c:pt idx="8855">
                  <c:v>-1.7879799999999999</c:v>
                </c:pt>
                <c:pt idx="8856">
                  <c:v>#N/A</c:v>
                </c:pt>
                <c:pt idx="8857">
                  <c:v>-1.82036</c:v>
                </c:pt>
                <c:pt idx="8858">
                  <c:v>-2.27596</c:v>
                </c:pt>
                <c:pt idx="8859">
                  <c:v>-3.53769</c:v>
                </c:pt>
                <c:pt idx="8860">
                  <c:v>#N/A</c:v>
                </c:pt>
                <c:pt idx="8861">
                  <c:v>-3.1037599999999999</c:v>
                </c:pt>
                <c:pt idx="8862">
                  <c:v>-2.77549</c:v>
                </c:pt>
                <c:pt idx="8863">
                  <c:v>-1.55118</c:v>
                </c:pt>
                <c:pt idx="8864">
                  <c:v>#N/A</c:v>
                </c:pt>
                <c:pt idx="8865">
                  <c:v>-1.25973</c:v>
                </c:pt>
                <c:pt idx="8866">
                  <c:v>-1.7295199999999999</c:v>
                </c:pt>
                <c:pt idx="8867">
                  <c:v>-2.28945</c:v>
                </c:pt>
                <c:pt idx="8868">
                  <c:v>#N/A</c:v>
                </c:pt>
                <c:pt idx="8869">
                  <c:v>-2.8049900000000001</c:v>
                </c:pt>
                <c:pt idx="8870">
                  <c:v>-3.2036199999999999</c:v>
                </c:pt>
                <c:pt idx="8871">
                  <c:v>-2.9107699999999999</c:v>
                </c:pt>
                <c:pt idx="8872">
                  <c:v>#N/A</c:v>
                </c:pt>
                <c:pt idx="8873">
                  <c:v>-2.9908000000000001</c:v>
                </c:pt>
                <c:pt idx="8874">
                  <c:v>-3.8349600000000001</c:v>
                </c:pt>
                <c:pt idx="8875">
                  <c:v>-3.7742300000000002</c:v>
                </c:pt>
                <c:pt idx="8876">
                  <c:v>#N/A</c:v>
                </c:pt>
                <c:pt idx="8877">
                  <c:v>-3.2278799999999999</c:v>
                </c:pt>
                <c:pt idx="8878">
                  <c:v>#N/A</c:v>
                </c:pt>
                <c:pt idx="8879">
                  <c:v>-2.8265500000000001</c:v>
                </c:pt>
                <c:pt idx="8880">
                  <c:v>#N/A</c:v>
                </c:pt>
                <c:pt idx="8881">
                  <c:v>-2.6231599999999999</c:v>
                </c:pt>
                <c:pt idx="8882">
                  <c:v>-3.1606299999999998</c:v>
                </c:pt>
                <c:pt idx="8883">
                  <c:v>-2.5625599999999999</c:v>
                </c:pt>
                <c:pt idx="8884">
                  <c:v>#N/A</c:v>
                </c:pt>
                <c:pt idx="8885">
                  <c:v>-2.0204800000000001</c:v>
                </c:pt>
                <c:pt idx="8886">
                  <c:v>-1.27329</c:v>
                </c:pt>
                <c:pt idx="8887">
                  <c:v>-1.1636200000000001</c:v>
                </c:pt>
                <c:pt idx="8888">
                  <c:v>#N/A</c:v>
                </c:pt>
                <c:pt idx="8889">
                  <c:v>-1.5029999999999999</c:v>
                </c:pt>
                <c:pt idx="8890">
                  <c:v>-1.63913</c:v>
                </c:pt>
                <c:pt idx="8891">
                  <c:v>-1.5319199999999999</c:v>
                </c:pt>
                <c:pt idx="8892">
                  <c:v>#N/A</c:v>
                </c:pt>
                <c:pt idx="8893">
                  <c:v>-1.9597599999999999</c:v>
                </c:pt>
                <c:pt idx="8894">
                  <c:v>-2.0546899999999999</c:v>
                </c:pt>
                <c:pt idx="8895">
                  <c:v>#N/A</c:v>
                </c:pt>
                <c:pt idx="8896">
                  <c:v>-2.0299800000000001</c:v>
                </c:pt>
                <c:pt idx="8897">
                  <c:v>-1.57978</c:v>
                </c:pt>
                <c:pt idx="8898">
                  <c:v>-2.2167500000000002</c:v>
                </c:pt>
                <c:pt idx="8899">
                  <c:v>#N/A</c:v>
                </c:pt>
                <c:pt idx="8900">
                  <c:v>-2.29915</c:v>
                </c:pt>
                <c:pt idx="8901">
                  <c:v>-2.9190299999999998</c:v>
                </c:pt>
                <c:pt idx="8902">
                  <c:v>-3.2496999999999998</c:v>
                </c:pt>
                <c:pt idx="8903">
                  <c:v>#N/A</c:v>
                </c:pt>
                <c:pt idx="8904">
                  <c:v>-2.8470599999999999</c:v>
                </c:pt>
                <c:pt idx="8905">
                  <c:v>-2.45871</c:v>
                </c:pt>
                <c:pt idx="8906">
                  <c:v>#N/A</c:v>
                </c:pt>
                <c:pt idx="8907">
                  <c:v>-2.89276</c:v>
                </c:pt>
                <c:pt idx="8908">
                  <c:v>-2.7247699999999999</c:v>
                </c:pt>
                <c:pt idx="8909">
                  <c:v>-2.6579100000000002</c:v>
                </c:pt>
                <c:pt idx="8910">
                  <c:v>#N/A</c:v>
                </c:pt>
                <c:pt idx="8911">
                  <c:v>-2.46278</c:v>
                </c:pt>
                <c:pt idx="8912">
                  <c:v>-2.3629899999999999</c:v>
                </c:pt>
                <c:pt idx="8913">
                  <c:v>-1.89408</c:v>
                </c:pt>
                <c:pt idx="8914">
                  <c:v>#N/A</c:v>
                </c:pt>
                <c:pt idx="8915">
                  <c:v>-1.8832</c:v>
                </c:pt>
                <c:pt idx="8916">
                  <c:v>-1.4297800000000001</c:v>
                </c:pt>
                <c:pt idx="8917">
                  <c:v>-1.2068300000000001</c:v>
                </c:pt>
                <c:pt idx="8918">
                  <c:v>#N/A</c:v>
                </c:pt>
                <c:pt idx="8919">
                  <c:v>-1.7926</c:v>
                </c:pt>
                <c:pt idx="8920">
                  <c:v>-2.5160300000000002</c:v>
                </c:pt>
                <c:pt idx="8921">
                  <c:v>-2.76939</c:v>
                </c:pt>
                <c:pt idx="8922">
                  <c:v>#N/A</c:v>
                </c:pt>
                <c:pt idx="8923">
                  <c:v>-2.3778800000000002</c:v>
                </c:pt>
                <c:pt idx="8924">
                  <c:v>-2.75725</c:v>
                </c:pt>
                <c:pt idx="8925">
                  <c:v>-2.90489</c:v>
                </c:pt>
                <c:pt idx="8926">
                  <c:v>#N/A</c:v>
                </c:pt>
                <c:pt idx="8927">
                  <c:v>-2.4315899999999999</c:v>
                </c:pt>
                <c:pt idx="8928">
                  <c:v>-2.2250299999999998</c:v>
                </c:pt>
                <c:pt idx="8929">
                  <c:v>-2.3948499999999999</c:v>
                </c:pt>
                <c:pt idx="8930">
                  <c:v>#N/A</c:v>
                </c:pt>
                <c:pt idx="8931">
                  <c:v>-2.5119600000000002</c:v>
                </c:pt>
                <c:pt idx="8932">
                  <c:v>-3.4743900000000001</c:v>
                </c:pt>
                <c:pt idx="8933">
                  <c:v>-2.9887899999999998</c:v>
                </c:pt>
                <c:pt idx="8934">
                  <c:v>#N/A</c:v>
                </c:pt>
                <c:pt idx="8935">
                  <c:v>-2.41079</c:v>
                </c:pt>
                <c:pt idx="8936">
                  <c:v>-1.7219199999999999</c:v>
                </c:pt>
                <c:pt idx="8937">
                  <c:v>#N/A</c:v>
                </c:pt>
                <c:pt idx="8938">
                  <c:v>-1.2722800000000001</c:v>
                </c:pt>
                <c:pt idx="8939">
                  <c:v>-1.4927699999999999</c:v>
                </c:pt>
                <c:pt idx="8940">
                  <c:v>-2.26999</c:v>
                </c:pt>
                <c:pt idx="8941">
                  <c:v>#N/A</c:v>
                </c:pt>
                <c:pt idx="8942">
                  <c:v>-2.18588</c:v>
                </c:pt>
                <c:pt idx="8943">
                  <c:v>-2.6692300000000002</c:v>
                </c:pt>
                <c:pt idx="8944">
                  <c:v>-3.3913899999999999</c:v>
                </c:pt>
                <c:pt idx="8945">
                  <c:v>#N/A</c:v>
                </c:pt>
                <c:pt idx="8946">
                  <c:v>-2.4351400000000001</c:v>
                </c:pt>
                <c:pt idx="8947">
                  <c:v>-1.7478</c:v>
                </c:pt>
                <c:pt idx="8948">
                  <c:v>-1.6569700000000001</c:v>
                </c:pt>
                <c:pt idx="8949">
                  <c:v>#N/A</c:v>
                </c:pt>
                <c:pt idx="8950">
                  <c:v>-2.0037699999999998</c:v>
                </c:pt>
                <c:pt idx="8951">
                  <c:v>-1.6987000000000001</c:v>
                </c:pt>
                <c:pt idx="8952">
                  <c:v>#N/A</c:v>
                </c:pt>
                <c:pt idx="8953">
                  <c:v>-2.4502000000000002</c:v>
                </c:pt>
                <c:pt idx="8954">
                  <c:v>-3.0364100000000001</c:v>
                </c:pt>
                <c:pt idx="8955">
                  <c:v>#N/A</c:v>
                </c:pt>
                <c:pt idx="8956">
                  <c:v>-2.9455</c:v>
                </c:pt>
                <c:pt idx="8957">
                  <c:v>-2.5001500000000001</c:v>
                </c:pt>
                <c:pt idx="8958">
                  <c:v>#N/A</c:v>
                </c:pt>
                <c:pt idx="8959">
                  <c:v>-2.2245699999999999</c:v>
                </c:pt>
                <c:pt idx="8960">
                  <c:v>-1.8885000000000001</c:v>
                </c:pt>
                <c:pt idx="8961">
                  <c:v>-1.55453</c:v>
                </c:pt>
                <c:pt idx="8962">
                  <c:v>#N/A</c:v>
                </c:pt>
                <c:pt idx="8963">
                  <c:v>-2.1068799999999999</c:v>
                </c:pt>
                <c:pt idx="8964">
                  <c:v>-2.4390999999999998</c:v>
                </c:pt>
                <c:pt idx="8965">
                  <c:v>-2.5994199999999998</c:v>
                </c:pt>
                <c:pt idx="8966">
                  <c:v>#N/A</c:v>
                </c:pt>
                <c:pt idx="8967">
                  <c:v>-2.8668</c:v>
                </c:pt>
                <c:pt idx="8968">
                  <c:v>-2.5286300000000002</c:v>
                </c:pt>
                <c:pt idx="8969">
                  <c:v>#N/A</c:v>
                </c:pt>
                <c:pt idx="8970">
                  <c:v>-2.4270700000000001</c:v>
                </c:pt>
                <c:pt idx="8971">
                  <c:v>-2.3752599999999999</c:v>
                </c:pt>
                <c:pt idx="8972">
                  <c:v>-2.3363700000000001</c:v>
                </c:pt>
                <c:pt idx="8973">
                  <c:v>#N/A</c:v>
                </c:pt>
                <c:pt idx="8974">
                  <c:v>-2.6166700000000001</c:v>
                </c:pt>
                <c:pt idx="8975">
                  <c:v>#N/A</c:v>
                </c:pt>
                <c:pt idx="8976">
                  <c:v>-2.6614499999999999</c:v>
                </c:pt>
                <c:pt idx="8977">
                  <c:v>-2.2650199999999998</c:v>
                </c:pt>
                <c:pt idx="8978">
                  <c:v>#N/A</c:v>
                </c:pt>
                <c:pt idx="8979">
                  <c:v>-2.0100899999999999</c:v>
                </c:pt>
                <c:pt idx="8980">
                  <c:v>-2.2509299999999999</c:v>
                </c:pt>
                <c:pt idx="8981">
                  <c:v>-2.25542</c:v>
                </c:pt>
                <c:pt idx="8982">
                  <c:v>#N/A</c:v>
                </c:pt>
                <c:pt idx="8983">
                  <c:v>-2.5423900000000001</c:v>
                </c:pt>
                <c:pt idx="8984">
                  <c:v>-2.65848</c:v>
                </c:pt>
                <c:pt idx="8985">
                  <c:v>-2.4008099999999999</c:v>
                </c:pt>
                <c:pt idx="8986">
                  <c:v>#N/A</c:v>
                </c:pt>
                <c:pt idx="8987">
                  <c:v>-2.7511399999999999</c:v>
                </c:pt>
                <c:pt idx="8988">
                  <c:v>-2.2659799999999999</c:v>
                </c:pt>
                <c:pt idx="8989">
                  <c:v>-1.9791399999999999</c:v>
                </c:pt>
                <c:pt idx="8990">
                  <c:v>#N/A</c:v>
                </c:pt>
                <c:pt idx="8991">
                  <c:v>-2.1437400000000002</c:v>
                </c:pt>
                <c:pt idx="8992">
                  <c:v>-2.14194</c:v>
                </c:pt>
                <c:pt idx="8993">
                  <c:v>#N/A</c:v>
                </c:pt>
                <c:pt idx="8994">
                  <c:v>-2.8269799999999998</c:v>
                </c:pt>
                <c:pt idx="8995">
                  <c:v>-2.9185300000000001</c:v>
                </c:pt>
                <c:pt idx="8996">
                  <c:v>-3.1122700000000001</c:v>
                </c:pt>
                <c:pt idx="8997">
                  <c:v>#N/A</c:v>
                </c:pt>
                <c:pt idx="8998">
                  <c:v>-2.1666300000000001</c:v>
                </c:pt>
                <c:pt idx="8999">
                  <c:v>-1.77037</c:v>
                </c:pt>
                <c:pt idx="9000">
                  <c:v>-1.59528</c:v>
                </c:pt>
                <c:pt idx="9001">
                  <c:v>#N/A</c:v>
                </c:pt>
                <c:pt idx="9002">
                  <c:v>-1.42041</c:v>
                </c:pt>
                <c:pt idx="9003">
                  <c:v>-2.0450599999999999</c:v>
                </c:pt>
                <c:pt idx="9004">
                  <c:v>-2.8369900000000001</c:v>
                </c:pt>
                <c:pt idx="9005">
                  <c:v>#N/A</c:v>
                </c:pt>
                <c:pt idx="9006">
                  <c:v>-2.8503099999999999</c:v>
                </c:pt>
                <c:pt idx="9007">
                  <c:v>-2.6764800000000002</c:v>
                </c:pt>
                <c:pt idx="9008">
                  <c:v>-2.4955500000000002</c:v>
                </c:pt>
                <c:pt idx="9009">
                  <c:v>#N/A</c:v>
                </c:pt>
                <c:pt idx="9010">
                  <c:v>-1.81819</c:v>
                </c:pt>
                <c:pt idx="9011">
                  <c:v>-1.29976</c:v>
                </c:pt>
                <c:pt idx="9012">
                  <c:v>-1.57236</c:v>
                </c:pt>
                <c:pt idx="9013">
                  <c:v>#N/A</c:v>
                </c:pt>
                <c:pt idx="9014">
                  <c:v>-2.63252</c:v>
                </c:pt>
                <c:pt idx="9015">
                  <c:v>-2.4057300000000001</c:v>
                </c:pt>
                <c:pt idx="9016">
                  <c:v>-2.9411700000000001</c:v>
                </c:pt>
                <c:pt idx="9017">
                  <c:v>#N/A</c:v>
                </c:pt>
                <c:pt idx="9018">
                  <c:v>-3.1246900000000002</c:v>
                </c:pt>
                <c:pt idx="9019">
                  <c:v>-2.7746</c:v>
                </c:pt>
                <c:pt idx="9020">
                  <c:v>-1.89629</c:v>
                </c:pt>
                <c:pt idx="9021">
                  <c:v>#N/A</c:v>
                </c:pt>
                <c:pt idx="9022">
                  <c:v>-1.47865</c:v>
                </c:pt>
                <c:pt idx="9023">
                  <c:v>-1.6088</c:v>
                </c:pt>
                <c:pt idx="9024">
                  <c:v>#N/A</c:v>
                </c:pt>
                <c:pt idx="9025">
                  <c:v>-2.0380600000000002</c:v>
                </c:pt>
                <c:pt idx="9026">
                  <c:v>-2.2064499999999998</c:v>
                </c:pt>
                <c:pt idx="9027">
                  <c:v>-2.4823200000000001</c:v>
                </c:pt>
                <c:pt idx="9028">
                  <c:v>#N/A</c:v>
                </c:pt>
                <c:pt idx="9029">
                  <c:v>-2.53138</c:v>
                </c:pt>
                <c:pt idx="9030">
                  <c:v>#N/A</c:v>
                </c:pt>
                <c:pt idx="9031">
                  <c:v>-2.2771400000000002</c:v>
                </c:pt>
                <c:pt idx="9032">
                  <c:v>#N/A</c:v>
                </c:pt>
                <c:pt idx="9033">
                  <c:v>-2.22302</c:v>
                </c:pt>
                <c:pt idx="9034">
                  <c:v>-2.1577500000000001</c:v>
                </c:pt>
                <c:pt idx="9035">
                  <c:v>-2.1955499999999999</c:v>
                </c:pt>
                <c:pt idx="9036">
                  <c:v>#N/A</c:v>
                </c:pt>
                <c:pt idx="9037">
                  <c:v>-2.17455</c:v>
                </c:pt>
                <c:pt idx="9038">
                  <c:v>-2.8406699999999998</c:v>
                </c:pt>
                <c:pt idx="9039">
                  <c:v>-2.4840100000000001</c:v>
                </c:pt>
                <c:pt idx="9040">
                  <c:v>#N/A</c:v>
                </c:pt>
                <c:pt idx="9041">
                  <c:v>-2.2575099999999999</c:v>
                </c:pt>
                <c:pt idx="9042">
                  <c:v>-2.44001</c:v>
                </c:pt>
                <c:pt idx="9043">
                  <c:v>-1.7688200000000001</c:v>
                </c:pt>
                <c:pt idx="9044">
                  <c:v>#N/A</c:v>
                </c:pt>
                <c:pt idx="9045">
                  <c:v>-1.7315199999999999</c:v>
                </c:pt>
                <c:pt idx="9046">
                  <c:v>-2.0443600000000002</c:v>
                </c:pt>
                <c:pt idx="9047">
                  <c:v>-2.8984100000000002</c:v>
                </c:pt>
                <c:pt idx="9048">
                  <c:v>#N/A</c:v>
                </c:pt>
                <c:pt idx="9049">
                  <c:v>-3.22498</c:v>
                </c:pt>
                <c:pt idx="9050">
                  <c:v>-2.5834299999999999</c:v>
                </c:pt>
                <c:pt idx="9051">
                  <c:v>-2.1754600000000002</c:v>
                </c:pt>
                <c:pt idx="9052">
                  <c:v>#N/A</c:v>
                </c:pt>
                <c:pt idx="9053">
                  <c:v>-2.3246500000000001</c:v>
                </c:pt>
                <c:pt idx="9054">
                  <c:v>-2.9837600000000002</c:v>
                </c:pt>
                <c:pt idx="9055">
                  <c:v>-2.6463399999999999</c:v>
                </c:pt>
                <c:pt idx="9056">
                  <c:v>#N/A</c:v>
                </c:pt>
                <c:pt idx="9057">
                  <c:v>-2.80159</c:v>
                </c:pt>
                <c:pt idx="9058">
                  <c:v>-2.6799900000000001</c:v>
                </c:pt>
                <c:pt idx="9059">
                  <c:v>#N/A</c:v>
                </c:pt>
                <c:pt idx="9060">
                  <c:v>-2.3771599999999999</c:v>
                </c:pt>
                <c:pt idx="9061">
                  <c:v>-2.3854000000000002</c:v>
                </c:pt>
                <c:pt idx="9062">
                  <c:v>-2.2485900000000001</c:v>
                </c:pt>
                <c:pt idx="9063">
                  <c:v>#N/A</c:v>
                </c:pt>
                <c:pt idx="9064">
                  <c:v>-1.6862299999999999</c:v>
                </c:pt>
                <c:pt idx="9065">
                  <c:v>-2.5883500000000002</c:v>
                </c:pt>
                <c:pt idx="9066">
                  <c:v>-2.6397300000000001</c:v>
                </c:pt>
                <c:pt idx="9067">
                  <c:v>#N/A</c:v>
                </c:pt>
                <c:pt idx="9068">
                  <c:v>-2.3781400000000001</c:v>
                </c:pt>
                <c:pt idx="9069">
                  <c:v>-2.7445499999999998</c:v>
                </c:pt>
                <c:pt idx="9070">
                  <c:v>-2.4566400000000002</c:v>
                </c:pt>
                <c:pt idx="9071">
                  <c:v>#N/A</c:v>
                </c:pt>
                <c:pt idx="9072">
                  <c:v>-2.2822100000000001</c:v>
                </c:pt>
                <c:pt idx="9073">
                  <c:v>-2.1781700000000002</c:v>
                </c:pt>
                <c:pt idx="9074">
                  <c:v>-2.4326599999999998</c:v>
                </c:pt>
                <c:pt idx="9075">
                  <c:v>#N/A</c:v>
                </c:pt>
                <c:pt idx="9076">
                  <c:v>-2.84266</c:v>
                </c:pt>
                <c:pt idx="9077">
                  <c:v>-3.3258899999999998</c:v>
                </c:pt>
                <c:pt idx="9078">
                  <c:v>-3.3474200000000001</c:v>
                </c:pt>
                <c:pt idx="9079">
                  <c:v>#N/A</c:v>
                </c:pt>
                <c:pt idx="9080">
                  <c:v>-3.2913299999999999</c:v>
                </c:pt>
                <c:pt idx="9081">
                  <c:v>-2.31819</c:v>
                </c:pt>
                <c:pt idx="9082">
                  <c:v>#N/A</c:v>
                </c:pt>
                <c:pt idx="9083">
                  <c:v>-1.73848</c:v>
                </c:pt>
                <c:pt idx="9084">
                  <c:v>-2.2869600000000001</c:v>
                </c:pt>
                <c:pt idx="9085">
                  <c:v>-2.2721200000000001</c:v>
                </c:pt>
                <c:pt idx="9086">
                  <c:v>#N/A</c:v>
                </c:pt>
                <c:pt idx="9087">
                  <c:v>-2.34144</c:v>
                </c:pt>
                <c:pt idx="9088">
                  <c:v>-2.75522</c:v>
                </c:pt>
                <c:pt idx="9089">
                  <c:v>-2.9108200000000002</c:v>
                </c:pt>
                <c:pt idx="9090">
                  <c:v>#N/A</c:v>
                </c:pt>
                <c:pt idx="9091">
                  <c:v>-2.7810899999999998</c:v>
                </c:pt>
                <c:pt idx="9092">
                  <c:v>-2.3541500000000002</c:v>
                </c:pt>
                <c:pt idx="9093">
                  <c:v>-1.93346</c:v>
                </c:pt>
                <c:pt idx="9094">
                  <c:v>#N/A</c:v>
                </c:pt>
                <c:pt idx="9095">
                  <c:v>-1.59778</c:v>
                </c:pt>
                <c:pt idx="9096">
                  <c:v>-2.1403500000000002</c:v>
                </c:pt>
                <c:pt idx="9097">
                  <c:v>#N/A</c:v>
                </c:pt>
                <c:pt idx="9098">
                  <c:v>-2.0399099999999999</c:v>
                </c:pt>
                <c:pt idx="9099">
                  <c:v>-2.4555699999999998</c:v>
                </c:pt>
                <c:pt idx="9100">
                  <c:v>-2.9807199999999998</c:v>
                </c:pt>
                <c:pt idx="9101">
                  <c:v>#N/A</c:v>
                </c:pt>
                <c:pt idx="9102">
                  <c:v>-3.0183200000000001</c:v>
                </c:pt>
                <c:pt idx="9103">
                  <c:v>-2.46258</c:v>
                </c:pt>
                <c:pt idx="9104">
                  <c:v>#N/A</c:v>
                </c:pt>
                <c:pt idx="9105">
                  <c:v>-2.03586</c:v>
                </c:pt>
                <c:pt idx="9106">
                  <c:v>-2.18161</c:v>
                </c:pt>
                <c:pt idx="9107">
                  <c:v>#N/A</c:v>
                </c:pt>
                <c:pt idx="9108">
                  <c:v>-1.82073</c:v>
                </c:pt>
                <c:pt idx="9109">
                  <c:v>-2.9176600000000001</c:v>
                </c:pt>
                <c:pt idx="9110">
                  <c:v>-2.8207200000000001</c:v>
                </c:pt>
                <c:pt idx="9111">
                  <c:v>#N/A</c:v>
                </c:pt>
                <c:pt idx="9112">
                  <c:v>-2.6457299999999999</c:v>
                </c:pt>
                <c:pt idx="9113">
                  <c:v>-2.8478400000000001</c:v>
                </c:pt>
                <c:pt idx="9114">
                  <c:v>#N/A</c:v>
                </c:pt>
                <c:pt idx="9115">
                  <c:v>-2.6029100000000001</c:v>
                </c:pt>
                <c:pt idx="9116">
                  <c:v>-2.0053800000000002</c:v>
                </c:pt>
                <c:pt idx="9117">
                  <c:v>-2.0582099999999999</c:v>
                </c:pt>
                <c:pt idx="9118">
                  <c:v>#N/A</c:v>
                </c:pt>
                <c:pt idx="9119">
                  <c:v>-2.2679100000000001</c:v>
                </c:pt>
                <c:pt idx="9120">
                  <c:v>-1.9614799999999999</c:v>
                </c:pt>
                <c:pt idx="9121">
                  <c:v>-2.6450900000000002</c:v>
                </c:pt>
                <c:pt idx="9122">
                  <c:v>#N/A</c:v>
                </c:pt>
                <c:pt idx="9123">
                  <c:v>-2.6806000000000001</c:v>
                </c:pt>
                <c:pt idx="9124">
                  <c:v>-2.6679400000000002</c:v>
                </c:pt>
                <c:pt idx="9125">
                  <c:v>-2.0596100000000002</c:v>
                </c:pt>
                <c:pt idx="9126">
                  <c:v>#N/A</c:v>
                </c:pt>
                <c:pt idx="9127">
                  <c:v>-2.4156200000000001</c:v>
                </c:pt>
                <c:pt idx="9128">
                  <c:v>-2.2515999999999998</c:v>
                </c:pt>
                <c:pt idx="9129">
                  <c:v>-2.6914199999999999</c:v>
                </c:pt>
                <c:pt idx="9130">
                  <c:v>#N/A</c:v>
                </c:pt>
                <c:pt idx="9131">
                  <c:v>-2.8599700000000001</c:v>
                </c:pt>
                <c:pt idx="9132">
                  <c:v>-2.2987799999999998</c:v>
                </c:pt>
                <c:pt idx="9133">
                  <c:v>-1.68011</c:v>
                </c:pt>
                <c:pt idx="9134">
                  <c:v>#N/A</c:v>
                </c:pt>
                <c:pt idx="9135">
                  <c:v>-2.1575600000000001</c:v>
                </c:pt>
                <c:pt idx="9136">
                  <c:v>-2.3611200000000001</c:v>
                </c:pt>
                <c:pt idx="9137">
                  <c:v>-2.1835900000000001</c:v>
                </c:pt>
                <c:pt idx="9138">
                  <c:v>#N/A</c:v>
                </c:pt>
                <c:pt idx="9139">
                  <c:v>-2.7702</c:v>
                </c:pt>
                <c:pt idx="9140">
                  <c:v>-2.5066299999999999</c:v>
                </c:pt>
                <c:pt idx="9141">
                  <c:v>-2.8283299999999998</c:v>
                </c:pt>
                <c:pt idx="9142">
                  <c:v>#N/A</c:v>
                </c:pt>
                <c:pt idx="9143">
                  <c:v>-2.3176000000000001</c:v>
                </c:pt>
                <c:pt idx="9144">
                  <c:v>-2.25434</c:v>
                </c:pt>
                <c:pt idx="9145">
                  <c:v>#N/A</c:v>
                </c:pt>
                <c:pt idx="9146">
                  <c:v>-1.68831</c:v>
                </c:pt>
                <c:pt idx="9147">
                  <c:v>-1.72044</c:v>
                </c:pt>
                <c:pt idx="9148">
                  <c:v>-1.59785</c:v>
                </c:pt>
                <c:pt idx="9149">
                  <c:v>#N/A</c:v>
                </c:pt>
                <c:pt idx="9150">
                  <c:v>-2.2744200000000001</c:v>
                </c:pt>
                <c:pt idx="9151">
                  <c:v>-2.3064300000000002</c:v>
                </c:pt>
                <c:pt idx="9152">
                  <c:v>-3.1477300000000001</c:v>
                </c:pt>
                <c:pt idx="9153">
                  <c:v>#N/A</c:v>
                </c:pt>
                <c:pt idx="9154">
                  <c:v>-3.4935200000000002</c:v>
                </c:pt>
                <c:pt idx="9155">
                  <c:v>-2.6751200000000002</c:v>
                </c:pt>
                <c:pt idx="9156">
                  <c:v>-1.9918499999999999</c:v>
                </c:pt>
                <c:pt idx="9157">
                  <c:v>#N/A</c:v>
                </c:pt>
                <c:pt idx="9158">
                  <c:v>-1.9105799999999999</c:v>
                </c:pt>
                <c:pt idx="9159">
                  <c:v>-1.8618300000000001</c:v>
                </c:pt>
                <c:pt idx="9160">
                  <c:v>-2.8866200000000002</c:v>
                </c:pt>
                <c:pt idx="9161">
                  <c:v>#N/A</c:v>
                </c:pt>
                <c:pt idx="9162">
                  <c:v>-2.9616500000000001</c:v>
                </c:pt>
                <c:pt idx="9163">
                  <c:v>-3.5612200000000001</c:v>
                </c:pt>
                <c:pt idx="9164">
                  <c:v>-3.1311300000000002</c:v>
                </c:pt>
                <c:pt idx="9165">
                  <c:v>#N/A</c:v>
                </c:pt>
                <c:pt idx="9166">
                  <c:v>-3.03816</c:v>
                </c:pt>
                <c:pt idx="9167">
                  <c:v>-2.5422199999999999</c:v>
                </c:pt>
                <c:pt idx="9168">
                  <c:v>#N/A</c:v>
                </c:pt>
                <c:pt idx="9169">
                  <c:v>-2.1199499999999998</c:v>
                </c:pt>
                <c:pt idx="9170">
                  <c:v>-2.5225200000000001</c:v>
                </c:pt>
                <c:pt idx="9171">
                  <c:v>-2.2057699999999998</c:v>
                </c:pt>
                <c:pt idx="9172">
                  <c:v>#N/A</c:v>
                </c:pt>
                <c:pt idx="9173">
                  <c:v>-2.9423900000000001</c:v>
                </c:pt>
                <c:pt idx="9174">
                  <c:v>-3.2048899999999998</c:v>
                </c:pt>
                <c:pt idx="9175">
                  <c:v>-2.9341599999999999</c:v>
                </c:pt>
                <c:pt idx="9176">
                  <c:v>#N/A</c:v>
                </c:pt>
                <c:pt idx="9177">
                  <c:v>-2.33473</c:v>
                </c:pt>
                <c:pt idx="9178">
                  <c:v>-2.3047200000000001</c:v>
                </c:pt>
                <c:pt idx="9179">
                  <c:v>#N/A</c:v>
                </c:pt>
                <c:pt idx="9180">
                  <c:v>-1.5660700000000001</c:v>
                </c:pt>
                <c:pt idx="9181">
                  <c:v>#N/A</c:v>
                </c:pt>
                <c:pt idx="9182">
                  <c:v>-2.5832700000000002</c:v>
                </c:pt>
                <c:pt idx="9183">
                  <c:v>-2.8580100000000002</c:v>
                </c:pt>
                <c:pt idx="9184">
                  <c:v>-2.6236799999999998</c:v>
                </c:pt>
                <c:pt idx="9185">
                  <c:v>#N/A</c:v>
                </c:pt>
                <c:pt idx="9186">
                  <c:v>-2.60223</c:v>
                </c:pt>
                <c:pt idx="9187">
                  <c:v>-2.41831</c:v>
                </c:pt>
                <c:pt idx="9188">
                  <c:v>-2.5346199999999999</c:v>
                </c:pt>
                <c:pt idx="9189">
                  <c:v>#N/A</c:v>
                </c:pt>
                <c:pt idx="9190">
                  <c:v>-2.0001099999999998</c:v>
                </c:pt>
                <c:pt idx="9191">
                  <c:v>-2.3555899999999999</c:v>
                </c:pt>
                <c:pt idx="9192">
                  <c:v>-2.5303300000000002</c:v>
                </c:pt>
                <c:pt idx="9193">
                  <c:v>#N/A</c:v>
                </c:pt>
                <c:pt idx="9194">
                  <c:v>-2.5522399999999998</c:v>
                </c:pt>
                <c:pt idx="9195">
                  <c:v>-2.5498500000000002</c:v>
                </c:pt>
                <c:pt idx="9196">
                  <c:v>-2.4083399999999999</c:v>
                </c:pt>
                <c:pt idx="9197">
                  <c:v>#N/A</c:v>
                </c:pt>
                <c:pt idx="9198">
                  <c:v>-2.01803</c:v>
                </c:pt>
                <c:pt idx="9199">
                  <c:v>-2.0783</c:v>
                </c:pt>
                <c:pt idx="9200">
                  <c:v>-2.14961</c:v>
                </c:pt>
                <c:pt idx="9201">
                  <c:v>#N/A</c:v>
                </c:pt>
                <c:pt idx="9202">
                  <c:v>-2.3041900000000002</c:v>
                </c:pt>
                <c:pt idx="9203">
                  <c:v>-2.2310099999999999</c:v>
                </c:pt>
                <c:pt idx="9204">
                  <c:v>#N/A</c:v>
                </c:pt>
                <c:pt idx="9205">
                  <c:v>-2.7740800000000001</c:v>
                </c:pt>
                <c:pt idx="9206">
                  <c:v>-2.6505100000000001</c:v>
                </c:pt>
                <c:pt idx="9207">
                  <c:v>-2.4929899999999998</c:v>
                </c:pt>
                <c:pt idx="9208">
                  <c:v>#N/A</c:v>
                </c:pt>
                <c:pt idx="9209">
                  <c:v>-1.8454999999999999</c:v>
                </c:pt>
                <c:pt idx="9210">
                  <c:v>-1.82494</c:v>
                </c:pt>
                <c:pt idx="9211">
                  <c:v>-1.8104199999999999</c:v>
                </c:pt>
                <c:pt idx="9212">
                  <c:v>#N/A</c:v>
                </c:pt>
                <c:pt idx="9213">
                  <c:v>-2.7869299999999999</c:v>
                </c:pt>
                <c:pt idx="9214">
                  <c:v>-2.6487599999999998</c:v>
                </c:pt>
                <c:pt idx="9215">
                  <c:v>-2.3559800000000002</c:v>
                </c:pt>
                <c:pt idx="9216">
                  <c:v>#N/A</c:v>
                </c:pt>
                <c:pt idx="9217">
                  <c:v>-2.2189000000000001</c:v>
                </c:pt>
                <c:pt idx="9218">
                  <c:v>-2.3435800000000002</c:v>
                </c:pt>
                <c:pt idx="9219">
                  <c:v>-1.8966499999999999</c:v>
                </c:pt>
                <c:pt idx="9220">
                  <c:v>#N/A</c:v>
                </c:pt>
                <c:pt idx="9221">
                  <c:v>-1.8293600000000001</c:v>
                </c:pt>
                <c:pt idx="9222">
                  <c:v>-2.2077399999999998</c:v>
                </c:pt>
                <c:pt idx="9223">
                  <c:v>-2.3186399999999998</c:v>
                </c:pt>
                <c:pt idx="9224">
                  <c:v>#N/A</c:v>
                </c:pt>
                <c:pt idx="9225">
                  <c:v>-3.01423</c:v>
                </c:pt>
                <c:pt idx="9226">
                  <c:v>-2.88503</c:v>
                </c:pt>
                <c:pt idx="9227">
                  <c:v>-3.1052399999999998</c:v>
                </c:pt>
                <c:pt idx="9228">
                  <c:v>#N/A</c:v>
                </c:pt>
                <c:pt idx="9229">
                  <c:v>-2.1165099999999999</c:v>
                </c:pt>
                <c:pt idx="9230">
                  <c:v>-2.4439500000000001</c:v>
                </c:pt>
                <c:pt idx="9231">
                  <c:v>-2.0492300000000001</c:v>
                </c:pt>
                <c:pt idx="9232">
                  <c:v>#N/A</c:v>
                </c:pt>
                <c:pt idx="9233">
                  <c:v>-2.0299800000000001</c:v>
                </c:pt>
                <c:pt idx="9234">
                  <c:v>-2.7996799999999999</c:v>
                </c:pt>
                <c:pt idx="9235">
                  <c:v>#N/A</c:v>
                </c:pt>
                <c:pt idx="9236">
                  <c:v>-3.44903</c:v>
                </c:pt>
                <c:pt idx="9237">
                  <c:v>-2.6126800000000001</c:v>
                </c:pt>
                <c:pt idx="9238">
                  <c:v>-2.7643599999999999</c:v>
                </c:pt>
                <c:pt idx="9239">
                  <c:v>#N/A</c:v>
                </c:pt>
                <c:pt idx="9240">
                  <c:v>-1.9256200000000001</c:v>
                </c:pt>
                <c:pt idx="9241">
                  <c:v>-1.54539</c:v>
                </c:pt>
                <c:pt idx="9242">
                  <c:v>-2.5183300000000002</c:v>
                </c:pt>
                <c:pt idx="9243">
                  <c:v>#N/A</c:v>
                </c:pt>
                <c:pt idx="9244">
                  <c:v>-1.98621</c:v>
                </c:pt>
                <c:pt idx="9245">
                  <c:v>-2.6266600000000002</c:v>
                </c:pt>
                <c:pt idx="9246">
                  <c:v>-3.1063000000000001</c:v>
                </c:pt>
                <c:pt idx="9247">
                  <c:v>#N/A</c:v>
                </c:pt>
                <c:pt idx="9248">
                  <c:v>-3.0636899999999998</c:v>
                </c:pt>
                <c:pt idx="9249">
                  <c:v>-2.5822699999999998</c:v>
                </c:pt>
                <c:pt idx="9250">
                  <c:v>-1.7304299999999999</c:v>
                </c:pt>
                <c:pt idx="9251">
                  <c:v>#N/A</c:v>
                </c:pt>
                <c:pt idx="9252">
                  <c:v>-1.8679600000000001</c:v>
                </c:pt>
                <c:pt idx="9253">
                  <c:v>-1.37832</c:v>
                </c:pt>
                <c:pt idx="9254">
                  <c:v>#N/A</c:v>
                </c:pt>
                <c:pt idx="9255">
                  <c:v>-2.5573100000000002</c:v>
                </c:pt>
                <c:pt idx="9256">
                  <c:v>#N/A</c:v>
                </c:pt>
                <c:pt idx="9257">
                  <c:v>-3.1409899999999999</c:v>
                </c:pt>
                <c:pt idx="9258">
                  <c:v>-3.4079000000000002</c:v>
                </c:pt>
                <c:pt idx="9259">
                  <c:v>-3.24973</c:v>
                </c:pt>
                <c:pt idx="9260">
                  <c:v>#N/A</c:v>
                </c:pt>
                <c:pt idx="9261">
                  <c:v>-2.5296400000000001</c:v>
                </c:pt>
                <c:pt idx="9262">
                  <c:v>-1.97604</c:v>
                </c:pt>
                <c:pt idx="9263">
                  <c:v>-2.3896299999999999</c:v>
                </c:pt>
                <c:pt idx="9264">
                  <c:v>#N/A</c:v>
                </c:pt>
                <c:pt idx="9265">
                  <c:v>-2.4986299999999999</c:v>
                </c:pt>
                <c:pt idx="9266">
                  <c:v>-2.6813699999999998</c:v>
                </c:pt>
                <c:pt idx="9267">
                  <c:v>-2.58392</c:v>
                </c:pt>
                <c:pt idx="9268">
                  <c:v>#N/A</c:v>
                </c:pt>
                <c:pt idx="9269">
                  <c:v>-3.11815</c:v>
                </c:pt>
                <c:pt idx="9270">
                  <c:v>-3.3226499999999999</c:v>
                </c:pt>
                <c:pt idx="9271">
                  <c:v>-2.6262099999999999</c:v>
                </c:pt>
                <c:pt idx="9272">
                  <c:v>#N/A</c:v>
                </c:pt>
                <c:pt idx="9273">
                  <c:v>-2.3030499999999998</c:v>
                </c:pt>
                <c:pt idx="9274">
                  <c:v>-2.1321500000000002</c:v>
                </c:pt>
                <c:pt idx="9275">
                  <c:v>#N/A</c:v>
                </c:pt>
                <c:pt idx="9276">
                  <c:v>-2.55661</c:v>
                </c:pt>
                <c:pt idx="9277">
                  <c:v>-2.9547099999999999</c:v>
                </c:pt>
                <c:pt idx="9278">
                  <c:v>-2.4875799999999999</c:v>
                </c:pt>
                <c:pt idx="9279">
                  <c:v>#N/A</c:v>
                </c:pt>
                <c:pt idx="9280">
                  <c:v>-2.7058200000000001</c:v>
                </c:pt>
                <c:pt idx="9281">
                  <c:v>-3.1427200000000002</c:v>
                </c:pt>
                <c:pt idx="9282">
                  <c:v>#N/A</c:v>
                </c:pt>
                <c:pt idx="9283">
                  <c:v>-3.0028999999999999</c:v>
                </c:pt>
                <c:pt idx="9284">
                  <c:v>-2.8297400000000001</c:v>
                </c:pt>
                <c:pt idx="9285">
                  <c:v>-2.7359800000000001</c:v>
                </c:pt>
                <c:pt idx="9286">
                  <c:v>#N/A</c:v>
                </c:pt>
                <c:pt idx="9287">
                  <c:v>-2.9564400000000002</c:v>
                </c:pt>
                <c:pt idx="9288">
                  <c:v>-2.98245</c:v>
                </c:pt>
                <c:pt idx="9289">
                  <c:v>-3.2974800000000002</c:v>
                </c:pt>
                <c:pt idx="9290">
                  <c:v>#N/A</c:v>
                </c:pt>
                <c:pt idx="9291">
                  <c:v>-3.92726</c:v>
                </c:pt>
                <c:pt idx="9292">
                  <c:v>-3.2019199999999999</c:v>
                </c:pt>
                <c:pt idx="9293">
                  <c:v>-2.8726400000000001</c:v>
                </c:pt>
                <c:pt idx="9294">
                  <c:v>#N/A</c:v>
                </c:pt>
                <c:pt idx="9295">
                  <c:v>-3.2124299999999999</c:v>
                </c:pt>
                <c:pt idx="9296">
                  <c:v>-3.2787099999999998</c:v>
                </c:pt>
                <c:pt idx="9297">
                  <c:v>-2.8257300000000001</c:v>
                </c:pt>
                <c:pt idx="9298">
                  <c:v>#N/A</c:v>
                </c:pt>
                <c:pt idx="9299">
                  <c:v>-2.6643300000000001</c:v>
                </c:pt>
                <c:pt idx="9300">
                  <c:v>-2.69726</c:v>
                </c:pt>
                <c:pt idx="9301">
                  <c:v>-2.1108199999999999</c:v>
                </c:pt>
                <c:pt idx="9302">
                  <c:v>#N/A</c:v>
                </c:pt>
                <c:pt idx="9303">
                  <c:v>-1.76112</c:v>
                </c:pt>
                <c:pt idx="9304">
                  <c:v>-1.9355899999999999</c:v>
                </c:pt>
                <c:pt idx="9305">
                  <c:v>#N/A</c:v>
                </c:pt>
                <c:pt idx="9306">
                  <c:v>-2.67456</c:v>
                </c:pt>
                <c:pt idx="9307">
                  <c:v>-3.2839800000000001</c:v>
                </c:pt>
                <c:pt idx="9308">
                  <c:v>-3.1307200000000002</c:v>
                </c:pt>
                <c:pt idx="9309">
                  <c:v>#N/A</c:v>
                </c:pt>
                <c:pt idx="9310">
                  <c:v>-3.0350100000000002</c:v>
                </c:pt>
                <c:pt idx="9311">
                  <c:v>-2.7413500000000002</c:v>
                </c:pt>
                <c:pt idx="9312">
                  <c:v>-1.9803299999999999</c:v>
                </c:pt>
                <c:pt idx="9313">
                  <c:v>#N/A</c:v>
                </c:pt>
                <c:pt idx="9314">
                  <c:v>-1.7458499999999999</c:v>
                </c:pt>
                <c:pt idx="9315">
                  <c:v>-1.59809</c:v>
                </c:pt>
                <c:pt idx="9316">
                  <c:v>-2.1883300000000001</c:v>
                </c:pt>
                <c:pt idx="9317">
                  <c:v>#N/A</c:v>
                </c:pt>
                <c:pt idx="9318">
                  <c:v>-2.8674900000000001</c:v>
                </c:pt>
                <c:pt idx="9319">
                  <c:v>-3.4056600000000001</c:v>
                </c:pt>
                <c:pt idx="9320">
                  <c:v>-3.5073799999999999</c:v>
                </c:pt>
                <c:pt idx="9321">
                  <c:v>#N/A</c:v>
                </c:pt>
                <c:pt idx="9322">
                  <c:v>-2.9509699999999999</c:v>
                </c:pt>
                <c:pt idx="9323">
                  <c:v>-2.72281</c:v>
                </c:pt>
                <c:pt idx="9324">
                  <c:v>-1.86388</c:v>
                </c:pt>
                <c:pt idx="9325">
                  <c:v>#N/A</c:v>
                </c:pt>
                <c:pt idx="9326">
                  <c:v>-1.99603</c:v>
                </c:pt>
                <c:pt idx="9327">
                  <c:v>-1.9532700000000001</c:v>
                </c:pt>
                <c:pt idx="9328">
                  <c:v>-2.8752599999999999</c:v>
                </c:pt>
                <c:pt idx="9329">
                  <c:v>#N/A</c:v>
                </c:pt>
                <c:pt idx="9330">
                  <c:v>-2.8812700000000002</c:v>
                </c:pt>
                <c:pt idx="9331">
                  <c:v>#N/A</c:v>
                </c:pt>
                <c:pt idx="9332">
                  <c:v>-3.1744599999999998</c:v>
                </c:pt>
                <c:pt idx="9333">
                  <c:v>-3.0438900000000002</c:v>
                </c:pt>
                <c:pt idx="9334">
                  <c:v>-2.3087900000000001</c:v>
                </c:pt>
                <c:pt idx="9335">
                  <c:v>#N/A</c:v>
                </c:pt>
                <c:pt idx="9336">
                  <c:v>-2.18398</c:v>
                </c:pt>
                <c:pt idx="9337">
                  <c:v>-1.7442800000000001</c:v>
                </c:pt>
                <c:pt idx="9338">
                  <c:v>-2.4432999999999998</c:v>
                </c:pt>
                <c:pt idx="9339">
                  <c:v>#N/A</c:v>
                </c:pt>
                <c:pt idx="9340">
                  <c:v>-2.4677799999999999</c:v>
                </c:pt>
                <c:pt idx="9341">
                  <c:v>-2.4646499999999998</c:v>
                </c:pt>
                <c:pt idx="9342">
                  <c:v>-2.1714899999999999</c:v>
                </c:pt>
                <c:pt idx="9343">
                  <c:v>#N/A</c:v>
                </c:pt>
                <c:pt idx="9344">
                  <c:v>-2.5045999999999999</c:v>
                </c:pt>
                <c:pt idx="9345">
                  <c:v>-2.2065000000000001</c:v>
                </c:pt>
                <c:pt idx="9346">
                  <c:v>#N/A</c:v>
                </c:pt>
                <c:pt idx="9347">
                  <c:v>-2.7786</c:v>
                </c:pt>
                <c:pt idx="9348">
                  <c:v>-2.77488</c:v>
                </c:pt>
                <c:pt idx="9349">
                  <c:v>-2.9114800000000001</c:v>
                </c:pt>
                <c:pt idx="9350">
                  <c:v>#N/A</c:v>
                </c:pt>
                <c:pt idx="9351">
                  <c:v>-2.5520900000000002</c:v>
                </c:pt>
                <c:pt idx="9352">
                  <c:v>-3.30036</c:v>
                </c:pt>
                <c:pt idx="9353">
                  <c:v>-2.9359299999999999</c:v>
                </c:pt>
                <c:pt idx="9354">
                  <c:v>#N/A</c:v>
                </c:pt>
                <c:pt idx="9355">
                  <c:v>-2.2608700000000002</c:v>
                </c:pt>
                <c:pt idx="9356">
                  <c:v>-2.5527099999999998</c:v>
                </c:pt>
                <c:pt idx="9357">
                  <c:v>-2.5568399999999998</c:v>
                </c:pt>
                <c:pt idx="9358">
                  <c:v>#N/A</c:v>
                </c:pt>
                <c:pt idx="9359">
                  <c:v>-2.9787599999999999</c:v>
                </c:pt>
                <c:pt idx="9360">
                  <c:v>-2.7955899999999998</c:v>
                </c:pt>
                <c:pt idx="9361">
                  <c:v>-2.95519</c:v>
                </c:pt>
                <c:pt idx="9362">
                  <c:v>#N/A</c:v>
                </c:pt>
                <c:pt idx="9363">
                  <c:v>-2.66995</c:v>
                </c:pt>
                <c:pt idx="9364">
                  <c:v>-1.9253100000000001</c:v>
                </c:pt>
                <c:pt idx="9365">
                  <c:v>-1.41028</c:v>
                </c:pt>
                <c:pt idx="9366">
                  <c:v>#N/A</c:v>
                </c:pt>
                <c:pt idx="9367">
                  <c:v>-1.52261</c:v>
                </c:pt>
                <c:pt idx="9368">
                  <c:v>-2.1626400000000001</c:v>
                </c:pt>
                <c:pt idx="9369">
                  <c:v>#N/A</c:v>
                </c:pt>
                <c:pt idx="9370">
                  <c:v>-2.56765</c:v>
                </c:pt>
                <c:pt idx="9371">
                  <c:v>-2.8453300000000001</c:v>
                </c:pt>
                <c:pt idx="9372">
                  <c:v>-2.57376</c:v>
                </c:pt>
                <c:pt idx="9373">
                  <c:v>#N/A</c:v>
                </c:pt>
                <c:pt idx="9374">
                  <c:v>-2.5415899999999998</c:v>
                </c:pt>
                <c:pt idx="9375">
                  <c:v>-1.62544</c:v>
                </c:pt>
                <c:pt idx="9376">
                  <c:v>-1.9175599999999999</c:v>
                </c:pt>
                <c:pt idx="9377">
                  <c:v>#N/A</c:v>
                </c:pt>
                <c:pt idx="9378">
                  <c:v>-1.8873200000000001</c:v>
                </c:pt>
                <c:pt idx="9379">
                  <c:v>-2.17272</c:v>
                </c:pt>
                <c:pt idx="9380">
                  <c:v>-2.7122999999999999</c:v>
                </c:pt>
                <c:pt idx="9381">
                  <c:v>#N/A</c:v>
                </c:pt>
                <c:pt idx="9382">
                  <c:v>-3.0197400000000001</c:v>
                </c:pt>
                <c:pt idx="9383">
                  <c:v>-3.50223</c:v>
                </c:pt>
                <c:pt idx="9384">
                  <c:v>#N/A</c:v>
                </c:pt>
                <c:pt idx="9385">
                  <c:v>-2.75956</c:v>
                </c:pt>
                <c:pt idx="9386">
                  <c:v>-2.28132</c:v>
                </c:pt>
                <c:pt idx="9387">
                  <c:v>#N/A</c:v>
                </c:pt>
                <c:pt idx="9388">
                  <c:v>-1.7382200000000001</c:v>
                </c:pt>
                <c:pt idx="9389">
                  <c:v>-2.2643200000000001</c:v>
                </c:pt>
                <c:pt idx="9390">
                  <c:v>-2.0915499999999998</c:v>
                </c:pt>
                <c:pt idx="9391">
                  <c:v>#N/A</c:v>
                </c:pt>
                <c:pt idx="9392">
                  <c:v>-2.6150099999999998</c:v>
                </c:pt>
                <c:pt idx="9393">
                  <c:v>-2.6237900000000001</c:v>
                </c:pt>
                <c:pt idx="9394">
                  <c:v>-2.9483100000000002</c:v>
                </c:pt>
                <c:pt idx="9395">
                  <c:v>#N/A</c:v>
                </c:pt>
                <c:pt idx="9396">
                  <c:v>-3.1116299999999999</c:v>
                </c:pt>
                <c:pt idx="9397">
                  <c:v>-2.2685300000000002</c:v>
                </c:pt>
                <c:pt idx="9398">
                  <c:v>-1.8364799999999999</c:v>
                </c:pt>
                <c:pt idx="9399">
                  <c:v>#N/A</c:v>
                </c:pt>
                <c:pt idx="9400">
                  <c:v>-1.5815300000000001</c:v>
                </c:pt>
                <c:pt idx="9401">
                  <c:v>-2.33718</c:v>
                </c:pt>
                <c:pt idx="9402">
                  <c:v>-3.07307</c:v>
                </c:pt>
                <c:pt idx="9403">
                  <c:v>#N/A</c:v>
                </c:pt>
                <c:pt idx="9404">
                  <c:v>-3.1755800000000001</c:v>
                </c:pt>
                <c:pt idx="9405">
                  <c:v>#N/A</c:v>
                </c:pt>
                <c:pt idx="9406">
                  <c:v>-2.84552</c:v>
                </c:pt>
                <c:pt idx="9407">
                  <c:v>-2.3607300000000002</c:v>
                </c:pt>
                <c:pt idx="9408">
                  <c:v>#N/A</c:v>
                </c:pt>
                <c:pt idx="9409">
                  <c:v>-2.2712500000000002</c:v>
                </c:pt>
                <c:pt idx="9410">
                  <c:v>-2.8036300000000001</c:v>
                </c:pt>
                <c:pt idx="9411">
                  <c:v>-2.6535899999999999</c:v>
                </c:pt>
                <c:pt idx="9412">
                  <c:v>#N/A</c:v>
                </c:pt>
                <c:pt idx="9413">
                  <c:v>-3.25597</c:v>
                </c:pt>
                <c:pt idx="9414">
                  <c:v>-2.6803499999999998</c:v>
                </c:pt>
                <c:pt idx="9415">
                  <c:v>-2.7218900000000001</c:v>
                </c:pt>
                <c:pt idx="9416">
                  <c:v>#N/A</c:v>
                </c:pt>
                <c:pt idx="9417">
                  <c:v>-2.87018</c:v>
                </c:pt>
                <c:pt idx="9418">
                  <c:v>-2.3287300000000002</c:v>
                </c:pt>
                <c:pt idx="9419">
                  <c:v>-2.2797900000000002</c:v>
                </c:pt>
                <c:pt idx="9420">
                  <c:v>#N/A</c:v>
                </c:pt>
                <c:pt idx="9421">
                  <c:v>-2.4459599999999999</c:v>
                </c:pt>
                <c:pt idx="9422">
                  <c:v>-2.9537200000000001</c:v>
                </c:pt>
                <c:pt idx="9423">
                  <c:v>#N/A</c:v>
                </c:pt>
                <c:pt idx="9424">
                  <c:v>-2.7178</c:v>
                </c:pt>
                <c:pt idx="9425">
                  <c:v>-2.6061800000000002</c:v>
                </c:pt>
                <c:pt idx="9426">
                  <c:v>-2.3454299999999999</c:v>
                </c:pt>
                <c:pt idx="9427">
                  <c:v>#N/A</c:v>
                </c:pt>
                <c:pt idx="9428">
                  <c:v>-1.6329100000000001</c:v>
                </c:pt>
                <c:pt idx="9429">
                  <c:v>-2.4171399999999998</c:v>
                </c:pt>
                <c:pt idx="9430">
                  <c:v>-2.4188200000000002</c:v>
                </c:pt>
                <c:pt idx="9431">
                  <c:v>#N/A</c:v>
                </c:pt>
                <c:pt idx="9432">
                  <c:v>-2.4887899999999998</c:v>
                </c:pt>
                <c:pt idx="9433">
                  <c:v>-2.8297300000000001</c:v>
                </c:pt>
                <c:pt idx="9434">
                  <c:v>-3.0931500000000001</c:v>
                </c:pt>
                <c:pt idx="9435">
                  <c:v>#N/A</c:v>
                </c:pt>
                <c:pt idx="9436">
                  <c:v>-3.1621800000000002</c:v>
                </c:pt>
                <c:pt idx="9437">
                  <c:v>-2.1674199999999999</c:v>
                </c:pt>
                <c:pt idx="9438">
                  <c:v>-2.1305800000000001</c:v>
                </c:pt>
                <c:pt idx="9439">
                  <c:v>#N/A</c:v>
                </c:pt>
                <c:pt idx="9440">
                  <c:v>-1.8512900000000001</c:v>
                </c:pt>
                <c:pt idx="9441">
                  <c:v>-2.2899099999999999</c:v>
                </c:pt>
                <c:pt idx="9442">
                  <c:v>-2.6486900000000002</c:v>
                </c:pt>
                <c:pt idx="9443">
                  <c:v>#N/A</c:v>
                </c:pt>
                <c:pt idx="9444">
                  <c:v>-3.0620799999999999</c:v>
                </c:pt>
                <c:pt idx="9445">
                  <c:v>-2.9591799999999999</c:v>
                </c:pt>
                <c:pt idx="9446">
                  <c:v>-2.8333499999999998</c:v>
                </c:pt>
                <c:pt idx="9447">
                  <c:v>#N/A</c:v>
                </c:pt>
                <c:pt idx="9448">
                  <c:v>-2.65978</c:v>
                </c:pt>
                <c:pt idx="9449">
                  <c:v>-1.4568000000000001</c:v>
                </c:pt>
                <c:pt idx="9450">
                  <c:v>-1.59453</c:v>
                </c:pt>
                <c:pt idx="9451">
                  <c:v>#N/A</c:v>
                </c:pt>
                <c:pt idx="9452">
                  <c:v>-2.2332800000000002</c:v>
                </c:pt>
                <c:pt idx="9453">
                  <c:v>-2.4051100000000001</c:v>
                </c:pt>
                <c:pt idx="9454">
                  <c:v>-2.4742799999999998</c:v>
                </c:pt>
                <c:pt idx="9455">
                  <c:v>#N/A</c:v>
                </c:pt>
                <c:pt idx="9456">
                  <c:v>-2.8730600000000002</c:v>
                </c:pt>
                <c:pt idx="9457">
                  <c:v>-2.5407700000000002</c:v>
                </c:pt>
                <c:pt idx="9458">
                  <c:v>#N/A</c:v>
                </c:pt>
                <c:pt idx="9459">
                  <c:v>-2.41147</c:v>
                </c:pt>
                <c:pt idx="9460">
                  <c:v>-1.6662300000000001</c:v>
                </c:pt>
                <c:pt idx="9461">
                  <c:v>-1.7065399999999999</c:v>
                </c:pt>
                <c:pt idx="9462">
                  <c:v>#N/A</c:v>
                </c:pt>
                <c:pt idx="9463">
                  <c:v>-1.5676000000000001</c:v>
                </c:pt>
                <c:pt idx="9464">
                  <c:v>-2.2609400000000002</c:v>
                </c:pt>
                <c:pt idx="9465">
                  <c:v>-2.6010300000000002</c:v>
                </c:pt>
                <c:pt idx="9466">
                  <c:v>#N/A</c:v>
                </c:pt>
                <c:pt idx="9467">
                  <c:v>-2.9903900000000001</c:v>
                </c:pt>
                <c:pt idx="9468">
                  <c:v>-2.5037600000000002</c:v>
                </c:pt>
                <c:pt idx="9469">
                  <c:v>-2.5727199999999999</c:v>
                </c:pt>
                <c:pt idx="9470">
                  <c:v>#N/A</c:v>
                </c:pt>
                <c:pt idx="9471">
                  <c:v>-2.7716500000000002</c:v>
                </c:pt>
                <c:pt idx="9472">
                  <c:v>-1.7771699999999999</c:v>
                </c:pt>
                <c:pt idx="9473">
                  <c:v>-2.1766899999999998</c:v>
                </c:pt>
                <c:pt idx="9474">
                  <c:v>#N/A</c:v>
                </c:pt>
                <c:pt idx="9475">
                  <c:v>-2.55423</c:v>
                </c:pt>
                <c:pt idx="9476">
                  <c:v>-2.56785</c:v>
                </c:pt>
                <c:pt idx="9477">
                  <c:v>-3.29643</c:v>
                </c:pt>
                <c:pt idx="9478">
                  <c:v>#N/A</c:v>
                </c:pt>
                <c:pt idx="9479">
                  <c:v>-2.94014</c:v>
                </c:pt>
                <c:pt idx="9480">
                  <c:v>#N/A</c:v>
                </c:pt>
                <c:pt idx="9481">
                  <c:v>-2.4081199999999998</c:v>
                </c:pt>
                <c:pt idx="9482">
                  <c:v>#N/A</c:v>
                </c:pt>
                <c:pt idx="9483">
                  <c:v>-2.5419700000000001</c:v>
                </c:pt>
                <c:pt idx="9484">
                  <c:v>-3.6782699999999999</c:v>
                </c:pt>
                <c:pt idx="9485">
                  <c:v>#N/A</c:v>
                </c:pt>
                <c:pt idx="9486">
                  <c:v>-3.4991099999999999</c:v>
                </c:pt>
                <c:pt idx="9487">
                  <c:v>-3.9684900000000001</c:v>
                </c:pt>
                <c:pt idx="9488">
                  <c:v>-3.7962099999999999</c:v>
                </c:pt>
                <c:pt idx="9489">
                  <c:v>#N/A</c:v>
                </c:pt>
                <c:pt idx="9490">
                  <c:v>-3.10093</c:v>
                </c:pt>
                <c:pt idx="9491">
                  <c:v>-2.8542000000000001</c:v>
                </c:pt>
                <c:pt idx="9492">
                  <c:v>-2.1323799999999999</c:v>
                </c:pt>
                <c:pt idx="9493">
                  <c:v>#N/A</c:v>
                </c:pt>
                <c:pt idx="9494">
                  <c:v>-1.913</c:v>
                </c:pt>
                <c:pt idx="9495">
                  <c:v>-2.3127</c:v>
                </c:pt>
                <c:pt idx="9496">
                  <c:v>#N/A</c:v>
                </c:pt>
                <c:pt idx="9497">
                  <c:v>-2.3835000000000002</c:v>
                </c:pt>
                <c:pt idx="9498">
                  <c:v>-2.6911900000000002</c:v>
                </c:pt>
                <c:pt idx="9499">
                  <c:v>-1.81179</c:v>
                </c:pt>
                <c:pt idx="9500">
                  <c:v>#N/A</c:v>
                </c:pt>
                <c:pt idx="9501">
                  <c:v>-1.77783</c:v>
                </c:pt>
                <c:pt idx="9502">
                  <c:v>-1.85276</c:v>
                </c:pt>
                <c:pt idx="9503">
                  <c:v>-1.62222</c:v>
                </c:pt>
                <c:pt idx="9504">
                  <c:v>#N/A</c:v>
                </c:pt>
                <c:pt idx="9505">
                  <c:v>-1.86581</c:v>
                </c:pt>
                <c:pt idx="9506">
                  <c:v>-2.3057500000000002</c:v>
                </c:pt>
                <c:pt idx="9507">
                  <c:v>-2.6073</c:v>
                </c:pt>
                <c:pt idx="9508">
                  <c:v>#N/A</c:v>
                </c:pt>
                <c:pt idx="9509">
                  <c:v>-2.1685599999999998</c:v>
                </c:pt>
                <c:pt idx="9510">
                  <c:v>-2.0925600000000002</c:v>
                </c:pt>
                <c:pt idx="9511">
                  <c:v>-2.1589999999999998</c:v>
                </c:pt>
                <c:pt idx="9512">
                  <c:v>#N/A</c:v>
                </c:pt>
                <c:pt idx="9513">
                  <c:v>-2.2010299999999998</c:v>
                </c:pt>
                <c:pt idx="9514">
                  <c:v>-3.2521100000000001</c:v>
                </c:pt>
                <c:pt idx="9515">
                  <c:v>#N/A</c:v>
                </c:pt>
                <c:pt idx="9516">
                  <c:v>-3.3197100000000002</c:v>
                </c:pt>
                <c:pt idx="9517">
                  <c:v>-3.2001400000000002</c:v>
                </c:pt>
                <c:pt idx="9518">
                  <c:v>-3.0906500000000001</c:v>
                </c:pt>
                <c:pt idx="9519">
                  <c:v>#N/A</c:v>
                </c:pt>
                <c:pt idx="9520">
                  <c:v>-2.6176300000000001</c:v>
                </c:pt>
                <c:pt idx="9521">
                  <c:v>-2.41025</c:v>
                </c:pt>
                <c:pt idx="9522">
                  <c:v>-1.51616</c:v>
                </c:pt>
                <c:pt idx="9523">
                  <c:v>#N/A</c:v>
                </c:pt>
                <c:pt idx="9524">
                  <c:v>-1.5462899999999999</c:v>
                </c:pt>
                <c:pt idx="9525">
                  <c:v>-2.04915</c:v>
                </c:pt>
                <c:pt idx="9526">
                  <c:v>-3.0733600000000001</c:v>
                </c:pt>
                <c:pt idx="9527">
                  <c:v>#N/A</c:v>
                </c:pt>
                <c:pt idx="9528">
                  <c:v>-2.8278699999999999</c:v>
                </c:pt>
                <c:pt idx="9529">
                  <c:v>-2.6480100000000002</c:v>
                </c:pt>
                <c:pt idx="9530">
                  <c:v>#N/A</c:v>
                </c:pt>
                <c:pt idx="9531">
                  <c:v>-2.5653899999999998</c:v>
                </c:pt>
                <c:pt idx="9532">
                  <c:v>-2.50746</c:v>
                </c:pt>
                <c:pt idx="9533">
                  <c:v>-1.72743</c:v>
                </c:pt>
                <c:pt idx="9534">
                  <c:v>#N/A</c:v>
                </c:pt>
                <c:pt idx="9535">
                  <c:v>-1.75603</c:v>
                </c:pt>
                <c:pt idx="9536">
                  <c:v>-2.05707</c:v>
                </c:pt>
                <c:pt idx="9537">
                  <c:v>-2.75231</c:v>
                </c:pt>
                <c:pt idx="9538">
                  <c:v>#N/A</c:v>
                </c:pt>
                <c:pt idx="9539">
                  <c:v>-3.1153</c:v>
                </c:pt>
                <c:pt idx="9540">
                  <c:v>-3.6021899999999998</c:v>
                </c:pt>
                <c:pt idx="9541">
                  <c:v>-2.9529000000000001</c:v>
                </c:pt>
                <c:pt idx="9542">
                  <c:v>#N/A</c:v>
                </c:pt>
                <c:pt idx="9543">
                  <c:v>-2.4840599999999999</c:v>
                </c:pt>
                <c:pt idx="9544">
                  <c:v>-2.28416</c:v>
                </c:pt>
                <c:pt idx="9545">
                  <c:v>-2.4304000000000001</c:v>
                </c:pt>
                <c:pt idx="9546">
                  <c:v>#N/A</c:v>
                </c:pt>
                <c:pt idx="9547">
                  <c:v>-2.3570700000000002</c:v>
                </c:pt>
                <c:pt idx="9548">
                  <c:v>-3.0546899999999999</c:v>
                </c:pt>
                <c:pt idx="9549">
                  <c:v>-3.6040299999999998</c:v>
                </c:pt>
                <c:pt idx="9550">
                  <c:v>#N/A</c:v>
                </c:pt>
                <c:pt idx="9551">
                  <c:v>-3.3986700000000001</c:v>
                </c:pt>
                <c:pt idx="9552">
                  <c:v>-3.0095900000000002</c:v>
                </c:pt>
                <c:pt idx="9553">
                  <c:v>#N/A</c:v>
                </c:pt>
                <c:pt idx="9554">
                  <c:v>-2.2503799999999998</c:v>
                </c:pt>
                <c:pt idx="9555">
                  <c:v>-1.85076</c:v>
                </c:pt>
                <c:pt idx="9556">
                  <c:v>#N/A</c:v>
                </c:pt>
                <c:pt idx="9557">
                  <c:v>-1.96902</c:v>
                </c:pt>
                <c:pt idx="9558">
                  <c:v>-2.3514699999999999</c:v>
                </c:pt>
                <c:pt idx="9559">
                  <c:v>#N/A</c:v>
                </c:pt>
                <c:pt idx="9560">
                  <c:v>-2.94367</c:v>
                </c:pt>
                <c:pt idx="9561">
                  <c:v>-2.7192799999999999</c:v>
                </c:pt>
                <c:pt idx="9562">
                  <c:v>-2.7506599999999999</c:v>
                </c:pt>
                <c:pt idx="9563">
                  <c:v>#N/A</c:v>
                </c:pt>
                <c:pt idx="9564">
                  <c:v>-2.5870099999999998</c:v>
                </c:pt>
                <c:pt idx="9565">
                  <c:v>-2.2330700000000001</c:v>
                </c:pt>
                <c:pt idx="9566">
                  <c:v>-2.15158</c:v>
                </c:pt>
                <c:pt idx="9567">
                  <c:v>#N/A</c:v>
                </c:pt>
                <c:pt idx="9568">
                  <c:v>-2.4737900000000002</c:v>
                </c:pt>
                <c:pt idx="9569">
                  <c:v>-2.1301899999999998</c:v>
                </c:pt>
                <c:pt idx="9570">
                  <c:v>-2.8254000000000001</c:v>
                </c:pt>
                <c:pt idx="9571">
                  <c:v>#N/A</c:v>
                </c:pt>
                <c:pt idx="9572">
                  <c:v>-2.5116100000000001</c:v>
                </c:pt>
                <c:pt idx="9573">
                  <c:v>-2.4717899999999999</c:v>
                </c:pt>
                <c:pt idx="9574">
                  <c:v>-2.2591800000000002</c:v>
                </c:pt>
                <c:pt idx="9575">
                  <c:v>#N/A</c:v>
                </c:pt>
                <c:pt idx="9576">
                  <c:v>-2.4035199999999999</c:v>
                </c:pt>
                <c:pt idx="9577">
                  <c:v>-3.0531799999999998</c:v>
                </c:pt>
                <c:pt idx="9578">
                  <c:v>-2.39635</c:v>
                </c:pt>
                <c:pt idx="9579">
                  <c:v>#N/A</c:v>
                </c:pt>
                <c:pt idx="9580">
                  <c:v>-2.9614099999999999</c:v>
                </c:pt>
                <c:pt idx="9581">
                  <c:v>-2.6550600000000002</c:v>
                </c:pt>
                <c:pt idx="9582">
                  <c:v>-2.55653</c:v>
                </c:pt>
                <c:pt idx="9583">
                  <c:v>#N/A</c:v>
                </c:pt>
                <c:pt idx="9584">
                  <c:v>-2.29887</c:v>
                </c:pt>
                <c:pt idx="9585">
                  <c:v>-1.9333899999999999</c:v>
                </c:pt>
                <c:pt idx="9586">
                  <c:v>-1.96062</c:v>
                </c:pt>
                <c:pt idx="9587">
                  <c:v>#N/A</c:v>
                </c:pt>
                <c:pt idx="9588">
                  <c:v>-2.7786599999999999</c:v>
                </c:pt>
                <c:pt idx="9589">
                  <c:v>-3.6241400000000001</c:v>
                </c:pt>
                <c:pt idx="9590">
                  <c:v>-3.5055299999999998</c:v>
                </c:pt>
                <c:pt idx="9591">
                  <c:v>#N/A</c:v>
                </c:pt>
                <c:pt idx="9592">
                  <c:v>-2.5365799999999998</c:v>
                </c:pt>
                <c:pt idx="9593">
                  <c:v>-2.5367500000000001</c:v>
                </c:pt>
                <c:pt idx="9594">
                  <c:v>-2.4105300000000001</c:v>
                </c:pt>
                <c:pt idx="9595">
                  <c:v>#N/A</c:v>
                </c:pt>
                <c:pt idx="9596">
                  <c:v>-2.04129</c:v>
                </c:pt>
                <c:pt idx="9597">
                  <c:v>-1.8550599999999999</c:v>
                </c:pt>
                <c:pt idx="9598">
                  <c:v>#N/A</c:v>
                </c:pt>
                <c:pt idx="9599">
                  <c:v>-2.11382</c:v>
                </c:pt>
                <c:pt idx="9600">
                  <c:v>-3.0636399999999999</c:v>
                </c:pt>
                <c:pt idx="9601">
                  <c:v>-3.11348</c:v>
                </c:pt>
                <c:pt idx="9602">
                  <c:v>#N/A</c:v>
                </c:pt>
                <c:pt idx="9603">
                  <c:v>-2.56386</c:v>
                </c:pt>
                <c:pt idx="9604">
                  <c:v>-2.6435200000000001</c:v>
                </c:pt>
                <c:pt idx="9605">
                  <c:v>-2.2635200000000002</c:v>
                </c:pt>
                <c:pt idx="9606">
                  <c:v>#N/A</c:v>
                </c:pt>
                <c:pt idx="9607">
                  <c:v>-2.4653200000000002</c:v>
                </c:pt>
                <c:pt idx="9608">
                  <c:v>-2.2817400000000001</c:v>
                </c:pt>
                <c:pt idx="9609">
                  <c:v>-2.1831100000000001</c:v>
                </c:pt>
                <c:pt idx="9610">
                  <c:v>#N/A</c:v>
                </c:pt>
                <c:pt idx="9611">
                  <c:v>-2.4943</c:v>
                </c:pt>
                <c:pt idx="9612">
                  <c:v>-3.4834299999999998</c:v>
                </c:pt>
                <c:pt idx="9613">
                  <c:v>-3.18302</c:v>
                </c:pt>
                <c:pt idx="9614">
                  <c:v>#N/A</c:v>
                </c:pt>
                <c:pt idx="9615">
                  <c:v>-2.6848999999999998</c:v>
                </c:pt>
                <c:pt idx="9616">
                  <c:v>-2.5299499999999999</c:v>
                </c:pt>
                <c:pt idx="9617">
                  <c:v>-2.0108100000000002</c:v>
                </c:pt>
                <c:pt idx="9618">
                  <c:v>#N/A</c:v>
                </c:pt>
                <c:pt idx="9619">
                  <c:v>-1.92123</c:v>
                </c:pt>
                <c:pt idx="9620">
                  <c:v>-2.22986</c:v>
                </c:pt>
                <c:pt idx="9621">
                  <c:v>-2.7999200000000002</c:v>
                </c:pt>
                <c:pt idx="9622">
                  <c:v>#N/A</c:v>
                </c:pt>
                <c:pt idx="9623">
                  <c:v>-3.2287300000000001</c:v>
                </c:pt>
                <c:pt idx="9624">
                  <c:v>-3.2324099999999998</c:v>
                </c:pt>
                <c:pt idx="9625">
                  <c:v>-2.79596</c:v>
                </c:pt>
                <c:pt idx="9626">
                  <c:v>#N/A</c:v>
                </c:pt>
                <c:pt idx="9627">
                  <c:v>-2.08474</c:v>
                </c:pt>
                <c:pt idx="9628">
                  <c:v>-2.0336400000000001</c:v>
                </c:pt>
                <c:pt idx="9629">
                  <c:v>-2.1944599999999999</c:v>
                </c:pt>
                <c:pt idx="9630">
                  <c:v>#N/A</c:v>
                </c:pt>
                <c:pt idx="9631">
                  <c:v>-2.2827000000000002</c:v>
                </c:pt>
                <c:pt idx="9632">
                  <c:v>-2.6878099999999998</c:v>
                </c:pt>
                <c:pt idx="9633">
                  <c:v>#N/A</c:v>
                </c:pt>
                <c:pt idx="9634">
                  <c:v>-2.5943399999999999</c:v>
                </c:pt>
                <c:pt idx="9635">
                  <c:v>-2.5144600000000001</c:v>
                </c:pt>
                <c:pt idx="9636">
                  <c:v>#N/A</c:v>
                </c:pt>
                <c:pt idx="9637">
                  <c:v>-2.5060500000000001</c:v>
                </c:pt>
                <c:pt idx="9638">
                  <c:v>-2.3870499999999999</c:v>
                </c:pt>
                <c:pt idx="9639">
                  <c:v>-2.0454699999999999</c:v>
                </c:pt>
                <c:pt idx="9640">
                  <c:v>#N/A</c:v>
                </c:pt>
                <c:pt idx="9641">
                  <c:v>-2.1197499999999998</c:v>
                </c:pt>
                <c:pt idx="9642">
                  <c:v>-2.7088700000000001</c:v>
                </c:pt>
                <c:pt idx="9643">
                  <c:v>-2.5434700000000001</c:v>
                </c:pt>
                <c:pt idx="9644">
                  <c:v>#N/A</c:v>
                </c:pt>
                <c:pt idx="9645">
                  <c:v>-2.7264400000000002</c:v>
                </c:pt>
                <c:pt idx="9646">
                  <c:v>-2.96448</c:v>
                </c:pt>
                <c:pt idx="9647">
                  <c:v>#N/A</c:v>
                </c:pt>
                <c:pt idx="9648">
                  <c:v>-2.395</c:v>
                </c:pt>
                <c:pt idx="9649">
                  <c:v>-2.4893000000000001</c:v>
                </c:pt>
                <c:pt idx="9650">
                  <c:v>-2.6189399999999998</c:v>
                </c:pt>
                <c:pt idx="9651">
                  <c:v>#N/A</c:v>
                </c:pt>
                <c:pt idx="9652">
                  <c:v>-2.5802900000000002</c:v>
                </c:pt>
                <c:pt idx="9653">
                  <c:v>-2.6575500000000001</c:v>
                </c:pt>
                <c:pt idx="9654">
                  <c:v>#N/A</c:v>
                </c:pt>
                <c:pt idx="9655">
                  <c:v>-2.2482000000000002</c:v>
                </c:pt>
                <c:pt idx="9656">
                  <c:v>-2.19991</c:v>
                </c:pt>
                <c:pt idx="9657">
                  <c:v>-2.1519300000000001</c:v>
                </c:pt>
                <c:pt idx="9658">
                  <c:v>#N/A</c:v>
                </c:pt>
                <c:pt idx="9659">
                  <c:v>-1.96055</c:v>
                </c:pt>
                <c:pt idx="9660">
                  <c:v>-1.93041</c:v>
                </c:pt>
                <c:pt idx="9661">
                  <c:v>-2.1492800000000001</c:v>
                </c:pt>
                <c:pt idx="9662">
                  <c:v>#N/A</c:v>
                </c:pt>
                <c:pt idx="9663">
                  <c:v>-2.9042699999999999</c:v>
                </c:pt>
                <c:pt idx="9664">
                  <c:v>-2.9418799999999998</c:v>
                </c:pt>
                <c:pt idx="9665">
                  <c:v>-2.7426699999999999</c:v>
                </c:pt>
                <c:pt idx="9666">
                  <c:v>#N/A</c:v>
                </c:pt>
                <c:pt idx="9667">
                  <c:v>-2.56067</c:v>
                </c:pt>
                <c:pt idx="9668">
                  <c:v>-2.5722200000000002</c:v>
                </c:pt>
                <c:pt idx="9669">
                  <c:v>-2.1616200000000001</c:v>
                </c:pt>
                <c:pt idx="9670">
                  <c:v>#N/A</c:v>
                </c:pt>
                <c:pt idx="9671">
                  <c:v>-1.67784</c:v>
                </c:pt>
                <c:pt idx="9672">
                  <c:v>-1.80857</c:v>
                </c:pt>
                <c:pt idx="9673">
                  <c:v>-2.78782</c:v>
                </c:pt>
                <c:pt idx="9674">
                  <c:v>#N/A</c:v>
                </c:pt>
                <c:pt idx="9675">
                  <c:v>-2.8574199999999998</c:v>
                </c:pt>
                <c:pt idx="9676">
                  <c:v>-2.7966199999999999</c:v>
                </c:pt>
                <c:pt idx="9677">
                  <c:v>-2.1025299999999998</c:v>
                </c:pt>
                <c:pt idx="9678">
                  <c:v>#N/A</c:v>
                </c:pt>
                <c:pt idx="9679">
                  <c:v>-1.61087</c:v>
                </c:pt>
                <c:pt idx="9680">
                  <c:v>-2.0741399999999999</c:v>
                </c:pt>
                <c:pt idx="9681">
                  <c:v>#N/A</c:v>
                </c:pt>
                <c:pt idx="9682">
                  <c:v>-2.3463400000000001</c:v>
                </c:pt>
                <c:pt idx="9683">
                  <c:v>-1.91171</c:v>
                </c:pt>
                <c:pt idx="9684">
                  <c:v>-2.3528500000000001</c:v>
                </c:pt>
                <c:pt idx="9685">
                  <c:v>#N/A</c:v>
                </c:pt>
                <c:pt idx="9686">
                  <c:v>-2.9279500000000001</c:v>
                </c:pt>
                <c:pt idx="9687">
                  <c:v>-2.95913</c:v>
                </c:pt>
                <c:pt idx="9688">
                  <c:v>-2.3464</c:v>
                </c:pt>
                <c:pt idx="9689">
                  <c:v>#N/A</c:v>
                </c:pt>
                <c:pt idx="9690">
                  <c:v>-1.9636</c:v>
                </c:pt>
                <c:pt idx="9691">
                  <c:v>-1.42333</c:v>
                </c:pt>
                <c:pt idx="9692">
                  <c:v>-1.7082900000000001</c:v>
                </c:pt>
                <c:pt idx="9693">
                  <c:v>#N/A</c:v>
                </c:pt>
                <c:pt idx="9694">
                  <c:v>-1.9624299999999999</c:v>
                </c:pt>
                <c:pt idx="9695">
                  <c:v>-3.0474100000000002</c:v>
                </c:pt>
                <c:pt idx="9696">
                  <c:v>#N/A</c:v>
                </c:pt>
                <c:pt idx="9697">
                  <c:v>-2.7244700000000002</c:v>
                </c:pt>
                <c:pt idx="9698">
                  <c:v>-3.1808900000000002</c:v>
                </c:pt>
                <c:pt idx="9699">
                  <c:v>-2.5072000000000001</c:v>
                </c:pt>
                <c:pt idx="9700">
                  <c:v>#N/A</c:v>
                </c:pt>
                <c:pt idx="9701">
                  <c:v>-2.2711999999999999</c:v>
                </c:pt>
                <c:pt idx="9702">
                  <c:v>-1.9117</c:v>
                </c:pt>
                <c:pt idx="9703">
                  <c:v>-1.90324</c:v>
                </c:pt>
                <c:pt idx="9704">
                  <c:v>#N/A</c:v>
                </c:pt>
                <c:pt idx="9705">
                  <c:v>-2.9908399999999999</c:v>
                </c:pt>
                <c:pt idx="9706">
                  <c:v>#N/A</c:v>
                </c:pt>
                <c:pt idx="9707">
                  <c:v>-2.5786199999999999</c:v>
                </c:pt>
                <c:pt idx="9708">
                  <c:v>-2.3042099999999999</c:v>
                </c:pt>
                <c:pt idx="9709">
                  <c:v>#N/A</c:v>
                </c:pt>
                <c:pt idx="9710">
                  <c:v>-2.3868100000000001</c:v>
                </c:pt>
                <c:pt idx="9711">
                  <c:v>-2.2763100000000001</c:v>
                </c:pt>
                <c:pt idx="9712">
                  <c:v>-2.0080300000000002</c:v>
                </c:pt>
                <c:pt idx="9713">
                  <c:v>#N/A</c:v>
                </c:pt>
                <c:pt idx="9714">
                  <c:v>-1.91361</c:v>
                </c:pt>
                <c:pt idx="9715">
                  <c:v>-2.4937499999999999</c:v>
                </c:pt>
                <c:pt idx="9716">
                  <c:v>#N/A</c:v>
                </c:pt>
                <c:pt idx="9717">
                  <c:v>-2.3769300000000002</c:v>
                </c:pt>
                <c:pt idx="9718">
                  <c:v>-2.4374400000000001</c:v>
                </c:pt>
                <c:pt idx="9719">
                  <c:v>-2.7939799999999999</c:v>
                </c:pt>
                <c:pt idx="9720">
                  <c:v>#N/A</c:v>
                </c:pt>
                <c:pt idx="9721">
                  <c:v>-2.20045</c:v>
                </c:pt>
                <c:pt idx="9722">
                  <c:v>#N/A</c:v>
                </c:pt>
                <c:pt idx="9723">
                  <c:v>-2.3855200000000001</c:v>
                </c:pt>
                <c:pt idx="9724">
                  <c:v>-2.3701699999999999</c:v>
                </c:pt>
                <c:pt idx="9725">
                  <c:v>#N/A</c:v>
                </c:pt>
                <c:pt idx="9726">
                  <c:v>-2.4506000000000001</c:v>
                </c:pt>
                <c:pt idx="9727">
                  <c:v>-2.91743</c:v>
                </c:pt>
                <c:pt idx="9728">
                  <c:v>-3.1925500000000002</c:v>
                </c:pt>
                <c:pt idx="9729">
                  <c:v>#N/A</c:v>
                </c:pt>
                <c:pt idx="9730">
                  <c:v>-2.6309999999999998</c:v>
                </c:pt>
                <c:pt idx="9731">
                  <c:v>-2.2121200000000001</c:v>
                </c:pt>
                <c:pt idx="9732">
                  <c:v>-2.2763100000000001</c:v>
                </c:pt>
                <c:pt idx="9733">
                  <c:v>#N/A</c:v>
                </c:pt>
                <c:pt idx="9734">
                  <c:v>-2.8122699999999998</c:v>
                </c:pt>
                <c:pt idx="9735">
                  <c:v>-1.9107400000000001</c:v>
                </c:pt>
                <c:pt idx="9736">
                  <c:v>-2.6301100000000002</c:v>
                </c:pt>
                <c:pt idx="9737">
                  <c:v>#N/A</c:v>
                </c:pt>
                <c:pt idx="9738">
                  <c:v>-3.0112700000000001</c:v>
                </c:pt>
                <c:pt idx="9739">
                  <c:v>-2.9009100000000001</c:v>
                </c:pt>
                <c:pt idx="9740">
                  <c:v>-2.7315800000000001</c:v>
                </c:pt>
                <c:pt idx="9741">
                  <c:v>#N/A</c:v>
                </c:pt>
                <c:pt idx="9742">
                  <c:v>-2.4550200000000002</c:v>
                </c:pt>
                <c:pt idx="9743">
                  <c:v>-2.1040000000000001</c:v>
                </c:pt>
                <c:pt idx="9744">
                  <c:v>-2.41506</c:v>
                </c:pt>
                <c:pt idx="9745">
                  <c:v>#N/A</c:v>
                </c:pt>
                <c:pt idx="9746">
                  <c:v>-2.7072500000000002</c:v>
                </c:pt>
                <c:pt idx="9747">
                  <c:v>-2.6766200000000002</c:v>
                </c:pt>
                <c:pt idx="9748">
                  <c:v>-2.59144</c:v>
                </c:pt>
                <c:pt idx="9749">
                  <c:v>#N/A</c:v>
                </c:pt>
                <c:pt idx="9750">
                  <c:v>-2.6161599999999998</c:v>
                </c:pt>
                <c:pt idx="9751">
                  <c:v>-2.1162000000000001</c:v>
                </c:pt>
                <c:pt idx="9752">
                  <c:v>-1.4853799999999999</c:v>
                </c:pt>
                <c:pt idx="9753">
                  <c:v>#N/A</c:v>
                </c:pt>
                <c:pt idx="9754">
                  <c:v>-1.8068599999999999</c:v>
                </c:pt>
                <c:pt idx="9755">
                  <c:v>-1.7313700000000001</c:v>
                </c:pt>
                <c:pt idx="9756">
                  <c:v>-2.40083</c:v>
                </c:pt>
                <c:pt idx="9757">
                  <c:v>#N/A</c:v>
                </c:pt>
                <c:pt idx="9758">
                  <c:v>-2.6129099999999998</c:v>
                </c:pt>
                <c:pt idx="9759">
                  <c:v>-2.8329200000000001</c:v>
                </c:pt>
                <c:pt idx="9760">
                  <c:v>#N/A</c:v>
                </c:pt>
                <c:pt idx="9761">
                  <c:v>-2.5095000000000001</c:v>
                </c:pt>
                <c:pt idx="9762">
                  <c:v>-2.5792700000000002</c:v>
                </c:pt>
                <c:pt idx="9763">
                  <c:v>-2.11612</c:v>
                </c:pt>
                <c:pt idx="9764">
                  <c:v>#N/A</c:v>
                </c:pt>
                <c:pt idx="9765">
                  <c:v>-1.97645</c:v>
                </c:pt>
                <c:pt idx="9766">
                  <c:v>-2.2409599999999998</c:v>
                </c:pt>
                <c:pt idx="9767">
                  <c:v>-2.8451599999999999</c:v>
                </c:pt>
                <c:pt idx="9768">
                  <c:v>#N/A</c:v>
                </c:pt>
                <c:pt idx="9769">
                  <c:v>-2.6891099999999999</c:v>
                </c:pt>
                <c:pt idx="9770">
                  <c:v>-3.20329</c:v>
                </c:pt>
                <c:pt idx="9771">
                  <c:v>-2.8703500000000002</c:v>
                </c:pt>
                <c:pt idx="9772">
                  <c:v>#N/A</c:v>
                </c:pt>
                <c:pt idx="9773">
                  <c:v>-2.3443999999999998</c:v>
                </c:pt>
                <c:pt idx="9774">
                  <c:v>-2.43893</c:v>
                </c:pt>
                <c:pt idx="9775">
                  <c:v>#N/A</c:v>
                </c:pt>
                <c:pt idx="9776">
                  <c:v>-2.26213</c:v>
                </c:pt>
                <c:pt idx="9777">
                  <c:v>-1.8976200000000001</c:v>
                </c:pt>
                <c:pt idx="9778">
                  <c:v>-2.2622499999999999</c:v>
                </c:pt>
                <c:pt idx="9779">
                  <c:v>#N/A</c:v>
                </c:pt>
                <c:pt idx="9780">
                  <c:v>-2.89893</c:v>
                </c:pt>
                <c:pt idx="9781">
                  <c:v>-2.6221000000000001</c:v>
                </c:pt>
                <c:pt idx="9782">
                  <c:v>-2.3551899999999999</c:v>
                </c:pt>
                <c:pt idx="9783">
                  <c:v>#N/A</c:v>
                </c:pt>
                <c:pt idx="9784">
                  <c:v>-2.2508300000000001</c:v>
                </c:pt>
                <c:pt idx="9785">
                  <c:v>-2.1423899999999998</c:v>
                </c:pt>
                <c:pt idx="9786">
                  <c:v>#N/A</c:v>
                </c:pt>
                <c:pt idx="9787">
                  <c:v>-2.1824400000000002</c:v>
                </c:pt>
                <c:pt idx="9788">
                  <c:v>-2.51688</c:v>
                </c:pt>
                <c:pt idx="9789">
                  <c:v>-2.4517600000000002</c:v>
                </c:pt>
                <c:pt idx="9790">
                  <c:v>#N/A</c:v>
                </c:pt>
                <c:pt idx="9791">
                  <c:v>-2.83094</c:v>
                </c:pt>
                <c:pt idx="9792">
                  <c:v>-2.7075100000000001</c:v>
                </c:pt>
                <c:pt idx="9793">
                  <c:v>-2.4981900000000001</c:v>
                </c:pt>
                <c:pt idx="9794">
                  <c:v>#N/A</c:v>
                </c:pt>
                <c:pt idx="9795">
                  <c:v>-2.5111400000000001</c:v>
                </c:pt>
                <c:pt idx="9796">
                  <c:v>-2.49064</c:v>
                </c:pt>
                <c:pt idx="9797">
                  <c:v>-2.19095</c:v>
                </c:pt>
                <c:pt idx="9798">
                  <c:v>#N/A</c:v>
                </c:pt>
                <c:pt idx="9799">
                  <c:v>-2.5860400000000001</c:v>
                </c:pt>
                <c:pt idx="9800">
                  <c:v>-2.8911699999999998</c:v>
                </c:pt>
                <c:pt idx="9801">
                  <c:v>-2.6223100000000001</c:v>
                </c:pt>
                <c:pt idx="9802">
                  <c:v>#N/A</c:v>
                </c:pt>
                <c:pt idx="9803">
                  <c:v>-2.33968</c:v>
                </c:pt>
                <c:pt idx="9804">
                  <c:v>-2.16703</c:v>
                </c:pt>
                <c:pt idx="9805">
                  <c:v>-2.2509700000000001</c:v>
                </c:pt>
                <c:pt idx="9806">
                  <c:v>#N/A</c:v>
                </c:pt>
                <c:pt idx="9807">
                  <c:v>-2.6348099999999999</c:v>
                </c:pt>
                <c:pt idx="9808">
                  <c:v>-2.7866599999999999</c:v>
                </c:pt>
                <c:pt idx="9809">
                  <c:v>-3.1507700000000001</c:v>
                </c:pt>
                <c:pt idx="9810">
                  <c:v>#N/A</c:v>
                </c:pt>
                <c:pt idx="9811">
                  <c:v>-2.9280300000000001</c:v>
                </c:pt>
                <c:pt idx="9812">
                  <c:v>-2.5431900000000001</c:v>
                </c:pt>
                <c:pt idx="9813">
                  <c:v>-2.22906</c:v>
                </c:pt>
                <c:pt idx="9814">
                  <c:v>#N/A</c:v>
                </c:pt>
                <c:pt idx="9815">
                  <c:v>-1.4313199999999999</c:v>
                </c:pt>
                <c:pt idx="9816">
                  <c:v>-1.6479600000000001</c:v>
                </c:pt>
                <c:pt idx="9817">
                  <c:v>#N/A</c:v>
                </c:pt>
                <c:pt idx="9818">
                  <c:v>-2.1955800000000001</c:v>
                </c:pt>
                <c:pt idx="9819">
                  <c:v>-2.9767999999999999</c:v>
                </c:pt>
                <c:pt idx="9820">
                  <c:v>-2.8543799999999999</c:v>
                </c:pt>
                <c:pt idx="9821">
                  <c:v>#N/A</c:v>
                </c:pt>
                <c:pt idx="9822">
                  <c:v>-2.9645100000000002</c:v>
                </c:pt>
                <c:pt idx="9823">
                  <c:v>-3.1918000000000002</c:v>
                </c:pt>
                <c:pt idx="9824">
                  <c:v>-2.0496400000000001</c:v>
                </c:pt>
                <c:pt idx="9825">
                  <c:v>#N/A</c:v>
                </c:pt>
                <c:pt idx="9826">
                  <c:v>-1.8191200000000001</c:v>
                </c:pt>
                <c:pt idx="9827">
                  <c:v>-2.0656500000000002</c:v>
                </c:pt>
                <c:pt idx="9828">
                  <c:v>-2.0747100000000001</c:v>
                </c:pt>
                <c:pt idx="9829">
                  <c:v>#N/A</c:v>
                </c:pt>
                <c:pt idx="9830">
                  <c:v>-2.97201</c:v>
                </c:pt>
                <c:pt idx="9831">
                  <c:v>-3.0999599999999998</c:v>
                </c:pt>
                <c:pt idx="9832">
                  <c:v>-3.0914799999999998</c:v>
                </c:pt>
                <c:pt idx="9833">
                  <c:v>#N/A</c:v>
                </c:pt>
                <c:pt idx="9834">
                  <c:v>-2.97607</c:v>
                </c:pt>
                <c:pt idx="9835">
                  <c:v>-2.4887700000000001</c:v>
                </c:pt>
                <c:pt idx="9836">
                  <c:v>-2.23102</c:v>
                </c:pt>
                <c:pt idx="9837">
                  <c:v>#N/A</c:v>
                </c:pt>
                <c:pt idx="9838">
                  <c:v>-1.64737</c:v>
                </c:pt>
                <c:pt idx="9839">
                  <c:v>-2.4611100000000001</c:v>
                </c:pt>
                <c:pt idx="9840">
                  <c:v>#N/A</c:v>
                </c:pt>
                <c:pt idx="9841">
                  <c:v>-2.5610200000000001</c:v>
                </c:pt>
                <c:pt idx="9842">
                  <c:v>-3.2682199999999999</c:v>
                </c:pt>
                <c:pt idx="9843">
                  <c:v>-2.9982600000000001</c:v>
                </c:pt>
                <c:pt idx="9844">
                  <c:v>#N/A</c:v>
                </c:pt>
                <c:pt idx="9845">
                  <c:v>-2.9433600000000002</c:v>
                </c:pt>
                <c:pt idx="9846">
                  <c:v>-2.6250300000000002</c:v>
                </c:pt>
                <c:pt idx="9847">
                  <c:v>-1.9374100000000001</c:v>
                </c:pt>
                <c:pt idx="9848">
                  <c:v>#N/A</c:v>
                </c:pt>
                <c:pt idx="9849">
                  <c:v>-2.0143200000000001</c:v>
                </c:pt>
                <c:pt idx="9850">
                  <c:v>-3.0095999999999998</c:v>
                </c:pt>
                <c:pt idx="9851">
                  <c:v>-2.9476300000000002</c:v>
                </c:pt>
                <c:pt idx="9852">
                  <c:v>#N/A</c:v>
                </c:pt>
                <c:pt idx="9853">
                  <c:v>-3.15829</c:v>
                </c:pt>
                <c:pt idx="9854">
                  <c:v>-2.9744199999999998</c:v>
                </c:pt>
                <c:pt idx="9855">
                  <c:v>#N/A</c:v>
                </c:pt>
                <c:pt idx="9856">
                  <c:v>-3.2029100000000001</c:v>
                </c:pt>
                <c:pt idx="9857">
                  <c:v>-2.4694199999999999</c:v>
                </c:pt>
                <c:pt idx="9858">
                  <c:v>#N/A</c:v>
                </c:pt>
                <c:pt idx="9859">
                  <c:v>-2.62669</c:v>
                </c:pt>
                <c:pt idx="9860">
                  <c:v>-2.16676</c:v>
                </c:pt>
                <c:pt idx="9861">
                  <c:v>#N/A</c:v>
                </c:pt>
                <c:pt idx="9862">
                  <c:v>-2.0036900000000002</c:v>
                </c:pt>
                <c:pt idx="9863">
                  <c:v>-2.9125700000000001</c:v>
                </c:pt>
                <c:pt idx="9864">
                  <c:v>-2.9949400000000002</c:v>
                </c:pt>
                <c:pt idx="9865">
                  <c:v>#N/A</c:v>
                </c:pt>
                <c:pt idx="9866">
                  <c:v>-2.7741500000000001</c:v>
                </c:pt>
                <c:pt idx="9867">
                  <c:v>-2.3995799999999998</c:v>
                </c:pt>
                <c:pt idx="9868">
                  <c:v>#N/A</c:v>
                </c:pt>
                <c:pt idx="9869">
                  <c:v>-2.3383799999999999</c:v>
                </c:pt>
                <c:pt idx="9870">
                  <c:v>-2.0266799999999998</c:v>
                </c:pt>
                <c:pt idx="9871">
                  <c:v>-2.4799099999999998</c:v>
                </c:pt>
                <c:pt idx="9872">
                  <c:v>#N/A</c:v>
                </c:pt>
                <c:pt idx="9873">
                  <c:v>-2.5056500000000002</c:v>
                </c:pt>
                <c:pt idx="9874">
                  <c:v>-2.6715100000000001</c:v>
                </c:pt>
                <c:pt idx="9875">
                  <c:v>-2.60399</c:v>
                </c:pt>
                <c:pt idx="9876">
                  <c:v>#N/A</c:v>
                </c:pt>
                <c:pt idx="9877">
                  <c:v>-2.0723600000000002</c:v>
                </c:pt>
                <c:pt idx="9878">
                  <c:v>-1.88741</c:v>
                </c:pt>
                <c:pt idx="9879">
                  <c:v>-1.57988</c:v>
                </c:pt>
                <c:pt idx="9880">
                  <c:v>#N/A</c:v>
                </c:pt>
                <c:pt idx="9881">
                  <c:v>-2.3822399999999999</c:v>
                </c:pt>
                <c:pt idx="9882">
                  <c:v>-2.2367300000000001</c:v>
                </c:pt>
                <c:pt idx="9883">
                  <c:v>-2.8527300000000002</c:v>
                </c:pt>
                <c:pt idx="9884">
                  <c:v>#N/A</c:v>
                </c:pt>
                <c:pt idx="9885">
                  <c:v>-2.8732000000000002</c:v>
                </c:pt>
                <c:pt idx="9886">
                  <c:v>-2.5987300000000002</c:v>
                </c:pt>
                <c:pt idx="9887">
                  <c:v>-1.9736199999999999</c:v>
                </c:pt>
                <c:pt idx="9888">
                  <c:v>#N/A</c:v>
                </c:pt>
                <c:pt idx="9889">
                  <c:v>-1.8642099999999999</c:v>
                </c:pt>
                <c:pt idx="9890">
                  <c:v>-2.16533</c:v>
                </c:pt>
                <c:pt idx="9891">
                  <c:v>-2.7253400000000001</c:v>
                </c:pt>
                <c:pt idx="9892">
                  <c:v>#N/A</c:v>
                </c:pt>
                <c:pt idx="9893">
                  <c:v>-3.1589200000000002</c:v>
                </c:pt>
                <c:pt idx="9894">
                  <c:v>-2.6397900000000001</c:v>
                </c:pt>
                <c:pt idx="9895">
                  <c:v>-2.7024499999999998</c:v>
                </c:pt>
                <c:pt idx="9896">
                  <c:v>#N/A</c:v>
                </c:pt>
                <c:pt idx="9897">
                  <c:v>-2.3328899999999999</c:v>
                </c:pt>
                <c:pt idx="9898">
                  <c:v>-1.6380699999999999</c:v>
                </c:pt>
                <c:pt idx="9899">
                  <c:v>#N/A</c:v>
                </c:pt>
                <c:pt idx="9900">
                  <c:v>-1.8252699999999999</c:v>
                </c:pt>
                <c:pt idx="9901">
                  <c:v>-2.0360800000000001</c:v>
                </c:pt>
                <c:pt idx="9902">
                  <c:v>-2.3934299999999999</c:v>
                </c:pt>
                <c:pt idx="9903">
                  <c:v>#N/A</c:v>
                </c:pt>
                <c:pt idx="9904">
                  <c:v>-2.7035900000000002</c:v>
                </c:pt>
                <c:pt idx="9905">
                  <c:v>-3.2745000000000002</c:v>
                </c:pt>
                <c:pt idx="9906">
                  <c:v>-2.6537000000000002</c:v>
                </c:pt>
                <c:pt idx="9907">
                  <c:v>#N/A</c:v>
                </c:pt>
                <c:pt idx="9908">
                  <c:v>-2.8632599999999999</c:v>
                </c:pt>
                <c:pt idx="9909">
                  <c:v>-2.2764099999999998</c:v>
                </c:pt>
                <c:pt idx="9910">
                  <c:v>#N/A</c:v>
                </c:pt>
                <c:pt idx="9911">
                  <c:v>-2.5050300000000001</c:v>
                </c:pt>
                <c:pt idx="9912">
                  <c:v>-2.8195999999999999</c:v>
                </c:pt>
                <c:pt idx="9913">
                  <c:v>-2.8944200000000002</c:v>
                </c:pt>
                <c:pt idx="9914">
                  <c:v>#N/A</c:v>
                </c:pt>
                <c:pt idx="9915">
                  <c:v>-3.3345099999999999</c:v>
                </c:pt>
                <c:pt idx="9916">
                  <c:v>-3.2295699999999998</c:v>
                </c:pt>
                <c:pt idx="9917">
                  <c:v>-2.57721</c:v>
                </c:pt>
                <c:pt idx="9918">
                  <c:v>#N/A</c:v>
                </c:pt>
                <c:pt idx="9919">
                  <c:v>-2.5065</c:v>
                </c:pt>
                <c:pt idx="9920">
                  <c:v>-2.4467400000000001</c:v>
                </c:pt>
                <c:pt idx="9921">
                  <c:v>#N/A</c:v>
                </c:pt>
                <c:pt idx="9922">
                  <c:v>-2.1541800000000002</c:v>
                </c:pt>
                <c:pt idx="9923">
                  <c:v>-1.9090400000000001</c:v>
                </c:pt>
                <c:pt idx="9924">
                  <c:v>-2.8119900000000002</c:v>
                </c:pt>
                <c:pt idx="9925">
                  <c:v>#N/A</c:v>
                </c:pt>
                <c:pt idx="9926">
                  <c:v>-2.8975200000000001</c:v>
                </c:pt>
                <c:pt idx="9927">
                  <c:v>-3.0668500000000001</c:v>
                </c:pt>
                <c:pt idx="9928">
                  <c:v>-3.0428700000000002</c:v>
                </c:pt>
                <c:pt idx="9929">
                  <c:v>#N/A</c:v>
                </c:pt>
                <c:pt idx="9930">
                  <c:v>-2.4599700000000002</c:v>
                </c:pt>
                <c:pt idx="9931">
                  <c:v>#N/A</c:v>
                </c:pt>
                <c:pt idx="9932">
                  <c:v>-2.27291</c:v>
                </c:pt>
                <c:pt idx="9933">
                  <c:v>-2.4611999999999998</c:v>
                </c:pt>
                <c:pt idx="9934">
                  <c:v>#N/A</c:v>
                </c:pt>
                <c:pt idx="9935">
                  <c:v>-2.38246</c:v>
                </c:pt>
                <c:pt idx="9936">
                  <c:v>-3.0634999999999999</c:v>
                </c:pt>
                <c:pt idx="9937">
                  <c:v>-2.8144800000000001</c:v>
                </c:pt>
                <c:pt idx="9938">
                  <c:v>#N/A</c:v>
                </c:pt>
                <c:pt idx="9939">
                  <c:v>-2.6539999999999999</c:v>
                </c:pt>
                <c:pt idx="9940">
                  <c:v>-2.3875600000000001</c:v>
                </c:pt>
                <c:pt idx="9941">
                  <c:v>#N/A</c:v>
                </c:pt>
                <c:pt idx="9942">
                  <c:v>-2.6579100000000002</c:v>
                </c:pt>
                <c:pt idx="9943">
                  <c:v>-2.3591700000000002</c:v>
                </c:pt>
                <c:pt idx="9944">
                  <c:v>-1.8979200000000001</c:v>
                </c:pt>
                <c:pt idx="9945">
                  <c:v>#N/A</c:v>
                </c:pt>
                <c:pt idx="9946">
                  <c:v>-2.32376</c:v>
                </c:pt>
                <c:pt idx="9947">
                  <c:v>-2.8777200000000001</c:v>
                </c:pt>
                <c:pt idx="9948">
                  <c:v>-2.9235899999999999</c:v>
                </c:pt>
                <c:pt idx="9949">
                  <c:v>#N/A</c:v>
                </c:pt>
                <c:pt idx="9950">
                  <c:v>-2.7428699999999999</c:v>
                </c:pt>
                <c:pt idx="9951">
                  <c:v>-1.97346</c:v>
                </c:pt>
                <c:pt idx="9952">
                  <c:v>-2.06616</c:v>
                </c:pt>
                <c:pt idx="9953">
                  <c:v>#N/A</c:v>
                </c:pt>
                <c:pt idx="9954">
                  <c:v>-2.61246</c:v>
                </c:pt>
                <c:pt idx="9955">
                  <c:v>-2.5494699999999999</c:v>
                </c:pt>
                <c:pt idx="9956">
                  <c:v>-3.0324399999999998</c:v>
                </c:pt>
                <c:pt idx="9957">
                  <c:v>#N/A</c:v>
                </c:pt>
                <c:pt idx="9958">
                  <c:v>-2.6920799999999998</c:v>
                </c:pt>
                <c:pt idx="9959">
                  <c:v>-2.6314099999999998</c:v>
                </c:pt>
                <c:pt idx="9960">
                  <c:v>-2.5789599999999999</c:v>
                </c:pt>
                <c:pt idx="9961">
                  <c:v>#N/A</c:v>
                </c:pt>
                <c:pt idx="9962">
                  <c:v>-2.20703</c:v>
                </c:pt>
                <c:pt idx="9963">
                  <c:v>-1.48532</c:v>
                </c:pt>
                <c:pt idx="9964">
                  <c:v>-2.5673300000000001</c:v>
                </c:pt>
                <c:pt idx="9965">
                  <c:v>#N/A</c:v>
                </c:pt>
                <c:pt idx="9966">
                  <c:v>-3.4176199999999999</c:v>
                </c:pt>
                <c:pt idx="9967">
                  <c:v>-3.68668</c:v>
                </c:pt>
                <c:pt idx="9968">
                  <c:v>#N/A</c:v>
                </c:pt>
                <c:pt idx="9969">
                  <c:v>-3.6135700000000002</c:v>
                </c:pt>
                <c:pt idx="9970">
                  <c:v>-2.6846800000000002</c:v>
                </c:pt>
                <c:pt idx="9971">
                  <c:v>-3.0082200000000001</c:v>
                </c:pt>
                <c:pt idx="9972">
                  <c:v>#N/A</c:v>
                </c:pt>
                <c:pt idx="9973">
                  <c:v>-2.4557899999999999</c:v>
                </c:pt>
                <c:pt idx="9974">
                  <c:v>-2.5103499999999999</c:v>
                </c:pt>
                <c:pt idx="9975">
                  <c:v>-2.90781</c:v>
                </c:pt>
                <c:pt idx="9976">
                  <c:v>#N/A</c:v>
                </c:pt>
                <c:pt idx="9977">
                  <c:v>-2.93323</c:v>
                </c:pt>
                <c:pt idx="9978">
                  <c:v>-2.1848200000000002</c:v>
                </c:pt>
                <c:pt idx="9979">
                  <c:v>-0.91958899999999999</c:v>
                </c:pt>
                <c:pt idx="9980">
                  <c:v>#N/A</c:v>
                </c:pt>
                <c:pt idx="9981">
                  <c:v>1.19977</c:v>
                </c:pt>
                <c:pt idx="9982">
                  <c:v>3.3978999999999999</c:v>
                </c:pt>
                <c:pt idx="9983">
                  <c:v>7.3293600000000003</c:v>
                </c:pt>
                <c:pt idx="9984">
                  <c:v>#N/A</c:v>
                </c:pt>
                <c:pt idx="9985">
                  <c:v>9.2042699999999993</c:v>
                </c:pt>
                <c:pt idx="9986">
                  <c:v>9.8153199999999998</c:v>
                </c:pt>
                <c:pt idx="9987">
                  <c:v>10.490399999999999</c:v>
                </c:pt>
                <c:pt idx="9988">
                  <c:v>#N/A</c:v>
                </c:pt>
                <c:pt idx="9989">
                  <c:v>12.3744</c:v>
                </c:pt>
                <c:pt idx="9990">
                  <c:v>13.0844</c:v>
                </c:pt>
                <c:pt idx="9991">
                  <c:v>13.7325</c:v>
                </c:pt>
                <c:pt idx="9992">
                  <c:v>#N/A</c:v>
                </c:pt>
                <c:pt idx="9993">
                  <c:v>15.0449</c:v>
                </c:pt>
                <c:pt idx="9994">
                  <c:v>16.128900000000002</c:v>
                </c:pt>
                <c:pt idx="9995">
                  <c:v>16.411200000000001</c:v>
                </c:pt>
                <c:pt idx="9996">
                  <c:v>#N/A</c:v>
                </c:pt>
                <c:pt idx="9997">
                  <c:v>16.8368</c:v>
                </c:pt>
                <c:pt idx="9998">
                  <c:v>16.691400000000002</c:v>
                </c:pt>
                <c:pt idx="9999">
                  <c:v>15.81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B2B-4CE2-8655-A4836E92EE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768548367"/>
      </c:lineChart>
      <c:valAx>
        <c:axId val="768548367"/>
        <c:scaling>
          <c:orientation val="minMax"/>
          <c:max val="10"/>
          <c:min val="-10"/>
        </c:scaling>
        <c:delete val="0"/>
        <c:axPos val="l"/>
        <c:majorGridlines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0"/>
        <c:axPos val="b"/>
        <c:numFmt formatCode="General" sourceLinked="0"/>
        <c:majorTickMark val="cross"/>
        <c:minorTickMark val="cross"/>
        <c:tickLblPos val="none"/>
        <c:spPr>
          <a:ln>
            <a:noFill/>
          </a:ln>
        </c:spPr>
        <c:crossAx val="768548367"/>
        <c:crosses val="autoZero"/>
        <c:auto val="1"/>
        <c:lblAlgn val="ctr"/>
        <c:lblOffset val="100"/>
        <c:noMultiLvlLbl val="1"/>
      </c:catAx>
    </c:plotArea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Average of torqueactual</c:v>
                </c:pt>
              </c:strCache>
            </c:strRef>
          </c:tx>
          <c:spPr>
            <a:ln w="3175">
              <a:solidFill>
                <a:srgbClr val="1F77B4"/>
              </a:solidFill>
              <a:round/>
            </a:ln>
          </c:spPr>
          <c:marker>
            <c:symbol val="none"/>
          </c:marker>
          <c:cat>
            <c:strRef>
              <c:f>Data!$A$3:$A$5661</c:f>
              <c:strCache>
                <c:ptCount val="5659"/>
                <c:pt idx="0">
                  <c:v>0.01</c:v>
                </c:pt>
                <c:pt idx="1">
                  <c:v>0.02</c:v>
                </c:pt>
                <c:pt idx="2">
                  <c:v>0.029</c:v>
                </c:pt>
                <c:pt idx="3">
                  <c:v>0.038</c:v>
                </c:pt>
                <c:pt idx="4">
                  <c:v>0.047</c:v>
                </c:pt>
                <c:pt idx="5">
                  <c:v>0.056</c:v>
                </c:pt>
                <c:pt idx="6">
                  <c:v>0.065</c:v>
                </c:pt>
                <c:pt idx="7">
                  <c:v>0.074</c:v>
                </c:pt>
                <c:pt idx="8">
                  <c:v>0.083</c:v>
                </c:pt>
                <c:pt idx="9">
                  <c:v>0.092</c:v>
                </c:pt>
                <c:pt idx="10">
                  <c:v>0.101</c:v>
                </c:pt>
                <c:pt idx="11">
                  <c:v>0.11</c:v>
                </c:pt>
                <c:pt idx="12">
                  <c:v>0.119</c:v>
                </c:pt>
                <c:pt idx="13">
                  <c:v>0.128</c:v>
                </c:pt>
                <c:pt idx="14">
                  <c:v>0.137</c:v>
                </c:pt>
                <c:pt idx="15">
                  <c:v>0.146</c:v>
                </c:pt>
                <c:pt idx="16">
                  <c:v>0.155</c:v>
                </c:pt>
                <c:pt idx="17">
                  <c:v>0.164</c:v>
                </c:pt>
                <c:pt idx="18">
                  <c:v>0.173</c:v>
                </c:pt>
                <c:pt idx="19">
                  <c:v>0.183</c:v>
                </c:pt>
                <c:pt idx="20">
                  <c:v>0.192</c:v>
                </c:pt>
                <c:pt idx="21">
                  <c:v>0.201</c:v>
                </c:pt>
                <c:pt idx="22">
                  <c:v>0.21</c:v>
                </c:pt>
                <c:pt idx="23">
                  <c:v>0.219</c:v>
                </c:pt>
                <c:pt idx="24">
                  <c:v>0.228</c:v>
                </c:pt>
                <c:pt idx="25">
                  <c:v>0.237</c:v>
                </c:pt>
                <c:pt idx="26">
                  <c:v>0.246</c:v>
                </c:pt>
                <c:pt idx="27">
                  <c:v>0.255</c:v>
                </c:pt>
                <c:pt idx="28">
                  <c:v>0.265</c:v>
                </c:pt>
                <c:pt idx="29">
                  <c:v>0.274</c:v>
                </c:pt>
                <c:pt idx="30">
                  <c:v>0.284</c:v>
                </c:pt>
                <c:pt idx="31">
                  <c:v>0.293</c:v>
                </c:pt>
                <c:pt idx="32">
                  <c:v>0.302</c:v>
                </c:pt>
                <c:pt idx="33">
                  <c:v>0.311</c:v>
                </c:pt>
                <c:pt idx="34">
                  <c:v>0.32</c:v>
                </c:pt>
                <c:pt idx="35">
                  <c:v>0.329</c:v>
                </c:pt>
                <c:pt idx="36">
                  <c:v>0.338</c:v>
                </c:pt>
                <c:pt idx="37">
                  <c:v>0.347</c:v>
                </c:pt>
                <c:pt idx="38">
                  <c:v>0.356</c:v>
                </c:pt>
                <c:pt idx="39">
                  <c:v>0.365</c:v>
                </c:pt>
                <c:pt idx="40">
                  <c:v>0.374</c:v>
                </c:pt>
                <c:pt idx="41">
                  <c:v>0.383</c:v>
                </c:pt>
                <c:pt idx="42">
                  <c:v>0.392</c:v>
                </c:pt>
                <c:pt idx="43">
                  <c:v>0.402</c:v>
                </c:pt>
                <c:pt idx="44">
                  <c:v>0.411</c:v>
                </c:pt>
                <c:pt idx="45">
                  <c:v>0.42</c:v>
                </c:pt>
                <c:pt idx="46">
                  <c:v>0.429</c:v>
                </c:pt>
                <c:pt idx="47">
                  <c:v>0.438</c:v>
                </c:pt>
                <c:pt idx="48">
                  <c:v>0.447</c:v>
                </c:pt>
                <c:pt idx="49">
                  <c:v>0.456</c:v>
                </c:pt>
                <c:pt idx="50">
                  <c:v>0.465</c:v>
                </c:pt>
                <c:pt idx="51">
                  <c:v>0.474</c:v>
                </c:pt>
                <c:pt idx="52">
                  <c:v>0.483</c:v>
                </c:pt>
                <c:pt idx="53">
                  <c:v>0.492</c:v>
                </c:pt>
                <c:pt idx="54">
                  <c:v>0.501</c:v>
                </c:pt>
                <c:pt idx="55">
                  <c:v>0.51</c:v>
                </c:pt>
                <c:pt idx="56">
                  <c:v>0.519</c:v>
                </c:pt>
                <c:pt idx="57">
                  <c:v>0.532</c:v>
                </c:pt>
                <c:pt idx="58">
                  <c:v>0.543</c:v>
                </c:pt>
                <c:pt idx="59">
                  <c:v>0.552</c:v>
                </c:pt>
                <c:pt idx="60">
                  <c:v>0.561</c:v>
                </c:pt>
                <c:pt idx="61">
                  <c:v>0.571</c:v>
                </c:pt>
                <c:pt idx="62">
                  <c:v>0.58</c:v>
                </c:pt>
                <c:pt idx="63">
                  <c:v>0.589</c:v>
                </c:pt>
                <c:pt idx="64">
                  <c:v>0.599</c:v>
                </c:pt>
                <c:pt idx="65">
                  <c:v>0.608</c:v>
                </c:pt>
                <c:pt idx="66">
                  <c:v>0.617</c:v>
                </c:pt>
                <c:pt idx="67">
                  <c:v>0.626</c:v>
                </c:pt>
                <c:pt idx="68">
                  <c:v>0.635</c:v>
                </c:pt>
                <c:pt idx="69">
                  <c:v>0.645</c:v>
                </c:pt>
                <c:pt idx="70">
                  <c:v>0.654</c:v>
                </c:pt>
                <c:pt idx="71">
                  <c:v>0.663</c:v>
                </c:pt>
                <c:pt idx="72">
                  <c:v>0.672</c:v>
                </c:pt>
                <c:pt idx="73">
                  <c:v>0.681</c:v>
                </c:pt>
                <c:pt idx="74">
                  <c:v>0.69</c:v>
                </c:pt>
                <c:pt idx="75">
                  <c:v>0.699</c:v>
                </c:pt>
                <c:pt idx="76">
                  <c:v>0.708</c:v>
                </c:pt>
                <c:pt idx="77">
                  <c:v>0.717</c:v>
                </c:pt>
                <c:pt idx="78">
                  <c:v>0.726</c:v>
                </c:pt>
                <c:pt idx="79">
                  <c:v>0.735</c:v>
                </c:pt>
                <c:pt idx="80">
                  <c:v>0.744</c:v>
                </c:pt>
                <c:pt idx="81">
                  <c:v>0.753</c:v>
                </c:pt>
                <c:pt idx="82">
                  <c:v>0.762</c:v>
                </c:pt>
                <c:pt idx="83">
                  <c:v>0.771</c:v>
                </c:pt>
                <c:pt idx="84">
                  <c:v>0.78</c:v>
                </c:pt>
                <c:pt idx="85">
                  <c:v>0.789</c:v>
                </c:pt>
                <c:pt idx="86">
                  <c:v>0.798</c:v>
                </c:pt>
                <c:pt idx="87">
                  <c:v>0.807</c:v>
                </c:pt>
                <c:pt idx="88">
                  <c:v>0.816</c:v>
                </c:pt>
                <c:pt idx="89">
                  <c:v>0.825</c:v>
                </c:pt>
                <c:pt idx="90">
                  <c:v>0.834</c:v>
                </c:pt>
                <c:pt idx="91">
                  <c:v>0.843</c:v>
                </c:pt>
                <c:pt idx="92">
                  <c:v>0.852</c:v>
                </c:pt>
                <c:pt idx="93">
                  <c:v>0.862</c:v>
                </c:pt>
                <c:pt idx="94">
                  <c:v>0.871</c:v>
                </c:pt>
                <c:pt idx="95">
                  <c:v>0.88</c:v>
                </c:pt>
                <c:pt idx="96">
                  <c:v>0.889</c:v>
                </c:pt>
                <c:pt idx="97">
                  <c:v>0.898</c:v>
                </c:pt>
                <c:pt idx="98">
                  <c:v>0.907</c:v>
                </c:pt>
                <c:pt idx="99">
                  <c:v>0.916</c:v>
                </c:pt>
                <c:pt idx="100">
                  <c:v>0.925</c:v>
                </c:pt>
                <c:pt idx="101">
                  <c:v>0.935</c:v>
                </c:pt>
                <c:pt idx="102">
                  <c:v>0.944</c:v>
                </c:pt>
                <c:pt idx="103">
                  <c:v>0.953</c:v>
                </c:pt>
                <c:pt idx="104">
                  <c:v>0.962</c:v>
                </c:pt>
                <c:pt idx="105">
                  <c:v>0.971</c:v>
                </c:pt>
                <c:pt idx="106">
                  <c:v>0.98</c:v>
                </c:pt>
                <c:pt idx="107">
                  <c:v>0.989</c:v>
                </c:pt>
                <c:pt idx="108">
                  <c:v>0.998</c:v>
                </c:pt>
                <c:pt idx="109">
                  <c:v>1.008</c:v>
                </c:pt>
                <c:pt idx="110">
                  <c:v>1.017</c:v>
                </c:pt>
                <c:pt idx="111">
                  <c:v>1.026</c:v>
                </c:pt>
                <c:pt idx="112">
                  <c:v>1.039</c:v>
                </c:pt>
                <c:pt idx="113">
                  <c:v>1.05</c:v>
                </c:pt>
                <c:pt idx="114">
                  <c:v>1.059</c:v>
                </c:pt>
                <c:pt idx="115">
                  <c:v>1.068</c:v>
                </c:pt>
                <c:pt idx="116">
                  <c:v>1.077</c:v>
                </c:pt>
                <c:pt idx="117">
                  <c:v>1.087</c:v>
                </c:pt>
                <c:pt idx="118">
                  <c:v>1.096</c:v>
                </c:pt>
                <c:pt idx="119">
                  <c:v>1.105</c:v>
                </c:pt>
                <c:pt idx="120">
                  <c:v>1.114</c:v>
                </c:pt>
                <c:pt idx="121">
                  <c:v>1.123</c:v>
                </c:pt>
                <c:pt idx="122">
                  <c:v>1.132</c:v>
                </c:pt>
                <c:pt idx="123">
                  <c:v>1.141</c:v>
                </c:pt>
                <c:pt idx="124">
                  <c:v>1.15</c:v>
                </c:pt>
                <c:pt idx="125">
                  <c:v>1.16</c:v>
                </c:pt>
                <c:pt idx="126">
                  <c:v>1.169</c:v>
                </c:pt>
                <c:pt idx="127">
                  <c:v>1.178</c:v>
                </c:pt>
                <c:pt idx="128">
                  <c:v>1.187</c:v>
                </c:pt>
                <c:pt idx="129">
                  <c:v>1.196</c:v>
                </c:pt>
                <c:pt idx="130">
                  <c:v>1.205</c:v>
                </c:pt>
                <c:pt idx="131">
                  <c:v>1.215</c:v>
                </c:pt>
                <c:pt idx="132">
                  <c:v>1.224</c:v>
                </c:pt>
                <c:pt idx="133">
                  <c:v>1.233</c:v>
                </c:pt>
                <c:pt idx="134">
                  <c:v>1.242</c:v>
                </c:pt>
                <c:pt idx="135">
                  <c:v>1.251</c:v>
                </c:pt>
                <c:pt idx="136">
                  <c:v>1.26</c:v>
                </c:pt>
                <c:pt idx="137">
                  <c:v>1.269</c:v>
                </c:pt>
                <c:pt idx="138">
                  <c:v>1.278</c:v>
                </c:pt>
                <c:pt idx="139">
                  <c:v>1.287</c:v>
                </c:pt>
                <c:pt idx="140">
                  <c:v>1.297</c:v>
                </c:pt>
                <c:pt idx="141">
                  <c:v>1.306</c:v>
                </c:pt>
                <c:pt idx="142">
                  <c:v>1.315</c:v>
                </c:pt>
                <c:pt idx="143">
                  <c:v>1.324</c:v>
                </c:pt>
                <c:pt idx="144">
                  <c:v>1.333</c:v>
                </c:pt>
                <c:pt idx="145">
                  <c:v>1.342</c:v>
                </c:pt>
                <c:pt idx="146">
                  <c:v>1.351</c:v>
                </c:pt>
                <c:pt idx="147">
                  <c:v>1.36</c:v>
                </c:pt>
                <c:pt idx="148">
                  <c:v>1.369</c:v>
                </c:pt>
                <c:pt idx="149">
                  <c:v>1.378</c:v>
                </c:pt>
                <c:pt idx="150">
                  <c:v>1.387</c:v>
                </c:pt>
                <c:pt idx="151">
                  <c:v>1.396</c:v>
                </c:pt>
                <c:pt idx="152">
                  <c:v>1.405</c:v>
                </c:pt>
                <c:pt idx="153">
                  <c:v>1.414</c:v>
                </c:pt>
                <c:pt idx="154">
                  <c:v>1.423</c:v>
                </c:pt>
                <c:pt idx="155">
                  <c:v>1.432</c:v>
                </c:pt>
                <c:pt idx="156">
                  <c:v>1.441</c:v>
                </c:pt>
                <c:pt idx="157">
                  <c:v>1.45</c:v>
                </c:pt>
                <c:pt idx="158">
                  <c:v>1.459</c:v>
                </c:pt>
                <c:pt idx="159">
                  <c:v>1.468</c:v>
                </c:pt>
                <c:pt idx="160">
                  <c:v>1.477</c:v>
                </c:pt>
                <c:pt idx="161">
                  <c:v>1.486</c:v>
                </c:pt>
                <c:pt idx="162">
                  <c:v>1.495</c:v>
                </c:pt>
                <c:pt idx="163">
                  <c:v>1.504</c:v>
                </c:pt>
                <c:pt idx="164">
                  <c:v>1.514</c:v>
                </c:pt>
                <c:pt idx="165">
                  <c:v>1.523</c:v>
                </c:pt>
                <c:pt idx="166">
                  <c:v>1.532</c:v>
                </c:pt>
                <c:pt idx="167">
                  <c:v>1.544</c:v>
                </c:pt>
                <c:pt idx="168">
                  <c:v>1.556</c:v>
                </c:pt>
                <c:pt idx="169">
                  <c:v>1.565</c:v>
                </c:pt>
                <c:pt idx="170">
                  <c:v>1.574</c:v>
                </c:pt>
                <c:pt idx="171">
                  <c:v>1.583</c:v>
                </c:pt>
                <c:pt idx="172">
                  <c:v>1.592</c:v>
                </c:pt>
                <c:pt idx="173">
                  <c:v>1.601</c:v>
                </c:pt>
                <c:pt idx="174">
                  <c:v>1.611</c:v>
                </c:pt>
                <c:pt idx="175">
                  <c:v>1.62</c:v>
                </c:pt>
                <c:pt idx="176">
                  <c:v>1.629</c:v>
                </c:pt>
                <c:pt idx="177">
                  <c:v>1.638</c:v>
                </c:pt>
                <c:pt idx="178">
                  <c:v>1.647</c:v>
                </c:pt>
                <c:pt idx="179">
                  <c:v>1.656</c:v>
                </c:pt>
                <c:pt idx="180">
                  <c:v>1.665</c:v>
                </c:pt>
                <c:pt idx="181">
                  <c:v>1.674</c:v>
                </c:pt>
                <c:pt idx="182">
                  <c:v>1.684</c:v>
                </c:pt>
                <c:pt idx="183">
                  <c:v>1.693</c:v>
                </c:pt>
                <c:pt idx="184">
                  <c:v>1.702</c:v>
                </c:pt>
                <c:pt idx="185">
                  <c:v>1.711</c:v>
                </c:pt>
                <c:pt idx="186">
                  <c:v>1.72</c:v>
                </c:pt>
                <c:pt idx="187">
                  <c:v>1.73</c:v>
                </c:pt>
                <c:pt idx="188">
                  <c:v>1.74</c:v>
                </c:pt>
                <c:pt idx="189">
                  <c:v>1.749</c:v>
                </c:pt>
                <c:pt idx="190">
                  <c:v>1.758</c:v>
                </c:pt>
                <c:pt idx="191">
                  <c:v>1.767</c:v>
                </c:pt>
                <c:pt idx="192">
                  <c:v>1.776</c:v>
                </c:pt>
                <c:pt idx="193">
                  <c:v>1.785</c:v>
                </c:pt>
                <c:pt idx="194">
                  <c:v>1.794</c:v>
                </c:pt>
                <c:pt idx="195">
                  <c:v>1.803</c:v>
                </c:pt>
                <c:pt idx="196">
                  <c:v>1.813</c:v>
                </c:pt>
                <c:pt idx="197">
                  <c:v>1.822</c:v>
                </c:pt>
                <c:pt idx="198">
                  <c:v>1.831</c:v>
                </c:pt>
                <c:pt idx="199">
                  <c:v>1.84</c:v>
                </c:pt>
                <c:pt idx="200">
                  <c:v>1.85</c:v>
                </c:pt>
                <c:pt idx="201">
                  <c:v>1.859</c:v>
                </c:pt>
                <c:pt idx="202">
                  <c:v>1.869</c:v>
                </c:pt>
                <c:pt idx="203">
                  <c:v>1.878</c:v>
                </c:pt>
                <c:pt idx="204">
                  <c:v>1.887</c:v>
                </c:pt>
                <c:pt idx="205">
                  <c:v>1.896</c:v>
                </c:pt>
                <c:pt idx="206">
                  <c:v>1.905</c:v>
                </c:pt>
                <c:pt idx="207">
                  <c:v>1.914</c:v>
                </c:pt>
                <c:pt idx="208">
                  <c:v>1.923</c:v>
                </c:pt>
                <c:pt idx="209">
                  <c:v>1.932</c:v>
                </c:pt>
                <c:pt idx="210">
                  <c:v>1.942</c:v>
                </c:pt>
                <c:pt idx="211">
                  <c:v>1.951</c:v>
                </c:pt>
                <c:pt idx="212">
                  <c:v>1.96</c:v>
                </c:pt>
                <c:pt idx="213">
                  <c:v>1.969</c:v>
                </c:pt>
                <c:pt idx="214">
                  <c:v>1.978</c:v>
                </c:pt>
                <c:pt idx="215">
                  <c:v>1.987</c:v>
                </c:pt>
                <c:pt idx="216">
                  <c:v>1.996</c:v>
                </c:pt>
                <c:pt idx="217">
                  <c:v>2.005</c:v>
                </c:pt>
                <c:pt idx="218">
                  <c:v>2.015</c:v>
                </c:pt>
                <c:pt idx="219">
                  <c:v>2.024</c:v>
                </c:pt>
                <c:pt idx="220">
                  <c:v>2.034</c:v>
                </c:pt>
                <c:pt idx="221">
                  <c:v>2.047</c:v>
                </c:pt>
                <c:pt idx="222">
                  <c:v>2.057</c:v>
                </c:pt>
                <c:pt idx="223">
                  <c:v>2.067</c:v>
                </c:pt>
                <c:pt idx="224">
                  <c:v>2.076</c:v>
                </c:pt>
                <c:pt idx="225">
                  <c:v>2.085</c:v>
                </c:pt>
                <c:pt idx="226">
                  <c:v>2.094</c:v>
                </c:pt>
                <c:pt idx="227">
                  <c:v>2.103</c:v>
                </c:pt>
                <c:pt idx="228">
                  <c:v>2.112</c:v>
                </c:pt>
                <c:pt idx="229">
                  <c:v>2.121</c:v>
                </c:pt>
                <c:pt idx="230">
                  <c:v>2.13</c:v>
                </c:pt>
                <c:pt idx="231">
                  <c:v>2.139</c:v>
                </c:pt>
                <c:pt idx="232">
                  <c:v>2.148</c:v>
                </c:pt>
                <c:pt idx="233">
                  <c:v>2.157</c:v>
                </c:pt>
                <c:pt idx="234">
                  <c:v>2.166</c:v>
                </c:pt>
                <c:pt idx="235">
                  <c:v>2.175</c:v>
                </c:pt>
                <c:pt idx="236">
                  <c:v>2.184</c:v>
                </c:pt>
                <c:pt idx="237">
                  <c:v>2.193</c:v>
                </c:pt>
                <c:pt idx="238">
                  <c:v>2.202</c:v>
                </c:pt>
                <c:pt idx="239">
                  <c:v>2.211</c:v>
                </c:pt>
                <c:pt idx="240">
                  <c:v>2.22</c:v>
                </c:pt>
                <c:pt idx="241">
                  <c:v>2.229</c:v>
                </c:pt>
                <c:pt idx="242">
                  <c:v>2.238</c:v>
                </c:pt>
                <c:pt idx="243">
                  <c:v>2.247</c:v>
                </c:pt>
                <c:pt idx="244">
                  <c:v>2.256</c:v>
                </c:pt>
                <c:pt idx="245">
                  <c:v>2.265</c:v>
                </c:pt>
                <c:pt idx="246">
                  <c:v>2.274</c:v>
                </c:pt>
                <c:pt idx="247">
                  <c:v>2.283</c:v>
                </c:pt>
                <c:pt idx="248">
                  <c:v>2.292</c:v>
                </c:pt>
                <c:pt idx="249">
                  <c:v>2.301</c:v>
                </c:pt>
                <c:pt idx="250">
                  <c:v>2.31</c:v>
                </c:pt>
                <c:pt idx="251">
                  <c:v>2.32</c:v>
                </c:pt>
                <c:pt idx="252">
                  <c:v>2.329</c:v>
                </c:pt>
                <c:pt idx="253">
                  <c:v>2.338</c:v>
                </c:pt>
                <c:pt idx="254">
                  <c:v>2.347</c:v>
                </c:pt>
                <c:pt idx="255">
                  <c:v>2.356</c:v>
                </c:pt>
                <c:pt idx="256">
                  <c:v>2.365</c:v>
                </c:pt>
                <c:pt idx="257">
                  <c:v>2.374</c:v>
                </c:pt>
                <c:pt idx="258">
                  <c:v>2.383</c:v>
                </c:pt>
                <c:pt idx="259">
                  <c:v>2.392</c:v>
                </c:pt>
                <c:pt idx="260">
                  <c:v>2.402</c:v>
                </c:pt>
                <c:pt idx="261">
                  <c:v>2.411</c:v>
                </c:pt>
                <c:pt idx="262">
                  <c:v>2.42</c:v>
                </c:pt>
                <c:pt idx="263">
                  <c:v>2.429</c:v>
                </c:pt>
                <c:pt idx="264">
                  <c:v>2.438</c:v>
                </c:pt>
                <c:pt idx="265">
                  <c:v>2.447</c:v>
                </c:pt>
                <c:pt idx="266">
                  <c:v>2.456</c:v>
                </c:pt>
                <c:pt idx="267">
                  <c:v>2.465</c:v>
                </c:pt>
                <c:pt idx="268">
                  <c:v>2.475</c:v>
                </c:pt>
                <c:pt idx="269">
                  <c:v>2.484</c:v>
                </c:pt>
                <c:pt idx="270">
                  <c:v>2.493</c:v>
                </c:pt>
                <c:pt idx="271">
                  <c:v>2.502</c:v>
                </c:pt>
                <c:pt idx="272">
                  <c:v>2.511</c:v>
                </c:pt>
                <c:pt idx="273">
                  <c:v>2.52</c:v>
                </c:pt>
                <c:pt idx="274">
                  <c:v>2.529</c:v>
                </c:pt>
                <c:pt idx="275">
                  <c:v>2.538</c:v>
                </c:pt>
                <c:pt idx="276">
                  <c:v>2.55</c:v>
                </c:pt>
                <c:pt idx="277">
                  <c:v>2.563</c:v>
                </c:pt>
                <c:pt idx="278">
                  <c:v>2.572</c:v>
                </c:pt>
                <c:pt idx="279">
                  <c:v>2.581</c:v>
                </c:pt>
                <c:pt idx="280">
                  <c:v>2.59</c:v>
                </c:pt>
                <c:pt idx="281">
                  <c:v>2.599</c:v>
                </c:pt>
                <c:pt idx="282">
                  <c:v>2.608</c:v>
                </c:pt>
                <c:pt idx="283">
                  <c:v>2.617</c:v>
                </c:pt>
                <c:pt idx="284">
                  <c:v>2.626</c:v>
                </c:pt>
                <c:pt idx="285">
                  <c:v>2.635</c:v>
                </c:pt>
                <c:pt idx="286">
                  <c:v>2.645</c:v>
                </c:pt>
                <c:pt idx="287">
                  <c:v>2.654</c:v>
                </c:pt>
                <c:pt idx="288">
                  <c:v>2.663</c:v>
                </c:pt>
                <c:pt idx="289">
                  <c:v>2.672</c:v>
                </c:pt>
                <c:pt idx="290">
                  <c:v>2.681</c:v>
                </c:pt>
                <c:pt idx="291">
                  <c:v>2.69</c:v>
                </c:pt>
                <c:pt idx="292">
                  <c:v>2.699</c:v>
                </c:pt>
                <c:pt idx="293">
                  <c:v>2.708</c:v>
                </c:pt>
                <c:pt idx="294">
                  <c:v>2.717</c:v>
                </c:pt>
                <c:pt idx="295">
                  <c:v>2.726</c:v>
                </c:pt>
                <c:pt idx="296">
                  <c:v>2.735</c:v>
                </c:pt>
                <c:pt idx="297">
                  <c:v>2.744</c:v>
                </c:pt>
                <c:pt idx="298">
                  <c:v>2.753</c:v>
                </c:pt>
                <c:pt idx="299">
                  <c:v>2.762</c:v>
                </c:pt>
                <c:pt idx="300">
                  <c:v>2.771</c:v>
                </c:pt>
                <c:pt idx="301">
                  <c:v>2.78</c:v>
                </c:pt>
                <c:pt idx="302">
                  <c:v>2.789</c:v>
                </c:pt>
                <c:pt idx="303">
                  <c:v>2.798</c:v>
                </c:pt>
                <c:pt idx="304">
                  <c:v>2.807</c:v>
                </c:pt>
                <c:pt idx="305">
                  <c:v>2.816</c:v>
                </c:pt>
                <c:pt idx="306">
                  <c:v>2.825</c:v>
                </c:pt>
                <c:pt idx="307">
                  <c:v>2.834</c:v>
                </c:pt>
                <c:pt idx="308">
                  <c:v>2.843</c:v>
                </c:pt>
                <c:pt idx="309">
                  <c:v>2.852</c:v>
                </c:pt>
                <c:pt idx="310">
                  <c:v>2.862</c:v>
                </c:pt>
                <c:pt idx="311">
                  <c:v>2.871</c:v>
                </c:pt>
                <c:pt idx="312">
                  <c:v>2.88</c:v>
                </c:pt>
                <c:pt idx="313">
                  <c:v>2.889</c:v>
                </c:pt>
                <c:pt idx="314">
                  <c:v>2.898</c:v>
                </c:pt>
                <c:pt idx="315">
                  <c:v>2.907</c:v>
                </c:pt>
                <c:pt idx="316">
                  <c:v>2.916</c:v>
                </c:pt>
                <c:pt idx="317">
                  <c:v>2.925</c:v>
                </c:pt>
                <c:pt idx="318">
                  <c:v>2.935</c:v>
                </c:pt>
                <c:pt idx="319">
                  <c:v>2.944</c:v>
                </c:pt>
                <c:pt idx="320">
                  <c:v>2.953</c:v>
                </c:pt>
                <c:pt idx="321">
                  <c:v>2.962</c:v>
                </c:pt>
                <c:pt idx="322">
                  <c:v>2.971</c:v>
                </c:pt>
                <c:pt idx="323">
                  <c:v>2.98</c:v>
                </c:pt>
                <c:pt idx="324">
                  <c:v>2.989</c:v>
                </c:pt>
                <c:pt idx="325">
                  <c:v>2.998</c:v>
                </c:pt>
                <c:pt idx="326">
                  <c:v>3.007</c:v>
                </c:pt>
                <c:pt idx="327">
                  <c:v>3.016</c:v>
                </c:pt>
                <c:pt idx="328">
                  <c:v>3.025</c:v>
                </c:pt>
                <c:pt idx="329">
                  <c:v>3.034</c:v>
                </c:pt>
                <c:pt idx="330">
                  <c:v>3.043</c:v>
                </c:pt>
                <c:pt idx="331">
                  <c:v>3.057</c:v>
                </c:pt>
                <c:pt idx="332">
                  <c:v>3.067</c:v>
                </c:pt>
                <c:pt idx="333">
                  <c:v>3.079</c:v>
                </c:pt>
                <c:pt idx="334">
                  <c:v>3.088</c:v>
                </c:pt>
                <c:pt idx="335">
                  <c:v>3.097</c:v>
                </c:pt>
                <c:pt idx="336">
                  <c:v>3.106</c:v>
                </c:pt>
                <c:pt idx="337">
                  <c:v>3.115</c:v>
                </c:pt>
                <c:pt idx="338">
                  <c:v>3.124</c:v>
                </c:pt>
                <c:pt idx="339">
                  <c:v>3.133</c:v>
                </c:pt>
                <c:pt idx="340">
                  <c:v>3.142</c:v>
                </c:pt>
                <c:pt idx="341">
                  <c:v>3.151</c:v>
                </c:pt>
                <c:pt idx="342">
                  <c:v>3.16</c:v>
                </c:pt>
                <c:pt idx="343">
                  <c:v>3.169</c:v>
                </c:pt>
                <c:pt idx="344">
                  <c:v>3.178</c:v>
                </c:pt>
                <c:pt idx="345">
                  <c:v>3.187</c:v>
                </c:pt>
                <c:pt idx="346">
                  <c:v>3.196</c:v>
                </c:pt>
                <c:pt idx="347">
                  <c:v>3.205</c:v>
                </c:pt>
                <c:pt idx="348">
                  <c:v>3.214</c:v>
                </c:pt>
                <c:pt idx="349">
                  <c:v>3.224</c:v>
                </c:pt>
                <c:pt idx="350">
                  <c:v>3.233</c:v>
                </c:pt>
                <c:pt idx="351">
                  <c:v>3.242</c:v>
                </c:pt>
                <c:pt idx="352">
                  <c:v>3.251</c:v>
                </c:pt>
                <c:pt idx="353">
                  <c:v>3.26</c:v>
                </c:pt>
                <c:pt idx="354">
                  <c:v>3.269</c:v>
                </c:pt>
                <c:pt idx="355">
                  <c:v>3.278</c:v>
                </c:pt>
                <c:pt idx="356">
                  <c:v>3.287</c:v>
                </c:pt>
                <c:pt idx="357">
                  <c:v>3.296</c:v>
                </c:pt>
                <c:pt idx="358">
                  <c:v>3.305</c:v>
                </c:pt>
                <c:pt idx="359">
                  <c:v>3.314</c:v>
                </c:pt>
                <c:pt idx="360">
                  <c:v>3.323</c:v>
                </c:pt>
                <c:pt idx="361">
                  <c:v>3.332</c:v>
                </c:pt>
                <c:pt idx="362">
                  <c:v>3.341</c:v>
                </c:pt>
                <c:pt idx="363">
                  <c:v>3.35</c:v>
                </c:pt>
                <c:pt idx="364">
                  <c:v>3.359</c:v>
                </c:pt>
                <c:pt idx="365">
                  <c:v>3.369</c:v>
                </c:pt>
                <c:pt idx="366">
                  <c:v>3.378</c:v>
                </c:pt>
                <c:pt idx="367">
                  <c:v>3.387</c:v>
                </c:pt>
                <c:pt idx="368">
                  <c:v>3.396</c:v>
                </c:pt>
                <c:pt idx="369">
                  <c:v>3.405</c:v>
                </c:pt>
                <c:pt idx="370">
                  <c:v>3.415</c:v>
                </c:pt>
                <c:pt idx="371">
                  <c:v>3.425</c:v>
                </c:pt>
                <c:pt idx="372">
                  <c:v>3.434</c:v>
                </c:pt>
                <c:pt idx="373">
                  <c:v>3.443</c:v>
                </c:pt>
                <c:pt idx="374">
                  <c:v>3.452</c:v>
                </c:pt>
                <c:pt idx="375">
                  <c:v>3.461</c:v>
                </c:pt>
                <c:pt idx="376">
                  <c:v>3.47</c:v>
                </c:pt>
                <c:pt idx="377">
                  <c:v>3.479</c:v>
                </c:pt>
                <c:pt idx="378">
                  <c:v>3.488</c:v>
                </c:pt>
                <c:pt idx="379">
                  <c:v>3.497</c:v>
                </c:pt>
                <c:pt idx="380">
                  <c:v>3.506</c:v>
                </c:pt>
                <c:pt idx="381">
                  <c:v>3.515</c:v>
                </c:pt>
                <c:pt idx="382">
                  <c:v>3.524</c:v>
                </c:pt>
                <c:pt idx="383">
                  <c:v>3.533</c:v>
                </c:pt>
                <c:pt idx="384">
                  <c:v>3.542</c:v>
                </c:pt>
                <c:pt idx="385">
                  <c:v>3.551</c:v>
                </c:pt>
                <c:pt idx="386">
                  <c:v>3.56</c:v>
                </c:pt>
                <c:pt idx="387">
                  <c:v>3.57</c:v>
                </c:pt>
                <c:pt idx="388">
                  <c:v>3.579</c:v>
                </c:pt>
                <c:pt idx="389">
                  <c:v>3.588</c:v>
                </c:pt>
                <c:pt idx="390">
                  <c:v>3.597</c:v>
                </c:pt>
                <c:pt idx="391">
                  <c:v>3.607</c:v>
                </c:pt>
                <c:pt idx="392">
                  <c:v>3.616</c:v>
                </c:pt>
                <c:pt idx="393">
                  <c:v>3.625</c:v>
                </c:pt>
                <c:pt idx="394">
                  <c:v>3.634</c:v>
                </c:pt>
                <c:pt idx="395">
                  <c:v>3.643</c:v>
                </c:pt>
                <c:pt idx="396">
                  <c:v>3.652</c:v>
                </c:pt>
                <c:pt idx="397">
                  <c:v>3.661</c:v>
                </c:pt>
                <c:pt idx="398">
                  <c:v>3.67</c:v>
                </c:pt>
                <c:pt idx="399">
                  <c:v>3.679</c:v>
                </c:pt>
                <c:pt idx="400">
                  <c:v>3.688</c:v>
                </c:pt>
                <c:pt idx="401">
                  <c:v>3.697</c:v>
                </c:pt>
                <c:pt idx="402">
                  <c:v>3.706</c:v>
                </c:pt>
                <c:pt idx="403">
                  <c:v>3.715</c:v>
                </c:pt>
                <c:pt idx="404">
                  <c:v>3.724</c:v>
                </c:pt>
                <c:pt idx="405">
                  <c:v>3.733</c:v>
                </c:pt>
                <c:pt idx="406">
                  <c:v>3.742</c:v>
                </c:pt>
                <c:pt idx="407">
                  <c:v>3.752</c:v>
                </c:pt>
                <c:pt idx="408">
                  <c:v>3.761</c:v>
                </c:pt>
                <c:pt idx="409">
                  <c:v>3.77</c:v>
                </c:pt>
                <c:pt idx="410">
                  <c:v>3.779</c:v>
                </c:pt>
                <c:pt idx="411">
                  <c:v>3.788</c:v>
                </c:pt>
                <c:pt idx="412">
                  <c:v>3.797</c:v>
                </c:pt>
                <c:pt idx="413">
                  <c:v>3.806</c:v>
                </c:pt>
                <c:pt idx="414">
                  <c:v>3.815</c:v>
                </c:pt>
                <c:pt idx="415">
                  <c:v>3.824</c:v>
                </c:pt>
                <c:pt idx="416">
                  <c:v>3.833</c:v>
                </c:pt>
                <c:pt idx="417">
                  <c:v>3.842</c:v>
                </c:pt>
                <c:pt idx="418">
                  <c:v>3.851</c:v>
                </c:pt>
                <c:pt idx="419">
                  <c:v>3.86</c:v>
                </c:pt>
                <c:pt idx="420">
                  <c:v>3.869</c:v>
                </c:pt>
                <c:pt idx="421">
                  <c:v>3.878</c:v>
                </c:pt>
                <c:pt idx="422">
                  <c:v>3.887</c:v>
                </c:pt>
                <c:pt idx="423">
                  <c:v>3.896</c:v>
                </c:pt>
                <c:pt idx="424">
                  <c:v>3.905</c:v>
                </c:pt>
                <c:pt idx="425">
                  <c:v>3.914</c:v>
                </c:pt>
                <c:pt idx="426">
                  <c:v>3.923</c:v>
                </c:pt>
                <c:pt idx="427">
                  <c:v>3.932</c:v>
                </c:pt>
                <c:pt idx="428">
                  <c:v>3.942</c:v>
                </c:pt>
                <c:pt idx="429">
                  <c:v>3.951</c:v>
                </c:pt>
                <c:pt idx="430">
                  <c:v>3.96</c:v>
                </c:pt>
                <c:pt idx="431">
                  <c:v>3.969</c:v>
                </c:pt>
                <c:pt idx="432">
                  <c:v>3.978</c:v>
                </c:pt>
                <c:pt idx="433">
                  <c:v>3.987</c:v>
                </c:pt>
                <c:pt idx="434">
                  <c:v>3.996</c:v>
                </c:pt>
                <c:pt idx="435">
                  <c:v>4.005</c:v>
                </c:pt>
                <c:pt idx="436">
                  <c:v>4.014</c:v>
                </c:pt>
                <c:pt idx="437">
                  <c:v>4.023</c:v>
                </c:pt>
                <c:pt idx="438">
                  <c:v>4.032</c:v>
                </c:pt>
                <c:pt idx="439">
                  <c:v>4.041</c:v>
                </c:pt>
                <c:pt idx="440">
                  <c:v>4.05</c:v>
                </c:pt>
                <c:pt idx="441">
                  <c:v>4.059</c:v>
                </c:pt>
                <c:pt idx="442">
                  <c:v>4.068</c:v>
                </c:pt>
                <c:pt idx="443">
                  <c:v>4.077</c:v>
                </c:pt>
                <c:pt idx="444">
                  <c:v>4.087</c:v>
                </c:pt>
                <c:pt idx="445">
                  <c:v>4.096</c:v>
                </c:pt>
                <c:pt idx="446">
                  <c:v>4.105</c:v>
                </c:pt>
                <c:pt idx="447">
                  <c:v>4.114</c:v>
                </c:pt>
                <c:pt idx="448">
                  <c:v>4.123</c:v>
                </c:pt>
                <c:pt idx="449">
                  <c:v>4.132</c:v>
                </c:pt>
                <c:pt idx="450">
                  <c:v>4.141</c:v>
                </c:pt>
                <c:pt idx="451">
                  <c:v>4.15</c:v>
                </c:pt>
                <c:pt idx="452">
                  <c:v>4.16</c:v>
                </c:pt>
                <c:pt idx="453">
                  <c:v>4.169</c:v>
                </c:pt>
                <c:pt idx="454">
                  <c:v>4.178</c:v>
                </c:pt>
                <c:pt idx="455">
                  <c:v>4.187</c:v>
                </c:pt>
                <c:pt idx="456">
                  <c:v>4.196</c:v>
                </c:pt>
                <c:pt idx="457">
                  <c:v>4.205</c:v>
                </c:pt>
                <c:pt idx="458">
                  <c:v>4.214</c:v>
                </c:pt>
                <c:pt idx="459">
                  <c:v>4.224</c:v>
                </c:pt>
                <c:pt idx="460">
                  <c:v>4.233</c:v>
                </c:pt>
                <c:pt idx="461">
                  <c:v>4.242</c:v>
                </c:pt>
                <c:pt idx="462">
                  <c:v>4.251</c:v>
                </c:pt>
                <c:pt idx="463">
                  <c:v>4.26</c:v>
                </c:pt>
                <c:pt idx="464">
                  <c:v>4.269</c:v>
                </c:pt>
                <c:pt idx="465">
                  <c:v>4.278</c:v>
                </c:pt>
                <c:pt idx="466">
                  <c:v>4.287</c:v>
                </c:pt>
                <c:pt idx="467">
                  <c:v>4.296</c:v>
                </c:pt>
                <c:pt idx="468">
                  <c:v>4.305</c:v>
                </c:pt>
                <c:pt idx="469">
                  <c:v>4.314</c:v>
                </c:pt>
                <c:pt idx="470">
                  <c:v>4.323</c:v>
                </c:pt>
                <c:pt idx="471">
                  <c:v>4.332</c:v>
                </c:pt>
                <c:pt idx="472">
                  <c:v>4.341</c:v>
                </c:pt>
                <c:pt idx="473">
                  <c:v>4.35</c:v>
                </c:pt>
                <c:pt idx="474">
                  <c:v>4.359</c:v>
                </c:pt>
                <c:pt idx="475">
                  <c:v>4.369</c:v>
                </c:pt>
                <c:pt idx="476">
                  <c:v>4.378</c:v>
                </c:pt>
                <c:pt idx="477">
                  <c:v>4.387</c:v>
                </c:pt>
                <c:pt idx="478">
                  <c:v>4.396</c:v>
                </c:pt>
                <c:pt idx="479">
                  <c:v>4.405</c:v>
                </c:pt>
                <c:pt idx="480">
                  <c:v>4.414</c:v>
                </c:pt>
                <c:pt idx="481">
                  <c:v>4.424</c:v>
                </c:pt>
                <c:pt idx="482">
                  <c:v>4.433</c:v>
                </c:pt>
                <c:pt idx="483">
                  <c:v>4.442</c:v>
                </c:pt>
                <c:pt idx="484">
                  <c:v>4.451</c:v>
                </c:pt>
                <c:pt idx="485">
                  <c:v>4.46</c:v>
                </c:pt>
                <c:pt idx="486">
                  <c:v>4.469</c:v>
                </c:pt>
                <c:pt idx="487">
                  <c:v>4.478</c:v>
                </c:pt>
                <c:pt idx="488">
                  <c:v>4.487</c:v>
                </c:pt>
                <c:pt idx="489">
                  <c:v>4.496</c:v>
                </c:pt>
                <c:pt idx="490">
                  <c:v>4.505</c:v>
                </c:pt>
                <c:pt idx="491">
                  <c:v>4.514</c:v>
                </c:pt>
                <c:pt idx="492">
                  <c:v>4.523</c:v>
                </c:pt>
                <c:pt idx="493">
                  <c:v>4.532</c:v>
                </c:pt>
                <c:pt idx="494">
                  <c:v>4.541</c:v>
                </c:pt>
                <c:pt idx="495">
                  <c:v>4.55</c:v>
                </c:pt>
                <c:pt idx="496">
                  <c:v>4.559</c:v>
                </c:pt>
                <c:pt idx="497">
                  <c:v>4.568</c:v>
                </c:pt>
                <c:pt idx="498">
                  <c:v>4.577</c:v>
                </c:pt>
                <c:pt idx="499">
                  <c:v>4.586</c:v>
                </c:pt>
                <c:pt idx="500">
                  <c:v>4.595</c:v>
                </c:pt>
                <c:pt idx="501">
                  <c:v>4.604</c:v>
                </c:pt>
                <c:pt idx="502">
                  <c:v>4.613</c:v>
                </c:pt>
                <c:pt idx="503">
                  <c:v>4.622</c:v>
                </c:pt>
                <c:pt idx="504">
                  <c:v>4.631</c:v>
                </c:pt>
                <c:pt idx="505">
                  <c:v>4.64</c:v>
                </c:pt>
                <c:pt idx="506">
                  <c:v>4.649</c:v>
                </c:pt>
                <c:pt idx="507">
                  <c:v>4.659</c:v>
                </c:pt>
                <c:pt idx="508">
                  <c:v>4.668</c:v>
                </c:pt>
                <c:pt idx="509">
                  <c:v>4.677</c:v>
                </c:pt>
                <c:pt idx="510">
                  <c:v>4.686</c:v>
                </c:pt>
                <c:pt idx="511">
                  <c:v>4.695</c:v>
                </c:pt>
                <c:pt idx="512">
                  <c:v>4.704</c:v>
                </c:pt>
                <c:pt idx="513">
                  <c:v>4.713</c:v>
                </c:pt>
                <c:pt idx="514">
                  <c:v>4.722</c:v>
                </c:pt>
                <c:pt idx="515">
                  <c:v>4.731</c:v>
                </c:pt>
                <c:pt idx="516">
                  <c:v>4.74</c:v>
                </c:pt>
                <c:pt idx="517">
                  <c:v>4.749</c:v>
                </c:pt>
                <c:pt idx="518">
                  <c:v>4.758</c:v>
                </c:pt>
                <c:pt idx="519">
                  <c:v>4.767</c:v>
                </c:pt>
                <c:pt idx="520">
                  <c:v>4.776</c:v>
                </c:pt>
                <c:pt idx="521">
                  <c:v>4.785</c:v>
                </c:pt>
                <c:pt idx="522">
                  <c:v>4.794</c:v>
                </c:pt>
                <c:pt idx="523">
                  <c:v>4.804</c:v>
                </c:pt>
                <c:pt idx="524">
                  <c:v>4.813</c:v>
                </c:pt>
                <c:pt idx="525">
                  <c:v>4.823</c:v>
                </c:pt>
                <c:pt idx="526">
                  <c:v>4.833</c:v>
                </c:pt>
                <c:pt idx="527">
                  <c:v>4.842</c:v>
                </c:pt>
                <c:pt idx="528">
                  <c:v>4.851</c:v>
                </c:pt>
                <c:pt idx="529">
                  <c:v>4.86</c:v>
                </c:pt>
                <c:pt idx="530">
                  <c:v>4.869</c:v>
                </c:pt>
                <c:pt idx="531">
                  <c:v>4.878</c:v>
                </c:pt>
                <c:pt idx="532">
                  <c:v>4.887</c:v>
                </c:pt>
                <c:pt idx="533">
                  <c:v>4.897</c:v>
                </c:pt>
                <c:pt idx="534">
                  <c:v>4.906</c:v>
                </c:pt>
                <c:pt idx="535">
                  <c:v>4.915</c:v>
                </c:pt>
                <c:pt idx="536">
                  <c:v>4.924</c:v>
                </c:pt>
                <c:pt idx="537">
                  <c:v>4.933</c:v>
                </c:pt>
                <c:pt idx="538">
                  <c:v>4.942</c:v>
                </c:pt>
                <c:pt idx="539">
                  <c:v>4.951</c:v>
                </c:pt>
                <c:pt idx="540">
                  <c:v>4.96</c:v>
                </c:pt>
                <c:pt idx="541">
                  <c:v>4.97</c:v>
                </c:pt>
                <c:pt idx="542">
                  <c:v>4.979</c:v>
                </c:pt>
                <c:pt idx="543">
                  <c:v>4.988</c:v>
                </c:pt>
                <c:pt idx="544">
                  <c:v>4.997</c:v>
                </c:pt>
                <c:pt idx="545">
                  <c:v>5.006</c:v>
                </c:pt>
                <c:pt idx="546">
                  <c:v>5.015</c:v>
                </c:pt>
                <c:pt idx="547">
                  <c:v>5.025</c:v>
                </c:pt>
                <c:pt idx="548">
                  <c:v>5.034</c:v>
                </c:pt>
                <c:pt idx="549">
                  <c:v>5.043</c:v>
                </c:pt>
                <c:pt idx="550">
                  <c:v>5.053</c:v>
                </c:pt>
                <c:pt idx="551">
                  <c:v>5.065</c:v>
                </c:pt>
                <c:pt idx="552">
                  <c:v>5.074</c:v>
                </c:pt>
                <c:pt idx="553">
                  <c:v>5.083</c:v>
                </c:pt>
                <c:pt idx="554">
                  <c:v>5.092</c:v>
                </c:pt>
                <c:pt idx="555">
                  <c:v>5.101</c:v>
                </c:pt>
                <c:pt idx="556">
                  <c:v>5.11</c:v>
                </c:pt>
                <c:pt idx="557">
                  <c:v>5.119</c:v>
                </c:pt>
                <c:pt idx="558">
                  <c:v>5.128</c:v>
                </c:pt>
                <c:pt idx="559">
                  <c:v>5.137</c:v>
                </c:pt>
                <c:pt idx="560">
                  <c:v>5.146</c:v>
                </c:pt>
                <c:pt idx="561">
                  <c:v>5.155</c:v>
                </c:pt>
                <c:pt idx="562">
                  <c:v>5.164</c:v>
                </c:pt>
                <c:pt idx="563">
                  <c:v>5.173</c:v>
                </c:pt>
                <c:pt idx="564">
                  <c:v>5.182</c:v>
                </c:pt>
                <c:pt idx="565">
                  <c:v>5.191</c:v>
                </c:pt>
                <c:pt idx="566">
                  <c:v>5.2</c:v>
                </c:pt>
                <c:pt idx="567">
                  <c:v>5.209</c:v>
                </c:pt>
                <c:pt idx="568">
                  <c:v>5.219</c:v>
                </c:pt>
                <c:pt idx="569">
                  <c:v>5.228</c:v>
                </c:pt>
                <c:pt idx="570">
                  <c:v>5.237</c:v>
                </c:pt>
                <c:pt idx="571">
                  <c:v>5.246</c:v>
                </c:pt>
                <c:pt idx="572">
                  <c:v>5.255</c:v>
                </c:pt>
                <c:pt idx="573">
                  <c:v>5.265</c:v>
                </c:pt>
                <c:pt idx="574">
                  <c:v>5.274</c:v>
                </c:pt>
                <c:pt idx="575">
                  <c:v>5.283</c:v>
                </c:pt>
                <c:pt idx="576">
                  <c:v>5.292</c:v>
                </c:pt>
                <c:pt idx="577">
                  <c:v>5.301</c:v>
                </c:pt>
                <c:pt idx="578">
                  <c:v>5.31</c:v>
                </c:pt>
                <c:pt idx="579">
                  <c:v>5.32</c:v>
                </c:pt>
                <c:pt idx="580">
                  <c:v>5.333</c:v>
                </c:pt>
                <c:pt idx="581">
                  <c:v>5.342</c:v>
                </c:pt>
                <c:pt idx="582">
                  <c:v>5.351</c:v>
                </c:pt>
                <c:pt idx="583">
                  <c:v>5.361</c:v>
                </c:pt>
                <c:pt idx="584">
                  <c:v>5.37</c:v>
                </c:pt>
                <c:pt idx="585">
                  <c:v>5.379</c:v>
                </c:pt>
                <c:pt idx="586">
                  <c:v>5.388</c:v>
                </c:pt>
                <c:pt idx="587">
                  <c:v>5.397</c:v>
                </c:pt>
                <c:pt idx="588">
                  <c:v>5.406</c:v>
                </c:pt>
                <c:pt idx="589">
                  <c:v>5.415</c:v>
                </c:pt>
                <c:pt idx="590">
                  <c:v>5.424</c:v>
                </c:pt>
                <c:pt idx="591">
                  <c:v>5.433</c:v>
                </c:pt>
                <c:pt idx="592">
                  <c:v>5.442</c:v>
                </c:pt>
                <c:pt idx="593">
                  <c:v>5.451</c:v>
                </c:pt>
                <c:pt idx="594">
                  <c:v>5.46</c:v>
                </c:pt>
                <c:pt idx="595">
                  <c:v>5.469</c:v>
                </c:pt>
                <c:pt idx="596">
                  <c:v>5.478</c:v>
                </c:pt>
                <c:pt idx="597">
                  <c:v>5.487</c:v>
                </c:pt>
                <c:pt idx="598">
                  <c:v>5.496</c:v>
                </c:pt>
                <c:pt idx="599">
                  <c:v>5.505</c:v>
                </c:pt>
                <c:pt idx="600">
                  <c:v>5.514</c:v>
                </c:pt>
                <c:pt idx="601">
                  <c:v>5.523</c:v>
                </c:pt>
                <c:pt idx="602">
                  <c:v>5.532</c:v>
                </c:pt>
                <c:pt idx="603">
                  <c:v>5.541</c:v>
                </c:pt>
                <c:pt idx="604">
                  <c:v>5.55</c:v>
                </c:pt>
                <c:pt idx="605">
                  <c:v>5.561</c:v>
                </c:pt>
                <c:pt idx="606">
                  <c:v>5.572</c:v>
                </c:pt>
                <c:pt idx="607">
                  <c:v>5.582</c:v>
                </c:pt>
                <c:pt idx="608">
                  <c:v>5.593</c:v>
                </c:pt>
                <c:pt idx="609">
                  <c:v>5.602</c:v>
                </c:pt>
                <c:pt idx="610">
                  <c:v>5.611</c:v>
                </c:pt>
                <c:pt idx="611">
                  <c:v>5.62</c:v>
                </c:pt>
                <c:pt idx="612">
                  <c:v>5.629</c:v>
                </c:pt>
                <c:pt idx="613">
                  <c:v>5.638</c:v>
                </c:pt>
                <c:pt idx="614">
                  <c:v>5.647</c:v>
                </c:pt>
                <c:pt idx="615">
                  <c:v>5.656</c:v>
                </c:pt>
                <c:pt idx="616">
                  <c:v>5.665</c:v>
                </c:pt>
                <c:pt idx="617">
                  <c:v>5.674</c:v>
                </c:pt>
                <c:pt idx="618">
                  <c:v>5.683</c:v>
                </c:pt>
                <c:pt idx="619">
                  <c:v>5.692</c:v>
                </c:pt>
                <c:pt idx="620">
                  <c:v>5.701</c:v>
                </c:pt>
                <c:pt idx="621">
                  <c:v>5.71</c:v>
                </c:pt>
                <c:pt idx="622">
                  <c:v>5.719</c:v>
                </c:pt>
                <c:pt idx="623">
                  <c:v>5.728</c:v>
                </c:pt>
                <c:pt idx="624">
                  <c:v>5.737</c:v>
                </c:pt>
                <c:pt idx="625">
                  <c:v>5.746</c:v>
                </c:pt>
                <c:pt idx="626">
                  <c:v>5.755</c:v>
                </c:pt>
                <c:pt idx="627">
                  <c:v>5.764</c:v>
                </c:pt>
                <c:pt idx="628">
                  <c:v>5.773</c:v>
                </c:pt>
                <c:pt idx="629">
                  <c:v>5.782</c:v>
                </c:pt>
                <c:pt idx="630">
                  <c:v>5.791</c:v>
                </c:pt>
                <c:pt idx="631">
                  <c:v>5.8</c:v>
                </c:pt>
                <c:pt idx="632">
                  <c:v>5.809</c:v>
                </c:pt>
                <c:pt idx="633">
                  <c:v>5.818</c:v>
                </c:pt>
                <c:pt idx="634">
                  <c:v>5.828</c:v>
                </c:pt>
                <c:pt idx="635">
                  <c:v>5.837</c:v>
                </c:pt>
                <c:pt idx="636">
                  <c:v>5.846</c:v>
                </c:pt>
                <c:pt idx="637">
                  <c:v>5.855</c:v>
                </c:pt>
                <c:pt idx="638">
                  <c:v>5.865</c:v>
                </c:pt>
                <c:pt idx="639">
                  <c:v>5.874</c:v>
                </c:pt>
                <c:pt idx="640">
                  <c:v>5.884</c:v>
                </c:pt>
                <c:pt idx="641">
                  <c:v>5.893</c:v>
                </c:pt>
                <c:pt idx="642">
                  <c:v>5.902</c:v>
                </c:pt>
                <c:pt idx="643">
                  <c:v>5.911</c:v>
                </c:pt>
                <c:pt idx="644">
                  <c:v>5.92</c:v>
                </c:pt>
                <c:pt idx="645">
                  <c:v>5.929</c:v>
                </c:pt>
                <c:pt idx="646">
                  <c:v>5.938</c:v>
                </c:pt>
                <c:pt idx="647">
                  <c:v>5.947</c:v>
                </c:pt>
                <c:pt idx="648">
                  <c:v>5.956</c:v>
                </c:pt>
                <c:pt idx="649">
                  <c:v>5.965</c:v>
                </c:pt>
                <c:pt idx="650">
                  <c:v>5.974</c:v>
                </c:pt>
                <c:pt idx="651">
                  <c:v>5.983</c:v>
                </c:pt>
                <c:pt idx="652">
                  <c:v>5.992</c:v>
                </c:pt>
                <c:pt idx="653">
                  <c:v>6.001</c:v>
                </c:pt>
                <c:pt idx="654">
                  <c:v>6.01</c:v>
                </c:pt>
                <c:pt idx="655">
                  <c:v>6.019</c:v>
                </c:pt>
                <c:pt idx="656">
                  <c:v>6.028</c:v>
                </c:pt>
                <c:pt idx="657">
                  <c:v>6.037</c:v>
                </c:pt>
                <c:pt idx="658">
                  <c:v>6.046</c:v>
                </c:pt>
                <c:pt idx="659">
                  <c:v>6.055</c:v>
                </c:pt>
                <c:pt idx="660">
                  <c:v>6.064</c:v>
                </c:pt>
                <c:pt idx="661">
                  <c:v>6.077</c:v>
                </c:pt>
                <c:pt idx="662">
                  <c:v>6.087</c:v>
                </c:pt>
                <c:pt idx="663">
                  <c:v>6.098</c:v>
                </c:pt>
                <c:pt idx="664">
                  <c:v>6.107</c:v>
                </c:pt>
                <c:pt idx="665">
                  <c:v>6.116</c:v>
                </c:pt>
                <c:pt idx="666">
                  <c:v>6.125</c:v>
                </c:pt>
                <c:pt idx="667">
                  <c:v>6.134</c:v>
                </c:pt>
                <c:pt idx="668">
                  <c:v>6.143</c:v>
                </c:pt>
                <c:pt idx="669">
                  <c:v>6.152</c:v>
                </c:pt>
                <c:pt idx="670">
                  <c:v>6.161</c:v>
                </c:pt>
                <c:pt idx="671">
                  <c:v>6.17</c:v>
                </c:pt>
                <c:pt idx="672">
                  <c:v>6.179</c:v>
                </c:pt>
                <c:pt idx="673">
                  <c:v>6.188</c:v>
                </c:pt>
                <c:pt idx="674">
                  <c:v>6.197</c:v>
                </c:pt>
                <c:pt idx="675">
                  <c:v>6.206</c:v>
                </c:pt>
                <c:pt idx="676">
                  <c:v>6.215</c:v>
                </c:pt>
                <c:pt idx="677">
                  <c:v>6.224</c:v>
                </c:pt>
                <c:pt idx="678">
                  <c:v>6.233</c:v>
                </c:pt>
                <c:pt idx="679">
                  <c:v>6.242</c:v>
                </c:pt>
                <c:pt idx="680">
                  <c:v>6.251</c:v>
                </c:pt>
                <c:pt idx="681">
                  <c:v>6.26</c:v>
                </c:pt>
                <c:pt idx="682">
                  <c:v>6.269</c:v>
                </c:pt>
                <c:pt idx="683">
                  <c:v>6.278</c:v>
                </c:pt>
                <c:pt idx="684">
                  <c:v>6.287</c:v>
                </c:pt>
                <c:pt idx="685">
                  <c:v>6.296</c:v>
                </c:pt>
                <c:pt idx="686">
                  <c:v>6.305</c:v>
                </c:pt>
                <c:pt idx="687">
                  <c:v>6.314</c:v>
                </c:pt>
                <c:pt idx="688">
                  <c:v>6.323</c:v>
                </c:pt>
                <c:pt idx="689">
                  <c:v>6.332</c:v>
                </c:pt>
                <c:pt idx="690">
                  <c:v>6.341</c:v>
                </c:pt>
                <c:pt idx="691">
                  <c:v>6.35</c:v>
                </c:pt>
                <c:pt idx="692">
                  <c:v>6.359</c:v>
                </c:pt>
                <c:pt idx="693">
                  <c:v>6.368</c:v>
                </c:pt>
                <c:pt idx="694">
                  <c:v>6.377</c:v>
                </c:pt>
                <c:pt idx="695">
                  <c:v>6.386</c:v>
                </c:pt>
                <c:pt idx="696">
                  <c:v>6.395</c:v>
                </c:pt>
                <c:pt idx="697">
                  <c:v>6.404</c:v>
                </c:pt>
                <c:pt idx="698">
                  <c:v>6.413</c:v>
                </c:pt>
                <c:pt idx="699">
                  <c:v>6.422</c:v>
                </c:pt>
                <c:pt idx="700">
                  <c:v>6.431</c:v>
                </c:pt>
                <c:pt idx="701">
                  <c:v>6.44</c:v>
                </c:pt>
                <c:pt idx="702">
                  <c:v>6.449</c:v>
                </c:pt>
                <c:pt idx="703">
                  <c:v>6.458</c:v>
                </c:pt>
                <c:pt idx="704">
                  <c:v>6.467</c:v>
                </c:pt>
                <c:pt idx="705">
                  <c:v>6.476</c:v>
                </c:pt>
                <c:pt idx="706">
                  <c:v>6.485</c:v>
                </c:pt>
                <c:pt idx="707">
                  <c:v>6.494</c:v>
                </c:pt>
                <c:pt idx="708">
                  <c:v>6.504</c:v>
                </c:pt>
                <c:pt idx="709">
                  <c:v>6.514</c:v>
                </c:pt>
                <c:pt idx="710">
                  <c:v>6.523</c:v>
                </c:pt>
                <c:pt idx="711">
                  <c:v>6.532</c:v>
                </c:pt>
                <c:pt idx="712">
                  <c:v>6.541</c:v>
                </c:pt>
                <c:pt idx="713">
                  <c:v>6.55</c:v>
                </c:pt>
                <c:pt idx="714">
                  <c:v>6.56</c:v>
                </c:pt>
                <c:pt idx="715">
                  <c:v>6.57</c:v>
                </c:pt>
                <c:pt idx="716">
                  <c:v>6.579</c:v>
                </c:pt>
                <c:pt idx="717">
                  <c:v>6.589</c:v>
                </c:pt>
                <c:pt idx="718">
                  <c:v>6.598</c:v>
                </c:pt>
                <c:pt idx="719">
                  <c:v>6.607</c:v>
                </c:pt>
                <c:pt idx="720">
                  <c:v>6.616</c:v>
                </c:pt>
                <c:pt idx="721">
                  <c:v>6.625</c:v>
                </c:pt>
                <c:pt idx="722">
                  <c:v>6.634</c:v>
                </c:pt>
                <c:pt idx="723">
                  <c:v>6.643</c:v>
                </c:pt>
                <c:pt idx="724">
                  <c:v>6.652</c:v>
                </c:pt>
                <c:pt idx="725">
                  <c:v>6.661</c:v>
                </c:pt>
                <c:pt idx="726">
                  <c:v>6.67</c:v>
                </c:pt>
                <c:pt idx="727">
                  <c:v>6.679</c:v>
                </c:pt>
                <c:pt idx="728">
                  <c:v>6.688</c:v>
                </c:pt>
                <c:pt idx="729">
                  <c:v>6.697</c:v>
                </c:pt>
                <c:pt idx="730">
                  <c:v>6.706</c:v>
                </c:pt>
                <c:pt idx="731">
                  <c:v>6.715</c:v>
                </c:pt>
                <c:pt idx="732">
                  <c:v>6.724</c:v>
                </c:pt>
                <c:pt idx="733">
                  <c:v>6.733</c:v>
                </c:pt>
                <c:pt idx="734">
                  <c:v>6.742</c:v>
                </c:pt>
                <c:pt idx="735">
                  <c:v>6.751</c:v>
                </c:pt>
                <c:pt idx="736">
                  <c:v>6.76</c:v>
                </c:pt>
                <c:pt idx="737">
                  <c:v>6.769</c:v>
                </c:pt>
                <c:pt idx="738">
                  <c:v>6.778</c:v>
                </c:pt>
                <c:pt idx="739">
                  <c:v>6.787</c:v>
                </c:pt>
                <c:pt idx="740">
                  <c:v>6.796</c:v>
                </c:pt>
                <c:pt idx="741">
                  <c:v>6.805</c:v>
                </c:pt>
                <c:pt idx="742">
                  <c:v>6.814</c:v>
                </c:pt>
                <c:pt idx="743">
                  <c:v>6.823</c:v>
                </c:pt>
                <c:pt idx="744">
                  <c:v>6.832</c:v>
                </c:pt>
                <c:pt idx="745">
                  <c:v>6.841</c:v>
                </c:pt>
                <c:pt idx="746">
                  <c:v>6.85</c:v>
                </c:pt>
                <c:pt idx="747">
                  <c:v>6.859</c:v>
                </c:pt>
                <c:pt idx="748">
                  <c:v>6.868</c:v>
                </c:pt>
                <c:pt idx="749">
                  <c:v>6.877</c:v>
                </c:pt>
                <c:pt idx="750">
                  <c:v>6.886</c:v>
                </c:pt>
                <c:pt idx="751">
                  <c:v>6.895</c:v>
                </c:pt>
                <c:pt idx="752">
                  <c:v>6.904</c:v>
                </c:pt>
                <c:pt idx="753">
                  <c:v>6.913</c:v>
                </c:pt>
                <c:pt idx="754">
                  <c:v>6.922</c:v>
                </c:pt>
                <c:pt idx="755">
                  <c:v>6.932</c:v>
                </c:pt>
                <c:pt idx="756">
                  <c:v>6.941</c:v>
                </c:pt>
                <c:pt idx="757">
                  <c:v>6.95</c:v>
                </c:pt>
                <c:pt idx="758">
                  <c:v>6.959</c:v>
                </c:pt>
                <c:pt idx="759">
                  <c:v>6.968</c:v>
                </c:pt>
                <c:pt idx="760">
                  <c:v>6.977</c:v>
                </c:pt>
                <c:pt idx="761">
                  <c:v>6.986</c:v>
                </c:pt>
                <c:pt idx="762">
                  <c:v>6.995</c:v>
                </c:pt>
                <c:pt idx="763">
                  <c:v>7.005</c:v>
                </c:pt>
                <c:pt idx="764">
                  <c:v>7.014</c:v>
                </c:pt>
                <c:pt idx="765">
                  <c:v>7.023</c:v>
                </c:pt>
                <c:pt idx="766">
                  <c:v>7.033</c:v>
                </c:pt>
                <c:pt idx="767">
                  <c:v>7.042</c:v>
                </c:pt>
                <c:pt idx="768">
                  <c:v>7.051</c:v>
                </c:pt>
                <c:pt idx="769">
                  <c:v>7.06</c:v>
                </c:pt>
                <c:pt idx="770">
                  <c:v>7.069</c:v>
                </c:pt>
                <c:pt idx="771">
                  <c:v>7.078</c:v>
                </c:pt>
                <c:pt idx="772">
                  <c:v>7.087</c:v>
                </c:pt>
                <c:pt idx="773">
                  <c:v>7.096</c:v>
                </c:pt>
                <c:pt idx="774">
                  <c:v>7.105</c:v>
                </c:pt>
                <c:pt idx="775">
                  <c:v>7.115</c:v>
                </c:pt>
                <c:pt idx="776">
                  <c:v>7.124</c:v>
                </c:pt>
                <c:pt idx="777">
                  <c:v>7.133</c:v>
                </c:pt>
                <c:pt idx="778">
                  <c:v>7.142</c:v>
                </c:pt>
                <c:pt idx="779">
                  <c:v>7.151</c:v>
                </c:pt>
                <c:pt idx="780">
                  <c:v>7.16</c:v>
                </c:pt>
                <c:pt idx="781">
                  <c:v>7.169</c:v>
                </c:pt>
                <c:pt idx="782">
                  <c:v>7.178</c:v>
                </c:pt>
                <c:pt idx="783">
                  <c:v>7.187</c:v>
                </c:pt>
                <c:pt idx="784">
                  <c:v>7.196</c:v>
                </c:pt>
                <c:pt idx="785">
                  <c:v>7.205</c:v>
                </c:pt>
                <c:pt idx="786">
                  <c:v>7.214</c:v>
                </c:pt>
                <c:pt idx="787">
                  <c:v>7.223</c:v>
                </c:pt>
                <c:pt idx="788">
                  <c:v>7.232</c:v>
                </c:pt>
                <c:pt idx="789">
                  <c:v>7.241</c:v>
                </c:pt>
                <c:pt idx="790">
                  <c:v>7.25</c:v>
                </c:pt>
                <c:pt idx="791">
                  <c:v>7.259</c:v>
                </c:pt>
                <c:pt idx="792">
                  <c:v>7.268</c:v>
                </c:pt>
                <c:pt idx="793">
                  <c:v>7.277</c:v>
                </c:pt>
                <c:pt idx="794">
                  <c:v>7.286</c:v>
                </c:pt>
                <c:pt idx="795">
                  <c:v>7.295</c:v>
                </c:pt>
                <c:pt idx="796">
                  <c:v>7.304</c:v>
                </c:pt>
                <c:pt idx="797">
                  <c:v>7.313</c:v>
                </c:pt>
                <c:pt idx="798">
                  <c:v>7.322</c:v>
                </c:pt>
                <c:pt idx="799">
                  <c:v>7.331</c:v>
                </c:pt>
                <c:pt idx="800">
                  <c:v>7.34</c:v>
                </c:pt>
                <c:pt idx="801">
                  <c:v>7.349</c:v>
                </c:pt>
                <c:pt idx="802">
                  <c:v>7.358</c:v>
                </c:pt>
                <c:pt idx="803">
                  <c:v>7.367</c:v>
                </c:pt>
                <c:pt idx="804">
                  <c:v>7.376</c:v>
                </c:pt>
                <c:pt idx="805">
                  <c:v>7.385</c:v>
                </c:pt>
                <c:pt idx="806">
                  <c:v>7.394</c:v>
                </c:pt>
                <c:pt idx="807">
                  <c:v>7.403</c:v>
                </c:pt>
                <c:pt idx="808">
                  <c:v>7.412</c:v>
                </c:pt>
                <c:pt idx="809">
                  <c:v>7.421</c:v>
                </c:pt>
                <c:pt idx="810">
                  <c:v>7.43</c:v>
                </c:pt>
                <c:pt idx="811">
                  <c:v>7.439</c:v>
                </c:pt>
                <c:pt idx="812">
                  <c:v>7.448</c:v>
                </c:pt>
                <c:pt idx="813">
                  <c:v>7.457</c:v>
                </c:pt>
                <c:pt idx="814">
                  <c:v>7.466</c:v>
                </c:pt>
                <c:pt idx="815">
                  <c:v>7.476</c:v>
                </c:pt>
                <c:pt idx="816">
                  <c:v>7.485</c:v>
                </c:pt>
                <c:pt idx="817">
                  <c:v>7.494</c:v>
                </c:pt>
                <c:pt idx="818">
                  <c:v>7.504</c:v>
                </c:pt>
                <c:pt idx="819">
                  <c:v>7.513</c:v>
                </c:pt>
                <c:pt idx="820">
                  <c:v>7.523</c:v>
                </c:pt>
                <c:pt idx="821">
                  <c:v>7.532</c:v>
                </c:pt>
                <c:pt idx="822">
                  <c:v>7.541</c:v>
                </c:pt>
                <c:pt idx="823">
                  <c:v>7.55</c:v>
                </c:pt>
                <c:pt idx="824">
                  <c:v>7.559</c:v>
                </c:pt>
                <c:pt idx="825">
                  <c:v>7.568</c:v>
                </c:pt>
                <c:pt idx="826">
                  <c:v>7.577</c:v>
                </c:pt>
                <c:pt idx="827">
                  <c:v>7.586</c:v>
                </c:pt>
                <c:pt idx="828">
                  <c:v>7.595</c:v>
                </c:pt>
                <c:pt idx="829">
                  <c:v>7.604</c:v>
                </c:pt>
                <c:pt idx="830">
                  <c:v>7.613</c:v>
                </c:pt>
                <c:pt idx="831">
                  <c:v>7.622</c:v>
                </c:pt>
                <c:pt idx="832">
                  <c:v>7.631</c:v>
                </c:pt>
                <c:pt idx="833">
                  <c:v>7.64</c:v>
                </c:pt>
                <c:pt idx="834">
                  <c:v>7.649</c:v>
                </c:pt>
                <c:pt idx="835">
                  <c:v>7.658</c:v>
                </c:pt>
                <c:pt idx="836">
                  <c:v>7.667</c:v>
                </c:pt>
                <c:pt idx="837">
                  <c:v>7.676</c:v>
                </c:pt>
                <c:pt idx="838">
                  <c:v>7.685</c:v>
                </c:pt>
                <c:pt idx="839">
                  <c:v>7.694</c:v>
                </c:pt>
                <c:pt idx="840">
                  <c:v>7.703</c:v>
                </c:pt>
                <c:pt idx="841">
                  <c:v>7.712</c:v>
                </c:pt>
                <c:pt idx="842">
                  <c:v>7.721</c:v>
                </c:pt>
                <c:pt idx="843">
                  <c:v>7.73</c:v>
                </c:pt>
                <c:pt idx="844">
                  <c:v>7.739</c:v>
                </c:pt>
                <c:pt idx="845">
                  <c:v>7.748</c:v>
                </c:pt>
                <c:pt idx="846">
                  <c:v>7.757</c:v>
                </c:pt>
                <c:pt idx="847">
                  <c:v>7.767</c:v>
                </c:pt>
                <c:pt idx="848">
                  <c:v>7.776</c:v>
                </c:pt>
                <c:pt idx="849">
                  <c:v>7.785</c:v>
                </c:pt>
                <c:pt idx="850">
                  <c:v>7.794</c:v>
                </c:pt>
                <c:pt idx="851">
                  <c:v>7.803</c:v>
                </c:pt>
                <c:pt idx="852">
                  <c:v>7.812</c:v>
                </c:pt>
                <c:pt idx="853">
                  <c:v>7.821</c:v>
                </c:pt>
                <c:pt idx="854">
                  <c:v>7.83</c:v>
                </c:pt>
                <c:pt idx="855">
                  <c:v>7.839</c:v>
                </c:pt>
                <c:pt idx="856">
                  <c:v>7.848</c:v>
                </c:pt>
                <c:pt idx="857">
                  <c:v>7.857</c:v>
                </c:pt>
                <c:pt idx="858">
                  <c:v>7.866</c:v>
                </c:pt>
                <c:pt idx="859">
                  <c:v>7.875</c:v>
                </c:pt>
                <c:pt idx="860">
                  <c:v>7.884</c:v>
                </c:pt>
                <c:pt idx="861">
                  <c:v>7.893</c:v>
                </c:pt>
                <c:pt idx="862">
                  <c:v>7.902</c:v>
                </c:pt>
                <c:pt idx="863">
                  <c:v>7.912</c:v>
                </c:pt>
                <c:pt idx="864">
                  <c:v>7.921</c:v>
                </c:pt>
                <c:pt idx="865">
                  <c:v>7.93</c:v>
                </c:pt>
                <c:pt idx="866">
                  <c:v>7.939</c:v>
                </c:pt>
                <c:pt idx="867">
                  <c:v>7.948</c:v>
                </c:pt>
                <c:pt idx="868">
                  <c:v>7.957</c:v>
                </c:pt>
                <c:pt idx="869">
                  <c:v>7.966</c:v>
                </c:pt>
                <c:pt idx="870">
                  <c:v>7.975</c:v>
                </c:pt>
                <c:pt idx="871">
                  <c:v>7.984</c:v>
                </c:pt>
                <c:pt idx="872">
                  <c:v>7.993</c:v>
                </c:pt>
                <c:pt idx="873">
                  <c:v>8.002</c:v>
                </c:pt>
                <c:pt idx="874">
                  <c:v>8.011</c:v>
                </c:pt>
                <c:pt idx="875">
                  <c:v>8.02</c:v>
                </c:pt>
                <c:pt idx="876">
                  <c:v>8.029</c:v>
                </c:pt>
                <c:pt idx="877">
                  <c:v>8.038</c:v>
                </c:pt>
                <c:pt idx="878">
                  <c:v>8.047</c:v>
                </c:pt>
                <c:pt idx="879">
                  <c:v>8.057</c:v>
                </c:pt>
                <c:pt idx="880">
                  <c:v>8.066</c:v>
                </c:pt>
                <c:pt idx="881">
                  <c:v>8.075</c:v>
                </c:pt>
                <c:pt idx="882">
                  <c:v>8.084</c:v>
                </c:pt>
                <c:pt idx="883">
                  <c:v>8.093</c:v>
                </c:pt>
                <c:pt idx="884">
                  <c:v>8.102</c:v>
                </c:pt>
                <c:pt idx="885">
                  <c:v>8.111</c:v>
                </c:pt>
                <c:pt idx="886">
                  <c:v>8.12</c:v>
                </c:pt>
                <c:pt idx="887">
                  <c:v>8.13</c:v>
                </c:pt>
                <c:pt idx="888">
                  <c:v>8.141</c:v>
                </c:pt>
                <c:pt idx="889">
                  <c:v>8.15</c:v>
                </c:pt>
                <c:pt idx="890">
                  <c:v>8.159</c:v>
                </c:pt>
                <c:pt idx="891">
                  <c:v>8.168</c:v>
                </c:pt>
                <c:pt idx="892">
                  <c:v>8.178</c:v>
                </c:pt>
                <c:pt idx="893">
                  <c:v>8.187</c:v>
                </c:pt>
                <c:pt idx="894">
                  <c:v>8.196</c:v>
                </c:pt>
                <c:pt idx="895">
                  <c:v>8.205</c:v>
                </c:pt>
                <c:pt idx="896">
                  <c:v>8.214</c:v>
                </c:pt>
                <c:pt idx="897">
                  <c:v>8.223</c:v>
                </c:pt>
                <c:pt idx="898">
                  <c:v>8.232</c:v>
                </c:pt>
                <c:pt idx="899">
                  <c:v>8.241</c:v>
                </c:pt>
                <c:pt idx="900">
                  <c:v>8.25</c:v>
                </c:pt>
                <c:pt idx="901">
                  <c:v>8.259</c:v>
                </c:pt>
                <c:pt idx="902">
                  <c:v>8.268</c:v>
                </c:pt>
                <c:pt idx="903">
                  <c:v>8.277</c:v>
                </c:pt>
                <c:pt idx="904">
                  <c:v>8.286</c:v>
                </c:pt>
                <c:pt idx="905">
                  <c:v>8.295</c:v>
                </c:pt>
                <c:pt idx="906">
                  <c:v>8.304</c:v>
                </c:pt>
                <c:pt idx="907">
                  <c:v>8.313</c:v>
                </c:pt>
                <c:pt idx="908">
                  <c:v>8.323</c:v>
                </c:pt>
                <c:pt idx="909">
                  <c:v>8.332</c:v>
                </c:pt>
                <c:pt idx="910">
                  <c:v>8.342</c:v>
                </c:pt>
                <c:pt idx="911">
                  <c:v>8.351</c:v>
                </c:pt>
                <c:pt idx="912">
                  <c:v>8.36</c:v>
                </c:pt>
                <c:pt idx="913">
                  <c:v>8.369</c:v>
                </c:pt>
                <c:pt idx="914">
                  <c:v>8.378</c:v>
                </c:pt>
                <c:pt idx="915">
                  <c:v>8.387</c:v>
                </c:pt>
                <c:pt idx="916">
                  <c:v>8.396</c:v>
                </c:pt>
                <c:pt idx="917">
                  <c:v>8.405</c:v>
                </c:pt>
                <c:pt idx="918">
                  <c:v>8.414</c:v>
                </c:pt>
                <c:pt idx="919">
                  <c:v>8.424</c:v>
                </c:pt>
                <c:pt idx="920">
                  <c:v>8.433</c:v>
                </c:pt>
                <c:pt idx="921">
                  <c:v>8.442</c:v>
                </c:pt>
                <c:pt idx="922">
                  <c:v>8.451</c:v>
                </c:pt>
                <c:pt idx="923">
                  <c:v>8.46</c:v>
                </c:pt>
                <c:pt idx="924">
                  <c:v>8.469</c:v>
                </c:pt>
                <c:pt idx="925">
                  <c:v>8.478</c:v>
                </c:pt>
                <c:pt idx="926">
                  <c:v>8.487</c:v>
                </c:pt>
                <c:pt idx="927">
                  <c:v>8.496</c:v>
                </c:pt>
                <c:pt idx="928">
                  <c:v>8.505</c:v>
                </c:pt>
                <c:pt idx="929">
                  <c:v>8.514</c:v>
                </c:pt>
                <c:pt idx="930">
                  <c:v>8.523</c:v>
                </c:pt>
                <c:pt idx="931">
                  <c:v>8.532</c:v>
                </c:pt>
                <c:pt idx="932">
                  <c:v>8.541</c:v>
                </c:pt>
                <c:pt idx="933">
                  <c:v>8.55</c:v>
                </c:pt>
                <c:pt idx="934">
                  <c:v>8.559</c:v>
                </c:pt>
                <c:pt idx="935">
                  <c:v>8.568</c:v>
                </c:pt>
                <c:pt idx="936">
                  <c:v>8.577</c:v>
                </c:pt>
                <c:pt idx="937">
                  <c:v>8.586</c:v>
                </c:pt>
                <c:pt idx="938">
                  <c:v>8.595</c:v>
                </c:pt>
                <c:pt idx="939">
                  <c:v>8.604</c:v>
                </c:pt>
                <c:pt idx="940">
                  <c:v>8.613</c:v>
                </c:pt>
                <c:pt idx="941">
                  <c:v>8.622</c:v>
                </c:pt>
                <c:pt idx="942">
                  <c:v>8.631</c:v>
                </c:pt>
                <c:pt idx="943">
                  <c:v>8.64</c:v>
                </c:pt>
                <c:pt idx="944">
                  <c:v>8.65</c:v>
                </c:pt>
                <c:pt idx="945">
                  <c:v>8.659</c:v>
                </c:pt>
                <c:pt idx="946">
                  <c:v>8.668</c:v>
                </c:pt>
                <c:pt idx="947">
                  <c:v>8.677</c:v>
                </c:pt>
                <c:pt idx="948">
                  <c:v>8.686</c:v>
                </c:pt>
                <c:pt idx="949">
                  <c:v>8.695</c:v>
                </c:pt>
                <c:pt idx="950">
                  <c:v>8.704</c:v>
                </c:pt>
                <c:pt idx="951">
                  <c:v>8.713</c:v>
                </c:pt>
                <c:pt idx="952">
                  <c:v>8.722</c:v>
                </c:pt>
                <c:pt idx="953">
                  <c:v>8.731</c:v>
                </c:pt>
                <c:pt idx="954">
                  <c:v>8.74</c:v>
                </c:pt>
                <c:pt idx="955">
                  <c:v>8.749</c:v>
                </c:pt>
                <c:pt idx="956">
                  <c:v>8.758</c:v>
                </c:pt>
                <c:pt idx="957">
                  <c:v>8.767</c:v>
                </c:pt>
                <c:pt idx="958">
                  <c:v>8.776</c:v>
                </c:pt>
                <c:pt idx="959">
                  <c:v>8.785</c:v>
                </c:pt>
                <c:pt idx="960">
                  <c:v>8.795</c:v>
                </c:pt>
                <c:pt idx="961">
                  <c:v>8.804</c:v>
                </c:pt>
                <c:pt idx="962">
                  <c:v>8.813</c:v>
                </c:pt>
                <c:pt idx="963">
                  <c:v>8.822</c:v>
                </c:pt>
                <c:pt idx="964">
                  <c:v>8.831</c:v>
                </c:pt>
                <c:pt idx="965">
                  <c:v>8.84</c:v>
                </c:pt>
                <c:pt idx="966">
                  <c:v>8.849</c:v>
                </c:pt>
                <c:pt idx="967">
                  <c:v>8.858</c:v>
                </c:pt>
                <c:pt idx="968">
                  <c:v>8.867</c:v>
                </c:pt>
                <c:pt idx="969">
                  <c:v>8.876</c:v>
                </c:pt>
                <c:pt idx="970">
                  <c:v>8.885</c:v>
                </c:pt>
                <c:pt idx="971">
                  <c:v>8.894</c:v>
                </c:pt>
                <c:pt idx="972">
                  <c:v>8.903</c:v>
                </c:pt>
                <c:pt idx="973">
                  <c:v>8.912</c:v>
                </c:pt>
                <c:pt idx="974">
                  <c:v>8.921</c:v>
                </c:pt>
                <c:pt idx="975">
                  <c:v>8.93</c:v>
                </c:pt>
                <c:pt idx="976">
                  <c:v>8.94</c:v>
                </c:pt>
                <c:pt idx="977">
                  <c:v>8.949</c:v>
                </c:pt>
                <c:pt idx="978">
                  <c:v>8.959</c:v>
                </c:pt>
                <c:pt idx="979">
                  <c:v>8.968</c:v>
                </c:pt>
                <c:pt idx="980">
                  <c:v>8.977</c:v>
                </c:pt>
                <c:pt idx="981">
                  <c:v>8.986</c:v>
                </c:pt>
                <c:pt idx="982">
                  <c:v>8.995</c:v>
                </c:pt>
                <c:pt idx="983">
                  <c:v>9.004</c:v>
                </c:pt>
                <c:pt idx="984">
                  <c:v>9.013</c:v>
                </c:pt>
                <c:pt idx="985">
                  <c:v>9.022</c:v>
                </c:pt>
                <c:pt idx="986">
                  <c:v>9.031</c:v>
                </c:pt>
                <c:pt idx="987">
                  <c:v>9.04</c:v>
                </c:pt>
                <c:pt idx="988">
                  <c:v>9.049</c:v>
                </c:pt>
                <c:pt idx="989">
                  <c:v>9.058</c:v>
                </c:pt>
                <c:pt idx="990">
                  <c:v>9.067</c:v>
                </c:pt>
                <c:pt idx="991">
                  <c:v>9.079</c:v>
                </c:pt>
                <c:pt idx="992">
                  <c:v>9.091</c:v>
                </c:pt>
                <c:pt idx="993">
                  <c:v>9.102</c:v>
                </c:pt>
                <c:pt idx="994">
                  <c:v>9.112</c:v>
                </c:pt>
                <c:pt idx="995">
                  <c:v>9.121</c:v>
                </c:pt>
                <c:pt idx="996">
                  <c:v>9.13</c:v>
                </c:pt>
                <c:pt idx="997">
                  <c:v>9.139</c:v>
                </c:pt>
                <c:pt idx="998">
                  <c:v>9.148</c:v>
                </c:pt>
                <c:pt idx="999">
                  <c:v>9.158</c:v>
                </c:pt>
                <c:pt idx="1000">
                  <c:v>9.167</c:v>
                </c:pt>
                <c:pt idx="1001">
                  <c:v>9.176</c:v>
                </c:pt>
                <c:pt idx="1002">
                  <c:v>9.185</c:v>
                </c:pt>
                <c:pt idx="1003">
                  <c:v>9.194</c:v>
                </c:pt>
                <c:pt idx="1004">
                  <c:v>9.203</c:v>
                </c:pt>
                <c:pt idx="1005">
                  <c:v>9.212</c:v>
                </c:pt>
                <c:pt idx="1006">
                  <c:v>9.221</c:v>
                </c:pt>
                <c:pt idx="1007">
                  <c:v>9.23</c:v>
                </c:pt>
                <c:pt idx="1008">
                  <c:v>9.239</c:v>
                </c:pt>
                <c:pt idx="1009">
                  <c:v>9.248</c:v>
                </c:pt>
                <c:pt idx="1010">
                  <c:v>9.257</c:v>
                </c:pt>
                <c:pt idx="1011">
                  <c:v>9.266</c:v>
                </c:pt>
                <c:pt idx="1012">
                  <c:v>9.275</c:v>
                </c:pt>
                <c:pt idx="1013">
                  <c:v>9.284</c:v>
                </c:pt>
                <c:pt idx="1014">
                  <c:v>9.293</c:v>
                </c:pt>
                <c:pt idx="1015">
                  <c:v>9.303</c:v>
                </c:pt>
                <c:pt idx="1016">
                  <c:v>9.312</c:v>
                </c:pt>
                <c:pt idx="1017">
                  <c:v>9.321</c:v>
                </c:pt>
                <c:pt idx="1018">
                  <c:v>9.33</c:v>
                </c:pt>
                <c:pt idx="1019">
                  <c:v>9.339</c:v>
                </c:pt>
                <c:pt idx="1020">
                  <c:v>9.348</c:v>
                </c:pt>
                <c:pt idx="1021">
                  <c:v>9.357</c:v>
                </c:pt>
                <c:pt idx="1022">
                  <c:v>9.366</c:v>
                </c:pt>
                <c:pt idx="1023">
                  <c:v>9.375</c:v>
                </c:pt>
                <c:pt idx="1024">
                  <c:v>9.384</c:v>
                </c:pt>
                <c:pt idx="1025">
                  <c:v>9.393</c:v>
                </c:pt>
                <c:pt idx="1026">
                  <c:v>9.402</c:v>
                </c:pt>
                <c:pt idx="1027">
                  <c:v>9.411</c:v>
                </c:pt>
                <c:pt idx="1028">
                  <c:v>9.42</c:v>
                </c:pt>
                <c:pt idx="1029">
                  <c:v>9.429</c:v>
                </c:pt>
                <c:pt idx="1030">
                  <c:v>9.438</c:v>
                </c:pt>
                <c:pt idx="1031">
                  <c:v>9.448</c:v>
                </c:pt>
                <c:pt idx="1032">
                  <c:v>9.457</c:v>
                </c:pt>
                <c:pt idx="1033">
                  <c:v>9.466</c:v>
                </c:pt>
                <c:pt idx="1034">
                  <c:v>9.475</c:v>
                </c:pt>
                <c:pt idx="1035">
                  <c:v>9.484</c:v>
                </c:pt>
                <c:pt idx="1036">
                  <c:v>9.493</c:v>
                </c:pt>
                <c:pt idx="1037">
                  <c:v>9.502</c:v>
                </c:pt>
                <c:pt idx="1038">
                  <c:v>9.512</c:v>
                </c:pt>
                <c:pt idx="1039">
                  <c:v>9.521</c:v>
                </c:pt>
                <c:pt idx="1040">
                  <c:v>9.53</c:v>
                </c:pt>
                <c:pt idx="1041">
                  <c:v>9.539</c:v>
                </c:pt>
                <c:pt idx="1042">
                  <c:v>9.548</c:v>
                </c:pt>
                <c:pt idx="1043">
                  <c:v>9.557</c:v>
                </c:pt>
                <c:pt idx="1044">
                  <c:v>9.566</c:v>
                </c:pt>
                <c:pt idx="1045">
                  <c:v>9.577</c:v>
                </c:pt>
                <c:pt idx="1046">
                  <c:v>9.588</c:v>
                </c:pt>
                <c:pt idx="1047">
                  <c:v>9.597</c:v>
                </c:pt>
                <c:pt idx="1048">
                  <c:v>9.606</c:v>
                </c:pt>
                <c:pt idx="1049">
                  <c:v>9.615</c:v>
                </c:pt>
                <c:pt idx="1050">
                  <c:v>9.625</c:v>
                </c:pt>
                <c:pt idx="1051">
                  <c:v>9.634</c:v>
                </c:pt>
                <c:pt idx="1052">
                  <c:v>9.643</c:v>
                </c:pt>
                <c:pt idx="1053">
                  <c:v>9.652</c:v>
                </c:pt>
                <c:pt idx="1054">
                  <c:v>9.661</c:v>
                </c:pt>
                <c:pt idx="1055">
                  <c:v>9.67</c:v>
                </c:pt>
                <c:pt idx="1056">
                  <c:v>9.679</c:v>
                </c:pt>
                <c:pt idx="1057">
                  <c:v>9.688</c:v>
                </c:pt>
                <c:pt idx="1058">
                  <c:v>9.697</c:v>
                </c:pt>
                <c:pt idx="1059">
                  <c:v>9.706</c:v>
                </c:pt>
                <c:pt idx="1060">
                  <c:v>9.715</c:v>
                </c:pt>
                <c:pt idx="1061">
                  <c:v>9.724</c:v>
                </c:pt>
                <c:pt idx="1062">
                  <c:v>9.733</c:v>
                </c:pt>
                <c:pt idx="1063">
                  <c:v>9.742</c:v>
                </c:pt>
                <c:pt idx="1064">
                  <c:v>9.751</c:v>
                </c:pt>
                <c:pt idx="1065">
                  <c:v>9.76</c:v>
                </c:pt>
                <c:pt idx="1066">
                  <c:v>9.769</c:v>
                </c:pt>
                <c:pt idx="1067">
                  <c:v>9.779</c:v>
                </c:pt>
                <c:pt idx="1068">
                  <c:v>9.788</c:v>
                </c:pt>
                <c:pt idx="1069">
                  <c:v>9.797</c:v>
                </c:pt>
                <c:pt idx="1070">
                  <c:v>9.806</c:v>
                </c:pt>
                <c:pt idx="1071">
                  <c:v>9.815</c:v>
                </c:pt>
                <c:pt idx="1072">
                  <c:v>9.824</c:v>
                </c:pt>
                <c:pt idx="1073">
                  <c:v>9.834</c:v>
                </c:pt>
                <c:pt idx="1074">
                  <c:v>9.843</c:v>
                </c:pt>
                <c:pt idx="1075">
                  <c:v>9.852</c:v>
                </c:pt>
                <c:pt idx="1076">
                  <c:v>9.861</c:v>
                </c:pt>
                <c:pt idx="1077">
                  <c:v>9.87</c:v>
                </c:pt>
                <c:pt idx="1078">
                  <c:v>9.879</c:v>
                </c:pt>
                <c:pt idx="1079">
                  <c:v>9.888</c:v>
                </c:pt>
                <c:pt idx="1080">
                  <c:v>9.897</c:v>
                </c:pt>
                <c:pt idx="1081">
                  <c:v>9.906</c:v>
                </c:pt>
                <c:pt idx="1082">
                  <c:v>9.915</c:v>
                </c:pt>
                <c:pt idx="1083">
                  <c:v>9.924</c:v>
                </c:pt>
                <c:pt idx="1084">
                  <c:v>9.933</c:v>
                </c:pt>
                <c:pt idx="1085">
                  <c:v>9.942</c:v>
                </c:pt>
                <c:pt idx="1086">
                  <c:v>9.951</c:v>
                </c:pt>
                <c:pt idx="1087">
                  <c:v>9.96</c:v>
                </c:pt>
                <c:pt idx="1088">
                  <c:v>9.969</c:v>
                </c:pt>
                <c:pt idx="1089">
                  <c:v>9.978</c:v>
                </c:pt>
                <c:pt idx="1090">
                  <c:v>9.987</c:v>
                </c:pt>
                <c:pt idx="1091">
                  <c:v>9.996</c:v>
                </c:pt>
                <c:pt idx="1092">
                  <c:v>10.005</c:v>
                </c:pt>
                <c:pt idx="1093">
                  <c:v>10.014</c:v>
                </c:pt>
                <c:pt idx="1094">
                  <c:v>10.023</c:v>
                </c:pt>
                <c:pt idx="1095">
                  <c:v>10.032</c:v>
                </c:pt>
                <c:pt idx="1096">
                  <c:v>10.041</c:v>
                </c:pt>
                <c:pt idx="1097">
                  <c:v>10.05</c:v>
                </c:pt>
                <c:pt idx="1098">
                  <c:v>10.059</c:v>
                </c:pt>
                <c:pt idx="1099">
                  <c:v>10.069</c:v>
                </c:pt>
                <c:pt idx="1100">
                  <c:v>10.08</c:v>
                </c:pt>
                <c:pt idx="1101">
                  <c:v>10.09</c:v>
                </c:pt>
                <c:pt idx="1102">
                  <c:v>10.103</c:v>
                </c:pt>
                <c:pt idx="1103">
                  <c:v>10.112</c:v>
                </c:pt>
                <c:pt idx="1104">
                  <c:v>10.122</c:v>
                </c:pt>
                <c:pt idx="1105">
                  <c:v>10.131</c:v>
                </c:pt>
                <c:pt idx="1106">
                  <c:v>10.14</c:v>
                </c:pt>
                <c:pt idx="1107">
                  <c:v>10.149</c:v>
                </c:pt>
                <c:pt idx="1108">
                  <c:v>10.158</c:v>
                </c:pt>
                <c:pt idx="1109">
                  <c:v>10.167</c:v>
                </c:pt>
                <c:pt idx="1110">
                  <c:v>10.176</c:v>
                </c:pt>
                <c:pt idx="1111">
                  <c:v>10.185</c:v>
                </c:pt>
                <c:pt idx="1112">
                  <c:v>10.194</c:v>
                </c:pt>
                <c:pt idx="1113">
                  <c:v>10.203</c:v>
                </c:pt>
                <c:pt idx="1114">
                  <c:v>10.212</c:v>
                </c:pt>
                <c:pt idx="1115">
                  <c:v>10.221</c:v>
                </c:pt>
                <c:pt idx="1116">
                  <c:v>10.23</c:v>
                </c:pt>
                <c:pt idx="1117">
                  <c:v>10.239</c:v>
                </c:pt>
                <c:pt idx="1118">
                  <c:v>10.248</c:v>
                </c:pt>
                <c:pt idx="1119">
                  <c:v>10.257</c:v>
                </c:pt>
                <c:pt idx="1120">
                  <c:v>10.266</c:v>
                </c:pt>
                <c:pt idx="1121">
                  <c:v>10.275</c:v>
                </c:pt>
                <c:pt idx="1122">
                  <c:v>10.284</c:v>
                </c:pt>
                <c:pt idx="1123">
                  <c:v>10.293</c:v>
                </c:pt>
                <c:pt idx="1124">
                  <c:v>10.302</c:v>
                </c:pt>
                <c:pt idx="1125">
                  <c:v>10.311</c:v>
                </c:pt>
                <c:pt idx="1126">
                  <c:v>10.32</c:v>
                </c:pt>
                <c:pt idx="1127">
                  <c:v>10.329</c:v>
                </c:pt>
                <c:pt idx="1128">
                  <c:v>10.347</c:v>
                </c:pt>
                <c:pt idx="1129">
                  <c:v>10.356</c:v>
                </c:pt>
                <c:pt idx="1130">
                  <c:v>10.365</c:v>
                </c:pt>
                <c:pt idx="1131">
                  <c:v>10.374</c:v>
                </c:pt>
                <c:pt idx="1132">
                  <c:v>10.383</c:v>
                </c:pt>
                <c:pt idx="1133">
                  <c:v>10.392</c:v>
                </c:pt>
                <c:pt idx="1134">
                  <c:v>10.402</c:v>
                </c:pt>
                <c:pt idx="1135">
                  <c:v>10.411</c:v>
                </c:pt>
                <c:pt idx="1136">
                  <c:v>10.42</c:v>
                </c:pt>
                <c:pt idx="1137">
                  <c:v>10.429</c:v>
                </c:pt>
                <c:pt idx="1138">
                  <c:v>10.438</c:v>
                </c:pt>
                <c:pt idx="1139">
                  <c:v>10.447</c:v>
                </c:pt>
                <c:pt idx="1140">
                  <c:v>10.456</c:v>
                </c:pt>
                <c:pt idx="1141">
                  <c:v>10.465</c:v>
                </c:pt>
                <c:pt idx="1142">
                  <c:v>10.474</c:v>
                </c:pt>
                <c:pt idx="1143">
                  <c:v>10.483</c:v>
                </c:pt>
                <c:pt idx="1144">
                  <c:v>10.492</c:v>
                </c:pt>
                <c:pt idx="1145">
                  <c:v>10.501</c:v>
                </c:pt>
                <c:pt idx="1146">
                  <c:v>10.51</c:v>
                </c:pt>
                <c:pt idx="1147">
                  <c:v>10.519</c:v>
                </c:pt>
                <c:pt idx="1148">
                  <c:v>10.529</c:v>
                </c:pt>
                <c:pt idx="1149">
                  <c:v>10.538</c:v>
                </c:pt>
                <c:pt idx="1150">
                  <c:v>10.547</c:v>
                </c:pt>
                <c:pt idx="1151">
                  <c:v>10.556</c:v>
                </c:pt>
                <c:pt idx="1152">
                  <c:v>10.565</c:v>
                </c:pt>
                <c:pt idx="1153">
                  <c:v>10.574</c:v>
                </c:pt>
                <c:pt idx="1154">
                  <c:v>10.583</c:v>
                </c:pt>
                <c:pt idx="1155">
                  <c:v>10.592</c:v>
                </c:pt>
                <c:pt idx="1156">
                  <c:v>10.601</c:v>
                </c:pt>
                <c:pt idx="1157">
                  <c:v>10.61</c:v>
                </c:pt>
                <c:pt idx="1158">
                  <c:v>10.619</c:v>
                </c:pt>
                <c:pt idx="1159">
                  <c:v>10.628</c:v>
                </c:pt>
                <c:pt idx="1160">
                  <c:v>10.637</c:v>
                </c:pt>
                <c:pt idx="1161">
                  <c:v>10.646</c:v>
                </c:pt>
                <c:pt idx="1162">
                  <c:v>10.655</c:v>
                </c:pt>
                <c:pt idx="1163">
                  <c:v>10.664</c:v>
                </c:pt>
                <c:pt idx="1164">
                  <c:v>10.674</c:v>
                </c:pt>
                <c:pt idx="1165">
                  <c:v>10.683</c:v>
                </c:pt>
                <c:pt idx="1166">
                  <c:v>10.692</c:v>
                </c:pt>
                <c:pt idx="1167">
                  <c:v>10.701</c:v>
                </c:pt>
                <c:pt idx="1168">
                  <c:v>10.71</c:v>
                </c:pt>
                <c:pt idx="1169">
                  <c:v>10.719</c:v>
                </c:pt>
                <c:pt idx="1170">
                  <c:v>10.728</c:v>
                </c:pt>
                <c:pt idx="1171">
                  <c:v>10.737</c:v>
                </c:pt>
                <c:pt idx="1172">
                  <c:v>10.747</c:v>
                </c:pt>
                <c:pt idx="1173">
                  <c:v>10.756</c:v>
                </c:pt>
                <c:pt idx="1174">
                  <c:v>10.766</c:v>
                </c:pt>
                <c:pt idx="1175">
                  <c:v>10.775</c:v>
                </c:pt>
                <c:pt idx="1176">
                  <c:v>10.784</c:v>
                </c:pt>
                <c:pt idx="1177">
                  <c:v>10.793</c:v>
                </c:pt>
                <c:pt idx="1178">
                  <c:v>10.802</c:v>
                </c:pt>
                <c:pt idx="1179">
                  <c:v>10.811</c:v>
                </c:pt>
                <c:pt idx="1180">
                  <c:v>10.82</c:v>
                </c:pt>
                <c:pt idx="1181">
                  <c:v>10.829</c:v>
                </c:pt>
                <c:pt idx="1182">
                  <c:v>10.838</c:v>
                </c:pt>
                <c:pt idx="1183">
                  <c:v>10.847</c:v>
                </c:pt>
                <c:pt idx="1184">
                  <c:v>10.856</c:v>
                </c:pt>
                <c:pt idx="1185">
                  <c:v>10.865</c:v>
                </c:pt>
                <c:pt idx="1186">
                  <c:v>10.874</c:v>
                </c:pt>
                <c:pt idx="1187">
                  <c:v>10.883</c:v>
                </c:pt>
                <c:pt idx="1188">
                  <c:v>10.892</c:v>
                </c:pt>
                <c:pt idx="1189">
                  <c:v>10.901</c:v>
                </c:pt>
                <c:pt idx="1190">
                  <c:v>10.91</c:v>
                </c:pt>
                <c:pt idx="1191">
                  <c:v>10.919</c:v>
                </c:pt>
                <c:pt idx="1192">
                  <c:v>10.928</c:v>
                </c:pt>
                <c:pt idx="1193">
                  <c:v>10.937</c:v>
                </c:pt>
                <c:pt idx="1194">
                  <c:v>10.946</c:v>
                </c:pt>
                <c:pt idx="1195">
                  <c:v>10.956</c:v>
                </c:pt>
                <c:pt idx="1196">
                  <c:v>10.965</c:v>
                </c:pt>
                <c:pt idx="1197">
                  <c:v>10.974</c:v>
                </c:pt>
                <c:pt idx="1198">
                  <c:v>10.983</c:v>
                </c:pt>
                <c:pt idx="1199">
                  <c:v>10.992</c:v>
                </c:pt>
                <c:pt idx="1200">
                  <c:v>11.001</c:v>
                </c:pt>
                <c:pt idx="1201">
                  <c:v>11.011</c:v>
                </c:pt>
                <c:pt idx="1202">
                  <c:v>11.02</c:v>
                </c:pt>
                <c:pt idx="1203">
                  <c:v>11.029</c:v>
                </c:pt>
                <c:pt idx="1204">
                  <c:v>11.038</c:v>
                </c:pt>
                <c:pt idx="1205">
                  <c:v>11.047</c:v>
                </c:pt>
                <c:pt idx="1206">
                  <c:v>11.056</c:v>
                </c:pt>
                <c:pt idx="1207">
                  <c:v>11.065</c:v>
                </c:pt>
                <c:pt idx="1208">
                  <c:v>11.074</c:v>
                </c:pt>
                <c:pt idx="1209">
                  <c:v>11.083</c:v>
                </c:pt>
                <c:pt idx="1210">
                  <c:v>11.092</c:v>
                </c:pt>
                <c:pt idx="1211">
                  <c:v>11.101</c:v>
                </c:pt>
                <c:pt idx="1212">
                  <c:v>11.11</c:v>
                </c:pt>
                <c:pt idx="1213">
                  <c:v>11.119</c:v>
                </c:pt>
                <c:pt idx="1214">
                  <c:v>11.128</c:v>
                </c:pt>
                <c:pt idx="1215">
                  <c:v>11.137</c:v>
                </c:pt>
                <c:pt idx="1216">
                  <c:v>11.146</c:v>
                </c:pt>
                <c:pt idx="1217">
                  <c:v>11.155</c:v>
                </c:pt>
                <c:pt idx="1218">
                  <c:v>11.164</c:v>
                </c:pt>
                <c:pt idx="1219">
                  <c:v>11.173</c:v>
                </c:pt>
                <c:pt idx="1220">
                  <c:v>11.182</c:v>
                </c:pt>
                <c:pt idx="1221">
                  <c:v>11.191</c:v>
                </c:pt>
                <c:pt idx="1222">
                  <c:v>11.2</c:v>
                </c:pt>
                <c:pt idx="1223">
                  <c:v>11.209</c:v>
                </c:pt>
                <c:pt idx="1224">
                  <c:v>11.218</c:v>
                </c:pt>
                <c:pt idx="1225">
                  <c:v>11.227</c:v>
                </c:pt>
                <c:pt idx="1226">
                  <c:v>11.236</c:v>
                </c:pt>
                <c:pt idx="1227">
                  <c:v>11.246</c:v>
                </c:pt>
                <c:pt idx="1228">
                  <c:v>11.255</c:v>
                </c:pt>
                <c:pt idx="1229">
                  <c:v>11.264</c:v>
                </c:pt>
                <c:pt idx="1230">
                  <c:v>11.273</c:v>
                </c:pt>
                <c:pt idx="1231">
                  <c:v>11.282</c:v>
                </c:pt>
                <c:pt idx="1232">
                  <c:v>11.291</c:v>
                </c:pt>
                <c:pt idx="1233">
                  <c:v>11.3</c:v>
                </c:pt>
                <c:pt idx="1234">
                  <c:v>11.309</c:v>
                </c:pt>
                <c:pt idx="1235">
                  <c:v>11.318</c:v>
                </c:pt>
                <c:pt idx="1236">
                  <c:v>11.327</c:v>
                </c:pt>
                <c:pt idx="1237">
                  <c:v>11.336</c:v>
                </c:pt>
                <c:pt idx="1238">
                  <c:v>11.345</c:v>
                </c:pt>
                <c:pt idx="1239">
                  <c:v>11.354</c:v>
                </c:pt>
                <c:pt idx="1240">
                  <c:v>11.363</c:v>
                </c:pt>
                <c:pt idx="1241">
                  <c:v>11.372</c:v>
                </c:pt>
                <c:pt idx="1242">
                  <c:v>11.381</c:v>
                </c:pt>
                <c:pt idx="1243">
                  <c:v>11.391</c:v>
                </c:pt>
                <c:pt idx="1244">
                  <c:v>11.4</c:v>
                </c:pt>
                <c:pt idx="1245">
                  <c:v>11.409</c:v>
                </c:pt>
                <c:pt idx="1246">
                  <c:v>11.419</c:v>
                </c:pt>
                <c:pt idx="1247">
                  <c:v>11.428</c:v>
                </c:pt>
                <c:pt idx="1248">
                  <c:v>11.437</c:v>
                </c:pt>
                <c:pt idx="1249">
                  <c:v>11.446</c:v>
                </c:pt>
                <c:pt idx="1250">
                  <c:v>11.455</c:v>
                </c:pt>
                <c:pt idx="1251">
                  <c:v>11.464</c:v>
                </c:pt>
                <c:pt idx="1252">
                  <c:v>11.473</c:v>
                </c:pt>
                <c:pt idx="1253">
                  <c:v>11.482</c:v>
                </c:pt>
                <c:pt idx="1254">
                  <c:v>11.492</c:v>
                </c:pt>
                <c:pt idx="1255">
                  <c:v>11.501</c:v>
                </c:pt>
                <c:pt idx="1256">
                  <c:v>11.51</c:v>
                </c:pt>
                <c:pt idx="1257">
                  <c:v>11.519</c:v>
                </c:pt>
                <c:pt idx="1258">
                  <c:v>11.528</c:v>
                </c:pt>
                <c:pt idx="1259">
                  <c:v>11.537</c:v>
                </c:pt>
                <c:pt idx="1260">
                  <c:v>11.546</c:v>
                </c:pt>
                <c:pt idx="1261">
                  <c:v>11.555</c:v>
                </c:pt>
                <c:pt idx="1262">
                  <c:v>11.564</c:v>
                </c:pt>
                <c:pt idx="1263">
                  <c:v>11.573</c:v>
                </c:pt>
                <c:pt idx="1264">
                  <c:v>11.582</c:v>
                </c:pt>
                <c:pt idx="1265">
                  <c:v>11.591</c:v>
                </c:pt>
                <c:pt idx="1266">
                  <c:v>11.6</c:v>
                </c:pt>
                <c:pt idx="1267">
                  <c:v>11.609</c:v>
                </c:pt>
                <c:pt idx="1268">
                  <c:v>11.618</c:v>
                </c:pt>
                <c:pt idx="1269">
                  <c:v>11.627</c:v>
                </c:pt>
                <c:pt idx="1270">
                  <c:v>11.636</c:v>
                </c:pt>
                <c:pt idx="1271">
                  <c:v>11.645</c:v>
                </c:pt>
                <c:pt idx="1272">
                  <c:v>11.654</c:v>
                </c:pt>
                <c:pt idx="1273">
                  <c:v>11.663</c:v>
                </c:pt>
                <c:pt idx="1274">
                  <c:v>11.672</c:v>
                </c:pt>
                <c:pt idx="1275">
                  <c:v>11.681</c:v>
                </c:pt>
                <c:pt idx="1276">
                  <c:v>11.69</c:v>
                </c:pt>
                <c:pt idx="1277">
                  <c:v>11.699</c:v>
                </c:pt>
                <c:pt idx="1278">
                  <c:v>11.708</c:v>
                </c:pt>
                <c:pt idx="1279">
                  <c:v>11.717</c:v>
                </c:pt>
                <c:pt idx="1280">
                  <c:v>11.726</c:v>
                </c:pt>
                <c:pt idx="1281">
                  <c:v>11.735</c:v>
                </c:pt>
                <c:pt idx="1282">
                  <c:v>11.744</c:v>
                </c:pt>
                <c:pt idx="1283">
                  <c:v>11.753</c:v>
                </c:pt>
                <c:pt idx="1284">
                  <c:v>11.762</c:v>
                </c:pt>
                <c:pt idx="1285">
                  <c:v>11.771</c:v>
                </c:pt>
                <c:pt idx="1286">
                  <c:v>11.78</c:v>
                </c:pt>
                <c:pt idx="1287">
                  <c:v>11.789</c:v>
                </c:pt>
                <c:pt idx="1288">
                  <c:v>11.799</c:v>
                </c:pt>
                <c:pt idx="1289">
                  <c:v>11.808</c:v>
                </c:pt>
                <c:pt idx="1290">
                  <c:v>11.817</c:v>
                </c:pt>
                <c:pt idx="1291">
                  <c:v>11.826</c:v>
                </c:pt>
                <c:pt idx="1292">
                  <c:v>11.835</c:v>
                </c:pt>
                <c:pt idx="1293">
                  <c:v>11.844</c:v>
                </c:pt>
                <c:pt idx="1294">
                  <c:v>11.853</c:v>
                </c:pt>
                <c:pt idx="1295">
                  <c:v>11.862</c:v>
                </c:pt>
                <c:pt idx="1296">
                  <c:v>11.871</c:v>
                </c:pt>
                <c:pt idx="1297">
                  <c:v>11.88</c:v>
                </c:pt>
                <c:pt idx="1298">
                  <c:v>11.889</c:v>
                </c:pt>
                <c:pt idx="1299">
                  <c:v>11.898</c:v>
                </c:pt>
                <c:pt idx="1300">
                  <c:v>11.908</c:v>
                </c:pt>
                <c:pt idx="1301">
                  <c:v>11.917</c:v>
                </c:pt>
                <c:pt idx="1302">
                  <c:v>11.926</c:v>
                </c:pt>
                <c:pt idx="1303">
                  <c:v>11.936</c:v>
                </c:pt>
                <c:pt idx="1304">
                  <c:v>11.945</c:v>
                </c:pt>
                <c:pt idx="1305">
                  <c:v>11.954</c:v>
                </c:pt>
                <c:pt idx="1306">
                  <c:v>11.963</c:v>
                </c:pt>
                <c:pt idx="1307">
                  <c:v>11.972</c:v>
                </c:pt>
                <c:pt idx="1308">
                  <c:v>11.981</c:v>
                </c:pt>
                <c:pt idx="1309">
                  <c:v>11.99</c:v>
                </c:pt>
                <c:pt idx="1310">
                  <c:v>11.999</c:v>
                </c:pt>
                <c:pt idx="1311">
                  <c:v>12.008</c:v>
                </c:pt>
                <c:pt idx="1312">
                  <c:v>12.017</c:v>
                </c:pt>
                <c:pt idx="1313">
                  <c:v>12.026</c:v>
                </c:pt>
                <c:pt idx="1314">
                  <c:v>12.036</c:v>
                </c:pt>
                <c:pt idx="1315">
                  <c:v>12.045</c:v>
                </c:pt>
                <c:pt idx="1316">
                  <c:v>12.054</c:v>
                </c:pt>
                <c:pt idx="1317">
                  <c:v>12.063</c:v>
                </c:pt>
                <c:pt idx="1318">
                  <c:v>12.072</c:v>
                </c:pt>
                <c:pt idx="1319">
                  <c:v>12.081</c:v>
                </c:pt>
                <c:pt idx="1320">
                  <c:v>12.093</c:v>
                </c:pt>
                <c:pt idx="1321">
                  <c:v>12.105</c:v>
                </c:pt>
                <c:pt idx="1322">
                  <c:v>12.116</c:v>
                </c:pt>
                <c:pt idx="1323">
                  <c:v>12.126</c:v>
                </c:pt>
                <c:pt idx="1324">
                  <c:v>12.135</c:v>
                </c:pt>
                <c:pt idx="1325">
                  <c:v>12.144</c:v>
                </c:pt>
                <c:pt idx="1326">
                  <c:v>12.153</c:v>
                </c:pt>
                <c:pt idx="1327">
                  <c:v>12.162</c:v>
                </c:pt>
                <c:pt idx="1328">
                  <c:v>12.171</c:v>
                </c:pt>
                <c:pt idx="1329">
                  <c:v>12.18</c:v>
                </c:pt>
                <c:pt idx="1330">
                  <c:v>12.189</c:v>
                </c:pt>
                <c:pt idx="1331">
                  <c:v>12.198</c:v>
                </c:pt>
                <c:pt idx="1332">
                  <c:v>12.207</c:v>
                </c:pt>
                <c:pt idx="1333">
                  <c:v>12.216</c:v>
                </c:pt>
                <c:pt idx="1334">
                  <c:v>12.226</c:v>
                </c:pt>
                <c:pt idx="1335">
                  <c:v>12.236</c:v>
                </c:pt>
                <c:pt idx="1336">
                  <c:v>12.246</c:v>
                </c:pt>
                <c:pt idx="1337">
                  <c:v>12.255</c:v>
                </c:pt>
                <c:pt idx="1338">
                  <c:v>12.264</c:v>
                </c:pt>
                <c:pt idx="1339">
                  <c:v>12.273</c:v>
                </c:pt>
                <c:pt idx="1340">
                  <c:v>12.282</c:v>
                </c:pt>
                <c:pt idx="1341">
                  <c:v>12.291</c:v>
                </c:pt>
                <c:pt idx="1342">
                  <c:v>12.3</c:v>
                </c:pt>
                <c:pt idx="1343">
                  <c:v>12.309</c:v>
                </c:pt>
                <c:pt idx="1344">
                  <c:v>12.319</c:v>
                </c:pt>
                <c:pt idx="1345">
                  <c:v>12.328</c:v>
                </c:pt>
                <c:pt idx="1346">
                  <c:v>12.337</c:v>
                </c:pt>
                <c:pt idx="1347">
                  <c:v>12.346</c:v>
                </c:pt>
                <c:pt idx="1348">
                  <c:v>12.356</c:v>
                </c:pt>
                <c:pt idx="1349">
                  <c:v>12.365</c:v>
                </c:pt>
                <c:pt idx="1350">
                  <c:v>12.374</c:v>
                </c:pt>
                <c:pt idx="1351">
                  <c:v>12.383</c:v>
                </c:pt>
                <c:pt idx="1352">
                  <c:v>12.392</c:v>
                </c:pt>
                <c:pt idx="1353">
                  <c:v>12.401</c:v>
                </c:pt>
                <c:pt idx="1354">
                  <c:v>12.41</c:v>
                </c:pt>
                <c:pt idx="1355">
                  <c:v>12.419</c:v>
                </c:pt>
                <c:pt idx="1356">
                  <c:v>12.428</c:v>
                </c:pt>
                <c:pt idx="1357">
                  <c:v>12.437</c:v>
                </c:pt>
                <c:pt idx="1358">
                  <c:v>12.446</c:v>
                </c:pt>
                <c:pt idx="1359">
                  <c:v>12.456</c:v>
                </c:pt>
                <c:pt idx="1360">
                  <c:v>12.465</c:v>
                </c:pt>
                <c:pt idx="1361">
                  <c:v>12.474</c:v>
                </c:pt>
                <c:pt idx="1362">
                  <c:v>12.483</c:v>
                </c:pt>
                <c:pt idx="1363">
                  <c:v>12.492</c:v>
                </c:pt>
                <c:pt idx="1364">
                  <c:v>12.501</c:v>
                </c:pt>
                <c:pt idx="1365">
                  <c:v>12.51</c:v>
                </c:pt>
                <c:pt idx="1366">
                  <c:v>12.519</c:v>
                </c:pt>
                <c:pt idx="1367">
                  <c:v>12.528</c:v>
                </c:pt>
                <c:pt idx="1368">
                  <c:v>12.537</c:v>
                </c:pt>
                <c:pt idx="1369">
                  <c:v>12.546</c:v>
                </c:pt>
                <c:pt idx="1370">
                  <c:v>12.555</c:v>
                </c:pt>
                <c:pt idx="1371">
                  <c:v>12.565</c:v>
                </c:pt>
                <c:pt idx="1372">
                  <c:v>12.574</c:v>
                </c:pt>
                <c:pt idx="1373">
                  <c:v>12.584</c:v>
                </c:pt>
                <c:pt idx="1374">
                  <c:v>12.595</c:v>
                </c:pt>
                <c:pt idx="1375">
                  <c:v>12.606</c:v>
                </c:pt>
                <c:pt idx="1376">
                  <c:v>12.616</c:v>
                </c:pt>
                <c:pt idx="1377">
                  <c:v>12.625</c:v>
                </c:pt>
                <c:pt idx="1378">
                  <c:v>12.634</c:v>
                </c:pt>
                <c:pt idx="1379">
                  <c:v>12.643</c:v>
                </c:pt>
                <c:pt idx="1380">
                  <c:v>12.652</c:v>
                </c:pt>
                <c:pt idx="1381">
                  <c:v>12.661</c:v>
                </c:pt>
                <c:pt idx="1382">
                  <c:v>12.67</c:v>
                </c:pt>
                <c:pt idx="1383">
                  <c:v>12.679</c:v>
                </c:pt>
                <c:pt idx="1384">
                  <c:v>12.688</c:v>
                </c:pt>
                <c:pt idx="1385">
                  <c:v>12.697</c:v>
                </c:pt>
                <c:pt idx="1386">
                  <c:v>12.706</c:v>
                </c:pt>
                <c:pt idx="1387">
                  <c:v>12.715</c:v>
                </c:pt>
                <c:pt idx="1388">
                  <c:v>12.724</c:v>
                </c:pt>
                <c:pt idx="1389">
                  <c:v>12.733</c:v>
                </c:pt>
                <c:pt idx="1390">
                  <c:v>12.742</c:v>
                </c:pt>
                <c:pt idx="1391">
                  <c:v>12.751</c:v>
                </c:pt>
                <c:pt idx="1392">
                  <c:v>12.76</c:v>
                </c:pt>
                <c:pt idx="1393">
                  <c:v>12.769</c:v>
                </c:pt>
                <c:pt idx="1394">
                  <c:v>12.779</c:v>
                </c:pt>
                <c:pt idx="1395">
                  <c:v>12.789</c:v>
                </c:pt>
                <c:pt idx="1396">
                  <c:v>12.798</c:v>
                </c:pt>
                <c:pt idx="1397">
                  <c:v>12.807</c:v>
                </c:pt>
                <c:pt idx="1398">
                  <c:v>12.816</c:v>
                </c:pt>
                <c:pt idx="1399">
                  <c:v>12.825</c:v>
                </c:pt>
                <c:pt idx="1400">
                  <c:v>12.834</c:v>
                </c:pt>
                <c:pt idx="1401">
                  <c:v>12.843</c:v>
                </c:pt>
                <c:pt idx="1402">
                  <c:v>12.852</c:v>
                </c:pt>
                <c:pt idx="1403">
                  <c:v>12.861</c:v>
                </c:pt>
                <c:pt idx="1404">
                  <c:v>12.87</c:v>
                </c:pt>
                <c:pt idx="1405">
                  <c:v>12.879</c:v>
                </c:pt>
                <c:pt idx="1406">
                  <c:v>12.888</c:v>
                </c:pt>
                <c:pt idx="1407">
                  <c:v>12.897</c:v>
                </c:pt>
                <c:pt idx="1408">
                  <c:v>12.906</c:v>
                </c:pt>
                <c:pt idx="1409">
                  <c:v>12.915</c:v>
                </c:pt>
                <c:pt idx="1410">
                  <c:v>12.924</c:v>
                </c:pt>
                <c:pt idx="1411">
                  <c:v>12.933</c:v>
                </c:pt>
                <c:pt idx="1412">
                  <c:v>12.942</c:v>
                </c:pt>
                <c:pt idx="1413">
                  <c:v>12.951</c:v>
                </c:pt>
                <c:pt idx="1414">
                  <c:v>12.96</c:v>
                </c:pt>
                <c:pt idx="1415">
                  <c:v>12.969</c:v>
                </c:pt>
                <c:pt idx="1416">
                  <c:v>12.978</c:v>
                </c:pt>
                <c:pt idx="1417">
                  <c:v>12.988</c:v>
                </c:pt>
                <c:pt idx="1418">
                  <c:v>12.997</c:v>
                </c:pt>
                <c:pt idx="1419">
                  <c:v>13.006</c:v>
                </c:pt>
                <c:pt idx="1420">
                  <c:v>13.016</c:v>
                </c:pt>
                <c:pt idx="1421">
                  <c:v>13.025</c:v>
                </c:pt>
                <c:pt idx="1422">
                  <c:v>13.034</c:v>
                </c:pt>
                <c:pt idx="1423">
                  <c:v>13.043</c:v>
                </c:pt>
                <c:pt idx="1424">
                  <c:v>13.053</c:v>
                </c:pt>
                <c:pt idx="1425">
                  <c:v>13.062</c:v>
                </c:pt>
                <c:pt idx="1426">
                  <c:v>13.071</c:v>
                </c:pt>
                <c:pt idx="1427">
                  <c:v>13.08</c:v>
                </c:pt>
                <c:pt idx="1428">
                  <c:v>13.089</c:v>
                </c:pt>
                <c:pt idx="1429">
                  <c:v>13.098</c:v>
                </c:pt>
                <c:pt idx="1430">
                  <c:v>13.107</c:v>
                </c:pt>
                <c:pt idx="1431">
                  <c:v>13.116</c:v>
                </c:pt>
                <c:pt idx="1432">
                  <c:v>13.126</c:v>
                </c:pt>
                <c:pt idx="1433">
                  <c:v>13.135</c:v>
                </c:pt>
                <c:pt idx="1434">
                  <c:v>13.144</c:v>
                </c:pt>
                <c:pt idx="1435">
                  <c:v>13.153</c:v>
                </c:pt>
                <c:pt idx="1436">
                  <c:v>13.162</c:v>
                </c:pt>
                <c:pt idx="1437">
                  <c:v>13.171</c:v>
                </c:pt>
                <c:pt idx="1438">
                  <c:v>13.18</c:v>
                </c:pt>
                <c:pt idx="1439">
                  <c:v>13.189</c:v>
                </c:pt>
                <c:pt idx="1440">
                  <c:v>13.198</c:v>
                </c:pt>
                <c:pt idx="1441">
                  <c:v>13.773</c:v>
                </c:pt>
                <c:pt idx="1442">
                  <c:v>13.783</c:v>
                </c:pt>
                <c:pt idx="1443">
                  <c:v>13.792</c:v>
                </c:pt>
                <c:pt idx="1444">
                  <c:v>13.801</c:v>
                </c:pt>
                <c:pt idx="1445">
                  <c:v>13.811</c:v>
                </c:pt>
                <c:pt idx="1446">
                  <c:v>13.82</c:v>
                </c:pt>
                <c:pt idx="1447">
                  <c:v>13.829</c:v>
                </c:pt>
                <c:pt idx="1448">
                  <c:v>13.838</c:v>
                </c:pt>
                <c:pt idx="1449">
                  <c:v>13.847</c:v>
                </c:pt>
                <c:pt idx="1450">
                  <c:v>13.856</c:v>
                </c:pt>
                <c:pt idx="1451">
                  <c:v>13.865</c:v>
                </c:pt>
                <c:pt idx="1452">
                  <c:v>13.874</c:v>
                </c:pt>
                <c:pt idx="1453">
                  <c:v>13.883</c:v>
                </c:pt>
                <c:pt idx="1454">
                  <c:v>13.892</c:v>
                </c:pt>
                <c:pt idx="1455">
                  <c:v>13.901</c:v>
                </c:pt>
                <c:pt idx="1456">
                  <c:v>13.911</c:v>
                </c:pt>
                <c:pt idx="1457">
                  <c:v>13.92</c:v>
                </c:pt>
                <c:pt idx="1458">
                  <c:v>13.929</c:v>
                </c:pt>
                <c:pt idx="1459">
                  <c:v>13.938</c:v>
                </c:pt>
                <c:pt idx="1460">
                  <c:v>13.947</c:v>
                </c:pt>
                <c:pt idx="1461">
                  <c:v>13.956</c:v>
                </c:pt>
                <c:pt idx="1462">
                  <c:v>13.965</c:v>
                </c:pt>
                <c:pt idx="1463">
                  <c:v>13.974</c:v>
                </c:pt>
                <c:pt idx="1464">
                  <c:v>13.983</c:v>
                </c:pt>
                <c:pt idx="1465">
                  <c:v>13.992</c:v>
                </c:pt>
                <c:pt idx="1466">
                  <c:v>14.001</c:v>
                </c:pt>
                <c:pt idx="1467">
                  <c:v>14.01</c:v>
                </c:pt>
                <c:pt idx="1468">
                  <c:v>14.019</c:v>
                </c:pt>
                <c:pt idx="1469">
                  <c:v>14.028</c:v>
                </c:pt>
                <c:pt idx="1470">
                  <c:v>14.037</c:v>
                </c:pt>
                <c:pt idx="1471">
                  <c:v>14.046</c:v>
                </c:pt>
                <c:pt idx="1472">
                  <c:v>14.055</c:v>
                </c:pt>
                <c:pt idx="1473">
                  <c:v>14.064</c:v>
                </c:pt>
                <c:pt idx="1474">
                  <c:v>14.073</c:v>
                </c:pt>
                <c:pt idx="1475">
                  <c:v>14.082</c:v>
                </c:pt>
                <c:pt idx="1476">
                  <c:v>14.091</c:v>
                </c:pt>
                <c:pt idx="1477">
                  <c:v>14.104</c:v>
                </c:pt>
                <c:pt idx="1478">
                  <c:v>14.115</c:v>
                </c:pt>
                <c:pt idx="1479">
                  <c:v>14.125</c:v>
                </c:pt>
                <c:pt idx="1480">
                  <c:v>14.137</c:v>
                </c:pt>
                <c:pt idx="1481">
                  <c:v>14.146</c:v>
                </c:pt>
                <c:pt idx="1482">
                  <c:v>14.155</c:v>
                </c:pt>
                <c:pt idx="1483">
                  <c:v>14.164</c:v>
                </c:pt>
                <c:pt idx="1484">
                  <c:v>14.173</c:v>
                </c:pt>
                <c:pt idx="1485">
                  <c:v>14.183</c:v>
                </c:pt>
                <c:pt idx="1486">
                  <c:v>14.192</c:v>
                </c:pt>
                <c:pt idx="1487">
                  <c:v>14.201</c:v>
                </c:pt>
                <c:pt idx="1488">
                  <c:v>14.21</c:v>
                </c:pt>
                <c:pt idx="1489">
                  <c:v>14.219</c:v>
                </c:pt>
                <c:pt idx="1490">
                  <c:v>14.228</c:v>
                </c:pt>
                <c:pt idx="1491">
                  <c:v>14.237</c:v>
                </c:pt>
                <c:pt idx="1492">
                  <c:v>14.246</c:v>
                </c:pt>
                <c:pt idx="1493">
                  <c:v>14.255</c:v>
                </c:pt>
                <c:pt idx="1494">
                  <c:v>14.264</c:v>
                </c:pt>
                <c:pt idx="1495">
                  <c:v>14.273</c:v>
                </c:pt>
                <c:pt idx="1496">
                  <c:v>14.282</c:v>
                </c:pt>
                <c:pt idx="1497">
                  <c:v>14.291</c:v>
                </c:pt>
                <c:pt idx="1498">
                  <c:v>14.3</c:v>
                </c:pt>
                <c:pt idx="1499">
                  <c:v>14.309</c:v>
                </c:pt>
                <c:pt idx="1500">
                  <c:v>14.318</c:v>
                </c:pt>
                <c:pt idx="1501">
                  <c:v>14.327</c:v>
                </c:pt>
                <c:pt idx="1502">
                  <c:v>14.336</c:v>
                </c:pt>
                <c:pt idx="1503">
                  <c:v>14.345</c:v>
                </c:pt>
                <c:pt idx="1504">
                  <c:v>14.354</c:v>
                </c:pt>
                <c:pt idx="1505">
                  <c:v>14.363</c:v>
                </c:pt>
                <c:pt idx="1506">
                  <c:v>14.372</c:v>
                </c:pt>
                <c:pt idx="1507">
                  <c:v>14.381</c:v>
                </c:pt>
                <c:pt idx="1508">
                  <c:v>14.39</c:v>
                </c:pt>
                <c:pt idx="1509">
                  <c:v>14.399</c:v>
                </c:pt>
                <c:pt idx="1510">
                  <c:v>14.408</c:v>
                </c:pt>
                <c:pt idx="1511">
                  <c:v>14.417</c:v>
                </c:pt>
                <c:pt idx="1512">
                  <c:v>14.427</c:v>
                </c:pt>
                <c:pt idx="1513">
                  <c:v>14.436</c:v>
                </c:pt>
                <c:pt idx="1514">
                  <c:v>14.445</c:v>
                </c:pt>
                <c:pt idx="1515">
                  <c:v>14.454</c:v>
                </c:pt>
                <c:pt idx="1516">
                  <c:v>14.463</c:v>
                </c:pt>
                <c:pt idx="1517">
                  <c:v>14.472</c:v>
                </c:pt>
                <c:pt idx="1518">
                  <c:v>14.481</c:v>
                </c:pt>
                <c:pt idx="1519">
                  <c:v>14.49</c:v>
                </c:pt>
                <c:pt idx="1520">
                  <c:v>14.499</c:v>
                </c:pt>
                <c:pt idx="1521">
                  <c:v>14.508</c:v>
                </c:pt>
                <c:pt idx="1522">
                  <c:v>14.517</c:v>
                </c:pt>
                <c:pt idx="1523">
                  <c:v>14.527</c:v>
                </c:pt>
                <c:pt idx="1524">
                  <c:v>14.536</c:v>
                </c:pt>
                <c:pt idx="1525">
                  <c:v>14.545</c:v>
                </c:pt>
                <c:pt idx="1526">
                  <c:v>14.554</c:v>
                </c:pt>
                <c:pt idx="1527">
                  <c:v>14.563</c:v>
                </c:pt>
                <c:pt idx="1528">
                  <c:v>14.572</c:v>
                </c:pt>
                <c:pt idx="1529">
                  <c:v>14.581</c:v>
                </c:pt>
                <c:pt idx="1530">
                  <c:v>14.591</c:v>
                </c:pt>
                <c:pt idx="1531">
                  <c:v>14.602</c:v>
                </c:pt>
                <c:pt idx="1532">
                  <c:v>14.613</c:v>
                </c:pt>
                <c:pt idx="1533">
                  <c:v>14.623</c:v>
                </c:pt>
                <c:pt idx="1534">
                  <c:v>14.632</c:v>
                </c:pt>
                <c:pt idx="1535">
                  <c:v>14.641</c:v>
                </c:pt>
                <c:pt idx="1536">
                  <c:v>14.65</c:v>
                </c:pt>
                <c:pt idx="1537">
                  <c:v>14.659</c:v>
                </c:pt>
                <c:pt idx="1538">
                  <c:v>14.669</c:v>
                </c:pt>
                <c:pt idx="1539">
                  <c:v>14.678</c:v>
                </c:pt>
                <c:pt idx="1540">
                  <c:v>14.687</c:v>
                </c:pt>
                <c:pt idx="1541">
                  <c:v>14.697</c:v>
                </c:pt>
                <c:pt idx="1542">
                  <c:v>14.706</c:v>
                </c:pt>
                <c:pt idx="1543">
                  <c:v>14.715</c:v>
                </c:pt>
                <c:pt idx="1544">
                  <c:v>14.724</c:v>
                </c:pt>
                <c:pt idx="1545">
                  <c:v>14.733</c:v>
                </c:pt>
                <c:pt idx="1546">
                  <c:v>14.742</c:v>
                </c:pt>
                <c:pt idx="1547">
                  <c:v>14.751</c:v>
                </c:pt>
                <c:pt idx="1548">
                  <c:v>14.761</c:v>
                </c:pt>
                <c:pt idx="1549">
                  <c:v>14.77</c:v>
                </c:pt>
                <c:pt idx="1550">
                  <c:v>14.779</c:v>
                </c:pt>
                <c:pt idx="1551">
                  <c:v>14.788</c:v>
                </c:pt>
                <c:pt idx="1552">
                  <c:v>14.797</c:v>
                </c:pt>
                <c:pt idx="1553">
                  <c:v>14.806</c:v>
                </c:pt>
                <c:pt idx="1554">
                  <c:v>14.815</c:v>
                </c:pt>
                <c:pt idx="1555">
                  <c:v>14.824</c:v>
                </c:pt>
                <c:pt idx="1556">
                  <c:v>14.833</c:v>
                </c:pt>
                <c:pt idx="1557">
                  <c:v>14.842</c:v>
                </c:pt>
                <c:pt idx="1558">
                  <c:v>14.851</c:v>
                </c:pt>
                <c:pt idx="1559">
                  <c:v>14.86</c:v>
                </c:pt>
                <c:pt idx="1560">
                  <c:v>14.869</c:v>
                </c:pt>
                <c:pt idx="1561">
                  <c:v>14.878</c:v>
                </c:pt>
                <c:pt idx="1562">
                  <c:v>14.887</c:v>
                </c:pt>
                <c:pt idx="1563">
                  <c:v>14.896</c:v>
                </c:pt>
                <c:pt idx="1564">
                  <c:v>14.905</c:v>
                </c:pt>
                <c:pt idx="1565">
                  <c:v>14.914</c:v>
                </c:pt>
                <c:pt idx="1566">
                  <c:v>14.923</c:v>
                </c:pt>
                <c:pt idx="1567">
                  <c:v>14.932</c:v>
                </c:pt>
                <c:pt idx="1568">
                  <c:v>14.942</c:v>
                </c:pt>
                <c:pt idx="1569">
                  <c:v>14.952</c:v>
                </c:pt>
                <c:pt idx="1570">
                  <c:v>14.962</c:v>
                </c:pt>
                <c:pt idx="1571">
                  <c:v>14.971</c:v>
                </c:pt>
                <c:pt idx="1572">
                  <c:v>14.98</c:v>
                </c:pt>
                <c:pt idx="1573">
                  <c:v>14.989</c:v>
                </c:pt>
                <c:pt idx="1574">
                  <c:v>14.998</c:v>
                </c:pt>
                <c:pt idx="1575">
                  <c:v>15.007</c:v>
                </c:pt>
                <c:pt idx="1576">
                  <c:v>15.016</c:v>
                </c:pt>
                <c:pt idx="1577">
                  <c:v>15.025</c:v>
                </c:pt>
                <c:pt idx="1578">
                  <c:v>15.034</c:v>
                </c:pt>
                <c:pt idx="1579">
                  <c:v>15.043</c:v>
                </c:pt>
                <c:pt idx="1580">
                  <c:v>15.052</c:v>
                </c:pt>
                <c:pt idx="1581">
                  <c:v>15.061</c:v>
                </c:pt>
                <c:pt idx="1582">
                  <c:v>15.07</c:v>
                </c:pt>
                <c:pt idx="1583">
                  <c:v>15.079</c:v>
                </c:pt>
                <c:pt idx="1584">
                  <c:v>15.088</c:v>
                </c:pt>
                <c:pt idx="1585">
                  <c:v>15.097</c:v>
                </c:pt>
                <c:pt idx="1586">
                  <c:v>15.106</c:v>
                </c:pt>
                <c:pt idx="1587">
                  <c:v>15.118</c:v>
                </c:pt>
                <c:pt idx="1588">
                  <c:v>15.13</c:v>
                </c:pt>
                <c:pt idx="1589">
                  <c:v>15.14</c:v>
                </c:pt>
                <c:pt idx="1590">
                  <c:v>15.149</c:v>
                </c:pt>
                <c:pt idx="1591">
                  <c:v>15.158</c:v>
                </c:pt>
                <c:pt idx="1592">
                  <c:v>15.167</c:v>
                </c:pt>
                <c:pt idx="1593">
                  <c:v>15.176</c:v>
                </c:pt>
                <c:pt idx="1594">
                  <c:v>15.185</c:v>
                </c:pt>
                <c:pt idx="1595">
                  <c:v>15.194</c:v>
                </c:pt>
                <c:pt idx="1596">
                  <c:v>15.203</c:v>
                </c:pt>
                <c:pt idx="1597">
                  <c:v>15.212</c:v>
                </c:pt>
                <c:pt idx="1598">
                  <c:v>15.221</c:v>
                </c:pt>
                <c:pt idx="1599">
                  <c:v>15.23</c:v>
                </c:pt>
                <c:pt idx="1600">
                  <c:v>15.239</c:v>
                </c:pt>
                <c:pt idx="1601">
                  <c:v>15.248</c:v>
                </c:pt>
                <c:pt idx="1602">
                  <c:v>15.257</c:v>
                </c:pt>
                <c:pt idx="1603">
                  <c:v>15.266</c:v>
                </c:pt>
                <c:pt idx="1604">
                  <c:v>15.275</c:v>
                </c:pt>
                <c:pt idx="1605">
                  <c:v>15.285</c:v>
                </c:pt>
                <c:pt idx="1606">
                  <c:v>15.294</c:v>
                </c:pt>
                <c:pt idx="1607">
                  <c:v>15.303</c:v>
                </c:pt>
                <c:pt idx="1608">
                  <c:v>15.313</c:v>
                </c:pt>
                <c:pt idx="1609">
                  <c:v>15.322</c:v>
                </c:pt>
                <c:pt idx="1610">
                  <c:v>15.331</c:v>
                </c:pt>
                <c:pt idx="1611">
                  <c:v>15.34</c:v>
                </c:pt>
                <c:pt idx="1612">
                  <c:v>15.349</c:v>
                </c:pt>
                <c:pt idx="1613">
                  <c:v>15.358</c:v>
                </c:pt>
                <c:pt idx="1614">
                  <c:v>15.367</c:v>
                </c:pt>
                <c:pt idx="1615">
                  <c:v>15.376</c:v>
                </c:pt>
                <c:pt idx="1616">
                  <c:v>15.385</c:v>
                </c:pt>
                <c:pt idx="1617">
                  <c:v>15.394</c:v>
                </c:pt>
                <c:pt idx="1618">
                  <c:v>15.403</c:v>
                </c:pt>
                <c:pt idx="1619">
                  <c:v>15.412</c:v>
                </c:pt>
                <c:pt idx="1620">
                  <c:v>15.421</c:v>
                </c:pt>
                <c:pt idx="1621">
                  <c:v>15.43</c:v>
                </c:pt>
                <c:pt idx="1622">
                  <c:v>15.439</c:v>
                </c:pt>
                <c:pt idx="1623">
                  <c:v>15.448</c:v>
                </c:pt>
                <c:pt idx="1624">
                  <c:v>15.457</c:v>
                </c:pt>
                <c:pt idx="1625">
                  <c:v>15.466</c:v>
                </c:pt>
                <c:pt idx="1626">
                  <c:v>15.475</c:v>
                </c:pt>
                <c:pt idx="1627">
                  <c:v>15.484</c:v>
                </c:pt>
                <c:pt idx="1628">
                  <c:v>15.493</c:v>
                </c:pt>
                <c:pt idx="1629">
                  <c:v>15.503</c:v>
                </c:pt>
                <c:pt idx="1630">
                  <c:v>15.512</c:v>
                </c:pt>
                <c:pt idx="1631">
                  <c:v>15.521</c:v>
                </c:pt>
                <c:pt idx="1632">
                  <c:v>15.53</c:v>
                </c:pt>
                <c:pt idx="1633">
                  <c:v>15.539</c:v>
                </c:pt>
                <c:pt idx="1634">
                  <c:v>15.548</c:v>
                </c:pt>
                <c:pt idx="1635">
                  <c:v>15.557</c:v>
                </c:pt>
                <c:pt idx="1636">
                  <c:v>15.566</c:v>
                </c:pt>
                <c:pt idx="1637">
                  <c:v>15.575</c:v>
                </c:pt>
                <c:pt idx="1638">
                  <c:v>15.584</c:v>
                </c:pt>
                <c:pt idx="1639">
                  <c:v>15.593</c:v>
                </c:pt>
                <c:pt idx="1640">
                  <c:v>15.602</c:v>
                </c:pt>
                <c:pt idx="1641">
                  <c:v>15.613</c:v>
                </c:pt>
                <c:pt idx="1642">
                  <c:v>15.623</c:v>
                </c:pt>
                <c:pt idx="1643">
                  <c:v>15.634</c:v>
                </c:pt>
                <c:pt idx="1644">
                  <c:v>15.644</c:v>
                </c:pt>
                <c:pt idx="1645">
                  <c:v>15.653</c:v>
                </c:pt>
                <c:pt idx="1646">
                  <c:v>15.663</c:v>
                </c:pt>
                <c:pt idx="1647">
                  <c:v>15.673</c:v>
                </c:pt>
                <c:pt idx="1648">
                  <c:v>15.682</c:v>
                </c:pt>
                <c:pt idx="1649">
                  <c:v>15.691</c:v>
                </c:pt>
                <c:pt idx="1650">
                  <c:v>15.7</c:v>
                </c:pt>
                <c:pt idx="1651">
                  <c:v>15.709</c:v>
                </c:pt>
                <c:pt idx="1652">
                  <c:v>15.718</c:v>
                </c:pt>
                <c:pt idx="1653">
                  <c:v>15.727</c:v>
                </c:pt>
                <c:pt idx="1654">
                  <c:v>15.736</c:v>
                </c:pt>
                <c:pt idx="1655">
                  <c:v>15.745</c:v>
                </c:pt>
                <c:pt idx="1656">
                  <c:v>15.754</c:v>
                </c:pt>
                <c:pt idx="1657">
                  <c:v>15.763</c:v>
                </c:pt>
                <c:pt idx="1658">
                  <c:v>15.772</c:v>
                </c:pt>
                <c:pt idx="1659">
                  <c:v>15.781</c:v>
                </c:pt>
                <c:pt idx="1660">
                  <c:v>15.79</c:v>
                </c:pt>
                <c:pt idx="1661">
                  <c:v>15.799</c:v>
                </c:pt>
                <c:pt idx="1662">
                  <c:v>15.808</c:v>
                </c:pt>
                <c:pt idx="1663">
                  <c:v>15.818</c:v>
                </c:pt>
                <c:pt idx="1664">
                  <c:v>15.827</c:v>
                </c:pt>
                <c:pt idx="1665">
                  <c:v>15.836</c:v>
                </c:pt>
                <c:pt idx="1666">
                  <c:v>15.845</c:v>
                </c:pt>
                <c:pt idx="1667">
                  <c:v>15.854</c:v>
                </c:pt>
                <c:pt idx="1668">
                  <c:v>15.863</c:v>
                </c:pt>
                <c:pt idx="1669">
                  <c:v>15.872</c:v>
                </c:pt>
                <c:pt idx="1670">
                  <c:v>15.881</c:v>
                </c:pt>
                <c:pt idx="1671">
                  <c:v>15.891</c:v>
                </c:pt>
                <c:pt idx="1672">
                  <c:v>15.9</c:v>
                </c:pt>
                <c:pt idx="1673">
                  <c:v>15.909</c:v>
                </c:pt>
                <c:pt idx="1674">
                  <c:v>15.918</c:v>
                </c:pt>
                <c:pt idx="1675">
                  <c:v>15.927</c:v>
                </c:pt>
                <c:pt idx="1676">
                  <c:v>15.936</c:v>
                </c:pt>
                <c:pt idx="1677">
                  <c:v>15.945</c:v>
                </c:pt>
                <c:pt idx="1678">
                  <c:v>15.954</c:v>
                </c:pt>
                <c:pt idx="1679">
                  <c:v>15.963</c:v>
                </c:pt>
                <c:pt idx="1680">
                  <c:v>15.972</c:v>
                </c:pt>
                <c:pt idx="1681">
                  <c:v>15.982</c:v>
                </c:pt>
                <c:pt idx="1682">
                  <c:v>15.991</c:v>
                </c:pt>
                <c:pt idx="1683">
                  <c:v>16</c:v>
                </c:pt>
                <c:pt idx="1684">
                  <c:v>16.009</c:v>
                </c:pt>
                <c:pt idx="1685">
                  <c:v>16.018</c:v>
                </c:pt>
                <c:pt idx="1686">
                  <c:v>16.027</c:v>
                </c:pt>
                <c:pt idx="1687">
                  <c:v>16.036</c:v>
                </c:pt>
                <c:pt idx="1688">
                  <c:v>16.045</c:v>
                </c:pt>
                <c:pt idx="1689">
                  <c:v>16.054</c:v>
                </c:pt>
                <c:pt idx="1690">
                  <c:v>16.063</c:v>
                </c:pt>
                <c:pt idx="1691">
                  <c:v>16.072</c:v>
                </c:pt>
                <c:pt idx="1692">
                  <c:v>16.081</c:v>
                </c:pt>
                <c:pt idx="1693">
                  <c:v>16.09</c:v>
                </c:pt>
                <c:pt idx="1694">
                  <c:v>16.099</c:v>
                </c:pt>
                <c:pt idx="1695">
                  <c:v>16.109</c:v>
                </c:pt>
                <c:pt idx="1696">
                  <c:v>16.123</c:v>
                </c:pt>
                <c:pt idx="1697">
                  <c:v>16.133</c:v>
                </c:pt>
                <c:pt idx="1698">
                  <c:v>16.142</c:v>
                </c:pt>
                <c:pt idx="1699">
                  <c:v>16.151</c:v>
                </c:pt>
                <c:pt idx="1700">
                  <c:v>16.16</c:v>
                </c:pt>
                <c:pt idx="1701">
                  <c:v>16.169</c:v>
                </c:pt>
                <c:pt idx="1702">
                  <c:v>16.178</c:v>
                </c:pt>
                <c:pt idx="1703">
                  <c:v>16.187</c:v>
                </c:pt>
                <c:pt idx="1704">
                  <c:v>16.196</c:v>
                </c:pt>
                <c:pt idx="1705">
                  <c:v>16.205</c:v>
                </c:pt>
                <c:pt idx="1706">
                  <c:v>16.214</c:v>
                </c:pt>
                <c:pt idx="1707">
                  <c:v>16.223</c:v>
                </c:pt>
                <c:pt idx="1708">
                  <c:v>16.232</c:v>
                </c:pt>
                <c:pt idx="1709">
                  <c:v>16.241</c:v>
                </c:pt>
                <c:pt idx="1710">
                  <c:v>16.25</c:v>
                </c:pt>
                <c:pt idx="1711">
                  <c:v>16.259</c:v>
                </c:pt>
                <c:pt idx="1712">
                  <c:v>16.269</c:v>
                </c:pt>
                <c:pt idx="1713">
                  <c:v>16.278</c:v>
                </c:pt>
                <c:pt idx="1714">
                  <c:v>16.287</c:v>
                </c:pt>
                <c:pt idx="1715">
                  <c:v>16.297</c:v>
                </c:pt>
                <c:pt idx="1716">
                  <c:v>16.306</c:v>
                </c:pt>
                <c:pt idx="1717">
                  <c:v>16.315</c:v>
                </c:pt>
                <c:pt idx="1718">
                  <c:v>16.325</c:v>
                </c:pt>
                <c:pt idx="1719">
                  <c:v>16.334</c:v>
                </c:pt>
                <c:pt idx="1720">
                  <c:v>16.343</c:v>
                </c:pt>
                <c:pt idx="1721">
                  <c:v>16.352</c:v>
                </c:pt>
                <c:pt idx="1722">
                  <c:v>16.361</c:v>
                </c:pt>
                <c:pt idx="1723">
                  <c:v>16.37</c:v>
                </c:pt>
                <c:pt idx="1724">
                  <c:v>16.379</c:v>
                </c:pt>
                <c:pt idx="1725">
                  <c:v>16.388</c:v>
                </c:pt>
                <c:pt idx="1726">
                  <c:v>16.397</c:v>
                </c:pt>
                <c:pt idx="1727">
                  <c:v>16.406</c:v>
                </c:pt>
                <c:pt idx="1728">
                  <c:v>16.415</c:v>
                </c:pt>
                <c:pt idx="1729">
                  <c:v>16.424</c:v>
                </c:pt>
                <c:pt idx="1730">
                  <c:v>16.433</c:v>
                </c:pt>
                <c:pt idx="1731">
                  <c:v>16.442</c:v>
                </c:pt>
                <c:pt idx="1732">
                  <c:v>16.451</c:v>
                </c:pt>
                <c:pt idx="1733">
                  <c:v>16.46</c:v>
                </c:pt>
                <c:pt idx="1734">
                  <c:v>16.47</c:v>
                </c:pt>
                <c:pt idx="1735">
                  <c:v>16.479</c:v>
                </c:pt>
                <c:pt idx="1736">
                  <c:v>16.488</c:v>
                </c:pt>
                <c:pt idx="1737">
                  <c:v>16.497</c:v>
                </c:pt>
                <c:pt idx="1738">
                  <c:v>16.506</c:v>
                </c:pt>
                <c:pt idx="1739">
                  <c:v>16.515</c:v>
                </c:pt>
                <c:pt idx="1740">
                  <c:v>16.524</c:v>
                </c:pt>
                <c:pt idx="1741">
                  <c:v>16.533</c:v>
                </c:pt>
                <c:pt idx="1742">
                  <c:v>16.542</c:v>
                </c:pt>
                <c:pt idx="1743">
                  <c:v>16.551</c:v>
                </c:pt>
                <c:pt idx="1744">
                  <c:v>16.56</c:v>
                </c:pt>
                <c:pt idx="1745">
                  <c:v>16.569</c:v>
                </c:pt>
                <c:pt idx="1746">
                  <c:v>16.578</c:v>
                </c:pt>
                <c:pt idx="1747">
                  <c:v>16.587</c:v>
                </c:pt>
                <c:pt idx="1748">
                  <c:v>16.596</c:v>
                </c:pt>
                <c:pt idx="1749">
                  <c:v>16.605</c:v>
                </c:pt>
                <c:pt idx="1750">
                  <c:v>16.614</c:v>
                </c:pt>
                <c:pt idx="1751">
                  <c:v>16.627</c:v>
                </c:pt>
                <c:pt idx="1752">
                  <c:v>16.639</c:v>
                </c:pt>
                <c:pt idx="1753">
                  <c:v>16.648</c:v>
                </c:pt>
                <c:pt idx="1754">
                  <c:v>16.657</c:v>
                </c:pt>
                <c:pt idx="1755">
                  <c:v>16.666</c:v>
                </c:pt>
                <c:pt idx="1756">
                  <c:v>16.675</c:v>
                </c:pt>
                <c:pt idx="1757">
                  <c:v>16.685</c:v>
                </c:pt>
                <c:pt idx="1758">
                  <c:v>16.694</c:v>
                </c:pt>
                <c:pt idx="1759">
                  <c:v>16.704</c:v>
                </c:pt>
                <c:pt idx="1760">
                  <c:v>16.713</c:v>
                </c:pt>
                <c:pt idx="1761">
                  <c:v>16.722</c:v>
                </c:pt>
                <c:pt idx="1762">
                  <c:v>16.732</c:v>
                </c:pt>
                <c:pt idx="1763">
                  <c:v>16.741</c:v>
                </c:pt>
                <c:pt idx="1764">
                  <c:v>16.75</c:v>
                </c:pt>
                <c:pt idx="1765">
                  <c:v>16.759</c:v>
                </c:pt>
                <c:pt idx="1766">
                  <c:v>16.768</c:v>
                </c:pt>
                <c:pt idx="1767">
                  <c:v>16.777</c:v>
                </c:pt>
                <c:pt idx="1768">
                  <c:v>16.786</c:v>
                </c:pt>
                <c:pt idx="1769">
                  <c:v>16.795</c:v>
                </c:pt>
                <c:pt idx="1770">
                  <c:v>16.805</c:v>
                </c:pt>
                <c:pt idx="1771">
                  <c:v>16.814</c:v>
                </c:pt>
                <c:pt idx="1772">
                  <c:v>16.823</c:v>
                </c:pt>
                <c:pt idx="1773">
                  <c:v>16.832</c:v>
                </c:pt>
                <c:pt idx="1774">
                  <c:v>16.841</c:v>
                </c:pt>
                <c:pt idx="1775">
                  <c:v>16.85</c:v>
                </c:pt>
                <c:pt idx="1776">
                  <c:v>16.859</c:v>
                </c:pt>
                <c:pt idx="1777">
                  <c:v>16.868</c:v>
                </c:pt>
                <c:pt idx="1778">
                  <c:v>16.877</c:v>
                </c:pt>
                <c:pt idx="1779">
                  <c:v>16.886</c:v>
                </c:pt>
                <c:pt idx="1780">
                  <c:v>16.895</c:v>
                </c:pt>
                <c:pt idx="1781">
                  <c:v>16.904</c:v>
                </c:pt>
                <c:pt idx="1782">
                  <c:v>16.913</c:v>
                </c:pt>
                <c:pt idx="1783">
                  <c:v>16.922</c:v>
                </c:pt>
                <c:pt idx="1784">
                  <c:v>16.931</c:v>
                </c:pt>
                <c:pt idx="1785">
                  <c:v>16.94</c:v>
                </c:pt>
                <c:pt idx="1786">
                  <c:v>16.95</c:v>
                </c:pt>
                <c:pt idx="1787">
                  <c:v>16.959</c:v>
                </c:pt>
                <c:pt idx="1788">
                  <c:v>16.968</c:v>
                </c:pt>
                <c:pt idx="1789">
                  <c:v>16.977</c:v>
                </c:pt>
                <c:pt idx="1790">
                  <c:v>16.986</c:v>
                </c:pt>
                <c:pt idx="1791">
                  <c:v>16.995</c:v>
                </c:pt>
                <c:pt idx="1792">
                  <c:v>17.004</c:v>
                </c:pt>
                <c:pt idx="1793">
                  <c:v>17.013</c:v>
                </c:pt>
                <c:pt idx="1794">
                  <c:v>17.022</c:v>
                </c:pt>
                <c:pt idx="1795">
                  <c:v>17.031</c:v>
                </c:pt>
                <c:pt idx="1796">
                  <c:v>17.04</c:v>
                </c:pt>
                <c:pt idx="1797">
                  <c:v>17.049</c:v>
                </c:pt>
                <c:pt idx="1798">
                  <c:v>17.058</c:v>
                </c:pt>
                <c:pt idx="1799">
                  <c:v>17.067</c:v>
                </c:pt>
                <c:pt idx="1800">
                  <c:v>17.076</c:v>
                </c:pt>
                <c:pt idx="1801">
                  <c:v>17.085</c:v>
                </c:pt>
                <c:pt idx="1802">
                  <c:v>17.094</c:v>
                </c:pt>
                <c:pt idx="1803">
                  <c:v>17.103</c:v>
                </c:pt>
                <c:pt idx="1804">
                  <c:v>17.112</c:v>
                </c:pt>
                <c:pt idx="1805">
                  <c:v>17.121</c:v>
                </c:pt>
                <c:pt idx="1806">
                  <c:v>17.133</c:v>
                </c:pt>
                <c:pt idx="1807">
                  <c:v>17.144</c:v>
                </c:pt>
                <c:pt idx="1808">
                  <c:v>17.154</c:v>
                </c:pt>
                <c:pt idx="1809">
                  <c:v>17.164</c:v>
                </c:pt>
                <c:pt idx="1810">
                  <c:v>17.173</c:v>
                </c:pt>
                <c:pt idx="1811">
                  <c:v>17.182</c:v>
                </c:pt>
                <c:pt idx="1812">
                  <c:v>17.192</c:v>
                </c:pt>
                <c:pt idx="1813">
                  <c:v>17.201</c:v>
                </c:pt>
                <c:pt idx="1814">
                  <c:v>17.21</c:v>
                </c:pt>
                <c:pt idx="1815">
                  <c:v>17.219</c:v>
                </c:pt>
                <c:pt idx="1816">
                  <c:v>17.228</c:v>
                </c:pt>
                <c:pt idx="1817">
                  <c:v>17.238</c:v>
                </c:pt>
                <c:pt idx="1818">
                  <c:v>17.247</c:v>
                </c:pt>
                <c:pt idx="1819">
                  <c:v>17.256</c:v>
                </c:pt>
                <c:pt idx="1820">
                  <c:v>17.265</c:v>
                </c:pt>
                <c:pt idx="1821">
                  <c:v>17.274</c:v>
                </c:pt>
                <c:pt idx="1822">
                  <c:v>17.283</c:v>
                </c:pt>
                <c:pt idx="1823">
                  <c:v>17.292</c:v>
                </c:pt>
                <c:pt idx="1824">
                  <c:v>17.301</c:v>
                </c:pt>
                <c:pt idx="1825">
                  <c:v>17.31</c:v>
                </c:pt>
                <c:pt idx="1826">
                  <c:v>17.319</c:v>
                </c:pt>
                <c:pt idx="1827">
                  <c:v>17.328</c:v>
                </c:pt>
                <c:pt idx="1828">
                  <c:v>17.337</c:v>
                </c:pt>
                <c:pt idx="1829">
                  <c:v>17.346</c:v>
                </c:pt>
                <c:pt idx="1830">
                  <c:v>17.355</c:v>
                </c:pt>
                <c:pt idx="1831">
                  <c:v>17.364</c:v>
                </c:pt>
                <c:pt idx="1832">
                  <c:v>17.373</c:v>
                </c:pt>
                <c:pt idx="1833">
                  <c:v>17.382</c:v>
                </c:pt>
                <c:pt idx="1834">
                  <c:v>17.391</c:v>
                </c:pt>
                <c:pt idx="1835">
                  <c:v>17.4</c:v>
                </c:pt>
                <c:pt idx="1836">
                  <c:v>17.409</c:v>
                </c:pt>
                <c:pt idx="1837">
                  <c:v>17.418</c:v>
                </c:pt>
                <c:pt idx="1838">
                  <c:v>17.427</c:v>
                </c:pt>
                <c:pt idx="1839">
                  <c:v>17.436</c:v>
                </c:pt>
                <c:pt idx="1840">
                  <c:v>17.445</c:v>
                </c:pt>
                <c:pt idx="1841">
                  <c:v>17.454</c:v>
                </c:pt>
                <c:pt idx="1842">
                  <c:v>17.463</c:v>
                </c:pt>
                <c:pt idx="1843">
                  <c:v>17.472</c:v>
                </c:pt>
                <c:pt idx="1844">
                  <c:v>17.482</c:v>
                </c:pt>
                <c:pt idx="1845">
                  <c:v>17.491</c:v>
                </c:pt>
                <c:pt idx="1846">
                  <c:v>17.5</c:v>
                </c:pt>
                <c:pt idx="1847">
                  <c:v>17.509</c:v>
                </c:pt>
                <c:pt idx="1848">
                  <c:v>17.518</c:v>
                </c:pt>
                <c:pt idx="1849">
                  <c:v>17.527</c:v>
                </c:pt>
                <c:pt idx="1850">
                  <c:v>17.536</c:v>
                </c:pt>
                <c:pt idx="1851">
                  <c:v>17.545</c:v>
                </c:pt>
                <c:pt idx="1852">
                  <c:v>17.554</c:v>
                </c:pt>
                <c:pt idx="1853">
                  <c:v>17.563</c:v>
                </c:pt>
                <c:pt idx="1854">
                  <c:v>17.572</c:v>
                </c:pt>
                <c:pt idx="1855">
                  <c:v>17.581</c:v>
                </c:pt>
                <c:pt idx="1856">
                  <c:v>17.59</c:v>
                </c:pt>
                <c:pt idx="1857">
                  <c:v>17.599</c:v>
                </c:pt>
                <c:pt idx="1858">
                  <c:v>17.608</c:v>
                </c:pt>
                <c:pt idx="1859">
                  <c:v>17.617</c:v>
                </c:pt>
                <c:pt idx="1860">
                  <c:v>17.627</c:v>
                </c:pt>
                <c:pt idx="1861">
                  <c:v>17.638</c:v>
                </c:pt>
                <c:pt idx="1862">
                  <c:v>17.647</c:v>
                </c:pt>
                <c:pt idx="1863">
                  <c:v>17.656</c:v>
                </c:pt>
                <c:pt idx="1864">
                  <c:v>17.665</c:v>
                </c:pt>
                <c:pt idx="1865">
                  <c:v>17.674</c:v>
                </c:pt>
                <c:pt idx="1866">
                  <c:v>17.684</c:v>
                </c:pt>
                <c:pt idx="1867">
                  <c:v>17.693</c:v>
                </c:pt>
                <c:pt idx="1868">
                  <c:v>17.702</c:v>
                </c:pt>
                <c:pt idx="1869">
                  <c:v>17.712</c:v>
                </c:pt>
                <c:pt idx="1870">
                  <c:v>17.721</c:v>
                </c:pt>
                <c:pt idx="1871">
                  <c:v>17.73</c:v>
                </c:pt>
                <c:pt idx="1872">
                  <c:v>17.739</c:v>
                </c:pt>
                <c:pt idx="1873">
                  <c:v>17.748</c:v>
                </c:pt>
                <c:pt idx="1874">
                  <c:v>17.757</c:v>
                </c:pt>
                <c:pt idx="1875">
                  <c:v>17.767</c:v>
                </c:pt>
                <c:pt idx="1876">
                  <c:v>17.776</c:v>
                </c:pt>
                <c:pt idx="1877">
                  <c:v>17.785</c:v>
                </c:pt>
                <c:pt idx="1878">
                  <c:v>17.794</c:v>
                </c:pt>
                <c:pt idx="1879">
                  <c:v>17.803</c:v>
                </c:pt>
                <c:pt idx="1880">
                  <c:v>17.812</c:v>
                </c:pt>
                <c:pt idx="1881">
                  <c:v>17.821</c:v>
                </c:pt>
                <c:pt idx="1882">
                  <c:v>17.83</c:v>
                </c:pt>
                <c:pt idx="1883">
                  <c:v>17.839</c:v>
                </c:pt>
                <c:pt idx="1884">
                  <c:v>17.848</c:v>
                </c:pt>
                <c:pt idx="1885">
                  <c:v>17.857</c:v>
                </c:pt>
                <c:pt idx="1886">
                  <c:v>17.866</c:v>
                </c:pt>
                <c:pt idx="1887">
                  <c:v>17.875</c:v>
                </c:pt>
                <c:pt idx="1888">
                  <c:v>17.884</c:v>
                </c:pt>
                <c:pt idx="1889">
                  <c:v>17.893</c:v>
                </c:pt>
                <c:pt idx="1890">
                  <c:v>17.902</c:v>
                </c:pt>
                <c:pt idx="1891">
                  <c:v>17.911</c:v>
                </c:pt>
                <c:pt idx="1892">
                  <c:v>17.92</c:v>
                </c:pt>
                <c:pt idx="1893">
                  <c:v>17.929</c:v>
                </c:pt>
                <c:pt idx="1894">
                  <c:v>17.938</c:v>
                </c:pt>
                <c:pt idx="1895">
                  <c:v>17.947</c:v>
                </c:pt>
                <c:pt idx="1896">
                  <c:v>17.956</c:v>
                </c:pt>
                <c:pt idx="1897">
                  <c:v>17.965</c:v>
                </c:pt>
                <c:pt idx="1898">
                  <c:v>17.974</c:v>
                </c:pt>
                <c:pt idx="1899">
                  <c:v>17.983</c:v>
                </c:pt>
                <c:pt idx="1900">
                  <c:v>17.992</c:v>
                </c:pt>
                <c:pt idx="1901">
                  <c:v>18.002</c:v>
                </c:pt>
                <c:pt idx="1902">
                  <c:v>18.011</c:v>
                </c:pt>
                <c:pt idx="1903">
                  <c:v>18.02</c:v>
                </c:pt>
                <c:pt idx="1904">
                  <c:v>18.029</c:v>
                </c:pt>
                <c:pt idx="1905">
                  <c:v>18.038</c:v>
                </c:pt>
                <c:pt idx="1906">
                  <c:v>18.047</c:v>
                </c:pt>
                <c:pt idx="1907">
                  <c:v>18.056</c:v>
                </c:pt>
                <c:pt idx="1908">
                  <c:v>18.065</c:v>
                </c:pt>
                <c:pt idx="1909">
                  <c:v>18.074</c:v>
                </c:pt>
                <c:pt idx="1910">
                  <c:v>18.083</c:v>
                </c:pt>
                <c:pt idx="1911">
                  <c:v>18.092</c:v>
                </c:pt>
                <c:pt idx="1912">
                  <c:v>18.101</c:v>
                </c:pt>
                <c:pt idx="1913">
                  <c:v>18.11</c:v>
                </c:pt>
                <c:pt idx="1914">
                  <c:v>18.119</c:v>
                </c:pt>
                <c:pt idx="1915">
                  <c:v>18.128</c:v>
                </c:pt>
                <c:pt idx="1916">
                  <c:v>18.137</c:v>
                </c:pt>
                <c:pt idx="1917">
                  <c:v>18.147</c:v>
                </c:pt>
                <c:pt idx="1918">
                  <c:v>18.156</c:v>
                </c:pt>
                <c:pt idx="1919">
                  <c:v>18.165</c:v>
                </c:pt>
                <c:pt idx="1920">
                  <c:v>18.174</c:v>
                </c:pt>
                <c:pt idx="1921">
                  <c:v>18.183</c:v>
                </c:pt>
                <c:pt idx="1922">
                  <c:v>18.192</c:v>
                </c:pt>
                <c:pt idx="1923">
                  <c:v>18.201</c:v>
                </c:pt>
                <c:pt idx="1924">
                  <c:v>18.21</c:v>
                </c:pt>
                <c:pt idx="1925">
                  <c:v>18.219</c:v>
                </c:pt>
                <c:pt idx="1926">
                  <c:v>18.228</c:v>
                </c:pt>
                <c:pt idx="1927">
                  <c:v>18.237</c:v>
                </c:pt>
                <c:pt idx="1928">
                  <c:v>18.246</c:v>
                </c:pt>
                <c:pt idx="1929">
                  <c:v>18.255</c:v>
                </c:pt>
                <c:pt idx="1930">
                  <c:v>18.264</c:v>
                </c:pt>
                <c:pt idx="1931">
                  <c:v>18.273</c:v>
                </c:pt>
                <c:pt idx="1932">
                  <c:v>18.282</c:v>
                </c:pt>
                <c:pt idx="1933">
                  <c:v>18.291</c:v>
                </c:pt>
                <c:pt idx="1934">
                  <c:v>18.3</c:v>
                </c:pt>
                <c:pt idx="1935">
                  <c:v>18.309</c:v>
                </c:pt>
                <c:pt idx="1936">
                  <c:v>18.318</c:v>
                </c:pt>
                <c:pt idx="1937">
                  <c:v>18.328</c:v>
                </c:pt>
                <c:pt idx="1938">
                  <c:v>18.337</c:v>
                </c:pt>
                <c:pt idx="1939">
                  <c:v>18.346</c:v>
                </c:pt>
                <c:pt idx="1940">
                  <c:v>18.355</c:v>
                </c:pt>
                <c:pt idx="1941">
                  <c:v>18.364</c:v>
                </c:pt>
                <c:pt idx="1942">
                  <c:v>18.373</c:v>
                </c:pt>
                <c:pt idx="1943">
                  <c:v>18.382</c:v>
                </c:pt>
                <c:pt idx="1944">
                  <c:v>18.392</c:v>
                </c:pt>
                <c:pt idx="1945">
                  <c:v>18.401</c:v>
                </c:pt>
                <c:pt idx="1946">
                  <c:v>18.41</c:v>
                </c:pt>
                <c:pt idx="1947">
                  <c:v>18.419</c:v>
                </c:pt>
                <c:pt idx="1948">
                  <c:v>18.428</c:v>
                </c:pt>
                <c:pt idx="1949">
                  <c:v>18.437</c:v>
                </c:pt>
                <c:pt idx="1950">
                  <c:v>18.446</c:v>
                </c:pt>
                <c:pt idx="1951">
                  <c:v>18.455</c:v>
                </c:pt>
                <c:pt idx="1952">
                  <c:v>18.464</c:v>
                </c:pt>
                <c:pt idx="1953">
                  <c:v>18.473</c:v>
                </c:pt>
                <c:pt idx="1954">
                  <c:v>18.482</c:v>
                </c:pt>
                <c:pt idx="1955">
                  <c:v>18.491</c:v>
                </c:pt>
                <c:pt idx="1956">
                  <c:v>18.5</c:v>
                </c:pt>
                <c:pt idx="1957">
                  <c:v>18.509</c:v>
                </c:pt>
                <c:pt idx="1958">
                  <c:v>18.519</c:v>
                </c:pt>
                <c:pt idx="1959">
                  <c:v>18.528</c:v>
                </c:pt>
                <c:pt idx="1960">
                  <c:v>18.537</c:v>
                </c:pt>
                <c:pt idx="1961">
                  <c:v>18.546</c:v>
                </c:pt>
                <c:pt idx="1962">
                  <c:v>18.555</c:v>
                </c:pt>
                <c:pt idx="1963">
                  <c:v>18.564</c:v>
                </c:pt>
                <c:pt idx="1964">
                  <c:v>18.573</c:v>
                </c:pt>
                <c:pt idx="1965">
                  <c:v>18.582</c:v>
                </c:pt>
                <c:pt idx="1966">
                  <c:v>18.591</c:v>
                </c:pt>
                <c:pt idx="1967">
                  <c:v>18.6</c:v>
                </c:pt>
                <c:pt idx="1968">
                  <c:v>18.609</c:v>
                </c:pt>
                <c:pt idx="1969">
                  <c:v>18.618</c:v>
                </c:pt>
                <c:pt idx="1970">
                  <c:v>18.627</c:v>
                </c:pt>
                <c:pt idx="1971">
                  <c:v>18.637</c:v>
                </c:pt>
                <c:pt idx="1972">
                  <c:v>18.647</c:v>
                </c:pt>
                <c:pt idx="1973">
                  <c:v>18.656</c:v>
                </c:pt>
                <c:pt idx="1974">
                  <c:v>18.665</c:v>
                </c:pt>
                <c:pt idx="1975">
                  <c:v>18.674</c:v>
                </c:pt>
                <c:pt idx="1976">
                  <c:v>18.683</c:v>
                </c:pt>
                <c:pt idx="1977">
                  <c:v>18.692</c:v>
                </c:pt>
                <c:pt idx="1978">
                  <c:v>18.701</c:v>
                </c:pt>
                <c:pt idx="1979">
                  <c:v>18.71</c:v>
                </c:pt>
                <c:pt idx="1980">
                  <c:v>18.719</c:v>
                </c:pt>
                <c:pt idx="1981">
                  <c:v>18.728</c:v>
                </c:pt>
                <c:pt idx="1982">
                  <c:v>18.737</c:v>
                </c:pt>
                <c:pt idx="1983">
                  <c:v>18.746</c:v>
                </c:pt>
                <c:pt idx="1984">
                  <c:v>18.755</c:v>
                </c:pt>
                <c:pt idx="1985">
                  <c:v>18.764</c:v>
                </c:pt>
                <c:pt idx="1986">
                  <c:v>18.773</c:v>
                </c:pt>
                <c:pt idx="1987">
                  <c:v>18.782</c:v>
                </c:pt>
                <c:pt idx="1988">
                  <c:v>18.791</c:v>
                </c:pt>
                <c:pt idx="1989">
                  <c:v>18.8</c:v>
                </c:pt>
                <c:pt idx="1990">
                  <c:v>18.809</c:v>
                </c:pt>
                <c:pt idx="1991">
                  <c:v>18.818</c:v>
                </c:pt>
                <c:pt idx="1992">
                  <c:v>18.827</c:v>
                </c:pt>
                <c:pt idx="1993">
                  <c:v>18.837</c:v>
                </c:pt>
                <c:pt idx="1994">
                  <c:v>18.846</c:v>
                </c:pt>
                <c:pt idx="1995">
                  <c:v>18.855</c:v>
                </c:pt>
                <c:pt idx="1996">
                  <c:v>18.864</c:v>
                </c:pt>
                <c:pt idx="1997">
                  <c:v>18.873</c:v>
                </c:pt>
                <c:pt idx="1998">
                  <c:v>18.882</c:v>
                </c:pt>
                <c:pt idx="1999">
                  <c:v>18.891</c:v>
                </c:pt>
                <c:pt idx="2000">
                  <c:v>18.9</c:v>
                </c:pt>
                <c:pt idx="2001">
                  <c:v>18.909</c:v>
                </c:pt>
                <c:pt idx="2002">
                  <c:v>18.918</c:v>
                </c:pt>
                <c:pt idx="2003">
                  <c:v>18.927</c:v>
                </c:pt>
                <c:pt idx="2004">
                  <c:v>18.936</c:v>
                </c:pt>
                <c:pt idx="2005">
                  <c:v>18.945</c:v>
                </c:pt>
                <c:pt idx="2006">
                  <c:v>18.954</c:v>
                </c:pt>
                <c:pt idx="2007">
                  <c:v>18.963</c:v>
                </c:pt>
                <c:pt idx="2008">
                  <c:v>18.972</c:v>
                </c:pt>
                <c:pt idx="2009">
                  <c:v>18.982</c:v>
                </c:pt>
                <c:pt idx="2010">
                  <c:v>18.992</c:v>
                </c:pt>
                <c:pt idx="2011">
                  <c:v>19.002</c:v>
                </c:pt>
                <c:pt idx="2012">
                  <c:v>19.011</c:v>
                </c:pt>
                <c:pt idx="2013">
                  <c:v>19.02</c:v>
                </c:pt>
                <c:pt idx="2014">
                  <c:v>19.029</c:v>
                </c:pt>
                <c:pt idx="2015">
                  <c:v>19.038</c:v>
                </c:pt>
                <c:pt idx="2016">
                  <c:v>19.047</c:v>
                </c:pt>
                <c:pt idx="2017">
                  <c:v>19.056</c:v>
                </c:pt>
                <c:pt idx="2018">
                  <c:v>19.065</c:v>
                </c:pt>
                <c:pt idx="2019">
                  <c:v>19.075</c:v>
                </c:pt>
                <c:pt idx="2020">
                  <c:v>19.084</c:v>
                </c:pt>
                <c:pt idx="2021">
                  <c:v>19.093</c:v>
                </c:pt>
                <c:pt idx="2022">
                  <c:v>19.102</c:v>
                </c:pt>
                <c:pt idx="2023">
                  <c:v>19.112</c:v>
                </c:pt>
                <c:pt idx="2024">
                  <c:v>19.121</c:v>
                </c:pt>
                <c:pt idx="2025">
                  <c:v>19.13</c:v>
                </c:pt>
                <c:pt idx="2026">
                  <c:v>19.142</c:v>
                </c:pt>
                <c:pt idx="2027">
                  <c:v>19.153</c:v>
                </c:pt>
                <c:pt idx="2028">
                  <c:v>19.163</c:v>
                </c:pt>
                <c:pt idx="2029">
                  <c:v>19.172</c:v>
                </c:pt>
                <c:pt idx="2030">
                  <c:v>19.181</c:v>
                </c:pt>
                <c:pt idx="2031">
                  <c:v>19.19</c:v>
                </c:pt>
                <c:pt idx="2032">
                  <c:v>19.199</c:v>
                </c:pt>
                <c:pt idx="2033">
                  <c:v>19.209</c:v>
                </c:pt>
                <c:pt idx="2034">
                  <c:v>19.218</c:v>
                </c:pt>
                <c:pt idx="2035">
                  <c:v>19.227</c:v>
                </c:pt>
                <c:pt idx="2036">
                  <c:v>19.236</c:v>
                </c:pt>
                <c:pt idx="2037">
                  <c:v>19.245</c:v>
                </c:pt>
                <c:pt idx="2038">
                  <c:v>19.254</c:v>
                </c:pt>
                <c:pt idx="2039">
                  <c:v>19.263</c:v>
                </c:pt>
                <c:pt idx="2040">
                  <c:v>19.272</c:v>
                </c:pt>
                <c:pt idx="2041">
                  <c:v>19.281</c:v>
                </c:pt>
                <c:pt idx="2042">
                  <c:v>19.29</c:v>
                </c:pt>
                <c:pt idx="2043">
                  <c:v>19.299</c:v>
                </c:pt>
                <c:pt idx="2044">
                  <c:v>19.308</c:v>
                </c:pt>
                <c:pt idx="2045">
                  <c:v>19.317</c:v>
                </c:pt>
                <c:pt idx="2046">
                  <c:v>19.326</c:v>
                </c:pt>
                <c:pt idx="2047">
                  <c:v>19.335</c:v>
                </c:pt>
                <c:pt idx="2048">
                  <c:v>19.344</c:v>
                </c:pt>
                <c:pt idx="2049">
                  <c:v>19.353</c:v>
                </c:pt>
                <c:pt idx="2050">
                  <c:v>19.362</c:v>
                </c:pt>
                <c:pt idx="2051">
                  <c:v>19.371</c:v>
                </c:pt>
                <c:pt idx="2052">
                  <c:v>19.38</c:v>
                </c:pt>
                <c:pt idx="2053">
                  <c:v>19.389</c:v>
                </c:pt>
                <c:pt idx="2054">
                  <c:v>19.398</c:v>
                </c:pt>
                <c:pt idx="2055">
                  <c:v>19.407</c:v>
                </c:pt>
                <c:pt idx="2056">
                  <c:v>19.416</c:v>
                </c:pt>
                <c:pt idx="2057">
                  <c:v>19.425</c:v>
                </c:pt>
                <c:pt idx="2058">
                  <c:v>19.434</c:v>
                </c:pt>
                <c:pt idx="2059">
                  <c:v>19.443</c:v>
                </c:pt>
                <c:pt idx="2060">
                  <c:v>19.453</c:v>
                </c:pt>
                <c:pt idx="2061">
                  <c:v>19.462</c:v>
                </c:pt>
                <c:pt idx="2062">
                  <c:v>19.471</c:v>
                </c:pt>
                <c:pt idx="2063">
                  <c:v>19.48</c:v>
                </c:pt>
                <c:pt idx="2064">
                  <c:v>19.489</c:v>
                </c:pt>
                <c:pt idx="2065">
                  <c:v>19.498</c:v>
                </c:pt>
                <c:pt idx="2066">
                  <c:v>19.507</c:v>
                </c:pt>
                <c:pt idx="2067">
                  <c:v>19.516</c:v>
                </c:pt>
                <c:pt idx="2068">
                  <c:v>19.525</c:v>
                </c:pt>
                <c:pt idx="2069">
                  <c:v>19.535</c:v>
                </c:pt>
                <c:pt idx="2070">
                  <c:v>19.545</c:v>
                </c:pt>
                <c:pt idx="2071">
                  <c:v>19.554</c:v>
                </c:pt>
                <c:pt idx="2072">
                  <c:v>19.563</c:v>
                </c:pt>
                <c:pt idx="2073">
                  <c:v>19.572</c:v>
                </c:pt>
                <c:pt idx="2074">
                  <c:v>19.581</c:v>
                </c:pt>
                <c:pt idx="2075">
                  <c:v>19.59</c:v>
                </c:pt>
                <c:pt idx="2076">
                  <c:v>19.599</c:v>
                </c:pt>
                <c:pt idx="2077">
                  <c:v>19.608</c:v>
                </c:pt>
                <c:pt idx="2078">
                  <c:v>19.617</c:v>
                </c:pt>
                <c:pt idx="2079">
                  <c:v>19.627</c:v>
                </c:pt>
                <c:pt idx="2080">
                  <c:v>19.637</c:v>
                </c:pt>
                <c:pt idx="2081">
                  <c:v>19.65</c:v>
                </c:pt>
                <c:pt idx="2082">
                  <c:v>19.66</c:v>
                </c:pt>
                <c:pt idx="2083">
                  <c:v>19.669</c:v>
                </c:pt>
                <c:pt idx="2084">
                  <c:v>19.678</c:v>
                </c:pt>
                <c:pt idx="2085">
                  <c:v>19.687</c:v>
                </c:pt>
                <c:pt idx="2086">
                  <c:v>19.696</c:v>
                </c:pt>
                <c:pt idx="2087">
                  <c:v>19.705</c:v>
                </c:pt>
                <c:pt idx="2088">
                  <c:v>19.714</c:v>
                </c:pt>
                <c:pt idx="2089">
                  <c:v>19.723</c:v>
                </c:pt>
                <c:pt idx="2090">
                  <c:v>19.732</c:v>
                </c:pt>
                <c:pt idx="2091">
                  <c:v>19.741</c:v>
                </c:pt>
                <c:pt idx="2092">
                  <c:v>19.75</c:v>
                </c:pt>
                <c:pt idx="2093">
                  <c:v>19.759</c:v>
                </c:pt>
                <c:pt idx="2094">
                  <c:v>19.768</c:v>
                </c:pt>
                <c:pt idx="2095">
                  <c:v>19.777</c:v>
                </c:pt>
                <c:pt idx="2096">
                  <c:v>19.786</c:v>
                </c:pt>
                <c:pt idx="2097">
                  <c:v>19.795</c:v>
                </c:pt>
                <c:pt idx="2098">
                  <c:v>19.804</c:v>
                </c:pt>
                <c:pt idx="2099">
                  <c:v>19.813</c:v>
                </c:pt>
                <c:pt idx="2100">
                  <c:v>19.822</c:v>
                </c:pt>
                <c:pt idx="2101">
                  <c:v>19.831</c:v>
                </c:pt>
                <c:pt idx="2102">
                  <c:v>19.841</c:v>
                </c:pt>
                <c:pt idx="2103">
                  <c:v>19.85</c:v>
                </c:pt>
                <c:pt idx="2104">
                  <c:v>19.859</c:v>
                </c:pt>
                <c:pt idx="2105">
                  <c:v>19.868</c:v>
                </c:pt>
                <c:pt idx="2106">
                  <c:v>19.877</c:v>
                </c:pt>
                <c:pt idx="2107">
                  <c:v>19.886</c:v>
                </c:pt>
                <c:pt idx="2108">
                  <c:v>19.895</c:v>
                </c:pt>
                <c:pt idx="2109">
                  <c:v>19.905</c:v>
                </c:pt>
                <c:pt idx="2110">
                  <c:v>19.914</c:v>
                </c:pt>
                <c:pt idx="2111">
                  <c:v>19.923</c:v>
                </c:pt>
                <c:pt idx="2112">
                  <c:v>19.932</c:v>
                </c:pt>
                <c:pt idx="2113">
                  <c:v>19.942</c:v>
                </c:pt>
                <c:pt idx="2114">
                  <c:v>19.951</c:v>
                </c:pt>
                <c:pt idx="2115">
                  <c:v>19.96</c:v>
                </c:pt>
                <c:pt idx="2116">
                  <c:v>19.969</c:v>
                </c:pt>
                <c:pt idx="2117">
                  <c:v>19.978</c:v>
                </c:pt>
                <c:pt idx="2118">
                  <c:v>19.987</c:v>
                </c:pt>
                <c:pt idx="2119">
                  <c:v>19.996</c:v>
                </c:pt>
                <c:pt idx="2120">
                  <c:v>20.005</c:v>
                </c:pt>
                <c:pt idx="2121">
                  <c:v>20.014</c:v>
                </c:pt>
                <c:pt idx="2122">
                  <c:v>20.023</c:v>
                </c:pt>
                <c:pt idx="2123">
                  <c:v>20.032</c:v>
                </c:pt>
                <c:pt idx="2124">
                  <c:v>20.041</c:v>
                </c:pt>
                <c:pt idx="2125">
                  <c:v>20.05</c:v>
                </c:pt>
                <c:pt idx="2126">
                  <c:v>20.059</c:v>
                </c:pt>
                <c:pt idx="2127">
                  <c:v>20.068</c:v>
                </c:pt>
                <c:pt idx="2128">
                  <c:v>20.077</c:v>
                </c:pt>
                <c:pt idx="2129">
                  <c:v>20.087</c:v>
                </c:pt>
                <c:pt idx="2130">
                  <c:v>20.097</c:v>
                </c:pt>
                <c:pt idx="2131">
                  <c:v>20.107</c:v>
                </c:pt>
                <c:pt idx="2132">
                  <c:v>20.116</c:v>
                </c:pt>
                <c:pt idx="2133">
                  <c:v>20.125</c:v>
                </c:pt>
                <c:pt idx="2134">
                  <c:v>20.134</c:v>
                </c:pt>
                <c:pt idx="2135">
                  <c:v>20.145</c:v>
                </c:pt>
                <c:pt idx="2136">
                  <c:v>20.156</c:v>
                </c:pt>
                <c:pt idx="2137">
                  <c:v>20.168</c:v>
                </c:pt>
                <c:pt idx="2138">
                  <c:v>20.177</c:v>
                </c:pt>
                <c:pt idx="2139">
                  <c:v>20.186</c:v>
                </c:pt>
                <c:pt idx="2140">
                  <c:v>20.195</c:v>
                </c:pt>
                <c:pt idx="2141">
                  <c:v>20.204</c:v>
                </c:pt>
                <c:pt idx="2142">
                  <c:v>20.213</c:v>
                </c:pt>
                <c:pt idx="2143">
                  <c:v>20.222</c:v>
                </c:pt>
                <c:pt idx="2144">
                  <c:v>20.232</c:v>
                </c:pt>
                <c:pt idx="2145">
                  <c:v>20.241</c:v>
                </c:pt>
                <c:pt idx="2146">
                  <c:v>20.25</c:v>
                </c:pt>
                <c:pt idx="2147">
                  <c:v>20.259</c:v>
                </c:pt>
                <c:pt idx="2148">
                  <c:v>20.268</c:v>
                </c:pt>
                <c:pt idx="2149">
                  <c:v>20.277</c:v>
                </c:pt>
                <c:pt idx="2150">
                  <c:v>20.286</c:v>
                </c:pt>
                <c:pt idx="2151">
                  <c:v>20.295</c:v>
                </c:pt>
                <c:pt idx="2152">
                  <c:v>20.304</c:v>
                </c:pt>
                <c:pt idx="2153">
                  <c:v>20.314</c:v>
                </c:pt>
                <c:pt idx="2154">
                  <c:v>20.323</c:v>
                </c:pt>
                <c:pt idx="2155">
                  <c:v>20.332</c:v>
                </c:pt>
                <c:pt idx="2156">
                  <c:v>20.341</c:v>
                </c:pt>
                <c:pt idx="2157">
                  <c:v>20.359</c:v>
                </c:pt>
                <c:pt idx="2158">
                  <c:v>20.368</c:v>
                </c:pt>
                <c:pt idx="2159">
                  <c:v>20.377</c:v>
                </c:pt>
                <c:pt idx="2160">
                  <c:v>20.386</c:v>
                </c:pt>
                <c:pt idx="2161">
                  <c:v>20.395</c:v>
                </c:pt>
                <c:pt idx="2162">
                  <c:v>20.404</c:v>
                </c:pt>
                <c:pt idx="2163">
                  <c:v>20.413</c:v>
                </c:pt>
                <c:pt idx="2164">
                  <c:v>20.422</c:v>
                </c:pt>
                <c:pt idx="2165">
                  <c:v>20.431</c:v>
                </c:pt>
                <c:pt idx="2166">
                  <c:v>20.44</c:v>
                </c:pt>
                <c:pt idx="2167">
                  <c:v>20.449</c:v>
                </c:pt>
                <c:pt idx="2168">
                  <c:v>20.458</c:v>
                </c:pt>
                <c:pt idx="2169">
                  <c:v>20.467</c:v>
                </c:pt>
                <c:pt idx="2170">
                  <c:v>20.476</c:v>
                </c:pt>
                <c:pt idx="2171">
                  <c:v>20.485</c:v>
                </c:pt>
                <c:pt idx="2172">
                  <c:v>20.494</c:v>
                </c:pt>
                <c:pt idx="2173">
                  <c:v>20.503</c:v>
                </c:pt>
                <c:pt idx="2174">
                  <c:v>20.512</c:v>
                </c:pt>
                <c:pt idx="2175">
                  <c:v>20.522</c:v>
                </c:pt>
                <c:pt idx="2176">
                  <c:v>20.531</c:v>
                </c:pt>
                <c:pt idx="2177">
                  <c:v>20.54</c:v>
                </c:pt>
                <c:pt idx="2178">
                  <c:v>20.549</c:v>
                </c:pt>
                <c:pt idx="2179">
                  <c:v>20.558</c:v>
                </c:pt>
                <c:pt idx="2180">
                  <c:v>20.567</c:v>
                </c:pt>
                <c:pt idx="2181">
                  <c:v>20.576</c:v>
                </c:pt>
                <c:pt idx="2182">
                  <c:v>20.585</c:v>
                </c:pt>
                <c:pt idx="2183">
                  <c:v>20.594</c:v>
                </c:pt>
                <c:pt idx="2184">
                  <c:v>20.603</c:v>
                </c:pt>
                <c:pt idx="2185">
                  <c:v>20.612</c:v>
                </c:pt>
                <c:pt idx="2186">
                  <c:v>20.621</c:v>
                </c:pt>
                <c:pt idx="2187">
                  <c:v>20.63</c:v>
                </c:pt>
                <c:pt idx="2188">
                  <c:v>20.639</c:v>
                </c:pt>
                <c:pt idx="2189">
                  <c:v>20.65</c:v>
                </c:pt>
                <c:pt idx="2190">
                  <c:v>20.662</c:v>
                </c:pt>
                <c:pt idx="2191">
                  <c:v>20.671</c:v>
                </c:pt>
                <c:pt idx="2192">
                  <c:v>20.68</c:v>
                </c:pt>
                <c:pt idx="2193">
                  <c:v>20.689</c:v>
                </c:pt>
                <c:pt idx="2194">
                  <c:v>20.698</c:v>
                </c:pt>
                <c:pt idx="2195">
                  <c:v>20.707</c:v>
                </c:pt>
                <c:pt idx="2196">
                  <c:v>20.716</c:v>
                </c:pt>
                <c:pt idx="2197">
                  <c:v>20.725</c:v>
                </c:pt>
                <c:pt idx="2198">
                  <c:v>20.734</c:v>
                </c:pt>
                <c:pt idx="2199">
                  <c:v>20.743</c:v>
                </c:pt>
                <c:pt idx="2200">
                  <c:v>20.752</c:v>
                </c:pt>
                <c:pt idx="2201">
                  <c:v>20.761</c:v>
                </c:pt>
                <c:pt idx="2202">
                  <c:v>20.77</c:v>
                </c:pt>
                <c:pt idx="2203">
                  <c:v>20.779</c:v>
                </c:pt>
                <c:pt idx="2204">
                  <c:v>20.788</c:v>
                </c:pt>
                <c:pt idx="2205">
                  <c:v>20.797</c:v>
                </c:pt>
                <c:pt idx="2206">
                  <c:v>20.806</c:v>
                </c:pt>
                <c:pt idx="2207">
                  <c:v>20.815</c:v>
                </c:pt>
                <c:pt idx="2208">
                  <c:v>20.824</c:v>
                </c:pt>
                <c:pt idx="2209">
                  <c:v>20.833</c:v>
                </c:pt>
                <c:pt idx="2210">
                  <c:v>20.842</c:v>
                </c:pt>
                <c:pt idx="2211">
                  <c:v>20.851</c:v>
                </c:pt>
                <c:pt idx="2212">
                  <c:v>20.86</c:v>
                </c:pt>
                <c:pt idx="2213">
                  <c:v>20.869</c:v>
                </c:pt>
                <c:pt idx="2214">
                  <c:v>20.878</c:v>
                </c:pt>
                <c:pt idx="2215">
                  <c:v>20.887</c:v>
                </c:pt>
                <c:pt idx="2216">
                  <c:v>20.897</c:v>
                </c:pt>
                <c:pt idx="2217">
                  <c:v>20.906</c:v>
                </c:pt>
                <c:pt idx="2218">
                  <c:v>20.915</c:v>
                </c:pt>
                <c:pt idx="2219">
                  <c:v>20.924</c:v>
                </c:pt>
                <c:pt idx="2220">
                  <c:v>20.933</c:v>
                </c:pt>
                <c:pt idx="2221">
                  <c:v>20.942</c:v>
                </c:pt>
                <c:pt idx="2222">
                  <c:v>20.951</c:v>
                </c:pt>
                <c:pt idx="2223">
                  <c:v>20.96</c:v>
                </c:pt>
                <c:pt idx="2224">
                  <c:v>20.969</c:v>
                </c:pt>
                <c:pt idx="2225">
                  <c:v>20.978</c:v>
                </c:pt>
                <c:pt idx="2226">
                  <c:v>20.987</c:v>
                </c:pt>
                <c:pt idx="2227">
                  <c:v>20.996</c:v>
                </c:pt>
                <c:pt idx="2228">
                  <c:v>21.005</c:v>
                </c:pt>
                <c:pt idx="2229">
                  <c:v>21.014</c:v>
                </c:pt>
                <c:pt idx="2230">
                  <c:v>21.023</c:v>
                </c:pt>
                <c:pt idx="2231">
                  <c:v>21.032</c:v>
                </c:pt>
                <c:pt idx="2232">
                  <c:v>21.042</c:v>
                </c:pt>
                <c:pt idx="2233">
                  <c:v>21.051</c:v>
                </c:pt>
                <c:pt idx="2234">
                  <c:v>21.06</c:v>
                </c:pt>
                <c:pt idx="2235">
                  <c:v>21.069</c:v>
                </c:pt>
                <c:pt idx="2236">
                  <c:v>21.078</c:v>
                </c:pt>
                <c:pt idx="2237">
                  <c:v>21.087</c:v>
                </c:pt>
                <c:pt idx="2238">
                  <c:v>21.096</c:v>
                </c:pt>
                <c:pt idx="2239">
                  <c:v>21.106</c:v>
                </c:pt>
                <c:pt idx="2240">
                  <c:v>21.115</c:v>
                </c:pt>
                <c:pt idx="2241">
                  <c:v>21.124</c:v>
                </c:pt>
                <c:pt idx="2242">
                  <c:v>21.133</c:v>
                </c:pt>
                <c:pt idx="2243">
                  <c:v>21.142</c:v>
                </c:pt>
                <c:pt idx="2244">
                  <c:v>21.153</c:v>
                </c:pt>
                <c:pt idx="2245">
                  <c:v>21.164</c:v>
                </c:pt>
                <c:pt idx="2246">
                  <c:v>21.175</c:v>
                </c:pt>
                <c:pt idx="2247">
                  <c:v>21.184</c:v>
                </c:pt>
                <c:pt idx="2248">
                  <c:v>21.193</c:v>
                </c:pt>
                <c:pt idx="2249">
                  <c:v>21.202</c:v>
                </c:pt>
                <c:pt idx="2250">
                  <c:v>21.212</c:v>
                </c:pt>
                <c:pt idx="2251">
                  <c:v>21.221</c:v>
                </c:pt>
                <c:pt idx="2252">
                  <c:v>21.23</c:v>
                </c:pt>
                <c:pt idx="2253">
                  <c:v>21.239</c:v>
                </c:pt>
                <c:pt idx="2254">
                  <c:v>21.248</c:v>
                </c:pt>
                <c:pt idx="2255">
                  <c:v>21.257</c:v>
                </c:pt>
                <c:pt idx="2256">
                  <c:v>21.266</c:v>
                </c:pt>
                <c:pt idx="2257">
                  <c:v>21.275</c:v>
                </c:pt>
                <c:pt idx="2258">
                  <c:v>21.284</c:v>
                </c:pt>
                <c:pt idx="2259">
                  <c:v>21.293</c:v>
                </c:pt>
                <c:pt idx="2260">
                  <c:v>21.302</c:v>
                </c:pt>
                <c:pt idx="2261">
                  <c:v>21.311</c:v>
                </c:pt>
                <c:pt idx="2262">
                  <c:v>21.32</c:v>
                </c:pt>
                <c:pt idx="2263">
                  <c:v>21.329</c:v>
                </c:pt>
                <c:pt idx="2264">
                  <c:v>21.338</c:v>
                </c:pt>
                <c:pt idx="2265">
                  <c:v>21.347</c:v>
                </c:pt>
                <c:pt idx="2266">
                  <c:v>21.357</c:v>
                </c:pt>
                <c:pt idx="2267">
                  <c:v>21.366</c:v>
                </c:pt>
                <c:pt idx="2268">
                  <c:v>21.375</c:v>
                </c:pt>
                <c:pt idx="2269">
                  <c:v>21.384</c:v>
                </c:pt>
                <c:pt idx="2270">
                  <c:v>21.393</c:v>
                </c:pt>
                <c:pt idx="2271">
                  <c:v>21.402</c:v>
                </c:pt>
                <c:pt idx="2272">
                  <c:v>21.411</c:v>
                </c:pt>
                <c:pt idx="2273">
                  <c:v>21.42</c:v>
                </c:pt>
                <c:pt idx="2274">
                  <c:v>21.429</c:v>
                </c:pt>
                <c:pt idx="2275">
                  <c:v>21.438</c:v>
                </c:pt>
                <c:pt idx="2276">
                  <c:v>21.447</c:v>
                </c:pt>
                <c:pt idx="2277">
                  <c:v>21.456</c:v>
                </c:pt>
                <c:pt idx="2278">
                  <c:v>21.465</c:v>
                </c:pt>
                <c:pt idx="2279">
                  <c:v>21.474</c:v>
                </c:pt>
                <c:pt idx="2280">
                  <c:v>21.483</c:v>
                </c:pt>
                <c:pt idx="2281">
                  <c:v>21.492</c:v>
                </c:pt>
                <c:pt idx="2282">
                  <c:v>21.502</c:v>
                </c:pt>
                <c:pt idx="2283">
                  <c:v>21.511</c:v>
                </c:pt>
                <c:pt idx="2284">
                  <c:v>21.52</c:v>
                </c:pt>
                <c:pt idx="2285">
                  <c:v>21.529</c:v>
                </c:pt>
                <c:pt idx="2286">
                  <c:v>21.539</c:v>
                </c:pt>
                <c:pt idx="2287">
                  <c:v>21.548</c:v>
                </c:pt>
                <c:pt idx="2288">
                  <c:v>21.557</c:v>
                </c:pt>
                <c:pt idx="2289">
                  <c:v>21.566</c:v>
                </c:pt>
                <c:pt idx="2290">
                  <c:v>21.575</c:v>
                </c:pt>
                <c:pt idx="2291">
                  <c:v>21.584</c:v>
                </c:pt>
                <c:pt idx="2292">
                  <c:v>21.593</c:v>
                </c:pt>
                <c:pt idx="2293">
                  <c:v>21.602</c:v>
                </c:pt>
                <c:pt idx="2294">
                  <c:v>21.612</c:v>
                </c:pt>
                <c:pt idx="2295">
                  <c:v>21.621</c:v>
                </c:pt>
                <c:pt idx="2296">
                  <c:v>21.63</c:v>
                </c:pt>
                <c:pt idx="2297">
                  <c:v>21.639</c:v>
                </c:pt>
                <c:pt idx="2298">
                  <c:v>21.648</c:v>
                </c:pt>
                <c:pt idx="2299">
                  <c:v>21.659</c:v>
                </c:pt>
                <c:pt idx="2300">
                  <c:v>21.671</c:v>
                </c:pt>
                <c:pt idx="2301">
                  <c:v>21.682</c:v>
                </c:pt>
                <c:pt idx="2302">
                  <c:v>21.692</c:v>
                </c:pt>
                <c:pt idx="2303">
                  <c:v>21.701</c:v>
                </c:pt>
                <c:pt idx="2304">
                  <c:v>21.71</c:v>
                </c:pt>
                <c:pt idx="2305">
                  <c:v>21.719</c:v>
                </c:pt>
                <c:pt idx="2306">
                  <c:v>21.728</c:v>
                </c:pt>
                <c:pt idx="2307">
                  <c:v>21.737</c:v>
                </c:pt>
                <c:pt idx="2308">
                  <c:v>21.746</c:v>
                </c:pt>
                <c:pt idx="2309">
                  <c:v>21.755</c:v>
                </c:pt>
                <c:pt idx="2310">
                  <c:v>21.764</c:v>
                </c:pt>
                <c:pt idx="2311">
                  <c:v>21.773</c:v>
                </c:pt>
                <c:pt idx="2312">
                  <c:v>21.782</c:v>
                </c:pt>
                <c:pt idx="2313">
                  <c:v>21.791</c:v>
                </c:pt>
                <c:pt idx="2314">
                  <c:v>21.8</c:v>
                </c:pt>
                <c:pt idx="2315">
                  <c:v>21.809</c:v>
                </c:pt>
                <c:pt idx="2316">
                  <c:v>21.818</c:v>
                </c:pt>
                <c:pt idx="2317">
                  <c:v>21.827</c:v>
                </c:pt>
                <c:pt idx="2318">
                  <c:v>21.836</c:v>
                </c:pt>
                <c:pt idx="2319">
                  <c:v>21.845</c:v>
                </c:pt>
                <c:pt idx="2320">
                  <c:v>21.854</c:v>
                </c:pt>
                <c:pt idx="2321">
                  <c:v>21.863</c:v>
                </c:pt>
                <c:pt idx="2322">
                  <c:v>21.873</c:v>
                </c:pt>
                <c:pt idx="2323">
                  <c:v>21.882</c:v>
                </c:pt>
                <c:pt idx="2324">
                  <c:v>21.891</c:v>
                </c:pt>
                <c:pt idx="2325">
                  <c:v>21.9</c:v>
                </c:pt>
                <c:pt idx="2326">
                  <c:v>21.909</c:v>
                </c:pt>
                <c:pt idx="2327">
                  <c:v>21.918</c:v>
                </c:pt>
                <c:pt idx="2328">
                  <c:v>21.927</c:v>
                </c:pt>
                <c:pt idx="2329">
                  <c:v>21.936</c:v>
                </c:pt>
                <c:pt idx="2330">
                  <c:v>21.945</c:v>
                </c:pt>
                <c:pt idx="2331">
                  <c:v>21.954</c:v>
                </c:pt>
                <c:pt idx="2332">
                  <c:v>21.963</c:v>
                </c:pt>
                <c:pt idx="2333">
                  <c:v>21.972</c:v>
                </c:pt>
                <c:pt idx="2334">
                  <c:v>21.981</c:v>
                </c:pt>
                <c:pt idx="2335">
                  <c:v>21.99</c:v>
                </c:pt>
                <c:pt idx="2336">
                  <c:v>21.999</c:v>
                </c:pt>
                <c:pt idx="2337">
                  <c:v>22.008</c:v>
                </c:pt>
                <c:pt idx="2338">
                  <c:v>22.018</c:v>
                </c:pt>
                <c:pt idx="2339">
                  <c:v>22.027</c:v>
                </c:pt>
                <c:pt idx="2340">
                  <c:v>22.036</c:v>
                </c:pt>
                <c:pt idx="2341">
                  <c:v>22.045</c:v>
                </c:pt>
                <c:pt idx="2342">
                  <c:v>22.054</c:v>
                </c:pt>
                <c:pt idx="2343">
                  <c:v>22.063</c:v>
                </c:pt>
                <c:pt idx="2344">
                  <c:v>22.072</c:v>
                </c:pt>
                <c:pt idx="2345">
                  <c:v>22.081</c:v>
                </c:pt>
                <c:pt idx="2346">
                  <c:v>22.091</c:v>
                </c:pt>
                <c:pt idx="2347">
                  <c:v>22.1</c:v>
                </c:pt>
                <c:pt idx="2348">
                  <c:v>22.109</c:v>
                </c:pt>
                <c:pt idx="2349">
                  <c:v>22.118</c:v>
                </c:pt>
                <c:pt idx="2350">
                  <c:v>22.127</c:v>
                </c:pt>
                <c:pt idx="2351">
                  <c:v>22.136</c:v>
                </c:pt>
                <c:pt idx="2352">
                  <c:v>22.145</c:v>
                </c:pt>
                <c:pt idx="2353">
                  <c:v>22.154</c:v>
                </c:pt>
                <c:pt idx="2354">
                  <c:v>22.167</c:v>
                </c:pt>
                <c:pt idx="2355">
                  <c:v>22.176</c:v>
                </c:pt>
                <c:pt idx="2356">
                  <c:v>22.185</c:v>
                </c:pt>
                <c:pt idx="2357">
                  <c:v>22.194</c:v>
                </c:pt>
                <c:pt idx="2358">
                  <c:v>22.203</c:v>
                </c:pt>
                <c:pt idx="2359">
                  <c:v>22.212</c:v>
                </c:pt>
                <c:pt idx="2360">
                  <c:v>22.221</c:v>
                </c:pt>
                <c:pt idx="2361">
                  <c:v>22.23</c:v>
                </c:pt>
                <c:pt idx="2362">
                  <c:v>22.239</c:v>
                </c:pt>
                <c:pt idx="2363">
                  <c:v>22.248</c:v>
                </c:pt>
                <c:pt idx="2364">
                  <c:v>22.257</c:v>
                </c:pt>
                <c:pt idx="2365">
                  <c:v>22.266</c:v>
                </c:pt>
                <c:pt idx="2366">
                  <c:v>22.275</c:v>
                </c:pt>
                <c:pt idx="2367">
                  <c:v>22.285</c:v>
                </c:pt>
                <c:pt idx="2368">
                  <c:v>22.294</c:v>
                </c:pt>
                <c:pt idx="2369">
                  <c:v>22.303</c:v>
                </c:pt>
                <c:pt idx="2370">
                  <c:v>22.312</c:v>
                </c:pt>
                <c:pt idx="2371">
                  <c:v>22.321</c:v>
                </c:pt>
                <c:pt idx="2372">
                  <c:v>22.33</c:v>
                </c:pt>
                <c:pt idx="2373">
                  <c:v>22.339</c:v>
                </c:pt>
                <c:pt idx="2374">
                  <c:v>22.348</c:v>
                </c:pt>
                <c:pt idx="2375">
                  <c:v>22.357</c:v>
                </c:pt>
                <c:pt idx="2376">
                  <c:v>22.366</c:v>
                </c:pt>
                <c:pt idx="2377">
                  <c:v>22.375</c:v>
                </c:pt>
                <c:pt idx="2378">
                  <c:v>22.384</c:v>
                </c:pt>
                <c:pt idx="2379">
                  <c:v>22.393</c:v>
                </c:pt>
                <c:pt idx="2380">
                  <c:v>22.402</c:v>
                </c:pt>
                <c:pt idx="2381">
                  <c:v>22.411</c:v>
                </c:pt>
                <c:pt idx="2382">
                  <c:v>22.42</c:v>
                </c:pt>
                <c:pt idx="2383">
                  <c:v>22.43</c:v>
                </c:pt>
                <c:pt idx="2384">
                  <c:v>22.439</c:v>
                </c:pt>
                <c:pt idx="2385">
                  <c:v>22.448</c:v>
                </c:pt>
                <c:pt idx="2386">
                  <c:v>22.457</c:v>
                </c:pt>
                <c:pt idx="2387">
                  <c:v>22.466</c:v>
                </c:pt>
                <c:pt idx="2388">
                  <c:v>22.475</c:v>
                </c:pt>
                <c:pt idx="2389">
                  <c:v>22.484</c:v>
                </c:pt>
                <c:pt idx="2390">
                  <c:v>22.493</c:v>
                </c:pt>
                <c:pt idx="2391">
                  <c:v>22.503</c:v>
                </c:pt>
                <c:pt idx="2392">
                  <c:v>22.512</c:v>
                </c:pt>
                <c:pt idx="2393">
                  <c:v>22.521</c:v>
                </c:pt>
                <c:pt idx="2394">
                  <c:v>22.53</c:v>
                </c:pt>
                <c:pt idx="2395">
                  <c:v>22.539</c:v>
                </c:pt>
                <c:pt idx="2396">
                  <c:v>22.548</c:v>
                </c:pt>
                <c:pt idx="2397">
                  <c:v>22.557</c:v>
                </c:pt>
                <c:pt idx="2398">
                  <c:v>22.566</c:v>
                </c:pt>
                <c:pt idx="2399">
                  <c:v>22.575</c:v>
                </c:pt>
                <c:pt idx="2400">
                  <c:v>22.584</c:v>
                </c:pt>
                <c:pt idx="2401">
                  <c:v>22.593</c:v>
                </c:pt>
                <c:pt idx="2402">
                  <c:v>22.602</c:v>
                </c:pt>
                <c:pt idx="2403">
                  <c:v>22.611</c:v>
                </c:pt>
                <c:pt idx="2404">
                  <c:v>22.62</c:v>
                </c:pt>
                <c:pt idx="2405">
                  <c:v>22.629</c:v>
                </c:pt>
                <c:pt idx="2406">
                  <c:v>22.638</c:v>
                </c:pt>
                <c:pt idx="2407">
                  <c:v>22.647</c:v>
                </c:pt>
                <c:pt idx="2408">
                  <c:v>22.656</c:v>
                </c:pt>
                <c:pt idx="2409">
                  <c:v>22.671</c:v>
                </c:pt>
                <c:pt idx="2410">
                  <c:v>22.681</c:v>
                </c:pt>
                <c:pt idx="2411">
                  <c:v>22.69</c:v>
                </c:pt>
                <c:pt idx="2412">
                  <c:v>22.699</c:v>
                </c:pt>
                <c:pt idx="2413">
                  <c:v>22.708</c:v>
                </c:pt>
                <c:pt idx="2414">
                  <c:v>22.717</c:v>
                </c:pt>
                <c:pt idx="2415">
                  <c:v>22.727</c:v>
                </c:pt>
                <c:pt idx="2416">
                  <c:v>22.736</c:v>
                </c:pt>
                <c:pt idx="2417">
                  <c:v>22.745</c:v>
                </c:pt>
                <c:pt idx="2418">
                  <c:v>22.754</c:v>
                </c:pt>
                <c:pt idx="2419">
                  <c:v>22.763</c:v>
                </c:pt>
                <c:pt idx="2420">
                  <c:v>22.772</c:v>
                </c:pt>
                <c:pt idx="2421">
                  <c:v>22.781</c:v>
                </c:pt>
                <c:pt idx="2422">
                  <c:v>22.79</c:v>
                </c:pt>
                <c:pt idx="2423">
                  <c:v>22.799</c:v>
                </c:pt>
                <c:pt idx="2424">
                  <c:v>22.808</c:v>
                </c:pt>
                <c:pt idx="2425">
                  <c:v>22.817</c:v>
                </c:pt>
                <c:pt idx="2426">
                  <c:v>22.826</c:v>
                </c:pt>
                <c:pt idx="2427">
                  <c:v>22.835</c:v>
                </c:pt>
                <c:pt idx="2428">
                  <c:v>22.844</c:v>
                </c:pt>
                <c:pt idx="2429">
                  <c:v>22.853</c:v>
                </c:pt>
                <c:pt idx="2430">
                  <c:v>22.862</c:v>
                </c:pt>
                <c:pt idx="2431">
                  <c:v>22.872</c:v>
                </c:pt>
                <c:pt idx="2432">
                  <c:v>22.881</c:v>
                </c:pt>
                <c:pt idx="2433">
                  <c:v>22.89</c:v>
                </c:pt>
                <c:pt idx="2434">
                  <c:v>22.899</c:v>
                </c:pt>
                <c:pt idx="2435">
                  <c:v>22.908</c:v>
                </c:pt>
                <c:pt idx="2436">
                  <c:v>22.917</c:v>
                </c:pt>
                <c:pt idx="2437">
                  <c:v>22.926</c:v>
                </c:pt>
                <c:pt idx="2438">
                  <c:v>22.935</c:v>
                </c:pt>
                <c:pt idx="2439">
                  <c:v>22.944</c:v>
                </c:pt>
                <c:pt idx="2440">
                  <c:v>22.953</c:v>
                </c:pt>
                <c:pt idx="2441">
                  <c:v>22.962</c:v>
                </c:pt>
                <c:pt idx="2442">
                  <c:v>22.971</c:v>
                </c:pt>
                <c:pt idx="2443">
                  <c:v>22.98</c:v>
                </c:pt>
                <c:pt idx="2444">
                  <c:v>22.989</c:v>
                </c:pt>
                <c:pt idx="2445">
                  <c:v>22.998</c:v>
                </c:pt>
                <c:pt idx="2446">
                  <c:v>23.007</c:v>
                </c:pt>
                <c:pt idx="2447">
                  <c:v>23.017</c:v>
                </c:pt>
                <c:pt idx="2448">
                  <c:v>23.026</c:v>
                </c:pt>
                <c:pt idx="2449">
                  <c:v>23.035</c:v>
                </c:pt>
                <c:pt idx="2450">
                  <c:v>23.044</c:v>
                </c:pt>
                <c:pt idx="2451">
                  <c:v>23.053</c:v>
                </c:pt>
                <c:pt idx="2452">
                  <c:v>23.062</c:v>
                </c:pt>
                <c:pt idx="2453">
                  <c:v>23.071</c:v>
                </c:pt>
                <c:pt idx="2454">
                  <c:v>23.08</c:v>
                </c:pt>
                <c:pt idx="2455">
                  <c:v>23.089</c:v>
                </c:pt>
                <c:pt idx="2456">
                  <c:v>23.098</c:v>
                </c:pt>
                <c:pt idx="2457">
                  <c:v>23.107</c:v>
                </c:pt>
                <c:pt idx="2458">
                  <c:v>23.116</c:v>
                </c:pt>
                <c:pt idx="2459">
                  <c:v>23.125</c:v>
                </c:pt>
                <c:pt idx="2460">
                  <c:v>23.134</c:v>
                </c:pt>
                <c:pt idx="2461">
                  <c:v>23.143</c:v>
                </c:pt>
                <c:pt idx="2462">
                  <c:v>23.152</c:v>
                </c:pt>
                <c:pt idx="2463">
                  <c:v>23.161</c:v>
                </c:pt>
                <c:pt idx="2464">
                  <c:v>23.175</c:v>
                </c:pt>
                <c:pt idx="2465">
                  <c:v>23.185</c:v>
                </c:pt>
                <c:pt idx="2466">
                  <c:v>23.196</c:v>
                </c:pt>
                <c:pt idx="2467">
                  <c:v>23.205</c:v>
                </c:pt>
                <c:pt idx="2468">
                  <c:v>23.214</c:v>
                </c:pt>
                <c:pt idx="2469">
                  <c:v>23.223</c:v>
                </c:pt>
                <c:pt idx="2470">
                  <c:v>23.232</c:v>
                </c:pt>
                <c:pt idx="2471">
                  <c:v>23.241</c:v>
                </c:pt>
                <c:pt idx="2472">
                  <c:v>23.25</c:v>
                </c:pt>
                <c:pt idx="2473">
                  <c:v>23.259</c:v>
                </c:pt>
                <c:pt idx="2474">
                  <c:v>23.268</c:v>
                </c:pt>
                <c:pt idx="2475">
                  <c:v>23.277</c:v>
                </c:pt>
                <c:pt idx="2476">
                  <c:v>23.286</c:v>
                </c:pt>
                <c:pt idx="2477">
                  <c:v>23.295</c:v>
                </c:pt>
                <c:pt idx="2478">
                  <c:v>23.304</c:v>
                </c:pt>
                <c:pt idx="2479">
                  <c:v>23.313</c:v>
                </c:pt>
                <c:pt idx="2480">
                  <c:v>23.323</c:v>
                </c:pt>
                <c:pt idx="2481">
                  <c:v>23.332</c:v>
                </c:pt>
                <c:pt idx="2482">
                  <c:v>23.341</c:v>
                </c:pt>
                <c:pt idx="2483">
                  <c:v>23.35</c:v>
                </c:pt>
                <c:pt idx="2484">
                  <c:v>23.359</c:v>
                </c:pt>
                <c:pt idx="2485">
                  <c:v>23.368</c:v>
                </c:pt>
                <c:pt idx="2486">
                  <c:v>23.377</c:v>
                </c:pt>
                <c:pt idx="2487">
                  <c:v>23.386</c:v>
                </c:pt>
                <c:pt idx="2488">
                  <c:v>23.395</c:v>
                </c:pt>
                <c:pt idx="2489">
                  <c:v>23.404</c:v>
                </c:pt>
                <c:pt idx="2490">
                  <c:v>23.413</c:v>
                </c:pt>
                <c:pt idx="2491">
                  <c:v>23.422</c:v>
                </c:pt>
                <c:pt idx="2492">
                  <c:v>23.431</c:v>
                </c:pt>
                <c:pt idx="2493">
                  <c:v>23.44</c:v>
                </c:pt>
                <c:pt idx="2494">
                  <c:v>23.449</c:v>
                </c:pt>
                <c:pt idx="2495">
                  <c:v>23.458</c:v>
                </c:pt>
                <c:pt idx="2496">
                  <c:v>23.468</c:v>
                </c:pt>
                <c:pt idx="2497">
                  <c:v>23.477</c:v>
                </c:pt>
                <c:pt idx="2498">
                  <c:v>23.486</c:v>
                </c:pt>
                <c:pt idx="2499">
                  <c:v>23.495</c:v>
                </c:pt>
                <c:pt idx="2500">
                  <c:v>23.504</c:v>
                </c:pt>
                <c:pt idx="2501">
                  <c:v>23.514</c:v>
                </c:pt>
                <c:pt idx="2502">
                  <c:v>23.524</c:v>
                </c:pt>
                <c:pt idx="2503">
                  <c:v>23.533</c:v>
                </c:pt>
                <c:pt idx="2504">
                  <c:v>23.542</c:v>
                </c:pt>
                <c:pt idx="2505">
                  <c:v>23.551</c:v>
                </c:pt>
                <c:pt idx="2506">
                  <c:v>23.56</c:v>
                </c:pt>
                <c:pt idx="2507">
                  <c:v>23.569</c:v>
                </c:pt>
                <c:pt idx="2508">
                  <c:v>23.578</c:v>
                </c:pt>
                <c:pt idx="2509">
                  <c:v>23.587</c:v>
                </c:pt>
                <c:pt idx="2510">
                  <c:v>23.596</c:v>
                </c:pt>
                <c:pt idx="2511">
                  <c:v>23.605</c:v>
                </c:pt>
                <c:pt idx="2512">
                  <c:v>23.614</c:v>
                </c:pt>
                <c:pt idx="2513">
                  <c:v>23.623</c:v>
                </c:pt>
                <c:pt idx="2514">
                  <c:v>23.633</c:v>
                </c:pt>
                <c:pt idx="2515">
                  <c:v>23.642</c:v>
                </c:pt>
                <c:pt idx="2516">
                  <c:v>23.651</c:v>
                </c:pt>
                <c:pt idx="2517">
                  <c:v>23.66</c:v>
                </c:pt>
                <c:pt idx="2518">
                  <c:v>23.669</c:v>
                </c:pt>
                <c:pt idx="2519">
                  <c:v>23.678</c:v>
                </c:pt>
                <c:pt idx="2520">
                  <c:v>23.687</c:v>
                </c:pt>
                <c:pt idx="2521">
                  <c:v>23.696</c:v>
                </c:pt>
                <c:pt idx="2522">
                  <c:v>23.705</c:v>
                </c:pt>
                <c:pt idx="2523">
                  <c:v>23.714</c:v>
                </c:pt>
                <c:pt idx="2524">
                  <c:v>23.723</c:v>
                </c:pt>
                <c:pt idx="2525">
                  <c:v>23.732</c:v>
                </c:pt>
                <c:pt idx="2526">
                  <c:v>23.741</c:v>
                </c:pt>
                <c:pt idx="2527">
                  <c:v>23.75</c:v>
                </c:pt>
                <c:pt idx="2528">
                  <c:v>23.759</c:v>
                </c:pt>
                <c:pt idx="2529">
                  <c:v>23.768</c:v>
                </c:pt>
                <c:pt idx="2530">
                  <c:v>23.777</c:v>
                </c:pt>
                <c:pt idx="2531">
                  <c:v>23.786</c:v>
                </c:pt>
                <c:pt idx="2532">
                  <c:v>23.795</c:v>
                </c:pt>
                <c:pt idx="2533">
                  <c:v>23.804</c:v>
                </c:pt>
                <c:pt idx="2534">
                  <c:v>23.813</c:v>
                </c:pt>
                <c:pt idx="2535">
                  <c:v>23.823</c:v>
                </c:pt>
                <c:pt idx="2536">
                  <c:v>23.832</c:v>
                </c:pt>
                <c:pt idx="2537">
                  <c:v>23.841</c:v>
                </c:pt>
                <c:pt idx="2538">
                  <c:v>23.851</c:v>
                </c:pt>
                <c:pt idx="2539">
                  <c:v>23.86</c:v>
                </c:pt>
                <c:pt idx="2540">
                  <c:v>23.869</c:v>
                </c:pt>
                <c:pt idx="2541">
                  <c:v>23.879</c:v>
                </c:pt>
                <c:pt idx="2542">
                  <c:v>23.888</c:v>
                </c:pt>
                <c:pt idx="2543">
                  <c:v>23.897</c:v>
                </c:pt>
                <c:pt idx="2544">
                  <c:v>23.906</c:v>
                </c:pt>
                <c:pt idx="2545">
                  <c:v>23.915</c:v>
                </c:pt>
                <c:pt idx="2546">
                  <c:v>23.924</c:v>
                </c:pt>
                <c:pt idx="2547">
                  <c:v>23.933</c:v>
                </c:pt>
                <c:pt idx="2548">
                  <c:v>23.942</c:v>
                </c:pt>
                <c:pt idx="2549">
                  <c:v>23.951</c:v>
                </c:pt>
                <c:pt idx="2550">
                  <c:v>23.96</c:v>
                </c:pt>
                <c:pt idx="2551">
                  <c:v>23.969</c:v>
                </c:pt>
                <c:pt idx="2552">
                  <c:v>23.978</c:v>
                </c:pt>
                <c:pt idx="2553">
                  <c:v>23.987</c:v>
                </c:pt>
                <c:pt idx="2554">
                  <c:v>23.996</c:v>
                </c:pt>
                <c:pt idx="2555">
                  <c:v>24.005</c:v>
                </c:pt>
                <c:pt idx="2556">
                  <c:v>24.014</c:v>
                </c:pt>
                <c:pt idx="2557">
                  <c:v>24.023</c:v>
                </c:pt>
                <c:pt idx="2558">
                  <c:v>24.032</c:v>
                </c:pt>
                <c:pt idx="2559">
                  <c:v>24.041</c:v>
                </c:pt>
                <c:pt idx="2560">
                  <c:v>24.05</c:v>
                </c:pt>
                <c:pt idx="2561">
                  <c:v>24.059</c:v>
                </c:pt>
                <c:pt idx="2562">
                  <c:v>24.069</c:v>
                </c:pt>
                <c:pt idx="2563">
                  <c:v>24.078</c:v>
                </c:pt>
                <c:pt idx="2564">
                  <c:v>24.087</c:v>
                </c:pt>
                <c:pt idx="2565">
                  <c:v>24.096</c:v>
                </c:pt>
                <c:pt idx="2566">
                  <c:v>24.105</c:v>
                </c:pt>
                <c:pt idx="2567">
                  <c:v>24.115</c:v>
                </c:pt>
                <c:pt idx="2568">
                  <c:v>24.124</c:v>
                </c:pt>
                <c:pt idx="2569">
                  <c:v>24.133</c:v>
                </c:pt>
                <c:pt idx="2570">
                  <c:v>24.142</c:v>
                </c:pt>
                <c:pt idx="2571">
                  <c:v>24.151</c:v>
                </c:pt>
                <c:pt idx="2572">
                  <c:v>24.16</c:v>
                </c:pt>
                <c:pt idx="2573">
                  <c:v>24.17</c:v>
                </c:pt>
                <c:pt idx="2574">
                  <c:v>24.182</c:v>
                </c:pt>
                <c:pt idx="2575">
                  <c:v>24.192</c:v>
                </c:pt>
                <c:pt idx="2576">
                  <c:v>24.201</c:v>
                </c:pt>
                <c:pt idx="2577">
                  <c:v>24.211</c:v>
                </c:pt>
                <c:pt idx="2578">
                  <c:v>24.22</c:v>
                </c:pt>
                <c:pt idx="2579">
                  <c:v>24.229</c:v>
                </c:pt>
                <c:pt idx="2580">
                  <c:v>24.238</c:v>
                </c:pt>
                <c:pt idx="2581">
                  <c:v>24.247</c:v>
                </c:pt>
                <c:pt idx="2582">
                  <c:v>24.256</c:v>
                </c:pt>
                <c:pt idx="2583">
                  <c:v>24.265</c:v>
                </c:pt>
                <c:pt idx="2584">
                  <c:v>24.274</c:v>
                </c:pt>
                <c:pt idx="2585">
                  <c:v>24.283</c:v>
                </c:pt>
                <c:pt idx="2586">
                  <c:v>24.292</c:v>
                </c:pt>
                <c:pt idx="2587">
                  <c:v>24.301</c:v>
                </c:pt>
                <c:pt idx="2588">
                  <c:v>24.31</c:v>
                </c:pt>
                <c:pt idx="2589">
                  <c:v>24.319</c:v>
                </c:pt>
                <c:pt idx="2590">
                  <c:v>24.328</c:v>
                </c:pt>
                <c:pt idx="2591">
                  <c:v>24.337</c:v>
                </c:pt>
                <c:pt idx="2592">
                  <c:v>24.346</c:v>
                </c:pt>
                <c:pt idx="2593">
                  <c:v>24.355</c:v>
                </c:pt>
                <c:pt idx="2594">
                  <c:v>24.364</c:v>
                </c:pt>
                <c:pt idx="2595">
                  <c:v>24.373</c:v>
                </c:pt>
                <c:pt idx="2596">
                  <c:v>24.382</c:v>
                </c:pt>
                <c:pt idx="2597">
                  <c:v>24.392</c:v>
                </c:pt>
                <c:pt idx="2598">
                  <c:v>24.401</c:v>
                </c:pt>
                <c:pt idx="2599">
                  <c:v>24.41</c:v>
                </c:pt>
                <c:pt idx="2600">
                  <c:v>24.419</c:v>
                </c:pt>
                <c:pt idx="2601">
                  <c:v>24.428</c:v>
                </c:pt>
                <c:pt idx="2602">
                  <c:v>24.437</c:v>
                </c:pt>
                <c:pt idx="2603">
                  <c:v>24.446</c:v>
                </c:pt>
                <c:pt idx="2604">
                  <c:v>24.455</c:v>
                </c:pt>
                <c:pt idx="2605">
                  <c:v>24.464</c:v>
                </c:pt>
                <c:pt idx="2606">
                  <c:v>24.473</c:v>
                </c:pt>
                <c:pt idx="2607">
                  <c:v>24.482</c:v>
                </c:pt>
                <c:pt idx="2608">
                  <c:v>24.491</c:v>
                </c:pt>
                <c:pt idx="2609">
                  <c:v>24.5</c:v>
                </c:pt>
                <c:pt idx="2610">
                  <c:v>24.509</c:v>
                </c:pt>
                <c:pt idx="2611">
                  <c:v>24.518</c:v>
                </c:pt>
                <c:pt idx="2612">
                  <c:v>24.527</c:v>
                </c:pt>
                <c:pt idx="2613">
                  <c:v>24.537</c:v>
                </c:pt>
                <c:pt idx="2614">
                  <c:v>24.547</c:v>
                </c:pt>
                <c:pt idx="2615">
                  <c:v>24.556</c:v>
                </c:pt>
                <c:pt idx="2616">
                  <c:v>24.565</c:v>
                </c:pt>
                <c:pt idx="2617">
                  <c:v>24.574</c:v>
                </c:pt>
                <c:pt idx="2618">
                  <c:v>24.583</c:v>
                </c:pt>
                <c:pt idx="2619">
                  <c:v>24.592</c:v>
                </c:pt>
                <c:pt idx="2620">
                  <c:v>24.601</c:v>
                </c:pt>
                <c:pt idx="2621">
                  <c:v>24.61</c:v>
                </c:pt>
                <c:pt idx="2622">
                  <c:v>24.619</c:v>
                </c:pt>
                <c:pt idx="2623">
                  <c:v>24.628</c:v>
                </c:pt>
                <c:pt idx="2624">
                  <c:v>24.637</c:v>
                </c:pt>
                <c:pt idx="2625">
                  <c:v>24.646</c:v>
                </c:pt>
                <c:pt idx="2626">
                  <c:v>24.655</c:v>
                </c:pt>
                <c:pt idx="2627">
                  <c:v>24.664</c:v>
                </c:pt>
                <c:pt idx="2628">
                  <c:v>24.675</c:v>
                </c:pt>
                <c:pt idx="2629">
                  <c:v>24.688</c:v>
                </c:pt>
                <c:pt idx="2630">
                  <c:v>24.699</c:v>
                </c:pt>
                <c:pt idx="2631">
                  <c:v>24.708</c:v>
                </c:pt>
                <c:pt idx="2632">
                  <c:v>24.717</c:v>
                </c:pt>
                <c:pt idx="2633">
                  <c:v>24.726</c:v>
                </c:pt>
                <c:pt idx="2634">
                  <c:v>24.735</c:v>
                </c:pt>
                <c:pt idx="2635">
                  <c:v>24.744</c:v>
                </c:pt>
                <c:pt idx="2636">
                  <c:v>24.754</c:v>
                </c:pt>
                <c:pt idx="2637">
                  <c:v>24.764</c:v>
                </c:pt>
                <c:pt idx="2638">
                  <c:v>24.773</c:v>
                </c:pt>
                <c:pt idx="2639">
                  <c:v>24.782</c:v>
                </c:pt>
                <c:pt idx="2640">
                  <c:v>24.791</c:v>
                </c:pt>
                <c:pt idx="2641">
                  <c:v>24.8</c:v>
                </c:pt>
                <c:pt idx="2642">
                  <c:v>24.809</c:v>
                </c:pt>
                <c:pt idx="2643">
                  <c:v>24.818</c:v>
                </c:pt>
                <c:pt idx="2644">
                  <c:v>24.827</c:v>
                </c:pt>
                <c:pt idx="2645">
                  <c:v>24.836</c:v>
                </c:pt>
                <c:pt idx="2646">
                  <c:v>24.845</c:v>
                </c:pt>
                <c:pt idx="2647">
                  <c:v>24.854</c:v>
                </c:pt>
                <c:pt idx="2648">
                  <c:v>24.863</c:v>
                </c:pt>
                <c:pt idx="2649">
                  <c:v>24.872</c:v>
                </c:pt>
                <c:pt idx="2650">
                  <c:v>24.881</c:v>
                </c:pt>
                <c:pt idx="2651">
                  <c:v>24.89</c:v>
                </c:pt>
                <c:pt idx="2652">
                  <c:v>24.9</c:v>
                </c:pt>
                <c:pt idx="2653">
                  <c:v>24.909</c:v>
                </c:pt>
                <c:pt idx="2654">
                  <c:v>24.918</c:v>
                </c:pt>
                <c:pt idx="2655">
                  <c:v>24.927</c:v>
                </c:pt>
                <c:pt idx="2656">
                  <c:v>24.936</c:v>
                </c:pt>
                <c:pt idx="2657">
                  <c:v>24.945</c:v>
                </c:pt>
                <c:pt idx="2658">
                  <c:v>24.954</c:v>
                </c:pt>
                <c:pt idx="2659">
                  <c:v>24.963</c:v>
                </c:pt>
                <c:pt idx="2660">
                  <c:v>24.972</c:v>
                </c:pt>
                <c:pt idx="2661">
                  <c:v>24.981</c:v>
                </c:pt>
                <c:pt idx="2662">
                  <c:v>24.99</c:v>
                </c:pt>
                <c:pt idx="2663">
                  <c:v>24.999</c:v>
                </c:pt>
                <c:pt idx="2664">
                  <c:v>25.008</c:v>
                </c:pt>
                <c:pt idx="2665">
                  <c:v>25.017</c:v>
                </c:pt>
                <c:pt idx="2666">
                  <c:v>25.026</c:v>
                </c:pt>
                <c:pt idx="2667">
                  <c:v>25.035</c:v>
                </c:pt>
                <c:pt idx="2668">
                  <c:v>25.045</c:v>
                </c:pt>
                <c:pt idx="2669">
                  <c:v>25.054</c:v>
                </c:pt>
                <c:pt idx="2670">
                  <c:v>25.063</c:v>
                </c:pt>
                <c:pt idx="2671">
                  <c:v>25.072</c:v>
                </c:pt>
                <c:pt idx="2672">
                  <c:v>25.081</c:v>
                </c:pt>
                <c:pt idx="2673">
                  <c:v>25.09</c:v>
                </c:pt>
                <c:pt idx="2674">
                  <c:v>25.099</c:v>
                </c:pt>
                <c:pt idx="2675">
                  <c:v>25.109</c:v>
                </c:pt>
                <c:pt idx="2676">
                  <c:v>25.118</c:v>
                </c:pt>
                <c:pt idx="2677">
                  <c:v>25.127</c:v>
                </c:pt>
                <c:pt idx="2678">
                  <c:v>25.136</c:v>
                </c:pt>
                <c:pt idx="2679">
                  <c:v>25.145</c:v>
                </c:pt>
                <c:pt idx="2680">
                  <c:v>25.154</c:v>
                </c:pt>
                <c:pt idx="2681">
                  <c:v>25.163</c:v>
                </c:pt>
                <c:pt idx="2682">
                  <c:v>25.174</c:v>
                </c:pt>
                <c:pt idx="2683">
                  <c:v>25.185</c:v>
                </c:pt>
                <c:pt idx="2684">
                  <c:v>25.195</c:v>
                </c:pt>
                <c:pt idx="2685">
                  <c:v>25.206</c:v>
                </c:pt>
                <c:pt idx="2686">
                  <c:v>25.216</c:v>
                </c:pt>
                <c:pt idx="2687">
                  <c:v>25.226</c:v>
                </c:pt>
                <c:pt idx="2688">
                  <c:v>25.235</c:v>
                </c:pt>
                <c:pt idx="2689">
                  <c:v>25.245</c:v>
                </c:pt>
                <c:pt idx="2690">
                  <c:v>25.254</c:v>
                </c:pt>
                <c:pt idx="2691">
                  <c:v>25.263</c:v>
                </c:pt>
                <c:pt idx="2692">
                  <c:v>25.272</c:v>
                </c:pt>
                <c:pt idx="2693">
                  <c:v>25.281</c:v>
                </c:pt>
                <c:pt idx="2694">
                  <c:v>25.29</c:v>
                </c:pt>
                <c:pt idx="2695">
                  <c:v>25.299</c:v>
                </c:pt>
                <c:pt idx="2696">
                  <c:v>25.308</c:v>
                </c:pt>
                <c:pt idx="2697">
                  <c:v>25.317</c:v>
                </c:pt>
                <c:pt idx="2698">
                  <c:v>25.326</c:v>
                </c:pt>
                <c:pt idx="2699">
                  <c:v>25.335</c:v>
                </c:pt>
                <c:pt idx="2700">
                  <c:v>25.344</c:v>
                </c:pt>
                <c:pt idx="2701">
                  <c:v>25.353</c:v>
                </c:pt>
                <c:pt idx="2702">
                  <c:v>25.372</c:v>
                </c:pt>
                <c:pt idx="2703">
                  <c:v>25.381</c:v>
                </c:pt>
                <c:pt idx="2704">
                  <c:v>25.39</c:v>
                </c:pt>
                <c:pt idx="2705">
                  <c:v>25.399</c:v>
                </c:pt>
                <c:pt idx="2706">
                  <c:v>25.408</c:v>
                </c:pt>
                <c:pt idx="2707">
                  <c:v>25.417</c:v>
                </c:pt>
                <c:pt idx="2708">
                  <c:v>25.426</c:v>
                </c:pt>
                <c:pt idx="2709">
                  <c:v>25.435</c:v>
                </c:pt>
                <c:pt idx="2710">
                  <c:v>25.444</c:v>
                </c:pt>
                <c:pt idx="2711">
                  <c:v>25.453</c:v>
                </c:pt>
                <c:pt idx="2712">
                  <c:v>25.462</c:v>
                </c:pt>
                <c:pt idx="2713">
                  <c:v>25.471</c:v>
                </c:pt>
                <c:pt idx="2714">
                  <c:v>25.48</c:v>
                </c:pt>
                <c:pt idx="2715">
                  <c:v>25.489</c:v>
                </c:pt>
                <c:pt idx="2716">
                  <c:v>25.498</c:v>
                </c:pt>
                <c:pt idx="2717">
                  <c:v>25.507</c:v>
                </c:pt>
                <c:pt idx="2718">
                  <c:v>25.517</c:v>
                </c:pt>
                <c:pt idx="2719">
                  <c:v>25.526</c:v>
                </c:pt>
                <c:pt idx="2720">
                  <c:v>25.535</c:v>
                </c:pt>
                <c:pt idx="2721">
                  <c:v>25.544</c:v>
                </c:pt>
                <c:pt idx="2722">
                  <c:v>25.553</c:v>
                </c:pt>
                <c:pt idx="2723">
                  <c:v>25.562</c:v>
                </c:pt>
                <c:pt idx="2724">
                  <c:v>25.571</c:v>
                </c:pt>
                <c:pt idx="2725">
                  <c:v>25.58</c:v>
                </c:pt>
                <c:pt idx="2726">
                  <c:v>25.589</c:v>
                </c:pt>
                <c:pt idx="2727">
                  <c:v>25.598</c:v>
                </c:pt>
                <c:pt idx="2728">
                  <c:v>25.607</c:v>
                </c:pt>
                <c:pt idx="2729">
                  <c:v>25.616</c:v>
                </c:pt>
                <c:pt idx="2730">
                  <c:v>25.625</c:v>
                </c:pt>
                <c:pt idx="2731">
                  <c:v>25.634</c:v>
                </c:pt>
                <c:pt idx="2732">
                  <c:v>25.643</c:v>
                </c:pt>
                <c:pt idx="2733">
                  <c:v>25.652</c:v>
                </c:pt>
                <c:pt idx="2734">
                  <c:v>25.662</c:v>
                </c:pt>
                <c:pt idx="2735">
                  <c:v>25.671</c:v>
                </c:pt>
                <c:pt idx="2736">
                  <c:v>25.68</c:v>
                </c:pt>
                <c:pt idx="2737">
                  <c:v>25.694</c:v>
                </c:pt>
                <c:pt idx="2738">
                  <c:v>25.705</c:v>
                </c:pt>
                <c:pt idx="2739">
                  <c:v>25.715</c:v>
                </c:pt>
                <c:pt idx="2740">
                  <c:v>25.724</c:v>
                </c:pt>
                <c:pt idx="2741">
                  <c:v>25.734</c:v>
                </c:pt>
                <c:pt idx="2742">
                  <c:v>25.743</c:v>
                </c:pt>
                <c:pt idx="2743">
                  <c:v>25.752</c:v>
                </c:pt>
                <c:pt idx="2744">
                  <c:v>25.761</c:v>
                </c:pt>
                <c:pt idx="2745">
                  <c:v>25.77</c:v>
                </c:pt>
                <c:pt idx="2746">
                  <c:v>25.779</c:v>
                </c:pt>
                <c:pt idx="2747">
                  <c:v>25.788</c:v>
                </c:pt>
                <c:pt idx="2748">
                  <c:v>25.798</c:v>
                </c:pt>
                <c:pt idx="2749">
                  <c:v>25.807</c:v>
                </c:pt>
                <c:pt idx="2750">
                  <c:v>25.816</c:v>
                </c:pt>
                <c:pt idx="2751">
                  <c:v>25.825</c:v>
                </c:pt>
                <c:pt idx="2752">
                  <c:v>25.834</c:v>
                </c:pt>
                <c:pt idx="2753">
                  <c:v>25.843</c:v>
                </c:pt>
                <c:pt idx="2754">
                  <c:v>25.852</c:v>
                </c:pt>
                <c:pt idx="2755">
                  <c:v>25.864</c:v>
                </c:pt>
                <c:pt idx="2756">
                  <c:v>25.874</c:v>
                </c:pt>
                <c:pt idx="2757">
                  <c:v>25.883</c:v>
                </c:pt>
                <c:pt idx="2758">
                  <c:v>25.892</c:v>
                </c:pt>
                <c:pt idx="2759">
                  <c:v>25.901</c:v>
                </c:pt>
                <c:pt idx="2760">
                  <c:v>25.91</c:v>
                </c:pt>
                <c:pt idx="2761">
                  <c:v>25.919</c:v>
                </c:pt>
                <c:pt idx="2762">
                  <c:v>25.928</c:v>
                </c:pt>
                <c:pt idx="2763">
                  <c:v>25.937</c:v>
                </c:pt>
                <c:pt idx="2764">
                  <c:v>25.946</c:v>
                </c:pt>
                <c:pt idx="2765">
                  <c:v>25.956</c:v>
                </c:pt>
                <c:pt idx="2766">
                  <c:v>25.965</c:v>
                </c:pt>
                <c:pt idx="2767">
                  <c:v>25.974</c:v>
                </c:pt>
                <c:pt idx="2768">
                  <c:v>25.984</c:v>
                </c:pt>
                <c:pt idx="2769">
                  <c:v>25.993</c:v>
                </c:pt>
                <c:pt idx="2770">
                  <c:v>26.002</c:v>
                </c:pt>
                <c:pt idx="2771">
                  <c:v>26.011</c:v>
                </c:pt>
                <c:pt idx="2772">
                  <c:v>26.02</c:v>
                </c:pt>
                <c:pt idx="2773">
                  <c:v>26.029</c:v>
                </c:pt>
                <c:pt idx="2774">
                  <c:v>26.038</c:v>
                </c:pt>
                <c:pt idx="2775">
                  <c:v>26.047</c:v>
                </c:pt>
                <c:pt idx="2776">
                  <c:v>26.056</c:v>
                </c:pt>
                <c:pt idx="2777">
                  <c:v>26.065</c:v>
                </c:pt>
                <c:pt idx="2778">
                  <c:v>26.074</c:v>
                </c:pt>
                <c:pt idx="2779">
                  <c:v>26.083</c:v>
                </c:pt>
                <c:pt idx="2780">
                  <c:v>26.092</c:v>
                </c:pt>
                <c:pt idx="2781">
                  <c:v>26.101</c:v>
                </c:pt>
                <c:pt idx="2782">
                  <c:v>26.11</c:v>
                </c:pt>
                <c:pt idx="2783">
                  <c:v>26.119</c:v>
                </c:pt>
                <c:pt idx="2784">
                  <c:v>26.129</c:v>
                </c:pt>
                <c:pt idx="2785">
                  <c:v>26.138</c:v>
                </c:pt>
                <c:pt idx="2786">
                  <c:v>26.147</c:v>
                </c:pt>
                <c:pt idx="2787">
                  <c:v>26.156</c:v>
                </c:pt>
                <c:pt idx="2788">
                  <c:v>26.165</c:v>
                </c:pt>
                <c:pt idx="2789">
                  <c:v>26.174</c:v>
                </c:pt>
                <c:pt idx="2790">
                  <c:v>26.183</c:v>
                </c:pt>
                <c:pt idx="2791">
                  <c:v>26.194</c:v>
                </c:pt>
                <c:pt idx="2792">
                  <c:v>26.203</c:v>
                </c:pt>
                <c:pt idx="2793">
                  <c:v>26.212</c:v>
                </c:pt>
                <c:pt idx="2794">
                  <c:v>26.221</c:v>
                </c:pt>
                <c:pt idx="2795">
                  <c:v>26.23</c:v>
                </c:pt>
                <c:pt idx="2796">
                  <c:v>26.239</c:v>
                </c:pt>
                <c:pt idx="2797">
                  <c:v>26.248</c:v>
                </c:pt>
                <c:pt idx="2798">
                  <c:v>26.257</c:v>
                </c:pt>
                <c:pt idx="2799">
                  <c:v>26.266</c:v>
                </c:pt>
                <c:pt idx="2800">
                  <c:v>26.275</c:v>
                </c:pt>
                <c:pt idx="2801">
                  <c:v>26.284</c:v>
                </c:pt>
                <c:pt idx="2802">
                  <c:v>26.293</c:v>
                </c:pt>
                <c:pt idx="2803">
                  <c:v>26.302</c:v>
                </c:pt>
                <c:pt idx="2804">
                  <c:v>26.311</c:v>
                </c:pt>
                <c:pt idx="2805">
                  <c:v>26.32</c:v>
                </c:pt>
                <c:pt idx="2806">
                  <c:v>26.329</c:v>
                </c:pt>
                <c:pt idx="2807">
                  <c:v>26.339</c:v>
                </c:pt>
                <c:pt idx="2808">
                  <c:v>26.348</c:v>
                </c:pt>
                <c:pt idx="2809">
                  <c:v>26.357</c:v>
                </c:pt>
                <c:pt idx="2810">
                  <c:v>26.366</c:v>
                </c:pt>
                <c:pt idx="2811">
                  <c:v>26.854</c:v>
                </c:pt>
                <c:pt idx="2812">
                  <c:v>26.866</c:v>
                </c:pt>
                <c:pt idx="2813">
                  <c:v>26.878</c:v>
                </c:pt>
                <c:pt idx="2814">
                  <c:v>26.888</c:v>
                </c:pt>
                <c:pt idx="2815">
                  <c:v>26.897</c:v>
                </c:pt>
                <c:pt idx="2816">
                  <c:v>26.906</c:v>
                </c:pt>
                <c:pt idx="2817">
                  <c:v>26.915</c:v>
                </c:pt>
                <c:pt idx="2818">
                  <c:v>26.924</c:v>
                </c:pt>
                <c:pt idx="2819">
                  <c:v>26.933</c:v>
                </c:pt>
                <c:pt idx="2820">
                  <c:v>26.942</c:v>
                </c:pt>
                <c:pt idx="2821">
                  <c:v>26.951</c:v>
                </c:pt>
                <c:pt idx="2822">
                  <c:v>26.96</c:v>
                </c:pt>
                <c:pt idx="2823">
                  <c:v>26.969</c:v>
                </c:pt>
                <c:pt idx="2824">
                  <c:v>26.978</c:v>
                </c:pt>
                <c:pt idx="2825">
                  <c:v>26.987</c:v>
                </c:pt>
                <c:pt idx="2826">
                  <c:v>26.996</c:v>
                </c:pt>
                <c:pt idx="2827">
                  <c:v>27.005</c:v>
                </c:pt>
                <c:pt idx="2828">
                  <c:v>27.014</c:v>
                </c:pt>
                <c:pt idx="2829">
                  <c:v>27.023</c:v>
                </c:pt>
                <c:pt idx="2830">
                  <c:v>27.033</c:v>
                </c:pt>
                <c:pt idx="2831">
                  <c:v>27.042</c:v>
                </c:pt>
                <c:pt idx="2832">
                  <c:v>27.051</c:v>
                </c:pt>
                <c:pt idx="2833">
                  <c:v>27.06</c:v>
                </c:pt>
                <c:pt idx="2834">
                  <c:v>27.069</c:v>
                </c:pt>
                <c:pt idx="2835">
                  <c:v>27.078</c:v>
                </c:pt>
                <c:pt idx="2836">
                  <c:v>27.087</c:v>
                </c:pt>
                <c:pt idx="2837">
                  <c:v>27.096</c:v>
                </c:pt>
                <c:pt idx="2838">
                  <c:v>27.105</c:v>
                </c:pt>
                <c:pt idx="2839">
                  <c:v>27.114</c:v>
                </c:pt>
                <c:pt idx="2840">
                  <c:v>27.123</c:v>
                </c:pt>
                <c:pt idx="2841">
                  <c:v>27.132</c:v>
                </c:pt>
                <c:pt idx="2842">
                  <c:v>27.141</c:v>
                </c:pt>
                <c:pt idx="2843">
                  <c:v>27.15</c:v>
                </c:pt>
                <c:pt idx="2844">
                  <c:v>27.159</c:v>
                </c:pt>
                <c:pt idx="2845">
                  <c:v>27.168</c:v>
                </c:pt>
                <c:pt idx="2846">
                  <c:v>27.178</c:v>
                </c:pt>
                <c:pt idx="2847">
                  <c:v>27.187</c:v>
                </c:pt>
                <c:pt idx="2848">
                  <c:v>27.196</c:v>
                </c:pt>
                <c:pt idx="2849">
                  <c:v>27.205</c:v>
                </c:pt>
                <c:pt idx="2850">
                  <c:v>27.214</c:v>
                </c:pt>
                <c:pt idx="2851">
                  <c:v>27.223</c:v>
                </c:pt>
                <c:pt idx="2852">
                  <c:v>27.232</c:v>
                </c:pt>
                <c:pt idx="2853">
                  <c:v>27.241</c:v>
                </c:pt>
                <c:pt idx="2854">
                  <c:v>27.25</c:v>
                </c:pt>
                <c:pt idx="2855">
                  <c:v>27.259</c:v>
                </c:pt>
                <c:pt idx="2856">
                  <c:v>27.268</c:v>
                </c:pt>
                <c:pt idx="2857">
                  <c:v>27.277</c:v>
                </c:pt>
                <c:pt idx="2858">
                  <c:v>27.287</c:v>
                </c:pt>
                <c:pt idx="2859">
                  <c:v>27.296</c:v>
                </c:pt>
                <c:pt idx="2860">
                  <c:v>27.305</c:v>
                </c:pt>
                <c:pt idx="2861">
                  <c:v>27.314</c:v>
                </c:pt>
                <c:pt idx="2862">
                  <c:v>27.323</c:v>
                </c:pt>
                <c:pt idx="2863">
                  <c:v>27.332</c:v>
                </c:pt>
                <c:pt idx="2864">
                  <c:v>27.341</c:v>
                </c:pt>
                <c:pt idx="2865">
                  <c:v>27.35</c:v>
                </c:pt>
                <c:pt idx="2866">
                  <c:v>27.359</c:v>
                </c:pt>
                <c:pt idx="2867">
                  <c:v>27.368</c:v>
                </c:pt>
                <c:pt idx="2868">
                  <c:v>27.377</c:v>
                </c:pt>
                <c:pt idx="2869">
                  <c:v>27.386</c:v>
                </c:pt>
                <c:pt idx="2870">
                  <c:v>27.395</c:v>
                </c:pt>
                <c:pt idx="2871">
                  <c:v>27.404</c:v>
                </c:pt>
                <c:pt idx="2872">
                  <c:v>27.413</c:v>
                </c:pt>
                <c:pt idx="2873">
                  <c:v>27.422</c:v>
                </c:pt>
                <c:pt idx="2874">
                  <c:v>27.432</c:v>
                </c:pt>
                <c:pt idx="2875">
                  <c:v>27.442</c:v>
                </c:pt>
                <c:pt idx="2876">
                  <c:v>27.451</c:v>
                </c:pt>
                <c:pt idx="2877">
                  <c:v>27.46</c:v>
                </c:pt>
                <c:pt idx="2878">
                  <c:v>27.469</c:v>
                </c:pt>
                <c:pt idx="2879">
                  <c:v>27.478</c:v>
                </c:pt>
                <c:pt idx="2880">
                  <c:v>27.487</c:v>
                </c:pt>
                <c:pt idx="2881">
                  <c:v>27.496</c:v>
                </c:pt>
                <c:pt idx="2882">
                  <c:v>27.505</c:v>
                </c:pt>
                <c:pt idx="2883">
                  <c:v>27.515</c:v>
                </c:pt>
                <c:pt idx="2884">
                  <c:v>27.524</c:v>
                </c:pt>
                <c:pt idx="2885">
                  <c:v>27.533</c:v>
                </c:pt>
                <c:pt idx="2886">
                  <c:v>27.542</c:v>
                </c:pt>
                <c:pt idx="2887">
                  <c:v>27.551</c:v>
                </c:pt>
                <c:pt idx="2888">
                  <c:v>27.56</c:v>
                </c:pt>
                <c:pt idx="2889">
                  <c:v>27.569</c:v>
                </c:pt>
                <c:pt idx="2890">
                  <c:v>27.578</c:v>
                </c:pt>
                <c:pt idx="2891">
                  <c:v>27.587</c:v>
                </c:pt>
                <c:pt idx="2892">
                  <c:v>27.596</c:v>
                </c:pt>
                <c:pt idx="2893">
                  <c:v>27.605</c:v>
                </c:pt>
                <c:pt idx="2894">
                  <c:v>27.614</c:v>
                </c:pt>
                <c:pt idx="2895">
                  <c:v>27.623</c:v>
                </c:pt>
                <c:pt idx="2896">
                  <c:v>27.632</c:v>
                </c:pt>
                <c:pt idx="2897">
                  <c:v>27.641</c:v>
                </c:pt>
                <c:pt idx="2898">
                  <c:v>27.65</c:v>
                </c:pt>
                <c:pt idx="2899">
                  <c:v>27.659</c:v>
                </c:pt>
                <c:pt idx="2900">
                  <c:v>27.668</c:v>
                </c:pt>
                <c:pt idx="2901">
                  <c:v>27.677</c:v>
                </c:pt>
                <c:pt idx="2902">
                  <c:v>27.686</c:v>
                </c:pt>
                <c:pt idx="2903">
                  <c:v>27.695</c:v>
                </c:pt>
                <c:pt idx="2904">
                  <c:v>27.707</c:v>
                </c:pt>
                <c:pt idx="2905">
                  <c:v>27.718</c:v>
                </c:pt>
                <c:pt idx="2906">
                  <c:v>27.728</c:v>
                </c:pt>
                <c:pt idx="2907">
                  <c:v>27.737</c:v>
                </c:pt>
                <c:pt idx="2908">
                  <c:v>27.746</c:v>
                </c:pt>
                <c:pt idx="2909">
                  <c:v>27.755</c:v>
                </c:pt>
                <c:pt idx="2910">
                  <c:v>27.764</c:v>
                </c:pt>
                <c:pt idx="2911">
                  <c:v>27.774</c:v>
                </c:pt>
                <c:pt idx="2912">
                  <c:v>27.783</c:v>
                </c:pt>
                <c:pt idx="2913">
                  <c:v>27.792</c:v>
                </c:pt>
                <c:pt idx="2914">
                  <c:v>27.801</c:v>
                </c:pt>
                <c:pt idx="2915">
                  <c:v>27.81</c:v>
                </c:pt>
                <c:pt idx="2916">
                  <c:v>27.819</c:v>
                </c:pt>
                <c:pt idx="2917">
                  <c:v>27.828</c:v>
                </c:pt>
                <c:pt idx="2918">
                  <c:v>27.837</c:v>
                </c:pt>
                <c:pt idx="2919">
                  <c:v>27.846</c:v>
                </c:pt>
                <c:pt idx="2920">
                  <c:v>27.855</c:v>
                </c:pt>
                <c:pt idx="2921">
                  <c:v>27.864</c:v>
                </c:pt>
                <c:pt idx="2922">
                  <c:v>27.873</c:v>
                </c:pt>
                <c:pt idx="2923">
                  <c:v>27.882</c:v>
                </c:pt>
                <c:pt idx="2924">
                  <c:v>27.891</c:v>
                </c:pt>
                <c:pt idx="2925">
                  <c:v>27.9</c:v>
                </c:pt>
                <c:pt idx="2926">
                  <c:v>27.909</c:v>
                </c:pt>
                <c:pt idx="2927">
                  <c:v>27.918</c:v>
                </c:pt>
                <c:pt idx="2928">
                  <c:v>27.927</c:v>
                </c:pt>
                <c:pt idx="2929">
                  <c:v>27.936</c:v>
                </c:pt>
                <c:pt idx="2930">
                  <c:v>27.945</c:v>
                </c:pt>
                <c:pt idx="2931">
                  <c:v>27.954</c:v>
                </c:pt>
                <c:pt idx="2932">
                  <c:v>27.963</c:v>
                </c:pt>
                <c:pt idx="2933">
                  <c:v>27.973</c:v>
                </c:pt>
                <c:pt idx="2934">
                  <c:v>27.982</c:v>
                </c:pt>
                <c:pt idx="2935">
                  <c:v>27.991</c:v>
                </c:pt>
                <c:pt idx="2936">
                  <c:v>28</c:v>
                </c:pt>
                <c:pt idx="2937">
                  <c:v>28.009</c:v>
                </c:pt>
                <c:pt idx="2938">
                  <c:v>28.018</c:v>
                </c:pt>
                <c:pt idx="2939">
                  <c:v>28.027</c:v>
                </c:pt>
                <c:pt idx="2940">
                  <c:v>28.036</c:v>
                </c:pt>
                <c:pt idx="2941">
                  <c:v>28.045</c:v>
                </c:pt>
                <c:pt idx="2942">
                  <c:v>28.054</c:v>
                </c:pt>
                <c:pt idx="2943">
                  <c:v>28.063</c:v>
                </c:pt>
                <c:pt idx="2944">
                  <c:v>28.072</c:v>
                </c:pt>
                <c:pt idx="2945">
                  <c:v>28.081</c:v>
                </c:pt>
                <c:pt idx="2946">
                  <c:v>28.09</c:v>
                </c:pt>
                <c:pt idx="2947">
                  <c:v>28.099</c:v>
                </c:pt>
                <c:pt idx="2948">
                  <c:v>28.108</c:v>
                </c:pt>
                <c:pt idx="2949">
                  <c:v>28.118</c:v>
                </c:pt>
                <c:pt idx="2950">
                  <c:v>28.127</c:v>
                </c:pt>
                <c:pt idx="2951">
                  <c:v>28.136</c:v>
                </c:pt>
                <c:pt idx="2952">
                  <c:v>28.145</c:v>
                </c:pt>
                <c:pt idx="2953">
                  <c:v>28.154</c:v>
                </c:pt>
                <c:pt idx="2954">
                  <c:v>28.163</c:v>
                </c:pt>
                <c:pt idx="2955">
                  <c:v>28.172</c:v>
                </c:pt>
                <c:pt idx="2956">
                  <c:v>28.181</c:v>
                </c:pt>
                <c:pt idx="2957">
                  <c:v>28.191</c:v>
                </c:pt>
                <c:pt idx="2958">
                  <c:v>28.2</c:v>
                </c:pt>
                <c:pt idx="2959">
                  <c:v>28.209</c:v>
                </c:pt>
                <c:pt idx="2960">
                  <c:v>28.218</c:v>
                </c:pt>
                <c:pt idx="2961">
                  <c:v>28.227</c:v>
                </c:pt>
                <c:pt idx="2962">
                  <c:v>28.236</c:v>
                </c:pt>
                <c:pt idx="2963">
                  <c:v>28.245</c:v>
                </c:pt>
                <c:pt idx="2964">
                  <c:v>28.254</c:v>
                </c:pt>
                <c:pt idx="2965">
                  <c:v>28.263</c:v>
                </c:pt>
                <c:pt idx="2966">
                  <c:v>28.272</c:v>
                </c:pt>
                <c:pt idx="2967">
                  <c:v>28.43</c:v>
                </c:pt>
                <c:pt idx="2968">
                  <c:v>28.439</c:v>
                </c:pt>
                <c:pt idx="2969">
                  <c:v>28.448</c:v>
                </c:pt>
                <c:pt idx="2970">
                  <c:v>28.457</c:v>
                </c:pt>
                <c:pt idx="2971">
                  <c:v>28.466</c:v>
                </c:pt>
                <c:pt idx="2972">
                  <c:v>28.475</c:v>
                </c:pt>
                <c:pt idx="2973">
                  <c:v>28.484</c:v>
                </c:pt>
                <c:pt idx="2974">
                  <c:v>28.493</c:v>
                </c:pt>
                <c:pt idx="2975">
                  <c:v>28.502</c:v>
                </c:pt>
                <c:pt idx="2976">
                  <c:v>28.511</c:v>
                </c:pt>
                <c:pt idx="2977">
                  <c:v>28.52</c:v>
                </c:pt>
                <c:pt idx="2978">
                  <c:v>28.529</c:v>
                </c:pt>
                <c:pt idx="2979">
                  <c:v>28.538</c:v>
                </c:pt>
                <c:pt idx="2980">
                  <c:v>28.547</c:v>
                </c:pt>
                <c:pt idx="2981">
                  <c:v>28.556</c:v>
                </c:pt>
                <c:pt idx="2982">
                  <c:v>28.565</c:v>
                </c:pt>
                <c:pt idx="2983">
                  <c:v>28.574</c:v>
                </c:pt>
                <c:pt idx="2984">
                  <c:v>28.583</c:v>
                </c:pt>
                <c:pt idx="2985">
                  <c:v>28.592</c:v>
                </c:pt>
                <c:pt idx="2986">
                  <c:v>28.602</c:v>
                </c:pt>
                <c:pt idx="2987">
                  <c:v>28.611</c:v>
                </c:pt>
                <c:pt idx="2988">
                  <c:v>28.62</c:v>
                </c:pt>
                <c:pt idx="2989">
                  <c:v>28.629</c:v>
                </c:pt>
                <c:pt idx="2990">
                  <c:v>28.638</c:v>
                </c:pt>
                <c:pt idx="2991">
                  <c:v>28.647</c:v>
                </c:pt>
                <c:pt idx="2992">
                  <c:v>28.656</c:v>
                </c:pt>
                <c:pt idx="2993">
                  <c:v>28.665</c:v>
                </c:pt>
                <c:pt idx="2994">
                  <c:v>28.674</c:v>
                </c:pt>
                <c:pt idx="2995">
                  <c:v>28.683</c:v>
                </c:pt>
                <c:pt idx="2996">
                  <c:v>28.692</c:v>
                </c:pt>
                <c:pt idx="2997">
                  <c:v>28.701</c:v>
                </c:pt>
                <c:pt idx="2998">
                  <c:v>28.712</c:v>
                </c:pt>
                <c:pt idx="2999">
                  <c:v>28.723</c:v>
                </c:pt>
                <c:pt idx="3000">
                  <c:v>28.732</c:v>
                </c:pt>
                <c:pt idx="3001">
                  <c:v>28.741</c:v>
                </c:pt>
                <c:pt idx="3002">
                  <c:v>28.75</c:v>
                </c:pt>
                <c:pt idx="3003">
                  <c:v>28.759</c:v>
                </c:pt>
                <c:pt idx="3004">
                  <c:v>28.768</c:v>
                </c:pt>
                <c:pt idx="3005">
                  <c:v>28.777</c:v>
                </c:pt>
                <c:pt idx="3006">
                  <c:v>28.786</c:v>
                </c:pt>
                <c:pt idx="3007">
                  <c:v>28.795</c:v>
                </c:pt>
                <c:pt idx="3008">
                  <c:v>28.804</c:v>
                </c:pt>
                <c:pt idx="3009">
                  <c:v>28.813</c:v>
                </c:pt>
                <c:pt idx="3010">
                  <c:v>28.822</c:v>
                </c:pt>
                <c:pt idx="3011">
                  <c:v>28.831</c:v>
                </c:pt>
                <c:pt idx="3012">
                  <c:v>28.84</c:v>
                </c:pt>
                <c:pt idx="3013">
                  <c:v>28.849</c:v>
                </c:pt>
                <c:pt idx="3014">
                  <c:v>28.858</c:v>
                </c:pt>
                <c:pt idx="3015">
                  <c:v>28.867</c:v>
                </c:pt>
                <c:pt idx="3016">
                  <c:v>28.876</c:v>
                </c:pt>
                <c:pt idx="3017">
                  <c:v>28.885</c:v>
                </c:pt>
                <c:pt idx="3018">
                  <c:v>28.894</c:v>
                </c:pt>
                <c:pt idx="3019">
                  <c:v>28.903</c:v>
                </c:pt>
                <c:pt idx="3020">
                  <c:v>28.912</c:v>
                </c:pt>
                <c:pt idx="3021">
                  <c:v>28.921</c:v>
                </c:pt>
                <c:pt idx="3022">
                  <c:v>28.93</c:v>
                </c:pt>
                <c:pt idx="3023">
                  <c:v>28.939</c:v>
                </c:pt>
                <c:pt idx="3024">
                  <c:v>28.948</c:v>
                </c:pt>
                <c:pt idx="3025">
                  <c:v>28.957</c:v>
                </c:pt>
                <c:pt idx="3026">
                  <c:v>28.966</c:v>
                </c:pt>
                <c:pt idx="3027">
                  <c:v>28.975</c:v>
                </c:pt>
                <c:pt idx="3028">
                  <c:v>28.984</c:v>
                </c:pt>
                <c:pt idx="3029">
                  <c:v>28.993</c:v>
                </c:pt>
                <c:pt idx="3030">
                  <c:v>29.002</c:v>
                </c:pt>
                <c:pt idx="3031">
                  <c:v>29.011</c:v>
                </c:pt>
                <c:pt idx="3032">
                  <c:v>29.02</c:v>
                </c:pt>
                <c:pt idx="3033">
                  <c:v>29.029</c:v>
                </c:pt>
                <c:pt idx="3034">
                  <c:v>29.038</c:v>
                </c:pt>
                <c:pt idx="3035">
                  <c:v>29.047</c:v>
                </c:pt>
                <c:pt idx="3036">
                  <c:v>29.056</c:v>
                </c:pt>
                <c:pt idx="3037">
                  <c:v>29.065</c:v>
                </c:pt>
                <c:pt idx="3038">
                  <c:v>29.074</c:v>
                </c:pt>
                <c:pt idx="3039">
                  <c:v>29.083</c:v>
                </c:pt>
                <c:pt idx="3040">
                  <c:v>29.093</c:v>
                </c:pt>
                <c:pt idx="3041">
                  <c:v>29.102</c:v>
                </c:pt>
                <c:pt idx="3042">
                  <c:v>29.111</c:v>
                </c:pt>
                <c:pt idx="3043">
                  <c:v>29.12</c:v>
                </c:pt>
                <c:pt idx="3044">
                  <c:v>29.129</c:v>
                </c:pt>
                <c:pt idx="3045">
                  <c:v>29.138</c:v>
                </c:pt>
                <c:pt idx="3046">
                  <c:v>29.147</c:v>
                </c:pt>
                <c:pt idx="3047">
                  <c:v>29.156</c:v>
                </c:pt>
                <c:pt idx="3048">
                  <c:v>29.166</c:v>
                </c:pt>
                <c:pt idx="3049">
                  <c:v>29.175</c:v>
                </c:pt>
                <c:pt idx="3050">
                  <c:v>29.184</c:v>
                </c:pt>
                <c:pt idx="3051">
                  <c:v>29.194</c:v>
                </c:pt>
                <c:pt idx="3052">
                  <c:v>29.205</c:v>
                </c:pt>
                <c:pt idx="3053">
                  <c:v>29.218</c:v>
                </c:pt>
                <c:pt idx="3054">
                  <c:v>29.228</c:v>
                </c:pt>
                <c:pt idx="3055">
                  <c:v>29.238</c:v>
                </c:pt>
                <c:pt idx="3056">
                  <c:v>29.247</c:v>
                </c:pt>
                <c:pt idx="3057">
                  <c:v>29.256</c:v>
                </c:pt>
                <c:pt idx="3058">
                  <c:v>29.265</c:v>
                </c:pt>
                <c:pt idx="3059">
                  <c:v>29.275</c:v>
                </c:pt>
                <c:pt idx="3060">
                  <c:v>29.284</c:v>
                </c:pt>
                <c:pt idx="3061">
                  <c:v>29.293</c:v>
                </c:pt>
                <c:pt idx="3062">
                  <c:v>29.302</c:v>
                </c:pt>
                <c:pt idx="3063">
                  <c:v>29.311</c:v>
                </c:pt>
                <c:pt idx="3064">
                  <c:v>29.32</c:v>
                </c:pt>
                <c:pt idx="3065">
                  <c:v>29.329</c:v>
                </c:pt>
                <c:pt idx="3066">
                  <c:v>29.338</c:v>
                </c:pt>
                <c:pt idx="3067">
                  <c:v>29.347</c:v>
                </c:pt>
                <c:pt idx="3068">
                  <c:v>29.356</c:v>
                </c:pt>
                <c:pt idx="3069">
                  <c:v>29.365</c:v>
                </c:pt>
                <c:pt idx="3070">
                  <c:v>29.375</c:v>
                </c:pt>
                <c:pt idx="3071">
                  <c:v>29.384</c:v>
                </c:pt>
                <c:pt idx="3072">
                  <c:v>29.393</c:v>
                </c:pt>
                <c:pt idx="3073">
                  <c:v>29.402</c:v>
                </c:pt>
                <c:pt idx="3074">
                  <c:v>29.411</c:v>
                </c:pt>
                <c:pt idx="3075">
                  <c:v>29.42</c:v>
                </c:pt>
                <c:pt idx="3076">
                  <c:v>29.429</c:v>
                </c:pt>
                <c:pt idx="3077">
                  <c:v>29.438</c:v>
                </c:pt>
                <c:pt idx="3078">
                  <c:v>29.447</c:v>
                </c:pt>
                <c:pt idx="3079">
                  <c:v>29.456</c:v>
                </c:pt>
                <c:pt idx="3080">
                  <c:v>29.465</c:v>
                </c:pt>
                <c:pt idx="3081">
                  <c:v>29.474</c:v>
                </c:pt>
                <c:pt idx="3082">
                  <c:v>29.483</c:v>
                </c:pt>
                <c:pt idx="3083">
                  <c:v>29.492</c:v>
                </c:pt>
                <c:pt idx="3084">
                  <c:v>29.501</c:v>
                </c:pt>
                <c:pt idx="3085">
                  <c:v>29.51</c:v>
                </c:pt>
                <c:pt idx="3086">
                  <c:v>29.519</c:v>
                </c:pt>
                <c:pt idx="3087">
                  <c:v>29.529</c:v>
                </c:pt>
                <c:pt idx="3088">
                  <c:v>29.538</c:v>
                </c:pt>
                <c:pt idx="3089">
                  <c:v>29.547</c:v>
                </c:pt>
                <c:pt idx="3090">
                  <c:v>29.556</c:v>
                </c:pt>
                <c:pt idx="3091">
                  <c:v>29.565</c:v>
                </c:pt>
                <c:pt idx="3092">
                  <c:v>29.574</c:v>
                </c:pt>
                <c:pt idx="3093">
                  <c:v>29.583</c:v>
                </c:pt>
                <c:pt idx="3094">
                  <c:v>29.592</c:v>
                </c:pt>
                <c:pt idx="3095">
                  <c:v>29.601</c:v>
                </c:pt>
                <c:pt idx="3096">
                  <c:v>29.61</c:v>
                </c:pt>
                <c:pt idx="3097">
                  <c:v>29.619</c:v>
                </c:pt>
                <c:pt idx="3098">
                  <c:v>29.628</c:v>
                </c:pt>
                <c:pt idx="3099">
                  <c:v>29.637</c:v>
                </c:pt>
                <c:pt idx="3100">
                  <c:v>29.646</c:v>
                </c:pt>
                <c:pt idx="3101">
                  <c:v>29.655</c:v>
                </c:pt>
                <c:pt idx="3102">
                  <c:v>29.664</c:v>
                </c:pt>
                <c:pt idx="3103">
                  <c:v>29.674</c:v>
                </c:pt>
                <c:pt idx="3104">
                  <c:v>29.684</c:v>
                </c:pt>
                <c:pt idx="3105">
                  <c:v>29.693</c:v>
                </c:pt>
                <c:pt idx="3106">
                  <c:v>29.702</c:v>
                </c:pt>
                <c:pt idx="3107">
                  <c:v>29.713</c:v>
                </c:pt>
                <c:pt idx="3108">
                  <c:v>29.723</c:v>
                </c:pt>
                <c:pt idx="3109">
                  <c:v>29.734</c:v>
                </c:pt>
                <c:pt idx="3110">
                  <c:v>29.744</c:v>
                </c:pt>
                <c:pt idx="3111">
                  <c:v>29.753</c:v>
                </c:pt>
                <c:pt idx="3112">
                  <c:v>29.762</c:v>
                </c:pt>
                <c:pt idx="3113">
                  <c:v>29.771</c:v>
                </c:pt>
                <c:pt idx="3114">
                  <c:v>29.78</c:v>
                </c:pt>
                <c:pt idx="3115">
                  <c:v>29.789</c:v>
                </c:pt>
                <c:pt idx="3116">
                  <c:v>29.798</c:v>
                </c:pt>
                <c:pt idx="3117">
                  <c:v>29.807</c:v>
                </c:pt>
                <c:pt idx="3118">
                  <c:v>29.816</c:v>
                </c:pt>
                <c:pt idx="3119">
                  <c:v>29.825</c:v>
                </c:pt>
                <c:pt idx="3120">
                  <c:v>29.834</c:v>
                </c:pt>
                <c:pt idx="3121">
                  <c:v>29.843</c:v>
                </c:pt>
                <c:pt idx="3122">
                  <c:v>29.852</c:v>
                </c:pt>
                <c:pt idx="3123">
                  <c:v>29.861</c:v>
                </c:pt>
                <c:pt idx="3124">
                  <c:v>29.87</c:v>
                </c:pt>
                <c:pt idx="3125">
                  <c:v>29.879</c:v>
                </c:pt>
                <c:pt idx="3126">
                  <c:v>29.888</c:v>
                </c:pt>
                <c:pt idx="3127">
                  <c:v>29.897</c:v>
                </c:pt>
                <c:pt idx="3128">
                  <c:v>29.906</c:v>
                </c:pt>
                <c:pt idx="3129">
                  <c:v>29.915</c:v>
                </c:pt>
                <c:pt idx="3130">
                  <c:v>29.924</c:v>
                </c:pt>
                <c:pt idx="3131">
                  <c:v>29.933</c:v>
                </c:pt>
                <c:pt idx="3132">
                  <c:v>29.942</c:v>
                </c:pt>
                <c:pt idx="3133">
                  <c:v>29.951</c:v>
                </c:pt>
                <c:pt idx="3134">
                  <c:v>29.96</c:v>
                </c:pt>
                <c:pt idx="3135">
                  <c:v>29.969</c:v>
                </c:pt>
                <c:pt idx="3136">
                  <c:v>29.978</c:v>
                </c:pt>
                <c:pt idx="3137">
                  <c:v>29.987</c:v>
                </c:pt>
                <c:pt idx="3138">
                  <c:v>29.996</c:v>
                </c:pt>
                <c:pt idx="3139">
                  <c:v>30.005</c:v>
                </c:pt>
                <c:pt idx="3140">
                  <c:v>30.014</c:v>
                </c:pt>
                <c:pt idx="3141">
                  <c:v>30.023</c:v>
                </c:pt>
                <c:pt idx="3142">
                  <c:v>30.032</c:v>
                </c:pt>
                <c:pt idx="3143">
                  <c:v>30.041</c:v>
                </c:pt>
                <c:pt idx="3144">
                  <c:v>30.05</c:v>
                </c:pt>
                <c:pt idx="3145">
                  <c:v>30.059</c:v>
                </c:pt>
                <c:pt idx="3146">
                  <c:v>30.068</c:v>
                </c:pt>
                <c:pt idx="3147">
                  <c:v>30.077</c:v>
                </c:pt>
                <c:pt idx="3148">
                  <c:v>30.086</c:v>
                </c:pt>
                <c:pt idx="3149">
                  <c:v>30.095</c:v>
                </c:pt>
                <c:pt idx="3150">
                  <c:v>30.105</c:v>
                </c:pt>
                <c:pt idx="3151">
                  <c:v>30.114</c:v>
                </c:pt>
                <c:pt idx="3152">
                  <c:v>30.123</c:v>
                </c:pt>
                <c:pt idx="3153">
                  <c:v>30.132</c:v>
                </c:pt>
                <c:pt idx="3154">
                  <c:v>30.141</c:v>
                </c:pt>
                <c:pt idx="3155">
                  <c:v>30.15</c:v>
                </c:pt>
                <c:pt idx="3156">
                  <c:v>30.159</c:v>
                </c:pt>
                <c:pt idx="3157">
                  <c:v>30.168</c:v>
                </c:pt>
                <c:pt idx="3158">
                  <c:v>30.177</c:v>
                </c:pt>
                <c:pt idx="3159">
                  <c:v>30.186</c:v>
                </c:pt>
                <c:pt idx="3160">
                  <c:v>30.195</c:v>
                </c:pt>
                <c:pt idx="3161">
                  <c:v>30.204</c:v>
                </c:pt>
                <c:pt idx="3162">
                  <c:v>30.213</c:v>
                </c:pt>
                <c:pt idx="3163">
                  <c:v>30.222</c:v>
                </c:pt>
                <c:pt idx="3164">
                  <c:v>30.231</c:v>
                </c:pt>
                <c:pt idx="3165">
                  <c:v>30.24</c:v>
                </c:pt>
                <c:pt idx="3166">
                  <c:v>30.25</c:v>
                </c:pt>
                <c:pt idx="3167">
                  <c:v>30.26</c:v>
                </c:pt>
                <c:pt idx="3168">
                  <c:v>30.27</c:v>
                </c:pt>
                <c:pt idx="3169">
                  <c:v>30.279</c:v>
                </c:pt>
                <c:pt idx="3170">
                  <c:v>30.288</c:v>
                </c:pt>
                <c:pt idx="3171">
                  <c:v>30.297</c:v>
                </c:pt>
                <c:pt idx="3172">
                  <c:v>30.306</c:v>
                </c:pt>
                <c:pt idx="3173">
                  <c:v>30.315</c:v>
                </c:pt>
                <c:pt idx="3174">
                  <c:v>30.324</c:v>
                </c:pt>
                <c:pt idx="3175">
                  <c:v>30.333</c:v>
                </c:pt>
                <c:pt idx="3176">
                  <c:v>30.343</c:v>
                </c:pt>
                <c:pt idx="3177">
                  <c:v>30.352</c:v>
                </c:pt>
                <c:pt idx="3178">
                  <c:v>30.361</c:v>
                </c:pt>
                <c:pt idx="3179">
                  <c:v>30.37</c:v>
                </c:pt>
                <c:pt idx="3180">
                  <c:v>30.38</c:v>
                </c:pt>
                <c:pt idx="3181">
                  <c:v>30.389</c:v>
                </c:pt>
                <c:pt idx="3182">
                  <c:v>30.398</c:v>
                </c:pt>
                <c:pt idx="3183">
                  <c:v>30.407</c:v>
                </c:pt>
                <c:pt idx="3184">
                  <c:v>30.416</c:v>
                </c:pt>
                <c:pt idx="3185">
                  <c:v>30.425</c:v>
                </c:pt>
                <c:pt idx="3186">
                  <c:v>30.434</c:v>
                </c:pt>
                <c:pt idx="3187">
                  <c:v>30.443</c:v>
                </c:pt>
                <c:pt idx="3188">
                  <c:v>30.452</c:v>
                </c:pt>
                <c:pt idx="3189">
                  <c:v>30.461</c:v>
                </c:pt>
                <c:pt idx="3190">
                  <c:v>30.47</c:v>
                </c:pt>
                <c:pt idx="3191">
                  <c:v>30.479</c:v>
                </c:pt>
                <c:pt idx="3192">
                  <c:v>30.488</c:v>
                </c:pt>
                <c:pt idx="3193">
                  <c:v>30.497</c:v>
                </c:pt>
                <c:pt idx="3194">
                  <c:v>30.506</c:v>
                </c:pt>
                <c:pt idx="3195">
                  <c:v>30.515</c:v>
                </c:pt>
                <c:pt idx="3196">
                  <c:v>30.524</c:v>
                </c:pt>
                <c:pt idx="3197">
                  <c:v>30.533</c:v>
                </c:pt>
                <c:pt idx="3198">
                  <c:v>30.542</c:v>
                </c:pt>
                <c:pt idx="3199">
                  <c:v>30.551</c:v>
                </c:pt>
                <c:pt idx="3200">
                  <c:v>30.561</c:v>
                </c:pt>
                <c:pt idx="3201">
                  <c:v>30.57</c:v>
                </c:pt>
                <c:pt idx="3202">
                  <c:v>30.579</c:v>
                </c:pt>
                <c:pt idx="3203">
                  <c:v>30.588</c:v>
                </c:pt>
                <c:pt idx="3204">
                  <c:v>30.597</c:v>
                </c:pt>
                <c:pt idx="3205">
                  <c:v>30.606</c:v>
                </c:pt>
                <c:pt idx="3206">
                  <c:v>30.615</c:v>
                </c:pt>
                <c:pt idx="3207">
                  <c:v>30.625</c:v>
                </c:pt>
                <c:pt idx="3208">
                  <c:v>30.634</c:v>
                </c:pt>
                <c:pt idx="3209">
                  <c:v>30.643</c:v>
                </c:pt>
                <c:pt idx="3210">
                  <c:v>30.652</c:v>
                </c:pt>
                <c:pt idx="3211">
                  <c:v>30.661</c:v>
                </c:pt>
                <c:pt idx="3212">
                  <c:v>30.67</c:v>
                </c:pt>
                <c:pt idx="3213">
                  <c:v>30.679</c:v>
                </c:pt>
                <c:pt idx="3214">
                  <c:v>30.688</c:v>
                </c:pt>
                <c:pt idx="3215">
                  <c:v>30.697</c:v>
                </c:pt>
                <c:pt idx="3216">
                  <c:v>30.706</c:v>
                </c:pt>
                <c:pt idx="3217">
                  <c:v>30.715</c:v>
                </c:pt>
                <c:pt idx="3218">
                  <c:v>30.724</c:v>
                </c:pt>
                <c:pt idx="3219">
                  <c:v>30.733</c:v>
                </c:pt>
                <c:pt idx="3220">
                  <c:v>30.742</c:v>
                </c:pt>
                <c:pt idx="3221">
                  <c:v>30.751</c:v>
                </c:pt>
                <c:pt idx="3222">
                  <c:v>30.76</c:v>
                </c:pt>
                <c:pt idx="3223">
                  <c:v>30.769</c:v>
                </c:pt>
                <c:pt idx="3224">
                  <c:v>30.778</c:v>
                </c:pt>
                <c:pt idx="3225">
                  <c:v>30.787</c:v>
                </c:pt>
                <c:pt idx="3226">
                  <c:v>30.796</c:v>
                </c:pt>
                <c:pt idx="3227">
                  <c:v>30.805</c:v>
                </c:pt>
                <c:pt idx="3228">
                  <c:v>30.814</c:v>
                </c:pt>
                <c:pt idx="3229">
                  <c:v>30.823</c:v>
                </c:pt>
                <c:pt idx="3230">
                  <c:v>30.832</c:v>
                </c:pt>
                <c:pt idx="3231">
                  <c:v>30.841</c:v>
                </c:pt>
                <c:pt idx="3232">
                  <c:v>30.851</c:v>
                </c:pt>
                <c:pt idx="3233">
                  <c:v>30.861</c:v>
                </c:pt>
                <c:pt idx="3234">
                  <c:v>30.87</c:v>
                </c:pt>
                <c:pt idx="3235">
                  <c:v>30.879</c:v>
                </c:pt>
                <c:pt idx="3236">
                  <c:v>30.888</c:v>
                </c:pt>
                <c:pt idx="3237">
                  <c:v>30.897</c:v>
                </c:pt>
                <c:pt idx="3238">
                  <c:v>30.906</c:v>
                </c:pt>
                <c:pt idx="3239">
                  <c:v>30.915</c:v>
                </c:pt>
                <c:pt idx="3240">
                  <c:v>30.924</c:v>
                </c:pt>
                <c:pt idx="3241">
                  <c:v>30.933</c:v>
                </c:pt>
                <c:pt idx="3242">
                  <c:v>30.942</c:v>
                </c:pt>
                <c:pt idx="3243">
                  <c:v>30.951</c:v>
                </c:pt>
                <c:pt idx="3244">
                  <c:v>30.96</c:v>
                </c:pt>
                <c:pt idx="3245">
                  <c:v>30.969</c:v>
                </c:pt>
                <c:pt idx="3246">
                  <c:v>30.978</c:v>
                </c:pt>
                <c:pt idx="3247">
                  <c:v>30.987</c:v>
                </c:pt>
                <c:pt idx="3248">
                  <c:v>30.996</c:v>
                </c:pt>
                <c:pt idx="3249">
                  <c:v>31.005</c:v>
                </c:pt>
                <c:pt idx="3250">
                  <c:v>31.014</c:v>
                </c:pt>
                <c:pt idx="3251">
                  <c:v>31.023</c:v>
                </c:pt>
                <c:pt idx="3252">
                  <c:v>31.032</c:v>
                </c:pt>
                <c:pt idx="3253">
                  <c:v>31.041</c:v>
                </c:pt>
                <c:pt idx="3254">
                  <c:v>31.05</c:v>
                </c:pt>
                <c:pt idx="3255">
                  <c:v>31.06</c:v>
                </c:pt>
                <c:pt idx="3256">
                  <c:v>31.069</c:v>
                </c:pt>
                <c:pt idx="3257">
                  <c:v>31.078</c:v>
                </c:pt>
                <c:pt idx="3258">
                  <c:v>31.087</c:v>
                </c:pt>
                <c:pt idx="3259">
                  <c:v>31.096</c:v>
                </c:pt>
                <c:pt idx="3260">
                  <c:v>31.105</c:v>
                </c:pt>
                <c:pt idx="3261">
                  <c:v>31.114</c:v>
                </c:pt>
                <c:pt idx="3262">
                  <c:v>31.123</c:v>
                </c:pt>
                <c:pt idx="3263">
                  <c:v>31.132</c:v>
                </c:pt>
                <c:pt idx="3264">
                  <c:v>31.141</c:v>
                </c:pt>
                <c:pt idx="3265">
                  <c:v>31.15</c:v>
                </c:pt>
                <c:pt idx="3266">
                  <c:v>31.159</c:v>
                </c:pt>
                <c:pt idx="3267">
                  <c:v>31.168</c:v>
                </c:pt>
                <c:pt idx="3268">
                  <c:v>31.177</c:v>
                </c:pt>
                <c:pt idx="3269">
                  <c:v>31.186</c:v>
                </c:pt>
                <c:pt idx="3270">
                  <c:v>31.195</c:v>
                </c:pt>
                <c:pt idx="3271">
                  <c:v>31.205</c:v>
                </c:pt>
                <c:pt idx="3272">
                  <c:v>31.214</c:v>
                </c:pt>
                <c:pt idx="3273">
                  <c:v>31.223</c:v>
                </c:pt>
                <c:pt idx="3274">
                  <c:v>31.232</c:v>
                </c:pt>
                <c:pt idx="3275">
                  <c:v>31.241</c:v>
                </c:pt>
                <c:pt idx="3276">
                  <c:v>31.25</c:v>
                </c:pt>
                <c:pt idx="3277">
                  <c:v>31.259</c:v>
                </c:pt>
                <c:pt idx="3278">
                  <c:v>31.269</c:v>
                </c:pt>
                <c:pt idx="3279">
                  <c:v>31.278</c:v>
                </c:pt>
                <c:pt idx="3280">
                  <c:v>31.287</c:v>
                </c:pt>
                <c:pt idx="3281">
                  <c:v>31.296</c:v>
                </c:pt>
                <c:pt idx="3282">
                  <c:v>31.305</c:v>
                </c:pt>
                <c:pt idx="3283">
                  <c:v>31.314</c:v>
                </c:pt>
                <c:pt idx="3284">
                  <c:v>31.323</c:v>
                </c:pt>
                <c:pt idx="3285">
                  <c:v>31.332</c:v>
                </c:pt>
                <c:pt idx="3286">
                  <c:v>31.341</c:v>
                </c:pt>
                <c:pt idx="3287">
                  <c:v>31.35</c:v>
                </c:pt>
                <c:pt idx="3288">
                  <c:v>31.359</c:v>
                </c:pt>
                <c:pt idx="3289">
                  <c:v>31.368</c:v>
                </c:pt>
                <c:pt idx="3290">
                  <c:v>31.377</c:v>
                </c:pt>
                <c:pt idx="3291">
                  <c:v>31.386</c:v>
                </c:pt>
                <c:pt idx="3292">
                  <c:v>31.395</c:v>
                </c:pt>
                <c:pt idx="3293">
                  <c:v>31.404</c:v>
                </c:pt>
                <c:pt idx="3294">
                  <c:v>31.413</c:v>
                </c:pt>
                <c:pt idx="3295">
                  <c:v>31.422</c:v>
                </c:pt>
                <c:pt idx="3296">
                  <c:v>31.431</c:v>
                </c:pt>
                <c:pt idx="3297">
                  <c:v>31.44</c:v>
                </c:pt>
                <c:pt idx="3298">
                  <c:v>31.449</c:v>
                </c:pt>
                <c:pt idx="3299">
                  <c:v>31.458</c:v>
                </c:pt>
                <c:pt idx="3300">
                  <c:v>31.467</c:v>
                </c:pt>
                <c:pt idx="3301">
                  <c:v>31.476</c:v>
                </c:pt>
                <c:pt idx="3302">
                  <c:v>31.485</c:v>
                </c:pt>
                <c:pt idx="3303">
                  <c:v>31.495</c:v>
                </c:pt>
                <c:pt idx="3304">
                  <c:v>31.504</c:v>
                </c:pt>
                <c:pt idx="3305">
                  <c:v>31.513</c:v>
                </c:pt>
                <c:pt idx="3306">
                  <c:v>31.522</c:v>
                </c:pt>
                <c:pt idx="3307">
                  <c:v>31.531</c:v>
                </c:pt>
                <c:pt idx="3308">
                  <c:v>31.54</c:v>
                </c:pt>
                <c:pt idx="3309">
                  <c:v>31.549</c:v>
                </c:pt>
                <c:pt idx="3310">
                  <c:v>31.558</c:v>
                </c:pt>
                <c:pt idx="3311">
                  <c:v>31.567</c:v>
                </c:pt>
                <c:pt idx="3312">
                  <c:v>31.576</c:v>
                </c:pt>
                <c:pt idx="3313">
                  <c:v>31.585</c:v>
                </c:pt>
                <c:pt idx="3314">
                  <c:v>31.594</c:v>
                </c:pt>
                <c:pt idx="3315">
                  <c:v>31.603</c:v>
                </c:pt>
                <c:pt idx="3316">
                  <c:v>31.612</c:v>
                </c:pt>
                <c:pt idx="3317">
                  <c:v>31.621</c:v>
                </c:pt>
                <c:pt idx="3318">
                  <c:v>31.63</c:v>
                </c:pt>
                <c:pt idx="3319">
                  <c:v>31.64</c:v>
                </c:pt>
                <c:pt idx="3320">
                  <c:v>31.649</c:v>
                </c:pt>
                <c:pt idx="3321">
                  <c:v>31.658</c:v>
                </c:pt>
                <c:pt idx="3322">
                  <c:v>31.667</c:v>
                </c:pt>
                <c:pt idx="3323">
                  <c:v>31.677</c:v>
                </c:pt>
                <c:pt idx="3324">
                  <c:v>31.686</c:v>
                </c:pt>
                <c:pt idx="3325">
                  <c:v>31.695</c:v>
                </c:pt>
                <c:pt idx="3326">
                  <c:v>31.705</c:v>
                </c:pt>
                <c:pt idx="3327">
                  <c:v>31.714</c:v>
                </c:pt>
                <c:pt idx="3328">
                  <c:v>31.725</c:v>
                </c:pt>
                <c:pt idx="3329">
                  <c:v>31.737</c:v>
                </c:pt>
                <c:pt idx="3330">
                  <c:v>31.748</c:v>
                </c:pt>
                <c:pt idx="3331">
                  <c:v>31.758</c:v>
                </c:pt>
                <c:pt idx="3332">
                  <c:v>31.767</c:v>
                </c:pt>
                <c:pt idx="3333">
                  <c:v>31.776</c:v>
                </c:pt>
                <c:pt idx="3334">
                  <c:v>31.785</c:v>
                </c:pt>
                <c:pt idx="3335">
                  <c:v>31.794</c:v>
                </c:pt>
                <c:pt idx="3336">
                  <c:v>31.803</c:v>
                </c:pt>
                <c:pt idx="3337">
                  <c:v>31.812</c:v>
                </c:pt>
                <c:pt idx="3338">
                  <c:v>31.822</c:v>
                </c:pt>
                <c:pt idx="3339">
                  <c:v>31.831</c:v>
                </c:pt>
                <c:pt idx="3340">
                  <c:v>31.84</c:v>
                </c:pt>
                <c:pt idx="3341">
                  <c:v>31.849</c:v>
                </c:pt>
                <c:pt idx="3342">
                  <c:v>31.858</c:v>
                </c:pt>
                <c:pt idx="3343">
                  <c:v>31.867</c:v>
                </c:pt>
                <c:pt idx="3344">
                  <c:v>31.876</c:v>
                </c:pt>
                <c:pt idx="3345">
                  <c:v>31.885</c:v>
                </c:pt>
                <c:pt idx="3346">
                  <c:v>31.894</c:v>
                </c:pt>
                <c:pt idx="3347">
                  <c:v>31.903</c:v>
                </c:pt>
                <c:pt idx="3348">
                  <c:v>31.912</c:v>
                </c:pt>
                <c:pt idx="3349">
                  <c:v>31.921</c:v>
                </c:pt>
                <c:pt idx="3350">
                  <c:v>31.93</c:v>
                </c:pt>
                <c:pt idx="3351">
                  <c:v>31.939</c:v>
                </c:pt>
                <c:pt idx="3352">
                  <c:v>31.948</c:v>
                </c:pt>
                <c:pt idx="3353">
                  <c:v>31.957</c:v>
                </c:pt>
                <c:pt idx="3354">
                  <c:v>31.966</c:v>
                </c:pt>
                <c:pt idx="3355">
                  <c:v>31.975</c:v>
                </c:pt>
                <c:pt idx="3356">
                  <c:v>31.984</c:v>
                </c:pt>
                <c:pt idx="3357">
                  <c:v>31.993</c:v>
                </c:pt>
                <c:pt idx="3358">
                  <c:v>32.002</c:v>
                </c:pt>
                <c:pt idx="3359">
                  <c:v>32.011</c:v>
                </c:pt>
                <c:pt idx="3360">
                  <c:v>32.02</c:v>
                </c:pt>
                <c:pt idx="3361">
                  <c:v>32.029</c:v>
                </c:pt>
                <c:pt idx="3362">
                  <c:v>32.038</c:v>
                </c:pt>
                <c:pt idx="3363">
                  <c:v>32.047</c:v>
                </c:pt>
                <c:pt idx="3364">
                  <c:v>32.056</c:v>
                </c:pt>
                <c:pt idx="3365">
                  <c:v>32.065</c:v>
                </c:pt>
                <c:pt idx="3366">
                  <c:v>32.075</c:v>
                </c:pt>
                <c:pt idx="3367">
                  <c:v>32.084</c:v>
                </c:pt>
                <c:pt idx="3368">
                  <c:v>32.093</c:v>
                </c:pt>
                <c:pt idx="3369">
                  <c:v>32.102</c:v>
                </c:pt>
                <c:pt idx="3370">
                  <c:v>32.111</c:v>
                </c:pt>
                <c:pt idx="3371">
                  <c:v>32.12</c:v>
                </c:pt>
                <c:pt idx="3372">
                  <c:v>32.129</c:v>
                </c:pt>
                <c:pt idx="3373">
                  <c:v>32.138</c:v>
                </c:pt>
                <c:pt idx="3374">
                  <c:v>32.147</c:v>
                </c:pt>
                <c:pt idx="3375">
                  <c:v>32.156</c:v>
                </c:pt>
                <c:pt idx="3376">
                  <c:v>32.165</c:v>
                </c:pt>
                <c:pt idx="3377">
                  <c:v>32.174</c:v>
                </c:pt>
                <c:pt idx="3378">
                  <c:v>32.183</c:v>
                </c:pt>
                <c:pt idx="3379">
                  <c:v>32.192</c:v>
                </c:pt>
                <c:pt idx="3380">
                  <c:v>32.201</c:v>
                </c:pt>
                <c:pt idx="3381">
                  <c:v>32.21</c:v>
                </c:pt>
                <c:pt idx="3382">
                  <c:v>32.219</c:v>
                </c:pt>
                <c:pt idx="3383">
                  <c:v>32.229</c:v>
                </c:pt>
                <c:pt idx="3384">
                  <c:v>32.238</c:v>
                </c:pt>
                <c:pt idx="3385">
                  <c:v>32.247</c:v>
                </c:pt>
                <c:pt idx="3386">
                  <c:v>32.256</c:v>
                </c:pt>
                <c:pt idx="3387">
                  <c:v>32.265</c:v>
                </c:pt>
                <c:pt idx="3388">
                  <c:v>32.274</c:v>
                </c:pt>
                <c:pt idx="3389">
                  <c:v>32.283</c:v>
                </c:pt>
                <c:pt idx="3390">
                  <c:v>32.292</c:v>
                </c:pt>
                <c:pt idx="3391">
                  <c:v>32.302</c:v>
                </c:pt>
                <c:pt idx="3392">
                  <c:v>32.311</c:v>
                </c:pt>
                <c:pt idx="3393">
                  <c:v>32.32</c:v>
                </c:pt>
                <c:pt idx="3394">
                  <c:v>32.329</c:v>
                </c:pt>
                <c:pt idx="3395">
                  <c:v>32.338</c:v>
                </c:pt>
                <c:pt idx="3396">
                  <c:v>32.347</c:v>
                </c:pt>
                <c:pt idx="3397">
                  <c:v>32.356</c:v>
                </c:pt>
                <c:pt idx="3398">
                  <c:v>32.365</c:v>
                </c:pt>
                <c:pt idx="3399">
                  <c:v>32.374</c:v>
                </c:pt>
                <c:pt idx="3400">
                  <c:v>32.383</c:v>
                </c:pt>
                <c:pt idx="3401">
                  <c:v>32.392</c:v>
                </c:pt>
                <c:pt idx="3402">
                  <c:v>32.401</c:v>
                </c:pt>
                <c:pt idx="3403">
                  <c:v>32.41</c:v>
                </c:pt>
                <c:pt idx="3404">
                  <c:v>32.419</c:v>
                </c:pt>
                <c:pt idx="3405">
                  <c:v>32.428</c:v>
                </c:pt>
                <c:pt idx="3406">
                  <c:v>32.437</c:v>
                </c:pt>
                <c:pt idx="3407">
                  <c:v>32.447</c:v>
                </c:pt>
                <c:pt idx="3408">
                  <c:v>32.456</c:v>
                </c:pt>
                <c:pt idx="3409">
                  <c:v>32.465</c:v>
                </c:pt>
                <c:pt idx="3410">
                  <c:v>32.474</c:v>
                </c:pt>
                <c:pt idx="3411">
                  <c:v>32.483</c:v>
                </c:pt>
                <c:pt idx="3412">
                  <c:v>32.492</c:v>
                </c:pt>
                <c:pt idx="3413">
                  <c:v>32.501</c:v>
                </c:pt>
                <c:pt idx="3414">
                  <c:v>32.51</c:v>
                </c:pt>
                <c:pt idx="3415">
                  <c:v>32.52</c:v>
                </c:pt>
                <c:pt idx="3416">
                  <c:v>32.529</c:v>
                </c:pt>
                <c:pt idx="3417">
                  <c:v>32.538</c:v>
                </c:pt>
                <c:pt idx="3418">
                  <c:v>32.547</c:v>
                </c:pt>
                <c:pt idx="3419">
                  <c:v>32.556</c:v>
                </c:pt>
                <c:pt idx="3420">
                  <c:v>32.565</c:v>
                </c:pt>
                <c:pt idx="3421">
                  <c:v>32.574</c:v>
                </c:pt>
                <c:pt idx="3422">
                  <c:v>32.583</c:v>
                </c:pt>
                <c:pt idx="3423">
                  <c:v>32.592</c:v>
                </c:pt>
                <c:pt idx="3424">
                  <c:v>32.601</c:v>
                </c:pt>
                <c:pt idx="3425">
                  <c:v>32.61</c:v>
                </c:pt>
                <c:pt idx="3426">
                  <c:v>32.619</c:v>
                </c:pt>
                <c:pt idx="3427">
                  <c:v>32.628</c:v>
                </c:pt>
                <c:pt idx="3428">
                  <c:v>32.637</c:v>
                </c:pt>
                <c:pt idx="3429">
                  <c:v>32.646</c:v>
                </c:pt>
                <c:pt idx="3430">
                  <c:v>32.655</c:v>
                </c:pt>
                <c:pt idx="3431">
                  <c:v>32.665</c:v>
                </c:pt>
                <c:pt idx="3432">
                  <c:v>32.674</c:v>
                </c:pt>
                <c:pt idx="3433">
                  <c:v>32.683</c:v>
                </c:pt>
                <c:pt idx="3434">
                  <c:v>32.692</c:v>
                </c:pt>
                <c:pt idx="3435">
                  <c:v>32.701</c:v>
                </c:pt>
                <c:pt idx="3436">
                  <c:v>32.71</c:v>
                </c:pt>
                <c:pt idx="3437">
                  <c:v>32.72</c:v>
                </c:pt>
                <c:pt idx="3438">
                  <c:v>32.729</c:v>
                </c:pt>
                <c:pt idx="3439">
                  <c:v>32.738</c:v>
                </c:pt>
                <c:pt idx="3440">
                  <c:v>32.747</c:v>
                </c:pt>
                <c:pt idx="3441">
                  <c:v>32.756</c:v>
                </c:pt>
                <c:pt idx="3442">
                  <c:v>32.765</c:v>
                </c:pt>
                <c:pt idx="3443">
                  <c:v>32.774</c:v>
                </c:pt>
                <c:pt idx="3444">
                  <c:v>32.783</c:v>
                </c:pt>
                <c:pt idx="3445">
                  <c:v>32.792</c:v>
                </c:pt>
                <c:pt idx="3446">
                  <c:v>32.801</c:v>
                </c:pt>
                <c:pt idx="3447">
                  <c:v>32.811</c:v>
                </c:pt>
                <c:pt idx="3448">
                  <c:v>32.82</c:v>
                </c:pt>
                <c:pt idx="3449">
                  <c:v>32.829</c:v>
                </c:pt>
                <c:pt idx="3450">
                  <c:v>32.838</c:v>
                </c:pt>
                <c:pt idx="3451">
                  <c:v>32.847</c:v>
                </c:pt>
                <c:pt idx="3452">
                  <c:v>32.857</c:v>
                </c:pt>
                <c:pt idx="3453">
                  <c:v>32.866</c:v>
                </c:pt>
                <c:pt idx="3454">
                  <c:v>32.875</c:v>
                </c:pt>
                <c:pt idx="3455">
                  <c:v>32.885</c:v>
                </c:pt>
                <c:pt idx="3456">
                  <c:v>32.894</c:v>
                </c:pt>
                <c:pt idx="3457">
                  <c:v>32.903</c:v>
                </c:pt>
                <c:pt idx="3458">
                  <c:v>32.912</c:v>
                </c:pt>
                <c:pt idx="3459">
                  <c:v>32.921</c:v>
                </c:pt>
                <c:pt idx="3460">
                  <c:v>32.931</c:v>
                </c:pt>
                <c:pt idx="3461">
                  <c:v>32.94</c:v>
                </c:pt>
                <c:pt idx="3462">
                  <c:v>32.949</c:v>
                </c:pt>
                <c:pt idx="3463">
                  <c:v>32.958</c:v>
                </c:pt>
                <c:pt idx="3464">
                  <c:v>32.967</c:v>
                </c:pt>
                <c:pt idx="3465">
                  <c:v>32.976</c:v>
                </c:pt>
                <c:pt idx="3466">
                  <c:v>32.985</c:v>
                </c:pt>
                <c:pt idx="3467">
                  <c:v>32.994</c:v>
                </c:pt>
                <c:pt idx="3468">
                  <c:v>33.003</c:v>
                </c:pt>
                <c:pt idx="3469">
                  <c:v>33.012</c:v>
                </c:pt>
                <c:pt idx="3470">
                  <c:v>33.021</c:v>
                </c:pt>
                <c:pt idx="3471">
                  <c:v>33.03</c:v>
                </c:pt>
                <c:pt idx="3472">
                  <c:v>33.039</c:v>
                </c:pt>
                <c:pt idx="3473">
                  <c:v>33.048</c:v>
                </c:pt>
                <c:pt idx="3474">
                  <c:v>33.057</c:v>
                </c:pt>
                <c:pt idx="3475">
                  <c:v>33.066</c:v>
                </c:pt>
                <c:pt idx="3476">
                  <c:v>33.076</c:v>
                </c:pt>
                <c:pt idx="3477">
                  <c:v>33.085</c:v>
                </c:pt>
                <c:pt idx="3478">
                  <c:v>33.094</c:v>
                </c:pt>
                <c:pt idx="3479">
                  <c:v>33.103</c:v>
                </c:pt>
                <c:pt idx="3480">
                  <c:v>33.112</c:v>
                </c:pt>
                <c:pt idx="3481">
                  <c:v>33.121</c:v>
                </c:pt>
                <c:pt idx="3482">
                  <c:v>33.13</c:v>
                </c:pt>
                <c:pt idx="3483">
                  <c:v>33.139</c:v>
                </c:pt>
                <c:pt idx="3484">
                  <c:v>33.148</c:v>
                </c:pt>
                <c:pt idx="3485">
                  <c:v>33.157</c:v>
                </c:pt>
                <c:pt idx="3486">
                  <c:v>33.166</c:v>
                </c:pt>
                <c:pt idx="3487">
                  <c:v>33.175</c:v>
                </c:pt>
                <c:pt idx="3488">
                  <c:v>33.184</c:v>
                </c:pt>
                <c:pt idx="3489">
                  <c:v>33.193</c:v>
                </c:pt>
                <c:pt idx="3490">
                  <c:v>33.202</c:v>
                </c:pt>
                <c:pt idx="3491">
                  <c:v>33.212</c:v>
                </c:pt>
                <c:pt idx="3492">
                  <c:v>33.221</c:v>
                </c:pt>
                <c:pt idx="3493">
                  <c:v>33.233</c:v>
                </c:pt>
                <c:pt idx="3494">
                  <c:v>33.243</c:v>
                </c:pt>
                <c:pt idx="3495">
                  <c:v>33.252</c:v>
                </c:pt>
                <c:pt idx="3496">
                  <c:v>33.261</c:v>
                </c:pt>
                <c:pt idx="3497">
                  <c:v>33.27</c:v>
                </c:pt>
                <c:pt idx="3498">
                  <c:v>33.279</c:v>
                </c:pt>
                <c:pt idx="3499">
                  <c:v>33.288</c:v>
                </c:pt>
                <c:pt idx="3500">
                  <c:v>33.297</c:v>
                </c:pt>
                <c:pt idx="3501">
                  <c:v>33.306</c:v>
                </c:pt>
                <c:pt idx="3502">
                  <c:v>33.315</c:v>
                </c:pt>
                <c:pt idx="3503">
                  <c:v>33.324</c:v>
                </c:pt>
                <c:pt idx="3504">
                  <c:v>33.333</c:v>
                </c:pt>
                <c:pt idx="3505">
                  <c:v>33.342</c:v>
                </c:pt>
                <c:pt idx="3506">
                  <c:v>33.351</c:v>
                </c:pt>
                <c:pt idx="3507">
                  <c:v>33.36</c:v>
                </c:pt>
                <c:pt idx="3508">
                  <c:v>33.369</c:v>
                </c:pt>
                <c:pt idx="3509">
                  <c:v>33.378</c:v>
                </c:pt>
                <c:pt idx="3510">
                  <c:v>33.387</c:v>
                </c:pt>
                <c:pt idx="3511">
                  <c:v>33.396</c:v>
                </c:pt>
                <c:pt idx="3512">
                  <c:v>33.406</c:v>
                </c:pt>
                <c:pt idx="3513">
                  <c:v>33.415</c:v>
                </c:pt>
                <c:pt idx="3514">
                  <c:v>33.424</c:v>
                </c:pt>
                <c:pt idx="3515">
                  <c:v>33.433</c:v>
                </c:pt>
                <c:pt idx="3516">
                  <c:v>33.442</c:v>
                </c:pt>
                <c:pt idx="3517">
                  <c:v>33.451</c:v>
                </c:pt>
                <c:pt idx="3518">
                  <c:v>33.461</c:v>
                </c:pt>
                <c:pt idx="3519">
                  <c:v>33.47</c:v>
                </c:pt>
                <c:pt idx="3520">
                  <c:v>33.479</c:v>
                </c:pt>
                <c:pt idx="3521">
                  <c:v>33.488</c:v>
                </c:pt>
                <c:pt idx="3522">
                  <c:v>33.497</c:v>
                </c:pt>
                <c:pt idx="3523">
                  <c:v>33.506</c:v>
                </c:pt>
                <c:pt idx="3524">
                  <c:v>33.515</c:v>
                </c:pt>
                <c:pt idx="3525">
                  <c:v>33.524</c:v>
                </c:pt>
                <c:pt idx="3526">
                  <c:v>33.533</c:v>
                </c:pt>
                <c:pt idx="3527">
                  <c:v>33.542</c:v>
                </c:pt>
                <c:pt idx="3528">
                  <c:v>33.551</c:v>
                </c:pt>
                <c:pt idx="3529">
                  <c:v>33.56</c:v>
                </c:pt>
                <c:pt idx="3530">
                  <c:v>33.569</c:v>
                </c:pt>
                <c:pt idx="3531">
                  <c:v>33.578</c:v>
                </c:pt>
                <c:pt idx="3532">
                  <c:v>33.587</c:v>
                </c:pt>
                <c:pt idx="3533">
                  <c:v>33.596</c:v>
                </c:pt>
                <c:pt idx="3534">
                  <c:v>33.605</c:v>
                </c:pt>
                <c:pt idx="3535">
                  <c:v>33.615</c:v>
                </c:pt>
                <c:pt idx="3536">
                  <c:v>33.624</c:v>
                </c:pt>
                <c:pt idx="3537">
                  <c:v>33.633</c:v>
                </c:pt>
                <c:pt idx="3538">
                  <c:v>33.642</c:v>
                </c:pt>
                <c:pt idx="3539">
                  <c:v>33.651</c:v>
                </c:pt>
                <c:pt idx="3540">
                  <c:v>33.66</c:v>
                </c:pt>
                <c:pt idx="3541">
                  <c:v>33.669</c:v>
                </c:pt>
                <c:pt idx="3542">
                  <c:v>33.678</c:v>
                </c:pt>
                <c:pt idx="3543">
                  <c:v>33.687</c:v>
                </c:pt>
                <c:pt idx="3544">
                  <c:v>33.696</c:v>
                </c:pt>
                <c:pt idx="3545">
                  <c:v>33.705</c:v>
                </c:pt>
                <c:pt idx="3546">
                  <c:v>33.714</c:v>
                </c:pt>
                <c:pt idx="3547">
                  <c:v>33.723</c:v>
                </c:pt>
                <c:pt idx="3548">
                  <c:v>33.737</c:v>
                </c:pt>
                <c:pt idx="3549">
                  <c:v>33.747</c:v>
                </c:pt>
                <c:pt idx="3550">
                  <c:v>33.756</c:v>
                </c:pt>
                <c:pt idx="3551">
                  <c:v>33.765</c:v>
                </c:pt>
                <c:pt idx="3552">
                  <c:v>33.774</c:v>
                </c:pt>
                <c:pt idx="3553">
                  <c:v>33.783</c:v>
                </c:pt>
                <c:pt idx="3554">
                  <c:v>33.793</c:v>
                </c:pt>
                <c:pt idx="3555">
                  <c:v>33.802</c:v>
                </c:pt>
                <c:pt idx="3556">
                  <c:v>33.811</c:v>
                </c:pt>
                <c:pt idx="3557">
                  <c:v>33.821</c:v>
                </c:pt>
                <c:pt idx="3558">
                  <c:v>33.83</c:v>
                </c:pt>
                <c:pt idx="3559">
                  <c:v>33.839</c:v>
                </c:pt>
                <c:pt idx="3560">
                  <c:v>33.848</c:v>
                </c:pt>
                <c:pt idx="3561">
                  <c:v>33.857</c:v>
                </c:pt>
                <c:pt idx="3562">
                  <c:v>33.866</c:v>
                </c:pt>
                <c:pt idx="3563">
                  <c:v>33.875</c:v>
                </c:pt>
                <c:pt idx="3564">
                  <c:v>33.884</c:v>
                </c:pt>
                <c:pt idx="3565">
                  <c:v>33.894</c:v>
                </c:pt>
                <c:pt idx="3566">
                  <c:v>33.903</c:v>
                </c:pt>
                <c:pt idx="3567">
                  <c:v>33.912</c:v>
                </c:pt>
                <c:pt idx="3568">
                  <c:v>33.921</c:v>
                </c:pt>
                <c:pt idx="3569">
                  <c:v>33.93</c:v>
                </c:pt>
                <c:pt idx="3570">
                  <c:v>33.939</c:v>
                </c:pt>
                <c:pt idx="3571">
                  <c:v>33.948</c:v>
                </c:pt>
                <c:pt idx="3572">
                  <c:v>33.957</c:v>
                </c:pt>
                <c:pt idx="3573">
                  <c:v>33.966</c:v>
                </c:pt>
                <c:pt idx="3574">
                  <c:v>33.975</c:v>
                </c:pt>
                <c:pt idx="3575">
                  <c:v>33.984</c:v>
                </c:pt>
                <c:pt idx="3576">
                  <c:v>33.993</c:v>
                </c:pt>
                <c:pt idx="3577">
                  <c:v>34.002</c:v>
                </c:pt>
                <c:pt idx="3578">
                  <c:v>34.011</c:v>
                </c:pt>
                <c:pt idx="3579">
                  <c:v>34.02</c:v>
                </c:pt>
                <c:pt idx="3580">
                  <c:v>34.029</c:v>
                </c:pt>
                <c:pt idx="3581">
                  <c:v>34.038</c:v>
                </c:pt>
                <c:pt idx="3582">
                  <c:v>34.047</c:v>
                </c:pt>
                <c:pt idx="3583">
                  <c:v>34.056</c:v>
                </c:pt>
                <c:pt idx="3584">
                  <c:v>34.065</c:v>
                </c:pt>
                <c:pt idx="3585">
                  <c:v>34.074</c:v>
                </c:pt>
                <c:pt idx="3586">
                  <c:v>34.083</c:v>
                </c:pt>
                <c:pt idx="3587">
                  <c:v>34.092</c:v>
                </c:pt>
                <c:pt idx="3588">
                  <c:v>34.101</c:v>
                </c:pt>
                <c:pt idx="3589">
                  <c:v>34.11</c:v>
                </c:pt>
                <c:pt idx="3590">
                  <c:v>34.119</c:v>
                </c:pt>
                <c:pt idx="3591">
                  <c:v>34.128</c:v>
                </c:pt>
                <c:pt idx="3592">
                  <c:v>34.137</c:v>
                </c:pt>
                <c:pt idx="3593">
                  <c:v>34.146</c:v>
                </c:pt>
                <c:pt idx="3594">
                  <c:v>34.156</c:v>
                </c:pt>
                <c:pt idx="3595">
                  <c:v>34.165</c:v>
                </c:pt>
                <c:pt idx="3596">
                  <c:v>34.174</c:v>
                </c:pt>
                <c:pt idx="3597">
                  <c:v>34.183</c:v>
                </c:pt>
                <c:pt idx="3598">
                  <c:v>34.192</c:v>
                </c:pt>
                <c:pt idx="3599">
                  <c:v>34.201</c:v>
                </c:pt>
                <c:pt idx="3600">
                  <c:v>34.21</c:v>
                </c:pt>
                <c:pt idx="3601">
                  <c:v>34.219</c:v>
                </c:pt>
                <c:pt idx="3602">
                  <c:v>34.229</c:v>
                </c:pt>
                <c:pt idx="3603">
                  <c:v>34.241</c:v>
                </c:pt>
                <c:pt idx="3604">
                  <c:v>34.252</c:v>
                </c:pt>
                <c:pt idx="3605">
                  <c:v>34.262</c:v>
                </c:pt>
                <c:pt idx="3606">
                  <c:v>34.271</c:v>
                </c:pt>
                <c:pt idx="3607">
                  <c:v>34.28</c:v>
                </c:pt>
                <c:pt idx="3608">
                  <c:v>34.289</c:v>
                </c:pt>
                <c:pt idx="3609">
                  <c:v>34.298</c:v>
                </c:pt>
                <c:pt idx="3610">
                  <c:v>34.307</c:v>
                </c:pt>
                <c:pt idx="3611">
                  <c:v>34.316</c:v>
                </c:pt>
                <c:pt idx="3612">
                  <c:v>34.326</c:v>
                </c:pt>
                <c:pt idx="3613">
                  <c:v>34.335</c:v>
                </c:pt>
                <c:pt idx="3614">
                  <c:v>34.344</c:v>
                </c:pt>
                <c:pt idx="3615">
                  <c:v>34.353</c:v>
                </c:pt>
                <c:pt idx="3616">
                  <c:v>34.362</c:v>
                </c:pt>
                <c:pt idx="3617">
                  <c:v>34.371</c:v>
                </c:pt>
                <c:pt idx="3618">
                  <c:v>34.38</c:v>
                </c:pt>
                <c:pt idx="3619">
                  <c:v>34.389</c:v>
                </c:pt>
                <c:pt idx="3620">
                  <c:v>34.398</c:v>
                </c:pt>
                <c:pt idx="3621">
                  <c:v>34.407</c:v>
                </c:pt>
                <c:pt idx="3622">
                  <c:v>34.416</c:v>
                </c:pt>
                <c:pt idx="3623">
                  <c:v>34.425</c:v>
                </c:pt>
                <c:pt idx="3624">
                  <c:v>34.434</c:v>
                </c:pt>
                <c:pt idx="3625">
                  <c:v>34.443</c:v>
                </c:pt>
                <c:pt idx="3626">
                  <c:v>34.452</c:v>
                </c:pt>
                <c:pt idx="3627">
                  <c:v>34.461</c:v>
                </c:pt>
                <c:pt idx="3628">
                  <c:v>34.47</c:v>
                </c:pt>
                <c:pt idx="3629">
                  <c:v>34.479</c:v>
                </c:pt>
                <c:pt idx="3630">
                  <c:v>34.488</c:v>
                </c:pt>
                <c:pt idx="3631">
                  <c:v>34.497</c:v>
                </c:pt>
                <c:pt idx="3632">
                  <c:v>34.506</c:v>
                </c:pt>
                <c:pt idx="3633">
                  <c:v>34.515</c:v>
                </c:pt>
                <c:pt idx="3634">
                  <c:v>34.524</c:v>
                </c:pt>
                <c:pt idx="3635">
                  <c:v>34.533</c:v>
                </c:pt>
                <c:pt idx="3636">
                  <c:v>34.542</c:v>
                </c:pt>
                <c:pt idx="3637">
                  <c:v>34.551</c:v>
                </c:pt>
                <c:pt idx="3638">
                  <c:v>34.56</c:v>
                </c:pt>
                <c:pt idx="3639">
                  <c:v>34.569</c:v>
                </c:pt>
                <c:pt idx="3640">
                  <c:v>34.579</c:v>
                </c:pt>
                <c:pt idx="3641">
                  <c:v>34.588</c:v>
                </c:pt>
                <c:pt idx="3642">
                  <c:v>34.597</c:v>
                </c:pt>
                <c:pt idx="3643">
                  <c:v>34.606</c:v>
                </c:pt>
                <c:pt idx="3644">
                  <c:v>34.615</c:v>
                </c:pt>
                <c:pt idx="3645">
                  <c:v>34.624</c:v>
                </c:pt>
                <c:pt idx="3646">
                  <c:v>34.633</c:v>
                </c:pt>
                <c:pt idx="3647">
                  <c:v>34.642</c:v>
                </c:pt>
                <c:pt idx="3648">
                  <c:v>34.652</c:v>
                </c:pt>
                <c:pt idx="3649">
                  <c:v>34.662</c:v>
                </c:pt>
                <c:pt idx="3650">
                  <c:v>34.671</c:v>
                </c:pt>
                <c:pt idx="3651">
                  <c:v>34.68</c:v>
                </c:pt>
                <c:pt idx="3652">
                  <c:v>34.689</c:v>
                </c:pt>
                <c:pt idx="3653">
                  <c:v>34.698</c:v>
                </c:pt>
                <c:pt idx="3654">
                  <c:v>34.707</c:v>
                </c:pt>
                <c:pt idx="3655">
                  <c:v>34.716</c:v>
                </c:pt>
                <c:pt idx="3656">
                  <c:v>34.725</c:v>
                </c:pt>
                <c:pt idx="3657">
                  <c:v>34.734</c:v>
                </c:pt>
                <c:pt idx="3658">
                  <c:v>34.743</c:v>
                </c:pt>
                <c:pt idx="3659">
                  <c:v>34.752</c:v>
                </c:pt>
                <c:pt idx="3660">
                  <c:v>34.761</c:v>
                </c:pt>
                <c:pt idx="3661">
                  <c:v>34.77</c:v>
                </c:pt>
                <c:pt idx="3662">
                  <c:v>34.779</c:v>
                </c:pt>
                <c:pt idx="3663">
                  <c:v>34.788</c:v>
                </c:pt>
                <c:pt idx="3664">
                  <c:v>34.797</c:v>
                </c:pt>
                <c:pt idx="3665">
                  <c:v>34.806</c:v>
                </c:pt>
                <c:pt idx="3666">
                  <c:v>34.815</c:v>
                </c:pt>
                <c:pt idx="3667">
                  <c:v>34.825</c:v>
                </c:pt>
                <c:pt idx="3668">
                  <c:v>34.834</c:v>
                </c:pt>
                <c:pt idx="3669">
                  <c:v>34.843</c:v>
                </c:pt>
                <c:pt idx="3670">
                  <c:v>34.852</c:v>
                </c:pt>
                <c:pt idx="3671">
                  <c:v>34.861</c:v>
                </c:pt>
                <c:pt idx="3672">
                  <c:v>34.87</c:v>
                </c:pt>
                <c:pt idx="3673">
                  <c:v>34.879</c:v>
                </c:pt>
                <c:pt idx="3674">
                  <c:v>34.888</c:v>
                </c:pt>
                <c:pt idx="3675">
                  <c:v>34.897</c:v>
                </c:pt>
                <c:pt idx="3676">
                  <c:v>34.906</c:v>
                </c:pt>
                <c:pt idx="3677">
                  <c:v>34.915</c:v>
                </c:pt>
                <c:pt idx="3678">
                  <c:v>34.924</c:v>
                </c:pt>
                <c:pt idx="3679">
                  <c:v>34.933</c:v>
                </c:pt>
                <c:pt idx="3680">
                  <c:v>34.942</c:v>
                </c:pt>
                <c:pt idx="3681">
                  <c:v>34.951</c:v>
                </c:pt>
                <c:pt idx="3682">
                  <c:v>34.96</c:v>
                </c:pt>
                <c:pt idx="3683">
                  <c:v>34.97</c:v>
                </c:pt>
                <c:pt idx="3684">
                  <c:v>34.979</c:v>
                </c:pt>
                <c:pt idx="3685">
                  <c:v>34.989</c:v>
                </c:pt>
                <c:pt idx="3686">
                  <c:v>34.999</c:v>
                </c:pt>
                <c:pt idx="3687">
                  <c:v>35.008</c:v>
                </c:pt>
                <c:pt idx="3688">
                  <c:v>35.017</c:v>
                </c:pt>
                <c:pt idx="3689">
                  <c:v>35.026</c:v>
                </c:pt>
                <c:pt idx="3690">
                  <c:v>35.035</c:v>
                </c:pt>
                <c:pt idx="3691">
                  <c:v>35.044</c:v>
                </c:pt>
                <c:pt idx="3692">
                  <c:v>35.053</c:v>
                </c:pt>
                <c:pt idx="3693">
                  <c:v>35.063</c:v>
                </c:pt>
                <c:pt idx="3694">
                  <c:v>35.072</c:v>
                </c:pt>
                <c:pt idx="3695">
                  <c:v>35.081</c:v>
                </c:pt>
                <c:pt idx="3696">
                  <c:v>35.09</c:v>
                </c:pt>
                <c:pt idx="3697">
                  <c:v>35.099</c:v>
                </c:pt>
                <c:pt idx="3698">
                  <c:v>35.108</c:v>
                </c:pt>
                <c:pt idx="3699">
                  <c:v>35.117</c:v>
                </c:pt>
                <c:pt idx="3700">
                  <c:v>35.126</c:v>
                </c:pt>
                <c:pt idx="3701">
                  <c:v>35.135</c:v>
                </c:pt>
                <c:pt idx="3702">
                  <c:v>35.144</c:v>
                </c:pt>
                <c:pt idx="3703">
                  <c:v>35.153</c:v>
                </c:pt>
                <c:pt idx="3704">
                  <c:v>35.162</c:v>
                </c:pt>
                <c:pt idx="3705">
                  <c:v>35.171</c:v>
                </c:pt>
                <c:pt idx="3706">
                  <c:v>35.18</c:v>
                </c:pt>
                <c:pt idx="3707">
                  <c:v>35.189</c:v>
                </c:pt>
                <c:pt idx="3708">
                  <c:v>35.198</c:v>
                </c:pt>
                <c:pt idx="3709">
                  <c:v>35.208</c:v>
                </c:pt>
                <c:pt idx="3710">
                  <c:v>35.217</c:v>
                </c:pt>
                <c:pt idx="3711">
                  <c:v>35.226</c:v>
                </c:pt>
                <c:pt idx="3712">
                  <c:v>35.235</c:v>
                </c:pt>
                <c:pt idx="3713">
                  <c:v>35.244</c:v>
                </c:pt>
                <c:pt idx="3714">
                  <c:v>35.253</c:v>
                </c:pt>
                <c:pt idx="3715">
                  <c:v>35.263</c:v>
                </c:pt>
                <c:pt idx="3716">
                  <c:v>35.272</c:v>
                </c:pt>
                <c:pt idx="3717">
                  <c:v>35.281</c:v>
                </c:pt>
                <c:pt idx="3718">
                  <c:v>35.29</c:v>
                </c:pt>
                <c:pt idx="3719">
                  <c:v>35.299</c:v>
                </c:pt>
                <c:pt idx="3720">
                  <c:v>35.308</c:v>
                </c:pt>
                <c:pt idx="3721">
                  <c:v>35.317</c:v>
                </c:pt>
                <c:pt idx="3722">
                  <c:v>35.326</c:v>
                </c:pt>
                <c:pt idx="3723">
                  <c:v>35.335</c:v>
                </c:pt>
                <c:pt idx="3724">
                  <c:v>35.344</c:v>
                </c:pt>
                <c:pt idx="3725">
                  <c:v>35.353</c:v>
                </c:pt>
                <c:pt idx="3726">
                  <c:v>35.362</c:v>
                </c:pt>
                <c:pt idx="3727">
                  <c:v>35.371</c:v>
                </c:pt>
                <c:pt idx="3728">
                  <c:v>35.386</c:v>
                </c:pt>
                <c:pt idx="3729">
                  <c:v>35.395</c:v>
                </c:pt>
                <c:pt idx="3730">
                  <c:v>35.404</c:v>
                </c:pt>
                <c:pt idx="3731">
                  <c:v>35.414</c:v>
                </c:pt>
                <c:pt idx="3732">
                  <c:v>35.423</c:v>
                </c:pt>
                <c:pt idx="3733">
                  <c:v>35.432</c:v>
                </c:pt>
                <c:pt idx="3734">
                  <c:v>35.441</c:v>
                </c:pt>
                <c:pt idx="3735">
                  <c:v>35.45</c:v>
                </c:pt>
                <c:pt idx="3736">
                  <c:v>35.459</c:v>
                </c:pt>
                <c:pt idx="3737">
                  <c:v>35.468</c:v>
                </c:pt>
                <c:pt idx="3738">
                  <c:v>35.477</c:v>
                </c:pt>
                <c:pt idx="3739">
                  <c:v>35.486</c:v>
                </c:pt>
                <c:pt idx="3740">
                  <c:v>35.495</c:v>
                </c:pt>
                <c:pt idx="3741">
                  <c:v>35.504</c:v>
                </c:pt>
                <c:pt idx="3742">
                  <c:v>35.513</c:v>
                </c:pt>
                <c:pt idx="3743">
                  <c:v>35.522</c:v>
                </c:pt>
                <c:pt idx="3744">
                  <c:v>35.531</c:v>
                </c:pt>
                <c:pt idx="3745">
                  <c:v>35.54</c:v>
                </c:pt>
                <c:pt idx="3746">
                  <c:v>35.549</c:v>
                </c:pt>
                <c:pt idx="3747">
                  <c:v>35.559</c:v>
                </c:pt>
                <c:pt idx="3748">
                  <c:v>35.568</c:v>
                </c:pt>
                <c:pt idx="3749">
                  <c:v>35.577</c:v>
                </c:pt>
                <c:pt idx="3750">
                  <c:v>35.586</c:v>
                </c:pt>
                <c:pt idx="3751">
                  <c:v>35.595</c:v>
                </c:pt>
                <c:pt idx="3752">
                  <c:v>35.604</c:v>
                </c:pt>
                <c:pt idx="3753">
                  <c:v>35.613</c:v>
                </c:pt>
                <c:pt idx="3754">
                  <c:v>35.623</c:v>
                </c:pt>
                <c:pt idx="3755">
                  <c:v>35.632</c:v>
                </c:pt>
                <c:pt idx="3756">
                  <c:v>35.641</c:v>
                </c:pt>
                <c:pt idx="3757">
                  <c:v>35.65</c:v>
                </c:pt>
                <c:pt idx="3758">
                  <c:v>35.659</c:v>
                </c:pt>
                <c:pt idx="3759">
                  <c:v>35.668</c:v>
                </c:pt>
                <c:pt idx="3760">
                  <c:v>35.677</c:v>
                </c:pt>
                <c:pt idx="3761">
                  <c:v>35.686</c:v>
                </c:pt>
                <c:pt idx="3762">
                  <c:v>35.695</c:v>
                </c:pt>
                <c:pt idx="3763">
                  <c:v>35.704</c:v>
                </c:pt>
                <c:pt idx="3764">
                  <c:v>35.713</c:v>
                </c:pt>
                <c:pt idx="3765">
                  <c:v>35.722</c:v>
                </c:pt>
                <c:pt idx="3766">
                  <c:v>35.731</c:v>
                </c:pt>
                <c:pt idx="3767">
                  <c:v>35.74</c:v>
                </c:pt>
                <c:pt idx="3768">
                  <c:v>35.749</c:v>
                </c:pt>
                <c:pt idx="3769">
                  <c:v>35.758</c:v>
                </c:pt>
                <c:pt idx="3770">
                  <c:v>35.767</c:v>
                </c:pt>
                <c:pt idx="3771">
                  <c:v>35.777</c:v>
                </c:pt>
                <c:pt idx="3772">
                  <c:v>35.786</c:v>
                </c:pt>
                <c:pt idx="3773">
                  <c:v>35.795</c:v>
                </c:pt>
                <c:pt idx="3774">
                  <c:v>35.805</c:v>
                </c:pt>
                <c:pt idx="3775">
                  <c:v>35.816</c:v>
                </c:pt>
                <c:pt idx="3776">
                  <c:v>35.825</c:v>
                </c:pt>
                <c:pt idx="3777">
                  <c:v>35.834</c:v>
                </c:pt>
                <c:pt idx="3778">
                  <c:v>35.843</c:v>
                </c:pt>
                <c:pt idx="3779">
                  <c:v>35.852</c:v>
                </c:pt>
                <c:pt idx="3780">
                  <c:v>35.861</c:v>
                </c:pt>
                <c:pt idx="3781">
                  <c:v>35.87</c:v>
                </c:pt>
                <c:pt idx="3782">
                  <c:v>35.879</c:v>
                </c:pt>
                <c:pt idx="3783">
                  <c:v>35.888</c:v>
                </c:pt>
                <c:pt idx="3784">
                  <c:v>35.897</c:v>
                </c:pt>
                <c:pt idx="3785">
                  <c:v>35.906</c:v>
                </c:pt>
                <c:pt idx="3786">
                  <c:v>35.915</c:v>
                </c:pt>
                <c:pt idx="3787">
                  <c:v>35.924</c:v>
                </c:pt>
                <c:pt idx="3788">
                  <c:v>35.933</c:v>
                </c:pt>
                <c:pt idx="3789">
                  <c:v>35.942</c:v>
                </c:pt>
                <c:pt idx="3790">
                  <c:v>35.951</c:v>
                </c:pt>
                <c:pt idx="3791">
                  <c:v>35.961</c:v>
                </c:pt>
                <c:pt idx="3792">
                  <c:v>35.97</c:v>
                </c:pt>
                <c:pt idx="3793">
                  <c:v>35.979</c:v>
                </c:pt>
                <c:pt idx="3794">
                  <c:v>35.988</c:v>
                </c:pt>
                <c:pt idx="3795">
                  <c:v>35.997</c:v>
                </c:pt>
                <c:pt idx="3796">
                  <c:v>36.007</c:v>
                </c:pt>
                <c:pt idx="3797">
                  <c:v>36.016</c:v>
                </c:pt>
                <c:pt idx="3798">
                  <c:v>36.025</c:v>
                </c:pt>
                <c:pt idx="3799">
                  <c:v>36.034</c:v>
                </c:pt>
                <c:pt idx="3800">
                  <c:v>36.043</c:v>
                </c:pt>
                <c:pt idx="3801">
                  <c:v>36.052</c:v>
                </c:pt>
                <c:pt idx="3802">
                  <c:v>36.061</c:v>
                </c:pt>
                <c:pt idx="3803">
                  <c:v>36.07</c:v>
                </c:pt>
                <c:pt idx="3804">
                  <c:v>36.079</c:v>
                </c:pt>
                <c:pt idx="3805">
                  <c:v>36.088</c:v>
                </c:pt>
                <c:pt idx="3806">
                  <c:v>36.097</c:v>
                </c:pt>
                <c:pt idx="3807">
                  <c:v>36.106</c:v>
                </c:pt>
                <c:pt idx="3808">
                  <c:v>36.115</c:v>
                </c:pt>
                <c:pt idx="3809">
                  <c:v>36.124</c:v>
                </c:pt>
                <c:pt idx="3810">
                  <c:v>36.133</c:v>
                </c:pt>
                <c:pt idx="3811">
                  <c:v>36.142</c:v>
                </c:pt>
                <c:pt idx="3812">
                  <c:v>36.152</c:v>
                </c:pt>
                <c:pt idx="3813">
                  <c:v>36.161</c:v>
                </c:pt>
                <c:pt idx="3814">
                  <c:v>36.17</c:v>
                </c:pt>
                <c:pt idx="3815">
                  <c:v>36.179</c:v>
                </c:pt>
                <c:pt idx="3816">
                  <c:v>36.188</c:v>
                </c:pt>
                <c:pt idx="3817">
                  <c:v>36.197</c:v>
                </c:pt>
                <c:pt idx="3818">
                  <c:v>36.206</c:v>
                </c:pt>
                <c:pt idx="3819">
                  <c:v>36.215</c:v>
                </c:pt>
                <c:pt idx="3820">
                  <c:v>36.224</c:v>
                </c:pt>
                <c:pt idx="3821">
                  <c:v>36.233</c:v>
                </c:pt>
                <c:pt idx="3822">
                  <c:v>36.242</c:v>
                </c:pt>
                <c:pt idx="3823">
                  <c:v>36.251</c:v>
                </c:pt>
                <c:pt idx="3824">
                  <c:v>36.26</c:v>
                </c:pt>
                <c:pt idx="3825">
                  <c:v>36.269</c:v>
                </c:pt>
                <c:pt idx="3826">
                  <c:v>36.278</c:v>
                </c:pt>
                <c:pt idx="3827">
                  <c:v>36.287</c:v>
                </c:pt>
                <c:pt idx="3828">
                  <c:v>36.296</c:v>
                </c:pt>
                <c:pt idx="3829">
                  <c:v>36.305</c:v>
                </c:pt>
                <c:pt idx="3830">
                  <c:v>36.314</c:v>
                </c:pt>
                <c:pt idx="3831">
                  <c:v>36.323</c:v>
                </c:pt>
                <c:pt idx="3832">
                  <c:v>36.333</c:v>
                </c:pt>
                <c:pt idx="3833">
                  <c:v>36.342</c:v>
                </c:pt>
                <c:pt idx="3834">
                  <c:v>36.351</c:v>
                </c:pt>
                <c:pt idx="3835">
                  <c:v>36.36</c:v>
                </c:pt>
                <c:pt idx="3836">
                  <c:v>36.369</c:v>
                </c:pt>
                <c:pt idx="3837">
                  <c:v>36.378</c:v>
                </c:pt>
                <c:pt idx="3838">
                  <c:v>36.387</c:v>
                </c:pt>
                <c:pt idx="3839">
                  <c:v>36.396</c:v>
                </c:pt>
                <c:pt idx="3840">
                  <c:v>36.406</c:v>
                </c:pt>
                <c:pt idx="3841">
                  <c:v>36.416</c:v>
                </c:pt>
                <c:pt idx="3842">
                  <c:v>36.425</c:v>
                </c:pt>
                <c:pt idx="3843">
                  <c:v>36.434</c:v>
                </c:pt>
                <c:pt idx="3844">
                  <c:v>36.443</c:v>
                </c:pt>
                <c:pt idx="3845">
                  <c:v>36.452</c:v>
                </c:pt>
                <c:pt idx="3846">
                  <c:v>36.461</c:v>
                </c:pt>
                <c:pt idx="3847">
                  <c:v>36.47</c:v>
                </c:pt>
                <c:pt idx="3848">
                  <c:v>36.479</c:v>
                </c:pt>
                <c:pt idx="3849">
                  <c:v>36.488</c:v>
                </c:pt>
                <c:pt idx="3850">
                  <c:v>36.497</c:v>
                </c:pt>
                <c:pt idx="3851">
                  <c:v>36.506</c:v>
                </c:pt>
                <c:pt idx="3852">
                  <c:v>36.515</c:v>
                </c:pt>
                <c:pt idx="3853">
                  <c:v>36.524</c:v>
                </c:pt>
                <c:pt idx="3854">
                  <c:v>36.533</c:v>
                </c:pt>
                <c:pt idx="3855">
                  <c:v>36.543</c:v>
                </c:pt>
                <c:pt idx="3856">
                  <c:v>36.552</c:v>
                </c:pt>
                <c:pt idx="3857">
                  <c:v>36.561</c:v>
                </c:pt>
                <c:pt idx="3858">
                  <c:v>36.57</c:v>
                </c:pt>
                <c:pt idx="3859">
                  <c:v>36.579</c:v>
                </c:pt>
                <c:pt idx="3860">
                  <c:v>36.588</c:v>
                </c:pt>
                <c:pt idx="3861">
                  <c:v>36.597</c:v>
                </c:pt>
                <c:pt idx="3862">
                  <c:v>36.606</c:v>
                </c:pt>
                <c:pt idx="3863">
                  <c:v>36.615</c:v>
                </c:pt>
                <c:pt idx="3864">
                  <c:v>36.624</c:v>
                </c:pt>
                <c:pt idx="3865">
                  <c:v>36.633</c:v>
                </c:pt>
                <c:pt idx="3866">
                  <c:v>36.642</c:v>
                </c:pt>
                <c:pt idx="3867">
                  <c:v>36.651</c:v>
                </c:pt>
                <c:pt idx="3868">
                  <c:v>36.66</c:v>
                </c:pt>
                <c:pt idx="3869">
                  <c:v>36.669</c:v>
                </c:pt>
                <c:pt idx="3870">
                  <c:v>36.678</c:v>
                </c:pt>
                <c:pt idx="3871">
                  <c:v>36.688</c:v>
                </c:pt>
                <c:pt idx="3872">
                  <c:v>36.697</c:v>
                </c:pt>
                <c:pt idx="3873">
                  <c:v>36.706</c:v>
                </c:pt>
                <c:pt idx="3874">
                  <c:v>36.715</c:v>
                </c:pt>
                <c:pt idx="3875">
                  <c:v>36.724</c:v>
                </c:pt>
                <c:pt idx="3876">
                  <c:v>36.733</c:v>
                </c:pt>
                <c:pt idx="3877">
                  <c:v>36.742</c:v>
                </c:pt>
                <c:pt idx="3878">
                  <c:v>36.752</c:v>
                </c:pt>
                <c:pt idx="3879">
                  <c:v>36.761</c:v>
                </c:pt>
                <c:pt idx="3880">
                  <c:v>36.77</c:v>
                </c:pt>
                <c:pt idx="3881">
                  <c:v>36.78</c:v>
                </c:pt>
                <c:pt idx="3882">
                  <c:v>36.789</c:v>
                </c:pt>
                <c:pt idx="3883">
                  <c:v>36.798</c:v>
                </c:pt>
                <c:pt idx="3884">
                  <c:v>36.807</c:v>
                </c:pt>
                <c:pt idx="3885">
                  <c:v>36.816</c:v>
                </c:pt>
                <c:pt idx="3886">
                  <c:v>36.825</c:v>
                </c:pt>
                <c:pt idx="3887">
                  <c:v>36.834</c:v>
                </c:pt>
                <c:pt idx="3888">
                  <c:v>36.843</c:v>
                </c:pt>
                <c:pt idx="3889">
                  <c:v>36.852</c:v>
                </c:pt>
                <c:pt idx="3890">
                  <c:v>36.861</c:v>
                </c:pt>
                <c:pt idx="3891">
                  <c:v>36.87</c:v>
                </c:pt>
                <c:pt idx="3892">
                  <c:v>36.879</c:v>
                </c:pt>
                <c:pt idx="3893">
                  <c:v>36.888</c:v>
                </c:pt>
                <c:pt idx="3894">
                  <c:v>36.897</c:v>
                </c:pt>
                <c:pt idx="3895">
                  <c:v>36.906</c:v>
                </c:pt>
                <c:pt idx="3896">
                  <c:v>36.915</c:v>
                </c:pt>
                <c:pt idx="3897">
                  <c:v>36.924</c:v>
                </c:pt>
                <c:pt idx="3898">
                  <c:v>36.933</c:v>
                </c:pt>
                <c:pt idx="3899">
                  <c:v>36.942</c:v>
                </c:pt>
                <c:pt idx="3900">
                  <c:v>36.951</c:v>
                </c:pt>
                <c:pt idx="3901">
                  <c:v>36.96</c:v>
                </c:pt>
                <c:pt idx="3902">
                  <c:v>36.969</c:v>
                </c:pt>
                <c:pt idx="3903">
                  <c:v>36.978</c:v>
                </c:pt>
                <c:pt idx="3904">
                  <c:v>36.987</c:v>
                </c:pt>
                <c:pt idx="3905">
                  <c:v>36.996</c:v>
                </c:pt>
                <c:pt idx="3906">
                  <c:v>37.005</c:v>
                </c:pt>
                <c:pt idx="3907">
                  <c:v>37.014</c:v>
                </c:pt>
                <c:pt idx="3908">
                  <c:v>37.023</c:v>
                </c:pt>
                <c:pt idx="3909">
                  <c:v>37.032</c:v>
                </c:pt>
                <c:pt idx="3910">
                  <c:v>37.041</c:v>
                </c:pt>
                <c:pt idx="3911">
                  <c:v>37.051</c:v>
                </c:pt>
                <c:pt idx="3912">
                  <c:v>37.06</c:v>
                </c:pt>
                <c:pt idx="3913">
                  <c:v>37.069</c:v>
                </c:pt>
                <c:pt idx="3914">
                  <c:v>37.078</c:v>
                </c:pt>
                <c:pt idx="3915">
                  <c:v>37.088</c:v>
                </c:pt>
                <c:pt idx="3916">
                  <c:v>37.097</c:v>
                </c:pt>
                <c:pt idx="3917">
                  <c:v>37.106</c:v>
                </c:pt>
                <c:pt idx="3918">
                  <c:v>37.115</c:v>
                </c:pt>
                <c:pt idx="3919">
                  <c:v>37.124</c:v>
                </c:pt>
                <c:pt idx="3920">
                  <c:v>37.133</c:v>
                </c:pt>
                <c:pt idx="3921">
                  <c:v>37.142</c:v>
                </c:pt>
                <c:pt idx="3922">
                  <c:v>37.151</c:v>
                </c:pt>
                <c:pt idx="3923">
                  <c:v>37.16</c:v>
                </c:pt>
                <c:pt idx="3924">
                  <c:v>37.169</c:v>
                </c:pt>
                <c:pt idx="3925">
                  <c:v>37.178</c:v>
                </c:pt>
                <c:pt idx="3926">
                  <c:v>37.187</c:v>
                </c:pt>
                <c:pt idx="3927">
                  <c:v>37.196</c:v>
                </c:pt>
                <c:pt idx="3928">
                  <c:v>37.205</c:v>
                </c:pt>
                <c:pt idx="3929">
                  <c:v>37.214</c:v>
                </c:pt>
                <c:pt idx="3930">
                  <c:v>37.223</c:v>
                </c:pt>
                <c:pt idx="3931">
                  <c:v>37.233</c:v>
                </c:pt>
                <c:pt idx="3932">
                  <c:v>37.242</c:v>
                </c:pt>
                <c:pt idx="3933">
                  <c:v>37.251</c:v>
                </c:pt>
                <c:pt idx="3934">
                  <c:v>37.26</c:v>
                </c:pt>
                <c:pt idx="3935">
                  <c:v>37.269</c:v>
                </c:pt>
                <c:pt idx="3936">
                  <c:v>37.278</c:v>
                </c:pt>
                <c:pt idx="3937">
                  <c:v>37.287</c:v>
                </c:pt>
                <c:pt idx="3938">
                  <c:v>37.296</c:v>
                </c:pt>
                <c:pt idx="3939">
                  <c:v>37.305</c:v>
                </c:pt>
                <c:pt idx="3940">
                  <c:v>37.314</c:v>
                </c:pt>
                <c:pt idx="3941">
                  <c:v>37.323</c:v>
                </c:pt>
                <c:pt idx="3942">
                  <c:v>37.332</c:v>
                </c:pt>
                <c:pt idx="3943">
                  <c:v>37.341</c:v>
                </c:pt>
                <c:pt idx="3944">
                  <c:v>37.35</c:v>
                </c:pt>
                <c:pt idx="3945">
                  <c:v>37.359</c:v>
                </c:pt>
                <c:pt idx="3946">
                  <c:v>37.368</c:v>
                </c:pt>
                <c:pt idx="3947">
                  <c:v>37.377</c:v>
                </c:pt>
                <c:pt idx="3948">
                  <c:v>37.386</c:v>
                </c:pt>
                <c:pt idx="3949">
                  <c:v>37.395</c:v>
                </c:pt>
                <c:pt idx="3950">
                  <c:v>37.405</c:v>
                </c:pt>
                <c:pt idx="3951">
                  <c:v>37.414</c:v>
                </c:pt>
                <c:pt idx="3952">
                  <c:v>37.423</c:v>
                </c:pt>
                <c:pt idx="3953">
                  <c:v>37.432</c:v>
                </c:pt>
                <c:pt idx="3954">
                  <c:v>37.441</c:v>
                </c:pt>
                <c:pt idx="3955">
                  <c:v>37.45</c:v>
                </c:pt>
                <c:pt idx="3956">
                  <c:v>37.459</c:v>
                </c:pt>
                <c:pt idx="3957">
                  <c:v>37.468</c:v>
                </c:pt>
                <c:pt idx="3958">
                  <c:v>37.477</c:v>
                </c:pt>
                <c:pt idx="3959">
                  <c:v>37.486</c:v>
                </c:pt>
                <c:pt idx="3960">
                  <c:v>37.495</c:v>
                </c:pt>
                <c:pt idx="3961">
                  <c:v>37.504</c:v>
                </c:pt>
                <c:pt idx="3962">
                  <c:v>37.513</c:v>
                </c:pt>
                <c:pt idx="3963">
                  <c:v>37.522</c:v>
                </c:pt>
                <c:pt idx="3964">
                  <c:v>37.531</c:v>
                </c:pt>
                <c:pt idx="3965">
                  <c:v>37.54</c:v>
                </c:pt>
                <c:pt idx="3966">
                  <c:v>37.549</c:v>
                </c:pt>
                <c:pt idx="3967">
                  <c:v>37.559</c:v>
                </c:pt>
                <c:pt idx="3968">
                  <c:v>37.569</c:v>
                </c:pt>
                <c:pt idx="3969">
                  <c:v>37.578</c:v>
                </c:pt>
                <c:pt idx="3970">
                  <c:v>37.587</c:v>
                </c:pt>
                <c:pt idx="3971">
                  <c:v>37.596</c:v>
                </c:pt>
                <c:pt idx="3972">
                  <c:v>37.605</c:v>
                </c:pt>
                <c:pt idx="3973">
                  <c:v>37.615</c:v>
                </c:pt>
                <c:pt idx="3974">
                  <c:v>37.624</c:v>
                </c:pt>
                <c:pt idx="3975">
                  <c:v>37.633</c:v>
                </c:pt>
                <c:pt idx="3976">
                  <c:v>37.642</c:v>
                </c:pt>
                <c:pt idx="3977">
                  <c:v>37.651</c:v>
                </c:pt>
                <c:pt idx="3978">
                  <c:v>37.66</c:v>
                </c:pt>
                <c:pt idx="3979">
                  <c:v>37.669</c:v>
                </c:pt>
                <c:pt idx="3980">
                  <c:v>37.678</c:v>
                </c:pt>
                <c:pt idx="3981">
                  <c:v>37.687</c:v>
                </c:pt>
                <c:pt idx="3982">
                  <c:v>37.696</c:v>
                </c:pt>
                <c:pt idx="3983">
                  <c:v>37.705</c:v>
                </c:pt>
                <c:pt idx="3984">
                  <c:v>37.714</c:v>
                </c:pt>
                <c:pt idx="3985">
                  <c:v>37.723</c:v>
                </c:pt>
                <c:pt idx="3986">
                  <c:v>37.732</c:v>
                </c:pt>
                <c:pt idx="3987">
                  <c:v>37.742</c:v>
                </c:pt>
                <c:pt idx="3988">
                  <c:v>37.755</c:v>
                </c:pt>
                <c:pt idx="3989">
                  <c:v>37.765</c:v>
                </c:pt>
                <c:pt idx="3990">
                  <c:v>37.774</c:v>
                </c:pt>
                <c:pt idx="3991">
                  <c:v>37.783</c:v>
                </c:pt>
                <c:pt idx="3992">
                  <c:v>37.792</c:v>
                </c:pt>
                <c:pt idx="3993">
                  <c:v>37.801</c:v>
                </c:pt>
                <c:pt idx="3994">
                  <c:v>37.81</c:v>
                </c:pt>
                <c:pt idx="3995">
                  <c:v>37.819</c:v>
                </c:pt>
                <c:pt idx="3996">
                  <c:v>37.828</c:v>
                </c:pt>
                <c:pt idx="3997">
                  <c:v>37.837</c:v>
                </c:pt>
                <c:pt idx="3998">
                  <c:v>37.846</c:v>
                </c:pt>
                <c:pt idx="3999">
                  <c:v>37.855</c:v>
                </c:pt>
                <c:pt idx="4000">
                  <c:v>37.865</c:v>
                </c:pt>
                <c:pt idx="4001">
                  <c:v>37.874</c:v>
                </c:pt>
                <c:pt idx="4002">
                  <c:v>37.883</c:v>
                </c:pt>
                <c:pt idx="4003">
                  <c:v>37.892</c:v>
                </c:pt>
                <c:pt idx="4004">
                  <c:v>37.901</c:v>
                </c:pt>
                <c:pt idx="4005">
                  <c:v>37.91</c:v>
                </c:pt>
                <c:pt idx="4006">
                  <c:v>37.919</c:v>
                </c:pt>
                <c:pt idx="4007">
                  <c:v>37.929</c:v>
                </c:pt>
                <c:pt idx="4008">
                  <c:v>37.938</c:v>
                </c:pt>
                <c:pt idx="4009">
                  <c:v>37.947</c:v>
                </c:pt>
                <c:pt idx="4010">
                  <c:v>37.956</c:v>
                </c:pt>
                <c:pt idx="4011">
                  <c:v>37.965</c:v>
                </c:pt>
                <c:pt idx="4012">
                  <c:v>37.974</c:v>
                </c:pt>
                <c:pt idx="4013">
                  <c:v>37.983</c:v>
                </c:pt>
                <c:pt idx="4014">
                  <c:v>37.992</c:v>
                </c:pt>
                <c:pt idx="4015">
                  <c:v>38.001</c:v>
                </c:pt>
                <c:pt idx="4016">
                  <c:v>38.01</c:v>
                </c:pt>
                <c:pt idx="4017">
                  <c:v>38.019</c:v>
                </c:pt>
                <c:pt idx="4018">
                  <c:v>38.028</c:v>
                </c:pt>
                <c:pt idx="4019">
                  <c:v>38.037</c:v>
                </c:pt>
                <c:pt idx="4020">
                  <c:v>38.046</c:v>
                </c:pt>
                <c:pt idx="4021">
                  <c:v>38.055</c:v>
                </c:pt>
                <c:pt idx="4022">
                  <c:v>38.064</c:v>
                </c:pt>
                <c:pt idx="4023">
                  <c:v>38.073</c:v>
                </c:pt>
                <c:pt idx="4024">
                  <c:v>38.082</c:v>
                </c:pt>
                <c:pt idx="4025">
                  <c:v>38.091</c:v>
                </c:pt>
                <c:pt idx="4026">
                  <c:v>38.1</c:v>
                </c:pt>
                <c:pt idx="4027">
                  <c:v>38.109</c:v>
                </c:pt>
                <c:pt idx="4028">
                  <c:v>38.118</c:v>
                </c:pt>
                <c:pt idx="4029">
                  <c:v>38.127</c:v>
                </c:pt>
                <c:pt idx="4030">
                  <c:v>38.136</c:v>
                </c:pt>
                <c:pt idx="4031">
                  <c:v>38.145</c:v>
                </c:pt>
                <c:pt idx="4032">
                  <c:v>38.155</c:v>
                </c:pt>
                <c:pt idx="4033">
                  <c:v>38.164</c:v>
                </c:pt>
                <c:pt idx="4034">
                  <c:v>38.173</c:v>
                </c:pt>
                <c:pt idx="4035">
                  <c:v>38.182</c:v>
                </c:pt>
                <c:pt idx="4036">
                  <c:v>38.191</c:v>
                </c:pt>
                <c:pt idx="4037">
                  <c:v>38.2</c:v>
                </c:pt>
                <c:pt idx="4038">
                  <c:v>38.209</c:v>
                </c:pt>
                <c:pt idx="4039">
                  <c:v>38.218</c:v>
                </c:pt>
                <c:pt idx="4040">
                  <c:v>38.227</c:v>
                </c:pt>
                <c:pt idx="4041">
                  <c:v>38.236</c:v>
                </c:pt>
                <c:pt idx="4042">
                  <c:v>38.245</c:v>
                </c:pt>
                <c:pt idx="4043">
                  <c:v>38.258</c:v>
                </c:pt>
                <c:pt idx="4044">
                  <c:v>38.269</c:v>
                </c:pt>
                <c:pt idx="4045">
                  <c:v>38.278</c:v>
                </c:pt>
                <c:pt idx="4046">
                  <c:v>38.287</c:v>
                </c:pt>
                <c:pt idx="4047">
                  <c:v>38.297</c:v>
                </c:pt>
                <c:pt idx="4048">
                  <c:v>38.306</c:v>
                </c:pt>
                <c:pt idx="4049">
                  <c:v>38.315</c:v>
                </c:pt>
                <c:pt idx="4050">
                  <c:v>38.325</c:v>
                </c:pt>
                <c:pt idx="4051">
                  <c:v>38.334</c:v>
                </c:pt>
                <c:pt idx="4052">
                  <c:v>38.343</c:v>
                </c:pt>
                <c:pt idx="4053">
                  <c:v>38.352</c:v>
                </c:pt>
                <c:pt idx="4054">
                  <c:v>38.362</c:v>
                </c:pt>
                <c:pt idx="4055">
                  <c:v>38.371</c:v>
                </c:pt>
                <c:pt idx="4056">
                  <c:v>38.38</c:v>
                </c:pt>
                <c:pt idx="4057">
                  <c:v>38.389</c:v>
                </c:pt>
                <c:pt idx="4058">
                  <c:v>38.398</c:v>
                </c:pt>
                <c:pt idx="4059">
                  <c:v>38.407</c:v>
                </c:pt>
                <c:pt idx="4060">
                  <c:v>38.416</c:v>
                </c:pt>
                <c:pt idx="4061">
                  <c:v>38.425</c:v>
                </c:pt>
                <c:pt idx="4062">
                  <c:v>38.434</c:v>
                </c:pt>
                <c:pt idx="4063">
                  <c:v>38.443</c:v>
                </c:pt>
                <c:pt idx="4064">
                  <c:v>38.452</c:v>
                </c:pt>
                <c:pt idx="4065">
                  <c:v>38.461</c:v>
                </c:pt>
                <c:pt idx="4066">
                  <c:v>38.47</c:v>
                </c:pt>
                <c:pt idx="4067">
                  <c:v>38.479</c:v>
                </c:pt>
                <c:pt idx="4068">
                  <c:v>38.488</c:v>
                </c:pt>
                <c:pt idx="4069">
                  <c:v>38.497</c:v>
                </c:pt>
                <c:pt idx="4070">
                  <c:v>38.506</c:v>
                </c:pt>
                <c:pt idx="4071">
                  <c:v>38.515</c:v>
                </c:pt>
                <c:pt idx="4072">
                  <c:v>38.524</c:v>
                </c:pt>
                <c:pt idx="4073">
                  <c:v>38.533</c:v>
                </c:pt>
                <c:pt idx="4074">
                  <c:v>38.542</c:v>
                </c:pt>
                <c:pt idx="4075">
                  <c:v>38.551</c:v>
                </c:pt>
                <c:pt idx="4076">
                  <c:v>38.56</c:v>
                </c:pt>
                <c:pt idx="4077">
                  <c:v>38.569</c:v>
                </c:pt>
                <c:pt idx="4078">
                  <c:v>38.578</c:v>
                </c:pt>
                <c:pt idx="4079">
                  <c:v>38.587</c:v>
                </c:pt>
                <c:pt idx="4080">
                  <c:v>38.596</c:v>
                </c:pt>
                <c:pt idx="4081">
                  <c:v>38.605</c:v>
                </c:pt>
                <c:pt idx="4082">
                  <c:v>38.615</c:v>
                </c:pt>
                <c:pt idx="4083">
                  <c:v>38.624</c:v>
                </c:pt>
                <c:pt idx="4084">
                  <c:v>38.633</c:v>
                </c:pt>
                <c:pt idx="4085">
                  <c:v>38.642</c:v>
                </c:pt>
                <c:pt idx="4086">
                  <c:v>38.651</c:v>
                </c:pt>
                <c:pt idx="4087">
                  <c:v>38.66</c:v>
                </c:pt>
                <c:pt idx="4088">
                  <c:v>38.669</c:v>
                </c:pt>
                <c:pt idx="4089">
                  <c:v>38.678</c:v>
                </c:pt>
                <c:pt idx="4090">
                  <c:v>38.687</c:v>
                </c:pt>
                <c:pt idx="4091">
                  <c:v>38.696</c:v>
                </c:pt>
                <c:pt idx="4092">
                  <c:v>38.705</c:v>
                </c:pt>
                <c:pt idx="4093">
                  <c:v>38.714</c:v>
                </c:pt>
                <c:pt idx="4094">
                  <c:v>38.723</c:v>
                </c:pt>
                <c:pt idx="4095">
                  <c:v>38.732</c:v>
                </c:pt>
                <c:pt idx="4096">
                  <c:v>38.741</c:v>
                </c:pt>
                <c:pt idx="4097">
                  <c:v>38.751</c:v>
                </c:pt>
                <c:pt idx="4098">
                  <c:v>38.762</c:v>
                </c:pt>
                <c:pt idx="4099">
                  <c:v>38.773</c:v>
                </c:pt>
                <c:pt idx="4100">
                  <c:v>38.782</c:v>
                </c:pt>
                <c:pt idx="4101">
                  <c:v>38.791</c:v>
                </c:pt>
                <c:pt idx="4102">
                  <c:v>38.8</c:v>
                </c:pt>
                <c:pt idx="4103">
                  <c:v>38.809</c:v>
                </c:pt>
                <c:pt idx="4104">
                  <c:v>38.818</c:v>
                </c:pt>
                <c:pt idx="4105">
                  <c:v>38.827</c:v>
                </c:pt>
                <c:pt idx="4106">
                  <c:v>38.836</c:v>
                </c:pt>
                <c:pt idx="4107">
                  <c:v>38.845</c:v>
                </c:pt>
                <c:pt idx="4108">
                  <c:v>38.854</c:v>
                </c:pt>
                <c:pt idx="4109">
                  <c:v>38.863</c:v>
                </c:pt>
                <c:pt idx="4110">
                  <c:v>38.872</c:v>
                </c:pt>
                <c:pt idx="4111">
                  <c:v>38.881</c:v>
                </c:pt>
                <c:pt idx="4112">
                  <c:v>38.89</c:v>
                </c:pt>
                <c:pt idx="4113">
                  <c:v>38.899</c:v>
                </c:pt>
                <c:pt idx="4114">
                  <c:v>38.908</c:v>
                </c:pt>
                <c:pt idx="4115">
                  <c:v>38.917</c:v>
                </c:pt>
                <c:pt idx="4116">
                  <c:v>38.926</c:v>
                </c:pt>
                <c:pt idx="4117">
                  <c:v>38.935</c:v>
                </c:pt>
                <c:pt idx="4118">
                  <c:v>38.944</c:v>
                </c:pt>
                <c:pt idx="4119">
                  <c:v>38.953</c:v>
                </c:pt>
                <c:pt idx="4120">
                  <c:v>38.963</c:v>
                </c:pt>
                <c:pt idx="4121">
                  <c:v>38.972</c:v>
                </c:pt>
                <c:pt idx="4122">
                  <c:v>38.981</c:v>
                </c:pt>
                <c:pt idx="4123">
                  <c:v>38.99</c:v>
                </c:pt>
                <c:pt idx="4124">
                  <c:v>38.999</c:v>
                </c:pt>
                <c:pt idx="4125">
                  <c:v>39.008</c:v>
                </c:pt>
                <c:pt idx="4126">
                  <c:v>39.017</c:v>
                </c:pt>
                <c:pt idx="4127">
                  <c:v>39.026</c:v>
                </c:pt>
                <c:pt idx="4128">
                  <c:v>39.035</c:v>
                </c:pt>
                <c:pt idx="4129">
                  <c:v>39.044</c:v>
                </c:pt>
                <c:pt idx="4130">
                  <c:v>39.053</c:v>
                </c:pt>
                <c:pt idx="4131">
                  <c:v>39.062</c:v>
                </c:pt>
                <c:pt idx="4132">
                  <c:v>39.071</c:v>
                </c:pt>
                <c:pt idx="4133">
                  <c:v>39.08</c:v>
                </c:pt>
                <c:pt idx="4134">
                  <c:v>39.089</c:v>
                </c:pt>
                <c:pt idx="4135">
                  <c:v>39.098</c:v>
                </c:pt>
                <c:pt idx="4136">
                  <c:v>39.108</c:v>
                </c:pt>
                <c:pt idx="4137">
                  <c:v>39.117</c:v>
                </c:pt>
                <c:pt idx="4138">
                  <c:v>39.126</c:v>
                </c:pt>
                <c:pt idx="4139">
                  <c:v>39.135</c:v>
                </c:pt>
                <c:pt idx="4140">
                  <c:v>39.144</c:v>
                </c:pt>
                <c:pt idx="4141">
                  <c:v>39.153</c:v>
                </c:pt>
                <c:pt idx="4142">
                  <c:v>39.162</c:v>
                </c:pt>
                <c:pt idx="4143">
                  <c:v>39.171</c:v>
                </c:pt>
                <c:pt idx="4144">
                  <c:v>39.18</c:v>
                </c:pt>
                <c:pt idx="4145">
                  <c:v>39.189</c:v>
                </c:pt>
                <c:pt idx="4146">
                  <c:v>39.198</c:v>
                </c:pt>
                <c:pt idx="4147">
                  <c:v>39.207</c:v>
                </c:pt>
                <c:pt idx="4148">
                  <c:v>39.216</c:v>
                </c:pt>
                <c:pt idx="4149">
                  <c:v>39.225</c:v>
                </c:pt>
                <c:pt idx="4150">
                  <c:v>39.234</c:v>
                </c:pt>
                <c:pt idx="4151">
                  <c:v>39.243</c:v>
                </c:pt>
                <c:pt idx="4152">
                  <c:v>39.253</c:v>
                </c:pt>
                <c:pt idx="4153">
                  <c:v>39.265</c:v>
                </c:pt>
                <c:pt idx="4154">
                  <c:v>39.276</c:v>
                </c:pt>
                <c:pt idx="4155">
                  <c:v>39.287</c:v>
                </c:pt>
                <c:pt idx="4156">
                  <c:v>39.296</c:v>
                </c:pt>
                <c:pt idx="4157">
                  <c:v>39.305</c:v>
                </c:pt>
                <c:pt idx="4158">
                  <c:v>39.314</c:v>
                </c:pt>
                <c:pt idx="4159">
                  <c:v>39.323</c:v>
                </c:pt>
                <c:pt idx="4160">
                  <c:v>39.332</c:v>
                </c:pt>
                <c:pt idx="4161">
                  <c:v>39.341</c:v>
                </c:pt>
                <c:pt idx="4162">
                  <c:v>39.35</c:v>
                </c:pt>
                <c:pt idx="4163">
                  <c:v>39.359</c:v>
                </c:pt>
                <c:pt idx="4164">
                  <c:v>39.368</c:v>
                </c:pt>
                <c:pt idx="4165">
                  <c:v>39.377</c:v>
                </c:pt>
                <c:pt idx="4166">
                  <c:v>39.386</c:v>
                </c:pt>
                <c:pt idx="4167">
                  <c:v>39.395</c:v>
                </c:pt>
                <c:pt idx="4168">
                  <c:v>39.405</c:v>
                </c:pt>
                <c:pt idx="4169">
                  <c:v>39.414</c:v>
                </c:pt>
                <c:pt idx="4170">
                  <c:v>39.423</c:v>
                </c:pt>
                <c:pt idx="4171">
                  <c:v>39.432</c:v>
                </c:pt>
                <c:pt idx="4172">
                  <c:v>39.441</c:v>
                </c:pt>
                <c:pt idx="4173">
                  <c:v>39.45</c:v>
                </c:pt>
                <c:pt idx="4174">
                  <c:v>39.459</c:v>
                </c:pt>
                <c:pt idx="4175">
                  <c:v>39.468</c:v>
                </c:pt>
                <c:pt idx="4176">
                  <c:v>39.477</c:v>
                </c:pt>
                <c:pt idx="4177">
                  <c:v>39.486</c:v>
                </c:pt>
                <c:pt idx="4178">
                  <c:v>39.495</c:v>
                </c:pt>
                <c:pt idx="4179">
                  <c:v>39.504</c:v>
                </c:pt>
                <c:pt idx="4180">
                  <c:v>39.513</c:v>
                </c:pt>
                <c:pt idx="4181">
                  <c:v>39.522</c:v>
                </c:pt>
                <c:pt idx="4182">
                  <c:v>39.531</c:v>
                </c:pt>
                <c:pt idx="4183">
                  <c:v>39.54</c:v>
                </c:pt>
                <c:pt idx="4184">
                  <c:v>39.55</c:v>
                </c:pt>
                <c:pt idx="4185">
                  <c:v>39.559</c:v>
                </c:pt>
                <c:pt idx="4186">
                  <c:v>39.568</c:v>
                </c:pt>
                <c:pt idx="4187">
                  <c:v>39.577</c:v>
                </c:pt>
                <c:pt idx="4188">
                  <c:v>39.586</c:v>
                </c:pt>
                <c:pt idx="4189">
                  <c:v>39.595</c:v>
                </c:pt>
                <c:pt idx="4190">
                  <c:v>39.604</c:v>
                </c:pt>
                <c:pt idx="4191">
                  <c:v>39.613</c:v>
                </c:pt>
                <c:pt idx="4192">
                  <c:v>39.622</c:v>
                </c:pt>
                <c:pt idx="4193">
                  <c:v>39.631</c:v>
                </c:pt>
                <c:pt idx="4194">
                  <c:v>39.64</c:v>
                </c:pt>
                <c:pt idx="4195">
                  <c:v>39.649</c:v>
                </c:pt>
                <c:pt idx="4196">
                  <c:v>39.658</c:v>
                </c:pt>
                <c:pt idx="4197">
                  <c:v>39.667</c:v>
                </c:pt>
                <c:pt idx="4198">
                  <c:v>39.676</c:v>
                </c:pt>
                <c:pt idx="4199">
                  <c:v>39.685</c:v>
                </c:pt>
                <c:pt idx="4200">
                  <c:v>39.695</c:v>
                </c:pt>
                <c:pt idx="4201">
                  <c:v>39.704</c:v>
                </c:pt>
                <c:pt idx="4202">
                  <c:v>39.713</c:v>
                </c:pt>
                <c:pt idx="4203">
                  <c:v>39.722</c:v>
                </c:pt>
                <c:pt idx="4204">
                  <c:v>39.731</c:v>
                </c:pt>
                <c:pt idx="4205">
                  <c:v>39.74</c:v>
                </c:pt>
                <c:pt idx="4206">
                  <c:v>39.749</c:v>
                </c:pt>
                <c:pt idx="4207">
                  <c:v>39.758</c:v>
                </c:pt>
                <c:pt idx="4208">
                  <c:v>39.767</c:v>
                </c:pt>
                <c:pt idx="4209">
                  <c:v>39.776</c:v>
                </c:pt>
                <c:pt idx="4210">
                  <c:v>39.785</c:v>
                </c:pt>
                <c:pt idx="4211">
                  <c:v>39.794</c:v>
                </c:pt>
                <c:pt idx="4212">
                  <c:v>39.803</c:v>
                </c:pt>
                <c:pt idx="4213">
                  <c:v>39.812</c:v>
                </c:pt>
                <c:pt idx="4214">
                  <c:v>39.821</c:v>
                </c:pt>
                <c:pt idx="4215">
                  <c:v>39.83</c:v>
                </c:pt>
                <c:pt idx="4216">
                  <c:v>39.84</c:v>
                </c:pt>
                <c:pt idx="4217">
                  <c:v>39.849</c:v>
                </c:pt>
                <c:pt idx="4218">
                  <c:v>39.858</c:v>
                </c:pt>
                <c:pt idx="4219">
                  <c:v>39.867</c:v>
                </c:pt>
                <c:pt idx="4220">
                  <c:v>39.876</c:v>
                </c:pt>
                <c:pt idx="4221">
                  <c:v>39.885</c:v>
                </c:pt>
                <c:pt idx="4222">
                  <c:v>39.894</c:v>
                </c:pt>
                <c:pt idx="4223">
                  <c:v>39.903</c:v>
                </c:pt>
                <c:pt idx="4224">
                  <c:v>39.912</c:v>
                </c:pt>
                <c:pt idx="4225">
                  <c:v>39.921</c:v>
                </c:pt>
                <c:pt idx="4226">
                  <c:v>39.93</c:v>
                </c:pt>
                <c:pt idx="4227">
                  <c:v>39.939</c:v>
                </c:pt>
                <c:pt idx="4228">
                  <c:v>39.948</c:v>
                </c:pt>
                <c:pt idx="4229">
                  <c:v>39.957</c:v>
                </c:pt>
                <c:pt idx="4230">
                  <c:v>39.966</c:v>
                </c:pt>
                <c:pt idx="4231">
                  <c:v>39.975</c:v>
                </c:pt>
                <c:pt idx="4232">
                  <c:v>39.984</c:v>
                </c:pt>
                <c:pt idx="4233">
                  <c:v>39.994</c:v>
                </c:pt>
                <c:pt idx="4234">
                  <c:v>40.003</c:v>
                </c:pt>
                <c:pt idx="4235">
                  <c:v>40.012</c:v>
                </c:pt>
                <c:pt idx="4236">
                  <c:v>40.021</c:v>
                </c:pt>
                <c:pt idx="4237">
                  <c:v>40.03</c:v>
                </c:pt>
                <c:pt idx="4238">
                  <c:v>40.039</c:v>
                </c:pt>
                <c:pt idx="4239">
                  <c:v>40.049</c:v>
                </c:pt>
                <c:pt idx="4240">
                  <c:v>40.058</c:v>
                </c:pt>
                <c:pt idx="4241">
                  <c:v>40.067</c:v>
                </c:pt>
                <c:pt idx="4242">
                  <c:v>40.076</c:v>
                </c:pt>
                <c:pt idx="4243">
                  <c:v>40.085</c:v>
                </c:pt>
                <c:pt idx="4244">
                  <c:v>40.094</c:v>
                </c:pt>
                <c:pt idx="4245">
                  <c:v>40.103</c:v>
                </c:pt>
                <c:pt idx="4246">
                  <c:v>40.112</c:v>
                </c:pt>
                <c:pt idx="4247">
                  <c:v>40.121</c:v>
                </c:pt>
                <c:pt idx="4248">
                  <c:v>40.13</c:v>
                </c:pt>
                <c:pt idx="4249">
                  <c:v>40.139</c:v>
                </c:pt>
                <c:pt idx="4250">
                  <c:v>40.148</c:v>
                </c:pt>
                <c:pt idx="4251">
                  <c:v>40.157</c:v>
                </c:pt>
                <c:pt idx="4252">
                  <c:v>40.166</c:v>
                </c:pt>
                <c:pt idx="4253">
                  <c:v>40.175</c:v>
                </c:pt>
                <c:pt idx="4254">
                  <c:v>40.184</c:v>
                </c:pt>
                <c:pt idx="4255">
                  <c:v>40.193</c:v>
                </c:pt>
                <c:pt idx="4256">
                  <c:v>40.202</c:v>
                </c:pt>
                <c:pt idx="4257">
                  <c:v>40.211</c:v>
                </c:pt>
                <c:pt idx="4258">
                  <c:v>40.22</c:v>
                </c:pt>
                <c:pt idx="4259">
                  <c:v>40.229</c:v>
                </c:pt>
                <c:pt idx="4260">
                  <c:v>40.238</c:v>
                </c:pt>
                <c:pt idx="4261">
                  <c:v>40.247</c:v>
                </c:pt>
                <c:pt idx="4262">
                  <c:v>40.256</c:v>
                </c:pt>
                <c:pt idx="4263">
                  <c:v>40.267</c:v>
                </c:pt>
                <c:pt idx="4264">
                  <c:v>40.277</c:v>
                </c:pt>
                <c:pt idx="4265">
                  <c:v>40.29</c:v>
                </c:pt>
                <c:pt idx="4266">
                  <c:v>40.299</c:v>
                </c:pt>
                <c:pt idx="4267">
                  <c:v>40.308</c:v>
                </c:pt>
                <c:pt idx="4268">
                  <c:v>40.317</c:v>
                </c:pt>
                <c:pt idx="4269">
                  <c:v>40.326</c:v>
                </c:pt>
                <c:pt idx="4270">
                  <c:v>40.335</c:v>
                </c:pt>
                <c:pt idx="4271">
                  <c:v>40.344</c:v>
                </c:pt>
                <c:pt idx="4272">
                  <c:v>40.353</c:v>
                </c:pt>
                <c:pt idx="4273">
                  <c:v>40.362</c:v>
                </c:pt>
                <c:pt idx="4274">
                  <c:v>40.371</c:v>
                </c:pt>
                <c:pt idx="4275">
                  <c:v>40.38</c:v>
                </c:pt>
                <c:pt idx="4276">
                  <c:v>40.397</c:v>
                </c:pt>
                <c:pt idx="4277">
                  <c:v>40.406</c:v>
                </c:pt>
                <c:pt idx="4278">
                  <c:v>40.415</c:v>
                </c:pt>
                <c:pt idx="4279">
                  <c:v>40.424</c:v>
                </c:pt>
                <c:pt idx="4280">
                  <c:v>40.433</c:v>
                </c:pt>
                <c:pt idx="4281">
                  <c:v>40.442</c:v>
                </c:pt>
                <c:pt idx="4282">
                  <c:v>40.451</c:v>
                </c:pt>
                <c:pt idx="4283">
                  <c:v>40.46</c:v>
                </c:pt>
                <c:pt idx="4284">
                  <c:v>40.469</c:v>
                </c:pt>
                <c:pt idx="4285">
                  <c:v>40.478</c:v>
                </c:pt>
                <c:pt idx="4286">
                  <c:v>40.487</c:v>
                </c:pt>
                <c:pt idx="4287">
                  <c:v>40.497</c:v>
                </c:pt>
                <c:pt idx="4288">
                  <c:v>40.506</c:v>
                </c:pt>
                <c:pt idx="4289">
                  <c:v>40.515</c:v>
                </c:pt>
                <c:pt idx="4290">
                  <c:v>40.525</c:v>
                </c:pt>
                <c:pt idx="4291">
                  <c:v>40.534</c:v>
                </c:pt>
                <c:pt idx="4292">
                  <c:v>40.543</c:v>
                </c:pt>
                <c:pt idx="4293">
                  <c:v>40.552</c:v>
                </c:pt>
                <c:pt idx="4294">
                  <c:v>40.561</c:v>
                </c:pt>
                <c:pt idx="4295">
                  <c:v>40.57</c:v>
                </c:pt>
                <c:pt idx="4296">
                  <c:v>40.579</c:v>
                </c:pt>
                <c:pt idx="4297">
                  <c:v>40.588</c:v>
                </c:pt>
                <c:pt idx="4298">
                  <c:v>40.598</c:v>
                </c:pt>
                <c:pt idx="4299">
                  <c:v>40.607</c:v>
                </c:pt>
                <c:pt idx="4300">
                  <c:v>40.616</c:v>
                </c:pt>
                <c:pt idx="4301">
                  <c:v>40.626</c:v>
                </c:pt>
                <c:pt idx="4302">
                  <c:v>40.635</c:v>
                </c:pt>
                <c:pt idx="4303">
                  <c:v>40.644</c:v>
                </c:pt>
                <c:pt idx="4304">
                  <c:v>40.653</c:v>
                </c:pt>
                <c:pt idx="4305">
                  <c:v>40.662</c:v>
                </c:pt>
                <c:pt idx="4306">
                  <c:v>40.671</c:v>
                </c:pt>
                <c:pt idx="4307">
                  <c:v>40.68</c:v>
                </c:pt>
                <c:pt idx="4308">
                  <c:v>40.689</c:v>
                </c:pt>
                <c:pt idx="4309">
                  <c:v>40.698</c:v>
                </c:pt>
                <c:pt idx="4310">
                  <c:v>40.707</c:v>
                </c:pt>
                <c:pt idx="4311">
                  <c:v>40.716</c:v>
                </c:pt>
                <c:pt idx="4312">
                  <c:v>40.725</c:v>
                </c:pt>
                <c:pt idx="4313">
                  <c:v>40.734</c:v>
                </c:pt>
                <c:pt idx="4314">
                  <c:v>40.743</c:v>
                </c:pt>
                <c:pt idx="4315">
                  <c:v>40.752</c:v>
                </c:pt>
                <c:pt idx="4316">
                  <c:v>40.761</c:v>
                </c:pt>
                <c:pt idx="4317">
                  <c:v>40.774</c:v>
                </c:pt>
                <c:pt idx="4318">
                  <c:v>40.786</c:v>
                </c:pt>
                <c:pt idx="4319">
                  <c:v>40.795</c:v>
                </c:pt>
                <c:pt idx="4320">
                  <c:v>40.804</c:v>
                </c:pt>
                <c:pt idx="4321">
                  <c:v>40.813</c:v>
                </c:pt>
                <c:pt idx="4322">
                  <c:v>40.822</c:v>
                </c:pt>
                <c:pt idx="4323">
                  <c:v>40.831</c:v>
                </c:pt>
                <c:pt idx="4324">
                  <c:v>40.84</c:v>
                </c:pt>
                <c:pt idx="4325">
                  <c:v>40.849</c:v>
                </c:pt>
                <c:pt idx="4326">
                  <c:v>40.858</c:v>
                </c:pt>
                <c:pt idx="4327">
                  <c:v>40.867</c:v>
                </c:pt>
                <c:pt idx="4328">
                  <c:v>40.876</c:v>
                </c:pt>
                <c:pt idx="4329">
                  <c:v>40.885</c:v>
                </c:pt>
                <c:pt idx="4330">
                  <c:v>40.894</c:v>
                </c:pt>
                <c:pt idx="4331">
                  <c:v>40.903</c:v>
                </c:pt>
                <c:pt idx="4332">
                  <c:v>40.912</c:v>
                </c:pt>
                <c:pt idx="4333">
                  <c:v>40.921</c:v>
                </c:pt>
                <c:pt idx="4334">
                  <c:v>40.93</c:v>
                </c:pt>
                <c:pt idx="4335">
                  <c:v>40.94</c:v>
                </c:pt>
                <c:pt idx="4336">
                  <c:v>40.949</c:v>
                </c:pt>
                <c:pt idx="4337">
                  <c:v>40.958</c:v>
                </c:pt>
                <c:pt idx="4338">
                  <c:v>40.967</c:v>
                </c:pt>
                <c:pt idx="4339">
                  <c:v>40.976</c:v>
                </c:pt>
                <c:pt idx="4340">
                  <c:v>40.986</c:v>
                </c:pt>
                <c:pt idx="4341">
                  <c:v>40.995</c:v>
                </c:pt>
                <c:pt idx="4342">
                  <c:v>41.005</c:v>
                </c:pt>
                <c:pt idx="4343">
                  <c:v>41.014</c:v>
                </c:pt>
                <c:pt idx="4344">
                  <c:v>41.023</c:v>
                </c:pt>
                <c:pt idx="4345">
                  <c:v>41.032</c:v>
                </c:pt>
                <c:pt idx="4346">
                  <c:v>41.041</c:v>
                </c:pt>
                <c:pt idx="4347">
                  <c:v>41.05</c:v>
                </c:pt>
                <c:pt idx="4348">
                  <c:v>41.059</c:v>
                </c:pt>
                <c:pt idx="4349">
                  <c:v>41.069</c:v>
                </c:pt>
                <c:pt idx="4350">
                  <c:v>41.078</c:v>
                </c:pt>
                <c:pt idx="4351">
                  <c:v>41.087</c:v>
                </c:pt>
                <c:pt idx="4352">
                  <c:v>41.096</c:v>
                </c:pt>
                <c:pt idx="4353">
                  <c:v>41.106</c:v>
                </c:pt>
                <c:pt idx="4354">
                  <c:v>41.115</c:v>
                </c:pt>
                <c:pt idx="4355">
                  <c:v>41.124</c:v>
                </c:pt>
                <c:pt idx="4356">
                  <c:v>41.133</c:v>
                </c:pt>
                <c:pt idx="4357">
                  <c:v>41.142</c:v>
                </c:pt>
                <c:pt idx="4358">
                  <c:v>41.151</c:v>
                </c:pt>
                <c:pt idx="4359">
                  <c:v>41.16</c:v>
                </c:pt>
                <c:pt idx="4360">
                  <c:v>41.17</c:v>
                </c:pt>
                <c:pt idx="4361">
                  <c:v>41.179</c:v>
                </c:pt>
                <c:pt idx="4362">
                  <c:v>41.188</c:v>
                </c:pt>
                <c:pt idx="4363">
                  <c:v>41.197</c:v>
                </c:pt>
                <c:pt idx="4364">
                  <c:v>41.206</c:v>
                </c:pt>
                <c:pt idx="4365">
                  <c:v>41.215</c:v>
                </c:pt>
                <c:pt idx="4366">
                  <c:v>41.224</c:v>
                </c:pt>
                <c:pt idx="4367">
                  <c:v>41.233</c:v>
                </c:pt>
                <c:pt idx="4368">
                  <c:v>41.242</c:v>
                </c:pt>
                <c:pt idx="4369">
                  <c:v>41.251</c:v>
                </c:pt>
                <c:pt idx="4370">
                  <c:v>41.26</c:v>
                </c:pt>
                <c:pt idx="4371">
                  <c:v>41.269</c:v>
                </c:pt>
                <c:pt idx="4372">
                  <c:v>41.278</c:v>
                </c:pt>
                <c:pt idx="4373">
                  <c:v>41.287</c:v>
                </c:pt>
                <c:pt idx="4374">
                  <c:v>41.296</c:v>
                </c:pt>
                <c:pt idx="4375">
                  <c:v>41.305</c:v>
                </c:pt>
                <c:pt idx="4376">
                  <c:v>41.315</c:v>
                </c:pt>
                <c:pt idx="4377">
                  <c:v>41.324</c:v>
                </c:pt>
                <c:pt idx="4378">
                  <c:v>41.333</c:v>
                </c:pt>
                <c:pt idx="4379">
                  <c:v>41.342</c:v>
                </c:pt>
                <c:pt idx="4380">
                  <c:v>41.351</c:v>
                </c:pt>
                <c:pt idx="4381">
                  <c:v>41.36</c:v>
                </c:pt>
                <c:pt idx="4382">
                  <c:v>41.37</c:v>
                </c:pt>
                <c:pt idx="4383">
                  <c:v>41.379</c:v>
                </c:pt>
                <c:pt idx="4384">
                  <c:v>41.388</c:v>
                </c:pt>
                <c:pt idx="4385">
                  <c:v>41.397</c:v>
                </c:pt>
                <c:pt idx="4386">
                  <c:v>41.406</c:v>
                </c:pt>
                <c:pt idx="4387">
                  <c:v>41.415</c:v>
                </c:pt>
                <c:pt idx="4388">
                  <c:v>41.424</c:v>
                </c:pt>
                <c:pt idx="4389">
                  <c:v>41.433</c:v>
                </c:pt>
                <c:pt idx="4390">
                  <c:v>41.442</c:v>
                </c:pt>
                <c:pt idx="4391">
                  <c:v>41.451</c:v>
                </c:pt>
                <c:pt idx="4392">
                  <c:v>41.46</c:v>
                </c:pt>
                <c:pt idx="4393">
                  <c:v>41.469</c:v>
                </c:pt>
                <c:pt idx="4394">
                  <c:v>41.478</c:v>
                </c:pt>
                <c:pt idx="4395">
                  <c:v>41.487</c:v>
                </c:pt>
                <c:pt idx="4396">
                  <c:v>41.496</c:v>
                </c:pt>
                <c:pt idx="4397">
                  <c:v>41.505</c:v>
                </c:pt>
                <c:pt idx="4398">
                  <c:v>41.514</c:v>
                </c:pt>
                <c:pt idx="4399">
                  <c:v>41.523</c:v>
                </c:pt>
                <c:pt idx="4400">
                  <c:v>41.532</c:v>
                </c:pt>
                <c:pt idx="4401">
                  <c:v>41.541</c:v>
                </c:pt>
                <c:pt idx="4402">
                  <c:v>41.55</c:v>
                </c:pt>
                <c:pt idx="4403">
                  <c:v>41.559</c:v>
                </c:pt>
                <c:pt idx="4404">
                  <c:v>41.568</c:v>
                </c:pt>
                <c:pt idx="4405">
                  <c:v>41.577</c:v>
                </c:pt>
                <c:pt idx="4406">
                  <c:v>41.586</c:v>
                </c:pt>
                <c:pt idx="4407">
                  <c:v>41.595</c:v>
                </c:pt>
                <c:pt idx="4408">
                  <c:v>41.605</c:v>
                </c:pt>
                <c:pt idx="4409">
                  <c:v>41.614</c:v>
                </c:pt>
                <c:pt idx="4410">
                  <c:v>41.623</c:v>
                </c:pt>
                <c:pt idx="4411">
                  <c:v>41.632</c:v>
                </c:pt>
                <c:pt idx="4412">
                  <c:v>41.641</c:v>
                </c:pt>
                <c:pt idx="4413">
                  <c:v>41.65</c:v>
                </c:pt>
                <c:pt idx="4414">
                  <c:v>41.659</c:v>
                </c:pt>
                <c:pt idx="4415">
                  <c:v>41.668</c:v>
                </c:pt>
                <c:pt idx="4416">
                  <c:v>41.677</c:v>
                </c:pt>
                <c:pt idx="4417">
                  <c:v>41.686</c:v>
                </c:pt>
                <c:pt idx="4418">
                  <c:v>41.695</c:v>
                </c:pt>
                <c:pt idx="4419">
                  <c:v>41.704</c:v>
                </c:pt>
                <c:pt idx="4420">
                  <c:v>41.713</c:v>
                </c:pt>
                <c:pt idx="4421">
                  <c:v>41.722</c:v>
                </c:pt>
                <c:pt idx="4422">
                  <c:v>41.731</c:v>
                </c:pt>
                <c:pt idx="4423">
                  <c:v>41.74</c:v>
                </c:pt>
                <c:pt idx="4424">
                  <c:v>41.75</c:v>
                </c:pt>
                <c:pt idx="4425">
                  <c:v>41.759</c:v>
                </c:pt>
                <c:pt idx="4426">
                  <c:v>41.769</c:v>
                </c:pt>
                <c:pt idx="4427">
                  <c:v>41.783</c:v>
                </c:pt>
                <c:pt idx="4428">
                  <c:v>41.793</c:v>
                </c:pt>
                <c:pt idx="4429">
                  <c:v>41.805</c:v>
                </c:pt>
                <c:pt idx="4430">
                  <c:v>41.814</c:v>
                </c:pt>
                <c:pt idx="4431">
                  <c:v>41.823</c:v>
                </c:pt>
                <c:pt idx="4432">
                  <c:v>41.832</c:v>
                </c:pt>
                <c:pt idx="4433">
                  <c:v>41.841</c:v>
                </c:pt>
                <c:pt idx="4434">
                  <c:v>41.851</c:v>
                </c:pt>
                <c:pt idx="4435">
                  <c:v>41.86</c:v>
                </c:pt>
                <c:pt idx="4436">
                  <c:v>41.869</c:v>
                </c:pt>
                <c:pt idx="4437">
                  <c:v>41.878</c:v>
                </c:pt>
                <c:pt idx="4438">
                  <c:v>41.887</c:v>
                </c:pt>
                <c:pt idx="4439">
                  <c:v>41.896</c:v>
                </c:pt>
                <c:pt idx="4440">
                  <c:v>41.905</c:v>
                </c:pt>
                <c:pt idx="4441">
                  <c:v>41.914</c:v>
                </c:pt>
                <c:pt idx="4442">
                  <c:v>41.923</c:v>
                </c:pt>
                <c:pt idx="4443">
                  <c:v>41.932</c:v>
                </c:pt>
                <c:pt idx="4444">
                  <c:v>41.941</c:v>
                </c:pt>
                <c:pt idx="4445">
                  <c:v>41.95</c:v>
                </c:pt>
                <c:pt idx="4446">
                  <c:v>41.959</c:v>
                </c:pt>
                <c:pt idx="4447">
                  <c:v>41.968</c:v>
                </c:pt>
                <c:pt idx="4448">
                  <c:v>41.977</c:v>
                </c:pt>
                <c:pt idx="4449">
                  <c:v>41.986</c:v>
                </c:pt>
                <c:pt idx="4450">
                  <c:v>41.995</c:v>
                </c:pt>
                <c:pt idx="4451">
                  <c:v>42.004</c:v>
                </c:pt>
                <c:pt idx="4452">
                  <c:v>42.013</c:v>
                </c:pt>
                <c:pt idx="4453">
                  <c:v>42.022</c:v>
                </c:pt>
                <c:pt idx="4454">
                  <c:v>42.031</c:v>
                </c:pt>
                <c:pt idx="4455">
                  <c:v>42.04</c:v>
                </c:pt>
                <c:pt idx="4456">
                  <c:v>42.049</c:v>
                </c:pt>
                <c:pt idx="4457">
                  <c:v>42.058</c:v>
                </c:pt>
                <c:pt idx="4458">
                  <c:v>42.067</c:v>
                </c:pt>
                <c:pt idx="4459">
                  <c:v>42.076</c:v>
                </c:pt>
                <c:pt idx="4460">
                  <c:v>42.085</c:v>
                </c:pt>
                <c:pt idx="4461">
                  <c:v>42.094</c:v>
                </c:pt>
                <c:pt idx="4462">
                  <c:v>42.103</c:v>
                </c:pt>
                <c:pt idx="4463">
                  <c:v>42.112</c:v>
                </c:pt>
                <c:pt idx="4464">
                  <c:v>42.121</c:v>
                </c:pt>
                <c:pt idx="4465">
                  <c:v>42.13</c:v>
                </c:pt>
                <c:pt idx="4466">
                  <c:v>42.139</c:v>
                </c:pt>
                <c:pt idx="4467">
                  <c:v>42.148</c:v>
                </c:pt>
                <c:pt idx="4468">
                  <c:v>42.157</c:v>
                </c:pt>
                <c:pt idx="4469">
                  <c:v>42.166</c:v>
                </c:pt>
                <c:pt idx="4470">
                  <c:v>42.175</c:v>
                </c:pt>
                <c:pt idx="4471">
                  <c:v>42.184</c:v>
                </c:pt>
                <c:pt idx="4472">
                  <c:v>42.194</c:v>
                </c:pt>
                <c:pt idx="4473">
                  <c:v>42.203</c:v>
                </c:pt>
                <c:pt idx="4474">
                  <c:v>42.212</c:v>
                </c:pt>
                <c:pt idx="4475">
                  <c:v>42.221</c:v>
                </c:pt>
                <c:pt idx="4476">
                  <c:v>42.23</c:v>
                </c:pt>
                <c:pt idx="4477">
                  <c:v>42.239</c:v>
                </c:pt>
                <c:pt idx="4478">
                  <c:v>42.248</c:v>
                </c:pt>
                <c:pt idx="4479">
                  <c:v>42.257</c:v>
                </c:pt>
                <c:pt idx="4480">
                  <c:v>42.268</c:v>
                </c:pt>
                <c:pt idx="4481">
                  <c:v>42.281</c:v>
                </c:pt>
                <c:pt idx="4482">
                  <c:v>42.291</c:v>
                </c:pt>
                <c:pt idx="4483">
                  <c:v>42.3</c:v>
                </c:pt>
                <c:pt idx="4484">
                  <c:v>42.309</c:v>
                </c:pt>
                <c:pt idx="4485">
                  <c:v>42.318</c:v>
                </c:pt>
                <c:pt idx="4486">
                  <c:v>42.327</c:v>
                </c:pt>
                <c:pt idx="4487">
                  <c:v>42.336</c:v>
                </c:pt>
                <c:pt idx="4488">
                  <c:v>42.346</c:v>
                </c:pt>
                <c:pt idx="4489">
                  <c:v>42.355</c:v>
                </c:pt>
                <c:pt idx="4490">
                  <c:v>42.364</c:v>
                </c:pt>
                <c:pt idx="4491">
                  <c:v>42.373</c:v>
                </c:pt>
                <c:pt idx="4492">
                  <c:v>42.382</c:v>
                </c:pt>
                <c:pt idx="4493">
                  <c:v>42.391</c:v>
                </c:pt>
                <c:pt idx="4494">
                  <c:v>42.4</c:v>
                </c:pt>
                <c:pt idx="4495">
                  <c:v>42.409</c:v>
                </c:pt>
                <c:pt idx="4496">
                  <c:v>42.418</c:v>
                </c:pt>
                <c:pt idx="4497">
                  <c:v>42.427</c:v>
                </c:pt>
                <c:pt idx="4498">
                  <c:v>42.436</c:v>
                </c:pt>
                <c:pt idx="4499">
                  <c:v>42.445</c:v>
                </c:pt>
                <c:pt idx="4500">
                  <c:v>42.454</c:v>
                </c:pt>
                <c:pt idx="4501">
                  <c:v>42.463</c:v>
                </c:pt>
                <c:pt idx="4502">
                  <c:v>42.472</c:v>
                </c:pt>
                <c:pt idx="4503">
                  <c:v>42.481</c:v>
                </c:pt>
                <c:pt idx="4504">
                  <c:v>42.49</c:v>
                </c:pt>
                <c:pt idx="4505">
                  <c:v>42.5</c:v>
                </c:pt>
                <c:pt idx="4506">
                  <c:v>42.509</c:v>
                </c:pt>
                <c:pt idx="4507">
                  <c:v>42.518</c:v>
                </c:pt>
                <c:pt idx="4508">
                  <c:v>42.527</c:v>
                </c:pt>
                <c:pt idx="4509">
                  <c:v>42.536</c:v>
                </c:pt>
                <c:pt idx="4510">
                  <c:v>42.545</c:v>
                </c:pt>
                <c:pt idx="4511">
                  <c:v>42.554</c:v>
                </c:pt>
                <c:pt idx="4512">
                  <c:v>42.563</c:v>
                </c:pt>
                <c:pt idx="4513">
                  <c:v>42.572</c:v>
                </c:pt>
                <c:pt idx="4514">
                  <c:v>42.581</c:v>
                </c:pt>
                <c:pt idx="4515">
                  <c:v>42.59</c:v>
                </c:pt>
                <c:pt idx="4516">
                  <c:v>42.599</c:v>
                </c:pt>
                <c:pt idx="4517">
                  <c:v>42.608</c:v>
                </c:pt>
                <c:pt idx="4518">
                  <c:v>42.617</c:v>
                </c:pt>
                <c:pt idx="4519">
                  <c:v>42.626</c:v>
                </c:pt>
                <c:pt idx="4520">
                  <c:v>42.635</c:v>
                </c:pt>
                <c:pt idx="4521">
                  <c:v>42.645</c:v>
                </c:pt>
                <c:pt idx="4522">
                  <c:v>42.654</c:v>
                </c:pt>
                <c:pt idx="4523">
                  <c:v>42.663</c:v>
                </c:pt>
                <c:pt idx="4524">
                  <c:v>42.672</c:v>
                </c:pt>
                <c:pt idx="4525">
                  <c:v>42.681</c:v>
                </c:pt>
                <c:pt idx="4526">
                  <c:v>42.691</c:v>
                </c:pt>
                <c:pt idx="4527">
                  <c:v>42.7</c:v>
                </c:pt>
                <c:pt idx="4528">
                  <c:v>42.709</c:v>
                </c:pt>
                <c:pt idx="4529">
                  <c:v>42.718</c:v>
                </c:pt>
                <c:pt idx="4530">
                  <c:v>42.727</c:v>
                </c:pt>
                <c:pt idx="4531">
                  <c:v>42.736</c:v>
                </c:pt>
                <c:pt idx="4532">
                  <c:v>42.745</c:v>
                </c:pt>
                <c:pt idx="4533">
                  <c:v>42.754</c:v>
                </c:pt>
                <c:pt idx="4534">
                  <c:v>42.764</c:v>
                </c:pt>
                <c:pt idx="4535">
                  <c:v>42.775</c:v>
                </c:pt>
                <c:pt idx="4536">
                  <c:v>42.786</c:v>
                </c:pt>
                <c:pt idx="4537">
                  <c:v>42.798</c:v>
                </c:pt>
                <c:pt idx="4538">
                  <c:v>42.807</c:v>
                </c:pt>
                <c:pt idx="4539">
                  <c:v>42.816</c:v>
                </c:pt>
                <c:pt idx="4540">
                  <c:v>42.825</c:v>
                </c:pt>
                <c:pt idx="4541">
                  <c:v>42.834</c:v>
                </c:pt>
                <c:pt idx="4542">
                  <c:v>42.843</c:v>
                </c:pt>
                <c:pt idx="4543">
                  <c:v>42.852</c:v>
                </c:pt>
                <c:pt idx="4544">
                  <c:v>42.861</c:v>
                </c:pt>
                <c:pt idx="4545">
                  <c:v>42.87</c:v>
                </c:pt>
                <c:pt idx="4546">
                  <c:v>42.879</c:v>
                </c:pt>
                <c:pt idx="4547">
                  <c:v>42.888</c:v>
                </c:pt>
                <c:pt idx="4548">
                  <c:v>42.897</c:v>
                </c:pt>
                <c:pt idx="4549">
                  <c:v>42.906</c:v>
                </c:pt>
                <c:pt idx="4550">
                  <c:v>42.915</c:v>
                </c:pt>
                <c:pt idx="4551">
                  <c:v>42.924</c:v>
                </c:pt>
                <c:pt idx="4552">
                  <c:v>42.933</c:v>
                </c:pt>
                <c:pt idx="4553">
                  <c:v>42.942</c:v>
                </c:pt>
                <c:pt idx="4554">
                  <c:v>42.951</c:v>
                </c:pt>
                <c:pt idx="4555">
                  <c:v>42.96</c:v>
                </c:pt>
                <c:pt idx="4556">
                  <c:v>42.969</c:v>
                </c:pt>
                <c:pt idx="4557">
                  <c:v>42.978</c:v>
                </c:pt>
                <c:pt idx="4558">
                  <c:v>42.987</c:v>
                </c:pt>
                <c:pt idx="4559">
                  <c:v>42.996</c:v>
                </c:pt>
                <c:pt idx="4560">
                  <c:v>43.005</c:v>
                </c:pt>
                <c:pt idx="4561">
                  <c:v>43.014</c:v>
                </c:pt>
                <c:pt idx="4562">
                  <c:v>43.023</c:v>
                </c:pt>
                <c:pt idx="4563">
                  <c:v>43.032</c:v>
                </c:pt>
                <c:pt idx="4564">
                  <c:v>43.041</c:v>
                </c:pt>
                <c:pt idx="4565">
                  <c:v>43.05</c:v>
                </c:pt>
                <c:pt idx="4566">
                  <c:v>43.059</c:v>
                </c:pt>
                <c:pt idx="4567">
                  <c:v>43.068</c:v>
                </c:pt>
                <c:pt idx="4568">
                  <c:v>43.077</c:v>
                </c:pt>
                <c:pt idx="4569">
                  <c:v>43.086</c:v>
                </c:pt>
                <c:pt idx="4570">
                  <c:v>43.095</c:v>
                </c:pt>
                <c:pt idx="4571">
                  <c:v>43.105</c:v>
                </c:pt>
                <c:pt idx="4572">
                  <c:v>43.114</c:v>
                </c:pt>
                <c:pt idx="4573">
                  <c:v>43.124</c:v>
                </c:pt>
                <c:pt idx="4574">
                  <c:v>43.133</c:v>
                </c:pt>
                <c:pt idx="4575">
                  <c:v>43.142</c:v>
                </c:pt>
                <c:pt idx="4576">
                  <c:v>43.151</c:v>
                </c:pt>
                <c:pt idx="4577">
                  <c:v>43.16</c:v>
                </c:pt>
                <c:pt idx="4578">
                  <c:v>43.169</c:v>
                </c:pt>
                <c:pt idx="4579">
                  <c:v>43.178</c:v>
                </c:pt>
                <c:pt idx="4580">
                  <c:v>43.187</c:v>
                </c:pt>
                <c:pt idx="4581">
                  <c:v>43.196</c:v>
                </c:pt>
                <c:pt idx="4582">
                  <c:v>43.205</c:v>
                </c:pt>
                <c:pt idx="4583">
                  <c:v>43.214</c:v>
                </c:pt>
                <c:pt idx="4584">
                  <c:v>43.223</c:v>
                </c:pt>
                <c:pt idx="4585">
                  <c:v>43.232</c:v>
                </c:pt>
                <c:pt idx="4586">
                  <c:v>43.241</c:v>
                </c:pt>
                <c:pt idx="4587">
                  <c:v>43.25</c:v>
                </c:pt>
                <c:pt idx="4588">
                  <c:v>43.259</c:v>
                </c:pt>
                <c:pt idx="4589">
                  <c:v>43.268</c:v>
                </c:pt>
                <c:pt idx="4590">
                  <c:v>43.278</c:v>
                </c:pt>
                <c:pt idx="4591">
                  <c:v>43.29</c:v>
                </c:pt>
                <c:pt idx="4592">
                  <c:v>43.301</c:v>
                </c:pt>
                <c:pt idx="4593">
                  <c:v>43.311</c:v>
                </c:pt>
                <c:pt idx="4594">
                  <c:v>43.32</c:v>
                </c:pt>
                <c:pt idx="4595">
                  <c:v>43.329</c:v>
                </c:pt>
                <c:pt idx="4596">
                  <c:v>43.338</c:v>
                </c:pt>
                <c:pt idx="4597">
                  <c:v>43.347</c:v>
                </c:pt>
                <c:pt idx="4598">
                  <c:v>43.356</c:v>
                </c:pt>
                <c:pt idx="4599">
                  <c:v>43.365</c:v>
                </c:pt>
                <c:pt idx="4600">
                  <c:v>43.375</c:v>
                </c:pt>
                <c:pt idx="4601">
                  <c:v>43.384</c:v>
                </c:pt>
                <c:pt idx="4602">
                  <c:v>43.393</c:v>
                </c:pt>
                <c:pt idx="4603">
                  <c:v>43.402</c:v>
                </c:pt>
                <c:pt idx="4604">
                  <c:v>43.412</c:v>
                </c:pt>
                <c:pt idx="4605">
                  <c:v>43.421</c:v>
                </c:pt>
                <c:pt idx="4606">
                  <c:v>43.431</c:v>
                </c:pt>
                <c:pt idx="4607">
                  <c:v>43.587</c:v>
                </c:pt>
                <c:pt idx="4608">
                  <c:v>43.596</c:v>
                </c:pt>
                <c:pt idx="4609">
                  <c:v>43.605</c:v>
                </c:pt>
                <c:pt idx="4610">
                  <c:v>43.614</c:v>
                </c:pt>
                <c:pt idx="4611">
                  <c:v>43.623</c:v>
                </c:pt>
                <c:pt idx="4612">
                  <c:v>43.632</c:v>
                </c:pt>
                <c:pt idx="4613">
                  <c:v>43.641</c:v>
                </c:pt>
                <c:pt idx="4614">
                  <c:v>43.65</c:v>
                </c:pt>
                <c:pt idx="4615">
                  <c:v>43.659</c:v>
                </c:pt>
                <c:pt idx="4616">
                  <c:v>43.668</c:v>
                </c:pt>
                <c:pt idx="4617">
                  <c:v>43.677</c:v>
                </c:pt>
                <c:pt idx="4618">
                  <c:v>43.686</c:v>
                </c:pt>
                <c:pt idx="4619">
                  <c:v>43.695</c:v>
                </c:pt>
                <c:pt idx="4620">
                  <c:v>43.704</c:v>
                </c:pt>
                <c:pt idx="4621">
                  <c:v>43.713</c:v>
                </c:pt>
                <c:pt idx="4622">
                  <c:v>43.722</c:v>
                </c:pt>
                <c:pt idx="4623">
                  <c:v>43.731</c:v>
                </c:pt>
                <c:pt idx="4624">
                  <c:v>43.74</c:v>
                </c:pt>
                <c:pt idx="4625">
                  <c:v>43.75</c:v>
                </c:pt>
                <c:pt idx="4626">
                  <c:v>43.759</c:v>
                </c:pt>
                <c:pt idx="4627">
                  <c:v>43.768</c:v>
                </c:pt>
                <c:pt idx="4628">
                  <c:v>43.779</c:v>
                </c:pt>
                <c:pt idx="4629">
                  <c:v>43.79</c:v>
                </c:pt>
                <c:pt idx="4630">
                  <c:v>43.801</c:v>
                </c:pt>
                <c:pt idx="4631">
                  <c:v>43.811</c:v>
                </c:pt>
                <c:pt idx="4632">
                  <c:v>43.821</c:v>
                </c:pt>
                <c:pt idx="4633">
                  <c:v>43.83</c:v>
                </c:pt>
                <c:pt idx="4634">
                  <c:v>43.839</c:v>
                </c:pt>
                <c:pt idx="4635">
                  <c:v>43.848</c:v>
                </c:pt>
                <c:pt idx="4636">
                  <c:v>43.857</c:v>
                </c:pt>
                <c:pt idx="4637">
                  <c:v>43.866</c:v>
                </c:pt>
                <c:pt idx="4638">
                  <c:v>43.875</c:v>
                </c:pt>
                <c:pt idx="4639">
                  <c:v>43.884</c:v>
                </c:pt>
                <c:pt idx="4640">
                  <c:v>43.893</c:v>
                </c:pt>
                <c:pt idx="4641">
                  <c:v>43.902</c:v>
                </c:pt>
                <c:pt idx="4642">
                  <c:v>43.911</c:v>
                </c:pt>
                <c:pt idx="4643">
                  <c:v>43.92</c:v>
                </c:pt>
                <c:pt idx="4644">
                  <c:v>43.929</c:v>
                </c:pt>
                <c:pt idx="4645">
                  <c:v>43.938</c:v>
                </c:pt>
                <c:pt idx="4646">
                  <c:v>43.948</c:v>
                </c:pt>
                <c:pt idx="4647">
                  <c:v>43.957</c:v>
                </c:pt>
                <c:pt idx="4648">
                  <c:v>43.966</c:v>
                </c:pt>
                <c:pt idx="4649">
                  <c:v>43.975</c:v>
                </c:pt>
                <c:pt idx="4650">
                  <c:v>43.984</c:v>
                </c:pt>
                <c:pt idx="4651">
                  <c:v>43.993</c:v>
                </c:pt>
                <c:pt idx="4652">
                  <c:v>44.002</c:v>
                </c:pt>
                <c:pt idx="4653">
                  <c:v>44.011</c:v>
                </c:pt>
                <c:pt idx="4654">
                  <c:v>44.021</c:v>
                </c:pt>
                <c:pt idx="4655">
                  <c:v>44.03</c:v>
                </c:pt>
                <c:pt idx="4656">
                  <c:v>44.039</c:v>
                </c:pt>
                <c:pt idx="4657">
                  <c:v>44.048</c:v>
                </c:pt>
                <c:pt idx="4658">
                  <c:v>44.057</c:v>
                </c:pt>
                <c:pt idx="4659">
                  <c:v>44.066</c:v>
                </c:pt>
                <c:pt idx="4660">
                  <c:v>44.076</c:v>
                </c:pt>
                <c:pt idx="4661">
                  <c:v>44.085</c:v>
                </c:pt>
                <c:pt idx="4662">
                  <c:v>44.094</c:v>
                </c:pt>
                <c:pt idx="4663">
                  <c:v>44.103</c:v>
                </c:pt>
                <c:pt idx="4664">
                  <c:v>44.112</c:v>
                </c:pt>
                <c:pt idx="4665">
                  <c:v>44.121</c:v>
                </c:pt>
                <c:pt idx="4666">
                  <c:v>44.13</c:v>
                </c:pt>
                <c:pt idx="4667">
                  <c:v>44.139</c:v>
                </c:pt>
                <c:pt idx="4668">
                  <c:v>44.148</c:v>
                </c:pt>
                <c:pt idx="4669">
                  <c:v>44.157</c:v>
                </c:pt>
                <c:pt idx="4670">
                  <c:v>44.166</c:v>
                </c:pt>
                <c:pt idx="4671">
                  <c:v>44.175</c:v>
                </c:pt>
                <c:pt idx="4672">
                  <c:v>44.184</c:v>
                </c:pt>
                <c:pt idx="4673">
                  <c:v>44.193</c:v>
                </c:pt>
                <c:pt idx="4674">
                  <c:v>44.202</c:v>
                </c:pt>
                <c:pt idx="4675">
                  <c:v>44.211</c:v>
                </c:pt>
                <c:pt idx="4676">
                  <c:v>44.221</c:v>
                </c:pt>
                <c:pt idx="4677">
                  <c:v>44.23</c:v>
                </c:pt>
                <c:pt idx="4678">
                  <c:v>44.239</c:v>
                </c:pt>
                <c:pt idx="4679">
                  <c:v>44.248</c:v>
                </c:pt>
                <c:pt idx="4680">
                  <c:v>44.257</c:v>
                </c:pt>
                <c:pt idx="4681">
                  <c:v>44.266</c:v>
                </c:pt>
                <c:pt idx="4682">
                  <c:v>44.275</c:v>
                </c:pt>
                <c:pt idx="4683">
                  <c:v>44.288</c:v>
                </c:pt>
                <c:pt idx="4684">
                  <c:v>44.298</c:v>
                </c:pt>
                <c:pt idx="4685">
                  <c:v>44.311</c:v>
                </c:pt>
                <c:pt idx="4686">
                  <c:v>44.321</c:v>
                </c:pt>
                <c:pt idx="4687">
                  <c:v>44.33</c:v>
                </c:pt>
                <c:pt idx="4688">
                  <c:v>44.339</c:v>
                </c:pt>
                <c:pt idx="4689">
                  <c:v>44.349</c:v>
                </c:pt>
                <c:pt idx="4690">
                  <c:v>44.358</c:v>
                </c:pt>
                <c:pt idx="4691">
                  <c:v>44.367</c:v>
                </c:pt>
                <c:pt idx="4692">
                  <c:v>44.376</c:v>
                </c:pt>
                <c:pt idx="4693">
                  <c:v>44.385</c:v>
                </c:pt>
                <c:pt idx="4694">
                  <c:v>44.394</c:v>
                </c:pt>
                <c:pt idx="4695">
                  <c:v>44.403</c:v>
                </c:pt>
                <c:pt idx="4696">
                  <c:v>44.412</c:v>
                </c:pt>
                <c:pt idx="4697">
                  <c:v>44.421</c:v>
                </c:pt>
                <c:pt idx="4698">
                  <c:v>44.43</c:v>
                </c:pt>
                <c:pt idx="4699">
                  <c:v>44.439</c:v>
                </c:pt>
                <c:pt idx="4700">
                  <c:v>44.448</c:v>
                </c:pt>
                <c:pt idx="4701">
                  <c:v>44.457</c:v>
                </c:pt>
                <c:pt idx="4702">
                  <c:v>44.466</c:v>
                </c:pt>
                <c:pt idx="4703">
                  <c:v>44.475</c:v>
                </c:pt>
                <c:pt idx="4704">
                  <c:v>44.484</c:v>
                </c:pt>
                <c:pt idx="4705">
                  <c:v>44.493</c:v>
                </c:pt>
                <c:pt idx="4706">
                  <c:v>44.502</c:v>
                </c:pt>
                <c:pt idx="4707">
                  <c:v>44.511</c:v>
                </c:pt>
                <c:pt idx="4708">
                  <c:v>44.521</c:v>
                </c:pt>
                <c:pt idx="4709">
                  <c:v>44.53</c:v>
                </c:pt>
                <c:pt idx="4710">
                  <c:v>44.539</c:v>
                </c:pt>
                <c:pt idx="4711">
                  <c:v>44.548</c:v>
                </c:pt>
                <c:pt idx="4712">
                  <c:v>44.557</c:v>
                </c:pt>
                <c:pt idx="4713">
                  <c:v>44.566</c:v>
                </c:pt>
                <c:pt idx="4714">
                  <c:v>44.575</c:v>
                </c:pt>
                <c:pt idx="4715">
                  <c:v>44.584</c:v>
                </c:pt>
                <c:pt idx="4716">
                  <c:v>44.593</c:v>
                </c:pt>
                <c:pt idx="4717">
                  <c:v>44.602</c:v>
                </c:pt>
                <c:pt idx="4718">
                  <c:v>44.611</c:v>
                </c:pt>
                <c:pt idx="4719">
                  <c:v>44.62</c:v>
                </c:pt>
                <c:pt idx="4720">
                  <c:v>44.629</c:v>
                </c:pt>
                <c:pt idx="4721">
                  <c:v>44.638</c:v>
                </c:pt>
                <c:pt idx="4722">
                  <c:v>44.647</c:v>
                </c:pt>
                <c:pt idx="4723">
                  <c:v>44.656</c:v>
                </c:pt>
                <c:pt idx="4724">
                  <c:v>44.666</c:v>
                </c:pt>
                <c:pt idx="4725">
                  <c:v>44.675</c:v>
                </c:pt>
                <c:pt idx="4726">
                  <c:v>44.685</c:v>
                </c:pt>
                <c:pt idx="4727">
                  <c:v>44.694</c:v>
                </c:pt>
                <c:pt idx="4728">
                  <c:v>44.703</c:v>
                </c:pt>
                <c:pt idx="4729">
                  <c:v>44.712</c:v>
                </c:pt>
                <c:pt idx="4730">
                  <c:v>44.721</c:v>
                </c:pt>
                <c:pt idx="4731">
                  <c:v>44.73</c:v>
                </c:pt>
                <c:pt idx="4732">
                  <c:v>44.739</c:v>
                </c:pt>
                <c:pt idx="4733">
                  <c:v>44.748</c:v>
                </c:pt>
                <c:pt idx="4734">
                  <c:v>44.757</c:v>
                </c:pt>
                <c:pt idx="4735">
                  <c:v>44.766</c:v>
                </c:pt>
                <c:pt idx="4736">
                  <c:v>44.775</c:v>
                </c:pt>
                <c:pt idx="4737">
                  <c:v>44.784</c:v>
                </c:pt>
                <c:pt idx="4738">
                  <c:v>44.796</c:v>
                </c:pt>
                <c:pt idx="4739">
                  <c:v>44.805</c:v>
                </c:pt>
                <c:pt idx="4740">
                  <c:v>44.815</c:v>
                </c:pt>
                <c:pt idx="4741">
                  <c:v>44.824</c:v>
                </c:pt>
                <c:pt idx="4742">
                  <c:v>44.833</c:v>
                </c:pt>
                <c:pt idx="4743">
                  <c:v>44.842</c:v>
                </c:pt>
                <c:pt idx="4744">
                  <c:v>44.851</c:v>
                </c:pt>
                <c:pt idx="4745">
                  <c:v>44.86</c:v>
                </c:pt>
                <c:pt idx="4746">
                  <c:v>44.869</c:v>
                </c:pt>
                <c:pt idx="4747">
                  <c:v>44.878</c:v>
                </c:pt>
                <c:pt idx="4748">
                  <c:v>44.887</c:v>
                </c:pt>
                <c:pt idx="4749">
                  <c:v>44.896</c:v>
                </c:pt>
                <c:pt idx="4750">
                  <c:v>44.905</c:v>
                </c:pt>
                <c:pt idx="4751">
                  <c:v>44.914</c:v>
                </c:pt>
                <c:pt idx="4752">
                  <c:v>44.923</c:v>
                </c:pt>
                <c:pt idx="4753">
                  <c:v>44.932</c:v>
                </c:pt>
                <c:pt idx="4754">
                  <c:v>44.941</c:v>
                </c:pt>
                <c:pt idx="4755">
                  <c:v>44.95</c:v>
                </c:pt>
                <c:pt idx="4756">
                  <c:v>44.96</c:v>
                </c:pt>
                <c:pt idx="4757">
                  <c:v>44.969</c:v>
                </c:pt>
                <c:pt idx="4758">
                  <c:v>44.978</c:v>
                </c:pt>
                <c:pt idx="4759">
                  <c:v>44.987</c:v>
                </c:pt>
                <c:pt idx="4760">
                  <c:v>44.996</c:v>
                </c:pt>
                <c:pt idx="4761">
                  <c:v>45.005</c:v>
                </c:pt>
                <c:pt idx="4762">
                  <c:v>45.014</c:v>
                </c:pt>
                <c:pt idx="4763">
                  <c:v>45.023</c:v>
                </c:pt>
                <c:pt idx="4764">
                  <c:v>45.032</c:v>
                </c:pt>
                <c:pt idx="4765">
                  <c:v>45.041</c:v>
                </c:pt>
                <c:pt idx="4766">
                  <c:v>45.05</c:v>
                </c:pt>
                <c:pt idx="4767">
                  <c:v>45.059</c:v>
                </c:pt>
                <c:pt idx="4768">
                  <c:v>45.068</c:v>
                </c:pt>
                <c:pt idx="4769">
                  <c:v>45.077</c:v>
                </c:pt>
                <c:pt idx="4770">
                  <c:v>45.086</c:v>
                </c:pt>
                <c:pt idx="4771">
                  <c:v>45.095</c:v>
                </c:pt>
                <c:pt idx="4772">
                  <c:v>45.105</c:v>
                </c:pt>
                <c:pt idx="4773">
                  <c:v>45.114</c:v>
                </c:pt>
                <c:pt idx="4774">
                  <c:v>45.123</c:v>
                </c:pt>
                <c:pt idx="4775">
                  <c:v>45.132</c:v>
                </c:pt>
                <c:pt idx="4776">
                  <c:v>45.142</c:v>
                </c:pt>
                <c:pt idx="4777">
                  <c:v>45.151</c:v>
                </c:pt>
                <c:pt idx="4778">
                  <c:v>45.16</c:v>
                </c:pt>
                <c:pt idx="4779">
                  <c:v>45.169</c:v>
                </c:pt>
                <c:pt idx="4780">
                  <c:v>45.178</c:v>
                </c:pt>
                <c:pt idx="4781">
                  <c:v>45.187</c:v>
                </c:pt>
                <c:pt idx="4782">
                  <c:v>45.196</c:v>
                </c:pt>
                <c:pt idx="4783">
                  <c:v>45.205</c:v>
                </c:pt>
                <c:pt idx="4784">
                  <c:v>45.214</c:v>
                </c:pt>
                <c:pt idx="4785">
                  <c:v>45.223</c:v>
                </c:pt>
                <c:pt idx="4786">
                  <c:v>45.232</c:v>
                </c:pt>
                <c:pt idx="4787">
                  <c:v>45.241</c:v>
                </c:pt>
                <c:pt idx="4788">
                  <c:v>45.25</c:v>
                </c:pt>
                <c:pt idx="4789">
                  <c:v>45.259</c:v>
                </c:pt>
                <c:pt idx="4790">
                  <c:v>45.268</c:v>
                </c:pt>
                <c:pt idx="4791">
                  <c:v>45.277</c:v>
                </c:pt>
                <c:pt idx="4792">
                  <c:v>45.286</c:v>
                </c:pt>
                <c:pt idx="4793">
                  <c:v>45.299</c:v>
                </c:pt>
                <c:pt idx="4794">
                  <c:v>45.31</c:v>
                </c:pt>
                <c:pt idx="4795">
                  <c:v>45.319</c:v>
                </c:pt>
                <c:pt idx="4796">
                  <c:v>45.328</c:v>
                </c:pt>
                <c:pt idx="4797">
                  <c:v>45.337</c:v>
                </c:pt>
                <c:pt idx="4798">
                  <c:v>45.346</c:v>
                </c:pt>
                <c:pt idx="4799">
                  <c:v>45.355</c:v>
                </c:pt>
                <c:pt idx="4800">
                  <c:v>45.364</c:v>
                </c:pt>
                <c:pt idx="4801">
                  <c:v>45.373</c:v>
                </c:pt>
                <c:pt idx="4802">
                  <c:v>45.383</c:v>
                </c:pt>
                <c:pt idx="4803">
                  <c:v>45.392</c:v>
                </c:pt>
                <c:pt idx="4804">
                  <c:v>45.401</c:v>
                </c:pt>
                <c:pt idx="4805">
                  <c:v>45.41</c:v>
                </c:pt>
                <c:pt idx="4806">
                  <c:v>45.419</c:v>
                </c:pt>
                <c:pt idx="4807">
                  <c:v>45.428</c:v>
                </c:pt>
                <c:pt idx="4808">
                  <c:v>45.437</c:v>
                </c:pt>
                <c:pt idx="4809">
                  <c:v>45.446</c:v>
                </c:pt>
                <c:pt idx="4810">
                  <c:v>45.455</c:v>
                </c:pt>
                <c:pt idx="4811">
                  <c:v>45.464</c:v>
                </c:pt>
                <c:pt idx="4812">
                  <c:v>45.473</c:v>
                </c:pt>
                <c:pt idx="4813">
                  <c:v>45.482</c:v>
                </c:pt>
                <c:pt idx="4814">
                  <c:v>45.491</c:v>
                </c:pt>
                <c:pt idx="4815">
                  <c:v>45.5</c:v>
                </c:pt>
                <c:pt idx="4816">
                  <c:v>45.509</c:v>
                </c:pt>
                <c:pt idx="4817">
                  <c:v>45.518</c:v>
                </c:pt>
                <c:pt idx="4818">
                  <c:v>45.527</c:v>
                </c:pt>
                <c:pt idx="4819">
                  <c:v>45.536</c:v>
                </c:pt>
                <c:pt idx="4820">
                  <c:v>45.545</c:v>
                </c:pt>
                <c:pt idx="4821">
                  <c:v>45.554</c:v>
                </c:pt>
                <c:pt idx="4822">
                  <c:v>45.563</c:v>
                </c:pt>
                <c:pt idx="4823">
                  <c:v>45.573</c:v>
                </c:pt>
                <c:pt idx="4824">
                  <c:v>45.582</c:v>
                </c:pt>
                <c:pt idx="4825">
                  <c:v>45.591</c:v>
                </c:pt>
                <c:pt idx="4826">
                  <c:v>45.6</c:v>
                </c:pt>
                <c:pt idx="4827">
                  <c:v>45.609</c:v>
                </c:pt>
                <c:pt idx="4828">
                  <c:v>45.618</c:v>
                </c:pt>
                <c:pt idx="4829">
                  <c:v>45.627</c:v>
                </c:pt>
                <c:pt idx="4830">
                  <c:v>45.636</c:v>
                </c:pt>
                <c:pt idx="4831">
                  <c:v>45.645</c:v>
                </c:pt>
                <c:pt idx="4832">
                  <c:v>45.654</c:v>
                </c:pt>
                <c:pt idx="4833">
                  <c:v>45.663</c:v>
                </c:pt>
                <c:pt idx="4834">
                  <c:v>45.672</c:v>
                </c:pt>
                <c:pt idx="4835">
                  <c:v>45.681</c:v>
                </c:pt>
                <c:pt idx="4836">
                  <c:v>45.69</c:v>
                </c:pt>
                <c:pt idx="4837">
                  <c:v>45.699</c:v>
                </c:pt>
                <c:pt idx="4838">
                  <c:v>45.708</c:v>
                </c:pt>
                <c:pt idx="4839">
                  <c:v>45.718</c:v>
                </c:pt>
                <c:pt idx="4840">
                  <c:v>45.727</c:v>
                </c:pt>
                <c:pt idx="4841">
                  <c:v>45.736</c:v>
                </c:pt>
                <c:pt idx="4842">
                  <c:v>45.745</c:v>
                </c:pt>
                <c:pt idx="4843">
                  <c:v>45.754</c:v>
                </c:pt>
                <c:pt idx="4844">
                  <c:v>45.763</c:v>
                </c:pt>
                <c:pt idx="4845">
                  <c:v>45.772</c:v>
                </c:pt>
                <c:pt idx="4846">
                  <c:v>45.782</c:v>
                </c:pt>
                <c:pt idx="4847">
                  <c:v>45.791</c:v>
                </c:pt>
                <c:pt idx="4848">
                  <c:v>45.8</c:v>
                </c:pt>
                <c:pt idx="4849">
                  <c:v>45.809</c:v>
                </c:pt>
                <c:pt idx="4850">
                  <c:v>45.818</c:v>
                </c:pt>
                <c:pt idx="4851">
                  <c:v>45.827</c:v>
                </c:pt>
                <c:pt idx="4852">
                  <c:v>45.836</c:v>
                </c:pt>
                <c:pt idx="4853">
                  <c:v>45.845</c:v>
                </c:pt>
                <c:pt idx="4854">
                  <c:v>45.854</c:v>
                </c:pt>
                <c:pt idx="4855">
                  <c:v>45.864</c:v>
                </c:pt>
                <c:pt idx="4856">
                  <c:v>45.873</c:v>
                </c:pt>
                <c:pt idx="4857">
                  <c:v>45.882</c:v>
                </c:pt>
                <c:pt idx="4858">
                  <c:v>45.892</c:v>
                </c:pt>
                <c:pt idx="4859">
                  <c:v>45.901</c:v>
                </c:pt>
                <c:pt idx="4860">
                  <c:v>45.91</c:v>
                </c:pt>
                <c:pt idx="4861">
                  <c:v>45.919</c:v>
                </c:pt>
                <c:pt idx="4862">
                  <c:v>45.928</c:v>
                </c:pt>
                <c:pt idx="4863">
                  <c:v>45.937</c:v>
                </c:pt>
                <c:pt idx="4864">
                  <c:v>45.946</c:v>
                </c:pt>
                <c:pt idx="4865">
                  <c:v>45.955</c:v>
                </c:pt>
                <c:pt idx="4866">
                  <c:v>45.964</c:v>
                </c:pt>
                <c:pt idx="4867">
                  <c:v>45.973</c:v>
                </c:pt>
                <c:pt idx="4868">
                  <c:v>45.982</c:v>
                </c:pt>
                <c:pt idx="4869">
                  <c:v>45.991</c:v>
                </c:pt>
                <c:pt idx="4870">
                  <c:v>46</c:v>
                </c:pt>
                <c:pt idx="4871">
                  <c:v>46.01</c:v>
                </c:pt>
                <c:pt idx="4872">
                  <c:v>46.019</c:v>
                </c:pt>
                <c:pt idx="4873">
                  <c:v>46.028</c:v>
                </c:pt>
                <c:pt idx="4874">
                  <c:v>46.037</c:v>
                </c:pt>
                <c:pt idx="4875">
                  <c:v>46.046</c:v>
                </c:pt>
                <c:pt idx="4876">
                  <c:v>46.055</c:v>
                </c:pt>
                <c:pt idx="4877">
                  <c:v>46.064</c:v>
                </c:pt>
                <c:pt idx="4878">
                  <c:v>46.073</c:v>
                </c:pt>
                <c:pt idx="4879">
                  <c:v>46.082</c:v>
                </c:pt>
                <c:pt idx="4880">
                  <c:v>46.091</c:v>
                </c:pt>
                <c:pt idx="4881">
                  <c:v>46.1</c:v>
                </c:pt>
                <c:pt idx="4882">
                  <c:v>46.109</c:v>
                </c:pt>
                <c:pt idx="4883">
                  <c:v>46.118</c:v>
                </c:pt>
                <c:pt idx="4884">
                  <c:v>46.127</c:v>
                </c:pt>
                <c:pt idx="4885">
                  <c:v>46.136</c:v>
                </c:pt>
                <c:pt idx="4886">
                  <c:v>46.145</c:v>
                </c:pt>
                <c:pt idx="4887">
                  <c:v>46.154</c:v>
                </c:pt>
                <c:pt idx="4888">
                  <c:v>46.163</c:v>
                </c:pt>
                <c:pt idx="4889">
                  <c:v>46.172</c:v>
                </c:pt>
                <c:pt idx="4890">
                  <c:v>46.181</c:v>
                </c:pt>
                <c:pt idx="4891">
                  <c:v>46.19</c:v>
                </c:pt>
                <c:pt idx="4892">
                  <c:v>46.199</c:v>
                </c:pt>
                <c:pt idx="4893">
                  <c:v>46.208</c:v>
                </c:pt>
                <c:pt idx="4894">
                  <c:v>46.217</c:v>
                </c:pt>
                <c:pt idx="4895">
                  <c:v>46.227</c:v>
                </c:pt>
                <c:pt idx="4896">
                  <c:v>46.236</c:v>
                </c:pt>
                <c:pt idx="4897">
                  <c:v>46.245</c:v>
                </c:pt>
                <c:pt idx="4898">
                  <c:v>46.254</c:v>
                </c:pt>
                <c:pt idx="4899">
                  <c:v>46.263</c:v>
                </c:pt>
                <c:pt idx="4900">
                  <c:v>46.272</c:v>
                </c:pt>
                <c:pt idx="4901">
                  <c:v>46.281</c:v>
                </c:pt>
                <c:pt idx="4902">
                  <c:v>46.291</c:v>
                </c:pt>
                <c:pt idx="4903">
                  <c:v>46.302</c:v>
                </c:pt>
                <c:pt idx="4904">
                  <c:v>46.315</c:v>
                </c:pt>
                <c:pt idx="4905">
                  <c:v>46.326</c:v>
                </c:pt>
                <c:pt idx="4906">
                  <c:v>46.335</c:v>
                </c:pt>
                <c:pt idx="4907">
                  <c:v>46.344</c:v>
                </c:pt>
                <c:pt idx="4908">
                  <c:v>46.353</c:v>
                </c:pt>
                <c:pt idx="4909">
                  <c:v>46.362</c:v>
                </c:pt>
                <c:pt idx="4910">
                  <c:v>46.372</c:v>
                </c:pt>
                <c:pt idx="4911">
                  <c:v>46.381</c:v>
                </c:pt>
                <c:pt idx="4912">
                  <c:v>46.39</c:v>
                </c:pt>
                <c:pt idx="4913">
                  <c:v>46.399</c:v>
                </c:pt>
                <c:pt idx="4914">
                  <c:v>46.408</c:v>
                </c:pt>
                <c:pt idx="4915">
                  <c:v>46.417</c:v>
                </c:pt>
                <c:pt idx="4916">
                  <c:v>46.426</c:v>
                </c:pt>
                <c:pt idx="4917">
                  <c:v>46.435</c:v>
                </c:pt>
                <c:pt idx="4918">
                  <c:v>46.444</c:v>
                </c:pt>
                <c:pt idx="4919">
                  <c:v>46.453</c:v>
                </c:pt>
                <c:pt idx="4920">
                  <c:v>46.462</c:v>
                </c:pt>
                <c:pt idx="4921">
                  <c:v>46.471</c:v>
                </c:pt>
                <c:pt idx="4922">
                  <c:v>46.48</c:v>
                </c:pt>
                <c:pt idx="4923">
                  <c:v>46.489</c:v>
                </c:pt>
                <c:pt idx="4924">
                  <c:v>46.498</c:v>
                </c:pt>
                <c:pt idx="4925">
                  <c:v>46.507</c:v>
                </c:pt>
                <c:pt idx="4926">
                  <c:v>46.516</c:v>
                </c:pt>
                <c:pt idx="4927">
                  <c:v>46.525</c:v>
                </c:pt>
                <c:pt idx="4928">
                  <c:v>46.534</c:v>
                </c:pt>
                <c:pt idx="4929">
                  <c:v>46.543</c:v>
                </c:pt>
                <c:pt idx="4930">
                  <c:v>46.553</c:v>
                </c:pt>
                <c:pt idx="4931">
                  <c:v>46.562</c:v>
                </c:pt>
                <c:pt idx="4932">
                  <c:v>46.571</c:v>
                </c:pt>
                <c:pt idx="4933">
                  <c:v>46.58</c:v>
                </c:pt>
                <c:pt idx="4934">
                  <c:v>46.589</c:v>
                </c:pt>
                <c:pt idx="4935">
                  <c:v>46.598</c:v>
                </c:pt>
                <c:pt idx="4936">
                  <c:v>46.607</c:v>
                </c:pt>
                <c:pt idx="4937">
                  <c:v>46.616</c:v>
                </c:pt>
                <c:pt idx="4938">
                  <c:v>46.625</c:v>
                </c:pt>
                <c:pt idx="4939">
                  <c:v>46.634</c:v>
                </c:pt>
                <c:pt idx="4940">
                  <c:v>46.643</c:v>
                </c:pt>
                <c:pt idx="4941">
                  <c:v>46.652</c:v>
                </c:pt>
                <c:pt idx="4942">
                  <c:v>46.661</c:v>
                </c:pt>
                <c:pt idx="4943">
                  <c:v>46.67</c:v>
                </c:pt>
                <c:pt idx="4944">
                  <c:v>46.679</c:v>
                </c:pt>
                <c:pt idx="4945">
                  <c:v>46.688</c:v>
                </c:pt>
                <c:pt idx="4946">
                  <c:v>46.698</c:v>
                </c:pt>
                <c:pt idx="4947">
                  <c:v>46.708</c:v>
                </c:pt>
                <c:pt idx="4948">
                  <c:v>46.717</c:v>
                </c:pt>
                <c:pt idx="4949">
                  <c:v>46.726</c:v>
                </c:pt>
                <c:pt idx="4950">
                  <c:v>46.735</c:v>
                </c:pt>
                <c:pt idx="4951">
                  <c:v>46.744</c:v>
                </c:pt>
                <c:pt idx="4952">
                  <c:v>46.753</c:v>
                </c:pt>
                <c:pt idx="4953">
                  <c:v>46.762</c:v>
                </c:pt>
                <c:pt idx="4954">
                  <c:v>46.771</c:v>
                </c:pt>
                <c:pt idx="4955">
                  <c:v>46.78</c:v>
                </c:pt>
                <c:pt idx="4956">
                  <c:v>46.789</c:v>
                </c:pt>
                <c:pt idx="4957">
                  <c:v>46.798</c:v>
                </c:pt>
                <c:pt idx="4958">
                  <c:v>46.807</c:v>
                </c:pt>
                <c:pt idx="4959">
                  <c:v>46.816</c:v>
                </c:pt>
                <c:pt idx="4960">
                  <c:v>46.825</c:v>
                </c:pt>
                <c:pt idx="4961">
                  <c:v>46.834</c:v>
                </c:pt>
                <c:pt idx="4962">
                  <c:v>46.843</c:v>
                </c:pt>
                <c:pt idx="4963">
                  <c:v>46.852</c:v>
                </c:pt>
                <c:pt idx="4964">
                  <c:v>46.861</c:v>
                </c:pt>
                <c:pt idx="4965">
                  <c:v>46.87</c:v>
                </c:pt>
                <c:pt idx="4966">
                  <c:v>46.879</c:v>
                </c:pt>
                <c:pt idx="4967">
                  <c:v>46.888</c:v>
                </c:pt>
                <c:pt idx="4968">
                  <c:v>46.897</c:v>
                </c:pt>
                <c:pt idx="4969">
                  <c:v>46.906</c:v>
                </c:pt>
                <c:pt idx="4970">
                  <c:v>46.916</c:v>
                </c:pt>
                <c:pt idx="4971">
                  <c:v>46.925</c:v>
                </c:pt>
                <c:pt idx="4972">
                  <c:v>46.934</c:v>
                </c:pt>
                <c:pt idx="4973">
                  <c:v>46.943</c:v>
                </c:pt>
                <c:pt idx="4974">
                  <c:v>46.952</c:v>
                </c:pt>
                <c:pt idx="4975">
                  <c:v>46.961</c:v>
                </c:pt>
                <c:pt idx="4976">
                  <c:v>46.97</c:v>
                </c:pt>
                <c:pt idx="4977">
                  <c:v>46.979</c:v>
                </c:pt>
                <c:pt idx="4978">
                  <c:v>46.988</c:v>
                </c:pt>
                <c:pt idx="4979">
                  <c:v>46.997</c:v>
                </c:pt>
                <c:pt idx="4980">
                  <c:v>47.006</c:v>
                </c:pt>
                <c:pt idx="4981">
                  <c:v>47.015</c:v>
                </c:pt>
                <c:pt idx="4982">
                  <c:v>47.024</c:v>
                </c:pt>
                <c:pt idx="4983">
                  <c:v>47.033</c:v>
                </c:pt>
                <c:pt idx="4984">
                  <c:v>47.042</c:v>
                </c:pt>
                <c:pt idx="4985">
                  <c:v>47.051</c:v>
                </c:pt>
                <c:pt idx="4986">
                  <c:v>47.061</c:v>
                </c:pt>
                <c:pt idx="4987">
                  <c:v>47.07</c:v>
                </c:pt>
                <c:pt idx="4988">
                  <c:v>47.079</c:v>
                </c:pt>
                <c:pt idx="4989">
                  <c:v>47.088</c:v>
                </c:pt>
                <c:pt idx="4990">
                  <c:v>47.097</c:v>
                </c:pt>
                <c:pt idx="4991">
                  <c:v>47.107</c:v>
                </c:pt>
                <c:pt idx="4992">
                  <c:v>47.117</c:v>
                </c:pt>
                <c:pt idx="4993">
                  <c:v>47.126</c:v>
                </c:pt>
                <c:pt idx="4994">
                  <c:v>47.135</c:v>
                </c:pt>
                <c:pt idx="4995">
                  <c:v>47.145</c:v>
                </c:pt>
                <c:pt idx="4996">
                  <c:v>47.154</c:v>
                </c:pt>
                <c:pt idx="4997">
                  <c:v>47.163</c:v>
                </c:pt>
                <c:pt idx="4998">
                  <c:v>47.172</c:v>
                </c:pt>
                <c:pt idx="4999">
                  <c:v>47.182</c:v>
                </c:pt>
                <c:pt idx="5000">
                  <c:v>47.191</c:v>
                </c:pt>
                <c:pt idx="5001">
                  <c:v>47.2</c:v>
                </c:pt>
                <c:pt idx="5002">
                  <c:v>47.21</c:v>
                </c:pt>
                <c:pt idx="5003">
                  <c:v>47.219</c:v>
                </c:pt>
                <c:pt idx="5004">
                  <c:v>47.228</c:v>
                </c:pt>
                <c:pt idx="5005">
                  <c:v>47.238</c:v>
                </c:pt>
                <c:pt idx="5006">
                  <c:v>47.247</c:v>
                </c:pt>
                <c:pt idx="5007">
                  <c:v>47.256</c:v>
                </c:pt>
                <c:pt idx="5008">
                  <c:v>47.265</c:v>
                </c:pt>
                <c:pt idx="5009">
                  <c:v>47.274</c:v>
                </c:pt>
                <c:pt idx="5010">
                  <c:v>47.283</c:v>
                </c:pt>
                <c:pt idx="5011">
                  <c:v>47.292</c:v>
                </c:pt>
                <c:pt idx="5012">
                  <c:v>47.303</c:v>
                </c:pt>
                <c:pt idx="5013">
                  <c:v>47.314</c:v>
                </c:pt>
                <c:pt idx="5014">
                  <c:v>47.323</c:v>
                </c:pt>
                <c:pt idx="5015">
                  <c:v>47.332</c:v>
                </c:pt>
                <c:pt idx="5016">
                  <c:v>47.341</c:v>
                </c:pt>
                <c:pt idx="5017">
                  <c:v>47.351</c:v>
                </c:pt>
                <c:pt idx="5018">
                  <c:v>47.36</c:v>
                </c:pt>
                <c:pt idx="5019">
                  <c:v>47.369</c:v>
                </c:pt>
                <c:pt idx="5020">
                  <c:v>47.378</c:v>
                </c:pt>
                <c:pt idx="5021">
                  <c:v>47.387</c:v>
                </c:pt>
                <c:pt idx="5022">
                  <c:v>47.396</c:v>
                </c:pt>
                <c:pt idx="5023">
                  <c:v>47.406</c:v>
                </c:pt>
                <c:pt idx="5024">
                  <c:v>47.415</c:v>
                </c:pt>
                <c:pt idx="5025">
                  <c:v>47.424</c:v>
                </c:pt>
                <c:pt idx="5026">
                  <c:v>47.433</c:v>
                </c:pt>
                <c:pt idx="5027">
                  <c:v>47.442</c:v>
                </c:pt>
                <c:pt idx="5028">
                  <c:v>47.451</c:v>
                </c:pt>
                <c:pt idx="5029">
                  <c:v>47.46</c:v>
                </c:pt>
                <c:pt idx="5030">
                  <c:v>47.469</c:v>
                </c:pt>
                <c:pt idx="5031">
                  <c:v>47.478</c:v>
                </c:pt>
                <c:pt idx="5032">
                  <c:v>47.487</c:v>
                </c:pt>
                <c:pt idx="5033">
                  <c:v>47.496</c:v>
                </c:pt>
                <c:pt idx="5034">
                  <c:v>47.505</c:v>
                </c:pt>
                <c:pt idx="5035">
                  <c:v>47.514</c:v>
                </c:pt>
                <c:pt idx="5036">
                  <c:v>47.523</c:v>
                </c:pt>
                <c:pt idx="5037">
                  <c:v>47.532</c:v>
                </c:pt>
                <c:pt idx="5038">
                  <c:v>47.541</c:v>
                </c:pt>
                <c:pt idx="5039">
                  <c:v>47.55</c:v>
                </c:pt>
                <c:pt idx="5040">
                  <c:v>47.559</c:v>
                </c:pt>
                <c:pt idx="5041">
                  <c:v>47.568</c:v>
                </c:pt>
                <c:pt idx="5042">
                  <c:v>47.577</c:v>
                </c:pt>
                <c:pt idx="5043">
                  <c:v>47.586</c:v>
                </c:pt>
                <c:pt idx="5044">
                  <c:v>47.595</c:v>
                </c:pt>
                <c:pt idx="5045">
                  <c:v>47.604</c:v>
                </c:pt>
                <c:pt idx="5046">
                  <c:v>47.613</c:v>
                </c:pt>
                <c:pt idx="5047">
                  <c:v>47.622</c:v>
                </c:pt>
                <c:pt idx="5048">
                  <c:v>47.631</c:v>
                </c:pt>
                <c:pt idx="5049">
                  <c:v>47.64</c:v>
                </c:pt>
                <c:pt idx="5050">
                  <c:v>47.649</c:v>
                </c:pt>
                <c:pt idx="5051">
                  <c:v>47.658</c:v>
                </c:pt>
                <c:pt idx="5052">
                  <c:v>47.667</c:v>
                </c:pt>
                <c:pt idx="5053">
                  <c:v>47.676</c:v>
                </c:pt>
                <c:pt idx="5054">
                  <c:v>47.685</c:v>
                </c:pt>
                <c:pt idx="5055">
                  <c:v>47.694</c:v>
                </c:pt>
                <c:pt idx="5056">
                  <c:v>47.703</c:v>
                </c:pt>
                <c:pt idx="5057">
                  <c:v>47.712</c:v>
                </c:pt>
                <c:pt idx="5058">
                  <c:v>47.721</c:v>
                </c:pt>
                <c:pt idx="5059">
                  <c:v>47.73</c:v>
                </c:pt>
                <c:pt idx="5060">
                  <c:v>47.739</c:v>
                </c:pt>
                <c:pt idx="5061">
                  <c:v>47.748</c:v>
                </c:pt>
                <c:pt idx="5062">
                  <c:v>47.757</c:v>
                </c:pt>
                <c:pt idx="5063">
                  <c:v>47.766</c:v>
                </c:pt>
                <c:pt idx="5064">
                  <c:v>47.775</c:v>
                </c:pt>
                <c:pt idx="5065">
                  <c:v>47.784</c:v>
                </c:pt>
                <c:pt idx="5066">
                  <c:v>47.793</c:v>
                </c:pt>
                <c:pt idx="5067">
                  <c:v>47.803</c:v>
                </c:pt>
                <c:pt idx="5068">
                  <c:v>47.815</c:v>
                </c:pt>
                <c:pt idx="5069">
                  <c:v>47.827</c:v>
                </c:pt>
                <c:pt idx="5070">
                  <c:v>47.836</c:v>
                </c:pt>
                <c:pt idx="5071">
                  <c:v>47.845</c:v>
                </c:pt>
                <c:pt idx="5072">
                  <c:v>47.855</c:v>
                </c:pt>
                <c:pt idx="5073">
                  <c:v>47.864</c:v>
                </c:pt>
                <c:pt idx="5074">
                  <c:v>47.873</c:v>
                </c:pt>
                <c:pt idx="5075">
                  <c:v>47.882</c:v>
                </c:pt>
                <c:pt idx="5076">
                  <c:v>47.891</c:v>
                </c:pt>
                <c:pt idx="5077">
                  <c:v>47.9</c:v>
                </c:pt>
                <c:pt idx="5078">
                  <c:v>47.91</c:v>
                </c:pt>
                <c:pt idx="5079">
                  <c:v>47.919</c:v>
                </c:pt>
                <c:pt idx="5080">
                  <c:v>47.928</c:v>
                </c:pt>
                <c:pt idx="5081">
                  <c:v>47.937</c:v>
                </c:pt>
                <c:pt idx="5082">
                  <c:v>47.946</c:v>
                </c:pt>
                <c:pt idx="5083">
                  <c:v>47.955</c:v>
                </c:pt>
                <c:pt idx="5084">
                  <c:v>47.964</c:v>
                </c:pt>
                <c:pt idx="5085">
                  <c:v>47.973</c:v>
                </c:pt>
                <c:pt idx="5086">
                  <c:v>47.982</c:v>
                </c:pt>
                <c:pt idx="5087">
                  <c:v>47.991</c:v>
                </c:pt>
                <c:pt idx="5088">
                  <c:v>48</c:v>
                </c:pt>
                <c:pt idx="5089">
                  <c:v>48.009</c:v>
                </c:pt>
                <c:pt idx="5090">
                  <c:v>48.018</c:v>
                </c:pt>
                <c:pt idx="5091">
                  <c:v>48.027</c:v>
                </c:pt>
                <c:pt idx="5092">
                  <c:v>48.036</c:v>
                </c:pt>
                <c:pt idx="5093">
                  <c:v>48.045</c:v>
                </c:pt>
                <c:pt idx="5094">
                  <c:v>48.054</c:v>
                </c:pt>
                <c:pt idx="5095">
                  <c:v>48.063</c:v>
                </c:pt>
                <c:pt idx="5096">
                  <c:v>48.072</c:v>
                </c:pt>
                <c:pt idx="5097">
                  <c:v>48.081</c:v>
                </c:pt>
                <c:pt idx="5098">
                  <c:v>48.09</c:v>
                </c:pt>
                <c:pt idx="5099">
                  <c:v>48.099</c:v>
                </c:pt>
                <c:pt idx="5100">
                  <c:v>48.108</c:v>
                </c:pt>
                <c:pt idx="5101">
                  <c:v>48.117</c:v>
                </c:pt>
                <c:pt idx="5102">
                  <c:v>48.126</c:v>
                </c:pt>
                <c:pt idx="5103">
                  <c:v>48.135</c:v>
                </c:pt>
                <c:pt idx="5104">
                  <c:v>48.145</c:v>
                </c:pt>
                <c:pt idx="5105">
                  <c:v>48.154</c:v>
                </c:pt>
                <c:pt idx="5106">
                  <c:v>48.163</c:v>
                </c:pt>
                <c:pt idx="5107">
                  <c:v>48.172</c:v>
                </c:pt>
                <c:pt idx="5108">
                  <c:v>48.181</c:v>
                </c:pt>
                <c:pt idx="5109">
                  <c:v>48.19</c:v>
                </c:pt>
                <c:pt idx="5110">
                  <c:v>48.199</c:v>
                </c:pt>
                <c:pt idx="5111">
                  <c:v>48.208</c:v>
                </c:pt>
                <c:pt idx="5112">
                  <c:v>48.217</c:v>
                </c:pt>
                <c:pt idx="5113">
                  <c:v>48.226</c:v>
                </c:pt>
                <c:pt idx="5114">
                  <c:v>48.235</c:v>
                </c:pt>
                <c:pt idx="5115">
                  <c:v>48.244</c:v>
                </c:pt>
                <c:pt idx="5116">
                  <c:v>48.253</c:v>
                </c:pt>
                <c:pt idx="5117">
                  <c:v>48.262</c:v>
                </c:pt>
                <c:pt idx="5118">
                  <c:v>48.271</c:v>
                </c:pt>
                <c:pt idx="5119">
                  <c:v>48.28</c:v>
                </c:pt>
                <c:pt idx="5120">
                  <c:v>48.29</c:v>
                </c:pt>
                <c:pt idx="5121">
                  <c:v>48.299</c:v>
                </c:pt>
                <c:pt idx="5122">
                  <c:v>48.308</c:v>
                </c:pt>
                <c:pt idx="5123">
                  <c:v>48.322</c:v>
                </c:pt>
                <c:pt idx="5124">
                  <c:v>48.333</c:v>
                </c:pt>
                <c:pt idx="5125">
                  <c:v>48.343</c:v>
                </c:pt>
                <c:pt idx="5126">
                  <c:v>48.352</c:v>
                </c:pt>
                <c:pt idx="5127">
                  <c:v>48.361</c:v>
                </c:pt>
                <c:pt idx="5128">
                  <c:v>48.37</c:v>
                </c:pt>
                <c:pt idx="5129">
                  <c:v>48.379</c:v>
                </c:pt>
                <c:pt idx="5130">
                  <c:v>48.388</c:v>
                </c:pt>
                <c:pt idx="5131">
                  <c:v>48.397</c:v>
                </c:pt>
                <c:pt idx="5132">
                  <c:v>48.406</c:v>
                </c:pt>
                <c:pt idx="5133">
                  <c:v>48.415</c:v>
                </c:pt>
                <c:pt idx="5134">
                  <c:v>48.424</c:v>
                </c:pt>
                <c:pt idx="5135">
                  <c:v>48.433</c:v>
                </c:pt>
                <c:pt idx="5136">
                  <c:v>48.442</c:v>
                </c:pt>
                <c:pt idx="5137">
                  <c:v>48.451</c:v>
                </c:pt>
                <c:pt idx="5138">
                  <c:v>48.46</c:v>
                </c:pt>
                <c:pt idx="5139">
                  <c:v>48.469</c:v>
                </c:pt>
                <c:pt idx="5140">
                  <c:v>48.478</c:v>
                </c:pt>
                <c:pt idx="5141">
                  <c:v>48.487</c:v>
                </c:pt>
                <c:pt idx="5142">
                  <c:v>48.496</c:v>
                </c:pt>
                <c:pt idx="5143">
                  <c:v>48.505</c:v>
                </c:pt>
                <c:pt idx="5144">
                  <c:v>48.514</c:v>
                </c:pt>
                <c:pt idx="5145">
                  <c:v>48.523</c:v>
                </c:pt>
                <c:pt idx="5146">
                  <c:v>48.532</c:v>
                </c:pt>
                <c:pt idx="5147">
                  <c:v>48.541</c:v>
                </c:pt>
                <c:pt idx="5148">
                  <c:v>48.55</c:v>
                </c:pt>
                <c:pt idx="5149">
                  <c:v>48.56</c:v>
                </c:pt>
                <c:pt idx="5150">
                  <c:v>48.569</c:v>
                </c:pt>
                <c:pt idx="5151">
                  <c:v>48.578</c:v>
                </c:pt>
                <c:pt idx="5152">
                  <c:v>48.587</c:v>
                </c:pt>
                <c:pt idx="5153">
                  <c:v>48.596</c:v>
                </c:pt>
                <c:pt idx="5154">
                  <c:v>48.605</c:v>
                </c:pt>
                <c:pt idx="5155">
                  <c:v>48.614</c:v>
                </c:pt>
                <c:pt idx="5156">
                  <c:v>48.623</c:v>
                </c:pt>
                <c:pt idx="5157">
                  <c:v>48.632</c:v>
                </c:pt>
                <c:pt idx="5158">
                  <c:v>48.641</c:v>
                </c:pt>
                <c:pt idx="5159">
                  <c:v>48.65</c:v>
                </c:pt>
                <c:pt idx="5160">
                  <c:v>48.659</c:v>
                </c:pt>
                <c:pt idx="5161">
                  <c:v>48.668</c:v>
                </c:pt>
                <c:pt idx="5162">
                  <c:v>48.677</c:v>
                </c:pt>
                <c:pt idx="5163">
                  <c:v>48.686</c:v>
                </c:pt>
                <c:pt idx="5164">
                  <c:v>48.695</c:v>
                </c:pt>
                <c:pt idx="5165">
                  <c:v>48.705</c:v>
                </c:pt>
                <c:pt idx="5166">
                  <c:v>48.714</c:v>
                </c:pt>
                <c:pt idx="5167">
                  <c:v>48.723</c:v>
                </c:pt>
                <c:pt idx="5168">
                  <c:v>48.732</c:v>
                </c:pt>
                <c:pt idx="5169">
                  <c:v>48.741</c:v>
                </c:pt>
                <c:pt idx="5170">
                  <c:v>48.751</c:v>
                </c:pt>
                <c:pt idx="5171">
                  <c:v>48.76</c:v>
                </c:pt>
                <c:pt idx="5172">
                  <c:v>48.769</c:v>
                </c:pt>
                <c:pt idx="5173">
                  <c:v>48.778</c:v>
                </c:pt>
                <c:pt idx="5174">
                  <c:v>48.787</c:v>
                </c:pt>
                <c:pt idx="5175">
                  <c:v>48.796</c:v>
                </c:pt>
                <c:pt idx="5176">
                  <c:v>48.806</c:v>
                </c:pt>
                <c:pt idx="5177">
                  <c:v>48.815</c:v>
                </c:pt>
                <c:pt idx="5178">
                  <c:v>48.824</c:v>
                </c:pt>
                <c:pt idx="5179">
                  <c:v>48.833</c:v>
                </c:pt>
                <c:pt idx="5180">
                  <c:v>48.842</c:v>
                </c:pt>
                <c:pt idx="5181">
                  <c:v>48.851</c:v>
                </c:pt>
                <c:pt idx="5182">
                  <c:v>48.86</c:v>
                </c:pt>
                <c:pt idx="5183">
                  <c:v>48.869</c:v>
                </c:pt>
                <c:pt idx="5184">
                  <c:v>48.879</c:v>
                </c:pt>
                <c:pt idx="5185">
                  <c:v>48.888</c:v>
                </c:pt>
                <c:pt idx="5186">
                  <c:v>48.897</c:v>
                </c:pt>
                <c:pt idx="5187">
                  <c:v>48.906</c:v>
                </c:pt>
                <c:pt idx="5188">
                  <c:v>48.915</c:v>
                </c:pt>
                <c:pt idx="5189">
                  <c:v>48.924</c:v>
                </c:pt>
                <c:pt idx="5190">
                  <c:v>48.933</c:v>
                </c:pt>
                <c:pt idx="5191">
                  <c:v>48.943</c:v>
                </c:pt>
                <c:pt idx="5192">
                  <c:v>48.952</c:v>
                </c:pt>
                <c:pt idx="5193">
                  <c:v>48.961</c:v>
                </c:pt>
                <c:pt idx="5194">
                  <c:v>48.97</c:v>
                </c:pt>
                <c:pt idx="5195">
                  <c:v>48.979</c:v>
                </c:pt>
                <c:pt idx="5196">
                  <c:v>48.988</c:v>
                </c:pt>
                <c:pt idx="5197">
                  <c:v>48.997</c:v>
                </c:pt>
                <c:pt idx="5198">
                  <c:v>49.006</c:v>
                </c:pt>
                <c:pt idx="5199">
                  <c:v>49.015</c:v>
                </c:pt>
                <c:pt idx="5200">
                  <c:v>49.024</c:v>
                </c:pt>
                <c:pt idx="5201">
                  <c:v>49.033</c:v>
                </c:pt>
                <c:pt idx="5202">
                  <c:v>49.042</c:v>
                </c:pt>
                <c:pt idx="5203">
                  <c:v>49.051</c:v>
                </c:pt>
                <c:pt idx="5204">
                  <c:v>49.06</c:v>
                </c:pt>
                <c:pt idx="5205">
                  <c:v>49.069</c:v>
                </c:pt>
                <c:pt idx="5206">
                  <c:v>49.078</c:v>
                </c:pt>
                <c:pt idx="5207">
                  <c:v>49.087</c:v>
                </c:pt>
                <c:pt idx="5208">
                  <c:v>49.096</c:v>
                </c:pt>
                <c:pt idx="5209">
                  <c:v>49.105</c:v>
                </c:pt>
                <c:pt idx="5210">
                  <c:v>49.114</c:v>
                </c:pt>
                <c:pt idx="5211">
                  <c:v>49.123</c:v>
                </c:pt>
                <c:pt idx="5212">
                  <c:v>49.132</c:v>
                </c:pt>
                <c:pt idx="5213">
                  <c:v>49.141</c:v>
                </c:pt>
                <c:pt idx="5214">
                  <c:v>49.15</c:v>
                </c:pt>
                <c:pt idx="5215">
                  <c:v>49.159</c:v>
                </c:pt>
                <c:pt idx="5216">
                  <c:v>49.169</c:v>
                </c:pt>
                <c:pt idx="5217">
                  <c:v>49.178</c:v>
                </c:pt>
                <c:pt idx="5218">
                  <c:v>49.187</c:v>
                </c:pt>
                <c:pt idx="5219">
                  <c:v>49.196</c:v>
                </c:pt>
                <c:pt idx="5220">
                  <c:v>49.205</c:v>
                </c:pt>
                <c:pt idx="5221">
                  <c:v>49.214</c:v>
                </c:pt>
                <c:pt idx="5222">
                  <c:v>49.223</c:v>
                </c:pt>
                <c:pt idx="5223">
                  <c:v>49.232</c:v>
                </c:pt>
                <c:pt idx="5224">
                  <c:v>49.241</c:v>
                </c:pt>
                <c:pt idx="5225">
                  <c:v>49.25</c:v>
                </c:pt>
                <c:pt idx="5226">
                  <c:v>49.259</c:v>
                </c:pt>
                <c:pt idx="5227">
                  <c:v>49.268</c:v>
                </c:pt>
                <c:pt idx="5228">
                  <c:v>49.277</c:v>
                </c:pt>
                <c:pt idx="5229">
                  <c:v>49.286</c:v>
                </c:pt>
                <c:pt idx="5230">
                  <c:v>49.295</c:v>
                </c:pt>
                <c:pt idx="5231">
                  <c:v>49.304</c:v>
                </c:pt>
                <c:pt idx="5232">
                  <c:v>49.314</c:v>
                </c:pt>
                <c:pt idx="5233">
                  <c:v>49.325</c:v>
                </c:pt>
                <c:pt idx="5234">
                  <c:v>49.337</c:v>
                </c:pt>
                <c:pt idx="5235">
                  <c:v>49.348</c:v>
                </c:pt>
                <c:pt idx="5236">
                  <c:v>49.357</c:v>
                </c:pt>
                <c:pt idx="5237">
                  <c:v>49.366</c:v>
                </c:pt>
                <c:pt idx="5238">
                  <c:v>49.376</c:v>
                </c:pt>
                <c:pt idx="5239">
                  <c:v>49.385</c:v>
                </c:pt>
                <c:pt idx="5240">
                  <c:v>49.394</c:v>
                </c:pt>
                <c:pt idx="5241">
                  <c:v>49.403</c:v>
                </c:pt>
                <c:pt idx="5242">
                  <c:v>49.412</c:v>
                </c:pt>
                <c:pt idx="5243">
                  <c:v>49.421</c:v>
                </c:pt>
                <c:pt idx="5244">
                  <c:v>49.43</c:v>
                </c:pt>
                <c:pt idx="5245">
                  <c:v>49.439</c:v>
                </c:pt>
                <c:pt idx="5246">
                  <c:v>49.448</c:v>
                </c:pt>
                <c:pt idx="5247">
                  <c:v>49.457</c:v>
                </c:pt>
                <c:pt idx="5248">
                  <c:v>49.466</c:v>
                </c:pt>
                <c:pt idx="5249">
                  <c:v>49.475</c:v>
                </c:pt>
                <c:pt idx="5250">
                  <c:v>49.484</c:v>
                </c:pt>
                <c:pt idx="5251">
                  <c:v>49.493</c:v>
                </c:pt>
                <c:pt idx="5252">
                  <c:v>49.502</c:v>
                </c:pt>
                <c:pt idx="5253">
                  <c:v>49.511</c:v>
                </c:pt>
                <c:pt idx="5254">
                  <c:v>49.52</c:v>
                </c:pt>
                <c:pt idx="5255">
                  <c:v>49.529</c:v>
                </c:pt>
                <c:pt idx="5256">
                  <c:v>49.538</c:v>
                </c:pt>
                <c:pt idx="5257">
                  <c:v>49.547</c:v>
                </c:pt>
                <c:pt idx="5258">
                  <c:v>49.556</c:v>
                </c:pt>
                <c:pt idx="5259">
                  <c:v>49.565</c:v>
                </c:pt>
                <c:pt idx="5260">
                  <c:v>49.574</c:v>
                </c:pt>
                <c:pt idx="5261">
                  <c:v>49.583</c:v>
                </c:pt>
                <c:pt idx="5262">
                  <c:v>49.592</c:v>
                </c:pt>
                <c:pt idx="5263">
                  <c:v>49.601</c:v>
                </c:pt>
                <c:pt idx="5264">
                  <c:v>49.61</c:v>
                </c:pt>
                <c:pt idx="5265">
                  <c:v>49.62</c:v>
                </c:pt>
                <c:pt idx="5266">
                  <c:v>49.629</c:v>
                </c:pt>
                <c:pt idx="5267">
                  <c:v>49.638</c:v>
                </c:pt>
                <c:pt idx="5268">
                  <c:v>49.647</c:v>
                </c:pt>
                <c:pt idx="5269">
                  <c:v>49.656</c:v>
                </c:pt>
                <c:pt idx="5270">
                  <c:v>49.665</c:v>
                </c:pt>
                <c:pt idx="5271">
                  <c:v>49.674</c:v>
                </c:pt>
                <c:pt idx="5272">
                  <c:v>49.683</c:v>
                </c:pt>
                <c:pt idx="5273">
                  <c:v>49.692</c:v>
                </c:pt>
                <c:pt idx="5274">
                  <c:v>49.701</c:v>
                </c:pt>
                <c:pt idx="5275">
                  <c:v>49.71</c:v>
                </c:pt>
                <c:pt idx="5276">
                  <c:v>49.719</c:v>
                </c:pt>
                <c:pt idx="5277">
                  <c:v>49.728</c:v>
                </c:pt>
                <c:pt idx="5278">
                  <c:v>49.737</c:v>
                </c:pt>
                <c:pt idx="5279">
                  <c:v>49.746</c:v>
                </c:pt>
                <c:pt idx="5280">
                  <c:v>49.755</c:v>
                </c:pt>
                <c:pt idx="5281">
                  <c:v>49.765</c:v>
                </c:pt>
                <c:pt idx="5282">
                  <c:v>49.774</c:v>
                </c:pt>
                <c:pt idx="5283">
                  <c:v>49.784</c:v>
                </c:pt>
                <c:pt idx="5284">
                  <c:v>49.794</c:v>
                </c:pt>
                <c:pt idx="5285">
                  <c:v>49.803</c:v>
                </c:pt>
                <c:pt idx="5286">
                  <c:v>49.812</c:v>
                </c:pt>
                <c:pt idx="5287">
                  <c:v>49.821</c:v>
                </c:pt>
                <c:pt idx="5288">
                  <c:v>49.83</c:v>
                </c:pt>
                <c:pt idx="5289">
                  <c:v>49.839</c:v>
                </c:pt>
                <c:pt idx="5290">
                  <c:v>49.848</c:v>
                </c:pt>
                <c:pt idx="5291">
                  <c:v>49.858</c:v>
                </c:pt>
                <c:pt idx="5292">
                  <c:v>49.867</c:v>
                </c:pt>
                <c:pt idx="5293">
                  <c:v>49.876</c:v>
                </c:pt>
                <c:pt idx="5294">
                  <c:v>49.885</c:v>
                </c:pt>
                <c:pt idx="5295">
                  <c:v>49.894</c:v>
                </c:pt>
                <c:pt idx="5296">
                  <c:v>49.904</c:v>
                </c:pt>
                <c:pt idx="5297">
                  <c:v>49.913</c:v>
                </c:pt>
                <c:pt idx="5298">
                  <c:v>49.922</c:v>
                </c:pt>
                <c:pt idx="5299">
                  <c:v>49.931</c:v>
                </c:pt>
                <c:pt idx="5300">
                  <c:v>49.94</c:v>
                </c:pt>
                <c:pt idx="5301">
                  <c:v>49.949</c:v>
                </c:pt>
                <c:pt idx="5302">
                  <c:v>49.958</c:v>
                </c:pt>
                <c:pt idx="5303">
                  <c:v>49.967</c:v>
                </c:pt>
                <c:pt idx="5304">
                  <c:v>49.976</c:v>
                </c:pt>
                <c:pt idx="5305">
                  <c:v>49.985</c:v>
                </c:pt>
                <c:pt idx="5306">
                  <c:v>49.994</c:v>
                </c:pt>
                <c:pt idx="5307">
                  <c:v>50.003</c:v>
                </c:pt>
                <c:pt idx="5308">
                  <c:v>50.012</c:v>
                </c:pt>
                <c:pt idx="5309">
                  <c:v>50.021</c:v>
                </c:pt>
                <c:pt idx="5310">
                  <c:v>50.03</c:v>
                </c:pt>
                <c:pt idx="5311">
                  <c:v>50.039</c:v>
                </c:pt>
                <c:pt idx="5312">
                  <c:v>50.048</c:v>
                </c:pt>
                <c:pt idx="5313">
                  <c:v>50.057</c:v>
                </c:pt>
                <c:pt idx="5314">
                  <c:v>50.066</c:v>
                </c:pt>
                <c:pt idx="5315">
                  <c:v>50.075</c:v>
                </c:pt>
                <c:pt idx="5316">
                  <c:v>50.084</c:v>
                </c:pt>
                <c:pt idx="5317">
                  <c:v>50.093</c:v>
                </c:pt>
                <c:pt idx="5318">
                  <c:v>50.102</c:v>
                </c:pt>
                <c:pt idx="5319">
                  <c:v>50.111</c:v>
                </c:pt>
                <c:pt idx="5320">
                  <c:v>50.12</c:v>
                </c:pt>
                <c:pt idx="5321">
                  <c:v>50.129</c:v>
                </c:pt>
                <c:pt idx="5322">
                  <c:v>50.138</c:v>
                </c:pt>
                <c:pt idx="5323">
                  <c:v>50.148</c:v>
                </c:pt>
                <c:pt idx="5324">
                  <c:v>50.157</c:v>
                </c:pt>
                <c:pt idx="5325">
                  <c:v>50.166</c:v>
                </c:pt>
                <c:pt idx="5326">
                  <c:v>50.175</c:v>
                </c:pt>
                <c:pt idx="5327">
                  <c:v>50.184</c:v>
                </c:pt>
                <c:pt idx="5328">
                  <c:v>50.193</c:v>
                </c:pt>
                <c:pt idx="5329">
                  <c:v>50.202</c:v>
                </c:pt>
                <c:pt idx="5330">
                  <c:v>50.211</c:v>
                </c:pt>
                <c:pt idx="5331">
                  <c:v>50.22</c:v>
                </c:pt>
                <c:pt idx="5332">
                  <c:v>50.229</c:v>
                </c:pt>
                <c:pt idx="5333">
                  <c:v>50.238</c:v>
                </c:pt>
                <c:pt idx="5334">
                  <c:v>50.247</c:v>
                </c:pt>
                <c:pt idx="5335">
                  <c:v>50.256</c:v>
                </c:pt>
                <c:pt idx="5336">
                  <c:v>50.265</c:v>
                </c:pt>
                <c:pt idx="5337">
                  <c:v>50.274</c:v>
                </c:pt>
                <c:pt idx="5338">
                  <c:v>50.283</c:v>
                </c:pt>
                <c:pt idx="5339">
                  <c:v>50.293</c:v>
                </c:pt>
                <c:pt idx="5340">
                  <c:v>50.302</c:v>
                </c:pt>
                <c:pt idx="5341">
                  <c:v>50.312</c:v>
                </c:pt>
                <c:pt idx="5342">
                  <c:v>50.321</c:v>
                </c:pt>
                <c:pt idx="5343">
                  <c:v>50.33</c:v>
                </c:pt>
                <c:pt idx="5344">
                  <c:v>50.339</c:v>
                </c:pt>
                <c:pt idx="5345">
                  <c:v>50.348</c:v>
                </c:pt>
                <c:pt idx="5346">
                  <c:v>50.357</c:v>
                </c:pt>
                <c:pt idx="5347">
                  <c:v>50.366</c:v>
                </c:pt>
                <c:pt idx="5348">
                  <c:v>50.375</c:v>
                </c:pt>
                <c:pt idx="5349">
                  <c:v>50.385</c:v>
                </c:pt>
                <c:pt idx="5350">
                  <c:v>50.394</c:v>
                </c:pt>
                <c:pt idx="5351">
                  <c:v>50.41</c:v>
                </c:pt>
                <c:pt idx="5352">
                  <c:v>50.419</c:v>
                </c:pt>
                <c:pt idx="5353">
                  <c:v>50.428</c:v>
                </c:pt>
                <c:pt idx="5354">
                  <c:v>50.438</c:v>
                </c:pt>
                <c:pt idx="5355">
                  <c:v>50.447</c:v>
                </c:pt>
                <c:pt idx="5356">
                  <c:v>50.457</c:v>
                </c:pt>
                <c:pt idx="5357">
                  <c:v>50.466</c:v>
                </c:pt>
                <c:pt idx="5358">
                  <c:v>50.475</c:v>
                </c:pt>
                <c:pt idx="5359">
                  <c:v>50.484</c:v>
                </c:pt>
                <c:pt idx="5360">
                  <c:v>50.493</c:v>
                </c:pt>
                <c:pt idx="5361">
                  <c:v>50.502</c:v>
                </c:pt>
                <c:pt idx="5362">
                  <c:v>50.511</c:v>
                </c:pt>
                <c:pt idx="5363">
                  <c:v>50.52</c:v>
                </c:pt>
                <c:pt idx="5364">
                  <c:v>50.529</c:v>
                </c:pt>
                <c:pt idx="5365">
                  <c:v>50.538</c:v>
                </c:pt>
                <c:pt idx="5366">
                  <c:v>50.547</c:v>
                </c:pt>
                <c:pt idx="5367">
                  <c:v>50.556</c:v>
                </c:pt>
                <c:pt idx="5368">
                  <c:v>50.565</c:v>
                </c:pt>
                <c:pt idx="5369">
                  <c:v>50.574</c:v>
                </c:pt>
                <c:pt idx="5370">
                  <c:v>50.583</c:v>
                </c:pt>
                <c:pt idx="5371">
                  <c:v>50.592</c:v>
                </c:pt>
                <c:pt idx="5372">
                  <c:v>50.601</c:v>
                </c:pt>
                <c:pt idx="5373">
                  <c:v>50.61</c:v>
                </c:pt>
                <c:pt idx="5374">
                  <c:v>50.619</c:v>
                </c:pt>
                <c:pt idx="5375">
                  <c:v>50.628</c:v>
                </c:pt>
                <c:pt idx="5376">
                  <c:v>50.637</c:v>
                </c:pt>
                <c:pt idx="5377">
                  <c:v>50.646</c:v>
                </c:pt>
                <c:pt idx="5378">
                  <c:v>50.656</c:v>
                </c:pt>
                <c:pt idx="5379">
                  <c:v>50.665</c:v>
                </c:pt>
                <c:pt idx="5380">
                  <c:v>50.674</c:v>
                </c:pt>
                <c:pt idx="5381">
                  <c:v>50.683</c:v>
                </c:pt>
                <c:pt idx="5382">
                  <c:v>50.692</c:v>
                </c:pt>
                <c:pt idx="5383">
                  <c:v>50.701</c:v>
                </c:pt>
                <c:pt idx="5384">
                  <c:v>50.71</c:v>
                </c:pt>
                <c:pt idx="5385">
                  <c:v>50.719</c:v>
                </c:pt>
                <c:pt idx="5386">
                  <c:v>50.728</c:v>
                </c:pt>
                <c:pt idx="5387">
                  <c:v>50.737</c:v>
                </c:pt>
                <c:pt idx="5388">
                  <c:v>50.746</c:v>
                </c:pt>
                <c:pt idx="5389">
                  <c:v>50.755</c:v>
                </c:pt>
                <c:pt idx="5390">
                  <c:v>50.764</c:v>
                </c:pt>
                <c:pt idx="5391">
                  <c:v>50.773</c:v>
                </c:pt>
                <c:pt idx="5392">
                  <c:v>50.782</c:v>
                </c:pt>
                <c:pt idx="5393">
                  <c:v>50.791</c:v>
                </c:pt>
                <c:pt idx="5394">
                  <c:v>50.801</c:v>
                </c:pt>
                <c:pt idx="5395">
                  <c:v>50.81</c:v>
                </c:pt>
                <c:pt idx="5396">
                  <c:v>50.82</c:v>
                </c:pt>
                <c:pt idx="5397">
                  <c:v>50.832</c:v>
                </c:pt>
                <c:pt idx="5398">
                  <c:v>50.844</c:v>
                </c:pt>
                <c:pt idx="5399">
                  <c:v>50.853</c:v>
                </c:pt>
                <c:pt idx="5400">
                  <c:v>50.862</c:v>
                </c:pt>
                <c:pt idx="5401">
                  <c:v>50.871</c:v>
                </c:pt>
                <c:pt idx="5402">
                  <c:v>50.881</c:v>
                </c:pt>
                <c:pt idx="5403">
                  <c:v>50.89</c:v>
                </c:pt>
                <c:pt idx="5404">
                  <c:v>50.899</c:v>
                </c:pt>
                <c:pt idx="5405">
                  <c:v>50.908</c:v>
                </c:pt>
                <c:pt idx="5406">
                  <c:v>50.917</c:v>
                </c:pt>
                <c:pt idx="5407">
                  <c:v>50.926</c:v>
                </c:pt>
                <c:pt idx="5408">
                  <c:v>50.935</c:v>
                </c:pt>
                <c:pt idx="5409">
                  <c:v>50.944</c:v>
                </c:pt>
                <c:pt idx="5410">
                  <c:v>50.953</c:v>
                </c:pt>
                <c:pt idx="5411">
                  <c:v>50.963</c:v>
                </c:pt>
                <c:pt idx="5412">
                  <c:v>50.972</c:v>
                </c:pt>
                <c:pt idx="5413">
                  <c:v>50.981</c:v>
                </c:pt>
                <c:pt idx="5414">
                  <c:v>50.99</c:v>
                </c:pt>
                <c:pt idx="5415">
                  <c:v>50.999</c:v>
                </c:pt>
                <c:pt idx="5416">
                  <c:v>51.008</c:v>
                </c:pt>
                <c:pt idx="5417">
                  <c:v>51.017</c:v>
                </c:pt>
                <c:pt idx="5418">
                  <c:v>51.026</c:v>
                </c:pt>
                <c:pt idx="5419">
                  <c:v>51.035</c:v>
                </c:pt>
                <c:pt idx="5420">
                  <c:v>51.044</c:v>
                </c:pt>
                <c:pt idx="5421">
                  <c:v>51.053</c:v>
                </c:pt>
                <c:pt idx="5422">
                  <c:v>51.062</c:v>
                </c:pt>
                <c:pt idx="5423">
                  <c:v>51.071</c:v>
                </c:pt>
                <c:pt idx="5424">
                  <c:v>51.08</c:v>
                </c:pt>
                <c:pt idx="5425">
                  <c:v>51.089</c:v>
                </c:pt>
                <c:pt idx="5426">
                  <c:v>51.098</c:v>
                </c:pt>
                <c:pt idx="5427">
                  <c:v>51.108</c:v>
                </c:pt>
                <c:pt idx="5428">
                  <c:v>51.117</c:v>
                </c:pt>
                <c:pt idx="5429">
                  <c:v>51.126</c:v>
                </c:pt>
                <c:pt idx="5430">
                  <c:v>51.135</c:v>
                </c:pt>
                <c:pt idx="5431">
                  <c:v>51.144</c:v>
                </c:pt>
                <c:pt idx="5432">
                  <c:v>51.153</c:v>
                </c:pt>
                <c:pt idx="5433">
                  <c:v>51.162</c:v>
                </c:pt>
                <c:pt idx="5434">
                  <c:v>51.171</c:v>
                </c:pt>
                <c:pt idx="5435">
                  <c:v>51.181</c:v>
                </c:pt>
                <c:pt idx="5436">
                  <c:v>51.19</c:v>
                </c:pt>
                <c:pt idx="5437">
                  <c:v>51.199</c:v>
                </c:pt>
                <c:pt idx="5438">
                  <c:v>51.208</c:v>
                </c:pt>
                <c:pt idx="5439">
                  <c:v>51.217</c:v>
                </c:pt>
                <c:pt idx="5440">
                  <c:v>51.226</c:v>
                </c:pt>
                <c:pt idx="5441">
                  <c:v>51.235</c:v>
                </c:pt>
                <c:pt idx="5442">
                  <c:v>51.244</c:v>
                </c:pt>
                <c:pt idx="5443">
                  <c:v>51.253</c:v>
                </c:pt>
                <c:pt idx="5444">
                  <c:v>51.262</c:v>
                </c:pt>
                <c:pt idx="5445">
                  <c:v>51.271</c:v>
                </c:pt>
                <c:pt idx="5446">
                  <c:v>51.28</c:v>
                </c:pt>
                <c:pt idx="5447">
                  <c:v>51.289</c:v>
                </c:pt>
                <c:pt idx="5448">
                  <c:v>51.298</c:v>
                </c:pt>
                <c:pt idx="5449">
                  <c:v>51.307</c:v>
                </c:pt>
                <c:pt idx="5450">
                  <c:v>51.316</c:v>
                </c:pt>
                <c:pt idx="5451">
                  <c:v>51.328</c:v>
                </c:pt>
                <c:pt idx="5452">
                  <c:v>51.338</c:v>
                </c:pt>
                <c:pt idx="5453">
                  <c:v>51.352</c:v>
                </c:pt>
                <c:pt idx="5454">
                  <c:v>51.361</c:v>
                </c:pt>
                <c:pt idx="5455">
                  <c:v>51.37</c:v>
                </c:pt>
                <c:pt idx="5456">
                  <c:v>51.379</c:v>
                </c:pt>
                <c:pt idx="5457">
                  <c:v>51.389</c:v>
                </c:pt>
                <c:pt idx="5458">
                  <c:v>51.398</c:v>
                </c:pt>
                <c:pt idx="5459">
                  <c:v>51.407</c:v>
                </c:pt>
                <c:pt idx="5460">
                  <c:v>51.416</c:v>
                </c:pt>
                <c:pt idx="5461">
                  <c:v>51.425</c:v>
                </c:pt>
                <c:pt idx="5462">
                  <c:v>51.434</c:v>
                </c:pt>
                <c:pt idx="5463">
                  <c:v>51.443</c:v>
                </c:pt>
                <c:pt idx="5464">
                  <c:v>51.452</c:v>
                </c:pt>
                <c:pt idx="5465">
                  <c:v>51.461</c:v>
                </c:pt>
                <c:pt idx="5466">
                  <c:v>51.471</c:v>
                </c:pt>
                <c:pt idx="5467">
                  <c:v>51.48</c:v>
                </c:pt>
                <c:pt idx="5468">
                  <c:v>51.489</c:v>
                </c:pt>
                <c:pt idx="5469">
                  <c:v>51.498</c:v>
                </c:pt>
                <c:pt idx="5470">
                  <c:v>51.507</c:v>
                </c:pt>
                <c:pt idx="5471">
                  <c:v>51.516</c:v>
                </c:pt>
                <c:pt idx="5472">
                  <c:v>51.525</c:v>
                </c:pt>
                <c:pt idx="5473">
                  <c:v>51.534</c:v>
                </c:pt>
                <c:pt idx="5474">
                  <c:v>51.544</c:v>
                </c:pt>
                <c:pt idx="5475">
                  <c:v>51.553</c:v>
                </c:pt>
                <c:pt idx="5476">
                  <c:v>51.562</c:v>
                </c:pt>
                <c:pt idx="5477">
                  <c:v>51.571</c:v>
                </c:pt>
                <c:pt idx="5478">
                  <c:v>51.58</c:v>
                </c:pt>
                <c:pt idx="5479">
                  <c:v>51.589</c:v>
                </c:pt>
                <c:pt idx="5480">
                  <c:v>51.598</c:v>
                </c:pt>
                <c:pt idx="5481">
                  <c:v>51.607</c:v>
                </c:pt>
                <c:pt idx="5482">
                  <c:v>51.616</c:v>
                </c:pt>
                <c:pt idx="5483">
                  <c:v>51.625</c:v>
                </c:pt>
                <c:pt idx="5484">
                  <c:v>51.634</c:v>
                </c:pt>
                <c:pt idx="5485">
                  <c:v>51.643</c:v>
                </c:pt>
                <c:pt idx="5486">
                  <c:v>51.652</c:v>
                </c:pt>
                <c:pt idx="5487">
                  <c:v>51.661</c:v>
                </c:pt>
                <c:pt idx="5488">
                  <c:v>51.67</c:v>
                </c:pt>
                <c:pt idx="5489">
                  <c:v>51.679</c:v>
                </c:pt>
                <c:pt idx="5490">
                  <c:v>51.689</c:v>
                </c:pt>
                <c:pt idx="5491">
                  <c:v>51.698</c:v>
                </c:pt>
                <c:pt idx="5492">
                  <c:v>51.707</c:v>
                </c:pt>
                <c:pt idx="5493">
                  <c:v>51.716</c:v>
                </c:pt>
                <c:pt idx="5494">
                  <c:v>51.725</c:v>
                </c:pt>
                <c:pt idx="5495">
                  <c:v>51.734</c:v>
                </c:pt>
                <c:pt idx="5496">
                  <c:v>51.743</c:v>
                </c:pt>
                <c:pt idx="5497">
                  <c:v>51.752</c:v>
                </c:pt>
                <c:pt idx="5498">
                  <c:v>51.761</c:v>
                </c:pt>
                <c:pt idx="5499">
                  <c:v>51.77</c:v>
                </c:pt>
                <c:pt idx="5500">
                  <c:v>51.779</c:v>
                </c:pt>
                <c:pt idx="5501">
                  <c:v>51.788</c:v>
                </c:pt>
                <c:pt idx="5502">
                  <c:v>51.797</c:v>
                </c:pt>
                <c:pt idx="5503">
                  <c:v>51.806</c:v>
                </c:pt>
                <c:pt idx="5504">
                  <c:v>51.815</c:v>
                </c:pt>
                <c:pt idx="5505">
                  <c:v>51.824</c:v>
                </c:pt>
                <c:pt idx="5506">
                  <c:v>51.839</c:v>
                </c:pt>
                <c:pt idx="5507">
                  <c:v>51.85</c:v>
                </c:pt>
                <c:pt idx="5508">
                  <c:v>51.859</c:v>
                </c:pt>
                <c:pt idx="5509">
                  <c:v>51.868</c:v>
                </c:pt>
                <c:pt idx="5510">
                  <c:v>51.877</c:v>
                </c:pt>
                <c:pt idx="5511">
                  <c:v>51.886</c:v>
                </c:pt>
                <c:pt idx="5512">
                  <c:v>51.895</c:v>
                </c:pt>
                <c:pt idx="5513">
                  <c:v>51.904</c:v>
                </c:pt>
                <c:pt idx="5514">
                  <c:v>51.913</c:v>
                </c:pt>
                <c:pt idx="5515">
                  <c:v>51.922</c:v>
                </c:pt>
                <c:pt idx="5516">
                  <c:v>51.931</c:v>
                </c:pt>
                <c:pt idx="5517">
                  <c:v>51.94</c:v>
                </c:pt>
                <c:pt idx="5518">
                  <c:v>51.949</c:v>
                </c:pt>
                <c:pt idx="5519">
                  <c:v>51.958</c:v>
                </c:pt>
                <c:pt idx="5520">
                  <c:v>51.967</c:v>
                </c:pt>
                <c:pt idx="5521">
                  <c:v>51.976</c:v>
                </c:pt>
                <c:pt idx="5522">
                  <c:v>51.985</c:v>
                </c:pt>
                <c:pt idx="5523">
                  <c:v>51.994</c:v>
                </c:pt>
                <c:pt idx="5524">
                  <c:v>52.003</c:v>
                </c:pt>
                <c:pt idx="5525">
                  <c:v>52.012</c:v>
                </c:pt>
                <c:pt idx="5526">
                  <c:v>52.021</c:v>
                </c:pt>
                <c:pt idx="5527">
                  <c:v>52.03</c:v>
                </c:pt>
                <c:pt idx="5528">
                  <c:v>52.039</c:v>
                </c:pt>
                <c:pt idx="5529">
                  <c:v>52.048</c:v>
                </c:pt>
                <c:pt idx="5530">
                  <c:v>52.057</c:v>
                </c:pt>
                <c:pt idx="5531">
                  <c:v>52.066</c:v>
                </c:pt>
                <c:pt idx="5532">
                  <c:v>52.075</c:v>
                </c:pt>
                <c:pt idx="5533">
                  <c:v>52.084</c:v>
                </c:pt>
                <c:pt idx="5534">
                  <c:v>52.093</c:v>
                </c:pt>
                <c:pt idx="5535">
                  <c:v>52.102</c:v>
                </c:pt>
                <c:pt idx="5536">
                  <c:v>52.111</c:v>
                </c:pt>
                <c:pt idx="5537">
                  <c:v>52.12</c:v>
                </c:pt>
                <c:pt idx="5538">
                  <c:v>52.129</c:v>
                </c:pt>
                <c:pt idx="5539">
                  <c:v>52.138</c:v>
                </c:pt>
                <c:pt idx="5540">
                  <c:v>52.147</c:v>
                </c:pt>
                <c:pt idx="5541">
                  <c:v>52.156</c:v>
                </c:pt>
                <c:pt idx="5542">
                  <c:v>52.165</c:v>
                </c:pt>
                <c:pt idx="5543">
                  <c:v>52.174</c:v>
                </c:pt>
                <c:pt idx="5544">
                  <c:v>52.184</c:v>
                </c:pt>
                <c:pt idx="5545">
                  <c:v>52.194</c:v>
                </c:pt>
                <c:pt idx="5546">
                  <c:v>52.203</c:v>
                </c:pt>
                <c:pt idx="5547">
                  <c:v>52.212</c:v>
                </c:pt>
                <c:pt idx="5548">
                  <c:v>52.221</c:v>
                </c:pt>
                <c:pt idx="5549">
                  <c:v>52.23</c:v>
                </c:pt>
                <c:pt idx="5550">
                  <c:v>52.239</c:v>
                </c:pt>
                <c:pt idx="5551">
                  <c:v>52.248</c:v>
                </c:pt>
                <c:pt idx="5552">
                  <c:v>52.257</c:v>
                </c:pt>
                <c:pt idx="5553">
                  <c:v>52.266</c:v>
                </c:pt>
                <c:pt idx="5554">
                  <c:v>52.275</c:v>
                </c:pt>
                <c:pt idx="5555">
                  <c:v>52.284</c:v>
                </c:pt>
                <c:pt idx="5556">
                  <c:v>52.293</c:v>
                </c:pt>
                <c:pt idx="5557">
                  <c:v>52.302</c:v>
                </c:pt>
                <c:pt idx="5558">
                  <c:v>52.311</c:v>
                </c:pt>
                <c:pt idx="5559">
                  <c:v>52.32</c:v>
                </c:pt>
                <c:pt idx="5560">
                  <c:v>52.329</c:v>
                </c:pt>
                <c:pt idx="5561">
                  <c:v>52.344</c:v>
                </c:pt>
                <c:pt idx="5562">
                  <c:v>52.354</c:v>
                </c:pt>
                <c:pt idx="5563">
                  <c:v>52.363</c:v>
                </c:pt>
                <c:pt idx="5564">
                  <c:v>52.372</c:v>
                </c:pt>
                <c:pt idx="5565">
                  <c:v>52.381</c:v>
                </c:pt>
                <c:pt idx="5566">
                  <c:v>52.39</c:v>
                </c:pt>
                <c:pt idx="5567">
                  <c:v>52.399</c:v>
                </c:pt>
                <c:pt idx="5568">
                  <c:v>52.408</c:v>
                </c:pt>
                <c:pt idx="5569">
                  <c:v>52.417</c:v>
                </c:pt>
                <c:pt idx="5570">
                  <c:v>52.426</c:v>
                </c:pt>
                <c:pt idx="5571">
                  <c:v>52.435</c:v>
                </c:pt>
                <c:pt idx="5572">
                  <c:v>52.444</c:v>
                </c:pt>
                <c:pt idx="5573">
                  <c:v>52.453</c:v>
                </c:pt>
                <c:pt idx="5574">
                  <c:v>52.462</c:v>
                </c:pt>
                <c:pt idx="5575">
                  <c:v>52.471</c:v>
                </c:pt>
                <c:pt idx="5576">
                  <c:v>52.48</c:v>
                </c:pt>
                <c:pt idx="5577">
                  <c:v>52.489</c:v>
                </c:pt>
                <c:pt idx="5578">
                  <c:v>52.498</c:v>
                </c:pt>
                <c:pt idx="5579">
                  <c:v>52.507</c:v>
                </c:pt>
                <c:pt idx="5580">
                  <c:v>52.516</c:v>
                </c:pt>
                <c:pt idx="5581">
                  <c:v>52.525</c:v>
                </c:pt>
                <c:pt idx="5582">
                  <c:v>52.534</c:v>
                </c:pt>
                <c:pt idx="5583">
                  <c:v>52.543</c:v>
                </c:pt>
                <c:pt idx="5584">
                  <c:v>52.552</c:v>
                </c:pt>
                <c:pt idx="5585">
                  <c:v>52.561</c:v>
                </c:pt>
                <c:pt idx="5586">
                  <c:v>52.571</c:v>
                </c:pt>
                <c:pt idx="5587">
                  <c:v>52.58</c:v>
                </c:pt>
                <c:pt idx="5588">
                  <c:v>52.589</c:v>
                </c:pt>
                <c:pt idx="5589">
                  <c:v>52.598</c:v>
                </c:pt>
                <c:pt idx="5590">
                  <c:v>52.607</c:v>
                </c:pt>
                <c:pt idx="5591">
                  <c:v>52.616</c:v>
                </c:pt>
                <c:pt idx="5592">
                  <c:v>52.625</c:v>
                </c:pt>
                <c:pt idx="5593">
                  <c:v>52.634</c:v>
                </c:pt>
                <c:pt idx="5594">
                  <c:v>52.643</c:v>
                </c:pt>
                <c:pt idx="5595">
                  <c:v>52.652</c:v>
                </c:pt>
                <c:pt idx="5596">
                  <c:v>52.661</c:v>
                </c:pt>
                <c:pt idx="5597">
                  <c:v>52.67</c:v>
                </c:pt>
                <c:pt idx="5598">
                  <c:v>52.679</c:v>
                </c:pt>
                <c:pt idx="5599">
                  <c:v>52.688</c:v>
                </c:pt>
                <c:pt idx="5600">
                  <c:v>52.697</c:v>
                </c:pt>
                <c:pt idx="5601">
                  <c:v>52.706</c:v>
                </c:pt>
                <c:pt idx="5602">
                  <c:v>52.717</c:v>
                </c:pt>
                <c:pt idx="5603">
                  <c:v>52.727</c:v>
                </c:pt>
                <c:pt idx="5604">
                  <c:v>52.736</c:v>
                </c:pt>
                <c:pt idx="5605">
                  <c:v>52.745</c:v>
                </c:pt>
                <c:pt idx="5606">
                  <c:v>52.754</c:v>
                </c:pt>
                <c:pt idx="5607">
                  <c:v>52.763</c:v>
                </c:pt>
                <c:pt idx="5608">
                  <c:v>52.772</c:v>
                </c:pt>
                <c:pt idx="5609">
                  <c:v>52.781</c:v>
                </c:pt>
                <c:pt idx="5610">
                  <c:v>52.79</c:v>
                </c:pt>
                <c:pt idx="5611">
                  <c:v>52.799</c:v>
                </c:pt>
                <c:pt idx="5612">
                  <c:v>52.808</c:v>
                </c:pt>
                <c:pt idx="5613">
                  <c:v>52.817</c:v>
                </c:pt>
                <c:pt idx="5614">
                  <c:v>52.826</c:v>
                </c:pt>
                <c:pt idx="5615">
                  <c:v>52.836</c:v>
                </c:pt>
                <c:pt idx="5616">
                  <c:v>52.848</c:v>
                </c:pt>
                <c:pt idx="5617">
                  <c:v>52.858</c:v>
                </c:pt>
                <c:pt idx="5618">
                  <c:v>52.869</c:v>
                </c:pt>
                <c:pt idx="5619">
                  <c:v>52.878</c:v>
                </c:pt>
                <c:pt idx="5620">
                  <c:v>52.887</c:v>
                </c:pt>
                <c:pt idx="5621">
                  <c:v>52.896</c:v>
                </c:pt>
                <c:pt idx="5622">
                  <c:v>52.905</c:v>
                </c:pt>
                <c:pt idx="5623">
                  <c:v>52.914</c:v>
                </c:pt>
                <c:pt idx="5624">
                  <c:v>52.923</c:v>
                </c:pt>
                <c:pt idx="5625">
                  <c:v>52.932</c:v>
                </c:pt>
                <c:pt idx="5626">
                  <c:v>52.941</c:v>
                </c:pt>
                <c:pt idx="5627">
                  <c:v>52.95</c:v>
                </c:pt>
                <c:pt idx="5628">
                  <c:v>52.959</c:v>
                </c:pt>
                <c:pt idx="5629">
                  <c:v>52.968</c:v>
                </c:pt>
                <c:pt idx="5630">
                  <c:v>52.977</c:v>
                </c:pt>
                <c:pt idx="5631">
                  <c:v>52.986</c:v>
                </c:pt>
                <c:pt idx="5632">
                  <c:v>52.995</c:v>
                </c:pt>
                <c:pt idx="5633">
                  <c:v>53.004</c:v>
                </c:pt>
                <c:pt idx="5634">
                  <c:v>53.013</c:v>
                </c:pt>
                <c:pt idx="5635">
                  <c:v>53.022</c:v>
                </c:pt>
                <c:pt idx="5636">
                  <c:v>53.031</c:v>
                </c:pt>
                <c:pt idx="5637">
                  <c:v>53.04</c:v>
                </c:pt>
                <c:pt idx="5638">
                  <c:v>53.049</c:v>
                </c:pt>
                <c:pt idx="5639">
                  <c:v>53.058</c:v>
                </c:pt>
                <c:pt idx="5640">
                  <c:v>53.067</c:v>
                </c:pt>
                <c:pt idx="5641">
                  <c:v>53.076</c:v>
                </c:pt>
                <c:pt idx="5642">
                  <c:v>53.085</c:v>
                </c:pt>
                <c:pt idx="5643">
                  <c:v>53.095</c:v>
                </c:pt>
                <c:pt idx="5644">
                  <c:v>53.104</c:v>
                </c:pt>
                <c:pt idx="5645">
                  <c:v>53.113</c:v>
                </c:pt>
                <c:pt idx="5646">
                  <c:v>53.122</c:v>
                </c:pt>
                <c:pt idx="5647">
                  <c:v>53.131</c:v>
                </c:pt>
                <c:pt idx="5648">
                  <c:v>53.14</c:v>
                </c:pt>
                <c:pt idx="5649">
                  <c:v>53.149</c:v>
                </c:pt>
                <c:pt idx="5650">
                  <c:v>53.158</c:v>
                </c:pt>
                <c:pt idx="5651">
                  <c:v>53.167</c:v>
                </c:pt>
                <c:pt idx="5652">
                  <c:v>53.176</c:v>
                </c:pt>
                <c:pt idx="5653">
                  <c:v>53.185</c:v>
                </c:pt>
                <c:pt idx="5654">
                  <c:v>53.194</c:v>
                </c:pt>
                <c:pt idx="5655">
                  <c:v>53.203</c:v>
                </c:pt>
                <c:pt idx="5656">
                  <c:v>53.212</c:v>
                </c:pt>
                <c:pt idx="5657">
                  <c:v>53.221</c:v>
                </c:pt>
                <c:pt idx="5658">
                  <c:v>53.23</c:v>
                </c:pt>
              </c:strCache>
            </c:strRef>
          </c:cat>
          <c:val>
            <c:numRef>
              <c:f>Data!$B$3:$B$5661</c:f>
              <c:numCache>
                <c:formatCode>General</c:formatCode>
                <c:ptCount val="5659"/>
                <c:pt idx="0">
                  <c:v>-0.100725</c:v>
                </c:pt>
                <c:pt idx="1">
                  <c:v>-1.6469399999999999E-2</c:v>
                </c:pt>
                <c:pt idx="2">
                  <c:v>-0.159964</c:v>
                </c:pt>
                <c:pt idx="3">
                  <c:v>4.3868999999999998E-2</c:v>
                </c:pt>
                <c:pt idx="4">
                  <c:v>-0.27165099999999998</c:v>
                </c:pt>
                <c:pt idx="5">
                  <c:v>-6.1600500000000002E-2</c:v>
                </c:pt>
                <c:pt idx="6">
                  <c:v>-0.180702</c:v>
                </c:pt>
                <c:pt idx="7">
                  <c:v>-0.48649199999999998</c:v>
                </c:pt>
                <c:pt idx="8">
                  <c:v>-0.82925199999999999</c:v>
                </c:pt>
                <c:pt idx="9">
                  <c:v>-1.1511</c:v>
                </c:pt>
                <c:pt idx="10">
                  <c:v>-2.2553100000000001</c:v>
                </c:pt>
                <c:pt idx="11">
                  <c:v>-4.0694900000000001</c:v>
                </c:pt>
                <c:pt idx="12">
                  <c:v>-5.1192700000000002</c:v>
                </c:pt>
                <c:pt idx="13">
                  <c:v>-6.4432600000000004</c:v>
                </c:pt>
                <c:pt idx="14">
                  <c:v>-7.6684299999999999</c:v>
                </c:pt>
                <c:pt idx="15">
                  <c:v>-9.9336699999999993</c:v>
                </c:pt>
                <c:pt idx="16">
                  <c:v>-10.899800000000001</c:v>
                </c:pt>
                <c:pt idx="17">
                  <c:v>-12.8026</c:v>
                </c:pt>
                <c:pt idx="18">
                  <c:v>-14.073700000000001</c:v>
                </c:pt>
                <c:pt idx="19">
                  <c:v>-15.0501</c:v>
                </c:pt>
                <c:pt idx="20">
                  <c:v>-16.555099999999999</c:v>
                </c:pt>
                <c:pt idx="21">
                  <c:v>-17.158300000000001</c:v>
                </c:pt>
                <c:pt idx="22">
                  <c:v>-17.168500000000002</c:v>
                </c:pt>
                <c:pt idx="23">
                  <c:v>-17.388400000000001</c:v>
                </c:pt>
                <c:pt idx="24">
                  <c:v>-17.602599999999999</c:v>
                </c:pt>
                <c:pt idx="25">
                  <c:v>-17.049900000000001</c:v>
                </c:pt>
                <c:pt idx="26">
                  <c:v>-17.651499999999999</c:v>
                </c:pt>
                <c:pt idx="27">
                  <c:v>-17.627500000000001</c:v>
                </c:pt>
                <c:pt idx="28">
                  <c:v>-17.3491</c:v>
                </c:pt>
                <c:pt idx="29">
                  <c:v>-17.864699999999999</c:v>
                </c:pt>
                <c:pt idx="30">
                  <c:v>-17.028099999999998</c:v>
                </c:pt>
                <c:pt idx="31">
                  <c:v>-16.5806</c:v>
                </c:pt>
                <c:pt idx="32">
                  <c:v>-16.249300000000002</c:v>
                </c:pt>
                <c:pt idx="33">
                  <c:v>-14.790800000000001</c:v>
                </c:pt>
                <c:pt idx="34">
                  <c:v>-13.8627</c:v>
                </c:pt>
                <c:pt idx="35">
                  <c:v>-11.1258</c:v>
                </c:pt>
                <c:pt idx="36">
                  <c:v>-9.5872299999999999</c:v>
                </c:pt>
                <c:pt idx="37">
                  <c:v>-7.6350899999999999</c:v>
                </c:pt>
                <c:pt idx="38">
                  <c:v>-6.5082899999999997</c:v>
                </c:pt>
                <c:pt idx="39">
                  <c:v>-6.6159400000000002</c:v>
                </c:pt>
                <c:pt idx="40">
                  <c:v>-5.94259</c:v>
                </c:pt>
                <c:pt idx="41">
                  <c:v>-4.8637499999999996</c:v>
                </c:pt>
                <c:pt idx="42">
                  <c:v>-3.6827399999999999</c:v>
                </c:pt>
                <c:pt idx="43">
                  <c:v>-2.5742600000000002</c:v>
                </c:pt>
                <c:pt idx="44">
                  <c:v>-1.97523</c:v>
                </c:pt>
                <c:pt idx="45">
                  <c:v>-1.1756500000000001</c:v>
                </c:pt>
                <c:pt idx="46">
                  <c:v>-1.97404</c:v>
                </c:pt>
                <c:pt idx="47">
                  <c:v>-2.0937899999999998</c:v>
                </c:pt>
                <c:pt idx="48">
                  <c:v>-1.71549</c:v>
                </c:pt>
                <c:pt idx="49">
                  <c:v>-2.2339899999999999</c:v>
                </c:pt>
                <c:pt idx="50">
                  <c:v>-2.8241700000000001</c:v>
                </c:pt>
                <c:pt idx="51">
                  <c:v>-3.9003999999999999</c:v>
                </c:pt>
                <c:pt idx="52">
                  <c:v>-3.2913000000000001</c:v>
                </c:pt>
                <c:pt idx="53">
                  <c:v>-2.6710699999999998</c:v>
                </c:pt>
                <c:pt idx="54">
                  <c:v>-2.6495700000000002</c:v>
                </c:pt>
                <c:pt idx="55">
                  <c:v>-2.2792400000000002</c:v>
                </c:pt>
                <c:pt idx="56">
                  <c:v>-1.82352</c:v>
                </c:pt>
                <c:pt idx="57">
                  <c:v>-2.9759600000000002</c:v>
                </c:pt>
                <c:pt idx="58">
                  <c:v>-2.9872999999999998</c:v>
                </c:pt>
                <c:pt idx="59">
                  <c:v>-4.0213700000000001</c:v>
                </c:pt>
                <c:pt idx="60">
                  <c:v>-3.98386</c:v>
                </c:pt>
                <c:pt idx="61">
                  <c:v>-3.9783300000000001</c:v>
                </c:pt>
                <c:pt idx="62">
                  <c:v>-3.1074099999999998</c:v>
                </c:pt>
                <c:pt idx="63">
                  <c:v>-2.7785899999999999</c:v>
                </c:pt>
                <c:pt idx="64">
                  <c:v>-1.9270799999999999</c:v>
                </c:pt>
                <c:pt idx="65">
                  <c:v>-2.3116500000000002</c:v>
                </c:pt>
                <c:pt idx="66">
                  <c:v>-2.5091000000000001</c:v>
                </c:pt>
                <c:pt idx="67">
                  <c:v>-2.7382</c:v>
                </c:pt>
                <c:pt idx="68">
                  <c:v>-3.13537</c:v>
                </c:pt>
                <c:pt idx="69">
                  <c:v>-2.9856500000000001</c:v>
                </c:pt>
                <c:pt idx="70">
                  <c:v>-2.8289399999999998</c:v>
                </c:pt>
                <c:pt idx="71">
                  <c:v>-2.5894400000000002</c:v>
                </c:pt>
                <c:pt idx="72">
                  <c:v>-2.7793999999999999</c:v>
                </c:pt>
                <c:pt idx="73">
                  <c:v>-2.7286199999999998</c:v>
                </c:pt>
                <c:pt idx="74">
                  <c:v>-2.9854699999999998</c:v>
                </c:pt>
                <c:pt idx="75">
                  <c:v>-2.5642299999999998</c:v>
                </c:pt>
                <c:pt idx="76">
                  <c:v>-3.2307199999999998</c:v>
                </c:pt>
                <c:pt idx="77">
                  <c:v>-3.5000200000000001</c:v>
                </c:pt>
                <c:pt idx="78">
                  <c:v>-3.7466599999999999</c:v>
                </c:pt>
                <c:pt idx="79">
                  <c:v>-3.4286300000000001</c:v>
                </c:pt>
                <c:pt idx="80">
                  <c:v>-3.1565300000000001</c:v>
                </c:pt>
                <c:pt idx="81">
                  <c:v>-2.8120500000000002</c:v>
                </c:pt>
                <c:pt idx="82">
                  <c:v>-2.71089</c:v>
                </c:pt>
                <c:pt idx="83">
                  <c:v>-2.1857099999999998</c:v>
                </c:pt>
                <c:pt idx="84">
                  <c:v>-3.2011099999999999</c:v>
                </c:pt>
                <c:pt idx="85">
                  <c:v>-2.99092</c:v>
                </c:pt>
                <c:pt idx="86">
                  <c:v>-2.1211199999999999</c:v>
                </c:pt>
                <c:pt idx="87">
                  <c:v>-2.4922800000000001</c:v>
                </c:pt>
                <c:pt idx="88">
                  <c:v>-2.5711900000000001</c:v>
                </c:pt>
                <c:pt idx="89">
                  <c:v>-3.29583</c:v>
                </c:pt>
                <c:pt idx="90">
                  <c:v>-3.2239</c:v>
                </c:pt>
                <c:pt idx="91">
                  <c:v>-3.49614</c:v>
                </c:pt>
                <c:pt idx="92">
                  <c:v>-3.2489499999999998</c:v>
                </c:pt>
                <c:pt idx="93">
                  <c:v>-3.0439799999999999</c:v>
                </c:pt>
                <c:pt idx="94">
                  <c:v>-3.1943299999999999</c:v>
                </c:pt>
                <c:pt idx="95">
                  <c:v>-2.7902800000000001</c:v>
                </c:pt>
                <c:pt idx="96">
                  <c:v>-3.00177</c:v>
                </c:pt>
                <c:pt idx="97">
                  <c:v>-2.6264599999999998</c:v>
                </c:pt>
                <c:pt idx="98">
                  <c:v>-2.3062100000000001</c:v>
                </c:pt>
                <c:pt idx="99">
                  <c:v>-2.7010299999999998</c:v>
                </c:pt>
                <c:pt idx="100">
                  <c:v>-2.7282700000000002</c:v>
                </c:pt>
                <c:pt idx="101">
                  <c:v>-3.6141100000000002</c:v>
                </c:pt>
                <c:pt idx="102">
                  <c:v>-2.71976</c:v>
                </c:pt>
                <c:pt idx="103">
                  <c:v>-2.6415899999999999</c:v>
                </c:pt>
                <c:pt idx="104">
                  <c:v>-2.6090499999999999</c:v>
                </c:pt>
                <c:pt idx="105">
                  <c:v>-2.58914</c:v>
                </c:pt>
                <c:pt idx="106">
                  <c:v>-2.5775399999999999</c:v>
                </c:pt>
                <c:pt idx="107">
                  <c:v>-3.57965</c:v>
                </c:pt>
                <c:pt idx="108">
                  <c:v>-3.56982</c:v>
                </c:pt>
                <c:pt idx="109">
                  <c:v>-2.7010800000000001</c:v>
                </c:pt>
                <c:pt idx="110">
                  <c:v>-2.4167900000000002</c:v>
                </c:pt>
                <c:pt idx="111">
                  <c:v>-2.9857100000000001</c:v>
                </c:pt>
                <c:pt idx="112">
                  <c:v>-2.5424600000000002</c:v>
                </c:pt>
                <c:pt idx="113">
                  <c:v>-3.0926399999999998</c:v>
                </c:pt>
                <c:pt idx="114">
                  <c:v>-2.6862900000000001</c:v>
                </c:pt>
                <c:pt idx="115">
                  <c:v>-3.0267300000000001</c:v>
                </c:pt>
                <c:pt idx="116">
                  <c:v>-2.6670699999999998</c:v>
                </c:pt>
                <c:pt idx="117">
                  <c:v>-2.7056499999999999</c:v>
                </c:pt>
                <c:pt idx="118">
                  <c:v>-2.6200700000000001</c:v>
                </c:pt>
                <c:pt idx="119">
                  <c:v>-2.9349099999999999</c:v>
                </c:pt>
                <c:pt idx="120">
                  <c:v>-3.3581400000000001</c:v>
                </c:pt>
                <c:pt idx="121">
                  <c:v>-3.3486099999999999</c:v>
                </c:pt>
                <c:pt idx="122">
                  <c:v>-3.7374900000000002</c:v>
                </c:pt>
                <c:pt idx="123">
                  <c:v>-3.802</c:v>
                </c:pt>
                <c:pt idx="124">
                  <c:v>-3.5046200000000001</c:v>
                </c:pt>
                <c:pt idx="125">
                  <c:v>-2.4675600000000002</c:v>
                </c:pt>
                <c:pt idx="126">
                  <c:v>-2.4521700000000002</c:v>
                </c:pt>
                <c:pt idx="127">
                  <c:v>-2.35541</c:v>
                </c:pt>
                <c:pt idx="128">
                  <c:v>-2.7937400000000001</c:v>
                </c:pt>
                <c:pt idx="129">
                  <c:v>-2.9740500000000001</c:v>
                </c:pt>
                <c:pt idx="130">
                  <c:v>-2.6869100000000001</c:v>
                </c:pt>
                <c:pt idx="131">
                  <c:v>-2.9655499999999999</c:v>
                </c:pt>
                <c:pt idx="132">
                  <c:v>-2.1371799999999999</c:v>
                </c:pt>
                <c:pt idx="133">
                  <c:v>-2.6995100000000001</c:v>
                </c:pt>
                <c:pt idx="134">
                  <c:v>-3.1132300000000002</c:v>
                </c:pt>
                <c:pt idx="135">
                  <c:v>-3.3644599999999998</c:v>
                </c:pt>
                <c:pt idx="136">
                  <c:v>-3.2293799999999999</c:v>
                </c:pt>
                <c:pt idx="137">
                  <c:v>-3.0423300000000002</c:v>
                </c:pt>
                <c:pt idx="138">
                  <c:v>-3.2665099999999998</c:v>
                </c:pt>
                <c:pt idx="139">
                  <c:v>-2.73271</c:v>
                </c:pt>
                <c:pt idx="140">
                  <c:v>-3.24349</c:v>
                </c:pt>
                <c:pt idx="141">
                  <c:v>-3.2051500000000002</c:v>
                </c:pt>
                <c:pt idx="142">
                  <c:v>-3.2234099999999999</c:v>
                </c:pt>
                <c:pt idx="143">
                  <c:v>-2.4121199999999998</c:v>
                </c:pt>
                <c:pt idx="144">
                  <c:v>-2.2163300000000001</c:v>
                </c:pt>
                <c:pt idx="145">
                  <c:v>-3.1844999999999999</c:v>
                </c:pt>
                <c:pt idx="146">
                  <c:v>-2.57728</c:v>
                </c:pt>
                <c:pt idx="147">
                  <c:v>-3.3928699999999998</c:v>
                </c:pt>
                <c:pt idx="148">
                  <c:v>-2.8207399999999998</c:v>
                </c:pt>
                <c:pt idx="149">
                  <c:v>-2.37792</c:v>
                </c:pt>
                <c:pt idx="150">
                  <c:v>-3.06426</c:v>
                </c:pt>
                <c:pt idx="151">
                  <c:v>-2.9438300000000002</c:v>
                </c:pt>
                <c:pt idx="152">
                  <c:v>-3.5104700000000002</c:v>
                </c:pt>
                <c:pt idx="153">
                  <c:v>-3.6596199999999999</c:v>
                </c:pt>
                <c:pt idx="154">
                  <c:v>-3.5391699999999999</c:v>
                </c:pt>
                <c:pt idx="155">
                  <c:v>-3.3217599999999998</c:v>
                </c:pt>
                <c:pt idx="156">
                  <c:v>-2.7551999999999999</c:v>
                </c:pt>
                <c:pt idx="157">
                  <c:v>-2.9848400000000002</c:v>
                </c:pt>
                <c:pt idx="158">
                  <c:v>-2.94313</c:v>
                </c:pt>
                <c:pt idx="159">
                  <c:v>-3.2051400000000001</c:v>
                </c:pt>
                <c:pt idx="160">
                  <c:v>-2.7461099999999998</c:v>
                </c:pt>
                <c:pt idx="161">
                  <c:v>-2.4413</c:v>
                </c:pt>
                <c:pt idx="162">
                  <c:v>-2.7574999999999998</c:v>
                </c:pt>
                <c:pt idx="163">
                  <c:v>-3.1676000000000002</c:v>
                </c:pt>
                <c:pt idx="164">
                  <c:v>-3.6106400000000001</c:v>
                </c:pt>
                <c:pt idx="165">
                  <c:v>-2.8205300000000002</c:v>
                </c:pt>
                <c:pt idx="166">
                  <c:v>-3.6564000000000001</c:v>
                </c:pt>
                <c:pt idx="167">
                  <c:v>-3.67618</c:v>
                </c:pt>
                <c:pt idx="168">
                  <c:v>-3.2828499999999998</c:v>
                </c:pt>
                <c:pt idx="169">
                  <c:v>-2.9858699999999998</c:v>
                </c:pt>
                <c:pt idx="170">
                  <c:v>-2.8265799999999999</c:v>
                </c:pt>
                <c:pt idx="171">
                  <c:v>-3.0107900000000001</c:v>
                </c:pt>
                <c:pt idx="172">
                  <c:v>-3.1814499999999999</c:v>
                </c:pt>
                <c:pt idx="173">
                  <c:v>-2.9494099999999999</c:v>
                </c:pt>
                <c:pt idx="174">
                  <c:v>-3.3010000000000002</c:v>
                </c:pt>
                <c:pt idx="175">
                  <c:v>-2.95031</c:v>
                </c:pt>
                <c:pt idx="176">
                  <c:v>-3.0175299999999998</c:v>
                </c:pt>
                <c:pt idx="177">
                  <c:v>-2.4688099999999999</c:v>
                </c:pt>
                <c:pt idx="178">
                  <c:v>-2.54949</c:v>
                </c:pt>
                <c:pt idx="179">
                  <c:v>-2.3930500000000001</c:v>
                </c:pt>
                <c:pt idx="180">
                  <c:v>-2.8626100000000001</c:v>
                </c:pt>
                <c:pt idx="181">
                  <c:v>-3.3943300000000001</c:v>
                </c:pt>
                <c:pt idx="182">
                  <c:v>-2.9916900000000002</c:v>
                </c:pt>
                <c:pt idx="183">
                  <c:v>-3.9807199999999998</c:v>
                </c:pt>
                <c:pt idx="184">
                  <c:v>-3.9197000000000002</c:v>
                </c:pt>
                <c:pt idx="185">
                  <c:v>-3.48895</c:v>
                </c:pt>
                <c:pt idx="186">
                  <c:v>-2.56765</c:v>
                </c:pt>
                <c:pt idx="187">
                  <c:v>-2.3731300000000002</c:v>
                </c:pt>
                <c:pt idx="188">
                  <c:v>-2.4079199999999998</c:v>
                </c:pt>
                <c:pt idx="189">
                  <c:v>-2.77128</c:v>
                </c:pt>
                <c:pt idx="190">
                  <c:v>-3.5072999999999999</c:v>
                </c:pt>
                <c:pt idx="191">
                  <c:v>-3.4029500000000001</c:v>
                </c:pt>
                <c:pt idx="192">
                  <c:v>-3.1749800000000001</c:v>
                </c:pt>
                <c:pt idx="193">
                  <c:v>-2.81575</c:v>
                </c:pt>
                <c:pt idx="194">
                  <c:v>-2.7070500000000002</c:v>
                </c:pt>
                <c:pt idx="195">
                  <c:v>-2.5684399999999998</c:v>
                </c:pt>
                <c:pt idx="196">
                  <c:v>-3.1852200000000002</c:v>
                </c:pt>
                <c:pt idx="197">
                  <c:v>-3.33005</c:v>
                </c:pt>
                <c:pt idx="198">
                  <c:v>-3.77535</c:v>
                </c:pt>
                <c:pt idx="199">
                  <c:v>-3.85053</c:v>
                </c:pt>
                <c:pt idx="200">
                  <c:v>-2.9750899999999998</c:v>
                </c:pt>
                <c:pt idx="201">
                  <c:v>-2.8471799999999998</c:v>
                </c:pt>
                <c:pt idx="202">
                  <c:v>-2.9154200000000001</c:v>
                </c:pt>
                <c:pt idx="203">
                  <c:v>-3.2631199999999998</c:v>
                </c:pt>
                <c:pt idx="204">
                  <c:v>-2.9418600000000001</c:v>
                </c:pt>
                <c:pt idx="205">
                  <c:v>-3.3776199999999998</c:v>
                </c:pt>
                <c:pt idx="206">
                  <c:v>-2.8277100000000002</c:v>
                </c:pt>
                <c:pt idx="207">
                  <c:v>-2.6556299999999999</c:v>
                </c:pt>
                <c:pt idx="208">
                  <c:v>-3.3836499999999998</c:v>
                </c:pt>
                <c:pt idx="209">
                  <c:v>-2.9437000000000002</c:v>
                </c:pt>
                <c:pt idx="210">
                  <c:v>-3.4699900000000001</c:v>
                </c:pt>
                <c:pt idx="211">
                  <c:v>-2.54949</c:v>
                </c:pt>
                <c:pt idx="212">
                  <c:v>-3.5760100000000001</c:v>
                </c:pt>
                <c:pt idx="213">
                  <c:v>-3.47953</c:v>
                </c:pt>
                <c:pt idx="214">
                  <c:v>-3.5198700000000001</c:v>
                </c:pt>
                <c:pt idx="215">
                  <c:v>-3.7116799999999999</c:v>
                </c:pt>
                <c:pt idx="216">
                  <c:v>-3.3783099999999999</c:v>
                </c:pt>
                <c:pt idx="217">
                  <c:v>-3.31067</c:v>
                </c:pt>
                <c:pt idx="218">
                  <c:v>-2.4660000000000002</c:v>
                </c:pt>
                <c:pt idx="219">
                  <c:v>-2.5549200000000001</c:v>
                </c:pt>
                <c:pt idx="220">
                  <c:v>-2.5989200000000001</c:v>
                </c:pt>
                <c:pt idx="221">
                  <c:v>-2.5809500000000001</c:v>
                </c:pt>
                <c:pt idx="222">
                  <c:v>-2.7845</c:v>
                </c:pt>
                <c:pt idx="223">
                  <c:v>-2.6240000000000001</c:v>
                </c:pt>
                <c:pt idx="224">
                  <c:v>-3.01023</c:v>
                </c:pt>
                <c:pt idx="225">
                  <c:v>-3.0415199999999998</c:v>
                </c:pt>
                <c:pt idx="226">
                  <c:v>-3.30592</c:v>
                </c:pt>
                <c:pt idx="227">
                  <c:v>-2.9933200000000002</c:v>
                </c:pt>
                <c:pt idx="228">
                  <c:v>-2.8654899999999999</c:v>
                </c:pt>
                <c:pt idx="229">
                  <c:v>-3.4516300000000002</c:v>
                </c:pt>
                <c:pt idx="230">
                  <c:v>-3.3130799999999998</c:v>
                </c:pt>
                <c:pt idx="231">
                  <c:v>-3.2175500000000001</c:v>
                </c:pt>
                <c:pt idx="232">
                  <c:v>-3.1218499999999998</c:v>
                </c:pt>
                <c:pt idx="233">
                  <c:v>-2.5918199999999998</c:v>
                </c:pt>
                <c:pt idx="234">
                  <c:v>-3.05125</c:v>
                </c:pt>
                <c:pt idx="235">
                  <c:v>-3.3360599999999998</c:v>
                </c:pt>
                <c:pt idx="236">
                  <c:v>-3.65259</c:v>
                </c:pt>
                <c:pt idx="237">
                  <c:v>-3.0600999999999998</c:v>
                </c:pt>
                <c:pt idx="238">
                  <c:v>-3.14419</c:v>
                </c:pt>
                <c:pt idx="239">
                  <c:v>-2.4340099999999998</c:v>
                </c:pt>
                <c:pt idx="240">
                  <c:v>-2.5102000000000002</c:v>
                </c:pt>
                <c:pt idx="241">
                  <c:v>-3.2519</c:v>
                </c:pt>
                <c:pt idx="242">
                  <c:v>-3.7350599999999998</c:v>
                </c:pt>
                <c:pt idx="243">
                  <c:v>-4.0083799999999998</c:v>
                </c:pt>
                <c:pt idx="244">
                  <c:v>-3.45295</c:v>
                </c:pt>
                <c:pt idx="245">
                  <c:v>-2.9565299999999999</c:v>
                </c:pt>
                <c:pt idx="246">
                  <c:v>-3.0865300000000002</c:v>
                </c:pt>
                <c:pt idx="247">
                  <c:v>-2.3107500000000001</c:v>
                </c:pt>
                <c:pt idx="248">
                  <c:v>-2.7376800000000001</c:v>
                </c:pt>
                <c:pt idx="249">
                  <c:v>-3.2937500000000002</c:v>
                </c:pt>
                <c:pt idx="250">
                  <c:v>-2.6963200000000001</c:v>
                </c:pt>
                <c:pt idx="251">
                  <c:v>-2.9633699999999998</c:v>
                </c:pt>
                <c:pt idx="252">
                  <c:v>-3.2753999999999999</c:v>
                </c:pt>
                <c:pt idx="253">
                  <c:v>-3.6551800000000001</c:v>
                </c:pt>
                <c:pt idx="254">
                  <c:v>-2.8613</c:v>
                </c:pt>
                <c:pt idx="255">
                  <c:v>-3.1634600000000002</c:v>
                </c:pt>
                <c:pt idx="256">
                  <c:v>-2.8058999999999998</c:v>
                </c:pt>
                <c:pt idx="257">
                  <c:v>-3.0507</c:v>
                </c:pt>
                <c:pt idx="258">
                  <c:v>-4.0877400000000002</c:v>
                </c:pt>
                <c:pt idx="259">
                  <c:v>-3.60215</c:v>
                </c:pt>
                <c:pt idx="260">
                  <c:v>-3.8078099999999999</c:v>
                </c:pt>
                <c:pt idx="261">
                  <c:v>-3.1507000000000001</c:v>
                </c:pt>
                <c:pt idx="262">
                  <c:v>-3.0463900000000002</c:v>
                </c:pt>
                <c:pt idx="263">
                  <c:v>-2.8850899999999999</c:v>
                </c:pt>
                <c:pt idx="264">
                  <c:v>-2.8176600000000001</c:v>
                </c:pt>
                <c:pt idx="265">
                  <c:v>-3.1838199999999999</c:v>
                </c:pt>
                <c:pt idx="266">
                  <c:v>-3.0940699999999999</c:v>
                </c:pt>
                <c:pt idx="267">
                  <c:v>-2.8747199999999999</c:v>
                </c:pt>
                <c:pt idx="268">
                  <c:v>-2.69801</c:v>
                </c:pt>
                <c:pt idx="269">
                  <c:v>-2.68851</c:v>
                </c:pt>
                <c:pt idx="270">
                  <c:v>-2.7237100000000001</c:v>
                </c:pt>
                <c:pt idx="271">
                  <c:v>-3.13232</c:v>
                </c:pt>
                <c:pt idx="272">
                  <c:v>-3.38429</c:v>
                </c:pt>
                <c:pt idx="273">
                  <c:v>-3.55592</c:v>
                </c:pt>
                <c:pt idx="274">
                  <c:v>-3.4632900000000002</c:v>
                </c:pt>
                <c:pt idx="275">
                  <c:v>-3.6533699999999998</c:v>
                </c:pt>
                <c:pt idx="276">
                  <c:v>-2.8161700000000001</c:v>
                </c:pt>
                <c:pt idx="277">
                  <c:v>-2.9721000000000002</c:v>
                </c:pt>
                <c:pt idx="278">
                  <c:v>-3.05342</c:v>
                </c:pt>
                <c:pt idx="279">
                  <c:v>-2.4707499999999998</c:v>
                </c:pt>
                <c:pt idx="280">
                  <c:v>-3.3594900000000001</c:v>
                </c:pt>
                <c:pt idx="281">
                  <c:v>-3.6434000000000002</c:v>
                </c:pt>
                <c:pt idx="282">
                  <c:v>-3.5286</c:v>
                </c:pt>
                <c:pt idx="283">
                  <c:v>-3.16703</c:v>
                </c:pt>
                <c:pt idx="284">
                  <c:v>-2.4307699999999999</c:v>
                </c:pt>
                <c:pt idx="285">
                  <c:v>-2.64493</c:v>
                </c:pt>
                <c:pt idx="286">
                  <c:v>-3.0043600000000001</c:v>
                </c:pt>
                <c:pt idx="287">
                  <c:v>-3.3349899999999999</c:v>
                </c:pt>
                <c:pt idx="288">
                  <c:v>-3.6527799999999999</c:v>
                </c:pt>
                <c:pt idx="289">
                  <c:v>-3.4744600000000001</c:v>
                </c:pt>
                <c:pt idx="290">
                  <c:v>-3.3151299999999999</c:v>
                </c:pt>
                <c:pt idx="291">
                  <c:v>-2.4093599999999999</c:v>
                </c:pt>
                <c:pt idx="292">
                  <c:v>-2.8003300000000002</c:v>
                </c:pt>
                <c:pt idx="293">
                  <c:v>-2.9738699999999998</c:v>
                </c:pt>
                <c:pt idx="294">
                  <c:v>-2.3503799999999999</c:v>
                </c:pt>
                <c:pt idx="295">
                  <c:v>-3.2709199999999998</c:v>
                </c:pt>
                <c:pt idx="296">
                  <c:v>-2.7273499999999999</c:v>
                </c:pt>
                <c:pt idx="297">
                  <c:v>-3.6172499999999999</c:v>
                </c:pt>
                <c:pt idx="298">
                  <c:v>-3.4670200000000002</c:v>
                </c:pt>
                <c:pt idx="299">
                  <c:v>-3.6556600000000001</c:v>
                </c:pt>
                <c:pt idx="300">
                  <c:v>-3.3468100000000001</c:v>
                </c:pt>
                <c:pt idx="301">
                  <c:v>-3.1042399999999999</c:v>
                </c:pt>
                <c:pt idx="302">
                  <c:v>-3.39839</c:v>
                </c:pt>
                <c:pt idx="303">
                  <c:v>-4.1142200000000004</c:v>
                </c:pt>
                <c:pt idx="304">
                  <c:v>-3.7894700000000001</c:v>
                </c:pt>
                <c:pt idx="305">
                  <c:v>-3.6493699999999998</c:v>
                </c:pt>
                <c:pt idx="306">
                  <c:v>-3.2818900000000002</c:v>
                </c:pt>
                <c:pt idx="307">
                  <c:v>-2.6629700000000001</c:v>
                </c:pt>
                <c:pt idx="308">
                  <c:v>-2.3435999999999999</c:v>
                </c:pt>
                <c:pt idx="309">
                  <c:v>-2.7944499999999999</c:v>
                </c:pt>
                <c:pt idx="310">
                  <c:v>-3.1309300000000002</c:v>
                </c:pt>
                <c:pt idx="311">
                  <c:v>-2.5137299999999998</c:v>
                </c:pt>
                <c:pt idx="312">
                  <c:v>-3.07159</c:v>
                </c:pt>
                <c:pt idx="313">
                  <c:v>-2.78552</c:v>
                </c:pt>
                <c:pt idx="314">
                  <c:v>-2.7052299999999998</c:v>
                </c:pt>
                <c:pt idx="315">
                  <c:v>-2.9501900000000001</c:v>
                </c:pt>
                <c:pt idx="316">
                  <c:v>-3.1305800000000001</c:v>
                </c:pt>
                <c:pt idx="317">
                  <c:v>-2.6663800000000002</c:v>
                </c:pt>
                <c:pt idx="318">
                  <c:v>-2.4985300000000001</c:v>
                </c:pt>
                <c:pt idx="319">
                  <c:v>-3.6531099999999999</c:v>
                </c:pt>
                <c:pt idx="320">
                  <c:v>-3.86551</c:v>
                </c:pt>
                <c:pt idx="321">
                  <c:v>-3.4136199999999999</c:v>
                </c:pt>
                <c:pt idx="322">
                  <c:v>-3.4360400000000002</c:v>
                </c:pt>
                <c:pt idx="323">
                  <c:v>-3.01485</c:v>
                </c:pt>
                <c:pt idx="324">
                  <c:v>-2.7808299999999999</c:v>
                </c:pt>
                <c:pt idx="325">
                  <c:v>-2.8265099999999999</c:v>
                </c:pt>
                <c:pt idx="326">
                  <c:v>-2.9542099999999998</c:v>
                </c:pt>
                <c:pt idx="327">
                  <c:v>-3.05599</c:v>
                </c:pt>
                <c:pt idx="328">
                  <c:v>-3.0498599999999998</c:v>
                </c:pt>
                <c:pt idx="329">
                  <c:v>-3.3692000000000002</c:v>
                </c:pt>
                <c:pt idx="330">
                  <c:v>-2.4660799999999998</c:v>
                </c:pt>
                <c:pt idx="331">
                  <c:v>-3.0595599999999998</c:v>
                </c:pt>
                <c:pt idx="332">
                  <c:v>-3.3016999999999999</c:v>
                </c:pt>
                <c:pt idx="333">
                  <c:v>-3.1304699999999999</c:v>
                </c:pt>
                <c:pt idx="334">
                  <c:v>-3.3131900000000001</c:v>
                </c:pt>
                <c:pt idx="335">
                  <c:v>-3.4681899999999999</c:v>
                </c:pt>
                <c:pt idx="336">
                  <c:v>-3.3525700000000001</c:v>
                </c:pt>
                <c:pt idx="337">
                  <c:v>-3.4511500000000002</c:v>
                </c:pt>
                <c:pt idx="338">
                  <c:v>-3.0692200000000001</c:v>
                </c:pt>
                <c:pt idx="339">
                  <c:v>-3.0523799999999999</c:v>
                </c:pt>
                <c:pt idx="340">
                  <c:v>-2.5782099999999999</c:v>
                </c:pt>
                <c:pt idx="341">
                  <c:v>-3.07023</c:v>
                </c:pt>
                <c:pt idx="342">
                  <c:v>-3.5159199999999999</c:v>
                </c:pt>
                <c:pt idx="343">
                  <c:v>-3.5626199999999999</c:v>
                </c:pt>
                <c:pt idx="344">
                  <c:v>-3.5084900000000001</c:v>
                </c:pt>
                <c:pt idx="345">
                  <c:v>-2.6317599999999999</c:v>
                </c:pt>
                <c:pt idx="346">
                  <c:v>-2.5324399999999998</c:v>
                </c:pt>
                <c:pt idx="347">
                  <c:v>-2.8353000000000002</c:v>
                </c:pt>
                <c:pt idx="348">
                  <c:v>-3.1568299999999998</c:v>
                </c:pt>
                <c:pt idx="349">
                  <c:v>-3.7369699999999999</c:v>
                </c:pt>
                <c:pt idx="350">
                  <c:v>-3.3460800000000002</c:v>
                </c:pt>
                <c:pt idx="351">
                  <c:v>-3.4389400000000001</c:v>
                </c:pt>
                <c:pt idx="352">
                  <c:v>-2.4874999999999998</c:v>
                </c:pt>
                <c:pt idx="353">
                  <c:v>-3.6534399999999998</c:v>
                </c:pt>
                <c:pt idx="354">
                  <c:v>-3.3543500000000002</c:v>
                </c:pt>
                <c:pt idx="355">
                  <c:v>-3.20235</c:v>
                </c:pt>
                <c:pt idx="356">
                  <c:v>-3.1505800000000002</c:v>
                </c:pt>
                <c:pt idx="357">
                  <c:v>-2.8780000000000001</c:v>
                </c:pt>
                <c:pt idx="358">
                  <c:v>-3.3309000000000002</c:v>
                </c:pt>
                <c:pt idx="359">
                  <c:v>-3.1272799999999998</c:v>
                </c:pt>
                <c:pt idx="360">
                  <c:v>-3.5797400000000001</c:v>
                </c:pt>
                <c:pt idx="361">
                  <c:v>-3.2566600000000001</c:v>
                </c:pt>
                <c:pt idx="362">
                  <c:v>-2.8071899999999999</c:v>
                </c:pt>
                <c:pt idx="363">
                  <c:v>-2.31941</c:v>
                </c:pt>
                <c:pt idx="364">
                  <c:v>-3.1696900000000001</c:v>
                </c:pt>
                <c:pt idx="365">
                  <c:v>-3.23292</c:v>
                </c:pt>
                <c:pt idx="366">
                  <c:v>-4.1756799999999998</c:v>
                </c:pt>
                <c:pt idx="367">
                  <c:v>-3.96523</c:v>
                </c:pt>
                <c:pt idx="368">
                  <c:v>-3.5219399999999998</c:v>
                </c:pt>
                <c:pt idx="369">
                  <c:v>-2.7115999999999998</c:v>
                </c:pt>
                <c:pt idx="370">
                  <c:v>-2.96428</c:v>
                </c:pt>
                <c:pt idx="371">
                  <c:v>-2.3405800000000001</c:v>
                </c:pt>
                <c:pt idx="372">
                  <c:v>-3.1457799999999998</c:v>
                </c:pt>
                <c:pt idx="373">
                  <c:v>-3.4516800000000001</c:v>
                </c:pt>
                <c:pt idx="374">
                  <c:v>-3.2572700000000001</c:v>
                </c:pt>
                <c:pt idx="375">
                  <c:v>-3.0880800000000002</c:v>
                </c:pt>
                <c:pt idx="376">
                  <c:v>-2.8645900000000002</c:v>
                </c:pt>
                <c:pt idx="377">
                  <c:v>-3.2360899999999999</c:v>
                </c:pt>
                <c:pt idx="378">
                  <c:v>-3.1976599999999999</c:v>
                </c:pt>
                <c:pt idx="379">
                  <c:v>-3.47153</c:v>
                </c:pt>
                <c:pt idx="380">
                  <c:v>-3.6737500000000001</c:v>
                </c:pt>
                <c:pt idx="381">
                  <c:v>-2.7980999999999998</c:v>
                </c:pt>
                <c:pt idx="382">
                  <c:v>-3.5520999999999998</c:v>
                </c:pt>
                <c:pt idx="383">
                  <c:v>-2.76525</c:v>
                </c:pt>
                <c:pt idx="384">
                  <c:v>-3.5324</c:v>
                </c:pt>
                <c:pt idx="385">
                  <c:v>-3.1463999999999999</c:v>
                </c:pt>
                <c:pt idx="386">
                  <c:v>-2.2945899999999999</c:v>
                </c:pt>
                <c:pt idx="387">
                  <c:v>-2.7268300000000001</c:v>
                </c:pt>
                <c:pt idx="388">
                  <c:v>-2.8900800000000002</c:v>
                </c:pt>
                <c:pt idx="389">
                  <c:v>-3.1938900000000001</c:v>
                </c:pt>
                <c:pt idx="390">
                  <c:v>-2.6168</c:v>
                </c:pt>
                <c:pt idx="391">
                  <c:v>-3.2980900000000002</c:v>
                </c:pt>
                <c:pt idx="392">
                  <c:v>-2.3945599999999998</c:v>
                </c:pt>
                <c:pt idx="393">
                  <c:v>-2.6247500000000001</c:v>
                </c:pt>
                <c:pt idx="394">
                  <c:v>-3.0740799999999999</c:v>
                </c:pt>
                <c:pt idx="395">
                  <c:v>-3.6947199999999998</c:v>
                </c:pt>
                <c:pt idx="396">
                  <c:v>-4.3501500000000002</c:v>
                </c:pt>
                <c:pt idx="397">
                  <c:v>-3.1428799999999999</c:v>
                </c:pt>
                <c:pt idx="398">
                  <c:v>-3.61348</c:v>
                </c:pt>
                <c:pt idx="399">
                  <c:v>-3.0426500000000001</c:v>
                </c:pt>
                <c:pt idx="400">
                  <c:v>-3.07612</c:v>
                </c:pt>
                <c:pt idx="401">
                  <c:v>-3.0863</c:v>
                </c:pt>
                <c:pt idx="402">
                  <c:v>-2.90429</c:v>
                </c:pt>
                <c:pt idx="403">
                  <c:v>-3.3757999999999999</c:v>
                </c:pt>
                <c:pt idx="404">
                  <c:v>-3.0164499999999999</c:v>
                </c:pt>
                <c:pt idx="405">
                  <c:v>-2.4756200000000002</c:v>
                </c:pt>
                <c:pt idx="406">
                  <c:v>-2.2742</c:v>
                </c:pt>
                <c:pt idx="407">
                  <c:v>-3.1309900000000002</c:v>
                </c:pt>
                <c:pt idx="408">
                  <c:v>-3.2325400000000002</c:v>
                </c:pt>
                <c:pt idx="409">
                  <c:v>-2.9099900000000001</c:v>
                </c:pt>
                <c:pt idx="410">
                  <c:v>-3.4282599999999999</c:v>
                </c:pt>
                <c:pt idx="411">
                  <c:v>-2.9610099999999999</c:v>
                </c:pt>
                <c:pt idx="412">
                  <c:v>-3.6340599999999998</c:v>
                </c:pt>
                <c:pt idx="413">
                  <c:v>-4.0541700000000001</c:v>
                </c:pt>
                <c:pt idx="414">
                  <c:v>-3.57796</c:v>
                </c:pt>
                <c:pt idx="415">
                  <c:v>-2.8092000000000001</c:v>
                </c:pt>
                <c:pt idx="416">
                  <c:v>-2.8824000000000001</c:v>
                </c:pt>
                <c:pt idx="417">
                  <c:v>-2.55267</c:v>
                </c:pt>
                <c:pt idx="418">
                  <c:v>-2.7682000000000002</c:v>
                </c:pt>
                <c:pt idx="419">
                  <c:v>-3.34361</c:v>
                </c:pt>
                <c:pt idx="420">
                  <c:v>-3.3531499999999999</c:v>
                </c:pt>
                <c:pt idx="421">
                  <c:v>-2.78084</c:v>
                </c:pt>
                <c:pt idx="422">
                  <c:v>-2.64547</c:v>
                </c:pt>
                <c:pt idx="423">
                  <c:v>-2.6699700000000002</c:v>
                </c:pt>
                <c:pt idx="424">
                  <c:v>-2.8103099999999999</c:v>
                </c:pt>
                <c:pt idx="425">
                  <c:v>-3.35249</c:v>
                </c:pt>
                <c:pt idx="426">
                  <c:v>-3.2365699999999999</c:v>
                </c:pt>
                <c:pt idx="427">
                  <c:v>-3.6608800000000001</c:v>
                </c:pt>
                <c:pt idx="428">
                  <c:v>-2.9796900000000002</c:v>
                </c:pt>
                <c:pt idx="429">
                  <c:v>-3.2647400000000002</c:v>
                </c:pt>
                <c:pt idx="430">
                  <c:v>-3.06948</c:v>
                </c:pt>
                <c:pt idx="431">
                  <c:v>-3.2601499999999999</c:v>
                </c:pt>
                <c:pt idx="432">
                  <c:v>-3.15984</c:v>
                </c:pt>
                <c:pt idx="433">
                  <c:v>-2.3286099999999998</c:v>
                </c:pt>
                <c:pt idx="434">
                  <c:v>-2.86809</c:v>
                </c:pt>
                <c:pt idx="435">
                  <c:v>-2.5583100000000001</c:v>
                </c:pt>
                <c:pt idx="436">
                  <c:v>-3.2809599999999999</c:v>
                </c:pt>
                <c:pt idx="437">
                  <c:v>-3.3088099999999998</c:v>
                </c:pt>
                <c:pt idx="438">
                  <c:v>-2.6045400000000001</c:v>
                </c:pt>
                <c:pt idx="439">
                  <c:v>-2.4535800000000001</c:v>
                </c:pt>
                <c:pt idx="440">
                  <c:v>-2.5632999999999999</c:v>
                </c:pt>
                <c:pt idx="441">
                  <c:v>-3.2570399999999999</c:v>
                </c:pt>
                <c:pt idx="442">
                  <c:v>-3.8298899999999998</c:v>
                </c:pt>
                <c:pt idx="443">
                  <c:v>-4.1947799999999997</c:v>
                </c:pt>
                <c:pt idx="444">
                  <c:v>-4.0915499999999998</c:v>
                </c:pt>
                <c:pt idx="445">
                  <c:v>-2.7861500000000001</c:v>
                </c:pt>
                <c:pt idx="446">
                  <c:v>-2.52833</c:v>
                </c:pt>
                <c:pt idx="447">
                  <c:v>-2.5762700000000001</c:v>
                </c:pt>
                <c:pt idx="448">
                  <c:v>-3.36869</c:v>
                </c:pt>
                <c:pt idx="449">
                  <c:v>-2.9908999999999999</c:v>
                </c:pt>
                <c:pt idx="450">
                  <c:v>-3.1248900000000002</c:v>
                </c:pt>
                <c:pt idx="451">
                  <c:v>-2.9228999999999998</c:v>
                </c:pt>
                <c:pt idx="452">
                  <c:v>-2.9380999999999999</c:v>
                </c:pt>
                <c:pt idx="453">
                  <c:v>-3.0569700000000002</c:v>
                </c:pt>
                <c:pt idx="454">
                  <c:v>-3.0633300000000001</c:v>
                </c:pt>
                <c:pt idx="455">
                  <c:v>-3.0604800000000001</c:v>
                </c:pt>
                <c:pt idx="456">
                  <c:v>-2.8715199999999999</c:v>
                </c:pt>
                <c:pt idx="457">
                  <c:v>-2.4851000000000001</c:v>
                </c:pt>
                <c:pt idx="458">
                  <c:v>-3.5329199999999998</c:v>
                </c:pt>
                <c:pt idx="459">
                  <c:v>-3.4656799999999999</c:v>
                </c:pt>
                <c:pt idx="460">
                  <c:v>-3.56854</c:v>
                </c:pt>
                <c:pt idx="461">
                  <c:v>-3.2993999999999999</c:v>
                </c:pt>
                <c:pt idx="462">
                  <c:v>-2.9351600000000002</c:v>
                </c:pt>
                <c:pt idx="463">
                  <c:v>-2.2551600000000001</c:v>
                </c:pt>
                <c:pt idx="464">
                  <c:v>-2.5430600000000001</c:v>
                </c:pt>
                <c:pt idx="465">
                  <c:v>-3.37419</c:v>
                </c:pt>
                <c:pt idx="466">
                  <c:v>-3.4727800000000002</c:v>
                </c:pt>
                <c:pt idx="467">
                  <c:v>-3.0126300000000001</c:v>
                </c:pt>
                <c:pt idx="468">
                  <c:v>-2.8612799999999998</c:v>
                </c:pt>
                <c:pt idx="469">
                  <c:v>-2.78193</c:v>
                </c:pt>
                <c:pt idx="470">
                  <c:v>-2.3478699999999999</c:v>
                </c:pt>
                <c:pt idx="471">
                  <c:v>-3.2553999999999998</c:v>
                </c:pt>
                <c:pt idx="472">
                  <c:v>-3.87256</c:v>
                </c:pt>
                <c:pt idx="473">
                  <c:v>-2.8928600000000002</c:v>
                </c:pt>
                <c:pt idx="474">
                  <c:v>-3.9292400000000001</c:v>
                </c:pt>
                <c:pt idx="475">
                  <c:v>-3.40543</c:v>
                </c:pt>
                <c:pt idx="476">
                  <c:v>-3.3945799999999999</c:v>
                </c:pt>
                <c:pt idx="477">
                  <c:v>-3.1684399999999999</c:v>
                </c:pt>
                <c:pt idx="478">
                  <c:v>-2.8871600000000002</c:v>
                </c:pt>
                <c:pt idx="479">
                  <c:v>-3.2448199999999998</c:v>
                </c:pt>
                <c:pt idx="480">
                  <c:v>-2.7224900000000001</c:v>
                </c:pt>
                <c:pt idx="481">
                  <c:v>-3.16553</c:v>
                </c:pt>
                <c:pt idx="482">
                  <c:v>-2.3432400000000002</c:v>
                </c:pt>
                <c:pt idx="483">
                  <c:v>-2.9937900000000002</c:v>
                </c:pt>
                <c:pt idx="484">
                  <c:v>-3.1786099999999999</c:v>
                </c:pt>
                <c:pt idx="485">
                  <c:v>-3.1762999999999999</c:v>
                </c:pt>
                <c:pt idx="486">
                  <c:v>-3.0849000000000002</c:v>
                </c:pt>
                <c:pt idx="487">
                  <c:v>-2.4293300000000002</c:v>
                </c:pt>
                <c:pt idx="488">
                  <c:v>-3.6421000000000001</c:v>
                </c:pt>
                <c:pt idx="489">
                  <c:v>-3.47343</c:v>
                </c:pt>
                <c:pt idx="490">
                  <c:v>-4.2560900000000004</c:v>
                </c:pt>
                <c:pt idx="491">
                  <c:v>-3.25319</c:v>
                </c:pt>
                <c:pt idx="492">
                  <c:v>-3.01187</c:v>
                </c:pt>
                <c:pt idx="493">
                  <c:v>-2.90428</c:v>
                </c:pt>
                <c:pt idx="494">
                  <c:v>-2.75725</c:v>
                </c:pt>
                <c:pt idx="495">
                  <c:v>-3.25684</c:v>
                </c:pt>
                <c:pt idx="496">
                  <c:v>-3.27129</c:v>
                </c:pt>
                <c:pt idx="497">
                  <c:v>-2.9727800000000002</c:v>
                </c:pt>
                <c:pt idx="498">
                  <c:v>-3.1942499999999998</c:v>
                </c:pt>
                <c:pt idx="499">
                  <c:v>-2.74383</c:v>
                </c:pt>
                <c:pt idx="500">
                  <c:v>-2.9577399999999998</c:v>
                </c:pt>
                <c:pt idx="501">
                  <c:v>-2.9962900000000001</c:v>
                </c:pt>
                <c:pt idx="502">
                  <c:v>-3.2366799999999998</c:v>
                </c:pt>
                <c:pt idx="503">
                  <c:v>-3.1780400000000002</c:v>
                </c:pt>
                <c:pt idx="504">
                  <c:v>-3.1683300000000001</c:v>
                </c:pt>
                <c:pt idx="505">
                  <c:v>-3.5560100000000001</c:v>
                </c:pt>
                <c:pt idx="506">
                  <c:v>-3.2952300000000001</c:v>
                </c:pt>
                <c:pt idx="507">
                  <c:v>-3.5618099999999999</c:v>
                </c:pt>
                <c:pt idx="508">
                  <c:v>-2.8053300000000001</c:v>
                </c:pt>
                <c:pt idx="509">
                  <c:v>-2.7080799999999998</c:v>
                </c:pt>
                <c:pt idx="510">
                  <c:v>-2.6922999999999999</c:v>
                </c:pt>
                <c:pt idx="511">
                  <c:v>-3.0459700000000001</c:v>
                </c:pt>
                <c:pt idx="512">
                  <c:v>-3.38456</c:v>
                </c:pt>
                <c:pt idx="513">
                  <c:v>-3.21943</c:v>
                </c:pt>
                <c:pt idx="514">
                  <c:v>-3.16404</c:v>
                </c:pt>
                <c:pt idx="515">
                  <c:v>-2.5293399999999999</c:v>
                </c:pt>
                <c:pt idx="516">
                  <c:v>-2.4999699999999998</c:v>
                </c:pt>
                <c:pt idx="517">
                  <c:v>-3.2221199999999999</c:v>
                </c:pt>
                <c:pt idx="518">
                  <c:v>-2.9207900000000002</c:v>
                </c:pt>
                <c:pt idx="519">
                  <c:v>-3.5821900000000002</c:v>
                </c:pt>
                <c:pt idx="520">
                  <c:v>-3.64777</c:v>
                </c:pt>
                <c:pt idx="521">
                  <c:v>-3.6454900000000001</c:v>
                </c:pt>
                <c:pt idx="522">
                  <c:v>-2.8644699999999998</c:v>
                </c:pt>
                <c:pt idx="523">
                  <c:v>-3.1137700000000001</c:v>
                </c:pt>
                <c:pt idx="524">
                  <c:v>-3.3398500000000002</c:v>
                </c:pt>
                <c:pt idx="525">
                  <c:v>-3.67326</c:v>
                </c:pt>
                <c:pt idx="526">
                  <c:v>-3.25237</c:v>
                </c:pt>
                <c:pt idx="527">
                  <c:v>-2.8927900000000002</c:v>
                </c:pt>
                <c:pt idx="528">
                  <c:v>-3.2327400000000002</c:v>
                </c:pt>
                <c:pt idx="529">
                  <c:v>-2.74925</c:v>
                </c:pt>
                <c:pt idx="530">
                  <c:v>-2.95377</c:v>
                </c:pt>
                <c:pt idx="531">
                  <c:v>-2.9849000000000001</c:v>
                </c:pt>
                <c:pt idx="532">
                  <c:v>-3.4948399999999999</c:v>
                </c:pt>
                <c:pt idx="533">
                  <c:v>-3.32179</c:v>
                </c:pt>
                <c:pt idx="534">
                  <c:v>-3.4582600000000001</c:v>
                </c:pt>
                <c:pt idx="535">
                  <c:v>-3.8353600000000001</c:v>
                </c:pt>
                <c:pt idx="536">
                  <c:v>-3.3816099999999998</c:v>
                </c:pt>
                <c:pt idx="537">
                  <c:v>-3.6526800000000001</c:v>
                </c:pt>
                <c:pt idx="538">
                  <c:v>-3.3453400000000002</c:v>
                </c:pt>
                <c:pt idx="539">
                  <c:v>-2.5343800000000001</c:v>
                </c:pt>
                <c:pt idx="540">
                  <c:v>-2.5070299999999999</c:v>
                </c:pt>
                <c:pt idx="541">
                  <c:v>-2.5889799999999998</c:v>
                </c:pt>
                <c:pt idx="542">
                  <c:v>-3.34171</c:v>
                </c:pt>
                <c:pt idx="543">
                  <c:v>-3.2452399999999999</c:v>
                </c:pt>
                <c:pt idx="544">
                  <c:v>-3.2012399999999999</c:v>
                </c:pt>
                <c:pt idx="545">
                  <c:v>-2.5984799999999999</c:v>
                </c:pt>
                <c:pt idx="546">
                  <c:v>-2.74404</c:v>
                </c:pt>
                <c:pt idx="547">
                  <c:v>-2.3096899999999998</c:v>
                </c:pt>
                <c:pt idx="548">
                  <c:v>-3.4260899999999999</c:v>
                </c:pt>
                <c:pt idx="549">
                  <c:v>-3.6385100000000001</c:v>
                </c:pt>
                <c:pt idx="550">
                  <c:v>-4.0920399999999999</c:v>
                </c:pt>
                <c:pt idx="551">
                  <c:v>-3.6879599999999999</c:v>
                </c:pt>
                <c:pt idx="552">
                  <c:v>-3.5171800000000002</c:v>
                </c:pt>
                <c:pt idx="553">
                  <c:v>-2.9868100000000002</c:v>
                </c:pt>
                <c:pt idx="554">
                  <c:v>-2.4866100000000002</c:v>
                </c:pt>
                <c:pt idx="555">
                  <c:v>-2.5363500000000001</c:v>
                </c:pt>
                <c:pt idx="556">
                  <c:v>-2.9099699999999999</c:v>
                </c:pt>
                <c:pt idx="557">
                  <c:v>-3.4344000000000001</c:v>
                </c:pt>
                <c:pt idx="558">
                  <c:v>-3.4397000000000002</c:v>
                </c:pt>
                <c:pt idx="559">
                  <c:v>-3.3639800000000002</c:v>
                </c:pt>
                <c:pt idx="560">
                  <c:v>-2.6514500000000001</c:v>
                </c:pt>
                <c:pt idx="561">
                  <c:v>-2.88645</c:v>
                </c:pt>
                <c:pt idx="562">
                  <c:v>-3.09117</c:v>
                </c:pt>
                <c:pt idx="563">
                  <c:v>-3.2891400000000002</c:v>
                </c:pt>
                <c:pt idx="564">
                  <c:v>-3.7250200000000002</c:v>
                </c:pt>
                <c:pt idx="565">
                  <c:v>-3.13564</c:v>
                </c:pt>
                <c:pt idx="566">
                  <c:v>-3.47322</c:v>
                </c:pt>
                <c:pt idx="567">
                  <c:v>-3.3716699999999999</c:v>
                </c:pt>
                <c:pt idx="568">
                  <c:v>-3.71238</c:v>
                </c:pt>
                <c:pt idx="569">
                  <c:v>-3.1180500000000002</c:v>
                </c:pt>
                <c:pt idx="570">
                  <c:v>-2.9401600000000001</c:v>
                </c:pt>
                <c:pt idx="571">
                  <c:v>-2.6315400000000002</c:v>
                </c:pt>
                <c:pt idx="572">
                  <c:v>-2.63198</c:v>
                </c:pt>
                <c:pt idx="573">
                  <c:v>-3.50597</c:v>
                </c:pt>
                <c:pt idx="574">
                  <c:v>-3.24579</c:v>
                </c:pt>
                <c:pt idx="575">
                  <c:v>-3.0757699999999999</c:v>
                </c:pt>
                <c:pt idx="576">
                  <c:v>-2.7014</c:v>
                </c:pt>
                <c:pt idx="577">
                  <c:v>-2.3332299999999999</c:v>
                </c:pt>
                <c:pt idx="578">
                  <c:v>-2.8862299999999999</c:v>
                </c:pt>
                <c:pt idx="579">
                  <c:v>-3.9601099999999998</c:v>
                </c:pt>
                <c:pt idx="580">
                  <c:v>-3.0206499999999998</c:v>
                </c:pt>
                <c:pt idx="581">
                  <c:v>-3.41648</c:v>
                </c:pt>
                <c:pt idx="582">
                  <c:v>-2.8437600000000001</c:v>
                </c:pt>
                <c:pt idx="583">
                  <c:v>-2.9534799999999999</c:v>
                </c:pt>
                <c:pt idx="584">
                  <c:v>-2.38307</c:v>
                </c:pt>
                <c:pt idx="585">
                  <c:v>-2.8835000000000002</c:v>
                </c:pt>
                <c:pt idx="586">
                  <c:v>-2.8069700000000002</c:v>
                </c:pt>
                <c:pt idx="587">
                  <c:v>-2.7624499999999999</c:v>
                </c:pt>
                <c:pt idx="588">
                  <c:v>-3.1375299999999999</c:v>
                </c:pt>
                <c:pt idx="589">
                  <c:v>-2.7292299999999998</c:v>
                </c:pt>
                <c:pt idx="590">
                  <c:v>-3.4065699999999999</c:v>
                </c:pt>
                <c:pt idx="591">
                  <c:v>-2.6127400000000001</c:v>
                </c:pt>
                <c:pt idx="592">
                  <c:v>-2.5017499999999999</c:v>
                </c:pt>
                <c:pt idx="593">
                  <c:v>-2.601</c:v>
                </c:pt>
                <c:pt idx="594">
                  <c:v>-2.7928899999999999</c:v>
                </c:pt>
                <c:pt idx="595">
                  <c:v>-3.5393599999999998</c:v>
                </c:pt>
                <c:pt idx="596">
                  <c:v>-3.3770600000000002</c:v>
                </c:pt>
                <c:pt idx="597">
                  <c:v>-4.12662</c:v>
                </c:pt>
                <c:pt idx="598">
                  <c:v>-2.8866399999999999</c:v>
                </c:pt>
                <c:pt idx="599">
                  <c:v>-3.2122899999999999</c:v>
                </c:pt>
                <c:pt idx="600">
                  <c:v>-3.43601</c:v>
                </c:pt>
                <c:pt idx="601">
                  <c:v>-2.81013</c:v>
                </c:pt>
                <c:pt idx="602">
                  <c:v>-3.29074</c:v>
                </c:pt>
                <c:pt idx="603">
                  <c:v>-2.4481000000000002</c:v>
                </c:pt>
                <c:pt idx="604">
                  <c:v>-2.2755200000000002</c:v>
                </c:pt>
                <c:pt idx="605">
                  <c:v>-3.0232700000000001</c:v>
                </c:pt>
                <c:pt idx="606">
                  <c:v>-2.5913400000000002</c:v>
                </c:pt>
                <c:pt idx="607">
                  <c:v>-3.0585399999999998</c:v>
                </c:pt>
                <c:pt idx="608">
                  <c:v>-2.9587699999999999</c:v>
                </c:pt>
                <c:pt idx="609">
                  <c:v>-3.6002100000000001</c:v>
                </c:pt>
                <c:pt idx="610">
                  <c:v>-3.5177700000000001</c:v>
                </c:pt>
                <c:pt idx="611">
                  <c:v>-3.6230199999999999</c:v>
                </c:pt>
                <c:pt idx="612">
                  <c:v>-3.4665400000000002</c:v>
                </c:pt>
                <c:pt idx="613">
                  <c:v>-3.12744</c:v>
                </c:pt>
                <c:pt idx="614">
                  <c:v>-3.5733999999999999</c:v>
                </c:pt>
                <c:pt idx="615">
                  <c:v>-3.8121399999999999</c:v>
                </c:pt>
                <c:pt idx="616">
                  <c:v>-3.4654699999999998</c:v>
                </c:pt>
                <c:pt idx="617">
                  <c:v>-3.1245500000000002</c:v>
                </c:pt>
                <c:pt idx="618">
                  <c:v>-2.0968100000000001</c:v>
                </c:pt>
                <c:pt idx="619">
                  <c:v>-2.90625</c:v>
                </c:pt>
                <c:pt idx="620">
                  <c:v>-2.6230000000000002</c:v>
                </c:pt>
                <c:pt idx="621">
                  <c:v>-3.11172</c:v>
                </c:pt>
                <c:pt idx="622">
                  <c:v>-3.09667</c:v>
                </c:pt>
                <c:pt idx="623">
                  <c:v>-2.9734500000000001</c:v>
                </c:pt>
                <c:pt idx="624">
                  <c:v>-3.2564600000000001</c:v>
                </c:pt>
                <c:pt idx="625">
                  <c:v>-3.4209999999999998</c:v>
                </c:pt>
                <c:pt idx="626">
                  <c:v>-3.8662700000000001</c:v>
                </c:pt>
                <c:pt idx="627">
                  <c:v>-3.5724</c:v>
                </c:pt>
                <c:pt idx="628">
                  <c:v>-3.6673900000000001</c:v>
                </c:pt>
                <c:pt idx="629">
                  <c:v>-3.06094</c:v>
                </c:pt>
                <c:pt idx="630">
                  <c:v>-2.28559</c:v>
                </c:pt>
                <c:pt idx="631">
                  <c:v>-2.8774299999999999</c:v>
                </c:pt>
                <c:pt idx="632">
                  <c:v>-2.95486</c:v>
                </c:pt>
                <c:pt idx="633">
                  <c:v>-3.2532100000000002</c:v>
                </c:pt>
                <c:pt idx="634">
                  <c:v>-3.3380200000000002</c:v>
                </c:pt>
                <c:pt idx="635">
                  <c:v>-2.9189799999999999</c:v>
                </c:pt>
                <c:pt idx="636">
                  <c:v>-2.5505399999999998</c:v>
                </c:pt>
                <c:pt idx="637">
                  <c:v>-2.7555000000000001</c:v>
                </c:pt>
                <c:pt idx="638">
                  <c:v>-2.9764499999999998</c:v>
                </c:pt>
                <c:pt idx="639">
                  <c:v>-3.3504800000000001</c:v>
                </c:pt>
                <c:pt idx="640">
                  <c:v>-3.7168800000000002</c:v>
                </c:pt>
                <c:pt idx="641">
                  <c:v>-3.3628100000000001</c:v>
                </c:pt>
                <c:pt idx="642">
                  <c:v>-3.6615099999999998</c:v>
                </c:pt>
                <c:pt idx="643">
                  <c:v>-3.4780600000000002</c:v>
                </c:pt>
                <c:pt idx="644">
                  <c:v>-3.5891799999999998</c:v>
                </c:pt>
                <c:pt idx="645">
                  <c:v>-3.1997300000000002</c:v>
                </c:pt>
                <c:pt idx="646">
                  <c:v>-3.0655299999999999</c:v>
                </c:pt>
                <c:pt idx="647">
                  <c:v>-2.76695</c:v>
                </c:pt>
                <c:pt idx="648">
                  <c:v>-2.7582599999999999</c:v>
                </c:pt>
                <c:pt idx="649">
                  <c:v>-3.2056300000000002</c:v>
                </c:pt>
                <c:pt idx="650">
                  <c:v>-3.5464799999999999</c:v>
                </c:pt>
                <c:pt idx="651">
                  <c:v>-3.4464100000000002</c:v>
                </c:pt>
                <c:pt idx="652">
                  <c:v>-3.02928</c:v>
                </c:pt>
                <c:pt idx="653">
                  <c:v>-2.6485799999999999</c:v>
                </c:pt>
                <c:pt idx="654">
                  <c:v>-2.7728899999999999</c:v>
                </c:pt>
                <c:pt idx="655">
                  <c:v>-2.9028299999999998</c:v>
                </c:pt>
                <c:pt idx="656">
                  <c:v>-3.4378500000000001</c:v>
                </c:pt>
                <c:pt idx="657">
                  <c:v>-4.09049</c:v>
                </c:pt>
                <c:pt idx="658">
                  <c:v>-3.5529899999999999</c:v>
                </c:pt>
                <c:pt idx="659">
                  <c:v>-3.4380099999999998</c:v>
                </c:pt>
                <c:pt idx="660">
                  <c:v>-2.9554</c:v>
                </c:pt>
                <c:pt idx="661">
                  <c:v>-2.7324000000000002</c:v>
                </c:pt>
                <c:pt idx="662">
                  <c:v>-2.78661</c:v>
                </c:pt>
                <c:pt idx="663">
                  <c:v>-3.0072399999999999</c:v>
                </c:pt>
                <c:pt idx="664">
                  <c:v>-3.37141</c:v>
                </c:pt>
                <c:pt idx="665">
                  <c:v>-3.5953900000000001</c:v>
                </c:pt>
                <c:pt idx="666">
                  <c:v>-3.1553200000000001</c:v>
                </c:pt>
                <c:pt idx="667">
                  <c:v>-2.9505400000000002</c:v>
                </c:pt>
                <c:pt idx="668">
                  <c:v>-2.8766500000000002</c:v>
                </c:pt>
                <c:pt idx="669">
                  <c:v>-2.9617100000000001</c:v>
                </c:pt>
                <c:pt idx="670">
                  <c:v>-2.9178500000000001</c:v>
                </c:pt>
                <c:pt idx="671">
                  <c:v>-3.5267900000000001</c:v>
                </c:pt>
                <c:pt idx="672">
                  <c:v>-3.3913500000000001</c:v>
                </c:pt>
                <c:pt idx="673">
                  <c:v>-3.25909</c:v>
                </c:pt>
                <c:pt idx="674">
                  <c:v>-2.8259300000000001</c:v>
                </c:pt>
                <c:pt idx="675">
                  <c:v>-2.9882399999999998</c:v>
                </c:pt>
                <c:pt idx="676">
                  <c:v>-3.3235899999999998</c:v>
                </c:pt>
                <c:pt idx="677">
                  <c:v>-2.66391</c:v>
                </c:pt>
                <c:pt idx="678">
                  <c:v>-2.93268</c:v>
                </c:pt>
                <c:pt idx="679">
                  <c:v>-2.6625200000000002</c:v>
                </c:pt>
                <c:pt idx="680">
                  <c:v>-2.8366899999999999</c:v>
                </c:pt>
                <c:pt idx="681">
                  <c:v>-3.38734</c:v>
                </c:pt>
                <c:pt idx="682">
                  <c:v>-2.8440400000000001</c:v>
                </c:pt>
                <c:pt idx="683">
                  <c:v>-2.7842199999999999</c:v>
                </c:pt>
                <c:pt idx="684">
                  <c:v>-2.5732499999999998</c:v>
                </c:pt>
                <c:pt idx="685">
                  <c:v>-2.7307000000000001</c:v>
                </c:pt>
                <c:pt idx="686">
                  <c:v>-3.28938</c:v>
                </c:pt>
                <c:pt idx="687">
                  <c:v>-3.5427900000000001</c:v>
                </c:pt>
                <c:pt idx="688">
                  <c:v>-3.89588</c:v>
                </c:pt>
                <c:pt idx="689">
                  <c:v>-3.6995200000000001</c:v>
                </c:pt>
                <c:pt idx="690">
                  <c:v>-2.8773599999999999</c:v>
                </c:pt>
                <c:pt idx="691">
                  <c:v>-2.48725</c:v>
                </c:pt>
                <c:pt idx="692">
                  <c:v>-2.7625899999999999</c:v>
                </c:pt>
                <c:pt idx="693">
                  <c:v>-3.26858</c:v>
                </c:pt>
                <c:pt idx="694">
                  <c:v>-2.7325900000000001</c:v>
                </c:pt>
                <c:pt idx="695">
                  <c:v>-3.11531</c:v>
                </c:pt>
                <c:pt idx="696">
                  <c:v>-2.84063</c:v>
                </c:pt>
                <c:pt idx="697">
                  <c:v>-2.7122000000000002</c:v>
                </c:pt>
                <c:pt idx="698">
                  <c:v>-3.16967</c:v>
                </c:pt>
                <c:pt idx="699">
                  <c:v>-3.0666699999999998</c:v>
                </c:pt>
                <c:pt idx="700">
                  <c:v>-3.0073099999999999</c:v>
                </c:pt>
                <c:pt idx="701">
                  <c:v>-2.4665499999999998</c:v>
                </c:pt>
                <c:pt idx="702">
                  <c:v>-3.1516199999999999</c:v>
                </c:pt>
                <c:pt idx="703">
                  <c:v>-3.7435999999999998</c:v>
                </c:pt>
                <c:pt idx="704">
                  <c:v>-4.0706699999999998</c:v>
                </c:pt>
                <c:pt idx="705">
                  <c:v>-3.8254600000000001</c:v>
                </c:pt>
                <c:pt idx="706">
                  <c:v>-3.5695399999999999</c:v>
                </c:pt>
                <c:pt idx="707">
                  <c:v>-2.7223999999999999</c:v>
                </c:pt>
                <c:pt idx="708">
                  <c:v>-2.4696099999999999</c:v>
                </c:pt>
                <c:pt idx="709">
                  <c:v>-2.5808</c:v>
                </c:pt>
                <c:pt idx="710">
                  <c:v>-2.9209399999999999</c:v>
                </c:pt>
                <c:pt idx="711">
                  <c:v>-3.2930799999999998</c:v>
                </c:pt>
                <c:pt idx="712">
                  <c:v>-3.4299300000000001</c:v>
                </c:pt>
                <c:pt idx="713">
                  <c:v>-2.9790800000000002</c:v>
                </c:pt>
                <c:pt idx="714">
                  <c:v>-2.3397299999999999</c:v>
                </c:pt>
                <c:pt idx="715">
                  <c:v>-2.4848599999999998</c:v>
                </c:pt>
                <c:pt idx="716">
                  <c:v>-2.6848900000000002</c:v>
                </c:pt>
                <c:pt idx="717">
                  <c:v>-3.5971000000000002</c:v>
                </c:pt>
                <c:pt idx="718">
                  <c:v>-3.99899</c:v>
                </c:pt>
                <c:pt idx="719">
                  <c:v>-3.33887</c:v>
                </c:pt>
                <c:pt idx="720">
                  <c:v>-3.0751499999999998</c:v>
                </c:pt>
                <c:pt idx="721">
                  <c:v>-3.04149</c:v>
                </c:pt>
                <c:pt idx="722">
                  <c:v>-2.6310600000000002</c:v>
                </c:pt>
                <c:pt idx="723">
                  <c:v>-3.21671</c:v>
                </c:pt>
                <c:pt idx="724">
                  <c:v>-3.1389399999999998</c:v>
                </c:pt>
                <c:pt idx="725">
                  <c:v>-3.1520600000000001</c:v>
                </c:pt>
                <c:pt idx="726">
                  <c:v>-2.6044499999999999</c:v>
                </c:pt>
                <c:pt idx="727">
                  <c:v>-2.8157199999999998</c:v>
                </c:pt>
                <c:pt idx="728">
                  <c:v>-2.88259</c:v>
                </c:pt>
                <c:pt idx="729">
                  <c:v>-2.6985199999999998</c:v>
                </c:pt>
                <c:pt idx="730">
                  <c:v>-3.10989</c:v>
                </c:pt>
                <c:pt idx="731">
                  <c:v>-2.54358</c:v>
                </c:pt>
                <c:pt idx="732">
                  <c:v>-3.5166499999999998</c:v>
                </c:pt>
                <c:pt idx="733">
                  <c:v>-3.1747999999999998</c:v>
                </c:pt>
                <c:pt idx="734">
                  <c:v>-3.91147</c:v>
                </c:pt>
                <c:pt idx="735">
                  <c:v>-4.2661100000000003</c:v>
                </c:pt>
                <c:pt idx="736">
                  <c:v>-2.8692299999999999</c:v>
                </c:pt>
                <c:pt idx="737">
                  <c:v>-2.6322800000000002</c:v>
                </c:pt>
                <c:pt idx="738">
                  <c:v>-2.6128399999999998</c:v>
                </c:pt>
                <c:pt idx="739">
                  <c:v>-3.0174599999999998</c:v>
                </c:pt>
                <c:pt idx="740">
                  <c:v>-2.9310700000000001</c:v>
                </c:pt>
                <c:pt idx="741">
                  <c:v>-3.30531</c:v>
                </c:pt>
                <c:pt idx="742">
                  <c:v>-3.37337</c:v>
                </c:pt>
                <c:pt idx="743">
                  <c:v>-3.10785</c:v>
                </c:pt>
                <c:pt idx="744">
                  <c:v>-3.6330399999999998</c:v>
                </c:pt>
                <c:pt idx="745">
                  <c:v>-4.2307300000000003</c:v>
                </c:pt>
                <c:pt idx="746">
                  <c:v>-4.5557600000000003</c:v>
                </c:pt>
                <c:pt idx="747">
                  <c:v>-4.6200299999999999</c:v>
                </c:pt>
                <c:pt idx="748">
                  <c:v>-4.0802300000000002</c:v>
                </c:pt>
                <c:pt idx="749">
                  <c:v>-3.6870400000000001</c:v>
                </c:pt>
                <c:pt idx="750">
                  <c:v>-4.3679699999999997</c:v>
                </c:pt>
                <c:pt idx="751">
                  <c:v>-4.7370400000000004</c:v>
                </c:pt>
                <c:pt idx="752">
                  <c:v>-3.3913700000000002</c:v>
                </c:pt>
                <c:pt idx="753">
                  <c:v>-2.2917299999999998</c:v>
                </c:pt>
                <c:pt idx="754">
                  <c:v>-2.0428899999999999</c:v>
                </c:pt>
                <c:pt idx="755">
                  <c:v>-1.4863900000000001</c:v>
                </c:pt>
                <c:pt idx="756">
                  <c:v>-1.96916</c:v>
                </c:pt>
                <c:pt idx="757">
                  <c:v>-2.4698099999999998</c:v>
                </c:pt>
                <c:pt idx="758">
                  <c:v>-3.28993</c:v>
                </c:pt>
                <c:pt idx="759">
                  <c:v>-2.7232500000000002</c:v>
                </c:pt>
                <c:pt idx="760">
                  <c:v>-1.7738400000000001</c:v>
                </c:pt>
                <c:pt idx="761">
                  <c:v>-1.9044399999999999</c:v>
                </c:pt>
                <c:pt idx="762">
                  <c:v>-1.7308399999999999</c:v>
                </c:pt>
                <c:pt idx="763">
                  <c:v>-2.4594800000000001</c:v>
                </c:pt>
                <c:pt idx="764">
                  <c:v>-3.3899900000000001</c:v>
                </c:pt>
                <c:pt idx="765">
                  <c:v>-4.01471</c:v>
                </c:pt>
                <c:pt idx="766">
                  <c:v>-4.3505599999999998</c:v>
                </c:pt>
                <c:pt idx="767">
                  <c:v>-3.7662399999999998</c:v>
                </c:pt>
                <c:pt idx="768">
                  <c:v>-3.6060699999999999</c:v>
                </c:pt>
                <c:pt idx="769">
                  <c:v>-3.2458399999999998</c:v>
                </c:pt>
                <c:pt idx="770">
                  <c:v>-4.0419</c:v>
                </c:pt>
                <c:pt idx="771">
                  <c:v>-3.5561699999999998</c:v>
                </c:pt>
                <c:pt idx="772">
                  <c:v>-3.3056800000000002</c:v>
                </c:pt>
                <c:pt idx="773">
                  <c:v>-2.5461200000000002</c:v>
                </c:pt>
                <c:pt idx="774">
                  <c:v>-2.5180699999999998</c:v>
                </c:pt>
                <c:pt idx="775">
                  <c:v>-2.9923799999999998</c:v>
                </c:pt>
                <c:pt idx="776">
                  <c:v>-2.8096199999999998</c:v>
                </c:pt>
                <c:pt idx="777">
                  <c:v>-2.7386699999999999</c:v>
                </c:pt>
                <c:pt idx="778">
                  <c:v>-2.5109400000000002</c:v>
                </c:pt>
                <c:pt idx="779">
                  <c:v>-3.2496900000000002</c:v>
                </c:pt>
                <c:pt idx="780">
                  <c:v>-3.0466199999999999</c:v>
                </c:pt>
                <c:pt idx="781">
                  <c:v>-3.2713399999999999</c:v>
                </c:pt>
                <c:pt idx="782">
                  <c:v>-3.95119</c:v>
                </c:pt>
                <c:pt idx="783">
                  <c:v>-3.4788600000000001</c:v>
                </c:pt>
                <c:pt idx="784">
                  <c:v>-3.6516199999999999</c:v>
                </c:pt>
                <c:pt idx="785">
                  <c:v>-2.6994799999999999</c:v>
                </c:pt>
                <c:pt idx="786">
                  <c:v>-2.7701799999999999</c:v>
                </c:pt>
                <c:pt idx="787">
                  <c:v>-3.45994</c:v>
                </c:pt>
                <c:pt idx="788">
                  <c:v>-3.7610399999999999</c:v>
                </c:pt>
                <c:pt idx="789">
                  <c:v>-3.4352299999999998</c:v>
                </c:pt>
                <c:pt idx="790">
                  <c:v>-2.8553000000000002</c:v>
                </c:pt>
                <c:pt idx="791">
                  <c:v>-2.6404899999999998</c:v>
                </c:pt>
                <c:pt idx="792">
                  <c:v>-2.83779</c:v>
                </c:pt>
                <c:pt idx="793">
                  <c:v>-3.4210600000000002</c:v>
                </c:pt>
                <c:pt idx="794">
                  <c:v>-4.0569199999999999</c:v>
                </c:pt>
                <c:pt idx="795">
                  <c:v>-3.55945</c:v>
                </c:pt>
                <c:pt idx="796">
                  <c:v>-3.5171600000000001</c:v>
                </c:pt>
                <c:pt idx="797">
                  <c:v>-2.8986900000000002</c:v>
                </c:pt>
                <c:pt idx="798">
                  <c:v>-2.8311999999999999</c:v>
                </c:pt>
                <c:pt idx="799">
                  <c:v>-3.1035499999999998</c:v>
                </c:pt>
                <c:pt idx="800">
                  <c:v>-2.7813400000000001</c:v>
                </c:pt>
                <c:pt idx="801">
                  <c:v>-3.4230200000000002</c:v>
                </c:pt>
                <c:pt idx="802">
                  <c:v>-2.6947299999999998</c:v>
                </c:pt>
                <c:pt idx="803">
                  <c:v>-3.25583</c:v>
                </c:pt>
                <c:pt idx="804">
                  <c:v>-3.2003499999999998</c:v>
                </c:pt>
                <c:pt idx="805">
                  <c:v>-3.2023999999999999</c:v>
                </c:pt>
                <c:pt idx="806">
                  <c:v>-3.0493100000000002</c:v>
                </c:pt>
                <c:pt idx="807">
                  <c:v>-2.1907899999999998</c:v>
                </c:pt>
                <c:pt idx="808">
                  <c:v>-2.6458699999999999</c:v>
                </c:pt>
                <c:pt idx="809">
                  <c:v>-3.2836799999999999</c:v>
                </c:pt>
                <c:pt idx="810">
                  <c:v>-3.4363199999999998</c:v>
                </c:pt>
                <c:pt idx="811">
                  <c:v>-4.0317100000000003</c:v>
                </c:pt>
                <c:pt idx="812">
                  <c:v>-3.2732000000000001</c:v>
                </c:pt>
                <c:pt idx="813">
                  <c:v>-3.3605900000000002</c:v>
                </c:pt>
                <c:pt idx="814">
                  <c:v>-3.0463</c:v>
                </c:pt>
                <c:pt idx="815">
                  <c:v>-2.9255</c:v>
                </c:pt>
                <c:pt idx="816">
                  <c:v>-2.8607999999999998</c:v>
                </c:pt>
                <c:pt idx="817">
                  <c:v>-2.9648500000000002</c:v>
                </c:pt>
                <c:pt idx="818">
                  <c:v>-3.18363</c:v>
                </c:pt>
                <c:pt idx="819">
                  <c:v>-2.5934699999999999</c:v>
                </c:pt>
                <c:pt idx="820">
                  <c:v>-2.9092099999999999</c:v>
                </c:pt>
                <c:pt idx="821">
                  <c:v>-2.6000200000000002</c:v>
                </c:pt>
                <c:pt idx="822">
                  <c:v>-3.0727699999999998</c:v>
                </c:pt>
                <c:pt idx="823">
                  <c:v>-3.1733799999999999</c:v>
                </c:pt>
                <c:pt idx="824">
                  <c:v>-3.3397399999999999</c:v>
                </c:pt>
                <c:pt idx="825">
                  <c:v>-2.9821900000000001</c:v>
                </c:pt>
                <c:pt idx="826">
                  <c:v>-3.0785800000000001</c:v>
                </c:pt>
                <c:pt idx="827">
                  <c:v>-3.6137600000000001</c:v>
                </c:pt>
                <c:pt idx="828">
                  <c:v>-3.4186000000000001</c:v>
                </c:pt>
                <c:pt idx="829">
                  <c:v>-3.79413</c:v>
                </c:pt>
                <c:pt idx="830">
                  <c:v>-2.8431600000000001</c:v>
                </c:pt>
                <c:pt idx="831">
                  <c:v>-2.5600499999999999</c:v>
                </c:pt>
                <c:pt idx="832">
                  <c:v>-3.2642699999999998</c:v>
                </c:pt>
                <c:pt idx="833">
                  <c:v>-2.5545499999999999</c:v>
                </c:pt>
                <c:pt idx="834">
                  <c:v>-3.14235</c:v>
                </c:pt>
                <c:pt idx="835">
                  <c:v>-2.9901499999999999</c:v>
                </c:pt>
                <c:pt idx="836">
                  <c:v>-2.75176</c:v>
                </c:pt>
                <c:pt idx="837">
                  <c:v>-2.8858299999999999</c:v>
                </c:pt>
                <c:pt idx="838">
                  <c:v>-2.8207499999999999</c:v>
                </c:pt>
                <c:pt idx="839">
                  <c:v>-3.4424899999999998</c:v>
                </c:pt>
                <c:pt idx="840">
                  <c:v>-2.7623500000000001</c:v>
                </c:pt>
                <c:pt idx="841">
                  <c:v>-3.57626</c:v>
                </c:pt>
                <c:pt idx="842">
                  <c:v>-3.29739</c:v>
                </c:pt>
                <c:pt idx="843">
                  <c:v>-2.6581199999999998</c:v>
                </c:pt>
                <c:pt idx="844">
                  <c:v>-3.6503899999999998</c:v>
                </c:pt>
                <c:pt idx="845">
                  <c:v>-3.4460099999999998</c:v>
                </c:pt>
                <c:pt idx="846">
                  <c:v>-3.0949200000000001</c:v>
                </c:pt>
                <c:pt idx="847">
                  <c:v>-2.7835399999999999</c:v>
                </c:pt>
                <c:pt idx="848">
                  <c:v>-2.5873900000000001</c:v>
                </c:pt>
                <c:pt idx="849">
                  <c:v>-2.3827199999999999</c:v>
                </c:pt>
                <c:pt idx="850">
                  <c:v>-2.8559700000000001</c:v>
                </c:pt>
                <c:pt idx="851">
                  <c:v>-3.6512099999999998</c:v>
                </c:pt>
                <c:pt idx="852">
                  <c:v>-3.2478500000000001</c:v>
                </c:pt>
                <c:pt idx="853">
                  <c:v>-2.87337</c:v>
                </c:pt>
                <c:pt idx="854">
                  <c:v>-2.41689</c:v>
                </c:pt>
                <c:pt idx="855">
                  <c:v>-2.7140200000000001</c:v>
                </c:pt>
                <c:pt idx="856">
                  <c:v>-3.6145700000000001</c:v>
                </c:pt>
                <c:pt idx="857">
                  <c:v>-3.6902300000000001</c:v>
                </c:pt>
                <c:pt idx="858">
                  <c:v>-3.9269099999999999</c:v>
                </c:pt>
                <c:pt idx="859">
                  <c:v>-3.5103</c:v>
                </c:pt>
                <c:pt idx="860">
                  <c:v>-3.15476</c:v>
                </c:pt>
                <c:pt idx="861">
                  <c:v>-3.1402999999999999</c:v>
                </c:pt>
                <c:pt idx="862">
                  <c:v>-3.03193</c:v>
                </c:pt>
                <c:pt idx="863">
                  <c:v>-3.3484099999999999</c:v>
                </c:pt>
                <c:pt idx="864">
                  <c:v>-2.54033</c:v>
                </c:pt>
                <c:pt idx="865">
                  <c:v>-3.4098600000000001</c:v>
                </c:pt>
                <c:pt idx="866">
                  <c:v>-2.76193</c:v>
                </c:pt>
                <c:pt idx="867">
                  <c:v>-2.8456000000000001</c:v>
                </c:pt>
                <c:pt idx="868">
                  <c:v>-3.16961</c:v>
                </c:pt>
                <c:pt idx="869">
                  <c:v>-2.88313</c:v>
                </c:pt>
                <c:pt idx="870">
                  <c:v>-3.0967500000000001</c:v>
                </c:pt>
                <c:pt idx="871">
                  <c:v>-2.9913599999999998</c:v>
                </c:pt>
                <c:pt idx="872">
                  <c:v>-3.8783599999999998</c:v>
                </c:pt>
                <c:pt idx="873">
                  <c:v>-4.2734699999999997</c:v>
                </c:pt>
                <c:pt idx="874">
                  <c:v>-3.6551300000000002</c:v>
                </c:pt>
                <c:pt idx="875">
                  <c:v>-3.5680000000000001</c:v>
                </c:pt>
                <c:pt idx="876">
                  <c:v>-2.99579</c:v>
                </c:pt>
                <c:pt idx="877">
                  <c:v>-2.3016200000000002</c:v>
                </c:pt>
                <c:pt idx="878">
                  <c:v>-2.7649499999999998</c:v>
                </c:pt>
                <c:pt idx="879">
                  <c:v>-3.4069099999999999</c:v>
                </c:pt>
                <c:pt idx="880">
                  <c:v>-3.77597</c:v>
                </c:pt>
                <c:pt idx="881">
                  <c:v>-3.3744299999999998</c:v>
                </c:pt>
                <c:pt idx="882">
                  <c:v>-3.2501600000000002</c:v>
                </c:pt>
                <c:pt idx="883">
                  <c:v>-2.9073600000000002</c:v>
                </c:pt>
                <c:pt idx="884">
                  <c:v>-3.1456300000000001</c:v>
                </c:pt>
                <c:pt idx="885">
                  <c:v>-3.3640699999999999</c:v>
                </c:pt>
                <c:pt idx="886">
                  <c:v>-3.5422799999999999</c:v>
                </c:pt>
                <c:pt idx="887">
                  <c:v>-3.5436000000000001</c:v>
                </c:pt>
                <c:pt idx="888">
                  <c:v>-3.92544</c:v>
                </c:pt>
                <c:pt idx="889">
                  <c:v>-3.34985</c:v>
                </c:pt>
                <c:pt idx="890">
                  <c:v>-3.3534199999999998</c:v>
                </c:pt>
                <c:pt idx="891">
                  <c:v>-3.3826800000000001</c:v>
                </c:pt>
                <c:pt idx="892">
                  <c:v>-3.5396899999999998</c:v>
                </c:pt>
                <c:pt idx="893">
                  <c:v>-3.1105900000000002</c:v>
                </c:pt>
                <c:pt idx="894">
                  <c:v>-2.8045200000000001</c:v>
                </c:pt>
                <c:pt idx="895">
                  <c:v>-3.0128900000000001</c:v>
                </c:pt>
                <c:pt idx="896">
                  <c:v>-3.1410800000000001</c:v>
                </c:pt>
                <c:pt idx="897">
                  <c:v>-3.29691</c:v>
                </c:pt>
                <c:pt idx="898">
                  <c:v>-3.7249500000000002</c:v>
                </c:pt>
                <c:pt idx="899">
                  <c:v>-3.20112</c:v>
                </c:pt>
                <c:pt idx="900">
                  <c:v>-3.2229299999999999</c:v>
                </c:pt>
                <c:pt idx="901">
                  <c:v>-3.15998</c:v>
                </c:pt>
                <c:pt idx="902">
                  <c:v>-3.0688399999999998</c:v>
                </c:pt>
                <c:pt idx="903">
                  <c:v>-3.2437100000000001</c:v>
                </c:pt>
                <c:pt idx="904">
                  <c:v>-3.7039300000000002</c:v>
                </c:pt>
                <c:pt idx="905">
                  <c:v>-3.9544899999999998</c:v>
                </c:pt>
                <c:pt idx="906">
                  <c:v>-3.0551499999999998</c:v>
                </c:pt>
                <c:pt idx="907">
                  <c:v>-2.6499799999999998</c:v>
                </c:pt>
                <c:pt idx="908">
                  <c:v>-2.6433800000000001</c:v>
                </c:pt>
                <c:pt idx="909">
                  <c:v>-3.4424700000000001</c:v>
                </c:pt>
                <c:pt idx="910">
                  <c:v>-2.72498</c:v>
                </c:pt>
                <c:pt idx="911">
                  <c:v>-3.3747099999999999</c:v>
                </c:pt>
                <c:pt idx="912">
                  <c:v>-3.6311399999999998</c:v>
                </c:pt>
                <c:pt idx="913">
                  <c:v>-3.2524000000000002</c:v>
                </c:pt>
                <c:pt idx="914">
                  <c:v>-2.7622200000000001</c:v>
                </c:pt>
                <c:pt idx="915">
                  <c:v>-2.9975299999999998</c:v>
                </c:pt>
                <c:pt idx="916">
                  <c:v>-2.8461400000000001</c:v>
                </c:pt>
                <c:pt idx="917">
                  <c:v>-3.3824100000000001</c:v>
                </c:pt>
                <c:pt idx="918">
                  <c:v>-3.9591799999999999</c:v>
                </c:pt>
                <c:pt idx="919">
                  <c:v>-4.0460900000000004</c:v>
                </c:pt>
                <c:pt idx="920">
                  <c:v>-3.74796</c:v>
                </c:pt>
                <c:pt idx="921">
                  <c:v>-2.7252700000000001</c:v>
                </c:pt>
                <c:pt idx="922">
                  <c:v>-2.86727</c:v>
                </c:pt>
                <c:pt idx="923">
                  <c:v>-3.2838799999999999</c:v>
                </c:pt>
                <c:pt idx="924">
                  <c:v>-2.8431700000000002</c:v>
                </c:pt>
                <c:pt idx="925">
                  <c:v>-2.5499299999999998</c:v>
                </c:pt>
                <c:pt idx="926">
                  <c:v>-3.2412800000000002</c:v>
                </c:pt>
                <c:pt idx="927">
                  <c:v>-3.1693899999999999</c:v>
                </c:pt>
                <c:pt idx="928">
                  <c:v>-3.5972200000000001</c:v>
                </c:pt>
                <c:pt idx="929">
                  <c:v>-3.3525900000000002</c:v>
                </c:pt>
                <c:pt idx="930">
                  <c:v>-2.9076900000000001</c:v>
                </c:pt>
                <c:pt idx="931">
                  <c:v>-2.6482700000000001</c:v>
                </c:pt>
                <c:pt idx="932">
                  <c:v>-3.1727699999999999</c:v>
                </c:pt>
                <c:pt idx="933">
                  <c:v>-3.8319399999999999</c:v>
                </c:pt>
                <c:pt idx="934">
                  <c:v>-3.6038000000000001</c:v>
                </c:pt>
                <c:pt idx="935">
                  <c:v>-4.1385800000000001</c:v>
                </c:pt>
                <c:pt idx="936">
                  <c:v>-3.7250899999999998</c:v>
                </c:pt>
                <c:pt idx="937">
                  <c:v>-2.8582200000000002</c:v>
                </c:pt>
                <c:pt idx="938">
                  <c:v>-2.57558</c:v>
                </c:pt>
                <c:pt idx="939">
                  <c:v>-3.2132800000000001</c:v>
                </c:pt>
                <c:pt idx="940">
                  <c:v>-3.61585</c:v>
                </c:pt>
                <c:pt idx="941">
                  <c:v>-3.29345</c:v>
                </c:pt>
                <c:pt idx="942">
                  <c:v>-2.82511</c:v>
                </c:pt>
                <c:pt idx="943">
                  <c:v>-3.09463</c:v>
                </c:pt>
                <c:pt idx="944">
                  <c:v>-2.79047</c:v>
                </c:pt>
                <c:pt idx="945">
                  <c:v>-3.3165200000000001</c:v>
                </c:pt>
                <c:pt idx="946">
                  <c:v>-3.3017300000000001</c:v>
                </c:pt>
                <c:pt idx="947">
                  <c:v>-3.1561699999999999</c:v>
                </c:pt>
                <c:pt idx="948">
                  <c:v>-2.7169599999999998</c:v>
                </c:pt>
                <c:pt idx="949">
                  <c:v>-3.3780800000000002</c:v>
                </c:pt>
                <c:pt idx="950">
                  <c:v>-3.6914600000000002</c:v>
                </c:pt>
                <c:pt idx="951">
                  <c:v>-3.92862</c:v>
                </c:pt>
                <c:pt idx="952">
                  <c:v>-3.85398</c:v>
                </c:pt>
                <c:pt idx="953">
                  <c:v>-3.2766899999999999</c:v>
                </c:pt>
                <c:pt idx="954">
                  <c:v>-2.8227899999999999</c:v>
                </c:pt>
                <c:pt idx="955">
                  <c:v>-2.7980900000000002</c:v>
                </c:pt>
                <c:pt idx="956">
                  <c:v>-2.7830699999999999</c:v>
                </c:pt>
                <c:pt idx="957">
                  <c:v>-3.2328100000000002</c:v>
                </c:pt>
                <c:pt idx="958">
                  <c:v>-3.1480399999999999</c:v>
                </c:pt>
                <c:pt idx="959">
                  <c:v>-3.1221199999999998</c:v>
                </c:pt>
                <c:pt idx="960">
                  <c:v>-2.8652700000000002</c:v>
                </c:pt>
                <c:pt idx="961">
                  <c:v>-2.7229399999999999</c:v>
                </c:pt>
                <c:pt idx="962">
                  <c:v>-3.1581399999999999</c:v>
                </c:pt>
                <c:pt idx="963">
                  <c:v>-3.9038200000000001</c:v>
                </c:pt>
                <c:pt idx="964">
                  <c:v>-3.53817</c:v>
                </c:pt>
                <c:pt idx="965">
                  <c:v>-3.1569099999999999</c:v>
                </c:pt>
                <c:pt idx="966">
                  <c:v>-3.53931</c:v>
                </c:pt>
                <c:pt idx="967">
                  <c:v>-3.4474</c:v>
                </c:pt>
                <c:pt idx="968">
                  <c:v>-3.4666199999999998</c:v>
                </c:pt>
                <c:pt idx="969">
                  <c:v>-3.1957200000000001</c:v>
                </c:pt>
                <c:pt idx="970">
                  <c:v>-2.73149</c:v>
                </c:pt>
                <c:pt idx="971">
                  <c:v>-3.1638000000000002</c:v>
                </c:pt>
                <c:pt idx="972">
                  <c:v>-3.1840000000000002</c:v>
                </c:pt>
                <c:pt idx="973">
                  <c:v>-3.7210399999999999</c:v>
                </c:pt>
                <c:pt idx="974">
                  <c:v>-3.9528799999999999</c:v>
                </c:pt>
                <c:pt idx="975">
                  <c:v>-3.6676799999999998</c:v>
                </c:pt>
                <c:pt idx="976">
                  <c:v>-3.00692</c:v>
                </c:pt>
                <c:pt idx="977">
                  <c:v>-2.3928400000000001</c:v>
                </c:pt>
                <c:pt idx="978">
                  <c:v>-2.9475600000000002</c:v>
                </c:pt>
                <c:pt idx="979">
                  <c:v>-2.97872</c:v>
                </c:pt>
                <c:pt idx="980">
                  <c:v>-3.7261199999999999</c:v>
                </c:pt>
                <c:pt idx="981">
                  <c:v>-3.9794</c:v>
                </c:pt>
                <c:pt idx="982">
                  <c:v>-4.0482199999999997</c:v>
                </c:pt>
                <c:pt idx="983">
                  <c:v>-3.24234</c:v>
                </c:pt>
                <c:pt idx="984">
                  <c:v>-3.4537200000000001</c:v>
                </c:pt>
                <c:pt idx="985">
                  <c:v>-3.1314099999999998</c:v>
                </c:pt>
                <c:pt idx="986">
                  <c:v>-3.4095300000000002</c:v>
                </c:pt>
                <c:pt idx="987">
                  <c:v>-3.1313399999999998</c:v>
                </c:pt>
                <c:pt idx="988">
                  <c:v>-3.0097499999999999</c:v>
                </c:pt>
                <c:pt idx="989">
                  <c:v>-2.7784399999999998</c:v>
                </c:pt>
                <c:pt idx="990">
                  <c:v>-2.95323</c:v>
                </c:pt>
                <c:pt idx="991">
                  <c:v>-3.3134299999999999</c:v>
                </c:pt>
                <c:pt idx="992">
                  <c:v>-2.67218</c:v>
                </c:pt>
                <c:pt idx="993">
                  <c:v>-3.0194399999999999</c:v>
                </c:pt>
                <c:pt idx="994">
                  <c:v>-3.48231</c:v>
                </c:pt>
                <c:pt idx="995">
                  <c:v>-3.4258500000000001</c:v>
                </c:pt>
                <c:pt idx="996">
                  <c:v>-4.0246399999999998</c:v>
                </c:pt>
                <c:pt idx="997">
                  <c:v>-3.4388999999999998</c:v>
                </c:pt>
                <c:pt idx="998">
                  <c:v>-3.4519600000000001</c:v>
                </c:pt>
                <c:pt idx="999">
                  <c:v>-2.4001899999999998</c:v>
                </c:pt>
                <c:pt idx="1000">
                  <c:v>-2.9777</c:v>
                </c:pt>
                <c:pt idx="1001">
                  <c:v>-2.9713699999999998</c:v>
                </c:pt>
                <c:pt idx="1002">
                  <c:v>-3.4719199999999999</c:v>
                </c:pt>
                <c:pt idx="1003">
                  <c:v>-3.8502200000000002</c:v>
                </c:pt>
                <c:pt idx="1004">
                  <c:v>-2.9405199999999998</c:v>
                </c:pt>
                <c:pt idx="1005">
                  <c:v>-2.62418</c:v>
                </c:pt>
                <c:pt idx="1006">
                  <c:v>-2.65082</c:v>
                </c:pt>
                <c:pt idx="1007">
                  <c:v>-3.0838700000000001</c:v>
                </c:pt>
                <c:pt idx="1008">
                  <c:v>-3.5073799999999999</c:v>
                </c:pt>
                <c:pt idx="1009">
                  <c:v>-3.8346</c:v>
                </c:pt>
                <c:pt idx="1010">
                  <c:v>-3.9109400000000001</c:v>
                </c:pt>
                <c:pt idx="1011">
                  <c:v>-3.35</c:v>
                </c:pt>
                <c:pt idx="1012">
                  <c:v>-3.3517299999999999</c:v>
                </c:pt>
                <c:pt idx="1013">
                  <c:v>-4.1495499999999996</c:v>
                </c:pt>
                <c:pt idx="1014">
                  <c:v>-3.4693900000000002</c:v>
                </c:pt>
                <c:pt idx="1015">
                  <c:v>-3.61022</c:v>
                </c:pt>
                <c:pt idx="1016">
                  <c:v>-3.13666</c:v>
                </c:pt>
                <c:pt idx="1017">
                  <c:v>-3.7369599999999998</c:v>
                </c:pt>
                <c:pt idx="1018">
                  <c:v>-3.1929799999999999</c:v>
                </c:pt>
                <c:pt idx="1019">
                  <c:v>-3.2720500000000001</c:v>
                </c:pt>
                <c:pt idx="1020">
                  <c:v>-3.5329000000000002</c:v>
                </c:pt>
                <c:pt idx="1021">
                  <c:v>-3.0956899999999998</c:v>
                </c:pt>
                <c:pt idx="1022">
                  <c:v>-3.1304799999999999</c:v>
                </c:pt>
                <c:pt idx="1023">
                  <c:v>-2.86958</c:v>
                </c:pt>
                <c:pt idx="1024">
                  <c:v>-3.2243400000000002</c:v>
                </c:pt>
                <c:pt idx="1025">
                  <c:v>-3.6514899999999999</c:v>
                </c:pt>
                <c:pt idx="1026">
                  <c:v>-4.44536</c:v>
                </c:pt>
                <c:pt idx="1027">
                  <c:v>-3.91147</c:v>
                </c:pt>
                <c:pt idx="1028">
                  <c:v>-3.8944100000000001</c:v>
                </c:pt>
                <c:pt idx="1029">
                  <c:v>-3.2090000000000001</c:v>
                </c:pt>
                <c:pt idx="1030">
                  <c:v>-2.7002299999999999</c:v>
                </c:pt>
                <c:pt idx="1031">
                  <c:v>-3.08182</c:v>
                </c:pt>
                <c:pt idx="1032">
                  <c:v>-3.1454200000000001</c:v>
                </c:pt>
                <c:pt idx="1033">
                  <c:v>-3.3527</c:v>
                </c:pt>
                <c:pt idx="1034">
                  <c:v>-3.4592200000000002</c:v>
                </c:pt>
                <c:pt idx="1035">
                  <c:v>-3.5101599999999999</c:v>
                </c:pt>
                <c:pt idx="1036">
                  <c:v>-3.2439800000000001</c:v>
                </c:pt>
                <c:pt idx="1037">
                  <c:v>-3.6299399999999999</c:v>
                </c:pt>
                <c:pt idx="1038">
                  <c:v>-3.5251100000000002</c:v>
                </c:pt>
                <c:pt idx="1039">
                  <c:v>-3.4767000000000001</c:v>
                </c:pt>
                <c:pt idx="1040">
                  <c:v>-3.0527099999999998</c:v>
                </c:pt>
                <c:pt idx="1041">
                  <c:v>-3.1437499999999998</c:v>
                </c:pt>
                <c:pt idx="1042">
                  <c:v>-3.7625600000000001</c:v>
                </c:pt>
                <c:pt idx="1043">
                  <c:v>-3.9298500000000001</c:v>
                </c:pt>
                <c:pt idx="1044">
                  <c:v>-3.6939600000000001</c:v>
                </c:pt>
                <c:pt idx="1045">
                  <c:v>-3.13951</c:v>
                </c:pt>
                <c:pt idx="1046">
                  <c:v>-3.0969099999999998</c:v>
                </c:pt>
                <c:pt idx="1047">
                  <c:v>-3.0595599999999998</c:v>
                </c:pt>
                <c:pt idx="1048">
                  <c:v>-2.8354400000000002</c:v>
                </c:pt>
                <c:pt idx="1049">
                  <c:v>-2.8582900000000002</c:v>
                </c:pt>
                <c:pt idx="1050">
                  <c:v>-3.23949</c:v>
                </c:pt>
                <c:pt idx="1051">
                  <c:v>-3.6076199999999998</c:v>
                </c:pt>
                <c:pt idx="1052">
                  <c:v>-3.1463299999999998</c:v>
                </c:pt>
                <c:pt idx="1053">
                  <c:v>-3.2476099999999999</c:v>
                </c:pt>
                <c:pt idx="1054">
                  <c:v>-2.7895300000000001</c:v>
                </c:pt>
                <c:pt idx="1055">
                  <c:v>-2.9936500000000001</c:v>
                </c:pt>
                <c:pt idx="1056">
                  <c:v>-3.7545199999999999</c:v>
                </c:pt>
                <c:pt idx="1057">
                  <c:v>-3.7101199999999999</c:v>
                </c:pt>
                <c:pt idx="1058">
                  <c:v>-3.94726</c:v>
                </c:pt>
                <c:pt idx="1059">
                  <c:v>-3.07193</c:v>
                </c:pt>
                <c:pt idx="1060">
                  <c:v>-2.9575200000000001</c:v>
                </c:pt>
                <c:pt idx="1061">
                  <c:v>-3.1069</c:v>
                </c:pt>
                <c:pt idx="1062">
                  <c:v>-3.5974200000000001</c:v>
                </c:pt>
                <c:pt idx="1063">
                  <c:v>-3.6799900000000001</c:v>
                </c:pt>
                <c:pt idx="1064">
                  <c:v>-3.4047700000000001</c:v>
                </c:pt>
                <c:pt idx="1065">
                  <c:v>-2.8698199999999998</c:v>
                </c:pt>
                <c:pt idx="1066">
                  <c:v>-2.8287399999999998</c:v>
                </c:pt>
                <c:pt idx="1067">
                  <c:v>-2.6792600000000002</c:v>
                </c:pt>
                <c:pt idx="1068">
                  <c:v>-2.9607600000000001</c:v>
                </c:pt>
                <c:pt idx="1069">
                  <c:v>-3.3002400000000001</c:v>
                </c:pt>
                <c:pt idx="1070">
                  <c:v>-3.71461</c:v>
                </c:pt>
                <c:pt idx="1071">
                  <c:v>-4.0382999999999996</c:v>
                </c:pt>
                <c:pt idx="1072">
                  <c:v>-3.8162400000000001</c:v>
                </c:pt>
                <c:pt idx="1073">
                  <c:v>-3.4321299999999999</c:v>
                </c:pt>
                <c:pt idx="1074">
                  <c:v>-3.55246</c:v>
                </c:pt>
                <c:pt idx="1075">
                  <c:v>-3.6814100000000001</c:v>
                </c:pt>
                <c:pt idx="1076">
                  <c:v>-2.6840299999999999</c:v>
                </c:pt>
                <c:pt idx="1077">
                  <c:v>-2.87914</c:v>
                </c:pt>
                <c:pt idx="1078">
                  <c:v>-2.6072299999999999</c:v>
                </c:pt>
                <c:pt idx="1079">
                  <c:v>-2.9449100000000001</c:v>
                </c:pt>
                <c:pt idx="1080">
                  <c:v>-3.83026</c:v>
                </c:pt>
                <c:pt idx="1081">
                  <c:v>-3.40326</c:v>
                </c:pt>
                <c:pt idx="1082">
                  <c:v>-3.4670000000000001</c:v>
                </c:pt>
                <c:pt idx="1083">
                  <c:v>-2.8491300000000002</c:v>
                </c:pt>
                <c:pt idx="1084">
                  <c:v>-2.74844</c:v>
                </c:pt>
                <c:pt idx="1085">
                  <c:v>-2.86429</c:v>
                </c:pt>
                <c:pt idx="1086">
                  <c:v>-3.6622300000000001</c:v>
                </c:pt>
                <c:pt idx="1087">
                  <c:v>-3.6945899999999998</c:v>
                </c:pt>
                <c:pt idx="1088">
                  <c:v>-3.7191399999999999</c:v>
                </c:pt>
                <c:pt idx="1089">
                  <c:v>-4.0414500000000002</c:v>
                </c:pt>
                <c:pt idx="1090">
                  <c:v>-3.3174100000000002</c:v>
                </c:pt>
                <c:pt idx="1091">
                  <c:v>-3.2998400000000001</c:v>
                </c:pt>
                <c:pt idx="1092">
                  <c:v>-3.2006600000000001</c:v>
                </c:pt>
                <c:pt idx="1093">
                  <c:v>-2.6710199999999999</c:v>
                </c:pt>
                <c:pt idx="1094">
                  <c:v>-3.27935</c:v>
                </c:pt>
                <c:pt idx="1095">
                  <c:v>-2.6592600000000002</c:v>
                </c:pt>
                <c:pt idx="1096">
                  <c:v>-3.3156099999999999</c:v>
                </c:pt>
                <c:pt idx="1097">
                  <c:v>-3.5669</c:v>
                </c:pt>
                <c:pt idx="1098">
                  <c:v>-3.3940600000000001</c:v>
                </c:pt>
                <c:pt idx="1099">
                  <c:v>-3.0199400000000001</c:v>
                </c:pt>
                <c:pt idx="1100">
                  <c:v>-3.2075499999999999</c:v>
                </c:pt>
                <c:pt idx="1101">
                  <c:v>-3.8882699999999999</c:v>
                </c:pt>
                <c:pt idx="1102">
                  <c:v>-3.5333199999999998</c:v>
                </c:pt>
                <c:pt idx="1103">
                  <c:v>-4.30647</c:v>
                </c:pt>
                <c:pt idx="1104">
                  <c:v>-3.8273799999999998</c:v>
                </c:pt>
                <c:pt idx="1105">
                  <c:v>-3.65239</c:v>
                </c:pt>
                <c:pt idx="1106">
                  <c:v>-3.2966899999999999</c:v>
                </c:pt>
                <c:pt idx="1107">
                  <c:v>-3.0997699999999999</c:v>
                </c:pt>
                <c:pt idx="1108">
                  <c:v>-3.3843800000000002</c:v>
                </c:pt>
                <c:pt idx="1109">
                  <c:v>-2.99112</c:v>
                </c:pt>
                <c:pt idx="1110">
                  <c:v>-3.17733</c:v>
                </c:pt>
                <c:pt idx="1111">
                  <c:v>-2.9379400000000002</c:v>
                </c:pt>
                <c:pt idx="1112">
                  <c:v>-3.1335899999999999</c:v>
                </c:pt>
                <c:pt idx="1113">
                  <c:v>-3.2372700000000001</c:v>
                </c:pt>
                <c:pt idx="1114">
                  <c:v>-3.1725099999999999</c:v>
                </c:pt>
                <c:pt idx="1115">
                  <c:v>-3.4129100000000001</c:v>
                </c:pt>
                <c:pt idx="1116">
                  <c:v>-3.3038599999999998</c:v>
                </c:pt>
                <c:pt idx="1117">
                  <c:v>-3.7992400000000002</c:v>
                </c:pt>
                <c:pt idx="1118">
                  <c:v>-4.16974</c:v>
                </c:pt>
                <c:pt idx="1119">
                  <c:v>-3.7553000000000001</c:v>
                </c:pt>
                <c:pt idx="1120">
                  <c:v>-3.2825899999999999</c:v>
                </c:pt>
                <c:pt idx="1121">
                  <c:v>-3.1421299999999999</c:v>
                </c:pt>
                <c:pt idx="1122">
                  <c:v>-2.7536299999999998</c:v>
                </c:pt>
                <c:pt idx="1123">
                  <c:v>-2.8379400000000001</c:v>
                </c:pt>
                <c:pt idx="1124">
                  <c:v>-3.0906099999999999</c:v>
                </c:pt>
                <c:pt idx="1125">
                  <c:v>-3.8496299999999999</c:v>
                </c:pt>
                <c:pt idx="1126">
                  <c:v>-3.3120099999999999</c:v>
                </c:pt>
                <c:pt idx="1127">
                  <c:v>-2.8133300000000001</c:v>
                </c:pt>
                <c:pt idx="1128">
                  <c:v>-3.0759099999999999</c:v>
                </c:pt>
                <c:pt idx="1129">
                  <c:v>-3.1869000000000001</c:v>
                </c:pt>
                <c:pt idx="1130">
                  <c:v>-2.9202300000000001</c:v>
                </c:pt>
                <c:pt idx="1131">
                  <c:v>-3.4192</c:v>
                </c:pt>
                <c:pt idx="1132">
                  <c:v>-2.9518399999999998</c:v>
                </c:pt>
                <c:pt idx="1133">
                  <c:v>-4.1502499999999998</c:v>
                </c:pt>
                <c:pt idx="1134">
                  <c:v>-3.4370099999999999</c:v>
                </c:pt>
                <c:pt idx="1135">
                  <c:v>-3.76627</c:v>
                </c:pt>
                <c:pt idx="1136">
                  <c:v>-2.9999600000000002</c:v>
                </c:pt>
                <c:pt idx="1137">
                  <c:v>-2.88809</c:v>
                </c:pt>
                <c:pt idx="1138">
                  <c:v>-2.96916</c:v>
                </c:pt>
                <c:pt idx="1139">
                  <c:v>-3.2737699999999998</c:v>
                </c:pt>
                <c:pt idx="1140">
                  <c:v>-3.84816</c:v>
                </c:pt>
                <c:pt idx="1141">
                  <c:v>-3.4984199999999999</c:v>
                </c:pt>
                <c:pt idx="1142">
                  <c:v>-3.1223299999999998</c:v>
                </c:pt>
                <c:pt idx="1143">
                  <c:v>-2.9269400000000001</c:v>
                </c:pt>
                <c:pt idx="1144">
                  <c:v>-3.0257499999999999</c:v>
                </c:pt>
                <c:pt idx="1145">
                  <c:v>-3.2862100000000001</c:v>
                </c:pt>
                <c:pt idx="1146">
                  <c:v>-3.9273600000000002</c:v>
                </c:pt>
                <c:pt idx="1147">
                  <c:v>-3.57382</c:v>
                </c:pt>
                <c:pt idx="1148">
                  <c:v>-3.3629600000000002</c:v>
                </c:pt>
                <c:pt idx="1149">
                  <c:v>-3.08941</c:v>
                </c:pt>
                <c:pt idx="1150">
                  <c:v>-3.0895600000000001</c:v>
                </c:pt>
                <c:pt idx="1151">
                  <c:v>-3.4538899999999999</c:v>
                </c:pt>
                <c:pt idx="1152">
                  <c:v>-3.4100100000000002</c:v>
                </c:pt>
                <c:pt idx="1153">
                  <c:v>-2.8196400000000001</c:v>
                </c:pt>
                <c:pt idx="1154">
                  <c:v>-2.9765199999999998</c:v>
                </c:pt>
                <c:pt idx="1155">
                  <c:v>-2.7583799999999998</c:v>
                </c:pt>
                <c:pt idx="1156">
                  <c:v>-2.9264399999999999</c:v>
                </c:pt>
                <c:pt idx="1157">
                  <c:v>-3.2434500000000002</c:v>
                </c:pt>
                <c:pt idx="1158">
                  <c:v>-3.2147600000000001</c:v>
                </c:pt>
                <c:pt idx="1159">
                  <c:v>-3.2520500000000001</c:v>
                </c:pt>
                <c:pt idx="1160">
                  <c:v>-2.8464900000000002</c:v>
                </c:pt>
                <c:pt idx="1161">
                  <c:v>-2.89818</c:v>
                </c:pt>
                <c:pt idx="1162">
                  <c:v>-3.27868</c:v>
                </c:pt>
                <c:pt idx="1163">
                  <c:v>-3.63226</c:v>
                </c:pt>
                <c:pt idx="1164">
                  <c:v>-3.9347699999999999</c:v>
                </c:pt>
                <c:pt idx="1165">
                  <c:v>-3.5365199999999999</c:v>
                </c:pt>
                <c:pt idx="1166">
                  <c:v>-3.31149</c:v>
                </c:pt>
                <c:pt idx="1167">
                  <c:v>-2.43479</c:v>
                </c:pt>
                <c:pt idx="1168">
                  <c:v>-3.06691</c:v>
                </c:pt>
                <c:pt idx="1169">
                  <c:v>-3.5016600000000002</c:v>
                </c:pt>
                <c:pt idx="1170">
                  <c:v>-3.1644800000000002</c:v>
                </c:pt>
                <c:pt idx="1171">
                  <c:v>-3.3187600000000002</c:v>
                </c:pt>
                <c:pt idx="1172">
                  <c:v>-3.1472799999999999</c:v>
                </c:pt>
                <c:pt idx="1173">
                  <c:v>-3.3054700000000001</c:v>
                </c:pt>
                <c:pt idx="1174">
                  <c:v>-2.8119700000000001</c:v>
                </c:pt>
                <c:pt idx="1175">
                  <c:v>-2.8940899999999998</c:v>
                </c:pt>
                <c:pt idx="1176">
                  <c:v>-3.1531199999999999</c:v>
                </c:pt>
                <c:pt idx="1177">
                  <c:v>-3.4082699999999999</c:v>
                </c:pt>
                <c:pt idx="1178">
                  <c:v>-3.7451099999999999</c:v>
                </c:pt>
                <c:pt idx="1179">
                  <c:v>-3.4527700000000001</c:v>
                </c:pt>
                <c:pt idx="1180">
                  <c:v>-3.7963300000000002</c:v>
                </c:pt>
                <c:pt idx="1181">
                  <c:v>-3.4341400000000002</c:v>
                </c:pt>
                <c:pt idx="1182">
                  <c:v>-3.53938</c:v>
                </c:pt>
                <c:pt idx="1183">
                  <c:v>-3.4542199999999998</c:v>
                </c:pt>
                <c:pt idx="1184">
                  <c:v>-2.62601</c:v>
                </c:pt>
                <c:pt idx="1185">
                  <c:v>-2.7681100000000001</c:v>
                </c:pt>
                <c:pt idx="1186">
                  <c:v>-3.1882799999999998</c:v>
                </c:pt>
                <c:pt idx="1187">
                  <c:v>-3.5731600000000001</c:v>
                </c:pt>
                <c:pt idx="1188">
                  <c:v>-3.9049700000000001</c:v>
                </c:pt>
                <c:pt idx="1189">
                  <c:v>-3.02712</c:v>
                </c:pt>
                <c:pt idx="1190">
                  <c:v>-3.4796999999999998</c:v>
                </c:pt>
                <c:pt idx="1191">
                  <c:v>-3.6112600000000001</c:v>
                </c:pt>
                <c:pt idx="1192">
                  <c:v>-4.6194199999999999</c:v>
                </c:pt>
                <c:pt idx="1193">
                  <c:v>-4.5242899999999997</c:v>
                </c:pt>
                <c:pt idx="1194">
                  <c:v>-5.2043600000000003</c:v>
                </c:pt>
                <c:pt idx="1195">
                  <c:v>-4.5209799999999998</c:v>
                </c:pt>
                <c:pt idx="1196">
                  <c:v>-4.4029699999999998</c:v>
                </c:pt>
                <c:pt idx="1197">
                  <c:v>-4.4819800000000001</c:v>
                </c:pt>
                <c:pt idx="1198">
                  <c:v>-2.9724699999999999</c:v>
                </c:pt>
                <c:pt idx="1199">
                  <c:v>-2.5489199999999999</c:v>
                </c:pt>
                <c:pt idx="1200">
                  <c:v>-2.3866800000000001</c:v>
                </c:pt>
                <c:pt idx="1201">
                  <c:v>-2.65036</c:v>
                </c:pt>
                <c:pt idx="1202">
                  <c:v>-2.5122100000000001</c:v>
                </c:pt>
                <c:pt idx="1203">
                  <c:v>-2.7262</c:v>
                </c:pt>
                <c:pt idx="1204">
                  <c:v>-3.0940599999999998</c:v>
                </c:pt>
                <c:pt idx="1205">
                  <c:v>-3.2208399999999999</c:v>
                </c:pt>
                <c:pt idx="1206">
                  <c:v>-2.8360500000000002</c:v>
                </c:pt>
                <c:pt idx="1207">
                  <c:v>-1.8511</c:v>
                </c:pt>
                <c:pt idx="1208">
                  <c:v>-2.0076000000000001</c:v>
                </c:pt>
                <c:pt idx="1209">
                  <c:v>-2.2447900000000001</c:v>
                </c:pt>
                <c:pt idx="1210">
                  <c:v>-3.2534000000000001</c:v>
                </c:pt>
                <c:pt idx="1211">
                  <c:v>-3.8140000000000001</c:v>
                </c:pt>
                <c:pt idx="1212">
                  <c:v>-3.7787199999999999</c:v>
                </c:pt>
                <c:pt idx="1213">
                  <c:v>-3.6756500000000001</c:v>
                </c:pt>
                <c:pt idx="1214">
                  <c:v>-3.8281399999999999</c:v>
                </c:pt>
                <c:pt idx="1215">
                  <c:v>-3.50434</c:v>
                </c:pt>
                <c:pt idx="1216">
                  <c:v>-3.56758</c:v>
                </c:pt>
                <c:pt idx="1217">
                  <c:v>-3.91527</c:v>
                </c:pt>
                <c:pt idx="1218">
                  <c:v>-3.4869500000000002</c:v>
                </c:pt>
                <c:pt idx="1219">
                  <c:v>-3.0434100000000002</c:v>
                </c:pt>
                <c:pt idx="1220">
                  <c:v>-2.3134800000000002</c:v>
                </c:pt>
                <c:pt idx="1221">
                  <c:v>-2.7892899999999998</c:v>
                </c:pt>
                <c:pt idx="1222">
                  <c:v>-2.6660599999999999</c:v>
                </c:pt>
                <c:pt idx="1223">
                  <c:v>-3.4426800000000002</c:v>
                </c:pt>
                <c:pt idx="1224">
                  <c:v>-3.4868199999999998</c:v>
                </c:pt>
                <c:pt idx="1225">
                  <c:v>-2.6986300000000001</c:v>
                </c:pt>
                <c:pt idx="1226">
                  <c:v>-3.2003400000000002</c:v>
                </c:pt>
                <c:pt idx="1227">
                  <c:v>-3.4516900000000001</c:v>
                </c:pt>
                <c:pt idx="1228">
                  <c:v>-3.91703</c:v>
                </c:pt>
                <c:pt idx="1229">
                  <c:v>-2.4622000000000002</c:v>
                </c:pt>
                <c:pt idx="1230">
                  <c:v>-2.9674999999999998</c:v>
                </c:pt>
                <c:pt idx="1231">
                  <c:v>-2.8958300000000001</c:v>
                </c:pt>
                <c:pt idx="1232">
                  <c:v>-3.57124</c:v>
                </c:pt>
                <c:pt idx="1233">
                  <c:v>-3.5094500000000002</c:v>
                </c:pt>
                <c:pt idx="1234">
                  <c:v>-3.32504</c:v>
                </c:pt>
                <c:pt idx="1235">
                  <c:v>-3.87676</c:v>
                </c:pt>
                <c:pt idx="1236">
                  <c:v>-3.1453799999999998</c:v>
                </c:pt>
                <c:pt idx="1237">
                  <c:v>-2.8936000000000002</c:v>
                </c:pt>
                <c:pt idx="1238">
                  <c:v>-2.91398</c:v>
                </c:pt>
                <c:pt idx="1239">
                  <c:v>-3.05559</c:v>
                </c:pt>
                <c:pt idx="1240">
                  <c:v>-3.57186</c:v>
                </c:pt>
                <c:pt idx="1241">
                  <c:v>-3.0995400000000002</c:v>
                </c:pt>
                <c:pt idx="1242">
                  <c:v>-4.00718</c:v>
                </c:pt>
                <c:pt idx="1243">
                  <c:v>-2.8456299999999999</c:v>
                </c:pt>
                <c:pt idx="1244">
                  <c:v>-3.0781100000000001</c:v>
                </c:pt>
                <c:pt idx="1245">
                  <c:v>-2.96556</c:v>
                </c:pt>
                <c:pt idx="1246">
                  <c:v>-3.3438300000000001</c:v>
                </c:pt>
                <c:pt idx="1247">
                  <c:v>-2.9069699999999998</c:v>
                </c:pt>
                <c:pt idx="1248">
                  <c:v>-2.7085699999999999</c:v>
                </c:pt>
                <c:pt idx="1249">
                  <c:v>-3.59015</c:v>
                </c:pt>
                <c:pt idx="1250">
                  <c:v>-3.0443500000000001</c:v>
                </c:pt>
                <c:pt idx="1251">
                  <c:v>-2.8671799999999998</c:v>
                </c:pt>
                <c:pt idx="1252">
                  <c:v>-2.60703</c:v>
                </c:pt>
                <c:pt idx="1253">
                  <c:v>-3.0105499999999998</c:v>
                </c:pt>
                <c:pt idx="1254">
                  <c:v>-3.2407599999999999</c:v>
                </c:pt>
                <c:pt idx="1255">
                  <c:v>-3.5819200000000002</c:v>
                </c:pt>
                <c:pt idx="1256">
                  <c:v>-3.7702200000000001</c:v>
                </c:pt>
                <c:pt idx="1257">
                  <c:v>-3.3659500000000002</c:v>
                </c:pt>
                <c:pt idx="1258">
                  <c:v>-3.96075</c:v>
                </c:pt>
                <c:pt idx="1259">
                  <c:v>-3.6736499999999999</c:v>
                </c:pt>
                <c:pt idx="1260">
                  <c:v>-2.6153200000000001</c:v>
                </c:pt>
                <c:pt idx="1261">
                  <c:v>-2.35432</c:v>
                </c:pt>
                <c:pt idx="1262">
                  <c:v>-2.7729599999999999</c:v>
                </c:pt>
                <c:pt idx="1263">
                  <c:v>-3.5627599999999999</c:v>
                </c:pt>
                <c:pt idx="1264">
                  <c:v>-3.7241</c:v>
                </c:pt>
                <c:pt idx="1265">
                  <c:v>-3.20621</c:v>
                </c:pt>
                <c:pt idx="1266">
                  <c:v>-2.7332200000000002</c:v>
                </c:pt>
                <c:pt idx="1267">
                  <c:v>-2.88605</c:v>
                </c:pt>
                <c:pt idx="1268">
                  <c:v>-3.28329</c:v>
                </c:pt>
                <c:pt idx="1269">
                  <c:v>-3.6972299999999998</c:v>
                </c:pt>
                <c:pt idx="1270">
                  <c:v>-3.6981700000000002</c:v>
                </c:pt>
                <c:pt idx="1271">
                  <c:v>-3.69198</c:v>
                </c:pt>
                <c:pt idx="1272">
                  <c:v>-3.7458900000000002</c:v>
                </c:pt>
                <c:pt idx="1273">
                  <c:v>-3.55192</c:v>
                </c:pt>
                <c:pt idx="1274">
                  <c:v>-2.9956800000000001</c:v>
                </c:pt>
                <c:pt idx="1275">
                  <c:v>-3.0474600000000001</c:v>
                </c:pt>
                <c:pt idx="1276">
                  <c:v>-3.3178399999999999</c:v>
                </c:pt>
                <c:pt idx="1277">
                  <c:v>-2.9183400000000002</c:v>
                </c:pt>
                <c:pt idx="1278">
                  <c:v>-3.3398099999999999</c:v>
                </c:pt>
                <c:pt idx="1279">
                  <c:v>-3.0325600000000001</c:v>
                </c:pt>
                <c:pt idx="1280">
                  <c:v>-3.49411</c:v>
                </c:pt>
                <c:pt idx="1281">
                  <c:v>-3.4466100000000002</c:v>
                </c:pt>
                <c:pt idx="1282">
                  <c:v>-2.71225</c:v>
                </c:pt>
                <c:pt idx="1283">
                  <c:v>-2.7237800000000001</c:v>
                </c:pt>
                <c:pt idx="1284">
                  <c:v>-2.8151799999999998</c:v>
                </c:pt>
                <c:pt idx="1285">
                  <c:v>-3.3403200000000002</c:v>
                </c:pt>
                <c:pt idx="1286">
                  <c:v>-3.5560299999999998</c:v>
                </c:pt>
                <c:pt idx="1287">
                  <c:v>-4.3882000000000003</c:v>
                </c:pt>
                <c:pt idx="1288">
                  <c:v>-3.9340199999999999</c:v>
                </c:pt>
                <c:pt idx="1289">
                  <c:v>-3.8415499999999998</c:v>
                </c:pt>
                <c:pt idx="1290">
                  <c:v>-3.4535999999999998</c:v>
                </c:pt>
                <c:pt idx="1291">
                  <c:v>-3.0302699999999998</c:v>
                </c:pt>
                <c:pt idx="1292">
                  <c:v>-3.2109200000000002</c:v>
                </c:pt>
                <c:pt idx="1293">
                  <c:v>-2.80511</c:v>
                </c:pt>
                <c:pt idx="1294">
                  <c:v>-3.1752799999999999</c:v>
                </c:pt>
                <c:pt idx="1295">
                  <c:v>-3.26309</c:v>
                </c:pt>
                <c:pt idx="1296">
                  <c:v>-3.2009400000000001</c:v>
                </c:pt>
                <c:pt idx="1297">
                  <c:v>-4.0458600000000002</c:v>
                </c:pt>
                <c:pt idx="1298">
                  <c:v>-3.5722499999999999</c:v>
                </c:pt>
                <c:pt idx="1299">
                  <c:v>-3.5137100000000001</c:v>
                </c:pt>
                <c:pt idx="1300">
                  <c:v>-2.6933699999999998</c:v>
                </c:pt>
                <c:pt idx="1301">
                  <c:v>-2.24519</c:v>
                </c:pt>
                <c:pt idx="1302">
                  <c:v>-2.4804900000000001</c:v>
                </c:pt>
                <c:pt idx="1303">
                  <c:v>-3.8813900000000001</c:v>
                </c:pt>
                <c:pt idx="1304">
                  <c:v>-3.8782299999999998</c:v>
                </c:pt>
                <c:pt idx="1305">
                  <c:v>-4.22201</c:v>
                </c:pt>
                <c:pt idx="1306">
                  <c:v>-3.3089300000000001</c:v>
                </c:pt>
                <c:pt idx="1307">
                  <c:v>-3.4492099999999999</c:v>
                </c:pt>
                <c:pt idx="1308">
                  <c:v>-3.2664200000000001</c:v>
                </c:pt>
                <c:pt idx="1309">
                  <c:v>-2.9568699999999999</c:v>
                </c:pt>
                <c:pt idx="1310">
                  <c:v>-2.8435000000000001</c:v>
                </c:pt>
                <c:pt idx="1311">
                  <c:v>-3.1784300000000001</c:v>
                </c:pt>
                <c:pt idx="1312">
                  <c:v>-3.0413700000000001</c:v>
                </c:pt>
                <c:pt idx="1313">
                  <c:v>-3.0066899999999999</c:v>
                </c:pt>
                <c:pt idx="1314">
                  <c:v>-3.5750999999999999</c:v>
                </c:pt>
                <c:pt idx="1315">
                  <c:v>-3.4957400000000001</c:v>
                </c:pt>
                <c:pt idx="1316">
                  <c:v>-3.7570299999999999</c:v>
                </c:pt>
                <c:pt idx="1317">
                  <c:v>-3.8321999999999998</c:v>
                </c:pt>
                <c:pt idx="1318">
                  <c:v>-3.3898100000000002</c:v>
                </c:pt>
                <c:pt idx="1319">
                  <c:v>-3.4915500000000002</c:v>
                </c:pt>
                <c:pt idx="1320">
                  <c:v>-2.6008</c:v>
                </c:pt>
                <c:pt idx="1321">
                  <c:v>-2.8505099999999999</c:v>
                </c:pt>
                <c:pt idx="1322">
                  <c:v>-3.46549</c:v>
                </c:pt>
                <c:pt idx="1323">
                  <c:v>-3.1196199999999998</c:v>
                </c:pt>
                <c:pt idx="1324">
                  <c:v>-3.2869199999999998</c:v>
                </c:pt>
                <c:pt idx="1325">
                  <c:v>-3.11063</c:v>
                </c:pt>
                <c:pt idx="1326">
                  <c:v>-3.2601399999999998</c:v>
                </c:pt>
                <c:pt idx="1327">
                  <c:v>-2.9225699999999999</c:v>
                </c:pt>
                <c:pt idx="1328">
                  <c:v>-2.4749400000000001</c:v>
                </c:pt>
                <c:pt idx="1329">
                  <c:v>-3.0239199999999999</c:v>
                </c:pt>
                <c:pt idx="1330">
                  <c:v>-3.0911200000000001</c:v>
                </c:pt>
                <c:pt idx="1331">
                  <c:v>-3.9415499999999999</c:v>
                </c:pt>
                <c:pt idx="1332">
                  <c:v>-3.9350200000000002</c:v>
                </c:pt>
                <c:pt idx="1333">
                  <c:v>-4.0835400000000002</c:v>
                </c:pt>
                <c:pt idx="1334">
                  <c:v>-3.7757100000000001</c:v>
                </c:pt>
                <c:pt idx="1335">
                  <c:v>-3.7015199999999999</c:v>
                </c:pt>
                <c:pt idx="1336">
                  <c:v>-2.8389600000000002</c:v>
                </c:pt>
                <c:pt idx="1337">
                  <c:v>-3.1920000000000002</c:v>
                </c:pt>
                <c:pt idx="1338">
                  <c:v>-4.1356599999999997</c:v>
                </c:pt>
                <c:pt idx="1339">
                  <c:v>-3.81304</c:v>
                </c:pt>
                <c:pt idx="1340">
                  <c:v>-4.2223499999999996</c:v>
                </c:pt>
                <c:pt idx="1341">
                  <c:v>-2.9719099999999998</c:v>
                </c:pt>
                <c:pt idx="1342">
                  <c:v>-3.2471100000000002</c:v>
                </c:pt>
                <c:pt idx="1343">
                  <c:v>-3.2681100000000001</c:v>
                </c:pt>
                <c:pt idx="1344">
                  <c:v>-3.2827099999999998</c:v>
                </c:pt>
                <c:pt idx="1345">
                  <c:v>-3.4310700000000001</c:v>
                </c:pt>
                <c:pt idx="1346">
                  <c:v>-3.5305499999999999</c:v>
                </c:pt>
                <c:pt idx="1347">
                  <c:v>-3.8570000000000002</c:v>
                </c:pt>
                <c:pt idx="1348">
                  <c:v>-4.3133600000000003</c:v>
                </c:pt>
                <c:pt idx="1349">
                  <c:v>-4.0267999999999997</c:v>
                </c:pt>
                <c:pt idx="1350">
                  <c:v>-3.4562900000000001</c:v>
                </c:pt>
                <c:pt idx="1351">
                  <c:v>-3.74932</c:v>
                </c:pt>
                <c:pt idx="1352">
                  <c:v>-3.71122</c:v>
                </c:pt>
                <c:pt idx="1353">
                  <c:v>-2.7723200000000001</c:v>
                </c:pt>
                <c:pt idx="1354">
                  <c:v>-3.1692999999999998</c:v>
                </c:pt>
                <c:pt idx="1355">
                  <c:v>-3.15089</c:v>
                </c:pt>
                <c:pt idx="1356">
                  <c:v>-4.0274200000000002</c:v>
                </c:pt>
                <c:pt idx="1357">
                  <c:v>-4.0525500000000001</c:v>
                </c:pt>
                <c:pt idx="1358">
                  <c:v>-4.149</c:v>
                </c:pt>
                <c:pt idx="1359">
                  <c:v>-3.4592900000000002</c:v>
                </c:pt>
                <c:pt idx="1360">
                  <c:v>-3.61883</c:v>
                </c:pt>
                <c:pt idx="1361">
                  <c:v>-3.3282799999999999</c:v>
                </c:pt>
                <c:pt idx="1362">
                  <c:v>-3.78729</c:v>
                </c:pt>
                <c:pt idx="1363">
                  <c:v>-3.9621400000000002</c:v>
                </c:pt>
                <c:pt idx="1364">
                  <c:v>-3.7059700000000002</c:v>
                </c:pt>
                <c:pt idx="1365">
                  <c:v>-3.7612199999999998</c:v>
                </c:pt>
                <c:pt idx="1366">
                  <c:v>-3.5560399999999999</c:v>
                </c:pt>
                <c:pt idx="1367">
                  <c:v>-3.3969800000000001</c:v>
                </c:pt>
                <c:pt idx="1368">
                  <c:v>-3.7008100000000002</c:v>
                </c:pt>
                <c:pt idx="1369">
                  <c:v>-3.7241499999999998</c:v>
                </c:pt>
                <c:pt idx="1370">
                  <c:v>-3.6574499999999999</c:v>
                </c:pt>
                <c:pt idx="1371">
                  <c:v>-3.2346699999999999</c:v>
                </c:pt>
                <c:pt idx="1372">
                  <c:v>-3.7074600000000002</c:v>
                </c:pt>
                <c:pt idx="1373">
                  <c:v>-2.95587</c:v>
                </c:pt>
                <c:pt idx="1374">
                  <c:v>-2.8765200000000002</c:v>
                </c:pt>
                <c:pt idx="1375">
                  <c:v>-3.1296499999999998</c:v>
                </c:pt>
                <c:pt idx="1376">
                  <c:v>-3.2487300000000001</c:v>
                </c:pt>
                <c:pt idx="1377">
                  <c:v>-4.4362000000000004</c:v>
                </c:pt>
                <c:pt idx="1378">
                  <c:v>-4.4699</c:v>
                </c:pt>
                <c:pt idx="1379">
                  <c:v>-3.22749</c:v>
                </c:pt>
                <c:pt idx="1380">
                  <c:v>-3.1358000000000001</c:v>
                </c:pt>
                <c:pt idx="1381">
                  <c:v>-3.38286</c:v>
                </c:pt>
                <c:pt idx="1382">
                  <c:v>-3.7108500000000002</c:v>
                </c:pt>
                <c:pt idx="1383">
                  <c:v>-3.44238</c:v>
                </c:pt>
                <c:pt idx="1384">
                  <c:v>-3.4896500000000001</c:v>
                </c:pt>
                <c:pt idx="1385">
                  <c:v>-3.5215900000000002</c:v>
                </c:pt>
                <c:pt idx="1386">
                  <c:v>-3.4544600000000001</c:v>
                </c:pt>
                <c:pt idx="1387">
                  <c:v>-3.4943200000000001</c:v>
                </c:pt>
                <c:pt idx="1388">
                  <c:v>-3.02752</c:v>
                </c:pt>
                <c:pt idx="1389">
                  <c:v>-3.0974499999999998</c:v>
                </c:pt>
                <c:pt idx="1390">
                  <c:v>-3.2179000000000002</c:v>
                </c:pt>
                <c:pt idx="1391">
                  <c:v>-2.7696299999999998</c:v>
                </c:pt>
                <c:pt idx="1392">
                  <c:v>-3.1480800000000002</c:v>
                </c:pt>
                <c:pt idx="1393">
                  <c:v>-3.4697499999999999</c:v>
                </c:pt>
                <c:pt idx="1394">
                  <c:v>-4.2711399999999999</c:v>
                </c:pt>
                <c:pt idx="1395">
                  <c:v>-3.9592800000000001</c:v>
                </c:pt>
                <c:pt idx="1396">
                  <c:v>-3.7428900000000001</c:v>
                </c:pt>
                <c:pt idx="1397">
                  <c:v>-2.81725</c:v>
                </c:pt>
                <c:pt idx="1398">
                  <c:v>-2.7779199999999999</c:v>
                </c:pt>
                <c:pt idx="1399">
                  <c:v>-2.8260999999999998</c:v>
                </c:pt>
                <c:pt idx="1400">
                  <c:v>-3.54799</c:v>
                </c:pt>
                <c:pt idx="1401">
                  <c:v>-3.9201000000000001</c:v>
                </c:pt>
                <c:pt idx="1402">
                  <c:v>-3.8304299999999998</c:v>
                </c:pt>
                <c:pt idx="1403">
                  <c:v>-3.7170299999999998</c:v>
                </c:pt>
                <c:pt idx="1404">
                  <c:v>-3.2223600000000001</c:v>
                </c:pt>
                <c:pt idx="1405">
                  <c:v>-2.98786</c:v>
                </c:pt>
                <c:pt idx="1406">
                  <c:v>-3.2982300000000002</c:v>
                </c:pt>
                <c:pt idx="1407">
                  <c:v>-3.4373499999999999</c:v>
                </c:pt>
                <c:pt idx="1408">
                  <c:v>-3.7877900000000002</c:v>
                </c:pt>
                <c:pt idx="1409">
                  <c:v>-3.66093</c:v>
                </c:pt>
                <c:pt idx="1410">
                  <c:v>-3.8204199999999999</c:v>
                </c:pt>
                <c:pt idx="1411">
                  <c:v>-4.0155700000000003</c:v>
                </c:pt>
                <c:pt idx="1412">
                  <c:v>-3.5496500000000002</c:v>
                </c:pt>
                <c:pt idx="1413">
                  <c:v>-3.5156800000000001</c:v>
                </c:pt>
                <c:pt idx="1414">
                  <c:v>-3.1585999999999999</c:v>
                </c:pt>
                <c:pt idx="1415">
                  <c:v>-3.3514900000000001</c:v>
                </c:pt>
                <c:pt idx="1416">
                  <c:v>-3.5760900000000002</c:v>
                </c:pt>
                <c:pt idx="1417">
                  <c:v>-3.7632300000000001</c:v>
                </c:pt>
                <c:pt idx="1418">
                  <c:v>-3.75007</c:v>
                </c:pt>
                <c:pt idx="1419">
                  <c:v>-3.5696099999999999</c:v>
                </c:pt>
                <c:pt idx="1420">
                  <c:v>-3.2678799999999999</c:v>
                </c:pt>
                <c:pt idx="1421">
                  <c:v>-2.9671400000000001</c:v>
                </c:pt>
                <c:pt idx="1422">
                  <c:v>-3.72323</c:v>
                </c:pt>
                <c:pt idx="1423">
                  <c:v>-3.8000699999999998</c:v>
                </c:pt>
                <c:pt idx="1424">
                  <c:v>-4.1123399999999997</c:v>
                </c:pt>
                <c:pt idx="1425">
                  <c:v>-4.2376500000000004</c:v>
                </c:pt>
                <c:pt idx="1426">
                  <c:v>-3.76675</c:v>
                </c:pt>
                <c:pt idx="1427">
                  <c:v>-3.5317599999999998</c:v>
                </c:pt>
                <c:pt idx="1428">
                  <c:v>-2.82959</c:v>
                </c:pt>
                <c:pt idx="1429">
                  <c:v>-3.5642</c:v>
                </c:pt>
                <c:pt idx="1430">
                  <c:v>-3.1901799999999998</c:v>
                </c:pt>
                <c:pt idx="1431">
                  <c:v>-3.7858700000000001</c:v>
                </c:pt>
                <c:pt idx="1432">
                  <c:v>-4.0253699999999997</c:v>
                </c:pt>
                <c:pt idx="1433">
                  <c:v>-3.1368200000000002</c:v>
                </c:pt>
                <c:pt idx="1434">
                  <c:v>-3.2358799999999999</c:v>
                </c:pt>
                <c:pt idx="1435">
                  <c:v>-3.40829</c:v>
                </c:pt>
                <c:pt idx="1436">
                  <c:v>-3.60778</c:v>
                </c:pt>
                <c:pt idx="1437">
                  <c:v>-3.7548400000000002</c:v>
                </c:pt>
                <c:pt idx="1438">
                  <c:v>-4.1119700000000003</c:v>
                </c:pt>
                <c:pt idx="1439">
                  <c:v>-3.6904699999999999</c:v>
                </c:pt>
                <c:pt idx="1440">
                  <c:v>-4.6334</c:v>
                </c:pt>
                <c:pt idx="1441">
                  <c:v>-4.8816499999999996</c:v>
                </c:pt>
                <c:pt idx="1442">
                  <c:v>-4.5731200000000003</c:v>
                </c:pt>
                <c:pt idx="1443">
                  <c:v>-4.1333799999999998</c:v>
                </c:pt>
                <c:pt idx="1444">
                  <c:v>-3.5442800000000001</c:v>
                </c:pt>
                <c:pt idx="1445">
                  <c:v>-3.7377099999999999</c:v>
                </c:pt>
                <c:pt idx="1446">
                  <c:v>-4.1535900000000003</c:v>
                </c:pt>
                <c:pt idx="1447">
                  <c:v>-4.3534300000000004</c:v>
                </c:pt>
                <c:pt idx="1448">
                  <c:v>-4.2904</c:v>
                </c:pt>
                <c:pt idx="1449">
                  <c:v>-3.5269400000000002</c:v>
                </c:pt>
                <c:pt idx="1450">
                  <c:v>-3.2857099999999999</c:v>
                </c:pt>
                <c:pt idx="1451">
                  <c:v>-3.2426200000000001</c:v>
                </c:pt>
                <c:pt idx="1452">
                  <c:v>-4.49275</c:v>
                </c:pt>
                <c:pt idx="1453">
                  <c:v>-4.2966100000000003</c:v>
                </c:pt>
                <c:pt idx="1454">
                  <c:v>-4.0224500000000001</c:v>
                </c:pt>
                <c:pt idx="1455">
                  <c:v>-4.14208</c:v>
                </c:pt>
                <c:pt idx="1456">
                  <c:v>-4.3340399999999999</c:v>
                </c:pt>
                <c:pt idx="1457">
                  <c:v>-3.98237</c:v>
                </c:pt>
                <c:pt idx="1458">
                  <c:v>-3.5315699999999999</c:v>
                </c:pt>
                <c:pt idx="1459">
                  <c:v>-4.2190500000000002</c:v>
                </c:pt>
                <c:pt idx="1460">
                  <c:v>-3.5608200000000001</c:v>
                </c:pt>
                <c:pt idx="1461">
                  <c:v>-4.0138699999999998</c:v>
                </c:pt>
                <c:pt idx="1462">
                  <c:v>-3.6639599999999999</c:v>
                </c:pt>
                <c:pt idx="1463">
                  <c:v>-3.7621000000000002</c:v>
                </c:pt>
                <c:pt idx="1464">
                  <c:v>-3.95892</c:v>
                </c:pt>
                <c:pt idx="1465">
                  <c:v>-4.4783200000000001</c:v>
                </c:pt>
                <c:pt idx="1466">
                  <c:v>-3.2440799999999999</c:v>
                </c:pt>
                <c:pt idx="1467">
                  <c:v>-3.7473299999999998</c:v>
                </c:pt>
                <c:pt idx="1468">
                  <c:v>-3.7180800000000001</c:v>
                </c:pt>
                <c:pt idx="1469">
                  <c:v>-4.2742399999999998</c:v>
                </c:pt>
                <c:pt idx="1470">
                  <c:v>-5.0069400000000002</c:v>
                </c:pt>
                <c:pt idx="1471">
                  <c:v>-4.4189800000000004</c:v>
                </c:pt>
                <c:pt idx="1472">
                  <c:v>-3.8187899999999999</c:v>
                </c:pt>
                <c:pt idx="1473">
                  <c:v>-3.3794900000000001</c:v>
                </c:pt>
                <c:pt idx="1474">
                  <c:v>-3.9802900000000001</c:v>
                </c:pt>
                <c:pt idx="1475">
                  <c:v>-3.6816900000000001</c:v>
                </c:pt>
                <c:pt idx="1476">
                  <c:v>-3.86537</c:v>
                </c:pt>
                <c:pt idx="1477">
                  <c:v>-4.3088899999999999</c:v>
                </c:pt>
                <c:pt idx="1478">
                  <c:v>-4.2636500000000002</c:v>
                </c:pt>
                <c:pt idx="1479">
                  <c:v>-3.2507000000000001</c:v>
                </c:pt>
                <c:pt idx="1480">
                  <c:v>-3.50108</c:v>
                </c:pt>
                <c:pt idx="1481">
                  <c:v>-3.8485800000000001</c:v>
                </c:pt>
                <c:pt idx="1482">
                  <c:v>-4.24655</c:v>
                </c:pt>
                <c:pt idx="1483">
                  <c:v>-4.2579200000000004</c:v>
                </c:pt>
                <c:pt idx="1484">
                  <c:v>-3.83466</c:v>
                </c:pt>
                <c:pt idx="1485">
                  <c:v>-3.9996100000000001</c:v>
                </c:pt>
                <c:pt idx="1486">
                  <c:v>-5.0379399999999999</c:v>
                </c:pt>
                <c:pt idx="1487">
                  <c:v>-4.8449900000000001</c:v>
                </c:pt>
                <c:pt idx="1488">
                  <c:v>-3.6936100000000001</c:v>
                </c:pt>
                <c:pt idx="1489">
                  <c:v>-3.22539</c:v>
                </c:pt>
                <c:pt idx="1490">
                  <c:v>-3.2409300000000001</c:v>
                </c:pt>
                <c:pt idx="1491">
                  <c:v>-3.90741</c:v>
                </c:pt>
                <c:pt idx="1492">
                  <c:v>-3.87208</c:v>
                </c:pt>
                <c:pt idx="1493">
                  <c:v>-4.4646699999999999</c:v>
                </c:pt>
                <c:pt idx="1494">
                  <c:v>-3.7572999999999999</c:v>
                </c:pt>
                <c:pt idx="1495">
                  <c:v>-3.05999</c:v>
                </c:pt>
                <c:pt idx="1496">
                  <c:v>-3.5091299999999999</c:v>
                </c:pt>
                <c:pt idx="1497">
                  <c:v>-3.7380800000000001</c:v>
                </c:pt>
                <c:pt idx="1498">
                  <c:v>-4.0845399999999996</c:v>
                </c:pt>
                <c:pt idx="1499">
                  <c:v>-4.4406800000000004</c:v>
                </c:pt>
                <c:pt idx="1500">
                  <c:v>-4.5783300000000002</c:v>
                </c:pt>
                <c:pt idx="1501">
                  <c:v>-3.72621</c:v>
                </c:pt>
                <c:pt idx="1502">
                  <c:v>-3.53451</c:v>
                </c:pt>
                <c:pt idx="1503">
                  <c:v>-3.6899000000000002</c:v>
                </c:pt>
                <c:pt idx="1504">
                  <c:v>-4.0514700000000001</c:v>
                </c:pt>
                <c:pt idx="1505">
                  <c:v>-3.6554600000000002</c:v>
                </c:pt>
                <c:pt idx="1506">
                  <c:v>-2.9610699999999999</c:v>
                </c:pt>
                <c:pt idx="1507">
                  <c:v>-2.9980000000000002</c:v>
                </c:pt>
                <c:pt idx="1508">
                  <c:v>-3.74607</c:v>
                </c:pt>
                <c:pt idx="1509">
                  <c:v>-4.6042500000000004</c:v>
                </c:pt>
                <c:pt idx="1510">
                  <c:v>-3.4607899999999998</c:v>
                </c:pt>
                <c:pt idx="1511">
                  <c:v>-3.4341900000000001</c:v>
                </c:pt>
                <c:pt idx="1512">
                  <c:v>-3.55342</c:v>
                </c:pt>
                <c:pt idx="1513">
                  <c:v>-3.1709399999999999</c:v>
                </c:pt>
                <c:pt idx="1514">
                  <c:v>-3.8992399999999998</c:v>
                </c:pt>
                <c:pt idx="1515">
                  <c:v>-4.0393800000000004</c:v>
                </c:pt>
                <c:pt idx="1516">
                  <c:v>-4.49627</c:v>
                </c:pt>
                <c:pt idx="1517">
                  <c:v>-4.8489000000000004</c:v>
                </c:pt>
                <c:pt idx="1518">
                  <c:v>-4.5802399999999999</c:v>
                </c:pt>
                <c:pt idx="1519">
                  <c:v>-3.8697699999999999</c:v>
                </c:pt>
                <c:pt idx="1520">
                  <c:v>-3.88672</c:v>
                </c:pt>
                <c:pt idx="1521">
                  <c:v>-4.4205300000000003</c:v>
                </c:pt>
                <c:pt idx="1522">
                  <c:v>-4.0989199999999997</c:v>
                </c:pt>
                <c:pt idx="1523">
                  <c:v>-4.37967</c:v>
                </c:pt>
                <c:pt idx="1524">
                  <c:v>-3.5571000000000002</c:v>
                </c:pt>
                <c:pt idx="1525">
                  <c:v>-3.6728200000000002</c:v>
                </c:pt>
                <c:pt idx="1526">
                  <c:v>-3.5523799999999999</c:v>
                </c:pt>
                <c:pt idx="1527">
                  <c:v>-4.2507200000000003</c:v>
                </c:pt>
                <c:pt idx="1528">
                  <c:v>-4.1132799999999996</c:v>
                </c:pt>
                <c:pt idx="1529">
                  <c:v>-4.5364500000000003</c:v>
                </c:pt>
                <c:pt idx="1530">
                  <c:v>-4.5175400000000003</c:v>
                </c:pt>
                <c:pt idx="1531">
                  <c:v>-5.2304599999999999</c:v>
                </c:pt>
                <c:pt idx="1532">
                  <c:v>-4.5427999999999997</c:v>
                </c:pt>
                <c:pt idx="1533">
                  <c:v>-4.4323899999999998</c:v>
                </c:pt>
                <c:pt idx="1534">
                  <c:v>-3.8320599999999998</c:v>
                </c:pt>
                <c:pt idx="1535">
                  <c:v>-4.6204999999999998</c:v>
                </c:pt>
                <c:pt idx="1536">
                  <c:v>-4.71305</c:v>
                </c:pt>
                <c:pt idx="1537">
                  <c:v>-4.6601900000000001</c:v>
                </c:pt>
                <c:pt idx="1538">
                  <c:v>-4.4348700000000001</c:v>
                </c:pt>
                <c:pt idx="1539">
                  <c:v>-3.8586200000000002</c:v>
                </c:pt>
                <c:pt idx="1540">
                  <c:v>-4.1954599999999997</c:v>
                </c:pt>
                <c:pt idx="1541">
                  <c:v>-3.7911000000000001</c:v>
                </c:pt>
                <c:pt idx="1542">
                  <c:v>-3.88401</c:v>
                </c:pt>
                <c:pt idx="1543">
                  <c:v>-3.7864399999999998</c:v>
                </c:pt>
                <c:pt idx="1544">
                  <c:v>-4.8914400000000002</c:v>
                </c:pt>
                <c:pt idx="1545">
                  <c:v>-4.0134299999999996</c:v>
                </c:pt>
                <c:pt idx="1546">
                  <c:v>-4.5872000000000002</c:v>
                </c:pt>
                <c:pt idx="1547">
                  <c:v>-4.1934899999999997</c:v>
                </c:pt>
                <c:pt idx="1548">
                  <c:v>-4.4724700000000004</c:v>
                </c:pt>
                <c:pt idx="1549">
                  <c:v>-4.3417300000000001</c:v>
                </c:pt>
                <c:pt idx="1550">
                  <c:v>-3.5465599999999999</c:v>
                </c:pt>
                <c:pt idx="1551">
                  <c:v>-3.9480599999999999</c:v>
                </c:pt>
                <c:pt idx="1552">
                  <c:v>-3.8815</c:v>
                </c:pt>
                <c:pt idx="1553">
                  <c:v>-4.9990800000000002</c:v>
                </c:pt>
                <c:pt idx="1554">
                  <c:v>-4.7404299999999999</c:v>
                </c:pt>
                <c:pt idx="1555">
                  <c:v>-4.3890700000000002</c:v>
                </c:pt>
                <c:pt idx="1556">
                  <c:v>-4.3230599999999999</c:v>
                </c:pt>
                <c:pt idx="1557">
                  <c:v>-3.9686499999999998</c:v>
                </c:pt>
                <c:pt idx="1558">
                  <c:v>-3.94855</c:v>
                </c:pt>
                <c:pt idx="1559">
                  <c:v>-4.0164900000000001</c:v>
                </c:pt>
                <c:pt idx="1560">
                  <c:v>-4.35839</c:v>
                </c:pt>
                <c:pt idx="1561">
                  <c:v>-4.4432099999999997</c:v>
                </c:pt>
                <c:pt idx="1562">
                  <c:v>-4.2198000000000002</c:v>
                </c:pt>
                <c:pt idx="1563">
                  <c:v>-3.8542399999999999</c:v>
                </c:pt>
                <c:pt idx="1564">
                  <c:v>-4.0422500000000001</c:v>
                </c:pt>
                <c:pt idx="1565">
                  <c:v>-4.6686800000000002</c:v>
                </c:pt>
                <c:pt idx="1566">
                  <c:v>-4.7125300000000001</c:v>
                </c:pt>
                <c:pt idx="1567">
                  <c:v>-4.4284499999999998</c:v>
                </c:pt>
                <c:pt idx="1568">
                  <c:v>-3.6053799999999998</c:v>
                </c:pt>
                <c:pt idx="1569">
                  <c:v>-3.6734499999999999</c:v>
                </c:pt>
                <c:pt idx="1570">
                  <c:v>-3.8188399999999998</c:v>
                </c:pt>
                <c:pt idx="1571">
                  <c:v>-4.2187200000000002</c:v>
                </c:pt>
                <c:pt idx="1572">
                  <c:v>-4.4268599999999996</c:v>
                </c:pt>
                <c:pt idx="1573">
                  <c:v>-5.3039100000000001</c:v>
                </c:pt>
                <c:pt idx="1574">
                  <c:v>-5.9609500000000004</c:v>
                </c:pt>
                <c:pt idx="1575">
                  <c:v>-5.9388300000000003</c:v>
                </c:pt>
                <c:pt idx="1576">
                  <c:v>-5.4811899999999998</c:v>
                </c:pt>
                <c:pt idx="1577">
                  <c:v>-5.0428100000000002</c:v>
                </c:pt>
                <c:pt idx="1578">
                  <c:v>-5.01417</c:v>
                </c:pt>
                <c:pt idx="1579">
                  <c:v>-5.1250499999999999</c:v>
                </c:pt>
                <c:pt idx="1580">
                  <c:v>-4.1466599999999998</c:v>
                </c:pt>
                <c:pt idx="1581">
                  <c:v>-3.6619700000000002</c:v>
                </c:pt>
                <c:pt idx="1582">
                  <c:v>-3.1754500000000001</c:v>
                </c:pt>
                <c:pt idx="1583">
                  <c:v>-3.1203400000000001</c:v>
                </c:pt>
                <c:pt idx="1584">
                  <c:v>-3.6886800000000002</c:v>
                </c:pt>
                <c:pt idx="1585">
                  <c:v>-3.0222799999999999</c:v>
                </c:pt>
                <c:pt idx="1586">
                  <c:v>-3.3431600000000001</c:v>
                </c:pt>
                <c:pt idx="1587">
                  <c:v>-3.5919300000000001</c:v>
                </c:pt>
                <c:pt idx="1588">
                  <c:v>-4.1155499999999998</c:v>
                </c:pt>
                <c:pt idx="1589">
                  <c:v>-4.0956000000000001</c:v>
                </c:pt>
                <c:pt idx="1590">
                  <c:v>-3.9790000000000001</c:v>
                </c:pt>
                <c:pt idx="1591">
                  <c:v>-4.3642300000000001</c:v>
                </c:pt>
                <c:pt idx="1592">
                  <c:v>-4.4766899999999996</c:v>
                </c:pt>
                <c:pt idx="1593">
                  <c:v>-4.8429599999999997</c:v>
                </c:pt>
                <c:pt idx="1594">
                  <c:v>-4.6042699999999996</c:v>
                </c:pt>
                <c:pt idx="1595">
                  <c:v>-3.72716</c:v>
                </c:pt>
                <c:pt idx="1596">
                  <c:v>-3.7848199999999999</c:v>
                </c:pt>
                <c:pt idx="1597">
                  <c:v>-4.35914</c:v>
                </c:pt>
                <c:pt idx="1598">
                  <c:v>-4.8071599999999997</c:v>
                </c:pt>
                <c:pt idx="1599">
                  <c:v>-4.6102800000000004</c:v>
                </c:pt>
                <c:pt idx="1600">
                  <c:v>-4.4264200000000002</c:v>
                </c:pt>
                <c:pt idx="1601">
                  <c:v>-3.5409000000000002</c:v>
                </c:pt>
                <c:pt idx="1602">
                  <c:v>-3.1734499999999999</c:v>
                </c:pt>
                <c:pt idx="1603">
                  <c:v>-3.3261699999999998</c:v>
                </c:pt>
                <c:pt idx="1604">
                  <c:v>-3.9439000000000002</c:v>
                </c:pt>
                <c:pt idx="1605">
                  <c:v>-4.2013999999999996</c:v>
                </c:pt>
                <c:pt idx="1606">
                  <c:v>-4.1901900000000003</c:v>
                </c:pt>
                <c:pt idx="1607">
                  <c:v>-5.0477999999999996</c:v>
                </c:pt>
                <c:pt idx="1608">
                  <c:v>-4.05185</c:v>
                </c:pt>
                <c:pt idx="1609">
                  <c:v>-3.9692500000000002</c:v>
                </c:pt>
                <c:pt idx="1610">
                  <c:v>-3.3756300000000001</c:v>
                </c:pt>
                <c:pt idx="1611">
                  <c:v>-3.9875500000000001</c:v>
                </c:pt>
                <c:pt idx="1612">
                  <c:v>-4.16167</c:v>
                </c:pt>
                <c:pt idx="1613">
                  <c:v>-3.4556900000000002</c:v>
                </c:pt>
                <c:pt idx="1614">
                  <c:v>-3.3719600000000001</c:v>
                </c:pt>
                <c:pt idx="1615">
                  <c:v>-3.6888800000000002</c:v>
                </c:pt>
                <c:pt idx="1616">
                  <c:v>-3.9202599999999999</c:v>
                </c:pt>
                <c:pt idx="1617">
                  <c:v>-4.2577800000000003</c:v>
                </c:pt>
                <c:pt idx="1618">
                  <c:v>-3.4473199999999999</c:v>
                </c:pt>
                <c:pt idx="1619">
                  <c:v>-3.9047900000000002</c:v>
                </c:pt>
                <c:pt idx="1620">
                  <c:v>-4.0885899999999999</c:v>
                </c:pt>
                <c:pt idx="1621">
                  <c:v>-3.1961200000000001</c:v>
                </c:pt>
                <c:pt idx="1622">
                  <c:v>-4.6972800000000001</c:v>
                </c:pt>
                <c:pt idx="1623">
                  <c:v>-4.5006500000000003</c:v>
                </c:pt>
                <c:pt idx="1624">
                  <c:v>-4.1765999999999996</c:v>
                </c:pt>
                <c:pt idx="1625">
                  <c:v>-3.9285399999999999</c:v>
                </c:pt>
                <c:pt idx="1626">
                  <c:v>-3.6641699999999999</c:v>
                </c:pt>
                <c:pt idx="1627">
                  <c:v>-4.3143599999999998</c:v>
                </c:pt>
                <c:pt idx="1628">
                  <c:v>-3.8342800000000001</c:v>
                </c:pt>
                <c:pt idx="1629">
                  <c:v>-4.4189499999999997</c:v>
                </c:pt>
                <c:pt idx="1630">
                  <c:v>-3.5045000000000002</c:v>
                </c:pt>
                <c:pt idx="1631">
                  <c:v>-3.5738599999999998</c:v>
                </c:pt>
                <c:pt idx="1632">
                  <c:v>-2.85859</c:v>
                </c:pt>
                <c:pt idx="1633">
                  <c:v>-3.61355</c:v>
                </c:pt>
                <c:pt idx="1634">
                  <c:v>-3.72146</c:v>
                </c:pt>
                <c:pt idx="1635">
                  <c:v>-4.0579000000000001</c:v>
                </c:pt>
                <c:pt idx="1636">
                  <c:v>-4.3270600000000004</c:v>
                </c:pt>
                <c:pt idx="1637">
                  <c:v>-4.0242000000000004</c:v>
                </c:pt>
                <c:pt idx="1638">
                  <c:v>-4.4108900000000002</c:v>
                </c:pt>
                <c:pt idx="1639">
                  <c:v>-3.72105</c:v>
                </c:pt>
                <c:pt idx="1640">
                  <c:v>-4.3909700000000003</c:v>
                </c:pt>
                <c:pt idx="1641">
                  <c:v>-3.6002299999999998</c:v>
                </c:pt>
                <c:pt idx="1642">
                  <c:v>-4.1636600000000001</c:v>
                </c:pt>
                <c:pt idx="1643">
                  <c:v>-3.6878600000000001</c:v>
                </c:pt>
                <c:pt idx="1644">
                  <c:v>-3.75671</c:v>
                </c:pt>
                <c:pt idx="1645">
                  <c:v>-3.64324</c:v>
                </c:pt>
                <c:pt idx="1646">
                  <c:v>-3.6719599999999999</c:v>
                </c:pt>
                <c:pt idx="1647">
                  <c:v>-3.3526899999999999</c:v>
                </c:pt>
                <c:pt idx="1648">
                  <c:v>-3.4090400000000001</c:v>
                </c:pt>
                <c:pt idx="1649">
                  <c:v>-3.4572799999999999</c:v>
                </c:pt>
                <c:pt idx="1650">
                  <c:v>-4.1937100000000003</c:v>
                </c:pt>
                <c:pt idx="1651">
                  <c:v>-4.1561700000000004</c:v>
                </c:pt>
                <c:pt idx="1652">
                  <c:v>-4.5541700000000001</c:v>
                </c:pt>
                <c:pt idx="1653">
                  <c:v>-3.8056800000000002</c:v>
                </c:pt>
                <c:pt idx="1654">
                  <c:v>-3.9664600000000001</c:v>
                </c:pt>
                <c:pt idx="1655">
                  <c:v>-4.1859599999999997</c:v>
                </c:pt>
                <c:pt idx="1656">
                  <c:v>-2.9287100000000001</c:v>
                </c:pt>
                <c:pt idx="1657">
                  <c:v>-3.44171</c:v>
                </c:pt>
                <c:pt idx="1658">
                  <c:v>-3.3239899999999998</c:v>
                </c:pt>
                <c:pt idx="1659">
                  <c:v>-3.7463799999999998</c:v>
                </c:pt>
                <c:pt idx="1660">
                  <c:v>-4.6011499999999996</c:v>
                </c:pt>
                <c:pt idx="1661">
                  <c:v>-3.8386</c:v>
                </c:pt>
                <c:pt idx="1662">
                  <c:v>-3.7095799999999999</c:v>
                </c:pt>
                <c:pt idx="1663">
                  <c:v>-2.95512</c:v>
                </c:pt>
                <c:pt idx="1664">
                  <c:v>-3.42083</c:v>
                </c:pt>
                <c:pt idx="1665">
                  <c:v>-3.0289899999999998</c:v>
                </c:pt>
                <c:pt idx="1666">
                  <c:v>-3.9402699999999999</c:v>
                </c:pt>
                <c:pt idx="1667">
                  <c:v>-4.5721800000000004</c:v>
                </c:pt>
                <c:pt idx="1668">
                  <c:v>-3.8942399999999999</c:v>
                </c:pt>
                <c:pt idx="1669">
                  <c:v>-4.37636</c:v>
                </c:pt>
                <c:pt idx="1670">
                  <c:v>-3.63747</c:v>
                </c:pt>
                <c:pt idx="1671">
                  <c:v>-3.9481999999999999</c:v>
                </c:pt>
                <c:pt idx="1672">
                  <c:v>-3.17902</c:v>
                </c:pt>
                <c:pt idx="1673">
                  <c:v>-4.2103299999999999</c:v>
                </c:pt>
                <c:pt idx="1674">
                  <c:v>-3.4893700000000001</c:v>
                </c:pt>
                <c:pt idx="1675">
                  <c:v>-2.8879899999999998</c:v>
                </c:pt>
                <c:pt idx="1676">
                  <c:v>-3.8079499999999999</c:v>
                </c:pt>
                <c:pt idx="1677">
                  <c:v>-3.9959799999999999</c:v>
                </c:pt>
                <c:pt idx="1678">
                  <c:v>-4.2751099999999997</c:v>
                </c:pt>
                <c:pt idx="1679">
                  <c:v>-3.7030099999999999</c:v>
                </c:pt>
                <c:pt idx="1680">
                  <c:v>-3.6208300000000002</c:v>
                </c:pt>
                <c:pt idx="1681">
                  <c:v>-3.4253800000000001</c:v>
                </c:pt>
                <c:pt idx="1682">
                  <c:v>-3.6619799999999998</c:v>
                </c:pt>
                <c:pt idx="1683">
                  <c:v>-4.25413</c:v>
                </c:pt>
                <c:pt idx="1684">
                  <c:v>-4.0572600000000003</c:v>
                </c:pt>
                <c:pt idx="1685">
                  <c:v>-4.2526999999999999</c:v>
                </c:pt>
                <c:pt idx="1686">
                  <c:v>-4.2814199999999998</c:v>
                </c:pt>
                <c:pt idx="1687">
                  <c:v>-3.83833</c:v>
                </c:pt>
                <c:pt idx="1688">
                  <c:v>-3.8272300000000001</c:v>
                </c:pt>
                <c:pt idx="1689">
                  <c:v>-3.6230099999999998</c:v>
                </c:pt>
                <c:pt idx="1690">
                  <c:v>-3.7498999999999998</c:v>
                </c:pt>
                <c:pt idx="1691">
                  <c:v>-3.1868099999999999</c:v>
                </c:pt>
                <c:pt idx="1692">
                  <c:v>-3.77197</c:v>
                </c:pt>
                <c:pt idx="1693">
                  <c:v>-3.4272300000000002</c:v>
                </c:pt>
                <c:pt idx="1694">
                  <c:v>-4.0900699999999999</c:v>
                </c:pt>
                <c:pt idx="1695">
                  <c:v>-4.04833</c:v>
                </c:pt>
                <c:pt idx="1696">
                  <c:v>-3.7288899999999998</c:v>
                </c:pt>
                <c:pt idx="1697">
                  <c:v>-4.4133300000000002</c:v>
                </c:pt>
                <c:pt idx="1698">
                  <c:v>-4.2137000000000002</c:v>
                </c:pt>
                <c:pt idx="1699">
                  <c:v>-4.5388200000000003</c:v>
                </c:pt>
                <c:pt idx="1700">
                  <c:v>-4.0721100000000003</c:v>
                </c:pt>
                <c:pt idx="1701">
                  <c:v>-3.6468699999999998</c:v>
                </c:pt>
                <c:pt idx="1702">
                  <c:v>-4.1352000000000002</c:v>
                </c:pt>
                <c:pt idx="1703">
                  <c:v>-3.67882</c:v>
                </c:pt>
                <c:pt idx="1704">
                  <c:v>-4.3359899999999998</c:v>
                </c:pt>
                <c:pt idx="1705">
                  <c:v>-4.5413800000000002</c:v>
                </c:pt>
                <c:pt idx="1706">
                  <c:v>-4.4631699999999999</c:v>
                </c:pt>
                <c:pt idx="1707">
                  <c:v>-4.0196100000000001</c:v>
                </c:pt>
                <c:pt idx="1708">
                  <c:v>-3.1965499999999998</c:v>
                </c:pt>
                <c:pt idx="1709">
                  <c:v>-3.7424300000000001</c:v>
                </c:pt>
                <c:pt idx="1710">
                  <c:v>-3.5470600000000001</c:v>
                </c:pt>
                <c:pt idx="1711">
                  <c:v>-4.6997099999999996</c:v>
                </c:pt>
                <c:pt idx="1712">
                  <c:v>-4.3074599999999998</c:v>
                </c:pt>
                <c:pt idx="1713">
                  <c:v>-4.45</c:v>
                </c:pt>
                <c:pt idx="1714">
                  <c:v>-4.0975599999999996</c:v>
                </c:pt>
                <c:pt idx="1715">
                  <c:v>-4.5419700000000001</c:v>
                </c:pt>
                <c:pt idx="1716">
                  <c:v>-4.4467299999999996</c:v>
                </c:pt>
                <c:pt idx="1717">
                  <c:v>-3.9841000000000002</c:v>
                </c:pt>
                <c:pt idx="1718">
                  <c:v>-3.6735000000000002</c:v>
                </c:pt>
                <c:pt idx="1719">
                  <c:v>-3.5353599999999998</c:v>
                </c:pt>
                <c:pt idx="1720">
                  <c:v>-3.7624599999999999</c:v>
                </c:pt>
                <c:pt idx="1721">
                  <c:v>-3.9109799999999999</c:v>
                </c:pt>
                <c:pt idx="1722">
                  <c:v>-4.1127099999999999</c:v>
                </c:pt>
                <c:pt idx="1723">
                  <c:v>-4.4742899999999999</c:v>
                </c:pt>
                <c:pt idx="1724">
                  <c:v>-4.0775699999999997</c:v>
                </c:pt>
                <c:pt idx="1725">
                  <c:v>-3.7622900000000001</c:v>
                </c:pt>
                <c:pt idx="1726">
                  <c:v>-3.35284</c:v>
                </c:pt>
                <c:pt idx="1727">
                  <c:v>-3.6804600000000001</c:v>
                </c:pt>
                <c:pt idx="1728">
                  <c:v>-4.3593400000000004</c:v>
                </c:pt>
                <c:pt idx="1729">
                  <c:v>-4.79291</c:v>
                </c:pt>
                <c:pt idx="1730">
                  <c:v>-5.19834</c:v>
                </c:pt>
                <c:pt idx="1731">
                  <c:v>-4.1288600000000004</c:v>
                </c:pt>
                <c:pt idx="1732">
                  <c:v>-4.2130599999999996</c:v>
                </c:pt>
                <c:pt idx="1733">
                  <c:v>-4.0011299999999999</c:v>
                </c:pt>
                <c:pt idx="1734">
                  <c:v>-4.5814899999999996</c:v>
                </c:pt>
                <c:pt idx="1735">
                  <c:v>-4.1933499999999997</c:v>
                </c:pt>
                <c:pt idx="1736">
                  <c:v>-4.1110600000000002</c:v>
                </c:pt>
                <c:pt idx="1737">
                  <c:v>-3.8969100000000001</c:v>
                </c:pt>
                <c:pt idx="1738">
                  <c:v>-3.8044099999999998</c:v>
                </c:pt>
                <c:pt idx="1739">
                  <c:v>-3.9718900000000001</c:v>
                </c:pt>
                <c:pt idx="1740">
                  <c:v>-4.1466799999999999</c:v>
                </c:pt>
                <c:pt idx="1741">
                  <c:v>-4.4271200000000004</c:v>
                </c:pt>
                <c:pt idx="1742">
                  <c:v>-4.3958300000000001</c:v>
                </c:pt>
                <c:pt idx="1743">
                  <c:v>-4.2553700000000001</c:v>
                </c:pt>
                <c:pt idx="1744">
                  <c:v>-4.4829699999999999</c:v>
                </c:pt>
                <c:pt idx="1745">
                  <c:v>-4.2178599999999999</c:v>
                </c:pt>
                <c:pt idx="1746">
                  <c:v>-5.0125000000000002</c:v>
                </c:pt>
                <c:pt idx="1747">
                  <c:v>-5.0135399999999999</c:v>
                </c:pt>
                <c:pt idx="1748">
                  <c:v>-3.4542199999999998</c:v>
                </c:pt>
                <c:pt idx="1749">
                  <c:v>-4.3992500000000003</c:v>
                </c:pt>
                <c:pt idx="1750">
                  <c:v>-3.9455800000000001</c:v>
                </c:pt>
                <c:pt idx="1751">
                  <c:v>-4.0647900000000003</c:v>
                </c:pt>
                <c:pt idx="1752">
                  <c:v>-4.45139</c:v>
                </c:pt>
                <c:pt idx="1753">
                  <c:v>-4.0204399999999998</c:v>
                </c:pt>
                <c:pt idx="1754">
                  <c:v>-4.1051500000000001</c:v>
                </c:pt>
                <c:pt idx="1755">
                  <c:v>-4.5652200000000001</c:v>
                </c:pt>
                <c:pt idx="1756">
                  <c:v>-4.3682699999999999</c:v>
                </c:pt>
                <c:pt idx="1757">
                  <c:v>-4.3976300000000004</c:v>
                </c:pt>
                <c:pt idx="1758">
                  <c:v>-5.0202400000000003</c:v>
                </c:pt>
                <c:pt idx="1759">
                  <c:v>-4.8387799999999999</c:v>
                </c:pt>
                <c:pt idx="1760">
                  <c:v>-5.1109</c:v>
                </c:pt>
                <c:pt idx="1761">
                  <c:v>-4.2039299999999997</c:v>
                </c:pt>
                <c:pt idx="1762">
                  <c:v>-4.5208500000000003</c:v>
                </c:pt>
                <c:pt idx="1763">
                  <c:v>-4.1021200000000002</c:v>
                </c:pt>
                <c:pt idx="1764">
                  <c:v>-3.8777400000000002</c:v>
                </c:pt>
                <c:pt idx="1765">
                  <c:v>-4.1733000000000002</c:v>
                </c:pt>
                <c:pt idx="1766">
                  <c:v>-4.1361100000000004</c:v>
                </c:pt>
                <c:pt idx="1767">
                  <c:v>-4.6080500000000004</c:v>
                </c:pt>
                <c:pt idx="1768">
                  <c:v>-4.5916899999999998</c:v>
                </c:pt>
                <c:pt idx="1769">
                  <c:v>-4.3639299999999999</c:v>
                </c:pt>
                <c:pt idx="1770">
                  <c:v>-3.5787900000000001</c:v>
                </c:pt>
                <c:pt idx="1771">
                  <c:v>-3.2715299999999998</c:v>
                </c:pt>
                <c:pt idx="1772">
                  <c:v>-3.7852299999999999</c:v>
                </c:pt>
                <c:pt idx="1773">
                  <c:v>-4.0219100000000001</c:v>
                </c:pt>
                <c:pt idx="1774">
                  <c:v>-5.2404700000000002</c:v>
                </c:pt>
                <c:pt idx="1775">
                  <c:v>-4.5777900000000002</c:v>
                </c:pt>
                <c:pt idx="1776">
                  <c:v>-4.8169199999999996</c:v>
                </c:pt>
                <c:pt idx="1777">
                  <c:v>-4.5644600000000004</c:v>
                </c:pt>
                <c:pt idx="1778">
                  <c:v>-4.1400699999999997</c:v>
                </c:pt>
                <c:pt idx="1779">
                  <c:v>-4.2705500000000001</c:v>
                </c:pt>
                <c:pt idx="1780">
                  <c:v>-4.2132899999999998</c:v>
                </c:pt>
                <c:pt idx="1781">
                  <c:v>-4.58643</c:v>
                </c:pt>
                <c:pt idx="1782">
                  <c:v>-3.9674399999999999</c:v>
                </c:pt>
                <c:pt idx="1783">
                  <c:v>-4.2082499999999996</c:v>
                </c:pt>
                <c:pt idx="1784">
                  <c:v>-4.72241</c:v>
                </c:pt>
                <c:pt idx="1785">
                  <c:v>-4.1548800000000004</c:v>
                </c:pt>
                <c:pt idx="1786">
                  <c:v>-4.4702099999999998</c:v>
                </c:pt>
                <c:pt idx="1787">
                  <c:v>-3.9325100000000002</c:v>
                </c:pt>
                <c:pt idx="1788">
                  <c:v>-4.9571699999999996</c:v>
                </c:pt>
                <c:pt idx="1789">
                  <c:v>-4.0476000000000001</c:v>
                </c:pt>
                <c:pt idx="1790">
                  <c:v>-4.3957899999999999</c:v>
                </c:pt>
                <c:pt idx="1791">
                  <c:v>-4.92563</c:v>
                </c:pt>
                <c:pt idx="1792">
                  <c:v>-3.4523700000000002</c:v>
                </c:pt>
                <c:pt idx="1793">
                  <c:v>-3.9963000000000002</c:v>
                </c:pt>
                <c:pt idx="1794">
                  <c:v>-3.84964</c:v>
                </c:pt>
                <c:pt idx="1795">
                  <c:v>-4.1721700000000004</c:v>
                </c:pt>
                <c:pt idx="1796">
                  <c:v>-4.5601500000000001</c:v>
                </c:pt>
                <c:pt idx="1797">
                  <c:v>-4.1160500000000004</c:v>
                </c:pt>
                <c:pt idx="1798">
                  <c:v>-4.0454800000000004</c:v>
                </c:pt>
                <c:pt idx="1799">
                  <c:v>-3.6838700000000002</c:v>
                </c:pt>
                <c:pt idx="1800">
                  <c:v>-3.52766</c:v>
                </c:pt>
                <c:pt idx="1801">
                  <c:v>-3.4555799999999999</c:v>
                </c:pt>
                <c:pt idx="1802">
                  <c:v>-4.1248300000000002</c:v>
                </c:pt>
                <c:pt idx="1803">
                  <c:v>-4.4939499999999999</c:v>
                </c:pt>
                <c:pt idx="1804">
                  <c:v>-4.0374699999999999</c:v>
                </c:pt>
                <c:pt idx="1805">
                  <c:v>-4.7945399999999996</c:v>
                </c:pt>
                <c:pt idx="1806">
                  <c:v>-4.6709800000000001</c:v>
                </c:pt>
                <c:pt idx="1807">
                  <c:v>-3.4777800000000001</c:v>
                </c:pt>
                <c:pt idx="1808">
                  <c:v>-3.3108900000000001</c:v>
                </c:pt>
                <c:pt idx="1809">
                  <c:v>-3.0694300000000001</c:v>
                </c:pt>
                <c:pt idx="1810">
                  <c:v>-4.3919800000000002</c:v>
                </c:pt>
                <c:pt idx="1811">
                  <c:v>-3.9994900000000002</c:v>
                </c:pt>
                <c:pt idx="1812">
                  <c:v>-4.5869999999999997</c:v>
                </c:pt>
                <c:pt idx="1813">
                  <c:v>-4.1775799999999998</c:v>
                </c:pt>
                <c:pt idx="1814">
                  <c:v>-3.6599900000000001</c:v>
                </c:pt>
                <c:pt idx="1815">
                  <c:v>-3.3508800000000001</c:v>
                </c:pt>
                <c:pt idx="1816">
                  <c:v>-3.4998800000000001</c:v>
                </c:pt>
                <c:pt idx="1817">
                  <c:v>-3.9017200000000001</c:v>
                </c:pt>
                <c:pt idx="1818">
                  <c:v>-4.2632300000000001</c:v>
                </c:pt>
                <c:pt idx="1819">
                  <c:v>-4.9477599999999997</c:v>
                </c:pt>
                <c:pt idx="1820">
                  <c:v>-4.5092699999999999</c:v>
                </c:pt>
                <c:pt idx="1821">
                  <c:v>-3.9638499999999999</c:v>
                </c:pt>
                <c:pt idx="1822">
                  <c:v>-3.82734</c:v>
                </c:pt>
                <c:pt idx="1823">
                  <c:v>-3.7567699999999999</c:v>
                </c:pt>
                <c:pt idx="1824">
                  <c:v>-3.9443199999999998</c:v>
                </c:pt>
                <c:pt idx="1825">
                  <c:v>-3.3216000000000001</c:v>
                </c:pt>
                <c:pt idx="1826">
                  <c:v>-3.6990099999999999</c:v>
                </c:pt>
                <c:pt idx="1827">
                  <c:v>-3.2168100000000002</c:v>
                </c:pt>
                <c:pt idx="1828">
                  <c:v>-3.7634799999999999</c:v>
                </c:pt>
                <c:pt idx="1829">
                  <c:v>-4.1582999999999997</c:v>
                </c:pt>
                <c:pt idx="1830">
                  <c:v>-3.8286600000000002</c:v>
                </c:pt>
                <c:pt idx="1831">
                  <c:v>-3.5846499999999999</c:v>
                </c:pt>
                <c:pt idx="1832">
                  <c:v>-3.2793100000000002</c:v>
                </c:pt>
                <c:pt idx="1833">
                  <c:v>-4.1531099999999999</c:v>
                </c:pt>
                <c:pt idx="1834">
                  <c:v>-3.91201</c:v>
                </c:pt>
                <c:pt idx="1835">
                  <c:v>-4.5250300000000001</c:v>
                </c:pt>
                <c:pt idx="1836">
                  <c:v>-4.1933100000000003</c:v>
                </c:pt>
                <c:pt idx="1837">
                  <c:v>-4.4741499999999998</c:v>
                </c:pt>
                <c:pt idx="1838">
                  <c:v>-4.0318300000000002</c:v>
                </c:pt>
                <c:pt idx="1839">
                  <c:v>-3.3831799999999999</c:v>
                </c:pt>
                <c:pt idx="1840">
                  <c:v>-3.7480600000000002</c:v>
                </c:pt>
                <c:pt idx="1841">
                  <c:v>-3.6767500000000002</c:v>
                </c:pt>
                <c:pt idx="1842">
                  <c:v>-3.5204599999999999</c:v>
                </c:pt>
                <c:pt idx="1843">
                  <c:v>-3.7826399999999998</c:v>
                </c:pt>
                <c:pt idx="1844">
                  <c:v>-3.3370000000000002</c:v>
                </c:pt>
                <c:pt idx="1845">
                  <c:v>-3.7299099999999998</c:v>
                </c:pt>
                <c:pt idx="1846">
                  <c:v>-4.0050800000000004</c:v>
                </c:pt>
                <c:pt idx="1847">
                  <c:v>-3.8951600000000002</c:v>
                </c:pt>
                <c:pt idx="1848">
                  <c:v>-3.7328999999999999</c:v>
                </c:pt>
                <c:pt idx="1849">
                  <c:v>-3.8433799999999998</c:v>
                </c:pt>
                <c:pt idx="1850">
                  <c:v>-4.1881700000000004</c:v>
                </c:pt>
                <c:pt idx="1851">
                  <c:v>-4.0939699999999997</c:v>
                </c:pt>
                <c:pt idx="1852">
                  <c:v>-4.4333400000000003</c:v>
                </c:pt>
                <c:pt idx="1853">
                  <c:v>-4.17225</c:v>
                </c:pt>
                <c:pt idx="1854">
                  <c:v>-3.57769</c:v>
                </c:pt>
                <c:pt idx="1855">
                  <c:v>-3.7313800000000001</c:v>
                </c:pt>
                <c:pt idx="1856">
                  <c:v>-3.4291</c:v>
                </c:pt>
                <c:pt idx="1857">
                  <c:v>-3.7117100000000001</c:v>
                </c:pt>
                <c:pt idx="1858">
                  <c:v>-3.8417500000000002</c:v>
                </c:pt>
                <c:pt idx="1859">
                  <c:v>-4.1531200000000004</c:v>
                </c:pt>
                <c:pt idx="1860">
                  <c:v>-3.65116</c:v>
                </c:pt>
                <c:pt idx="1861">
                  <c:v>-3.7127400000000002</c:v>
                </c:pt>
                <c:pt idx="1862">
                  <c:v>-2.8826200000000002</c:v>
                </c:pt>
                <c:pt idx="1863">
                  <c:v>-2.9907900000000001</c:v>
                </c:pt>
                <c:pt idx="1864">
                  <c:v>-4.0892900000000001</c:v>
                </c:pt>
                <c:pt idx="1865">
                  <c:v>-4.6065300000000002</c:v>
                </c:pt>
                <c:pt idx="1866">
                  <c:v>-4.5164</c:v>
                </c:pt>
                <c:pt idx="1867">
                  <c:v>-4.3867500000000001</c:v>
                </c:pt>
                <c:pt idx="1868">
                  <c:v>-3.5454500000000002</c:v>
                </c:pt>
                <c:pt idx="1869">
                  <c:v>-3.12025</c:v>
                </c:pt>
                <c:pt idx="1870">
                  <c:v>-3.3856199999999999</c:v>
                </c:pt>
                <c:pt idx="1871">
                  <c:v>-3.2962899999999999</c:v>
                </c:pt>
                <c:pt idx="1872">
                  <c:v>-4.0209799999999998</c:v>
                </c:pt>
                <c:pt idx="1873">
                  <c:v>-4.0545099999999996</c:v>
                </c:pt>
                <c:pt idx="1874">
                  <c:v>-3.6775899999999999</c:v>
                </c:pt>
                <c:pt idx="1875">
                  <c:v>-3.9581400000000002</c:v>
                </c:pt>
                <c:pt idx="1876">
                  <c:v>-2.9942500000000001</c:v>
                </c:pt>
                <c:pt idx="1877">
                  <c:v>-3.11063</c:v>
                </c:pt>
                <c:pt idx="1878">
                  <c:v>-3.39602</c:v>
                </c:pt>
                <c:pt idx="1879">
                  <c:v>-3.67598</c:v>
                </c:pt>
                <c:pt idx="1880">
                  <c:v>-3.7672500000000002</c:v>
                </c:pt>
                <c:pt idx="1881">
                  <c:v>-3.4566400000000002</c:v>
                </c:pt>
                <c:pt idx="1882">
                  <c:v>-4.15137</c:v>
                </c:pt>
                <c:pt idx="1883">
                  <c:v>-3.89032</c:v>
                </c:pt>
                <c:pt idx="1884">
                  <c:v>-4.1215999999999999</c:v>
                </c:pt>
                <c:pt idx="1885">
                  <c:v>-3.02712</c:v>
                </c:pt>
                <c:pt idx="1886">
                  <c:v>-3.01295</c:v>
                </c:pt>
                <c:pt idx="1887">
                  <c:v>-3.9458899999999999</c:v>
                </c:pt>
                <c:pt idx="1888">
                  <c:v>-3.3987799999999999</c:v>
                </c:pt>
                <c:pt idx="1889">
                  <c:v>-3.7187299999999999</c:v>
                </c:pt>
                <c:pt idx="1890">
                  <c:v>-3.4224700000000001</c:v>
                </c:pt>
                <c:pt idx="1891">
                  <c:v>-3.5480499999999999</c:v>
                </c:pt>
                <c:pt idx="1892">
                  <c:v>-3.3991500000000001</c:v>
                </c:pt>
                <c:pt idx="1893">
                  <c:v>-3.2018</c:v>
                </c:pt>
                <c:pt idx="1894">
                  <c:v>-3.6467000000000001</c:v>
                </c:pt>
                <c:pt idx="1895">
                  <c:v>-3.5565099999999998</c:v>
                </c:pt>
                <c:pt idx="1896">
                  <c:v>-3.74281</c:v>
                </c:pt>
                <c:pt idx="1897">
                  <c:v>-3.6285699999999999</c:v>
                </c:pt>
                <c:pt idx="1898">
                  <c:v>-3.27921</c:v>
                </c:pt>
                <c:pt idx="1899">
                  <c:v>-3.2637100000000001</c:v>
                </c:pt>
                <c:pt idx="1900">
                  <c:v>-3.8654299999999999</c:v>
                </c:pt>
                <c:pt idx="1901">
                  <c:v>-3.9095399999999998</c:v>
                </c:pt>
                <c:pt idx="1902">
                  <c:v>-3.3779499999999998</c:v>
                </c:pt>
                <c:pt idx="1903">
                  <c:v>-3.2540300000000002</c:v>
                </c:pt>
                <c:pt idx="1904">
                  <c:v>-3.1105800000000001</c:v>
                </c:pt>
                <c:pt idx="1905">
                  <c:v>-3.0634000000000001</c:v>
                </c:pt>
                <c:pt idx="1906">
                  <c:v>-3.4888300000000001</c:v>
                </c:pt>
                <c:pt idx="1907">
                  <c:v>-3.28755</c:v>
                </c:pt>
                <c:pt idx="1908">
                  <c:v>-3.2979400000000001</c:v>
                </c:pt>
                <c:pt idx="1909">
                  <c:v>-3.13469</c:v>
                </c:pt>
                <c:pt idx="1910">
                  <c:v>-3.4409399999999999</c:v>
                </c:pt>
                <c:pt idx="1911">
                  <c:v>-3.8608099999999999</c:v>
                </c:pt>
                <c:pt idx="1912">
                  <c:v>-3.8676699999999999</c:v>
                </c:pt>
                <c:pt idx="1913">
                  <c:v>-4.1954700000000003</c:v>
                </c:pt>
                <c:pt idx="1914">
                  <c:v>-3.8784000000000001</c:v>
                </c:pt>
                <c:pt idx="1915">
                  <c:v>-3.2514799999999999</c:v>
                </c:pt>
                <c:pt idx="1916">
                  <c:v>-2.6383000000000001</c:v>
                </c:pt>
                <c:pt idx="1917">
                  <c:v>-3.1856</c:v>
                </c:pt>
                <c:pt idx="1918">
                  <c:v>-3.6390400000000001</c:v>
                </c:pt>
                <c:pt idx="1919">
                  <c:v>-3.55463</c:v>
                </c:pt>
                <c:pt idx="1920">
                  <c:v>-3.8306900000000002</c:v>
                </c:pt>
                <c:pt idx="1921">
                  <c:v>-3.74892</c:v>
                </c:pt>
                <c:pt idx="1922">
                  <c:v>-3.46183</c:v>
                </c:pt>
                <c:pt idx="1923">
                  <c:v>-3.5769500000000001</c:v>
                </c:pt>
                <c:pt idx="1924">
                  <c:v>-3.5634100000000002</c:v>
                </c:pt>
                <c:pt idx="1925">
                  <c:v>-3.5980699999999999</c:v>
                </c:pt>
                <c:pt idx="1926">
                  <c:v>-3.63585</c:v>
                </c:pt>
                <c:pt idx="1927">
                  <c:v>-3.9508999999999999</c:v>
                </c:pt>
                <c:pt idx="1928">
                  <c:v>-4.5723099999999999</c:v>
                </c:pt>
                <c:pt idx="1929">
                  <c:v>-4.4118000000000004</c:v>
                </c:pt>
                <c:pt idx="1930">
                  <c:v>-4.0080499999999999</c:v>
                </c:pt>
                <c:pt idx="1931">
                  <c:v>-3.4177599999999999</c:v>
                </c:pt>
                <c:pt idx="1932">
                  <c:v>-3.4652500000000002</c:v>
                </c:pt>
                <c:pt idx="1933">
                  <c:v>-2.81338</c:v>
                </c:pt>
                <c:pt idx="1934">
                  <c:v>-3.2538999999999998</c:v>
                </c:pt>
                <c:pt idx="1935">
                  <c:v>-4.0652900000000001</c:v>
                </c:pt>
                <c:pt idx="1936">
                  <c:v>-3.7764600000000002</c:v>
                </c:pt>
                <c:pt idx="1937">
                  <c:v>-3.86476</c:v>
                </c:pt>
                <c:pt idx="1938">
                  <c:v>-3.4112100000000001</c:v>
                </c:pt>
                <c:pt idx="1939">
                  <c:v>-3.4541300000000001</c:v>
                </c:pt>
                <c:pt idx="1940">
                  <c:v>-3.17672</c:v>
                </c:pt>
                <c:pt idx="1941">
                  <c:v>-4.0037200000000004</c:v>
                </c:pt>
                <c:pt idx="1942">
                  <c:v>-4.0838700000000001</c:v>
                </c:pt>
                <c:pt idx="1943">
                  <c:v>-3.65855</c:v>
                </c:pt>
                <c:pt idx="1944">
                  <c:v>-4.2510000000000003</c:v>
                </c:pt>
                <c:pt idx="1945">
                  <c:v>-4.2172299999999998</c:v>
                </c:pt>
                <c:pt idx="1946">
                  <c:v>-4.0815799999999998</c:v>
                </c:pt>
                <c:pt idx="1947">
                  <c:v>-3.48197</c:v>
                </c:pt>
                <c:pt idx="1948">
                  <c:v>-3.6836600000000002</c:v>
                </c:pt>
                <c:pt idx="1949">
                  <c:v>-3.2179600000000002</c:v>
                </c:pt>
                <c:pt idx="1950">
                  <c:v>-3.3741599999999998</c:v>
                </c:pt>
                <c:pt idx="1951">
                  <c:v>-3.51634</c:v>
                </c:pt>
                <c:pt idx="1952">
                  <c:v>-3.0261900000000002</c:v>
                </c:pt>
                <c:pt idx="1953">
                  <c:v>-3.5982699999999999</c:v>
                </c:pt>
                <c:pt idx="1954">
                  <c:v>-3.2410600000000001</c:v>
                </c:pt>
                <c:pt idx="1955">
                  <c:v>-3.0625599999999999</c:v>
                </c:pt>
                <c:pt idx="1956">
                  <c:v>-3.0867800000000001</c:v>
                </c:pt>
                <c:pt idx="1957">
                  <c:v>-3.2874300000000001</c:v>
                </c:pt>
                <c:pt idx="1958">
                  <c:v>-4.2224599999999999</c:v>
                </c:pt>
                <c:pt idx="1959">
                  <c:v>-4.32003</c:v>
                </c:pt>
                <c:pt idx="1960">
                  <c:v>-4.1686199999999998</c:v>
                </c:pt>
                <c:pt idx="1961">
                  <c:v>-3.1063800000000001</c:v>
                </c:pt>
                <c:pt idx="1962">
                  <c:v>-3.4304299999999999</c:v>
                </c:pt>
                <c:pt idx="1963">
                  <c:v>-4.1110300000000004</c:v>
                </c:pt>
                <c:pt idx="1964">
                  <c:v>-4.2271400000000003</c:v>
                </c:pt>
                <c:pt idx="1965">
                  <c:v>-3.7641399999999998</c:v>
                </c:pt>
                <c:pt idx="1966">
                  <c:v>-3.2560899999999999</c:v>
                </c:pt>
                <c:pt idx="1967">
                  <c:v>-2.7017500000000001</c:v>
                </c:pt>
                <c:pt idx="1968">
                  <c:v>-2.9427099999999999</c:v>
                </c:pt>
                <c:pt idx="1969">
                  <c:v>-2.8437299999999999</c:v>
                </c:pt>
                <c:pt idx="1970">
                  <c:v>-3.3017500000000002</c:v>
                </c:pt>
                <c:pt idx="1971">
                  <c:v>-3.2325400000000002</c:v>
                </c:pt>
                <c:pt idx="1972">
                  <c:v>-3.9859300000000002</c:v>
                </c:pt>
                <c:pt idx="1973">
                  <c:v>-3.96048</c:v>
                </c:pt>
                <c:pt idx="1974">
                  <c:v>-3.3695499999999998</c:v>
                </c:pt>
                <c:pt idx="1975">
                  <c:v>-3.6205400000000001</c:v>
                </c:pt>
                <c:pt idx="1976">
                  <c:v>-3.8551600000000001</c:v>
                </c:pt>
                <c:pt idx="1977">
                  <c:v>-3.7295400000000001</c:v>
                </c:pt>
                <c:pt idx="1978">
                  <c:v>-2.8262100000000001</c:v>
                </c:pt>
                <c:pt idx="1979">
                  <c:v>-2.9419400000000002</c:v>
                </c:pt>
                <c:pt idx="1980">
                  <c:v>-2.62527</c:v>
                </c:pt>
                <c:pt idx="1981">
                  <c:v>-3.7170000000000001</c:v>
                </c:pt>
                <c:pt idx="1982">
                  <c:v>-3.4525299999999999</c:v>
                </c:pt>
                <c:pt idx="1983">
                  <c:v>-3.3553299999999999</c:v>
                </c:pt>
                <c:pt idx="1984">
                  <c:v>-3.1739700000000002</c:v>
                </c:pt>
                <c:pt idx="1985">
                  <c:v>-2.8712800000000001</c:v>
                </c:pt>
                <c:pt idx="1986">
                  <c:v>-3.0079899999999999</c:v>
                </c:pt>
                <c:pt idx="1987">
                  <c:v>-3.1495199999999999</c:v>
                </c:pt>
                <c:pt idx="1988">
                  <c:v>-3.0558700000000001</c:v>
                </c:pt>
                <c:pt idx="1989">
                  <c:v>-3.51864</c:v>
                </c:pt>
                <c:pt idx="1990">
                  <c:v>-3.5445199999999999</c:v>
                </c:pt>
                <c:pt idx="1991">
                  <c:v>-3.7021299999999999</c:v>
                </c:pt>
                <c:pt idx="1992">
                  <c:v>-3.5854900000000001</c:v>
                </c:pt>
                <c:pt idx="1993">
                  <c:v>-3.3928199999999999</c:v>
                </c:pt>
                <c:pt idx="1994">
                  <c:v>-3.3768699999999998</c:v>
                </c:pt>
                <c:pt idx="1995">
                  <c:v>-2.98943</c:v>
                </c:pt>
                <c:pt idx="1996">
                  <c:v>-2.6123699999999999</c:v>
                </c:pt>
                <c:pt idx="1997">
                  <c:v>-2.6399599999999999</c:v>
                </c:pt>
                <c:pt idx="1998">
                  <c:v>-3.51905</c:v>
                </c:pt>
                <c:pt idx="1999">
                  <c:v>-3.81901</c:v>
                </c:pt>
                <c:pt idx="2000">
                  <c:v>-3.5706899999999999</c:v>
                </c:pt>
                <c:pt idx="2001">
                  <c:v>-2.9435699999999998</c:v>
                </c:pt>
                <c:pt idx="2002">
                  <c:v>-3.0131700000000001</c:v>
                </c:pt>
                <c:pt idx="2003">
                  <c:v>-3.48217</c:v>
                </c:pt>
                <c:pt idx="2004">
                  <c:v>-3.63368</c:v>
                </c:pt>
                <c:pt idx="2005">
                  <c:v>-3.8790100000000001</c:v>
                </c:pt>
                <c:pt idx="2006">
                  <c:v>-3.2973599999999998</c:v>
                </c:pt>
                <c:pt idx="2007">
                  <c:v>-3.3493300000000001</c:v>
                </c:pt>
                <c:pt idx="2008">
                  <c:v>-3.3826299999999998</c:v>
                </c:pt>
                <c:pt idx="2009">
                  <c:v>-3.20505</c:v>
                </c:pt>
                <c:pt idx="2010">
                  <c:v>-3.1697299999999999</c:v>
                </c:pt>
                <c:pt idx="2011">
                  <c:v>-3.0396299999999998</c:v>
                </c:pt>
                <c:pt idx="2012">
                  <c:v>-3.3077800000000002</c:v>
                </c:pt>
                <c:pt idx="2013">
                  <c:v>-2.6467900000000002</c:v>
                </c:pt>
                <c:pt idx="2014">
                  <c:v>-2.9218799999999998</c:v>
                </c:pt>
                <c:pt idx="2015">
                  <c:v>-2.3393000000000002</c:v>
                </c:pt>
                <c:pt idx="2016">
                  <c:v>-2.7841399999999998</c:v>
                </c:pt>
                <c:pt idx="2017">
                  <c:v>-3.3261699999999998</c:v>
                </c:pt>
                <c:pt idx="2018">
                  <c:v>-3.7333799999999999</c:v>
                </c:pt>
                <c:pt idx="2019">
                  <c:v>-4.0180100000000003</c:v>
                </c:pt>
                <c:pt idx="2020">
                  <c:v>-3.6247799999999999</c:v>
                </c:pt>
                <c:pt idx="2021">
                  <c:v>-3.8868299999999998</c:v>
                </c:pt>
                <c:pt idx="2022">
                  <c:v>-3.5249999999999999</c:v>
                </c:pt>
                <c:pt idx="2023">
                  <c:v>-3.5419299999999998</c:v>
                </c:pt>
                <c:pt idx="2024">
                  <c:v>-3.2579899999999999</c:v>
                </c:pt>
                <c:pt idx="2025">
                  <c:v>-3.88855</c:v>
                </c:pt>
                <c:pt idx="2026">
                  <c:v>-2.9574600000000002</c:v>
                </c:pt>
                <c:pt idx="2027">
                  <c:v>-2.8407</c:v>
                </c:pt>
                <c:pt idx="2028">
                  <c:v>-2.8345099999999999</c:v>
                </c:pt>
                <c:pt idx="2029">
                  <c:v>-2.4905900000000001</c:v>
                </c:pt>
                <c:pt idx="2030">
                  <c:v>-2.12418</c:v>
                </c:pt>
                <c:pt idx="2031">
                  <c:v>-1.99962</c:v>
                </c:pt>
                <c:pt idx="2032">
                  <c:v>-2.68913</c:v>
                </c:pt>
                <c:pt idx="2033">
                  <c:v>-3.4591400000000001</c:v>
                </c:pt>
                <c:pt idx="2034">
                  <c:v>-3.4845000000000002</c:v>
                </c:pt>
                <c:pt idx="2035">
                  <c:v>-3.3109000000000002</c:v>
                </c:pt>
                <c:pt idx="2036">
                  <c:v>-2.3898299999999999</c:v>
                </c:pt>
                <c:pt idx="2037">
                  <c:v>-2.89961</c:v>
                </c:pt>
                <c:pt idx="2038">
                  <c:v>-3.3167</c:v>
                </c:pt>
                <c:pt idx="2039">
                  <c:v>-2.9070299999999998</c:v>
                </c:pt>
                <c:pt idx="2040">
                  <c:v>-2.9140299999999999</c:v>
                </c:pt>
                <c:pt idx="2041">
                  <c:v>-2.6672099999999999</c:v>
                </c:pt>
                <c:pt idx="2042">
                  <c:v>-3.7439800000000001</c:v>
                </c:pt>
                <c:pt idx="2043">
                  <c:v>-3.1785299999999999</c:v>
                </c:pt>
                <c:pt idx="2044">
                  <c:v>-3.45173</c:v>
                </c:pt>
                <c:pt idx="2045">
                  <c:v>-3.16588</c:v>
                </c:pt>
                <c:pt idx="2046">
                  <c:v>-2.5201899999999999</c:v>
                </c:pt>
                <c:pt idx="2047">
                  <c:v>-2.7538</c:v>
                </c:pt>
                <c:pt idx="2048">
                  <c:v>-2.0198800000000001</c:v>
                </c:pt>
                <c:pt idx="2049">
                  <c:v>-2.7911700000000002</c:v>
                </c:pt>
                <c:pt idx="2050">
                  <c:v>-3.36686</c:v>
                </c:pt>
                <c:pt idx="2051">
                  <c:v>-3.3541099999999999</c:v>
                </c:pt>
                <c:pt idx="2052">
                  <c:v>-3.78912</c:v>
                </c:pt>
                <c:pt idx="2053">
                  <c:v>-2.5369100000000002</c:v>
                </c:pt>
                <c:pt idx="2054">
                  <c:v>-2.5952500000000001</c:v>
                </c:pt>
                <c:pt idx="2055">
                  <c:v>-2.9134600000000002</c:v>
                </c:pt>
                <c:pt idx="2056">
                  <c:v>-3.4693999999999998</c:v>
                </c:pt>
                <c:pt idx="2057">
                  <c:v>-2.6601400000000002</c:v>
                </c:pt>
                <c:pt idx="2058">
                  <c:v>-2.4634100000000001</c:v>
                </c:pt>
                <c:pt idx="2059">
                  <c:v>-2.53104</c:v>
                </c:pt>
                <c:pt idx="2060">
                  <c:v>-2.60066</c:v>
                </c:pt>
                <c:pt idx="2061">
                  <c:v>-2.7856100000000001</c:v>
                </c:pt>
                <c:pt idx="2062">
                  <c:v>-3.20818</c:v>
                </c:pt>
                <c:pt idx="2063">
                  <c:v>-2.9276200000000001</c:v>
                </c:pt>
                <c:pt idx="2064">
                  <c:v>-2.9243700000000001</c:v>
                </c:pt>
                <c:pt idx="2065">
                  <c:v>-2.6411500000000001</c:v>
                </c:pt>
                <c:pt idx="2066">
                  <c:v>-2.8826700000000001</c:v>
                </c:pt>
                <c:pt idx="2067">
                  <c:v>-3.3932899999999999</c:v>
                </c:pt>
                <c:pt idx="2068">
                  <c:v>-3.3961100000000002</c:v>
                </c:pt>
                <c:pt idx="2069">
                  <c:v>-3.1838600000000001</c:v>
                </c:pt>
                <c:pt idx="2070">
                  <c:v>-3.3845399999999999</c:v>
                </c:pt>
                <c:pt idx="2071">
                  <c:v>-2.4676</c:v>
                </c:pt>
                <c:pt idx="2072">
                  <c:v>-2.2222900000000001</c:v>
                </c:pt>
                <c:pt idx="2073">
                  <c:v>-2.9691100000000001</c:v>
                </c:pt>
                <c:pt idx="2074">
                  <c:v>-2.5849700000000002</c:v>
                </c:pt>
                <c:pt idx="2075">
                  <c:v>-2.5178600000000002</c:v>
                </c:pt>
                <c:pt idx="2076">
                  <c:v>-2.3567</c:v>
                </c:pt>
                <c:pt idx="2077">
                  <c:v>-2.0581100000000001</c:v>
                </c:pt>
                <c:pt idx="2078">
                  <c:v>-2.6509399999999999</c:v>
                </c:pt>
                <c:pt idx="2079">
                  <c:v>-3.76525</c:v>
                </c:pt>
                <c:pt idx="2080">
                  <c:v>-3.9051399999999998</c:v>
                </c:pt>
                <c:pt idx="2081">
                  <c:v>-3.2181799999999998</c:v>
                </c:pt>
                <c:pt idx="2082">
                  <c:v>-3.1625700000000001</c:v>
                </c:pt>
                <c:pt idx="2083">
                  <c:v>-2.96862</c:v>
                </c:pt>
                <c:pt idx="2084">
                  <c:v>-2.7182300000000001</c:v>
                </c:pt>
                <c:pt idx="2085">
                  <c:v>-3.2539799999999999</c:v>
                </c:pt>
                <c:pt idx="2086">
                  <c:v>-2.7258200000000001</c:v>
                </c:pt>
                <c:pt idx="2087">
                  <c:v>-3.47045</c:v>
                </c:pt>
                <c:pt idx="2088">
                  <c:v>-3.2128800000000002</c:v>
                </c:pt>
                <c:pt idx="2089">
                  <c:v>-3.2424499999999998</c:v>
                </c:pt>
                <c:pt idx="2090">
                  <c:v>-2.8568799999999999</c:v>
                </c:pt>
                <c:pt idx="2091">
                  <c:v>-2.21509</c:v>
                </c:pt>
                <c:pt idx="2092">
                  <c:v>-1.9816400000000001</c:v>
                </c:pt>
                <c:pt idx="2093">
                  <c:v>-1.88639</c:v>
                </c:pt>
                <c:pt idx="2094">
                  <c:v>-2.1091600000000001</c:v>
                </c:pt>
                <c:pt idx="2095">
                  <c:v>-3.1432899999999999</c:v>
                </c:pt>
                <c:pt idx="2096">
                  <c:v>-3.1141800000000002</c:v>
                </c:pt>
                <c:pt idx="2097">
                  <c:v>-3.5731700000000002</c:v>
                </c:pt>
                <c:pt idx="2098">
                  <c:v>-4.0116699999999996</c:v>
                </c:pt>
                <c:pt idx="2099">
                  <c:v>-3.4537800000000001</c:v>
                </c:pt>
                <c:pt idx="2100">
                  <c:v>-2.6973600000000002</c:v>
                </c:pt>
                <c:pt idx="2101">
                  <c:v>-2.5462699999999998</c:v>
                </c:pt>
                <c:pt idx="2102">
                  <c:v>-2.64208</c:v>
                </c:pt>
                <c:pt idx="2103">
                  <c:v>-2.21197</c:v>
                </c:pt>
                <c:pt idx="2104">
                  <c:v>-3.3041399999999999</c:v>
                </c:pt>
                <c:pt idx="2105">
                  <c:v>-3.5679699999999999</c:v>
                </c:pt>
                <c:pt idx="2106">
                  <c:v>-4.1232899999999999</c:v>
                </c:pt>
                <c:pt idx="2107">
                  <c:v>-3.7791700000000001</c:v>
                </c:pt>
                <c:pt idx="2108">
                  <c:v>-3.0859999999999999</c:v>
                </c:pt>
                <c:pt idx="2109">
                  <c:v>-2.3864899999999998</c:v>
                </c:pt>
                <c:pt idx="2110">
                  <c:v>-2.00901</c:v>
                </c:pt>
                <c:pt idx="2111">
                  <c:v>-2.8175599999999998</c:v>
                </c:pt>
                <c:pt idx="2112">
                  <c:v>-2.79637</c:v>
                </c:pt>
                <c:pt idx="2113">
                  <c:v>-3.6871</c:v>
                </c:pt>
                <c:pt idx="2114">
                  <c:v>-3.00962</c:v>
                </c:pt>
                <c:pt idx="2115">
                  <c:v>-3.1744699999999999</c:v>
                </c:pt>
                <c:pt idx="2116">
                  <c:v>-2.95357</c:v>
                </c:pt>
                <c:pt idx="2117">
                  <c:v>-2.7753100000000002</c:v>
                </c:pt>
                <c:pt idx="2118">
                  <c:v>-2.5276700000000001</c:v>
                </c:pt>
                <c:pt idx="2119">
                  <c:v>-2.1078800000000002</c:v>
                </c:pt>
                <c:pt idx="2120">
                  <c:v>-2.5563099999999999</c:v>
                </c:pt>
                <c:pt idx="2121">
                  <c:v>-2.8376199999999998</c:v>
                </c:pt>
                <c:pt idx="2122">
                  <c:v>-2.7494499999999999</c:v>
                </c:pt>
                <c:pt idx="2123">
                  <c:v>-3.5504500000000001</c:v>
                </c:pt>
                <c:pt idx="2124">
                  <c:v>-3.2796400000000001</c:v>
                </c:pt>
                <c:pt idx="2125">
                  <c:v>-3.7794500000000002</c:v>
                </c:pt>
                <c:pt idx="2126">
                  <c:v>-3.32212</c:v>
                </c:pt>
                <c:pt idx="2127">
                  <c:v>-2.5680100000000001</c:v>
                </c:pt>
                <c:pt idx="2128">
                  <c:v>-2.3086700000000002</c:v>
                </c:pt>
                <c:pt idx="2129">
                  <c:v>-2.8765900000000002</c:v>
                </c:pt>
                <c:pt idx="2130">
                  <c:v>-2.7626900000000001</c:v>
                </c:pt>
                <c:pt idx="2131">
                  <c:v>-3.2117200000000001</c:v>
                </c:pt>
                <c:pt idx="2132">
                  <c:v>-2.88348</c:v>
                </c:pt>
                <c:pt idx="2133">
                  <c:v>-2.7631600000000001</c:v>
                </c:pt>
                <c:pt idx="2134">
                  <c:v>-2.6440000000000001</c:v>
                </c:pt>
                <c:pt idx="2135">
                  <c:v>-2.7486700000000002</c:v>
                </c:pt>
                <c:pt idx="2136">
                  <c:v>-1.87999</c:v>
                </c:pt>
                <c:pt idx="2137">
                  <c:v>-1.8771899999999999</c:v>
                </c:pt>
                <c:pt idx="2138">
                  <c:v>-1.7929600000000001</c:v>
                </c:pt>
                <c:pt idx="2139">
                  <c:v>-2.72899</c:v>
                </c:pt>
                <c:pt idx="2140">
                  <c:v>-3.6583999999999999</c:v>
                </c:pt>
                <c:pt idx="2141">
                  <c:v>-4.06074</c:v>
                </c:pt>
                <c:pt idx="2142">
                  <c:v>-3.5687899999999999</c:v>
                </c:pt>
                <c:pt idx="2143">
                  <c:v>-3.8893</c:v>
                </c:pt>
                <c:pt idx="2144">
                  <c:v>-2.1829100000000001</c:v>
                </c:pt>
                <c:pt idx="2145">
                  <c:v>-2.4529200000000002</c:v>
                </c:pt>
                <c:pt idx="2146">
                  <c:v>-2.5665800000000001</c:v>
                </c:pt>
                <c:pt idx="2147">
                  <c:v>-3.0781299999999998</c:v>
                </c:pt>
                <c:pt idx="2148">
                  <c:v>-3.0637799999999999</c:v>
                </c:pt>
                <c:pt idx="2149">
                  <c:v>-2.7516400000000001</c:v>
                </c:pt>
                <c:pt idx="2150">
                  <c:v>-2.9912100000000001</c:v>
                </c:pt>
                <c:pt idx="2151">
                  <c:v>-2.7570000000000001</c:v>
                </c:pt>
                <c:pt idx="2152">
                  <c:v>-2.38219</c:v>
                </c:pt>
                <c:pt idx="2153">
                  <c:v>-2.0750799999999998</c:v>
                </c:pt>
                <c:pt idx="2154">
                  <c:v>-2.2937599999999998</c:v>
                </c:pt>
                <c:pt idx="2155">
                  <c:v>-2.4335800000000001</c:v>
                </c:pt>
                <c:pt idx="2156">
                  <c:v>-2.97126</c:v>
                </c:pt>
                <c:pt idx="2157">
                  <c:v>-3.74431</c:v>
                </c:pt>
                <c:pt idx="2158">
                  <c:v>-3.1983000000000001</c:v>
                </c:pt>
                <c:pt idx="2159">
                  <c:v>-3.1011500000000001</c:v>
                </c:pt>
                <c:pt idx="2160">
                  <c:v>-2.6124499999999999</c:v>
                </c:pt>
                <c:pt idx="2161">
                  <c:v>-2.4707499999999998</c:v>
                </c:pt>
                <c:pt idx="2162">
                  <c:v>-2.1286999999999998</c:v>
                </c:pt>
                <c:pt idx="2163">
                  <c:v>-2.8270300000000002</c:v>
                </c:pt>
                <c:pt idx="2164">
                  <c:v>-2.5801500000000002</c:v>
                </c:pt>
                <c:pt idx="2165">
                  <c:v>-2.0788099999999998</c:v>
                </c:pt>
                <c:pt idx="2166">
                  <c:v>-2.9390000000000001</c:v>
                </c:pt>
                <c:pt idx="2167">
                  <c:v>-2.8355299999999999</c:v>
                </c:pt>
                <c:pt idx="2168">
                  <c:v>-3.4084099999999999</c:v>
                </c:pt>
                <c:pt idx="2169">
                  <c:v>-3.0055299999999998</c:v>
                </c:pt>
                <c:pt idx="2170">
                  <c:v>-2.98685</c:v>
                </c:pt>
                <c:pt idx="2171">
                  <c:v>-2.0571899999999999</c:v>
                </c:pt>
                <c:pt idx="2172">
                  <c:v>-2.38917</c:v>
                </c:pt>
                <c:pt idx="2173">
                  <c:v>-2.9919199999999999</c:v>
                </c:pt>
                <c:pt idx="2174">
                  <c:v>-3.25061</c:v>
                </c:pt>
                <c:pt idx="2175">
                  <c:v>-3.0459100000000001</c:v>
                </c:pt>
                <c:pt idx="2176">
                  <c:v>-3.0226500000000001</c:v>
                </c:pt>
                <c:pt idx="2177">
                  <c:v>-2.96617</c:v>
                </c:pt>
                <c:pt idx="2178">
                  <c:v>-2.3238799999999999</c:v>
                </c:pt>
                <c:pt idx="2179">
                  <c:v>-2.2273700000000001</c:v>
                </c:pt>
                <c:pt idx="2180">
                  <c:v>-2.67266</c:v>
                </c:pt>
                <c:pt idx="2181">
                  <c:v>-2.5216500000000002</c:v>
                </c:pt>
                <c:pt idx="2182">
                  <c:v>-2.7081900000000001</c:v>
                </c:pt>
                <c:pt idx="2183">
                  <c:v>-2.47444</c:v>
                </c:pt>
                <c:pt idx="2184">
                  <c:v>-3.1103399999999999</c:v>
                </c:pt>
                <c:pt idx="2185">
                  <c:v>-3.7265999999999999</c:v>
                </c:pt>
                <c:pt idx="2186">
                  <c:v>-3.57904</c:v>
                </c:pt>
                <c:pt idx="2187">
                  <c:v>-3.5991300000000002</c:v>
                </c:pt>
                <c:pt idx="2188">
                  <c:v>-2.5654300000000001</c:v>
                </c:pt>
                <c:pt idx="2189">
                  <c:v>-2.7239399999999998</c:v>
                </c:pt>
                <c:pt idx="2190">
                  <c:v>-2.5446800000000001</c:v>
                </c:pt>
                <c:pt idx="2191">
                  <c:v>-2.5945100000000001</c:v>
                </c:pt>
                <c:pt idx="2192">
                  <c:v>-3.3024</c:v>
                </c:pt>
                <c:pt idx="2193">
                  <c:v>-3.4116</c:v>
                </c:pt>
                <c:pt idx="2194">
                  <c:v>-3.5054400000000001</c:v>
                </c:pt>
                <c:pt idx="2195">
                  <c:v>-3.2313399999999999</c:v>
                </c:pt>
                <c:pt idx="2196">
                  <c:v>-2.5425300000000002</c:v>
                </c:pt>
                <c:pt idx="2197">
                  <c:v>-2.3826999999999998</c:v>
                </c:pt>
                <c:pt idx="2198">
                  <c:v>-1.8459700000000001</c:v>
                </c:pt>
                <c:pt idx="2199">
                  <c:v>-2.7276699999999998</c:v>
                </c:pt>
                <c:pt idx="2200">
                  <c:v>-3.12324</c:v>
                </c:pt>
                <c:pt idx="2201">
                  <c:v>-2.90015</c:v>
                </c:pt>
                <c:pt idx="2202">
                  <c:v>-2.9922499999999999</c:v>
                </c:pt>
                <c:pt idx="2203">
                  <c:v>-3.1487599999999998</c:v>
                </c:pt>
                <c:pt idx="2204">
                  <c:v>-3.6017199999999998</c:v>
                </c:pt>
                <c:pt idx="2205">
                  <c:v>-3.3420899999999998</c:v>
                </c:pt>
                <c:pt idx="2206">
                  <c:v>-2.1321599999999998</c:v>
                </c:pt>
                <c:pt idx="2207">
                  <c:v>-2.26776</c:v>
                </c:pt>
                <c:pt idx="2208">
                  <c:v>-1.9575199999999999</c:v>
                </c:pt>
                <c:pt idx="2209">
                  <c:v>-2.8519399999999999</c:v>
                </c:pt>
                <c:pt idx="2210">
                  <c:v>-3.3241299999999998</c:v>
                </c:pt>
                <c:pt idx="2211">
                  <c:v>-3.5758299999999998</c:v>
                </c:pt>
                <c:pt idx="2212">
                  <c:v>-3.0781100000000001</c:v>
                </c:pt>
                <c:pt idx="2213">
                  <c:v>-2.5077500000000001</c:v>
                </c:pt>
                <c:pt idx="2214">
                  <c:v>-2.3910800000000001</c:v>
                </c:pt>
                <c:pt idx="2215">
                  <c:v>-2.6455600000000001</c:v>
                </c:pt>
                <c:pt idx="2216">
                  <c:v>-2.6808100000000001</c:v>
                </c:pt>
                <c:pt idx="2217">
                  <c:v>-3.2185999999999999</c:v>
                </c:pt>
                <c:pt idx="2218">
                  <c:v>-3.1882000000000001</c:v>
                </c:pt>
                <c:pt idx="2219">
                  <c:v>-3.8535200000000001</c:v>
                </c:pt>
                <c:pt idx="2220">
                  <c:v>-3.1676000000000002</c:v>
                </c:pt>
                <c:pt idx="2221">
                  <c:v>-3.1021899999999998</c:v>
                </c:pt>
                <c:pt idx="2222">
                  <c:v>-3.59884</c:v>
                </c:pt>
                <c:pt idx="2223">
                  <c:v>-3.51444</c:v>
                </c:pt>
                <c:pt idx="2224">
                  <c:v>-3.1613899999999999</c:v>
                </c:pt>
                <c:pt idx="2225">
                  <c:v>-2.1334599999999999</c:v>
                </c:pt>
                <c:pt idx="2226">
                  <c:v>-2.1594699999999998</c:v>
                </c:pt>
                <c:pt idx="2227">
                  <c:v>-3.1204399999999999</c:v>
                </c:pt>
                <c:pt idx="2228">
                  <c:v>-3.2932199999999998</c:v>
                </c:pt>
                <c:pt idx="2229">
                  <c:v>-2.9312200000000002</c:v>
                </c:pt>
                <c:pt idx="2230">
                  <c:v>-2.6573500000000001</c:v>
                </c:pt>
                <c:pt idx="2231">
                  <c:v>-2.7623600000000001</c:v>
                </c:pt>
                <c:pt idx="2232">
                  <c:v>-2.8061099999999999</c:v>
                </c:pt>
                <c:pt idx="2233">
                  <c:v>-2.9994399999999999</c:v>
                </c:pt>
                <c:pt idx="2234">
                  <c:v>-3.3928699999999998</c:v>
                </c:pt>
                <c:pt idx="2235">
                  <c:v>-3.2445400000000002</c:v>
                </c:pt>
                <c:pt idx="2236">
                  <c:v>-3.0055700000000001</c:v>
                </c:pt>
                <c:pt idx="2237">
                  <c:v>-2.38958</c:v>
                </c:pt>
                <c:pt idx="2238">
                  <c:v>-3.2212399999999999</c:v>
                </c:pt>
                <c:pt idx="2239">
                  <c:v>-2.8696100000000002</c:v>
                </c:pt>
                <c:pt idx="2240">
                  <c:v>-3.7111299999999998</c:v>
                </c:pt>
                <c:pt idx="2241">
                  <c:v>-3.7553100000000001</c:v>
                </c:pt>
                <c:pt idx="2242">
                  <c:v>-2.7541500000000001</c:v>
                </c:pt>
                <c:pt idx="2243">
                  <c:v>-2.0867800000000001</c:v>
                </c:pt>
                <c:pt idx="2244">
                  <c:v>-2.72906</c:v>
                </c:pt>
                <c:pt idx="2245">
                  <c:v>-3.30769</c:v>
                </c:pt>
                <c:pt idx="2246">
                  <c:v>-3.19326</c:v>
                </c:pt>
                <c:pt idx="2247">
                  <c:v>-3.50366</c:v>
                </c:pt>
                <c:pt idx="2248">
                  <c:v>-3.8033399999999999</c:v>
                </c:pt>
                <c:pt idx="2249">
                  <c:v>-3.58866</c:v>
                </c:pt>
                <c:pt idx="2250">
                  <c:v>-3.2238199999999999</c:v>
                </c:pt>
                <c:pt idx="2251">
                  <c:v>-2.9373300000000002</c:v>
                </c:pt>
                <c:pt idx="2252">
                  <c:v>-2.2479300000000002</c:v>
                </c:pt>
                <c:pt idx="2253">
                  <c:v>-2.1841300000000001</c:v>
                </c:pt>
                <c:pt idx="2254">
                  <c:v>-2.5714199999999998</c:v>
                </c:pt>
                <c:pt idx="2255">
                  <c:v>-3.3833799999999998</c:v>
                </c:pt>
                <c:pt idx="2256">
                  <c:v>-3.50081</c:v>
                </c:pt>
                <c:pt idx="2257">
                  <c:v>-3.2012800000000001</c:v>
                </c:pt>
                <c:pt idx="2258">
                  <c:v>-2.5307300000000001</c:v>
                </c:pt>
                <c:pt idx="2259">
                  <c:v>-2.7151299999999998</c:v>
                </c:pt>
                <c:pt idx="2260">
                  <c:v>-2.9418199999999999</c:v>
                </c:pt>
                <c:pt idx="2261">
                  <c:v>-2.9906799999999998</c:v>
                </c:pt>
                <c:pt idx="2262">
                  <c:v>-3.31772</c:v>
                </c:pt>
                <c:pt idx="2263">
                  <c:v>-2.8743699999999999</c:v>
                </c:pt>
                <c:pt idx="2264">
                  <c:v>-3.8247</c:v>
                </c:pt>
                <c:pt idx="2265">
                  <c:v>-3.6545000000000001</c:v>
                </c:pt>
                <c:pt idx="2266">
                  <c:v>-3.5954799999999998</c:v>
                </c:pt>
                <c:pt idx="2267">
                  <c:v>-3.0799400000000001</c:v>
                </c:pt>
                <c:pt idx="2268">
                  <c:v>-2.8448699999999998</c:v>
                </c:pt>
                <c:pt idx="2269">
                  <c:v>-2.5457200000000002</c:v>
                </c:pt>
                <c:pt idx="2270">
                  <c:v>-2.4684699999999999</c:v>
                </c:pt>
                <c:pt idx="2271">
                  <c:v>-2.91675</c:v>
                </c:pt>
                <c:pt idx="2272">
                  <c:v>-3.4085899999999998</c:v>
                </c:pt>
                <c:pt idx="2273">
                  <c:v>-3.6656399999999998</c:v>
                </c:pt>
                <c:pt idx="2274">
                  <c:v>-3.0852300000000001</c:v>
                </c:pt>
                <c:pt idx="2275">
                  <c:v>-2.3375599999999999</c:v>
                </c:pt>
                <c:pt idx="2276">
                  <c:v>-2.8965200000000002</c:v>
                </c:pt>
                <c:pt idx="2277">
                  <c:v>-2.7347100000000002</c:v>
                </c:pt>
                <c:pt idx="2278">
                  <c:v>-3.65022</c:v>
                </c:pt>
                <c:pt idx="2279">
                  <c:v>-3.2623199999999999</c:v>
                </c:pt>
                <c:pt idx="2280">
                  <c:v>-2.95357</c:v>
                </c:pt>
                <c:pt idx="2281">
                  <c:v>-2.8517700000000001</c:v>
                </c:pt>
                <c:pt idx="2282">
                  <c:v>-2.8693499999999998</c:v>
                </c:pt>
                <c:pt idx="2283">
                  <c:v>-3.5219399999999998</c:v>
                </c:pt>
                <c:pt idx="2284">
                  <c:v>-2.9053800000000001</c:v>
                </c:pt>
                <c:pt idx="2285">
                  <c:v>-3.0135100000000001</c:v>
                </c:pt>
                <c:pt idx="2286">
                  <c:v>-2.4880599999999999</c:v>
                </c:pt>
                <c:pt idx="2287">
                  <c:v>-2.3601299999999998</c:v>
                </c:pt>
                <c:pt idx="2288">
                  <c:v>-2.5743800000000001</c:v>
                </c:pt>
                <c:pt idx="2289">
                  <c:v>-2.7856900000000002</c:v>
                </c:pt>
                <c:pt idx="2290">
                  <c:v>-2.8605200000000002</c:v>
                </c:pt>
                <c:pt idx="2291">
                  <c:v>-2.8038699999999999</c:v>
                </c:pt>
                <c:pt idx="2292">
                  <c:v>-3.0011800000000002</c:v>
                </c:pt>
                <c:pt idx="2293">
                  <c:v>-3.22458</c:v>
                </c:pt>
                <c:pt idx="2294">
                  <c:v>-3.07267</c:v>
                </c:pt>
                <c:pt idx="2295">
                  <c:v>-2.6902699999999999</c:v>
                </c:pt>
                <c:pt idx="2296">
                  <c:v>-3.3638400000000002</c:v>
                </c:pt>
                <c:pt idx="2297">
                  <c:v>-2.8435999999999999</c:v>
                </c:pt>
                <c:pt idx="2298">
                  <c:v>-1.8946799999999999</c:v>
                </c:pt>
                <c:pt idx="2299">
                  <c:v>-2.7372399999999999</c:v>
                </c:pt>
                <c:pt idx="2300">
                  <c:v>-2.9931999999999999</c:v>
                </c:pt>
                <c:pt idx="2301">
                  <c:v>-2.9228299999999998</c:v>
                </c:pt>
                <c:pt idx="2302">
                  <c:v>-2.67374</c:v>
                </c:pt>
                <c:pt idx="2303">
                  <c:v>-2.6099000000000001</c:v>
                </c:pt>
                <c:pt idx="2304">
                  <c:v>-2.3429799999999998</c:v>
                </c:pt>
                <c:pt idx="2305">
                  <c:v>-2.4855299999999998</c:v>
                </c:pt>
                <c:pt idx="2306">
                  <c:v>-2.60528</c:v>
                </c:pt>
                <c:pt idx="2307">
                  <c:v>-2.66594</c:v>
                </c:pt>
                <c:pt idx="2308">
                  <c:v>-3.8023199999999999</c:v>
                </c:pt>
                <c:pt idx="2309">
                  <c:v>-3.4842499999999998</c:v>
                </c:pt>
                <c:pt idx="2310">
                  <c:v>-3.2587899999999999</c:v>
                </c:pt>
                <c:pt idx="2311">
                  <c:v>-3.4983300000000002</c:v>
                </c:pt>
                <c:pt idx="2312">
                  <c:v>-2.7867799999999998</c:v>
                </c:pt>
                <c:pt idx="2313">
                  <c:v>-2.4071899999999999</c:v>
                </c:pt>
                <c:pt idx="2314">
                  <c:v>-2.0524499999999999</c:v>
                </c:pt>
                <c:pt idx="2315">
                  <c:v>-2.4807199999999998</c:v>
                </c:pt>
                <c:pt idx="2316">
                  <c:v>-3.33765</c:v>
                </c:pt>
                <c:pt idx="2317">
                  <c:v>-3.6975899999999999</c:v>
                </c:pt>
                <c:pt idx="2318">
                  <c:v>-3.7212900000000002</c:v>
                </c:pt>
                <c:pt idx="2319">
                  <c:v>-2.7073700000000001</c:v>
                </c:pt>
                <c:pt idx="2320">
                  <c:v>-2.7818900000000002</c:v>
                </c:pt>
                <c:pt idx="2321">
                  <c:v>-2.54975</c:v>
                </c:pt>
                <c:pt idx="2322">
                  <c:v>-3.5456300000000001</c:v>
                </c:pt>
                <c:pt idx="2323">
                  <c:v>-3.2266699999999999</c:v>
                </c:pt>
                <c:pt idx="2324">
                  <c:v>-3.56867</c:v>
                </c:pt>
                <c:pt idx="2325">
                  <c:v>-3.5848300000000002</c:v>
                </c:pt>
                <c:pt idx="2326">
                  <c:v>-3.44767</c:v>
                </c:pt>
                <c:pt idx="2327">
                  <c:v>-3.8203399999999998</c:v>
                </c:pt>
                <c:pt idx="2328">
                  <c:v>-2.7555399999999999</c:v>
                </c:pt>
                <c:pt idx="2329">
                  <c:v>-2.7898800000000001</c:v>
                </c:pt>
                <c:pt idx="2330">
                  <c:v>-2.4823599999999999</c:v>
                </c:pt>
                <c:pt idx="2331">
                  <c:v>-2.46244</c:v>
                </c:pt>
                <c:pt idx="2332">
                  <c:v>-2.5491899999999998</c:v>
                </c:pt>
                <c:pt idx="2333">
                  <c:v>-2.55796</c:v>
                </c:pt>
                <c:pt idx="2334">
                  <c:v>-2.75848</c:v>
                </c:pt>
                <c:pt idx="2335">
                  <c:v>-3.2201499999999998</c:v>
                </c:pt>
                <c:pt idx="2336">
                  <c:v>-2.5240499999999999</c:v>
                </c:pt>
                <c:pt idx="2337">
                  <c:v>-2.76139</c:v>
                </c:pt>
                <c:pt idx="2338">
                  <c:v>-2.5533100000000002</c:v>
                </c:pt>
                <c:pt idx="2339">
                  <c:v>-3.14852</c:v>
                </c:pt>
                <c:pt idx="2340">
                  <c:v>-2.78369</c:v>
                </c:pt>
                <c:pt idx="2341">
                  <c:v>-3.51335</c:v>
                </c:pt>
                <c:pt idx="2342">
                  <c:v>-2.71061</c:v>
                </c:pt>
                <c:pt idx="2343">
                  <c:v>-2.8474200000000001</c:v>
                </c:pt>
                <c:pt idx="2344">
                  <c:v>-2.7351999999999999</c:v>
                </c:pt>
                <c:pt idx="2345">
                  <c:v>-2.9463599999999999</c:v>
                </c:pt>
                <c:pt idx="2346">
                  <c:v>-3.28559</c:v>
                </c:pt>
                <c:pt idx="2347">
                  <c:v>-3.1892800000000001</c:v>
                </c:pt>
                <c:pt idx="2348">
                  <c:v>-3.0160100000000001</c:v>
                </c:pt>
                <c:pt idx="2349">
                  <c:v>-2.7181299999999999</c:v>
                </c:pt>
                <c:pt idx="2350">
                  <c:v>-2.31046</c:v>
                </c:pt>
                <c:pt idx="2351">
                  <c:v>-2.8338800000000002</c:v>
                </c:pt>
                <c:pt idx="2352">
                  <c:v>-3.0325600000000001</c:v>
                </c:pt>
                <c:pt idx="2353">
                  <c:v>-3.3956200000000001</c:v>
                </c:pt>
                <c:pt idx="2354">
                  <c:v>-3.7420300000000002</c:v>
                </c:pt>
                <c:pt idx="2355">
                  <c:v>-3.68676</c:v>
                </c:pt>
                <c:pt idx="2356">
                  <c:v>-3.3440799999999999</c:v>
                </c:pt>
                <c:pt idx="2357">
                  <c:v>-2.62107</c:v>
                </c:pt>
                <c:pt idx="2358">
                  <c:v>-2.47411</c:v>
                </c:pt>
                <c:pt idx="2359">
                  <c:v>-2.7021999999999999</c:v>
                </c:pt>
                <c:pt idx="2360">
                  <c:v>-2.3137799999999999</c:v>
                </c:pt>
                <c:pt idx="2361">
                  <c:v>-3.19292</c:v>
                </c:pt>
                <c:pt idx="2362">
                  <c:v>-3.0300799999999999</c:v>
                </c:pt>
                <c:pt idx="2363">
                  <c:v>-3.1182400000000001</c:v>
                </c:pt>
                <c:pt idx="2364">
                  <c:v>-2.8806500000000002</c:v>
                </c:pt>
                <c:pt idx="2365">
                  <c:v>-2.4055399999999998</c:v>
                </c:pt>
                <c:pt idx="2366">
                  <c:v>-2.8525800000000001</c:v>
                </c:pt>
                <c:pt idx="2367">
                  <c:v>-2.81101</c:v>
                </c:pt>
                <c:pt idx="2368">
                  <c:v>-3.0784699999999998</c:v>
                </c:pt>
                <c:pt idx="2369">
                  <c:v>-3.1818499999999998</c:v>
                </c:pt>
                <c:pt idx="2370">
                  <c:v>-3.23685</c:v>
                </c:pt>
                <c:pt idx="2371">
                  <c:v>-3.8177300000000001</c:v>
                </c:pt>
                <c:pt idx="2372">
                  <c:v>-3.6823999999999999</c:v>
                </c:pt>
                <c:pt idx="2373">
                  <c:v>-3.3536899999999998</c:v>
                </c:pt>
                <c:pt idx="2374">
                  <c:v>-2.1793300000000002</c:v>
                </c:pt>
                <c:pt idx="2375">
                  <c:v>-2.3752499999999999</c:v>
                </c:pt>
                <c:pt idx="2376">
                  <c:v>-3.0516700000000001</c:v>
                </c:pt>
                <c:pt idx="2377">
                  <c:v>-3.0441600000000002</c:v>
                </c:pt>
                <c:pt idx="2378">
                  <c:v>-2.7855699999999999</c:v>
                </c:pt>
                <c:pt idx="2379">
                  <c:v>-2.4334199999999999</c:v>
                </c:pt>
                <c:pt idx="2380">
                  <c:v>-2.4914800000000001</c:v>
                </c:pt>
                <c:pt idx="2381">
                  <c:v>-2.3074400000000002</c:v>
                </c:pt>
                <c:pt idx="2382">
                  <c:v>-2.6394799999999998</c:v>
                </c:pt>
                <c:pt idx="2383">
                  <c:v>-2.7223700000000002</c:v>
                </c:pt>
                <c:pt idx="2384">
                  <c:v>-3.2911600000000001</c:v>
                </c:pt>
                <c:pt idx="2385">
                  <c:v>-3.3329300000000002</c:v>
                </c:pt>
                <c:pt idx="2386">
                  <c:v>-3.5181800000000001</c:v>
                </c:pt>
                <c:pt idx="2387">
                  <c:v>-3.2074799999999999</c:v>
                </c:pt>
                <c:pt idx="2388">
                  <c:v>-3.2246999999999999</c:v>
                </c:pt>
                <c:pt idx="2389">
                  <c:v>-3.2815699999999999</c:v>
                </c:pt>
                <c:pt idx="2390">
                  <c:v>-3.26946</c:v>
                </c:pt>
                <c:pt idx="2391">
                  <c:v>-2.3823699999999999</c:v>
                </c:pt>
                <c:pt idx="2392">
                  <c:v>-2.8316599999999998</c:v>
                </c:pt>
                <c:pt idx="2393">
                  <c:v>-2.55985</c:v>
                </c:pt>
                <c:pt idx="2394">
                  <c:v>-2.7805399999999998</c:v>
                </c:pt>
                <c:pt idx="2395">
                  <c:v>-3.00881</c:v>
                </c:pt>
                <c:pt idx="2396">
                  <c:v>-3.1333299999999999</c:v>
                </c:pt>
                <c:pt idx="2397">
                  <c:v>-2.6347299999999998</c:v>
                </c:pt>
                <c:pt idx="2398">
                  <c:v>-2.61416</c:v>
                </c:pt>
                <c:pt idx="2399">
                  <c:v>-3.2437800000000001</c:v>
                </c:pt>
                <c:pt idx="2400">
                  <c:v>-3.6694</c:v>
                </c:pt>
                <c:pt idx="2401">
                  <c:v>-3.9422100000000002</c:v>
                </c:pt>
                <c:pt idx="2402">
                  <c:v>-3.7472599999999998</c:v>
                </c:pt>
                <c:pt idx="2403">
                  <c:v>-3.40517</c:v>
                </c:pt>
                <c:pt idx="2404">
                  <c:v>-2.8565499999999999</c:v>
                </c:pt>
                <c:pt idx="2405">
                  <c:v>-2.6840899999999999</c:v>
                </c:pt>
                <c:pt idx="2406">
                  <c:v>-3.1196299999999999</c:v>
                </c:pt>
                <c:pt idx="2407">
                  <c:v>-3.4776799999999999</c:v>
                </c:pt>
                <c:pt idx="2408">
                  <c:v>-3.6770200000000002</c:v>
                </c:pt>
                <c:pt idx="2409">
                  <c:v>-3.4313899999999999</c:v>
                </c:pt>
                <c:pt idx="2410">
                  <c:v>-2.8542999999999998</c:v>
                </c:pt>
                <c:pt idx="2411">
                  <c:v>-2.9412699999999998</c:v>
                </c:pt>
                <c:pt idx="2412">
                  <c:v>-2.6417999999999999</c:v>
                </c:pt>
                <c:pt idx="2413">
                  <c:v>-2.5459499999999999</c:v>
                </c:pt>
                <c:pt idx="2414">
                  <c:v>-2.5810900000000001</c:v>
                </c:pt>
                <c:pt idx="2415">
                  <c:v>-3.4155099999999998</c:v>
                </c:pt>
                <c:pt idx="2416">
                  <c:v>-3.9990600000000001</c:v>
                </c:pt>
                <c:pt idx="2417">
                  <c:v>-3.75745</c:v>
                </c:pt>
                <c:pt idx="2418">
                  <c:v>-3.3293699999999999</c:v>
                </c:pt>
                <c:pt idx="2419">
                  <c:v>-2.7524299999999999</c:v>
                </c:pt>
                <c:pt idx="2420">
                  <c:v>-2.8308900000000001</c:v>
                </c:pt>
                <c:pt idx="2421">
                  <c:v>-2.7150500000000002</c:v>
                </c:pt>
                <c:pt idx="2422">
                  <c:v>-3.5514600000000001</c:v>
                </c:pt>
                <c:pt idx="2423">
                  <c:v>-3.4892699999999999</c:v>
                </c:pt>
                <c:pt idx="2424">
                  <c:v>-2.86761</c:v>
                </c:pt>
                <c:pt idx="2425">
                  <c:v>-3.1511900000000002</c:v>
                </c:pt>
                <c:pt idx="2426">
                  <c:v>-2.5409700000000002</c:v>
                </c:pt>
                <c:pt idx="2427">
                  <c:v>-3.3361499999999999</c:v>
                </c:pt>
                <c:pt idx="2428">
                  <c:v>-3.1567500000000002</c:v>
                </c:pt>
                <c:pt idx="2429">
                  <c:v>-2.7200099999999998</c:v>
                </c:pt>
                <c:pt idx="2430">
                  <c:v>-3.5129299999999999</c:v>
                </c:pt>
                <c:pt idx="2431">
                  <c:v>-2.9550100000000001</c:v>
                </c:pt>
                <c:pt idx="2432">
                  <c:v>-3.5525000000000002</c:v>
                </c:pt>
                <c:pt idx="2433">
                  <c:v>-3.6082299999999998</c:v>
                </c:pt>
                <c:pt idx="2434">
                  <c:v>-3.92178</c:v>
                </c:pt>
                <c:pt idx="2435">
                  <c:v>-3.1272899999999999</c:v>
                </c:pt>
                <c:pt idx="2436">
                  <c:v>-2.9963199999999999</c:v>
                </c:pt>
                <c:pt idx="2437">
                  <c:v>-3.0066000000000002</c:v>
                </c:pt>
                <c:pt idx="2438">
                  <c:v>-2.5440800000000001</c:v>
                </c:pt>
                <c:pt idx="2439">
                  <c:v>-2.6110000000000002</c:v>
                </c:pt>
                <c:pt idx="2440">
                  <c:v>-2.92069</c:v>
                </c:pt>
                <c:pt idx="2441">
                  <c:v>-2.3595000000000002</c:v>
                </c:pt>
                <c:pt idx="2442">
                  <c:v>-2.9529800000000002</c:v>
                </c:pt>
                <c:pt idx="2443">
                  <c:v>-2.7514699999999999</c:v>
                </c:pt>
                <c:pt idx="2444">
                  <c:v>-3.0693999999999999</c:v>
                </c:pt>
                <c:pt idx="2445">
                  <c:v>-3.4268700000000001</c:v>
                </c:pt>
                <c:pt idx="2446">
                  <c:v>-3.5382799999999999</c:v>
                </c:pt>
                <c:pt idx="2447">
                  <c:v>-3.27136</c:v>
                </c:pt>
                <c:pt idx="2448">
                  <c:v>-2.8864999999999998</c:v>
                </c:pt>
                <c:pt idx="2449">
                  <c:v>-2.52908</c:v>
                </c:pt>
                <c:pt idx="2450">
                  <c:v>-3.2012499999999999</c:v>
                </c:pt>
                <c:pt idx="2451">
                  <c:v>-3.2479900000000002</c:v>
                </c:pt>
                <c:pt idx="2452">
                  <c:v>-3.1404899999999998</c:v>
                </c:pt>
                <c:pt idx="2453">
                  <c:v>-2.69733</c:v>
                </c:pt>
                <c:pt idx="2454">
                  <c:v>-3.04657</c:v>
                </c:pt>
                <c:pt idx="2455">
                  <c:v>-2.6379899999999998</c:v>
                </c:pt>
                <c:pt idx="2456">
                  <c:v>-2.9801700000000002</c:v>
                </c:pt>
                <c:pt idx="2457">
                  <c:v>-3.1533199999999999</c:v>
                </c:pt>
                <c:pt idx="2458">
                  <c:v>-2.9219900000000001</c:v>
                </c:pt>
                <c:pt idx="2459">
                  <c:v>-2.3673099999999998</c:v>
                </c:pt>
                <c:pt idx="2460">
                  <c:v>-2.58046</c:v>
                </c:pt>
                <c:pt idx="2461">
                  <c:v>-3.4655100000000001</c:v>
                </c:pt>
                <c:pt idx="2462">
                  <c:v>-3.6162899999999998</c:v>
                </c:pt>
                <c:pt idx="2463">
                  <c:v>-3.22966</c:v>
                </c:pt>
                <c:pt idx="2464">
                  <c:v>-3.6814900000000002</c:v>
                </c:pt>
                <c:pt idx="2465">
                  <c:v>-3.3544800000000001</c:v>
                </c:pt>
                <c:pt idx="2466">
                  <c:v>-3.09687</c:v>
                </c:pt>
                <c:pt idx="2467">
                  <c:v>-4.3677200000000003</c:v>
                </c:pt>
                <c:pt idx="2468">
                  <c:v>-3.7510599999999998</c:v>
                </c:pt>
                <c:pt idx="2469">
                  <c:v>-2.3095699999999999</c:v>
                </c:pt>
                <c:pt idx="2470">
                  <c:v>-2.5511499999999998</c:v>
                </c:pt>
                <c:pt idx="2471">
                  <c:v>-2.0254400000000001</c:v>
                </c:pt>
                <c:pt idx="2472">
                  <c:v>-2.5209999999999999</c:v>
                </c:pt>
                <c:pt idx="2473">
                  <c:v>-2.3892099999999998</c:v>
                </c:pt>
                <c:pt idx="2474">
                  <c:v>-2.1718799999999998</c:v>
                </c:pt>
                <c:pt idx="2475">
                  <c:v>-2.7917100000000001</c:v>
                </c:pt>
                <c:pt idx="2476">
                  <c:v>-2.9041000000000001</c:v>
                </c:pt>
                <c:pt idx="2477">
                  <c:v>-3.4510100000000001</c:v>
                </c:pt>
                <c:pt idx="2478">
                  <c:v>-3.3017099999999999</c:v>
                </c:pt>
                <c:pt idx="2479">
                  <c:v>-3.0501100000000001</c:v>
                </c:pt>
                <c:pt idx="2480">
                  <c:v>-2.69259</c:v>
                </c:pt>
                <c:pt idx="2481">
                  <c:v>-2.29169</c:v>
                </c:pt>
                <c:pt idx="2482">
                  <c:v>-3.0771600000000001</c:v>
                </c:pt>
                <c:pt idx="2483">
                  <c:v>-2.9456199999999999</c:v>
                </c:pt>
                <c:pt idx="2484">
                  <c:v>-3.6210399999999998</c:v>
                </c:pt>
                <c:pt idx="2485">
                  <c:v>-3.58643</c:v>
                </c:pt>
                <c:pt idx="2486">
                  <c:v>-2.67469</c:v>
                </c:pt>
                <c:pt idx="2487">
                  <c:v>-2.6844899999999998</c:v>
                </c:pt>
                <c:pt idx="2488">
                  <c:v>-2.8063699999999998</c:v>
                </c:pt>
                <c:pt idx="2489">
                  <c:v>-3.0352999999999999</c:v>
                </c:pt>
                <c:pt idx="2490">
                  <c:v>-2.7445599999999999</c:v>
                </c:pt>
                <c:pt idx="2491">
                  <c:v>-2.97906</c:v>
                </c:pt>
                <c:pt idx="2492">
                  <c:v>-2.8333599999999999</c:v>
                </c:pt>
                <c:pt idx="2493">
                  <c:v>-2.25522</c:v>
                </c:pt>
                <c:pt idx="2494">
                  <c:v>-3.2057000000000002</c:v>
                </c:pt>
                <c:pt idx="2495">
                  <c:v>-2.8292700000000002</c:v>
                </c:pt>
                <c:pt idx="2496">
                  <c:v>-2.7652999999999999</c:v>
                </c:pt>
                <c:pt idx="2497">
                  <c:v>-2.8084199999999999</c:v>
                </c:pt>
                <c:pt idx="2498">
                  <c:v>-2.7690700000000001</c:v>
                </c:pt>
                <c:pt idx="2499">
                  <c:v>-2.5991599999999999</c:v>
                </c:pt>
                <c:pt idx="2500">
                  <c:v>-3.1520199999999998</c:v>
                </c:pt>
                <c:pt idx="2501">
                  <c:v>-3.42171</c:v>
                </c:pt>
                <c:pt idx="2502">
                  <c:v>-3.1620300000000001</c:v>
                </c:pt>
                <c:pt idx="2503">
                  <c:v>-2.2898700000000001</c:v>
                </c:pt>
                <c:pt idx="2504">
                  <c:v>-2.00779</c:v>
                </c:pt>
                <c:pt idx="2505">
                  <c:v>-2.9443600000000001</c:v>
                </c:pt>
                <c:pt idx="2506">
                  <c:v>-2.7907099999999998</c:v>
                </c:pt>
                <c:pt idx="2507">
                  <c:v>-3.9766699999999999</c:v>
                </c:pt>
                <c:pt idx="2508">
                  <c:v>-4.1299900000000003</c:v>
                </c:pt>
                <c:pt idx="2509">
                  <c:v>-3.4136799999999998</c:v>
                </c:pt>
                <c:pt idx="2510">
                  <c:v>-2.7265299999999999</c:v>
                </c:pt>
                <c:pt idx="2511">
                  <c:v>-3.2389399999999999</c:v>
                </c:pt>
                <c:pt idx="2512">
                  <c:v>-3.6366900000000002</c:v>
                </c:pt>
                <c:pt idx="2513">
                  <c:v>-2.57742</c:v>
                </c:pt>
                <c:pt idx="2514">
                  <c:v>-3.1271599999999999</c:v>
                </c:pt>
                <c:pt idx="2515">
                  <c:v>-3.0003600000000001</c:v>
                </c:pt>
                <c:pt idx="2516">
                  <c:v>-2.05104</c:v>
                </c:pt>
                <c:pt idx="2517">
                  <c:v>-3.1084299999999998</c:v>
                </c:pt>
                <c:pt idx="2518">
                  <c:v>-2.4447700000000001</c:v>
                </c:pt>
                <c:pt idx="2519">
                  <c:v>-3.0493299999999999</c:v>
                </c:pt>
                <c:pt idx="2520">
                  <c:v>-2.5462799999999999</c:v>
                </c:pt>
                <c:pt idx="2521">
                  <c:v>-2.7795700000000001</c:v>
                </c:pt>
                <c:pt idx="2522">
                  <c:v>-2.8931800000000001</c:v>
                </c:pt>
                <c:pt idx="2523">
                  <c:v>-2.8089</c:v>
                </c:pt>
                <c:pt idx="2524">
                  <c:v>-3.6069399999999998</c:v>
                </c:pt>
                <c:pt idx="2525">
                  <c:v>-3.6722299999999999</c:v>
                </c:pt>
                <c:pt idx="2526">
                  <c:v>-3.6346500000000002</c:v>
                </c:pt>
                <c:pt idx="2527">
                  <c:v>-2.4088400000000001</c:v>
                </c:pt>
                <c:pt idx="2528">
                  <c:v>-2.48637</c:v>
                </c:pt>
                <c:pt idx="2529">
                  <c:v>-3.4784799999999998</c:v>
                </c:pt>
                <c:pt idx="2530">
                  <c:v>-2.6347200000000002</c:v>
                </c:pt>
                <c:pt idx="2531">
                  <c:v>-3.1418499999999998</c:v>
                </c:pt>
                <c:pt idx="2532">
                  <c:v>-2.6105299999999998</c:v>
                </c:pt>
                <c:pt idx="2533">
                  <c:v>-2.5243199999999999</c:v>
                </c:pt>
                <c:pt idx="2534">
                  <c:v>-2.5373999999999999</c:v>
                </c:pt>
                <c:pt idx="2535">
                  <c:v>-2.5105200000000001</c:v>
                </c:pt>
                <c:pt idx="2536">
                  <c:v>-2.82063</c:v>
                </c:pt>
                <c:pt idx="2537">
                  <c:v>-3.0762399999999999</c:v>
                </c:pt>
                <c:pt idx="2538">
                  <c:v>-3.08657</c:v>
                </c:pt>
                <c:pt idx="2539">
                  <c:v>-2.6450800000000001</c:v>
                </c:pt>
                <c:pt idx="2540">
                  <c:v>-3.4675500000000001</c:v>
                </c:pt>
                <c:pt idx="2541">
                  <c:v>-2.7727300000000001</c:v>
                </c:pt>
                <c:pt idx="2542">
                  <c:v>-3.2016900000000001</c:v>
                </c:pt>
                <c:pt idx="2543">
                  <c:v>-3.1956899999999999</c:v>
                </c:pt>
                <c:pt idx="2544">
                  <c:v>-3.3594499999999998</c:v>
                </c:pt>
                <c:pt idx="2545">
                  <c:v>-3.0813700000000002</c:v>
                </c:pt>
                <c:pt idx="2546">
                  <c:v>-2.15137</c:v>
                </c:pt>
                <c:pt idx="2547">
                  <c:v>-2.8573400000000002</c:v>
                </c:pt>
                <c:pt idx="2548">
                  <c:v>-2.43682</c:v>
                </c:pt>
                <c:pt idx="2549">
                  <c:v>-2.87967</c:v>
                </c:pt>
                <c:pt idx="2550">
                  <c:v>-2.7562000000000002</c:v>
                </c:pt>
                <c:pt idx="2551">
                  <c:v>-2.3280500000000002</c:v>
                </c:pt>
                <c:pt idx="2552">
                  <c:v>-2.8872399999999998</c:v>
                </c:pt>
                <c:pt idx="2553">
                  <c:v>-3.4304399999999999</c:v>
                </c:pt>
                <c:pt idx="2554">
                  <c:v>-3.6670099999999999</c:v>
                </c:pt>
                <c:pt idx="2555">
                  <c:v>-3.2494000000000001</c:v>
                </c:pt>
                <c:pt idx="2556">
                  <c:v>-3.5535100000000002</c:v>
                </c:pt>
                <c:pt idx="2557">
                  <c:v>-2.9433699999999998</c:v>
                </c:pt>
                <c:pt idx="2558">
                  <c:v>-2.3409499999999999</c:v>
                </c:pt>
                <c:pt idx="2559">
                  <c:v>-2.6896100000000001</c:v>
                </c:pt>
                <c:pt idx="2560">
                  <c:v>-3.3594200000000001</c:v>
                </c:pt>
                <c:pt idx="2561">
                  <c:v>-3.86768</c:v>
                </c:pt>
                <c:pt idx="2562">
                  <c:v>-3.1690800000000001</c:v>
                </c:pt>
                <c:pt idx="2563">
                  <c:v>-2.57009</c:v>
                </c:pt>
                <c:pt idx="2564">
                  <c:v>-2.36056</c:v>
                </c:pt>
                <c:pt idx="2565">
                  <c:v>-2.5358700000000001</c:v>
                </c:pt>
                <c:pt idx="2566">
                  <c:v>-2.80267</c:v>
                </c:pt>
                <c:pt idx="2567">
                  <c:v>-2.9708600000000001</c:v>
                </c:pt>
                <c:pt idx="2568">
                  <c:v>-3.3384299999999998</c:v>
                </c:pt>
                <c:pt idx="2569">
                  <c:v>-2.7495699999999998</c:v>
                </c:pt>
                <c:pt idx="2570">
                  <c:v>-3.2936399999999999</c:v>
                </c:pt>
                <c:pt idx="2571">
                  <c:v>-3.6868799999999999</c:v>
                </c:pt>
                <c:pt idx="2572">
                  <c:v>-3.0107300000000001</c:v>
                </c:pt>
                <c:pt idx="2573">
                  <c:v>-2.9584000000000001</c:v>
                </c:pt>
                <c:pt idx="2574">
                  <c:v>-2.9362300000000001</c:v>
                </c:pt>
                <c:pt idx="2575">
                  <c:v>-2.28776</c:v>
                </c:pt>
                <c:pt idx="2576">
                  <c:v>-2.6313200000000001</c:v>
                </c:pt>
                <c:pt idx="2577">
                  <c:v>-2.72864</c:v>
                </c:pt>
                <c:pt idx="2578">
                  <c:v>-3.4366400000000001</c:v>
                </c:pt>
                <c:pt idx="2579">
                  <c:v>-2.5970900000000001</c:v>
                </c:pt>
                <c:pt idx="2580">
                  <c:v>-2.9700799999999998</c:v>
                </c:pt>
                <c:pt idx="2581">
                  <c:v>-2.83731</c:v>
                </c:pt>
                <c:pt idx="2582">
                  <c:v>-2.5807500000000001</c:v>
                </c:pt>
                <c:pt idx="2583">
                  <c:v>-2.8837199999999998</c:v>
                </c:pt>
                <c:pt idx="2584">
                  <c:v>-2.8361200000000002</c:v>
                </c:pt>
                <c:pt idx="2585">
                  <c:v>-3.5783</c:v>
                </c:pt>
                <c:pt idx="2586">
                  <c:v>-3.7430599999999998</c:v>
                </c:pt>
                <c:pt idx="2587">
                  <c:v>-3.8073800000000002</c:v>
                </c:pt>
                <c:pt idx="2588">
                  <c:v>-3.0408200000000001</c:v>
                </c:pt>
                <c:pt idx="2589">
                  <c:v>-3.0759099999999999</c:v>
                </c:pt>
                <c:pt idx="2590">
                  <c:v>-3.17733</c:v>
                </c:pt>
                <c:pt idx="2591">
                  <c:v>-2.3711000000000002</c:v>
                </c:pt>
                <c:pt idx="2592">
                  <c:v>-2.8908999999999998</c:v>
                </c:pt>
                <c:pt idx="2593">
                  <c:v>-3.17014</c:v>
                </c:pt>
                <c:pt idx="2594">
                  <c:v>-2.6686299999999998</c:v>
                </c:pt>
                <c:pt idx="2595">
                  <c:v>-3.1827200000000002</c:v>
                </c:pt>
                <c:pt idx="2596">
                  <c:v>-2.7206600000000001</c:v>
                </c:pt>
                <c:pt idx="2597">
                  <c:v>-2.69339</c:v>
                </c:pt>
                <c:pt idx="2598">
                  <c:v>-2.9104800000000002</c:v>
                </c:pt>
                <c:pt idx="2599">
                  <c:v>-3.5456300000000001</c:v>
                </c:pt>
                <c:pt idx="2600">
                  <c:v>-4.1934199999999997</c:v>
                </c:pt>
                <c:pt idx="2601">
                  <c:v>-3.9008600000000002</c:v>
                </c:pt>
                <c:pt idx="2602">
                  <c:v>-3.28857</c:v>
                </c:pt>
                <c:pt idx="2603">
                  <c:v>-2.5939800000000002</c:v>
                </c:pt>
                <c:pt idx="2604">
                  <c:v>-2.8181099999999999</c:v>
                </c:pt>
                <c:pt idx="2605">
                  <c:v>-2.2112400000000001</c:v>
                </c:pt>
                <c:pt idx="2606">
                  <c:v>-2.1747100000000001</c:v>
                </c:pt>
                <c:pt idx="2607">
                  <c:v>-2.7141799999999998</c:v>
                </c:pt>
                <c:pt idx="2608">
                  <c:v>-2.8512</c:v>
                </c:pt>
                <c:pt idx="2609">
                  <c:v>-3.1470699999999998</c:v>
                </c:pt>
                <c:pt idx="2610">
                  <c:v>-2.9140799999999998</c:v>
                </c:pt>
                <c:pt idx="2611">
                  <c:v>-2.0989499999999999</c:v>
                </c:pt>
                <c:pt idx="2612">
                  <c:v>-2.2853400000000001</c:v>
                </c:pt>
                <c:pt idx="2613">
                  <c:v>-2.54142</c:v>
                </c:pt>
                <c:pt idx="2614">
                  <c:v>-3.1075300000000001</c:v>
                </c:pt>
                <c:pt idx="2615">
                  <c:v>-3.46272</c:v>
                </c:pt>
                <c:pt idx="2616">
                  <c:v>-3.8746299999999998</c:v>
                </c:pt>
                <c:pt idx="2617">
                  <c:v>-3.7740800000000001</c:v>
                </c:pt>
                <c:pt idx="2618">
                  <c:v>-3.1475399999999998</c:v>
                </c:pt>
                <c:pt idx="2619">
                  <c:v>-2.2299600000000002</c:v>
                </c:pt>
                <c:pt idx="2620">
                  <c:v>-2.5217399999999999</c:v>
                </c:pt>
                <c:pt idx="2621">
                  <c:v>-3.10155</c:v>
                </c:pt>
                <c:pt idx="2622">
                  <c:v>-2.9196800000000001</c:v>
                </c:pt>
                <c:pt idx="2623">
                  <c:v>-3.4407100000000002</c:v>
                </c:pt>
                <c:pt idx="2624">
                  <c:v>-3.0382600000000002</c:v>
                </c:pt>
                <c:pt idx="2625">
                  <c:v>-2.69164</c:v>
                </c:pt>
                <c:pt idx="2626">
                  <c:v>-2.5931099999999998</c:v>
                </c:pt>
                <c:pt idx="2627">
                  <c:v>-2.6034799999999998</c:v>
                </c:pt>
                <c:pt idx="2628">
                  <c:v>-2.5649500000000001</c:v>
                </c:pt>
                <c:pt idx="2629">
                  <c:v>-3.0730900000000001</c:v>
                </c:pt>
                <c:pt idx="2630">
                  <c:v>-3.4544999999999999</c:v>
                </c:pt>
                <c:pt idx="2631">
                  <c:v>-3.5759300000000001</c:v>
                </c:pt>
                <c:pt idx="2632">
                  <c:v>-3.5541700000000001</c:v>
                </c:pt>
                <c:pt idx="2633">
                  <c:v>-3.7992599999999999</c:v>
                </c:pt>
                <c:pt idx="2634">
                  <c:v>-2.6002299999999998</c:v>
                </c:pt>
                <c:pt idx="2635">
                  <c:v>-2.1170100000000001</c:v>
                </c:pt>
                <c:pt idx="2636">
                  <c:v>-2.3902399999999999</c:v>
                </c:pt>
                <c:pt idx="2637">
                  <c:v>-2.9494500000000001</c:v>
                </c:pt>
                <c:pt idx="2638">
                  <c:v>-3.2770999999999999</c:v>
                </c:pt>
                <c:pt idx="2639">
                  <c:v>-3.5860400000000001</c:v>
                </c:pt>
                <c:pt idx="2640">
                  <c:v>-3.2189299999999998</c:v>
                </c:pt>
                <c:pt idx="2641">
                  <c:v>-2.7810000000000001</c:v>
                </c:pt>
                <c:pt idx="2642">
                  <c:v>-2.3469099999999998</c:v>
                </c:pt>
                <c:pt idx="2643">
                  <c:v>-3.05315</c:v>
                </c:pt>
                <c:pt idx="2644">
                  <c:v>-3.2423099999999998</c:v>
                </c:pt>
                <c:pt idx="2645">
                  <c:v>-2.9584199999999998</c:v>
                </c:pt>
                <c:pt idx="2646">
                  <c:v>-3.1854499999999999</c:v>
                </c:pt>
                <c:pt idx="2647">
                  <c:v>-3.10032</c:v>
                </c:pt>
                <c:pt idx="2648">
                  <c:v>-3.3813200000000001</c:v>
                </c:pt>
                <c:pt idx="2649">
                  <c:v>-3.2689300000000001</c:v>
                </c:pt>
                <c:pt idx="2650">
                  <c:v>-3.1094400000000002</c:v>
                </c:pt>
                <c:pt idx="2651">
                  <c:v>-2.8349899999999999</c:v>
                </c:pt>
                <c:pt idx="2652">
                  <c:v>-2.37235</c:v>
                </c:pt>
                <c:pt idx="2653">
                  <c:v>-2.69156</c:v>
                </c:pt>
                <c:pt idx="2654">
                  <c:v>-2.2788599999999999</c:v>
                </c:pt>
                <c:pt idx="2655">
                  <c:v>-3.11619</c:v>
                </c:pt>
                <c:pt idx="2656">
                  <c:v>-2.93133</c:v>
                </c:pt>
                <c:pt idx="2657">
                  <c:v>-2.2710599999999999</c:v>
                </c:pt>
                <c:pt idx="2658">
                  <c:v>-2.8329800000000001</c:v>
                </c:pt>
                <c:pt idx="2659">
                  <c:v>-2.6583800000000002</c:v>
                </c:pt>
                <c:pt idx="2660">
                  <c:v>-3.4302000000000001</c:v>
                </c:pt>
                <c:pt idx="2661">
                  <c:v>-3.7062900000000001</c:v>
                </c:pt>
                <c:pt idx="2662">
                  <c:v>-3.1404000000000001</c:v>
                </c:pt>
                <c:pt idx="2663">
                  <c:v>-2.8384100000000001</c:v>
                </c:pt>
                <c:pt idx="2664">
                  <c:v>-3.2410299999999999</c:v>
                </c:pt>
                <c:pt idx="2665">
                  <c:v>-3.1086200000000002</c:v>
                </c:pt>
                <c:pt idx="2666">
                  <c:v>-3.3317899999999998</c:v>
                </c:pt>
                <c:pt idx="2667">
                  <c:v>-3.3477600000000001</c:v>
                </c:pt>
                <c:pt idx="2668">
                  <c:v>-3.23855</c:v>
                </c:pt>
                <c:pt idx="2669">
                  <c:v>-2.5045700000000002</c:v>
                </c:pt>
                <c:pt idx="2670">
                  <c:v>-2.8272400000000002</c:v>
                </c:pt>
                <c:pt idx="2671">
                  <c:v>-2.5594899999999998</c:v>
                </c:pt>
                <c:pt idx="2672">
                  <c:v>-3.17814</c:v>
                </c:pt>
                <c:pt idx="2673">
                  <c:v>-3.2057600000000002</c:v>
                </c:pt>
                <c:pt idx="2674">
                  <c:v>-3.4903499999999998</c:v>
                </c:pt>
                <c:pt idx="2675">
                  <c:v>-3.5721400000000001</c:v>
                </c:pt>
                <c:pt idx="2676">
                  <c:v>-3.4140100000000002</c:v>
                </c:pt>
                <c:pt idx="2677">
                  <c:v>-3.9725999999999999</c:v>
                </c:pt>
                <c:pt idx="2678">
                  <c:v>-3.4910700000000001</c:v>
                </c:pt>
                <c:pt idx="2679">
                  <c:v>-3.4195899999999999</c:v>
                </c:pt>
                <c:pt idx="2680">
                  <c:v>-2.1788799999999999</c:v>
                </c:pt>
                <c:pt idx="2681">
                  <c:v>-2.3024300000000002</c:v>
                </c:pt>
                <c:pt idx="2682">
                  <c:v>-2.7799100000000001</c:v>
                </c:pt>
                <c:pt idx="2683">
                  <c:v>-3.0355400000000001</c:v>
                </c:pt>
                <c:pt idx="2684">
                  <c:v>-3.5425300000000002</c:v>
                </c:pt>
                <c:pt idx="2685">
                  <c:v>-2.6967400000000001</c:v>
                </c:pt>
                <c:pt idx="2686">
                  <c:v>-2.1088</c:v>
                </c:pt>
                <c:pt idx="2687">
                  <c:v>-2.2858299999999998</c:v>
                </c:pt>
                <c:pt idx="2688">
                  <c:v>-2.6240700000000001</c:v>
                </c:pt>
                <c:pt idx="2689">
                  <c:v>-3.2205699999999999</c:v>
                </c:pt>
                <c:pt idx="2690">
                  <c:v>-3.8797700000000002</c:v>
                </c:pt>
                <c:pt idx="2691">
                  <c:v>-3.6697199999999999</c:v>
                </c:pt>
                <c:pt idx="2692">
                  <c:v>-2.8161100000000001</c:v>
                </c:pt>
                <c:pt idx="2693">
                  <c:v>-2.7176100000000001</c:v>
                </c:pt>
                <c:pt idx="2694">
                  <c:v>-3.0741299999999998</c:v>
                </c:pt>
                <c:pt idx="2695">
                  <c:v>-3.16092</c:v>
                </c:pt>
                <c:pt idx="2696">
                  <c:v>-2.6219299999999999</c:v>
                </c:pt>
                <c:pt idx="2697">
                  <c:v>-3.0219200000000002</c:v>
                </c:pt>
                <c:pt idx="2698">
                  <c:v>-2.54705</c:v>
                </c:pt>
                <c:pt idx="2699">
                  <c:v>-2.7294399999999999</c:v>
                </c:pt>
                <c:pt idx="2700">
                  <c:v>-2.9624899999999998</c:v>
                </c:pt>
                <c:pt idx="2701">
                  <c:v>-2.8220800000000001</c:v>
                </c:pt>
                <c:pt idx="2702">
                  <c:v>-2.5033300000000001</c:v>
                </c:pt>
                <c:pt idx="2703">
                  <c:v>-2.7500399999999998</c:v>
                </c:pt>
                <c:pt idx="2704">
                  <c:v>-2.8694700000000002</c:v>
                </c:pt>
                <c:pt idx="2705">
                  <c:v>-3.78084</c:v>
                </c:pt>
                <c:pt idx="2706">
                  <c:v>-3.5263900000000001</c:v>
                </c:pt>
                <c:pt idx="2707">
                  <c:v>-3.8083800000000001</c:v>
                </c:pt>
                <c:pt idx="2708">
                  <c:v>-3.5801400000000001</c:v>
                </c:pt>
                <c:pt idx="2709">
                  <c:v>-2.68912</c:v>
                </c:pt>
                <c:pt idx="2710">
                  <c:v>-3.0680200000000002</c:v>
                </c:pt>
                <c:pt idx="2711">
                  <c:v>-3.2187600000000001</c:v>
                </c:pt>
                <c:pt idx="2712">
                  <c:v>-3.0676600000000001</c:v>
                </c:pt>
                <c:pt idx="2713">
                  <c:v>-3.0142500000000001</c:v>
                </c:pt>
                <c:pt idx="2714">
                  <c:v>-2.35948</c:v>
                </c:pt>
                <c:pt idx="2715">
                  <c:v>-1.9169700000000001</c:v>
                </c:pt>
                <c:pt idx="2716">
                  <c:v>-2.9706100000000002</c:v>
                </c:pt>
                <c:pt idx="2717">
                  <c:v>-3.12792</c:v>
                </c:pt>
                <c:pt idx="2718">
                  <c:v>-3.0518900000000002</c:v>
                </c:pt>
                <c:pt idx="2719">
                  <c:v>-3.0924900000000002</c:v>
                </c:pt>
                <c:pt idx="2720">
                  <c:v>-3.6414599999999999</c:v>
                </c:pt>
                <c:pt idx="2721">
                  <c:v>-4.0589399999999998</c:v>
                </c:pt>
                <c:pt idx="2722">
                  <c:v>-3.9059300000000001</c:v>
                </c:pt>
                <c:pt idx="2723">
                  <c:v>-3.2275900000000002</c:v>
                </c:pt>
                <c:pt idx="2724">
                  <c:v>-2.8982299999999999</c:v>
                </c:pt>
                <c:pt idx="2725">
                  <c:v>-2.9288500000000002</c:v>
                </c:pt>
                <c:pt idx="2726">
                  <c:v>-2.48577</c:v>
                </c:pt>
                <c:pt idx="2727">
                  <c:v>-2.9788899999999998</c:v>
                </c:pt>
                <c:pt idx="2728">
                  <c:v>-3.4634999999999998</c:v>
                </c:pt>
                <c:pt idx="2729">
                  <c:v>-3.5878000000000001</c:v>
                </c:pt>
                <c:pt idx="2730">
                  <c:v>-3.2669100000000002</c:v>
                </c:pt>
                <c:pt idx="2731">
                  <c:v>-2.5764</c:v>
                </c:pt>
                <c:pt idx="2732">
                  <c:v>-2.6964700000000001</c:v>
                </c:pt>
                <c:pt idx="2733">
                  <c:v>-2.2775500000000002</c:v>
                </c:pt>
                <c:pt idx="2734">
                  <c:v>-3.0741499999999999</c:v>
                </c:pt>
                <c:pt idx="2735">
                  <c:v>-3.11287</c:v>
                </c:pt>
                <c:pt idx="2736">
                  <c:v>-4.0635500000000002</c:v>
                </c:pt>
                <c:pt idx="2737">
                  <c:v>-4.1778500000000003</c:v>
                </c:pt>
                <c:pt idx="2738">
                  <c:v>-3.2846500000000001</c:v>
                </c:pt>
                <c:pt idx="2739">
                  <c:v>-3.0108100000000002</c:v>
                </c:pt>
                <c:pt idx="2740">
                  <c:v>-2.63862</c:v>
                </c:pt>
                <c:pt idx="2741">
                  <c:v>-2.6972100000000001</c:v>
                </c:pt>
                <c:pt idx="2742">
                  <c:v>-2.7401</c:v>
                </c:pt>
                <c:pt idx="2743">
                  <c:v>-2.8177300000000001</c:v>
                </c:pt>
                <c:pt idx="2744">
                  <c:v>-2.9218799999999998</c:v>
                </c:pt>
                <c:pt idx="2745">
                  <c:v>-3.3125599999999999</c:v>
                </c:pt>
                <c:pt idx="2746">
                  <c:v>-2.5917500000000002</c:v>
                </c:pt>
                <c:pt idx="2747">
                  <c:v>-2.92794</c:v>
                </c:pt>
                <c:pt idx="2748">
                  <c:v>-2.6134300000000001</c:v>
                </c:pt>
                <c:pt idx="2749">
                  <c:v>-2.30118</c:v>
                </c:pt>
                <c:pt idx="2750">
                  <c:v>-3.5575700000000001</c:v>
                </c:pt>
                <c:pt idx="2751">
                  <c:v>-3.6441300000000001</c:v>
                </c:pt>
                <c:pt idx="2752">
                  <c:v>-3.84728</c:v>
                </c:pt>
                <c:pt idx="2753">
                  <c:v>-3.1414900000000001</c:v>
                </c:pt>
                <c:pt idx="2754">
                  <c:v>-3.27156</c:v>
                </c:pt>
                <c:pt idx="2755">
                  <c:v>-3.0862400000000001</c:v>
                </c:pt>
                <c:pt idx="2756">
                  <c:v>-2.3026800000000001</c:v>
                </c:pt>
                <c:pt idx="2757">
                  <c:v>-2.7443399999999998</c:v>
                </c:pt>
                <c:pt idx="2758">
                  <c:v>-3.0622600000000002</c:v>
                </c:pt>
                <c:pt idx="2759">
                  <c:v>-3.63123</c:v>
                </c:pt>
                <c:pt idx="2760">
                  <c:v>-3.21218</c:v>
                </c:pt>
                <c:pt idx="2761">
                  <c:v>-2.3817499999999998</c:v>
                </c:pt>
                <c:pt idx="2762">
                  <c:v>-2.4901300000000002</c:v>
                </c:pt>
                <c:pt idx="2763">
                  <c:v>-3.23455</c:v>
                </c:pt>
                <c:pt idx="2764">
                  <c:v>-3.5764</c:v>
                </c:pt>
                <c:pt idx="2765">
                  <c:v>-4.0920300000000003</c:v>
                </c:pt>
                <c:pt idx="2766">
                  <c:v>-3.5937600000000001</c:v>
                </c:pt>
                <c:pt idx="2767">
                  <c:v>-3.43384</c:v>
                </c:pt>
                <c:pt idx="2768">
                  <c:v>-2.3878599999999999</c:v>
                </c:pt>
                <c:pt idx="2769">
                  <c:v>-3.0402900000000002</c:v>
                </c:pt>
                <c:pt idx="2770">
                  <c:v>-3.5333600000000001</c:v>
                </c:pt>
                <c:pt idx="2771">
                  <c:v>-3.5815999999999999</c:v>
                </c:pt>
                <c:pt idx="2772">
                  <c:v>-3.2254399999999999</c:v>
                </c:pt>
                <c:pt idx="2773">
                  <c:v>-2.7426300000000001</c:v>
                </c:pt>
                <c:pt idx="2774">
                  <c:v>-2.2805599999999999</c:v>
                </c:pt>
                <c:pt idx="2775">
                  <c:v>-2.4361299999999999</c:v>
                </c:pt>
                <c:pt idx="2776">
                  <c:v>-2.8964500000000002</c:v>
                </c:pt>
                <c:pt idx="2777">
                  <c:v>-3.1519900000000001</c:v>
                </c:pt>
                <c:pt idx="2778">
                  <c:v>-2.9131900000000002</c:v>
                </c:pt>
                <c:pt idx="2779">
                  <c:v>-2.9766599999999999</c:v>
                </c:pt>
                <c:pt idx="2780">
                  <c:v>-3.1608000000000001</c:v>
                </c:pt>
                <c:pt idx="2781">
                  <c:v>-3.4601799999999998</c:v>
                </c:pt>
                <c:pt idx="2782">
                  <c:v>-3.9633099999999999</c:v>
                </c:pt>
                <c:pt idx="2783">
                  <c:v>-3.6040800000000002</c:v>
                </c:pt>
                <c:pt idx="2784">
                  <c:v>-3.4887999999999999</c:v>
                </c:pt>
                <c:pt idx="2785">
                  <c:v>-2.2378800000000001</c:v>
                </c:pt>
                <c:pt idx="2786">
                  <c:v>-2.5645799999999999</c:v>
                </c:pt>
                <c:pt idx="2787">
                  <c:v>-2.3359800000000002</c:v>
                </c:pt>
                <c:pt idx="2788">
                  <c:v>-3.2020900000000001</c:v>
                </c:pt>
                <c:pt idx="2789">
                  <c:v>-3.4192100000000001</c:v>
                </c:pt>
                <c:pt idx="2790">
                  <c:v>-3.3803700000000001</c:v>
                </c:pt>
                <c:pt idx="2791">
                  <c:v>-2.6209899999999999</c:v>
                </c:pt>
                <c:pt idx="2792">
                  <c:v>-2.3352300000000001</c:v>
                </c:pt>
                <c:pt idx="2793">
                  <c:v>-2.3129499999999998</c:v>
                </c:pt>
                <c:pt idx="2794">
                  <c:v>-3.0047899999999998</c:v>
                </c:pt>
                <c:pt idx="2795">
                  <c:v>-2.5303900000000001</c:v>
                </c:pt>
                <c:pt idx="2796">
                  <c:v>-1.3968799999999999</c:v>
                </c:pt>
                <c:pt idx="2797">
                  <c:v>-0.19200999999999999</c:v>
                </c:pt>
                <c:pt idx="2798">
                  <c:v>2.8093900000000001</c:v>
                </c:pt>
                <c:pt idx="2799">
                  <c:v>5.5288500000000003</c:v>
                </c:pt>
                <c:pt idx="2800">
                  <c:v>7.1476499999999996</c:v>
                </c:pt>
                <c:pt idx="2801">
                  <c:v>8.1894799999999996</c:v>
                </c:pt>
                <c:pt idx="2802">
                  <c:v>10.3757</c:v>
                </c:pt>
                <c:pt idx="2803">
                  <c:v>11.6242</c:v>
                </c:pt>
                <c:pt idx="2804">
                  <c:v>12.739800000000001</c:v>
                </c:pt>
                <c:pt idx="2805">
                  <c:v>13.072800000000001</c:v>
                </c:pt>
                <c:pt idx="2806">
                  <c:v>14.082100000000001</c:v>
                </c:pt>
                <c:pt idx="2807">
                  <c:v>14.6251</c:v>
                </c:pt>
                <c:pt idx="2808">
                  <c:v>14.389099999999999</c:v>
                </c:pt>
                <c:pt idx="2809">
                  <c:v>15.116099999999999</c:v>
                </c:pt>
                <c:pt idx="2810">
                  <c:v>14.8986</c:v>
                </c:pt>
                <c:pt idx="2811">
                  <c:v>0.265046</c:v>
                </c:pt>
                <c:pt idx="2812">
                  <c:v>0.35476000000000002</c:v>
                </c:pt>
                <c:pt idx="2813">
                  <c:v>0.33519700000000002</c:v>
                </c:pt>
                <c:pt idx="2814">
                  <c:v>0.43043799999999999</c:v>
                </c:pt>
                <c:pt idx="2815">
                  <c:v>0.47516999999999998</c:v>
                </c:pt>
                <c:pt idx="2816">
                  <c:v>0.44608999999999999</c:v>
                </c:pt>
                <c:pt idx="2817">
                  <c:v>0.50504899999999997</c:v>
                </c:pt>
                <c:pt idx="2818">
                  <c:v>0.57799999999999996</c:v>
                </c:pt>
                <c:pt idx="2819">
                  <c:v>0.52049500000000004</c:v>
                </c:pt>
                <c:pt idx="2820">
                  <c:v>1.3428199999999999</c:v>
                </c:pt>
                <c:pt idx="2821">
                  <c:v>2.0747300000000002</c:v>
                </c:pt>
                <c:pt idx="2822">
                  <c:v>2.6434099999999998</c:v>
                </c:pt>
                <c:pt idx="2823">
                  <c:v>3.4845100000000002</c:v>
                </c:pt>
                <c:pt idx="2824">
                  <c:v>5.4524800000000004</c:v>
                </c:pt>
                <c:pt idx="2825">
                  <c:v>6.6020200000000004</c:v>
                </c:pt>
                <c:pt idx="2826">
                  <c:v>7.9096799999999998</c:v>
                </c:pt>
                <c:pt idx="2827">
                  <c:v>9.4460899999999999</c:v>
                </c:pt>
                <c:pt idx="2828">
                  <c:v>10.535399999999999</c:v>
                </c:pt>
                <c:pt idx="2829">
                  <c:v>13.853899999999999</c:v>
                </c:pt>
                <c:pt idx="2830">
                  <c:v>15.5275</c:v>
                </c:pt>
                <c:pt idx="2831">
                  <c:v>16.139600000000002</c:v>
                </c:pt>
                <c:pt idx="2832">
                  <c:v>17.380099999999999</c:v>
                </c:pt>
                <c:pt idx="2833">
                  <c:v>18.6555</c:v>
                </c:pt>
                <c:pt idx="2834">
                  <c:v>17.732700000000001</c:v>
                </c:pt>
                <c:pt idx="2835">
                  <c:v>19.415700000000001</c:v>
                </c:pt>
                <c:pt idx="2836">
                  <c:v>18.673999999999999</c:v>
                </c:pt>
                <c:pt idx="2837">
                  <c:v>19.152200000000001</c:v>
                </c:pt>
                <c:pt idx="2838">
                  <c:v>19.1844</c:v>
                </c:pt>
                <c:pt idx="2839">
                  <c:v>18.580200000000001</c:v>
                </c:pt>
                <c:pt idx="2840">
                  <c:v>18.522400000000001</c:v>
                </c:pt>
                <c:pt idx="2841">
                  <c:v>17.432600000000001</c:v>
                </c:pt>
                <c:pt idx="2842">
                  <c:v>17.5945</c:v>
                </c:pt>
                <c:pt idx="2843">
                  <c:v>17.0181</c:v>
                </c:pt>
                <c:pt idx="2844">
                  <c:v>17.034300000000002</c:v>
                </c:pt>
                <c:pt idx="2845">
                  <c:v>15.388199999999999</c:v>
                </c:pt>
                <c:pt idx="2846">
                  <c:v>14.141400000000001</c:v>
                </c:pt>
                <c:pt idx="2847">
                  <c:v>13.0799</c:v>
                </c:pt>
                <c:pt idx="2848">
                  <c:v>10.8551</c:v>
                </c:pt>
                <c:pt idx="2849">
                  <c:v>9.2533700000000003</c:v>
                </c:pt>
                <c:pt idx="2850">
                  <c:v>8.0912000000000006</c:v>
                </c:pt>
                <c:pt idx="2851">
                  <c:v>7.4391100000000003</c:v>
                </c:pt>
                <c:pt idx="2852">
                  <c:v>5.9935799999999997</c:v>
                </c:pt>
                <c:pt idx="2853">
                  <c:v>5.5191299999999996</c:v>
                </c:pt>
                <c:pt idx="2854">
                  <c:v>4.0323399999999996</c:v>
                </c:pt>
                <c:pt idx="2855">
                  <c:v>2.9102899999999998</c:v>
                </c:pt>
                <c:pt idx="2856">
                  <c:v>2.89575</c:v>
                </c:pt>
                <c:pt idx="2857">
                  <c:v>2.1220699999999999</c:v>
                </c:pt>
                <c:pt idx="2858">
                  <c:v>1.79101</c:v>
                </c:pt>
                <c:pt idx="2859">
                  <c:v>1.2734700000000001</c:v>
                </c:pt>
                <c:pt idx="2860">
                  <c:v>1.9660599999999999</c:v>
                </c:pt>
                <c:pt idx="2861">
                  <c:v>2.3514599999999999</c:v>
                </c:pt>
                <c:pt idx="2862">
                  <c:v>2.7254499999999999</c:v>
                </c:pt>
                <c:pt idx="2863">
                  <c:v>3.4102800000000002</c:v>
                </c:pt>
                <c:pt idx="2864">
                  <c:v>3.5828600000000002</c:v>
                </c:pt>
                <c:pt idx="2865">
                  <c:v>3.82246</c:v>
                </c:pt>
                <c:pt idx="2866">
                  <c:v>3.4343300000000001</c:v>
                </c:pt>
                <c:pt idx="2867">
                  <c:v>3.6300699999999999</c:v>
                </c:pt>
                <c:pt idx="2868">
                  <c:v>3.8012199999999998</c:v>
                </c:pt>
                <c:pt idx="2869">
                  <c:v>3.8435700000000002</c:v>
                </c:pt>
                <c:pt idx="2870">
                  <c:v>3.6697799999999998</c:v>
                </c:pt>
                <c:pt idx="2871">
                  <c:v>3.2541600000000002</c:v>
                </c:pt>
                <c:pt idx="2872">
                  <c:v>4.0803500000000001</c:v>
                </c:pt>
                <c:pt idx="2873">
                  <c:v>3.1444399999999999</c:v>
                </c:pt>
                <c:pt idx="2874">
                  <c:v>3.73956</c:v>
                </c:pt>
                <c:pt idx="2875">
                  <c:v>2.9080900000000001</c:v>
                </c:pt>
                <c:pt idx="2876">
                  <c:v>2.8355299999999999</c:v>
                </c:pt>
                <c:pt idx="2877">
                  <c:v>2.56698</c:v>
                </c:pt>
                <c:pt idx="2878">
                  <c:v>2.28715</c:v>
                </c:pt>
                <c:pt idx="2879">
                  <c:v>2.3848199999999999</c:v>
                </c:pt>
                <c:pt idx="2880">
                  <c:v>2.1083699999999999</c:v>
                </c:pt>
                <c:pt idx="2881">
                  <c:v>3.4525100000000002</c:v>
                </c:pt>
                <c:pt idx="2882">
                  <c:v>3.53355</c:v>
                </c:pt>
                <c:pt idx="2883">
                  <c:v>4.35541</c:v>
                </c:pt>
                <c:pt idx="2884">
                  <c:v>3.5348799999999998</c:v>
                </c:pt>
                <c:pt idx="2885">
                  <c:v>3.214</c:v>
                </c:pt>
                <c:pt idx="2886">
                  <c:v>3.2787099999999998</c:v>
                </c:pt>
                <c:pt idx="2887">
                  <c:v>2.71462</c:v>
                </c:pt>
                <c:pt idx="2888">
                  <c:v>3.3474900000000001</c:v>
                </c:pt>
                <c:pt idx="2889">
                  <c:v>3.05585</c:v>
                </c:pt>
                <c:pt idx="2890">
                  <c:v>2.74796</c:v>
                </c:pt>
                <c:pt idx="2891">
                  <c:v>2.6884700000000001</c:v>
                </c:pt>
                <c:pt idx="2892">
                  <c:v>3.2636799999999999</c:v>
                </c:pt>
                <c:pt idx="2893">
                  <c:v>3.0843799999999999</c:v>
                </c:pt>
                <c:pt idx="2894">
                  <c:v>2.6862599999999999</c:v>
                </c:pt>
                <c:pt idx="2895">
                  <c:v>2.9916200000000002</c:v>
                </c:pt>
                <c:pt idx="2896">
                  <c:v>2.7336499999999999</c:v>
                </c:pt>
                <c:pt idx="2897">
                  <c:v>3.0736400000000001</c:v>
                </c:pt>
                <c:pt idx="2898">
                  <c:v>3.73184</c:v>
                </c:pt>
                <c:pt idx="2899">
                  <c:v>2.8868200000000002</c:v>
                </c:pt>
                <c:pt idx="2900">
                  <c:v>3.1018599999999998</c:v>
                </c:pt>
                <c:pt idx="2901">
                  <c:v>2.7456800000000001</c:v>
                </c:pt>
                <c:pt idx="2902">
                  <c:v>3.40055</c:v>
                </c:pt>
                <c:pt idx="2903">
                  <c:v>3.2306900000000001</c:v>
                </c:pt>
                <c:pt idx="2904">
                  <c:v>2.8023600000000002</c:v>
                </c:pt>
                <c:pt idx="2905">
                  <c:v>3.2565499999999998</c:v>
                </c:pt>
                <c:pt idx="2906">
                  <c:v>2.4801899999999999</c:v>
                </c:pt>
                <c:pt idx="2907">
                  <c:v>3.0777399999999999</c:v>
                </c:pt>
                <c:pt idx="2908">
                  <c:v>3.3885800000000001</c:v>
                </c:pt>
                <c:pt idx="2909">
                  <c:v>2.3621300000000001</c:v>
                </c:pt>
                <c:pt idx="2910">
                  <c:v>3.0331600000000001</c:v>
                </c:pt>
                <c:pt idx="2911">
                  <c:v>3.2799700000000001</c:v>
                </c:pt>
                <c:pt idx="2912">
                  <c:v>3.8921600000000001</c:v>
                </c:pt>
                <c:pt idx="2913">
                  <c:v>3.77129</c:v>
                </c:pt>
                <c:pt idx="2914">
                  <c:v>3.2305600000000001</c:v>
                </c:pt>
                <c:pt idx="2915">
                  <c:v>2.6978200000000001</c:v>
                </c:pt>
                <c:pt idx="2916">
                  <c:v>2.9539900000000001</c:v>
                </c:pt>
                <c:pt idx="2917">
                  <c:v>2.9445000000000001</c:v>
                </c:pt>
                <c:pt idx="2918">
                  <c:v>3.2144400000000002</c:v>
                </c:pt>
                <c:pt idx="2919">
                  <c:v>3.6705000000000001</c:v>
                </c:pt>
                <c:pt idx="2920">
                  <c:v>3.45607</c:v>
                </c:pt>
                <c:pt idx="2921">
                  <c:v>3.3304800000000001</c:v>
                </c:pt>
                <c:pt idx="2922">
                  <c:v>2.8000500000000001</c:v>
                </c:pt>
                <c:pt idx="2923">
                  <c:v>2.5256699999999999</c:v>
                </c:pt>
                <c:pt idx="2924">
                  <c:v>3.0391599999999999</c:v>
                </c:pt>
                <c:pt idx="2925">
                  <c:v>2.8745699999999998</c:v>
                </c:pt>
                <c:pt idx="2926">
                  <c:v>2.4508899999999998</c:v>
                </c:pt>
                <c:pt idx="2927">
                  <c:v>3.8860600000000001</c:v>
                </c:pt>
                <c:pt idx="2928">
                  <c:v>3.8624399999999999</c:v>
                </c:pt>
                <c:pt idx="2929">
                  <c:v>3.4264399999999999</c:v>
                </c:pt>
                <c:pt idx="2930">
                  <c:v>3.4514100000000001</c:v>
                </c:pt>
                <c:pt idx="2931">
                  <c:v>3.5825900000000002</c:v>
                </c:pt>
                <c:pt idx="2932">
                  <c:v>2.8399399999999999</c:v>
                </c:pt>
                <c:pt idx="2933">
                  <c:v>2.6499199999999998</c:v>
                </c:pt>
                <c:pt idx="2934">
                  <c:v>2.4677600000000002</c:v>
                </c:pt>
                <c:pt idx="2935">
                  <c:v>3.46</c:v>
                </c:pt>
                <c:pt idx="2936">
                  <c:v>3.92334</c:v>
                </c:pt>
                <c:pt idx="2937">
                  <c:v>3.5671200000000001</c:v>
                </c:pt>
                <c:pt idx="2938">
                  <c:v>3.40185</c:v>
                </c:pt>
                <c:pt idx="2939">
                  <c:v>2.7978999999999998</c:v>
                </c:pt>
                <c:pt idx="2940">
                  <c:v>2.7427899999999998</c:v>
                </c:pt>
                <c:pt idx="2941">
                  <c:v>3.09274</c:v>
                </c:pt>
                <c:pt idx="2942">
                  <c:v>3.0998000000000001</c:v>
                </c:pt>
                <c:pt idx="2943">
                  <c:v>4.1673999999999998</c:v>
                </c:pt>
                <c:pt idx="2944">
                  <c:v>3.4152</c:v>
                </c:pt>
                <c:pt idx="2945">
                  <c:v>3.40083</c:v>
                </c:pt>
                <c:pt idx="2946">
                  <c:v>3.8774099999999998</c:v>
                </c:pt>
                <c:pt idx="2947">
                  <c:v>3.1295899999999999</c:v>
                </c:pt>
                <c:pt idx="2948">
                  <c:v>4.03233</c:v>
                </c:pt>
                <c:pt idx="2949">
                  <c:v>3.29311</c:v>
                </c:pt>
                <c:pt idx="2950">
                  <c:v>2.6909900000000002</c:v>
                </c:pt>
                <c:pt idx="2951">
                  <c:v>2.5085500000000001</c:v>
                </c:pt>
                <c:pt idx="2952">
                  <c:v>2.9807800000000002</c:v>
                </c:pt>
                <c:pt idx="2953">
                  <c:v>3.4987300000000001</c:v>
                </c:pt>
                <c:pt idx="2954">
                  <c:v>2.8281399999999999</c:v>
                </c:pt>
                <c:pt idx="2955">
                  <c:v>3.3446099999999999</c:v>
                </c:pt>
                <c:pt idx="2956">
                  <c:v>3.0612900000000001</c:v>
                </c:pt>
                <c:pt idx="2957">
                  <c:v>3.2439900000000002</c:v>
                </c:pt>
                <c:pt idx="2958">
                  <c:v>3.1416200000000001</c:v>
                </c:pt>
                <c:pt idx="2959">
                  <c:v>3.74973</c:v>
                </c:pt>
                <c:pt idx="2960">
                  <c:v>3.93913</c:v>
                </c:pt>
                <c:pt idx="2961">
                  <c:v>3.7867199999999999</c:v>
                </c:pt>
                <c:pt idx="2962">
                  <c:v>3.3407499999999999</c:v>
                </c:pt>
                <c:pt idx="2963">
                  <c:v>2.5317500000000002</c:v>
                </c:pt>
                <c:pt idx="2964">
                  <c:v>3.0004900000000001</c:v>
                </c:pt>
                <c:pt idx="2965">
                  <c:v>3.5353699999999999</c:v>
                </c:pt>
                <c:pt idx="2966">
                  <c:v>3.2521200000000001</c:v>
                </c:pt>
                <c:pt idx="2967">
                  <c:v>3.0027900000000001</c:v>
                </c:pt>
                <c:pt idx="2968">
                  <c:v>3.0188999999999999</c:v>
                </c:pt>
                <c:pt idx="2969">
                  <c:v>3.1868699999999999</c:v>
                </c:pt>
                <c:pt idx="2970">
                  <c:v>2.0753900000000001</c:v>
                </c:pt>
                <c:pt idx="2971">
                  <c:v>2.4867300000000001</c:v>
                </c:pt>
                <c:pt idx="2972">
                  <c:v>2.8168199999999999</c:v>
                </c:pt>
                <c:pt idx="2973">
                  <c:v>3.49241</c:v>
                </c:pt>
                <c:pt idx="2974">
                  <c:v>3.6022099999999999</c:v>
                </c:pt>
                <c:pt idx="2975">
                  <c:v>3.1991399999999999</c:v>
                </c:pt>
                <c:pt idx="2976">
                  <c:v>3.2154500000000001</c:v>
                </c:pt>
                <c:pt idx="2977">
                  <c:v>2.86632</c:v>
                </c:pt>
                <c:pt idx="2978">
                  <c:v>3.2256900000000002</c:v>
                </c:pt>
                <c:pt idx="2979">
                  <c:v>2.9870000000000001</c:v>
                </c:pt>
                <c:pt idx="2980">
                  <c:v>3.3235399999999999</c:v>
                </c:pt>
                <c:pt idx="2981">
                  <c:v>3.4314200000000001</c:v>
                </c:pt>
                <c:pt idx="2982">
                  <c:v>2.7338900000000002</c:v>
                </c:pt>
                <c:pt idx="2983">
                  <c:v>2.7530299999999999</c:v>
                </c:pt>
                <c:pt idx="2984">
                  <c:v>2.6886700000000001</c:v>
                </c:pt>
                <c:pt idx="2985">
                  <c:v>3.0554399999999999</c:v>
                </c:pt>
                <c:pt idx="2986">
                  <c:v>3.4853999999999998</c:v>
                </c:pt>
                <c:pt idx="2987">
                  <c:v>3.5004300000000002</c:v>
                </c:pt>
                <c:pt idx="2988">
                  <c:v>2.8474699999999999</c:v>
                </c:pt>
                <c:pt idx="2989">
                  <c:v>2.97126</c:v>
                </c:pt>
                <c:pt idx="2990">
                  <c:v>3.8039800000000001</c:v>
                </c:pt>
                <c:pt idx="2991">
                  <c:v>3.25318</c:v>
                </c:pt>
                <c:pt idx="2992">
                  <c:v>2.95628</c:v>
                </c:pt>
                <c:pt idx="2993">
                  <c:v>2.9893800000000001</c:v>
                </c:pt>
                <c:pt idx="2994">
                  <c:v>2.8234699999999999</c:v>
                </c:pt>
                <c:pt idx="2995">
                  <c:v>3.6050499999999999</c:v>
                </c:pt>
                <c:pt idx="2996">
                  <c:v>3.1886199999999998</c:v>
                </c:pt>
                <c:pt idx="2997">
                  <c:v>3.6256699999999999</c:v>
                </c:pt>
                <c:pt idx="2998">
                  <c:v>3.0107900000000001</c:v>
                </c:pt>
                <c:pt idx="2999">
                  <c:v>3.0343399999999998</c:v>
                </c:pt>
                <c:pt idx="3000">
                  <c:v>2.9514800000000001</c:v>
                </c:pt>
                <c:pt idx="3001">
                  <c:v>3.15591</c:v>
                </c:pt>
                <c:pt idx="3002">
                  <c:v>2.9249999999999998</c:v>
                </c:pt>
                <c:pt idx="3003">
                  <c:v>4.0889699999999998</c:v>
                </c:pt>
                <c:pt idx="3004">
                  <c:v>4.2650100000000002</c:v>
                </c:pt>
                <c:pt idx="3005">
                  <c:v>3.7181500000000001</c:v>
                </c:pt>
                <c:pt idx="3006">
                  <c:v>3.4980500000000001</c:v>
                </c:pt>
                <c:pt idx="3007">
                  <c:v>2.45804</c:v>
                </c:pt>
                <c:pt idx="3008">
                  <c:v>2.89242</c:v>
                </c:pt>
                <c:pt idx="3009">
                  <c:v>2.96705</c:v>
                </c:pt>
                <c:pt idx="3010">
                  <c:v>3.9769700000000001</c:v>
                </c:pt>
                <c:pt idx="3011">
                  <c:v>3.8108300000000002</c:v>
                </c:pt>
                <c:pt idx="3012">
                  <c:v>3.0369100000000002</c:v>
                </c:pt>
                <c:pt idx="3013">
                  <c:v>3.2650999999999999</c:v>
                </c:pt>
                <c:pt idx="3014">
                  <c:v>2.7173400000000001</c:v>
                </c:pt>
                <c:pt idx="3015">
                  <c:v>3.0701900000000002</c:v>
                </c:pt>
                <c:pt idx="3016">
                  <c:v>2.8239700000000001</c:v>
                </c:pt>
                <c:pt idx="3017">
                  <c:v>2.67767</c:v>
                </c:pt>
                <c:pt idx="3018">
                  <c:v>3.4581</c:v>
                </c:pt>
                <c:pt idx="3019">
                  <c:v>3.2581899999999999</c:v>
                </c:pt>
                <c:pt idx="3020">
                  <c:v>3.8169300000000002</c:v>
                </c:pt>
                <c:pt idx="3021">
                  <c:v>3.8686099999999999</c:v>
                </c:pt>
                <c:pt idx="3022">
                  <c:v>3.2747000000000002</c:v>
                </c:pt>
                <c:pt idx="3023">
                  <c:v>2.8332899999999999</c:v>
                </c:pt>
                <c:pt idx="3024">
                  <c:v>2.6737799999999998</c:v>
                </c:pt>
                <c:pt idx="3025">
                  <c:v>2.13991</c:v>
                </c:pt>
                <c:pt idx="3026">
                  <c:v>3.1488499999999999</c:v>
                </c:pt>
                <c:pt idx="3027">
                  <c:v>3.7494399999999999</c:v>
                </c:pt>
                <c:pt idx="3028">
                  <c:v>3.5916800000000002</c:v>
                </c:pt>
                <c:pt idx="3029">
                  <c:v>2.7325900000000001</c:v>
                </c:pt>
                <c:pt idx="3030">
                  <c:v>2.7797100000000001</c:v>
                </c:pt>
                <c:pt idx="3031">
                  <c:v>2.5497100000000001</c:v>
                </c:pt>
                <c:pt idx="3032">
                  <c:v>2.9187400000000001</c:v>
                </c:pt>
                <c:pt idx="3033">
                  <c:v>2.6580499999999998</c:v>
                </c:pt>
                <c:pt idx="3034">
                  <c:v>3.3787099999999999</c:v>
                </c:pt>
                <c:pt idx="3035">
                  <c:v>3.9334500000000001</c:v>
                </c:pt>
                <c:pt idx="3036">
                  <c:v>3.8823400000000001</c:v>
                </c:pt>
                <c:pt idx="3037">
                  <c:v>3.2781099999999999</c:v>
                </c:pt>
                <c:pt idx="3038">
                  <c:v>3.1216400000000002</c:v>
                </c:pt>
                <c:pt idx="3039">
                  <c:v>2.8556300000000001</c:v>
                </c:pt>
                <c:pt idx="3040">
                  <c:v>2.8542100000000001</c:v>
                </c:pt>
                <c:pt idx="3041">
                  <c:v>2.8355600000000001</c:v>
                </c:pt>
                <c:pt idx="3042">
                  <c:v>2.84111</c:v>
                </c:pt>
                <c:pt idx="3043">
                  <c:v>3.1309800000000001</c:v>
                </c:pt>
                <c:pt idx="3044">
                  <c:v>3.4655200000000002</c:v>
                </c:pt>
                <c:pt idx="3045">
                  <c:v>3.0399099999999999</c:v>
                </c:pt>
                <c:pt idx="3046">
                  <c:v>2.5326200000000001</c:v>
                </c:pt>
                <c:pt idx="3047">
                  <c:v>2.4045800000000002</c:v>
                </c:pt>
                <c:pt idx="3048">
                  <c:v>2.8606400000000001</c:v>
                </c:pt>
                <c:pt idx="3049">
                  <c:v>3.2446700000000002</c:v>
                </c:pt>
                <c:pt idx="3050">
                  <c:v>3.2407400000000002</c:v>
                </c:pt>
                <c:pt idx="3051">
                  <c:v>3.5747100000000001</c:v>
                </c:pt>
                <c:pt idx="3052">
                  <c:v>3.7214100000000001</c:v>
                </c:pt>
                <c:pt idx="3053">
                  <c:v>3.3714</c:v>
                </c:pt>
                <c:pt idx="3054">
                  <c:v>3.27678</c:v>
                </c:pt>
                <c:pt idx="3055">
                  <c:v>3.5371999999999999</c:v>
                </c:pt>
                <c:pt idx="3056">
                  <c:v>3.7162700000000002</c:v>
                </c:pt>
                <c:pt idx="3057">
                  <c:v>3.2495599999999998</c:v>
                </c:pt>
                <c:pt idx="3058">
                  <c:v>3.0241500000000001</c:v>
                </c:pt>
                <c:pt idx="3059">
                  <c:v>2.6991700000000001</c:v>
                </c:pt>
                <c:pt idx="3060">
                  <c:v>3.1099800000000002</c:v>
                </c:pt>
                <c:pt idx="3061">
                  <c:v>3.0761699999999998</c:v>
                </c:pt>
                <c:pt idx="3062">
                  <c:v>3.1837200000000001</c:v>
                </c:pt>
                <c:pt idx="3063">
                  <c:v>2.9910399999999999</c:v>
                </c:pt>
                <c:pt idx="3064">
                  <c:v>3.4191699999999998</c:v>
                </c:pt>
                <c:pt idx="3065">
                  <c:v>3.2931400000000002</c:v>
                </c:pt>
                <c:pt idx="3066">
                  <c:v>3.2965599999999999</c:v>
                </c:pt>
                <c:pt idx="3067">
                  <c:v>3.46313</c:v>
                </c:pt>
                <c:pt idx="3068">
                  <c:v>2.6670199999999999</c:v>
                </c:pt>
                <c:pt idx="3069">
                  <c:v>2.5918199999999998</c:v>
                </c:pt>
                <c:pt idx="3070">
                  <c:v>2.6890100000000001</c:v>
                </c:pt>
                <c:pt idx="3071">
                  <c:v>3.6307299999999998</c:v>
                </c:pt>
                <c:pt idx="3072">
                  <c:v>3.5607000000000002</c:v>
                </c:pt>
                <c:pt idx="3073">
                  <c:v>3.9712900000000002</c:v>
                </c:pt>
                <c:pt idx="3074">
                  <c:v>3.36971</c:v>
                </c:pt>
                <c:pt idx="3075">
                  <c:v>3.19346</c:v>
                </c:pt>
                <c:pt idx="3076">
                  <c:v>2.6486999999999998</c:v>
                </c:pt>
                <c:pt idx="3077">
                  <c:v>2.29129</c:v>
                </c:pt>
                <c:pt idx="3078">
                  <c:v>3.6494599999999999</c:v>
                </c:pt>
                <c:pt idx="3079">
                  <c:v>3.52983</c:v>
                </c:pt>
                <c:pt idx="3080">
                  <c:v>2.8692299999999999</c:v>
                </c:pt>
                <c:pt idx="3081">
                  <c:v>3.8283299999999998</c:v>
                </c:pt>
                <c:pt idx="3082">
                  <c:v>3.1459999999999999</c:v>
                </c:pt>
                <c:pt idx="3083">
                  <c:v>3.4522599999999999</c:v>
                </c:pt>
                <c:pt idx="3084">
                  <c:v>3.5281600000000002</c:v>
                </c:pt>
                <c:pt idx="3085">
                  <c:v>3.7064900000000001</c:v>
                </c:pt>
                <c:pt idx="3086">
                  <c:v>3.1972299999999998</c:v>
                </c:pt>
                <c:pt idx="3087">
                  <c:v>3.1347800000000001</c:v>
                </c:pt>
                <c:pt idx="3088">
                  <c:v>3.51553</c:v>
                </c:pt>
                <c:pt idx="3089">
                  <c:v>3.1705800000000002</c:v>
                </c:pt>
                <c:pt idx="3090">
                  <c:v>3.4967800000000002</c:v>
                </c:pt>
                <c:pt idx="3091">
                  <c:v>2.9419499999999998</c:v>
                </c:pt>
                <c:pt idx="3092">
                  <c:v>3.0730900000000001</c:v>
                </c:pt>
                <c:pt idx="3093">
                  <c:v>2.78843</c:v>
                </c:pt>
                <c:pt idx="3094">
                  <c:v>2.7791600000000001</c:v>
                </c:pt>
                <c:pt idx="3095">
                  <c:v>3.7567599999999999</c:v>
                </c:pt>
                <c:pt idx="3096">
                  <c:v>3.16527</c:v>
                </c:pt>
                <c:pt idx="3097">
                  <c:v>4.0050100000000004</c:v>
                </c:pt>
                <c:pt idx="3098">
                  <c:v>3.3326600000000002</c:v>
                </c:pt>
                <c:pt idx="3099">
                  <c:v>3.0222799999999999</c:v>
                </c:pt>
                <c:pt idx="3100">
                  <c:v>3.40022</c:v>
                </c:pt>
                <c:pt idx="3101">
                  <c:v>3.47662</c:v>
                </c:pt>
                <c:pt idx="3102">
                  <c:v>4.0720999999999998</c:v>
                </c:pt>
                <c:pt idx="3103">
                  <c:v>2.9586299999999999</c:v>
                </c:pt>
                <c:pt idx="3104">
                  <c:v>3.3796499999999998</c:v>
                </c:pt>
                <c:pt idx="3105">
                  <c:v>2.8228599999999999</c:v>
                </c:pt>
                <c:pt idx="3106">
                  <c:v>3.4577800000000001</c:v>
                </c:pt>
                <c:pt idx="3107">
                  <c:v>2.93953</c:v>
                </c:pt>
                <c:pt idx="3108">
                  <c:v>3.1331000000000002</c:v>
                </c:pt>
                <c:pt idx="3109">
                  <c:v>3.52779</c:v>
                </c:pt>
                <c:pt idx="3110">
                  <c:v>3.40299</c:v>
                </c:pt>
                <c:pt idx="3111">
                  <c:v>3.8223500000000001</c:v>
                </c:pt>
                <c:pt idx="3112">
                  <c:v>3.1993200000000002</c:v>
                </c:pt>
                <c:pt idx="3113">
                  <c:v>2.79121</c:v>
                </c:pt>
                <c:pt idx="3114">
                  <c:v>2.7930100000000002</c:v>
                </c:pt>
                <c:pt idx="3115">
                  <c:v>2.9873699999999999</c:v>
                </c:pt>
                <c:pt idx="3116">
                  <c:v>3.3301099999999999</c:v>
                </c:pt>
                <c:pt idx="3117">
                  <c:v>3.55647</c:v>
                </c:pt>
                <c:pt idx="3118">
                  <c:v>3.43567</c:v>
                </c:pt>
                <c:pt idx="3119">
                  <c:v>3.0962700000000001</c:v>
                </c:pt>
                <c:pt idx="3120">
                  <c:v>2.3613900000000001</c:v>
                </c:pt>
                <c:pt idx="3121">
                  <c:v>2.7354099999999999</c:v>
                </c:pt>
                <c:pt idx="3122">
                  <c:v>3.3622299999999998</c:v>
                </c:pt>
                <c:pt idx="3123">
                  <c:v>3.8300800000000002</c:v>
                </c:pt>
                <c:pt idx="3124">
                  <c:v>3.49573</c:v>
                </c:pt>
                <c:pt idx="3125">
                  <c:v>3.4160300000000001</c:v>
                </c:pt>
                <c:pt idx="3126">
                  <c:v>3.6120700000000001</c:v>
                </c:pt>
                <c:pt idx="3127">
                  <c:v>3.4294899999999999</c:v>
                </c:pt>
                <c:pt idx="3128">
                  <c:v>3.3128700000000002</c:v>
                </c:pt>
                <c:pt idx="3129">
                  <c:v>2.9725899999999998</c:v>
                </c:pt>
                <c:pt idx="3130">
                  <c:v>2.5859700000000001</c:v>
                </c:pt>
                <c:pt idx="3131">
                  <c:v>2.7589399999999999</c:v>
                </c:pt>
                <c:pt idx="3132">
                  <c:v>3.3051200000000001</c:v>
                </c:pt>
                <c:pt idx="3133">
                  <c:v>3.80341</c:v>
                </c:pt>
                <c:pt idx="3134">
                  <c:v>3.2485900000000001</c:v>
                </c:pt>
                <c:pt idx="3135">
                  <c:v>3.1465100000000001</c:v>
                </c:pt>
                <c:pt idx="3136">
                  <c:v>2.9792800000000002</c:v>
                </c:pt>
                <c:pt idx="3137">
                  <c:v>2.4249200000000002</c:v>
                </c:pt>
                <c:pt idx="3138">
                  <c:v>2.9472100000000001</c:v>
                </c:pt>
                <c:pt idx="3139">
                  <c:v>2.8409399999999998</c:v>
                </c:pt>
                <c:pt idx="3140">
                  <c:v>2.5434100000000002</c:v>
                </c:pt>
                <c:pt idx="3141">
                  <c:v>3.0582500000000001</c:v>
                </c:pt>
                <c:pt idx="3142">
                  <c:v>3.4571999999999998</c:v>
                </c:pt>
                <c:pt idx="3143">
                  <c:v>3.6343999999999999</c:v>
                </c:pt>
                <c:pt idx="3144">
                  <c:v>3.6519200000000001</c:v>
                </c:pt>
                <c:pt idx="3145">
                  <c:v>3.5062899999999999</c:v>
                </c:pt>
                <c:pt idx="3146">
                  <c:v>3.1587499999999999</c:v>
                </c:pt>
                <c:pt idx="3147">
                  <c:v>2.8182499999999999</c:v>
                </c:pt>
                <c:pt idx="3148">
                  <c:v>2.8410299999999999</c:v>
                </c:pt>
                <c:pt idx="3149">
                  <c:v>2.8470300000000002</c:v>
                </c:pt>
                <c:pt idx="3150">
                  <c:v>3.3772500000000001</c:v>
                </c:pt>
                <c:pt idx="3151">
                  <c:v>3.0904699999999998</c:v>
                </c:pt>
                <c:pt idx="3152">
                  <c:v>3.3051599999999999</c:v>
                </c:pt>
                <c:pt idx="3153">
                  <c:v>2.9961000000000002</c:v>
                </c:pt>
                <c:pt idx="3154">
                  <c:v>2.7806500000000001</c:v>
                </c:pt>
                <c:pt idx="3155">
                  <c:v>3.24478</c:v>
                </c:pt>
                <c:pt idx="3156">
                  <c:v>3.8009400000000002</c:v>
                </c:pt>
                <c:pt idx="3157">
                  <c:v>3.4371100000000001</c:v>
                </c:pt>
                <c:pt idx="3158">
                  <c:v>2.9937499999999999</c:v>
                </c:pt>
                <c:pt idx="3159">
                  <c:v>2.8546800000000001</c:v>
                </c:pt>
                <c:pt idx="3160">
                  <c:v>3.4564699999999999</c:v>
                </c:pt>
                <c:pt idx="3161">
                  <c:v>3.3941499999999998</c:v>
                </c:pt>
                <c:pt idx="3162">
                  <c:v>3.6766399999999999</c:v>
                </c:pt>
                <c:pt idx="3163">
                  <c:v>3.5861000000000001</c:v>
                </c:pt>
                <c:pt idx="3164">
                  <c:v>2.7250899999999998</c:v>
                </c:pt>
                <c:pt idx="3165">
                  <c:v>2.97038</c:v>
                </c:pt>
                <c:pt idx="3166">
                  <c:v>3.29156</c:v>
                </c:pt>
                <c:pt idx="3167">
                  <c:v>4.2493499999999997</c:v>
                </c:pt>
                <c:pt idx="3168">
                  <c:v>3.7517499999999999</c:v>
                </c:pt>
                <c:pt idx="3169">
                  <c:v>3.9074499999999999</c:v>
                </c:pt>
                <c:pt idx="3170">
                  <c:v>3.3905599999999998</c:v>
                </c:pt>
                <c:pt idx="3171">
                  <c:v>3.2764199999999999</c:v>
                </c:pt>
                <c:pt idx="3172">
                  <c:v>2.8358300000000001</c:v>
                </c:pt>
                <c:pt idx="3173">
                  <c:v>3.7262400000000002</c:v>
                </c:pt>
                <c:pt idx="3174">
                  <c:v>4.0510299999999999</c:v>
                </c:pt>
                <c:pt idx="3175">
                  <c:v>3.4655200000000002</c:v>
                </c:pt>
                <c:pt idx="3176">
                  <c:v>3.1729500000000002</c:v>
                </c:pt>
                <c:pt idx="3177">
                  <c:v>2.3966099999999999</c:v>
                </c:pt>
                <c:pt idx="3178">
                  <c:v>2.8149299999999999</c:v>
                </c:pt>
                <c:pt idx="3179">
                  <c:v>2.4336799999999998</c:v>
                </c:pt>
                <c:pt idx="3180">
                  <c:v>3.1434299999999999</c:v>
                </c:pt>
                <c:pt idx="3181">
                  <c:v>3.3121</c:v>
                </c:pt>
                <c:pt idx="3182">
                  <c:v>3.6236299999999999</c:v>
                </c:pt>
                <c:pt idx="3183">
                  <c:v>2.7406600000000001</c:v>
                </c:pt>
                <c:pt idx="3184">
                  <c:v>2.96698</c:v>
                </c:pt>
                <c:pt idx="3185">
                  <c:v>3.4622600000000001</c:v>
                </c:pt>
                <c:pt idx="3186">
                  <c:v>3.1267900000000002</c:v>
                </c:pt>
                <c:pt idx="3187">
                  <c:v>3.9574400000000001</c:v>
                </c:pt>
                <c:pt idx="3188">
                  <c:v>4.0600800000000001</c:v>
                </c:pt>
                <c:pt idx="3189">
                  <c:v>3.4810599999999998</c:v>
                </c:pt>
                <c:pt idx="3190">
                  <c:v>3.4753099999999999</c:v>
                </c:pt>
                <c:pt idx="3191">
                  <c:v>3.1053299999999999</c:v>
                </c:pt>
                <c:pt idx="3192">
                  <c:v>3.09768</c:v>
                </c:pt>
                <c:pt idx="3193">
                  <c:v>3.09727</c:v>
                </c:pt>
                <c:pt idx="3194">
                  <c:v>3.5852599999999999</c:v>
                </c:pt>
                <c:pt idx="3195">
                  <c:v>3.0138099999999999</c:v>
                </c:pt>
                <c:pt idx="3196">
                  <c:v>2.9900699999999998</c:v>
                </c:pt>
                <c:pt idx="3197">
                  <c:v>3.31785</c:v>
                </c:pt>
                <c:pt idx="3198">
                  <c:v>3.65659</c:v>
                </c:pt>
                <c:pt idx="3199">
                  <c:v>3.3142499999999999</c:v>
                </c:pt>
                <c:pt idx="3200">
                  <c:v>3.15151</c:v>
                </c:pt>
                <c:pt idx="3201">
                  <c:v>2.9755500000000001</c:v>
                </c:pt>
                <c:pt idx="3202">
                  <c:v>3.1842899999999998</c:v>
                </c:pt>
                <c:pt idx="3203">
                  <c:v>3.1244299999999998</c:v>
                </c:pt>
                <c:pt idx="3204">
                  <c:v>3.48827</c:v>
                </c:pt>
                <c:pt idx="3205">
                  <c:v>3.4508700000000001</c:v>
                </c:pt>
                <c:pt idx="3206">
                  <c:v>3.3402599999999998</c:v>
                </c:pt>
                <c:pt idx="3207">
                  <c:v>3.00542</c:v>
                </c:pt>
                <c:pt idx="3208">
                  <c:v>3.32565</c:v>
                </c:pt>
                <c:pt idx="3209">
                  <c:v>3.4933900000000002</c:v>
                </c:pt>
                <c:pt idx="3210">
                  <c:v>3.6766299999999998</c:v>
                </c:pt>
                <c:pt idx="3211">
                  <c:v>3.2730899999999998</c:v>
                </c:pt>
                <c:pt idx="3212">
                  <c:v>2.9343300000000001</c:v>
                </c:pt>
                <c:pt idx="3213">
                  <c:v>2.9463499999999998</c:v>
                </c:pt>
                <c:pt idx="3214">
                  <c:v>2.3123300000000002</c:v>
                </c:pt>
                <c:pt idx="3215">
                  <c:v>2.74702</c:v>
                </c:pt>
                <c:pt idx="3216">
                  <c:v>3.1110199999999999</c:v>
                </c:pt>
                <c:pt idx="3217">
                  <c:v>2.9847000000000001</c:v>
                </c:pt>
                <c:pt idx="3218">
                  <c:v>3.7686899999999999</c:v>
                </c:pt>
                <c:pt idx="3219">
                  <c:v>3.78172</c:v>
                </c:pt>
                <c:pt idx="3220">
                  <c:v>3.5994999999999999</c:v>
                </c:pt>
                <c:pt idx="3221">
                  <c:v>3.8229600000000001</c:v>
                </c:pt>
                <c:pt idx="3222">
                  <c:v>3.5163099999999998</c:v>
                </c:pt>
                <c:pt idx="3223">
                  <c:v>3.2823600000000002</c:v>
                </c:pt>
                <c:pt idx="3224">
                  <c:v>2.9616799999999999</c:v>
                </c:pt>
                <c:pt idx="3225">
                  <c:v>3.22837</c:v>
                </c:pt>
                <c:pt idx="3226">
                  <c:v>3.3175599999999998</c:v>
                </c:pt>
                <c:pt idx="3227">
                  <c:v>3.7162500000000001</c:v>
                </c:pt>
                <c:pt idx="3228">
                  <c:v>3.6718799999999998</c:v>
                </c:pt>
                <c:pt idx="3229">
                  <c:v>3.4666600000000001</c:v>
                </c:pt>
                <c:pt idx="3230">
                  <c:v>2.6720600000000001</c:v>
                </c:pt>
                <c:pt idx="3231">
                  <c:v>2.4578600000000002</c:v>
                </c:pt>
                <c:pt idx="3232">
                  <c:v>2.85907</c:v>
                </c:pt>
                <c:pt idx="3233">
                  <c:v>3.3283999999999998</c:v>
                </c:pt>
                <c:pt idx="3234">
                  <c:v>3.6172200000000001</c:v>
                </c:pt>
                <c:pt idx="3235">
                  <c:v>3.6144599999999998</c:v>
                </c:pt>
                <c:pt idx="3236">
                  <c:v>3.7103199999999998</c:v>
                </c:pt>
                <c:pt idx="3237">
                  <c:v>3.0279600000000002</c:v>
                </c:pt>
                <c:pt idx="3238">
                  <c:v>2.57314</c:v>
                </c:pt>
                <c:pt idx="3239">
                  <c:v>3.2043200000000001</c:v>
                </c:pt>
                <c:pt idx="3240">
                  <c:v>3.23949</c:v>
                </c:pt>
                <c:pt idx="3241">
                  <c:v>2.98577</c:v>
                </c:pt>
                <c:pt idx="3242">
                  <c:v>3.25868</c:v>
                </c:pt>
                <c:pt idx="3243">
                  <c:v>3.42564</c:v>
                </c:pt>
                <c:pt idx="3244">
                  <c:v>3.6093000000000002</c:v>
                </c:pt>
                <c:pt idx="3245">
                  <c:v>3.3675299999999999</c:v>
                </c:pt>
                <c:pt idx="3246">
                  <c:v>3.4668100000000002</c:v>
                </c:pt>
                <c:pt idx="3247">
                  <c:v>2.8107600000000001</c:v>
                </c:pt>
                <c:pt idx="3248">
                  <c:v>3.0634399999999999</c:v>
                </c:pt>
                <c:pt idx="3249">
                  <c:v>3.7268400000000002</c:v>
                </c:pt>
                <c:pt idx="3250">
                  <c:v>3.9037199999999999</c:v>
                </c:pt>
                <c:pt idx="3251">
                  <c:v>3.94238</c:v>
                </c:pt>
                <c:pt idx="3252">
                  <c:v>3.3134899999999998</c:v>
                </c:pt>
                <c:pt idx="3253">
                  <c:v>3.1116899999999998</c:v>
                </c:pt>
                <c:pt idx="3254">
                  <c:v>2.9751400000000001</c:v>
                </c:pt>
                <c:pt idx="3255">
                  <c:v>2.6642000000000001</c:v>
                </c:pt>
                <c:pt idx="3256">
                  <c:v>4.0627199999999997</c:v>
                </c:pt>
                <c:pt idx="3257">
                  <c:v>3.6040299999999998</c:v>
                </c:pt>
                <c:pt idx="3258">
                  <c:v>3.5569199999999999</c:v>
                </c:pt>
                <c:pt idx="3259">
                  <c:v>2.8256299999999999</c:v>
                </c:pt>
                <c:pt idx="3260">
                  <c:v>3.2214900000000002</c:v>
                </c:pt>
                <c:pt idx="3261">
                  <c:v>3.5760299999999998</c:v>
                </c:pt>
                <c:pt idx="3262">
                  <c:v>3.0689299999999999</c:v>
                </c:pt>
                <c:pt idx="3263">
                  <c:v>3.3346</c:v>
                </c:pt>
                <c:pt idx="3264">
                  <c:v>3.4301599999999999</c:v>
                </c:pt>
                <c:pt idx="3265">
                  <c:v>3.3149299999999999</c:v>
                </c:pt>
                <c:pt idx="3266">
                  <c:v>3.30315</c:v>
                </c:pt>
                <c:pt idx="3267">
                  <c:v>3.3878699999999999</c:v>
                </c:pt>
                <c:pt idx="3268">
                  <c:v>3.5722499999999999</c:v>
                </c:pt>
                <c:pt idx="3269">
                  <c:v>3.2315999999999998</c:v>
                </c:pt>
                <c:pt idx="3270">
                  <c:v>2.96075</c:v>
                </c:pt>
                <c:pt idx="3271">
                  <c:v>3.2952699999999999</c:v>
                </c:pt>
                <c:pt idx="3272">
                  <c:v>3.2049799999999999</c:v>
                </c:pt>
                <c:pt idx="3273">
                  <c:v>3.81915</c:v>
                </c:pt>
                <c:pt idx="3274">
                  <c:v>3.2827899999999999</c:v>
                </c:pt>
                <c:pt idx="3275">
                  <c:v>3.4381699999999999</c:v>
                </c:pt>
                <c:pt idx="3276">
                  <c:v>2.4196900000000001</c:v>
                </c:pt>
                <c:pt idx="3277">
                  <c:v>2.3778299999999999</c:v>
                </c:pt>
                <c:pt idx="3278">
                  <c:v>3.15707</c:v>
                </c:pt>
                <c:pt idx="3279">
                  <c:v>3.4645100000000002</c:v>
                </c:pt>
                <c:pt idx="3280">
                  <c:v>3.8048500000000001</c:v>
                </c:pt>
                <c:pt idx="3281">
                  <c:v>4.19184</c:v>
                </c:pt>
                <c:pt idx="3282">
                  <c:v>3.5284599999999999</c:v>
                </c:pt>
                <c:pt idx="3283">
                  <c:v>3.06013</c:v>
                </c:pt>
                <c:pt idx="3284">
                  <c:v>2.97905</c:v>
                </c:pt>
                <c:pt idx="3285">
                  <c:v>2.8609800000000001</c:v>
                </c:pt>
                <c:pt idx="3286">
                  <c:v>3.33467</c:v>
                </c:pt>
                <c:pt idx="3287">
                  <c:v>3.2920600000000002</c:v>
                </c:pt>
                <c:pt idx="3288">
                  <c:v>2.96733</c:v>
                </c:pt>
                <c:pt idx="3289">
                  <c:v>3.4616099999999999</c:v>
                </c:pt>
                <c:pt idx="3290">
                  <c:v>2.8281000000000001</c:v>
                </c:pt>
                <c:pt idx="3291">
                  <c:v>3.5687899999999999</c:v>
                </c:pt>
                <c:pt idx="3292">
                  <c:v>2.95892</c:v>
                </c:pt>
                <c:pt idx="3293">
                  <c:v>2.2182400000000002</c:v>
                </c:pt>
                <c:pt idx="3294">
                  <c:v>2.0698099999999999</c:v>
                </c:pt>
                <c:pt idx="3295">
                  <c:v>2.7676599999999998</c:v>
                </c:pt>
                <c:pt idx="3296">
                  <c:v>3.9191799999999999</c:v>
                </c:pt>
                <c:pt idx="3297">
                  <c:v>3.6901899999999999</c:v>
                </c:pt>
                <c:pt idx="3298">
                  <c:v>3.9521199999999999</c:v>
                </c:pt>
                <c:pt idx="3299">
                  <c:v>3.18506</c:v>
                </c:pt>
                <c:pt idx="3300">
                  <c:v>2.8439700000000001</c:v>
                </c:pt>
                <c:pt idx="3301">
                  <c:v>3.3751500000000001</c:v>
                </c:pt>
                <c:pt idx="3302">
                  <c:v>3.4030999999999998</c:v>
                </c:pt>
                <c:pt idx="3303">
                  <c:v>3.5004400000000002</c:v>
                </c:pt>
                <c:pt idx="3304">
                  <c:v>3.1398700000000002</c:v>
                </c:pt>
                <c:pt idx="3305">
                  <c:v>3.43452</c:v>
                </c:pt>
                <c:pt idx="3306">
                  <c:v>2.9370699999999998</c:v>
                </c:pt>
                <c:pt idx="3307">
                  <c:v>2.94116</c:v>
                </c:pt>
                <c:pt idx="3308">
                  <c:v>3.3168799999999998</c:v>
                </c:pt>
                <c:pt idx="3309">
                  <c:v>3.1890800000000001</c:v>
                </c:pt>
                <c:pt idx="3310">
                  <c:v>3.6999</c:v>
                </c:pt>
                <c:pt idx="3311">
                  <c:v>3.0938400000000001</c:v>
                </c:pt>
                <c:pt idx="3312">
                  <c:v>3.0147499999999998</c:v>
                </c:pt>
                <c:pt idx="3313">
                  <c:v>3.2982100000000001</c:v>
                </c:pt>
                <c:pt idx="3314">
                  <c:v>3.4458700000000002</c:v>
                </c:pt>
                <c:pt idx="3315">
                  <c:v>3.4982099999999998</c:v>
                </c:pt>
                <c:pt idx="3316">
                  <c:v>3.0442200000000001</c:v>
                </c:pt>
                <c:pt idx="3317">
                  <c:v>2.7262400000000002</c:v>
                </c:pt>
                <c:pt idx="3318">
                  <c:v>2.8041200000000002</c:v>
                </c:pt>
                <c:pt idx="3319">
                  <c:v>3.5419800000000001</c:v>
                </c:pt>
                <c:pt idx="3320">
                  <c:v>3.4476399999999998</c:v>
                </c:pt>
                <c:pt idx="3321">
                  <c:v>2.9605800000000002</c:v>
                </c:pt>
                <c:pt idx="3322">
                  <c:v>2.54406</c:v>
                </c:pt>
                <c:pt idx="3323">
                  <c:v>2.51294</c:v>
                </c:pt>
                <c:pt idx="3324">
                  <c:v>2.6511900000000002</c:v>
                </c:pt>
                <c:pt idx="3325">
                  <c:v>2.7730299999999999</c:v>
                </c:pt>
                <c:pt idx="3326">
                  <c:v>4.3501200000000004</c:v>
                </c:pt>
                <c:pt idx="3327">
                  <c:v>4.00129</c:v>
                </c:pt>
                <c:pt idx="3328">
                  <c:v>4.1196999999999999</c:v>
                </c:pt>
                <c:pt idx="3329">
                  <c:v>3.0035599999999998</c:v>
                </c:pt>
                <c:pt idx="3330">
                  <c:v>2.81873</c:v>
                </c:pt>
                <c:pt idx="3331">
                  <c:v>3.5998899999999998</c:v>
                </c:pt>
                <c:pt idx="3332">
                  <c:v>4.1113999999999997</c:v>
                </c:pt>
                <c:pt idx="3333">
                  <c:v>3.92923</c:v>
                </c:pt>
                <c:pt idx="3334">
                  <c:v>3.0697700000000001</c:v>
                </c:pt>
                <c:pt idx="3335">
                  <c:v>3.5999300000000001</c:v>
                </c:pt>
                <c:pt idx="3336">
                  <c:v>3.64575</c:v>
                </c:pt>
                <c:pt idx="3337">
                  <c:v>3.1786599999999998</c:v>
                </c:pt>
                <c:pt idx="3338">
                  <c:v>2.6314700000000002</c:v>
                </c:pt>
                <c:pt idx="3339">
                  <c:v>2.60385</c:v>
                </c:pt>
                <c:pt idx="3340">
                  <c:v>2.9202599999999999</c:v>
                </c:pt>
                <c:pt idx="3341">
                  <c:v>2.92143</c:v>
                </c:pt>
                <c:pt idx="3342">
                  <c:v>3.4637099999999998</c:v>
                </c:pt>
                <c:pt idx="3343">
                  <c:v>3.8839399999999999</c:v>
                </c:pt>
                <c:pt idx="3344">
                  <c:v>3.38625</c:v>
                </c:pt>
                <c:pt idx="3345">
                  <c:v>2.8982999999999999</c:v>
                </c:pt>
                <c:pt idx="3346">
                  <c:v>2.8039999999999998</c:v>
                </c:pt>
                <c:pt idx="3347">
                  <c:v>3.36348</c:v>
                </c:pt>
                <c:pt idx="3348">
                  <c:v>3.07639</c:v>
                </c:pt>
                <c:pt idx="3349">
                  <c:v>3.9102800000000002</c:v>
                </c:pt>
                <c:pt idx="3350">
                  <c:v>3.8270400000000002</c:v>
                </c:pt>
                <c:pt idx="3351">
                  <c:v>2.8323800000000001</c:v>
                </c:pt>
                <c:pt idx="3352">
                  <c:v>3.1293199999999999</c:v>
                </c:pt>
                <c:pt idx="3353">
                  <c:v>2.5916899999999998</c:v>
                </c:pt>
                <c:pt idx="3354">
                  <c:v>3.1054900000000001</c:v>
                </c:pt>
                <c:pt idx="3355">
                  <c:v>2.8769300000000002</c:v>
                </c:pt>
                <c:pt idx="3356">
                  <c:v>2.89541</c:v>
                </c:pt>
                <c:pt idx="3357">
                  <c:v>3.4412199999999999</c:v>
                </c:pt>
                <c:pt idx="3358">
                  <c:v>3.3873099999999998</c:v>
                </c:pt>
                <c:pt idx="3359">
                  <c:v>3.2930700000000002</c:v>
                </c:pt>
                <c:pt idx="3360">
                  <c:v>3.0045899999999999</c:v>
                </c:pt>
                <c:pt idx="3361">
                  <c:v>2.6527799999999999</c:v>
                </c:pt>
                <c:pt idx="3362">
                  <c:v>2.2750900000000001</c:v>
                </c:pt>
                <c:pt idx="3363">
                  <c:v>3.1269100000000001</c:v>
                </c:pt>
                <c:pt idx="3364">
                  <c:v>3.1118299999999999</c:v>
                </c:pt>
                <c:pt idx="3365">
                  <c:v>2.97418</c:v>
                </c:pt>
                <c:pt idx="3366">
                  <c:v>3.38578</c:v>
                </c:pt>
                <c:pt idx="3367">
                  <c:v>3.1898599999999999</c:v>
                </c:pt>
                <c:pt idx="3368">
                  <c:v>2.3207200000000001</c:v>
                </c:pt>
                <c:pt idx="3369">
                  <c:v>2.8978899999999999</c:v>
                </c:pt>
                <c:pt idx="3370">
                  <c:v>3.2918400000000001</c:v>
                </c:pt>
                <c:pt idx="3371">
                  <c:v>3.6278600000000001</c:v>
                </c:pt>
                <c:pt idx="3372">
                  <c:v>3.51424</c:v>
                </c:pt>
                <c:pt idx="3373">
                  <c:v>3.66961</c:v>
                </c:pt>
                <c:pt idx="3374">
                  <c:v>2.6233</c:v>
                </c:pt>
                <c:pt idx="3375">
                  <c:v>2.9564300000000001</c:v>
                </c:pt>
                <c:pt idx="3376">
                  <c:v>3.0339399999999999</c:v>
                </c:pt>
                <c:pt idx="3377">
                  <c:v>3.66303</c:v>
                </c:pt>
                <c:pt idx="3378">
                  <c:v>2.9496899999999999</c:v>
                </c:pt>
                <c:pt idx="3379">
                  <c:v>3.2044899999999998</c:v>
                </c:pt>
                <c:pt idx="3380">
                  <c:v>3.5687000000000002</c:v>
                </c:pt>
                <c:pt idx="3381">
                  <c:v>3.1004700000000001</c:v>
                </c:pt>
                <c:pt idx="3382">
                  <c:v>2.5453700000000001</c:v>
                </c:pt>
                <c:pt idx="3383">
                  <c:v>2.69232</c:v>
                </c:pt>
                <c:pt idx="3384">
                  <c:v>2.8186</c:v>
                </c:pt>
                <c:pt idx="3385">
                  <c:v>3.3482400000000001</c:v>
                </c:pt>
                <c:pt idx="3386">
                  <c:v>3.53904</c:v>
                </c:pt>
                <c:pt idx="3387">
                  <c:v>4.3475299999999999</c:v>
                </c:pt>
                <c:pt idx="3388">
                  <c:v>4.1619599999999997</c:v>
                </c:pt>
                <c:pt idx="3389">
                  <c:v>3.8621699999999999</c:v>
                </c:pt>
                <c:pt idx="3390">
                  <c:v>3.7543600000000001</c:v>
                </c:pt>
                <c:pt idx="3391">
                  <c:v>3.1325099999999999</c:v>
                </c:pt>
                <c:pt idx="3392">
                  <c:v>3.1948099999999999</c:v>
                </c:pt>
                <c:pt idx="3393">
                  <c:v>2.8303500000000001</c:v>
                </c:pt>
                <c:pt idx="3394">
                  <c:v>3.53756</c:v>
                </c:pt>
                <c:pt idx="3395">
                  <c:v>3.8963299999999998</c:v>
                </c:pt>
                <c:pt idx="3396">
                  <c:v>2.92693</c:v>
                </c:pt>
                <c:pt idx="3397">
                  <c:v>3.40252</c:v>
                </c:pt>
                <c:pt idx="3398">
                  <c:v>3.0565199999999999</c:v>
                </c:pt>
                <c:pt idx="3399">
                  <c:v>2.77332</c:v>
                </c:pt>
                <c:pt idx="3400">
                  <c:v>2.8631799999999998</c:v>
                </c:pt>
                <c:pt idx="3401">
                  <c:v>2.8335300000000001</c:v>
                </c:pt>
                <c:pt idx="3402">
                  <c:v>3.44774</c:v>
                </c:pt>
                <c:pt idx="3403">
                  <c:v>3.0303499999999999</c:v>
                </c:pt>
                <c:pt idx="3404">
                  <c:v>3.8035299999999999</c:v>
                </c:pt>
                <c:pt idx="3405">
                  <c:v>3.3500299999999998</c:v>
                </c:pt>
                <c:pt idx="3406">
                  <c:v>3.7176200000000001</c:v>
                </c:pt>
                <c:pt idx="3407">
                  <c:v>3.8284199999999999</c:v>
                </c:pt>
                <c:pt idx="3408">
                  <c:v>3.9538899999999999</c:v>
                </c:pt>
                <c:pt idx="3409">
                  <c:v>3.0508099999999998</c:v>
                </c:pt>
                <c:pt idx="3410">
                  <c:v>2.7794599999999998</c:v>
                </c:pt>
                <c:pt idx="3411">
                  <c:v>3.61842</c:v>
                </c:pt>
                <c:pt idx="3412">
                  <c:v>3.6760199999999998</c:v>
                </c:pt>
                <c:pt idx="3413">
                  <c:v>3.63944</c:v>
                </c:pt>
                <c:pt idx="3414">
                  <c:v>3.1192799999999998</c:v>
                </c:pt>
                <c:pt idx="3415">
                  <c:v>2.9377300000000002</c:v>
                </c:pt>
                <c:pt idx="3416">
                  <c:v>3.10162</c:v>
                </c:pt>
                <c:pt idx="3417">
                  <c:v>3.0859200000000002</c:v>
                </c:pt>
                <c:pt idx="3418">
                  <c:v>3.0858599999999998</c:v>
                </c:pt>
                <c:pt idx="3419">
                  <c:v>3.4403199999999998</c:v>
                </c:pt>
                <c:pt idx="3420">
                  <c:v>3.5145300000000002</c:v>
                </c:pt>
                <c:pt idx="3421">
                  <c:v>3.2836500000000002</c:v>
                </c:pt>
                <c:pt idx="3422">
                  <c:v>2.94611</c:v>
                </c:pt>
                <c:pt idx="3423">
                  <c:v>3.3985799999999999</c:v>
                </c:pt>
                <c:pt idx="3424">
                  <c:v>3.3389099999999998</c:v>
                </c:pt>
                <c:pt idx="3425">
                  <c:v>3.5951599999999999</c:v>
                </c:pt>
                <c:pt idx="3426">
                  <c:v>3.1485500000000002</c:v>
                </c:pt>
                <c:pt idx="3427">
                  <c:v>2.8336100000000002</c:v>
                </c:pt>
                <c:pt idx="3428">
                  <c:v>3.07579</c:v>
                </c:pt>
                <c:pt idx="3429">
                  <c:v>2.9131300000000002</c:v>
                </c:pt>
                <c:pt idx="3430">
                  <c:v>3.2267299999999999</c:v>
                </c:pt>
                <c:pt idx="3431">
                  <c:v>2.6007699999999998</c:v>
                </c:pt>
                <c:pt idx="3432">
                  <c:v>3.2338399999999998</c:v>
                </c:pt>
                <c:pt idx="3433">
                  <c:v>3.2458200000000001</c:v>
                </c:pt>
                <c:pt idx="3434">
                  <c:v>3.4991099999999999</c:v>
                </c:pt>
                <c:pt idx="3435">
                  <c:v>3.48732</c:v>
                </c:pt>
                <c:pt idx="3436">
                  <c:v>3.32633</c:v>
                </c:pt>
                <c:pt idx="3437">
                  <c:v>3.03091</c:v>
                </c:pt>
                <c:pt idx="3438">
                  <c:v>2.64127</c:v>
                </c:pt>
                <c:pt idx="3439">
                  <c:v>2.7336100000000001</c:v>
                </c:pt>
                <c:pt idx="3440">
                  <c:v>2.7467199999999998</c:v>
                </c:pt>
                <c:pt idx="3441">
                  <c:v>3.29461</c:v>
                </c:pt>
                <c:pt idx="3442">
                  <c:v>3.3569499999999999</c:v>
                </c:pt>
                <c:pt idx="3443">
                  <c:v>3.2591299999999999</c:v>
                </c:pt>
                <c:pt idx="3444">
                  <c:v>3.0902599999999998</c:v>
                </c:pt>
                <c:pt idx="3445">
                  <c:v>1.9744600000000001</c:v>
                </c:pt>
                <c:pt idx="3446">
                  <c:v>2.23068</c:v>
                </c:pt>
                <c:pt idx="3447">
                  <c:v>2.6130800000000001</c:v>
                </c:pt>
                <c:pt idx="3448">
                  <c:v>3.4800599999999999</c:v>
                </c:pt>
                <c:pt idx="3449">
                  <c:v>3.22594</c:v>
                </c:pt>
                <c:pt idx="3450">
                  <c:v>3.01729</c:v>
                </c:pt>
                <c:pt idx="3451">
                  <c:v>3.0634399999999999</c:v>
                </c:pt>
                <c:pt idx="3452">
                  <c:v>2.7385799999999998</c:v>
                </c:pt>
                <c:pt idx="3453">
                  <c:v>2.7845200000000001</c:v>
                </c:pt>
                <c:pt idx="3454">
                  <c:v>2.7450199999999998</c:v>
                </c:pt>
                <c:pt idx="3455">
                  <c:v>2.44712</c:v>
                </c:pt>
                <c:pt idx="3456">
                  <c:v>2.3510499999999999</c:v>
                </c:pt>
                <c:pt idx="3457">
                  <c:v>2.5287700000000002</c:v>
                </c:pt>
                <c:pt idx="3458">
                  <c:v>2.7780399999999998</c:v>
                </c:pt>
                <c:pt idx="3459">
                  <c:v>3.1249199999999999</c:v>
                </c:pt>
                <c:pt idx="3460">
                  <c:v>3.08074</c:v>
                </c:pt>
                <c:pt idx="3461">
                  <c:v>2.9064999999999999</c:v>
                </c:pt>
                <c:pt idx="3462">
                  <c:v>3.27108</c:v>
                </c:pt>
                <c:pt idx="3463">
                  <c:v>2.5637799999999999</c:v>
                </c:pt>
                <c:pt idx="3464">
                  <c:v>3.25379</c:v>
                </c:pt>
                <c:pt idx="3465">
                  <c:v>3.1022500000000002</c:v>
                </c:pt>
                <c:pt idx="3466">
                  <c:v>3.3152200000000001</c:v>
                </c:pt>
                <c:pt idx="3467">
                  <c:v>3.6162800000000002</c:v>
                </c:pt>
                <c:pt idx="3468">
                  <c:v>3.0189599999999999</c:v>
                </c:pt>
                <c:pt idx="3469">
                  <c:v>2.86429</c:v>
                </c:pt>
                <c:pt idx="3470">
                  <c:v>2.9987900000000001</c:v>
                </c:pt>
                <c:pt idx="3471">
                  <c:v>3.0866400000000001</c:v>
                </c:pt>
                <c:pt idx="3472">
                  <c:v>3.49214</c:v>
                </c:pt>
                <c:pt idx="3473">
                  <c:v>2.89899</c:v>
                </c:pt>
                <c:pt idx="3474">
                  <c:v>2.7097500000000001</c:v>
                </c:pt>
                <c:pt idx="3475">
                  <c:v>2.8644400000000001</c:v>
                </c:pt>
                <c:pt idx="3476">
                  <c:v>2.7307999999999999</c:v>
                </c:pt>
                <c:pt idx="3477">
                  <c:v>2.7669999999999999</c:v>
                </c:pt>
                <c:pt idx="3478">
                  <c:v>3.11131</c:v>
                </c:pt>
                <c:pt idx="3479">
                  <c:v>3.2948</c:v>
                </c:pt>
                <c:pt idx="3480">
                  <c:v>2.7214</c:v>
                </c:pt>
                <c:pt idx="3481">
                  <c:v>2.96001</c:v>
                </c:pt>
                <c:pt idx="3482">
                  <c:v>2.5854599999999999</c:v>
                </c:pt>
                <c:pt idx="3483">
                  <c:v>3.4479899999999999</c:v>
                </c:pt>
                <c:pt idx="3484">
                  <c:v>3.23584</c:v>
                </c:pt>
                <c:pt idx="3485">
                  <c:v>2.8106</c:v>
                </c:pt>
                <c:pt idx="3486">
                  <c:v>3.4794299999999998</c:v>
                </c:pt>
                <c:pt idx="3487">
                  <c:v>2.63381</c:v>
                </c:pt>
                <c:pt idx="3488">
                  <c:v>3.4505699999999999</c:v>
                </c:pt>
                <c:pt idx="3489">
                  <c:v>3.3645499999999999</c:v>
                </c:pt>
                <c:pt idx="3490">
                  <c:v>3.0505300000000002</c:v>
                </c:pt>
                <c:pt idx="3491">
                  <c:v>2.9369999999999998</c:v>
                </c:pt>
                <c:pt idx="3492">
                  <c:v>2.9540700000000002</c:v>
                </c:pt>
                <c:pt idx="3493">
                  <c:v>2.6087699999999998</c:v>
                </c:pt>
                <c:pt idx="3494">
                  <c:v>3.4877600000000002</c:v>
                </c:pt>
                <c:pt idx="3495">
                  <c:v>2.9984000000000002</c:v>
                </c:pt>
                <c:pt idx="3496">
                  <c:v>3.7869999999999999</c:v>
                </c:pt>
                <c:pt idx="3497">
                  <c:v>3.72105</c:v>
                </c:pt>
                <c:pt idx="3498">
                  <c:v>3.4981200000000001</c:v>
                </c:pt>
                <c:pt idx="3499">
                  <c:v>2.8745099999999999</c:v>
                </c:pt>
                <c:pt idx="3500">
                  <c:v>2.6584400000000001</c:v>
                </c:pt>
                <c:pt idx="3501">
                  <c:v>2.7069000000000001</c:v>
                </c:pt>
                <c:pt idx="3502">
                  <c:v>2.9689100000000002</c:v>
                </c:pt>
                <c:pt idx="3503">
                  <c:v>3.5582099999999999</c:v>
                </c:pt>
                <c:pt idx="3504">
                  <c:v>3.7675399999999999</c:v>
                </c:pt>
                <c:pt idx="3505">
                  <c:v>2.4242900000000001</c:v>
                </c:pt>
                <c:pt idx="3506">
                  <c:v>2.4468299999999998</c:v>
                </c:pt>
                <c:pt idx="3507">
                  <c:v>2.4294799999999999</c:v>
                </c:pt>
                <c:pt idx="3508">
                  <c:v>2.8200500000000002</c:v>
                </c:pt>
                <c:pt idx="3509">
                  <c:v>2.99031</c:v>
                </c:pt>
                <c:pt idx="3510">
                  <c:v>2.8186900000000001</c:v>
                </c:pt>
                <c:pt idx="3511">
                  <c:v>3.3741599999999998</c:v>
                </c:pt>
                <c:pt idx="3512">
                  <c:v>3.2471100000000002</c:v>
                </c:pt>
                <c:pt idx="3513">
                  <c:v>3.6183999999999998</c:v>
                </c:pt>
                <c:pt idx="3514">
                  <c:v>2.9674100000000001</c:v>
                </c:pt>
                <c:pt idx="3515">
                  <c:v>3.23291</c:v>
                </c:pt>
                <c:pt idx="3516">
                  <c:v>3.1257999999999999</c:v>
                </c:pt>
                <c:pt idx="3517">
                  <c:v>2.63361</c:v>
                </c:pt>
                <c:pt idx="3518">
                  <c:v>2.64615</c:v>
                </c:pt>
                <c:pt idx="3519">
                  <c:v>2.7434799999999999</c:v>
                </c:pt>
                <c:pt idx="3520">
                  <c:v>3.1961400000000002</c:v>
                </c:pt>
                <c:pt idx="3521">
                  <c:v>3.3518400000000002</c:v>
                </c:pt>
                <c:pt idx="3522">
                  <c:v>3.2737099999999999</c:v>
                </c:pt>
                <c:pt idx="3523">
                  <c:v>2.8449599999999999</c:v>
                </c:pt>
                <c:pt idx="3524">
                  <c:v>3.0247299999999999</c:v>
                </c:pt>
                <c:pt idx="3525">
                  <c:v>3.2170000000000001</c:v>
                </c:pt>
                <c:pt idx="3526">
                  <c:v>3.3540100000000002</c:v>
                </c:pt>
                <c:pt idx="3527">
                  <c:v>3.6784599999999998</c:v>
                </c:pt>
                <c:pt idx="3528">
                  <c:v>3.1248</c:v>
                </c:pt>
                <c:pt idx="3529">
                  <c:v>2.74708</c:v>
                </c:pt>
                <c:pt idx="3530">
                  <c:v>2.5628299999999999</c:v>
                </c:pt>
                <c:pt idx="3531">
                  <c:v>3.1467499999999999</c:v>
                </c:pt>
                <c:pt idx="3532">
                  <c:v>3.3854700000000002</c:v>
                </c:pt>
                <c:pt idx="3533">
                  <c:v>2.8805000000000001</c:v>
                </c:pt>
                <c:pt idx="3534">
                  <c:v>3.3135400000000002</c:v>
                </c:pt>
                <c:pt idx="3535">
                  <c:v>2.8182800000000001</c:v>
                </c:pt>
                <c:pt idx="3536">
                  <c:v>2.4526400000000002</c:v>
                </c:pt>
                <c:pt idx="3537">
                  <c:v>2.9027599999999998</c:v>
                </c:pt>
                <c:pt idx="3538">
                  <c:v>2.2670699999999999</c:v>
                </c:pt>
                <c:pt idx="3539">
                  <c:v>3.2560699999999998</c:v>
                </c:pt>
                <c:pt idx="3540">
                  <c:v>2.5699700000000001</c:v>
                </c:pt>
                <c:pt idx="3541">
                  <c:v>2.9377900000000001</c:v>
                </c:pt>
                <c:pt idx="3542">
                  <c:v>2.79339</c:v>
                </c:pt>
                <c:pt idx="3543">
                  <c:v>3.1674500000000001</c:v>
                </c:pt>
                <c:pt idx="3544">
                  <c:v>3.2064400000000002</c:v>
                </c:pt>
                <c:pt idx="3545">
                  <c:v>2.4592800000000001</c:v>
                </c:pt>
                <c:pt idx="3546">
                  <c:v>2.8545699999999998</c:v>
                </c:pt>
                <c:pt idx="3547">
                  <c:v>2.5073799999999999</c:v>
                </c:pt>
                <c:pt idx="3548">
                  <c:v>2.6737099999999998</c:v>
                </c:pt>
                <c:pt idx="3549">
                  <c:v>3.2103999999999999</c:v>
                </c:pt>
                <c:pt idx="3550">
                  <c:v>3.2547199999999998</c:v>
                </c:pt>
                <c:pt idx="3551">
                  <c:v>2.99586</c:v>
                </c:pt>
                <c:pt idx="3552">
                  <c:v>3.3120500000000002</c:v>
                </c:pt>
                <c:pt idx="3553">
                  <c:v>2.9885999999999999</c:v>
                </c:pt>
                <c:pt idx="3554">
                  <c:v>2.9962200000000001</c:v>
                </c:pt>
                <c:pt idx="3555">
                  <c:v>2.2240500000000001</c:v>
                </c:pt>
                <c:pt idx="3556">
                  <c:v>2.6303299999999998</c:v>
                </c:pt>
                <c:pt idx="3557">
                  <c:v>3.2278899999999999</c:v>
                </c:pt>
                <c:pt idx="3558">
                  <c:v>3.8327599999999999</c:v>
                </c:pt>
                <c:pt idx="3559">
                  <c:v>3.4111600000000002</c:v>
                </c:pt>
                <c:pt idx="3560">
                  <c:v>3.0741399999999999</c:v>
                </c:pt>
                <c:pt idx="3561">
                  <c:v>2.3001800000000001</c:v>
                </c:pt>
                <c:pt idx="3562">
                  <c:v>2.3010999999999999</c:v>
                </c:pt>
                <c:pt idx="3563">
                  <c:v>2.54189</c:v>
                </c:pt>
                <c:pt idx="3564">
                  <c:v>3.0843600000000002</c:v>
                </c:pt>
                <c:pt idx="3565">
                  <c:v>3.6924700000000001</c:v>
                </c:pt>
                <c:pt idx="3566">
                  <c:v>3.0432800000000002</c:v>
                </c:pt>
                <c:pt idx="3567">
                  <c:v>3.4897300000000002</c:v>
                </c:pt>
                <c:pt idx="3568">
                  <c:v>3.1627999999999998</c:v>
                </c:pt>
                <c:pt idx="3569">
                  <c:v>3.0700400000000001</c:v>
                </c:pt>
                <c:pt idx="3570">
                  <c:v>3.5365099999999998</c:v>
                </c:pt>
                <c:pt idx="3571">
                  <c:v>3.5458400000000001</c:v>
                </c:pt>
                <c:pt idx="3572">
                  <c:v>4.2761399999999998</c:v>
                </c:pt>
                <c:pt idx="3573">
                  <c:v>3.1480199999999998</c:v>
                </c:pt>
                <c:pt idx="3574">
                  <c:v>2.9852599999999998</c:v>
                </c:pt>
                <c:pt idx="3575">
                  <c:v>2.7197200000000001</c:v>
                </c:pt>
                <c:pt idx="3576">
                  <c:v>3.29548</c:v>
                </c:pt>
                <c:pt idx="3577">
                  <c:v>3.5428899999999999</c:v>
                </c:pt>
                <c:pt idx="3578">
                  <c:v>2.988</c:v>
                </c:pt>
                <c:pt idx="3579">
                  <c:v>2.48265</c:v>
                </c:pt>
                <c:pt idx="3580">
                  <c:v>2.42869</c:v>
                </c:pt>
                <c:pt idx="3581">
                  <c:v>3.27163</c:v>
                </c:pt>
                <c:pt idx="3582">
                  <c:v>3.6987000000000001</c:v>
                </c:pt>
                <c:pt idx="3583">
                  <c:v>2.57605</c:v>
                </c:pt>
                <c:pt idx="3584">
                  <c:v>2.6975600000000002</c:v>
                </c:pt>
                <c:pt idx="3585">
                  <c:v>2.8970400000000001</c:v>
                </c:pt>
                <c:pt idx="3586">
                  <c:v>3.2005300000000001</c:v>
                </c:pt>
                <c:pt idx="3587">
                  <c:v>3.64053</c:v>
                </c:pt>
                <c:pt idx="3588">
                  <c:v>3.7129300000000001</c:v>
                </c:pt>
                <c:pt idx="3589">
                  <c:v>3.6893400000000001</c:v>
                </c:pt>
                <c:pt idx="3590">
                  <c:v>2.9859800000000001</c:v>
                </c:pt>
                <c:pt idx="3591">
                  <c:v>2.8590499999999999</c:v>
                </c:pt>
                <c:pt idx="3592">
                  <c:v>2.9592000000000001</c:v>
                </c:pt>
                <c:pt idx="3593">
                  <c:v>3.17015</c:v>
                </c:pt>
                <c:pt idx="3594">
                  <c:v>3.9016999999999999</c:v>
                </c:pt>
                <c:pt idx="3595">
                  <c:v>3.1615700000000002</c:v>
                </c:pt>
                <c:pt idx="3596">
                  <c:v>3.2033100000000001</c:v>
                </c:pt>
                <c:pt idx="3597">
                  <c:v>2.31168</c:v>
                </c:pt>
                <c:pt idx="3598">
                  <c:v>2.9585900000000001</c:v>
                </c:pt>
                <c:pt idx="3599">
                  <c:v>3.06345</c:v>
                </c:pt>
                <c:pt idx="3600">
                  <c:v>3.4139400000000002</c:v>
                </c:pt>
                <c:pt idx="3601">
                  <c:v>3.2185999999999999</c:v>
                </c:pt>
                <c:pt idx="3602">
                  <c:v>3.9868600000000001</c:v>
                </c:pt>
                <c:pt idx="3603">
                  <c:v>4.0574399999999997</c:v>
                </c:pt>
                <c:pt idx="3604">
                  <c:v>3.2900299999999998</c:v>
                </c:pt>
                <c:pt idx="3605">
                  <c:v>2.9264399999999999</c:v>
                </c:pt>
                <c:pt idx="3606">
                  <c:v>2.4923000000000002</c:v>
                </c:pt>
                <c:pt idx="3607">
                  <c:v>2.7650100000000002</c:v>
                </c:pt>
                <c:pt idx="3608">
                  <c:v>3.0068999999999999</c:v>
                </c:pt>
                <c:pt idx="3609">
                  <c:v>3.0061100000000001</c:v>
                </c:pt>
                <c:pt idx="3610">
                  <c:v>3.59551</c:v>
                </c:pt>
                <c:pt idx="3611">
                  <c:v>3.0802800000000001</c:v>
                </c:pt>
                <c:pt idx="3612">
                  <c:v>2.7484600000000001</c:v>
                </c:pt>
                <c:pt idx="3613">
                  <c:v>4.1279599999999999</c:v>
                </c:pt>
                <c:pt idx="3614">
                  <c:v>3.28165</c:v>
                </c:pt>
                <c:pt idx="3615">
                  <c:v>3.5518700000000001</c:v>
                </c:pt>
                <c:pt idx="3616">
                  <c:v>2.8512200000000001</c:v>
                </c:pt>
                <c:pt idx="3617">
                  <c:v>2.7410999999999999</c:v>
                </c:pt>
                <c:pt idx="3618">
                  <c:v>3.32748</c:v>
                </c:pt>
                <c:pt idx="3619">
                  <c:v>3.5462199999999999</c:v>
                </c:pt>
                <c:pt idx="3620">
                  <c:v>4.0172999999999996</c:v>
                </c:pt>
                <c:pt idx="3621">
                  <c:v>3.12398</c:v>
                </c:pt>
                <c:pt idx="3622">
                  <c:v>2.96096</c:v>
                </c:pt>
                <c:pt idx="3623">
                  <c:v>2.8530600000000002</c:v>
                </c:pt>
                <c:pt idx="3624">
                  <c:v>3.35209</c:v>
                </c:pt>
                <c:pt idx="3625">
                  <c:v>3.3355000000000001</c:v>
                </c:pt>
                <c:pt idx="3626">
                  <c:v>3.5385300000000002</c:v>
                </c:pt>
                <c:pt idx="3627">
                  <c:v>3.5437699999999999</c:v>
                </c:pt>
                <c:pt idx="3628">
                  <c:v>3.3256000000000001</c:v>
                </c:pt>
                <c:pt idx="3629">
                  <c:v>2.8433999999999999</c:v>
                </c:pt>
                <c:pt idx="3630">
                  <c:v>3.7580200000000001</c:v>
                </c:pt>
                <c:pt idx="3631">
                  <c:v>3.5615999999999999</c:v>
                </c:pt>
                <c:pt idx="3632">
                  <c:v>3.5998000000000001</c:v>
                </c:pt>
                <c:pt idx="3633">
                  <c:v>3.60826</c:v>
                </c:pt>
                <c:pt idx="3634">
                  <c:v>3.56914</c:v>
                </c:pt>
                <c:pt idx="3635">
                  <c:v>3.2574999999999998</c:v>
                </c:pt>
                <c:pt idx="3636">
                  <c:v>3.70764</c:v>
                </c:pt>
                <c:pt idx="3637">
                  <c:v>3.7537600000000002</c:v>
                </c:pt>
                <c:pt idx="3638">
                  <c:v>3.4010199999999999</c:v>
                </c:pt>
                <c:pt idx="3639">
                  <c:v>3.1853199999999999</c:v>
                </c:pt>
                <c:pt idx="3640">
                  <c:v>2.5070100000000002</c:v>
                </c:pt>
                <c:pt idx="3641">
                  <c:v>3.0563500000000001</c:v>
                </c:pt>
                <c:pt idx="3642">
                  <c:v>3.3978000000000002</c:v>
                </c:pt>
                <c:pt idx="3643">
                  <c:v>3.5639699999999999</c:v>
                </c:pt>
                <c:pt idx="3644">
                  <c:v>3.3710800000000001</c:v>
                </c:pt>
                <c:pt idx="3645">
                  <c:v>3.0427900000000001</c:v>
                </c:pt>
                <c:pt idx="3646">
                  <c:v>3.3493200000000001</c:v>
                </c:pt>
                <c:pt idx="3647">
                  <c:v>3.3499599999999998</c:v>
                </c:pt>
                <c:pt idx="3648">
                  <c:v>4.2896000000000001</c:v>
                </c:pt>
                <c:pt idx="3649">
                  <c:v>4.3750999999999998</c:v>
                </c:pt>
                <c:pt idx="3650">
                  <c:v>4.2793999999999999</c:v>
                </c:pt>
                <c:pt idx="3651">
                  <c:v>3.7633299999999998</c:v>
                </c:pt>
                <c:pt idx="3652">
                  <c:v>3.2456200000000002</c:v>
                </c:pt>
                <c:pt idx="3653">
                  <c:v>3.59924</c:v>
                </c:pt>
                <c:pt idx="3654">
                  <c:v>3.3877999999999999</c:v>
                </c:pt>
                <c:pt idx="3655">
                  <c:v>4.37791</c:v>
                </c:pt>
                <c:pt idx="3656">
                  <c:v>3.81928</c:v>
                </c:pt>
                <c:pt idx="3657">
                  <c:v>3.2485300000000001</c:v>
                </c:pt>
                <c:pt idx="3658">
                  <c:v>2.9003299999999999</c:v>
                </c:pt>
                <c:pt idx="3659">
                  <c:v>3.0546099999999998</c:v>
                </c:pt>
                <c:pt idx="3660">
                  <c:v>3.8351199999999999</c:v>
                </c:pt>
                <c:pt idx="3661">
                  <c:v>3.1498900000000001</c:v>
                </c:pt>
                <c:pt idx="3662">
                  <c:v>3.9053599999999999</c:v>
                </c:pt>
                <c:pt idx="3663">
                  <c:v>4.05579</c:v>
                </c:pt>
                <c:pt idx="3664">
                  <c:v>3.8474300000000001</c:v>
                </c:pt>
                <c:pt idx="3665">
                  <c:v>4.6447799999999999</c:v>
                </c:pt>
                <c:pt idx="3666">
                  <c:v>3.5971299999999999</c:v>
                </c:pt>
                <c:pt idx="3667">
                  <c:v>3.8112599999999999</c:v>
                </c:pt>
                <c:pt idx="3668">
                  <c:v>3.38958</c:v>
                </c:pt>
                <c:pt idx="3669">
                  <c:v>3.59579</c:v>
                </c:pt>
                <c:pt idx="3670">
                  <c:v>3.1332599999999999</c:v>
                </c:pt>
                <c:pt idx="3671">
                  <c:v>3.4887299999999999</c:v>
                </c:pt>
                <c:pt idx="3672">
                  <c:v>3.9553400000000001</c:v>
                </c:pt>
                <c:pt idx="3673">
                  <c:v>3.4181499999999998</c:v>
                </c:pt>
                <c:pt idx="3674">
                  <c:v>3.74437</c:v>
                </c:pt>
                <c:pt idx="3675">
                  <c:v>2.9280300000000001</c:v>
                </c:pt>
                <c:pt idx="3676">
                  <c:v>2.90028</c:v>
                </c:pt>
                <c:pt idx="3677">
                  <c:v>3.0611600000000001</c:v>
                </c:pt>
                <c:pt idx="3678">
                  <c:v>3.7433299999999998</c:v>
                </c:pt>
                <c:pt idx="3679">
                  <c:v>3.70411</c:v>
                </c:pt>
                <c:pt idx="3680">
                  <c:v>3.2887499999999998</c:v>
                </c:pt>
                <c:pt idx="3681">
                  <c:v>3.6267999999999998</c:v>
                </c:pt>
                <c:pt idx="3682">
                  <c:v>3.3883399999999999</c:v>
                </c:pt>
                <c:pt idx="3683">
                  <c:v>3.72254</c:v>
                </c:pt>
                <c:pt idx="3684">
                  <c:v>3.2475000000000001</c:v>
                </c:pt>
                <c:pt idx="3685">
                  <c:v>3.0541</c:v>
                </c:pt>
                <c:pt idx="3686">
                  <c:v>2.9683099999999998</c:v>
                </c:pt>
                <c:pt idx="3687">
                  <c:v>3.4964900000000001</c:v>
                </c:pt>
                <c:pt idx="3688">
                  <c:v>3.3299099999999999</c:v>
                </c:pt>
                <c:pt idx="3689">
                  <c:v>3.7924199999999999</c:v>
                </c:pt>
                <c:pt idx="3690">
                  <c:v>3.9108499999999999</c:v>
                </c:pt>
                <c:pt idx="3691">
                  <c:v>3.7636500000000002</c:v>
                </c:pt>
                <c:pt idx="3692">
                  <c:v>3.7225999999999999</c:v>
                </c:pt>
                <c:pt idx="3693">
                  <c:v>3.1822699999999999</c:v>
                </c:pt>
                <c:pt idx="3694">
                  <c:v>3.3683000000000001</c:v>
                </c:pt>
                <c:pt idx="3695">
                  <c:v>3.5325500000000001</c:v>
                </c:pt>
                <c:pt idx="3696">
                  <c:v>3.7579500000000001</c:v>
                </c:pt>
                <c:pt idx="3697">
                  <c:v>3.8734299999999999</c:v>
                </c:pt>
                <c:pt idx="3698">
                  <c:v>3.3444099999999999</c:v>
                </c:pt>
                <c:pt idx="3699">
                  <c:v>2.9611200000000002</c:v>
                </c:pt>
                <c:pt idx="3700">
                  <c:v>3.0860799999999999</c:v>
                </c:pt>
                <c:pt idx="3701">
                  <c:v>3.6139800000000002</c:v>
                </c:pt>
                <c:pt idx="3702">
                  <c:v>3.8048500000000001</c:v>
                </c:pt>
                <c:pt idx="3703">
                  <c:v>3.5041000000000002</c:v>
                </c:pt>
                <c:pt idx="3704">
                  <c:v>3.6921599999999999</c:v>
                </c:pt>
                <c:pt idx="3705">
                  <c:v>3.8275000000000001</c:v>
                </c:pt>
                <c:pt idx="3706">
                  <c:v>2.96766</c:v>
                </c:pt>
                <c:pt idx="3707">
                  <c:v>3.3905599999999998</c:v>
                </c:pt>
                <c:pt idx="3708">
                  <c:v>3.4255</c:v>
                </c:pt>
                <c:pt idx="3709">
                  <c:v>3.8350900000000001</c:v>
                </c:pt>
                <c:pt idx="3710">
                  <c:v>3.53409</c:v>
                </c:pt>
                <c:pt idx="3711">
                  <c:v>3.8607200000000002</c:v>
                </c:pt>
                <c:pt idx="3712">
                  <c:v>3.2293699999999999</c:v>
                </c:pt>
                <c:pt idx="3713">
                  <c:v>3.8331300000000001</c:v>
                </c:pt>
                <c:pt idx="3714">
                  <c:v>3.87012</c:v>
                </c:pt>
                <c:pt idx="3715">
                  <c:v>3.8314300000000001</c:v>
                </c:pt>
                <c:pt idx="3716">
                  <c:v>3.8059400000000001</c:v>
                </c:pt>
                <c:pt idx="3717">
                  <c:v>3.2195</c:v>
                </c:pt>
                <c:pt idx="3718">
                  <c:v>3.7466499999999998</c:v>
                </c:pt>
                <c:pt idx="3719">
                  <c:v>3.3337300000000001</c:v>
                </c:pt>
                <c:pt idx="3720">
                  <c:v>3.43465</c:v>
                </c:pt>
                <c:pt idx="3721">
                  <c:v>3.0656599999999998</c:v>
                </c:pt>
                <c:pt idx="3722">
                  <c:v>2.5623100000000001</c:v>
                </c:pt>
                <c:pt idx="3723">
                  <c:v>3.0951599999999999</c:v>
                </c:pt>
                <c:pt idx="3724">
                  <c:v>3.2328899999999998</c:v>
                </c:pt>
                <c:pt idx="3725">
                  <c:v>4.2645200000000001</c:v>
                </c:pt>
                <c:pt idx="3726">
                  <c:v>4.4515099999999999</c:v>
                </c:pt>
                <c:pt idx="3727">
                  <c:v>3.6640899999999998</c:v>
                </c:pt>
                <c:pt idx="3728">
                  <c:v>3.4051100000000001</c:v>
                </c:pt>
                <c:pt idx="3729">
                  <c:v>3.8013499999999998</c:v>
                </c:pt>
                <c:pt idx="3730">
                  <c:v>3.5684300000000002</c:v>
                </c:pt>
                <c:pt idx="3731">
                  <c:v>3.79122</c:v>
                </c:pt>
                <c:pt idx="3732">
                  <c:v>3.1772</c:v>
                </c:pt>
                <c:pt idx="3733">
                  <c:v>3.6798799999999998</c:v>
                </c:pt>
                <c:pt idx="3734">
                  <c:v>4.0432899999999998</c:v>
                </c:pt>
                <c:pt idx="3735">
                  <c:v>4.0160200000000001</c:v>
                </c:pt>
                <c:pt idx="3736">
                  <c:v>3.2550599999999998</c:v>
                </c:pt>
                <c:pt idx="3737">
                  <c:v>3.34558</c:v>
                </c:pt>
                <c:pt idx="3738">
                  <c:v>2.7679</c:v>
                </c:pt>
                <c:pt idx="3739">
                  <c:v>3.3069799999999998</c:v>
                </c:pt>
                <c:pt idx="3740">
                  <c:v>4.0590999999999999</c:v>
                </c:pt>
                <c:pt idx="3741">
                  <c:v>3.9688099999999999</c:v>
                </c:pt>
                <c:pt idx="3742">
                  <c:v>4.3149100000000002</c:v>
                </c:pt>
                <c:pt idx="3743">
                  <c:v>3.7583199999999999</c:v>
                </c:pt>
                <c:pt idx="3744">
                  <c:v>3.3346</c:v>
                </c:pt>
                <c:pt idx="3745">
                  <c:v>3.6877800000000001</c:v>
                </c:pt>
                <c:pt idx="3746">
                  <c:v>3.5792799999999998</c:v>
                </c:pt>
                <c:pt idx="3747">
                  <c:v>3.8344499999999999</c:v>
                </c:pt>
                <c:pt idx="3748">
                  <c:v>2.8410000000000002</c:v>
                </c:pt>
                <c:pt idx="3749">
                  <c:v>4.0836600000000001</c:v>
                </c:pt>
                <c:pt idx="3750">
                  <c:v>2.7854199999999998</c:v>
                </c:pt>
                <c:pt idx="3751">
                  <c:v>3.45404</c:v>
                </c:pt>
                <c:pt idx="3752">
                  <c:v>3.9634200000000002</c:v>
                </c:pt>
                <c:pt idx="3753">
                  <c:v>3.7956099999999999</c:v>
                </c:pt>
                <c:pt idx="3754">
                  <c:v>4.1267199999999997</c:v>
                </c:pt>
                <c:pt idx="3755">
                  <c:v>3.3074499999999998</c:v>
                </c:pt>
                <c:pt idx="3756">
                  <c:v>3.7038799999999998</c:v>
                </c:pt>
                <c:pt idx="3757">
                  <c:v>3.7230599999999998</c:v>
                </c:pt>
                <c:pt idx="3758">
                  <c:v>4.0136099999999999</c:v>
                </c:pt>
                <c:pt idx="3759">
                  <c:v>3.53891</c:v>
                </c:pt>
                <c:pt idx="3760">
                  <c:v>2.9906000000000001</c:v>
                </c:pt>
                <c:pt idx="3761">
                  <c:v>3.2293699999999999</c:v>
                </c:pt>
                <c:pt idx="3762">
                  <c:v>3.3341099999999999</c:v>
                </c:pt>
                <c:pt idx="3763">
                  <c:v>4.1147200000000002</c:v>
                </c:pt>
                <c:pt idx="3764">
                  <c:v>3.9156599999999999</c:v>
                </c:pt>
                <c:pt idx="3765">
                  <c:v>4.0814700000000004</c:v>
                </c:pt>
                <c:pt idx="3766">
                  <c:v>3.6888399999999999</c:v>
                </c:pt>
                <c:pt idx="3767">
                  <c:v>3.0097900000000002</c:v>
                </c:pt>
                <c:pt idx="3768">
                  <c:v>3.0426799999999998</c:v>
                </c:pt>
                <c:pt idx="3769">
                  <c:v>3.7032099999999999</c:v>
                </c:pt>
                <c:pt idx="3770">
                  <c:v>4.0774900000000001</c:v>
                </c:pt>
                <c:pt idx="3771">
                  <c:v>4.8621800000000004</c:v>
                </c:pt>
                <c:pt idx="3772">
                  <c:v>4.1795799999999996</c:v>
                </c:pt>
                <c:pt idx="3773">
                  <c:v>3.8779400000000002</c:v>
                </c:pt>
                <c:pt idx="3774">
                  <c:v>3.4059599999999999</c:v>
                </c:pt>
                <c:pt idx="3775">
                  <c:v>2.7627899999999999</c:v>
                </c:pt>
                <c:pt idx="3776">
                  <c:v>3.7701600000000002</c:v>
                </c:pt>
                <c:pt idx="3777">
                  <c:v>3.63957</c:v>
                </c:pt>
                <c:pt idx="3778">
                  <c:v>4.7325600000000003</c:v>
                </c:pt>
                <c:pt idx="3779">
                  <c:v>4.3825000000000003</c:v>
                </c:pt>
                <c:pt idx="3780">
                  <c:v>3.9361899999999999</c:v>
                </c:pt>
                <c:pt idx="3781">
                  <c:v>3.6797200000000001</c:v>
                </c:pt>
                <c:pt idx="3782">
                  <c:v>3.8323200000000002</c:v>
                </c:pt>
                <c:pt idx="3783">
                  <c:v>3.7152699999999999</c:v>
                </c:pt>
                <c:pt idx="3784">
                  <c:v>3.65584</c:v>
                </c:pt>
                <c:pt idx="3785">
                  <c:v>3.8280099999999999</c:v>
                </c:pt>
                <c:pt idx="3786">
                  <c:v>3.6275400000000002</c:v>
                </c:pt>
                <c:pt idx="3787">
                  <c:v>4.5764500000000004</c:v>
                </c:pt>
                <c:pt idx="3788">
                  <c:v>4.4106500000000004</c:v>
                </c:pt>
                <c:pt idx="3789">
                  <c:v>4.7912100000000004</c:v>
                </c:pt>
                <c:pt idx="3790">
                  <c:v>3.8719899999999998</c:v>
                </c:pt>
                <c:pt idx="3791">
                  <c:v>3.61957</c:v>
                </c:pt>
                <c:pt idx="3792">
                  <c:v>3.52894</c:v>
                </c:pt>
                <c:pt idx="3793">
                  <c:v>3.9062000000000001</c:v>
                </c:pt>
                <c:pt idx="3794">
                  <c:v>3.9733900000000002</c:v>
                </c:pt>
                <c:pt idx="3795">
                  <c:v>4.1541300000000003</c:v>
                </c:pt>
                <c:pt idx="3796">
                  <c:v>4.3490599999999997</c:v>
                </c:pt>
                <c:pt idx="3797">
                  <c:v>3.57681</c:v>
                </c:pt>
                <c:pt idx="3798">
                  <c:v>3.4661400000000002</c:v>
                </c:pt>
                <c:pt idx="3799">
                  <c:v>3.1488499999999999</c:v>
                </c:pt>
                <c:pt idx="3800">
                  <c:v>3.8031600000000001</c:v>
                </c:pt>
                <c:pt idx="3801">
                  <c:v>4.2215199999999999</c:v>
                </c:pt>
                <c:pt idx="3802">
                  <c:v>4.9823000000000004</c:v>
                </c:pt>
                <c:pt idx="3803">
                  <c:v>4.4232100000000001</c:v>
                </c:pt>
                <c:pt idx="3804">
                  <c:v>3.4957099999999999</c:v>
                </c:pt>
                <c:pt idx="3805">
                  <c:v>4.2540199999999997</c:v>
                </c:pt>
                <c:pt idx="3806">
                  <c:v>3.8942800000000002</c:v>
                </c:pt>
                <c:pt idx="3807">
                  <c:v>5.0469900000000001</c:v>
                </c:pt>
                <c:pt idx="3808">
                  <c:v>4.28782</c:v>
                </c:pt>
                <c:pt idx="3809">
                  <c:v>3.8776799999999998</c:v>
                </c:pt>
                <c:pt idx="3810">
                  <c:v>4.4882799999999996</c:v>
                </c:pt>
                <c:pt idx="3811">
                  <c:v>3.5705300000000002</c:v>
                </c:pt>
                <c:pt idx="3812">
                  <c:v>4.7392000000000003</c:v>
                </c:pt>
                <c:pt idx="3813">
                  <c:v>3.71272</c:v>
                </c:pt>
                <c:pt idx="3814">
                  <c:v>4.49491</c:v>
                </c:pt>
                <c:pt idx="3815">
                  <c:v>4.0819900000000002</c:v>
                </c:pt>
                <c:pt idx="3816">
                  <c:v>3.87466</c:v>
                </c:pt>
                <c:pt idx="3817">
                  <c:v>4.5216599999999998</c:v>
                </c:pt>
                <c:pt idx="3818">
                  <c:v>4.5774499999999998</c:v>
                </c:pt>
                <c:pt idx="3819">
                  <c:v>4.87859</c:v>
                </c:pt>
                <c:pt idx="3820">
                  <c:v>3.9054099999999998</c:v>
                </c:pt>
                <c:pt idx="3821">
                  <c:v>3.9547400000000001</c:v>
                </c:pt>
                <c:pt idx="3822">
                  <c:v>3.4339900000000001</c:v>
                </c:pt>
                <c:pt idx="3823">
                  <c:v>4.0389799999999996</c:v>
                </c:pt>
                <c:pt idx="3824">
                  <c:v>4.6159499999999998</c:v>
                </c:pt>
                <c:pt idx="3825">
                  <c:v>4.65761</c:v>
                </c:pt>
                <c:pt idx="3826">
                  <c:v>4.2366799999999998</c:v>
                </c:pt>
                <c:pt idx="3827">
                  <c:v>3.7313700000000001</c:v>
                </c:pt>
                <c:pt idx="3828">
                  <c:v>3.8977499999999998</c:v>
                </c:pt>
                <c:pt idx="3829">
                  <c:v>3.9971399999999999</c:v>
                </c:pt>
                <c:pt idx="3830">
                  <c:v>3.9008799999999999</c:v>
                </c:pt>
                <c:pt idx="3831">
                  <c:v>4.4842899999999997</c:v>
                </c:pt>
                <c:pt idx="3832">
                  <c:v>4.3988300000000002</c:v>
                </c:pt>
                <c:pt idx="3833">
                  <c:v>4.5139300000000002</c:v>
                </c:pt>
                <c:pt idx="3834">
                  <c:v>4.4262499999999996</c:v>
                </c:pt>
                <c:pt idx="3835">
                  <c:v>4.3537499999999998</c:v>
                </c:pt>
                <c:pt idx="3836">
                  <c:v>4.5558800000000002</c:v>
                </c:pt>
                <c:pt idx="3837">
                  <c:v>4.0036899999999997</c:v>
                </c:pt>
                <c:pt idx="3838">
                  <c:v>3.50936</c:v>
                </c:pt>
                <c:pt idx="3839">
                  <c:v>3.72336</c:v>
                </c:pt>
                <c:pt idx="3840">
                  <c:v>4.1684200000000002</c:v>
                </c:pt>
                <c:pt idx="3841">
                  <c:v>4.46692</c:v>
                </c:pt>
                <c:pt idx="3842">
                  <c:v>4.8277900000000002</c:v>
                </c:pt>
                <c:pt idx="3843">
                  <c:v>4.7285199999999996</c:v>
                </c:pt>
                <c:pt idx="3844">
                  <c:v>3.7764600000000002</c:v>
                </c:pt>
                <c:pt idx="3845">
                  <c:v>3.44957</c:v>
                </c:pt>
                <c:pt idx="3846">
                  <c:v>3.71088</c:v>
                </c:pt>
                <c:pt idx="3847">
                  <c:v>4.3435300000000003</c:v>
                </c:pt>
                <c:pt idx="3848">
                  <c:v>4.8121600000000004</c:v>
                </c:pt>
                <c:pt idx="3849">
                  <c:v>4.9275599999999997</c:v>
                </c:pt>
                <c:pt idx="3850">
                  <c:v>4.5377299999999998</c:v>
                </c:pt>
                <c:pt idx="3851">
                  <c:v>4.1540299999999997</c:v>
                </c:pt>
                <c:pt idx="3852">
                  <c:v>4.5508800000000003</c:v>
                </c:pt>
                <c:pt idx="3853">
                  <c:v>4.2853000000000003</c:v>
                </c:pt>
                <c:pt idx="3854">
                  <c:v>4.0982799999999999</c:v>
                </c:pt>
                <c:pt idx="3855">
                  <c:v>4.06182</c:v>
                </c:pt>
                <c:pt idx="3856">
                  <c:v>3.71156</c:v>
                </c:pt>
                <c:pt idx="3857">
                  <c:v>4.4455499999999999</c:v>
                </c:pt>
                <c:pt idx="3858">
                  <c:v>3.57463</c:v>
                </c:pt>
                <c:pt idx="3859">
                  <c:v>4.35243</c:v>
                </c:pt>
                <c:pt idx="3860">
                  <c:v>3.9028399999999999</c:v>
                </c:pt>
                <c:pt idx="3861">
                  <c:v>4.1559699999999999</c:v>
                </c:pt>
                <c:pt idx="3862">
                  <c:v>3.6309100000000001</c:v>
                </c:pt>
                <c:pt idx="3863">
                  <c:v>4.1048600000000004</c:v>
                </c:pt>
                <c:pt idx="3864">
                  <c:v>4.48386</c:v>
                </c:pt>
                <c:pt idx="3865">
                  <c:v>4.4081999999999999</c:v>
                </c:pt>
                <c:pt idx="3866">
                  <c:v>4.6425700000000001</c:v>
                </c:pt>
                <c:pt idx="3867">
                  <c:v>3.9762900000000001</c:v>
                </c:pt>
                <c:pt idx="3868">
                  <c:v>4.3181500000000002</c:v>
                </c:pt>
                <c:pt idx="3869">
                  <c:v>4.8189299999999999</c:v>
                </c:pt>
                <c:pt idx="3870">
                  <c:v>4.9216499999999996</c:v>
                </c:pt>
                <c:pt idx="3871">
                  <c:v>5.0586099999999998</c:v>
                </c:pt>
                <c:pt idx="3872">
                  <c:v>4.1670800000000003</c:v>
                </c:pt>
                <c:pt idx="3873">
                  <c:v>4.3644400000000001</c:v>
                </c:pt>
                <c:pt idx="3874">
                  <c:v>3.7739500000000001</c:v>
                </c:pt>
                <c:pt idx="3875">
                  <c:v>3.6589200000000002</c:v>
                </c:pt>
                <c:pt idx="3876">
                  <c:v>3.7528700000000002</c:v>
                </c:pt>
                <c:pt idx="3877">
                  <c:v>4.9708600000000001</c:v>
                </c:pt>
                <c:pt idx="3878">
                  <c:v>4.5305200000000001</c:v>
                </c:pt>
                <c:pt idx="3879">
                  <c:v>4.2583599999999997</c:v>
                </c:pt>
                <c:pt idx="3880">
                  <c:v>4.4188599999999996</c:v>
                </c:pt>
                <c:pt idx="3881">
                  <c:v>3.7554799999999999</c:v>
                </c:pt>
                <c:pt idx="3882">
                  <c:v>3.7674699999999999</c:v>
                </c:pt>
                <c:pt idx="3883">
                  <c:v>4.1810099999999997</c:v>
                </c:pt>
                <c:pt idx="3884">
                  <c:v>4.3652499999999996</c:v>
                </c:pt>
                <c:pt idx="3885">
                  <c:v>4.0693900000000003</c:v>
                </c:pt>
                <c:pt idx="3886">
                  <c:v>3.7569400000000002</c:v>
                </c:pt>
                <c:pt idx="3887">
                  <c:v>4.4622000000000002</c:v>
                </c:pt>
                <c:pt idx="3888">
                  <c:v>3.80274</c:v>
                </c:pt>
                <c:pt idx="3889">
                  <c:v>4.3871900000000004</c:v>
                </c:pt>
                <c:pt idx="3890">
                  <c:v>3.8505099999999999</c:v>
                </c:pt>
                <c:pt idx="3891">
                  <c:v>3.39717</c:v>
                </c:pt>
                <c:pt idx="3892">
                  <c:v>4.5880099999999997</c:v>
                </c:pt>
                <c:pt idx="3893">
                  <c:v>3.48346</c:v>
                </c:pt>
                <c:pt idx="3894">
                  <c:v>4.7990399999999998</c:v>
                </c:pt>
                <c:pt idx="3895">
                  <c:v>4.77271</c:v>
                </c:pt>
                <c:pt idx="3896">
                  <c:v>4.3410099999999998</c:v>
                </c:pt>
                <c:pt idx="3897">
                  <c:v>4.4306999999999999</c:v>
                </c:pt>
                <c:pt idx="3898">
                  <c:v>3.9566499999999998</c:v>
                </c:pt>
                <c:pt idx="3899">
                  <c:v>3.81677</c:v>
                </c:pt>
                <c:pt idx="3900">
                  <c:v>3.9485999999999999</c:v>
                </c:pt>
                <c:pt idx="3901">
                  <c:v>4.0875399999999997</c:v>
                </c:pt>
                <c:pt idx="3902">
                  <c:v>3.66595</c:v>
                </c:pt>
                <c:pt idx="3903">
                  <c:v>3.32599</c:v>
                </c:pt>
                <c:pt idx="3904">
                  <c:v>4.4225899999999996</c:v>
                </c:pt>
                <c:pt idx="3905">
                  <c:v>3.48793</c:v>
                </c:pt>
                <c:pt idx="3906">
                  <c:v>3.5553400000000002</c:v>
                </c:pt>
                <c:pt idx="3907">
                  <c:v>3.7094800000000001</c:v>
                </c:pt>
                <c:pt idx="3908">
                  <c:v>3.1942599999999999</c:v>
                </c:pt>
                <c:pt idx="3909">
                  <c:v>3.53613</c:v>
                </c:pt>
                <c:pt idx="3910">
                  <c:v>3.9409200000000002</c:v>
                </c:pt>
                <c:pt idx="3911">
                  <c:v>4.72919</c:v>
                </c:pt>
                <c:pt idx="3912">
                  <c:v>3.73353</c:v>
                </c:pt>
                <c:pt idx="3913">
                  <c:v>3.57823</c:v>
                </c:pt>
                <c:pt idx="3914">
                  <c:v>3.3500999999999999</c:v>
                </c:pt>
                <c:pt idx="3915">
                  <c:v>3.8106599999999999</c:v>
                </c:pt>
                <c:pt idx="3916">
                  <c:v>3.4194599999999999</c:v>
                </c:pt>
                <c:pt idx="3917">
                  <c:v>3.8760400000000002</c:v>
                </c:pt>
                <c:pt idx="3918">
                  <c:v>3.7998799999999999</c:v>
                </c:pt>
                <c:pt idx="3919">
                  <c:v>3.8685999999999998</c:v>
                </c:pt>
                <c:pt idx="3920">
                  <c:v>2.9771200000000002</c:v>
                </c:pt>
                <c:pt idx="3921">
                  <c:v>2.6015299999999999</c:v>
                </c:pt>
                <c:pt idx="3922">
                  <c:v>3.3123399999999998</c:v>
                </c:pt>
                <c:pt idx="3923">
                  <c:v>3.56772</c:v>
                </c:pt>
                <c:pt idx="3924">
                  <c:v>3.7386699999999999</c:v>
                </c:pt>
                <c:pt idx="3925">
                  <c:v>4.0746799999999999</c:v>
                </c:pt>
                <c:pt idx="3926">
                  <c:v>3.6297799999999998</c:v>
                </c:pt>
                <c:pt idx="3927">
                  <c:v>3.9106900000000002</c:v>
                </c:pt>
                <c:pt idx="3928">
                  <c:v>3.7256399999999998</c:v>
                </c:pt>
                <c:pt idx="3929">
                  <c:v>3.1095600000000001</c:v>
                </c:pt>
                <c:pt idx="3930">
                  <c:v>2.97898</c:v>
                </c:pt>
                <c:pt idx="3931">
                  <c:v>2.7549700000000001</c:v>
                </c:pt>
                <c:pt idx="3932">
                  <c:v>3.2181600000000001</c:v>
                </c:pt>
                <c:pt idx="3933">
                  <c:v>3.5163899999999999</c:v>
                </c:pt>
                <c:pt idx="3934">
                  <c:v>3.8814299999999999</c:v>
                </c:pt>
                <c:pt idx="3935">
                  <c:v>4.02719</c:v>
                </c:pt>
                <c:pt idx="3936">
                  <c:v>3.17022</c:v>
                </c:pt>
                <c:pt idx="3937">
                  <c:v>3.2890100000000002</c:v>
                </c:pt>
                <c:pt idx="3938">
                  <c:v>2.3309099999999998</c:v>
                </c:pt>
                <c:pt idx="3939">
                  <c:v>2.7839499999999999</c:v>
                </c:pt>
                <c:pt idx="3940">
                  <c:v>3.8005200000000001</c:v>
                </c:pt>
                <c:pt idx="3941">
                  <c:v>4.27752</c:v>
                </c:pt>
                <c:pt idx="3942">
                  <c:v>4.2419500000000001</c:v>
                </c:pt>
                <c:pt idx="3943">
                  <c:v>3.4573200000000002</c:v>
                </c:pt>
                <c:pt idx="3944">
                  <c:v>3.0778799999999999</c:v>
                </c:pt>
                <c:pt idx="3945">
                  <c:v>2.98855</c:v>
                </c:pt>
                <c:pt idx="3946">
                  <c:v>3.1028600000000002</c:v>
                </c:pt>
                <c:pt idx="3947">
                  <c:v>3.1003400000000001</c:v>
                </c:pt>
                <c:pt idx="3948">
                  <c:v>2.46211</c:v>
                </c:pt>
                <c:pt idx="3949">
                  <c:v>2.6335099999999998</c:v>
                </c:pt>
                <c:pt idx="3950">
                  <c:v>3.06114</c:v>
                </c:pt>
                <c:pt idx="3951">
                  <c:v>3.5103399999999998</c:v>
                </c:pt>
                <c:pt idx="3952">
                  <c:v>3.5777600000000001</c:v>
                </c:pt>
                <c:pt idx="3953">
                  <c:v>3.3821699999999999</c:v>
                </c:pt>
                <c:pt idx="3954">
                  <c:v>3.3899599999999999</c:v>
                </c:pt>
                <c:pt idx="3955">
                  <c:v>2.5938699999999999</c:v>
                </c:pt>
                <c:pt idx="3956">
                  <c:v>3.3324799999999999</c:v>
                </c:pt>
                <c:pt idx="3957">
                  <c:v>3.4395500000000001</c:v>
                </c:pt>
                <c:pt idx="3958">
                  <c:v>3.7954400000000001</c:v>
                </c:pt>
                <c:pt idx="3959">
                  <c:v>3.7204299999999999</c:v>
                </c:pt>
                <c:pt idx="3960">
                  <c:v>3.30017</c:v>
                </c:pt>
                <c:pt idx="3961">
                  <c:v>3.3525399999999999</c:v>
                </c:pt>
                <c:pt idx="3962">
                  <c:v>3.15862</c:v>
                </c:pt>
                <c:pt idx="3963">
                  <c:v>3.6783100000000002</c:v>
                </c:pt>
                <c:pt idx="3964">
                  <c:v>3.4461499999999998</c:v>
                </c:pt>
                <c:pt idx="3965">
                  <c:v>3.0312600000000001</c:v>
                </c:pt>
                <c:pt idx="3966">
                  <c:v>2.47885</c:v>
                </c:pt>
                <c:pt idx="3967">
                  <c:v>2.9593699999999998</c:v>
                </c:pt>
                <c:pt idx="3968">
                  <c:v>3.1363500000000002</c:v>
                </c:pt>
                <c:pt idx="3969">
                  <c:v>3.59836</c:v>
                </c:pt>
                <c:pt idx="3970">
                  <c:v>4.0607699999999998</c:v>
                </c:pt>
                <c:pt idx="3971">
                  <c:v>3.7208600000000001</c:v>
                </c:pt>
                <c:pt idx="3972">
                  <c:v>4.2612699999999997</c:v>
                </c:pt>
                <c:pt idx="3973">
                  <c:v>3.4403700000000002</c:v>
                </c:pt>
                <c:pt idx="3974">
                  <c:v>3.3837100000000002</c:v>
                </c:pt>
                <c:pt idx="3975">
                  <c:v>3.5547200000000001</c:v>
                </c:pt>
                <c:pt idx="3976">
                  <c:v>3.4522900000000001</c:v>
                </c:pt>
                <c:pt idx="3977">
                  <c:v>3.7099899999999999</c:v>
                </c:pt>
                <c:pt idx="3978">
                  <c:v>3.7345000000000002</c:v>
                </c:pt>
                <c:pt idx="3979">
                  <c:v>3.2552699999999999</c:v>
                </c:pt>
                <c:pt idx="3980">
                  <c:v>3.3201900000000002</c:v>
                </c:pt>
                <c:pt idx="3981">
                  <c:v>3.6989700000000001</c:v>
                </c:pt>
                <c:pt idx="3982">
                  <c:v>3.7581500000000001</c:v>
                </c:pt>
                <c:pt idx="3983">
                  <c:v>2.88218</c:v>
                </c:pt>
                <c:pt idx="3984">
                  <c:v>3.12161</c:v>
                </c:pt>
                <c:pt idx="3985">
                  <c:v>3.3732700000000002</c:v>
                </c:pt>
                <c:pt idx="3986">
                  <c:v>3.4707699999999999</c:v>
                </c:pt>
                <c:pt idx="3987">
                  <c:v>3.99342</c:v>
                </c:pt>
                <c:pt idx="3988">
                  <c:v>3.5633900000000001</c:v>
                </c:pt>
                <c:pt idx="3989">
                  <c:v>3.5341</c:v>
                </c:pt>
                <c:pt idx="3990">
                  <c:v>3.3714</c:v>
                </c:pt>
                <c:pt idx="3991">
                  <c:v>3.2081200000000001</c:v>
                </c:pt>
                <c:pt idx="3992">
                  <c:v>3.59931</c:v>
                </c:pt>
                <c:pt idx="3993">
                  <c:v>3.0948799999999999</c:v>
                </c:pt>
                <c:pt idx="3994">
                  <c:v>3.84876</c:v>
                </c:pt>
                <c:pt idx="3995">
                  <c:v>3.69922</c:v>
                </c:pt>
                <c:pt idx="3996">
                  <c:v>4.1406499999999999</c:v>
                </c:pt>
                <c:pt idx="3997">
                  <c:v>3.8610199999999999</c:v>
                </c:pt>
                <c:pt idx="3998">
                  <c:v>2.8871099999999998</c:v>
                </c:pt>
                <c:pt idx="3999">
                  <c:v>2.8761800000000002</c:v>
                </c:pt>
                <c:pt idx="4000">
                  <c:v>3.0265300000000002</c:v>
                </c:pt>
                <c:pt idx="4001">
                  <c:v>3.1581000000000001</c:v>
                </c:pt>
                <c:pt idx="4002">
                  <c:v>3.7720799999999999</c:v>
                </c:pt>
                <c:pt idx="4003">
                  <c:v>4.4778700000000002</c:v>
                </c:pt>
                <c:pt idx="4004">
                  <c:v>3.7478500000000001</c:v>
                </c:pt>
                <c:pt idx="4005">
                  <c:v>3.7040000000000002</c:v>
                </c:pt>
                <c:pt idx="4006">
                  <c:v>3.1555499999999999</c:v>
                </c:pt>
                <c:pt idx="4007">
                  <c:v>3.32565</c:v>
                </c:pt>
                <c:pt idx="4008">
                  <c:v>3.0167299999999999</c:v>
                </c:pt>
                <c:pt idx="4009">
                  <c:v>3.35399</c:v>
                </c:pt>
                <c:pt idx="4010">
                  <c:v>3.2406700000000002</c:v>
                </c:pt>
                <c:pt idx="4011">
                  <c:v>3.5444300000000002</c:v>
                </c:pt>
                <c:pt idx="4012">
                  <c:v>2.8099699999999999</c:v>
                </c:pt>
                <c:pt idx="4013">
                  <c:v>3.45092</c:v>
                </c:pt>
                <c:pt idx="4014">
                  <c:v>3.0933099999999998</c:v>
                </c:pt>
                <c:pt idx="4015">
                  <c:v>3.5493299999999999</c:v>
                </c:pt>
                <c:pt idx="4016">
                  <c:v>3.3231700000000002</c:v>
                </c:pt>
                <c:pt idx="4017">
                  <c:v>3.1951200000000002</c:v>
                </c:pt>
                <c:pt idx="4018">
                  <c:v>3.7955000000000001</c:v>
                </c:pt>
                <c:pt idx="4019">
                  <c:v>3.5432899999999998</c:v>
                </c:pt>
                <c:pt idx="4020">
                  <c:v>3.66269</c:v>
                </c:pt>
                <c:pt idx="4021">
                  <c:v>3.1227</c:v>
                </c:pt>
                <c:pt idx="4022">
                  <c:v>2.96652</c:v>
                </c:pt>
                <c:pt idx="4023">
                  <c:v>2.9693299999999998</c:v>
                </c:pt>
                <c:pt idx="4024">
                  <c:v>3.4951500000000002</c:v>
                </c:pt>
                <c:pt idx="4025">
                  <c:v>3.6543999999999999</c:v>
                </c:pt>
                <c:pt idx="4026">
                  <c:v>3.1158000000000001</c:v>
                </c:pt>
                <c:pt idx="4027">
                  <c:v>3.60745</c:v>
                </c:pt>
                <c:pt idx="4028">
                  <c:v>3.0814499999999998</c:v>
                </c:pt>
                <c:pt idx="4029">
                  <c:v>2.8561399999999999</c:v>
                </c:pt>
                <c:pt idx="4030">
                  <c:v>3.6198800000000002</c:v>
                </c:pt>
                <c:pt idx="4031">
                  <c:v>3.3561299999999998</c:v>
                </c:pt>
                <c:pt idx="4032">
                  <c:v>4.2472799999999999</c:v>
                </c:pt>
                <c:pt idx="4033">
                  <c:v>3.7555299999999998</c:v>
                </c:pt>
                <c:pt idx="4034">
                  <c:v>3.7766799999999998</c:v>
                </c:pt>
                <c:pt idx="4035">
                  <c:v>2.9112200000000001</c:v>
                </c:pt>
                <c:pt idx="4036">
                  <c:v>3.6469999999999998</c:v>
                </c:pt>
                <c:pt idx="4037">
                  <c:v>3.6009000000000002</c:v>
                </c:pt>
                <c:pt idx="4038">
                  <c:v>2.9525100000000002</c:v>
                </c:pt>
                <c:pt idx="4039">
                  <c:v>3.6802700000000002</c:v>
                </c:pt>
                <c:pt idx="4040">
                  <c:v>3.4934099999999999</c:v>
                </c:pt>
                <c:pt idx="4041">
                  <c:v>3.9986299999999999</c:v>
                </c:pt>
                <c:pt idx="4042">
                  <c:v>3.3133499999999998</c:v>
                </c:pt>
                <c:pt idx="4043">
                  <c:v>2.8695599999999999</c:v>
                </c:pt>
                <c:pt idx="4044">
                  <c:v>2.8766400000000001</c:v>
                </c:pt>
                <c:pt idx="4045">
                  <c:v>3.1206499999999999</c:v>
                </c:pt>
                <c:pt idx="4046">
                  <c:v>3.5102899999999999</c:v>
                </c:pt>
                <c:pt idx="4047">
                  <c:v>3.7760199999999999</c:v>
                </c:pt>
                <c:pt idx="4048">
                  <c:v>3.6970900000000002</c:v>
                </c:pt>
                <c:pt idx="4049">
                  <c:v>3.8121399999999999</c:v>
                </c:pt>
                <c:pt idx="4050">
                  <c:v>3.7389100000000002</c:v>
                </c:pt>
                <c:pt idx="4051">
                  <c:v>4.0890399999999998</c:v>
                </c:pt>
                <c:pt idx="4052">
                  <c:v>3.2543199999999999</c:v>
                </c:pt>
                <c:pt idx="4053">
                  <c:v>3.94442</c:v>
                </c:pt>
                <c:pt idx="4054">
                  <c:v>3.4263699999999999</c:v>
                </c:pt>
                <c:pt idx="4055">
                  <c:v>4.3723700000000001</c:v>
                </c:pt>
                <c:pt idx="4056">
                  <c:v>3.7735799999999999</c:v>
                </c:pt>
                <c:pt idx="4057">
                  <c:v>4.1737099999999998</c:v>
                </c:pt>
                <c:pt idx="4058">
                  <c:v>4.1920999999999999</c:v>
                </c:pt>
                <c:pt idx="4059">
                  <c:v>3.7477299999999998</c:v>
                </c:pt>
                <c:pt idx="4060">
                  <c:v>5.1613300000000004</c:v>
                </c:pt>
                <c:pt idx="4061">
                  <c:v>3.6528399999999999</c:v>
                </c:pt>
                <c:pt idx="4062">
                  <c:v>4.1701499999999996</c:v>
                </c:pt>
                <c:pt idx="4063">
                  <c:v>4.63089</c:v>
                </c:pt>
                <c:pt idx="4064">
                  <c:v>4.7828200000000001</c:v>
                </c:pt>
                <c:pt idx="4065">
                  <c:v>4.9196</c:v>
                </c:pt>
                <c:pt idx="4066">
                  <c:v>4.1199000000000003</c:v>
                </c:pt>
                <c:pt idx="4067">
                  <c:v>3.61572</c:v>
                </c:pt>
                <c:pt idx="4068">
                  <c:v>2.78423</c:v>
                </c:pt>
                <c:pt idx="4069">
                  <c:v>2.6375999999999999</c:v>
                </c:pt>
                <c:pt idx="4070">
                  <c:v>3.19665</c:v>
                </c:pt>
                <c:pt idx="4071">
                  <c:v>2.8654700000000002</c:v>
                </c:pt>
                <c:pt idx="4072">
                  <c:v>2.4167200000000002</c:v>
                </c:pt>
                <c:pt idx="4073">
                  <c:v>2.3215699999999999</c:v>
                </c:pt>
                <c:pt idx="4074">
                  <c:v>2.40551</c:v>
                </c:pt>
                <c:pt idx="4075">
                  <c:v>2.8952800000000001</c:v>
                </c:pt>
                <c:pt idx="4076">
                  <c:v>2.5301999999999998</c:v>
                </c:pt>
                <c:pt idx="4077">
                  <c:v>3.25136</c:v>
                </c:pt>
                <c:pt idx="4078">
                  <c:v>2.9807999999999999</c:v>
                </c:pt>
                <c:pt idx="4079">
                  <c:v>3.26789</c:v>
                </c:pt>
                <c:pt idx="4080">
                  <c:v>3.7247699999999999</c:v>
                </c:pt>
                <c:pt idx="4081">
                  <c:v>4.4259199999999996</c:v>
                </c:pt>
                <c:pt idx="4082">
                  <c:v>4.2666300000000001</c:v>
                </c:pt>
                <c:pt idx="4083">
                  <c:v>4.2165400000000002</c:v>
                </c:pt>
                <c:pt idx="4084">
                  <c:v>3.5900599999999998</c:v>
                </c:pt>
                <c:pt idx="4085">
                  <c:v>4.0976699999999999</c:v>
                </c:pt>
                <c:pt idx="4086">
                  <c:v>4.16214</c:v>
                </c:pt>
                <c:pt idx="4087">
                  <c:v>3.8155700000000001</c:v>
                </c:pt>
                <c:pt idx="4088">
                  <c:v>3.34558</c:v>
                </c:pt>
                <c:pt idx="4089">
                  <c:v>2.9144000000000001</c:v>
                </c:pt>
                <c:pt idx="4090">
                  <c:v>2.2785799999999998</c:v>
                </c:pt>
                <c:pt idx="4091">
                  <c:v>2.7352599999999998</c:v>
                </c:pt>
                <c:pt idx="4092">
                  <c:v>3.3075100000000002</c:v>
                </c:pt>
                <c:pt idx="4093">
                  <c:v>3.5697700000000001</c:v>
                </c:pt>
                <c:pt idx="4094">
                  <c:v>3.7153299999999998</c:v>
                </c:pt>
                <c:pt idx="4095">
                  <c:v>3.3058299999999998</c:v>
                </c:pt>
                <c:pt idx="4096">
                  <c:v>3.6478000000000002</c:v>
                </c:pt>
                <c:pt idx="4097">
                  <c:v>3.2749100000000002</c:v>
                </c:pt>
                <c:pt idx="4098">
                  <c:v>2.6936</c:v>
                </c:pt>
                <c:pt idx="4099">
                  <c:v>3.3870499999999999</c:v>
                </c:pt>
                <c:pt idx="4100">
                  <c:v>3.4623599999999999</c:v>
                </c:pt>
                <c:pt idx="4101">
                  <c:v>4.0886100000000001</c:v>
                </c:pt>
                <c:pt idx="4102">
                  <c:v>3.81447</c:v>
                </c:pt>
                <c:pt idx="4103">
                  <c:v>3.51667</c:v>
                </c:pt>
                <c:pt idx="4104">
                  <c:v>3.6421299999999999</c:v>
                </c:pt>
                <c:pt idx="4105">
                  <c:v>2.8331599999999999</c:v>
                </c:pt>
                <c:pt idx="4106">
                  <c:v>2.5660099999999999</c:v>
                </c:pt>
                <c:pt idx="4107">
                  <c:v>3.4346299999999998</c:v>
                </c:pt>
                <c:pt idx="4108">
                  <c:v>3.0011399999999999</c:v>
                </c:pt>
                <c:pt idx="4109">
                  <c:v>3.6298499999999998</c:v>
                </c:pt>
                <c:pt idx="4110">
                  <c:v>3.2342900000000001</c:v>
                </c:pt>
                <c:pt idx="4111">
                  <c:v>3.8281499999999999</c:v>
                </c:pt>
                <c:pt idx="4112">
                  <c:v>3.8237199999999998</c:v>
                </c:pt>
                <c:pt idx="4113">
                  <c:v>2.9877799999999999</c:v>
                </c:pt>
                <c:pt idx="4114">
                  <c:v>3.2307199999999998</c:v>
                </c:pt>
                <c:pt idx="4115">
                  <c:v>2.0909200000000001</c:v>
                </c:pt>
                <c:pt idx="4116">
                  <c:v>3.1854200000000001</c:v>
                </c:pt>
                <c:pt idx="4117">
                  <c:v>3.4933800000000002</c:v>
                </c:pt>
                <c:pt idx="4118">
                  <c:v>4.02318</c:v>
                </c:pt>
                <c:pt idx="4119">
                  <c:v>3.5893000000000002</c:v>
                </c:pt>
                <c:pt idx="4120">
                  <c:v>3.1489500000000001</c:v>
                </c:pt>
                <c:pt idx="4121">
                  <c:v>3.2918400000000001</c:v>
                </c:pt>
                <c:pt idx="4122">
                  <c:v>2.80457</c:v>
                </c:pt>
                <c:pt idx="4123">
                  <c:v>3.4902700000000002</c:v>
                </c:pt>
                <c:pt idx="4124">
                  <c:v>3.4627500000000002</c:v>
                </c:pt>
                <c:pt idx="4125">
                  <c:v>3.9658500000000001</c:v>
                </c:pt>
                <c:pt idx="4126">
                  <c:v>3.6582300000000001</c:v>
                </c:pt>
                <c:pt idx="4127">
                  <c:v>3.1464599999999998</c:v>
                </c:pt>
                <c:pt idx="4128">
                  <c:v>3.7599499999999999</c:v>
                </c:pt>
                <c:pt idx="4129">
                  <c:v>3.0676899999999998</c:v>
                </c:pt>
                <c:pt idx="4130">
                  <c:v>4.1635900000000001</c:v>
                </c:pt>
                <c:pt idx="4131">
                  <c:v>3.6792400000000001</c:v>
                </c:pt>
                <c:pt idx="4132">
                  <c:v>2.8522099999999999</c:v>
                </c:pt>
                <c:pt idx="4133">
                  <c:v>3.3016999999999999</c:v>
                </c:pt>
                <c:pt idx="4134">
                  <c:v>3.0515099999999999</c:v>
                </c:pt>
                <c:pt idx="4135">
                  <c:v>3.7312799999999999</c:v>
                </c:pt>
                <c:pt idx="4136">
                  <c:v>3.0628600000000001</c:v>
                </c:pt>
                <c:pt idx="4137">
                  <c:v>3.58236</c:v>
                </c:pt>
                <c:pt idx="4138">
                  <c:v>3.4409100000000001</c:v>
                </c:pt>
                <c:pt idx="4139">
                  <c:v>3.3585400000000001</c:v>
                </c:pt>
                <c:pt idx="4140">
                  <c:v>3.9682200000000001</c:v>
                </c:pt>
                <c:pt idx="4141">
                  <c:v>4.2895300000000001</c:v>
                </c:pt>
                <c:pt idx="4142">
                  <c:v>5.2354700000000003</c:v>
                </c:pt>
                <c:pt idx="4143">
                  <c:v>3.3835999999999999</c:v>
                </c:pt>
                <c:pt idx="4144">
                  <c:v>3.0851099999999998</c:v>
                </c:pt>
                <c:pt idx="4145">
                  <c:v>3.3039299999999998</c:v>
                </c:pt>
                <c:pt idx="4146">
                  <c:v>3.2099899999999999</c:v>
                </c:pt>
                <c:pt idx="4147">
                  <c:v>4.0432499999999996</c:v>
                </c:pt>
                <c:pt idx="4148">
                  <c:v>3.3096800000000002</c:v>
                </c:pt>
                <c:pt idx="4149">
                  <c:v>3.12107</c:v>
                </c:pt>
                <c:pt idx="4150">
                  <c:v>2.39981</c:v>
                </c:pt>
                <c:pt idx="4151">
                  <c:v>2.3854799999999998</c:v>
                </c:pt>
                <c:pt idx="4152">
                  <c:v>2.93283</c:v>
                </c:pt>
                <c:pt idx="4153">
                  <c:v>3.6383800000000002</c:v>
                </c:pt>
                <c:pt idx="4154">
                  <c:v>3.99024</c:v>
                </c:pt>
                <c:pt idx="4155">
                  <c:v>3.8265199999999999</c:v>
                </c:pt>
                <c:pt idx="4156">
                  <c:v>3.9803999999999999</c:v>
                </c:pt>
                <c:pt idx="4157">
                  <c:v>3.7540900000000001</c:v>
                </c:pt>
                <c:pt idx="4158">
                  <c:v>3.3740000000000001</c:v>
                </c:pt>
                <c:pt idx="4159">
                  <c:v>2.8463500000000002</c:v>
                </c:pt>
                <c:pt idx="4160">
                  <c:v>3.3520599999999998</c:v>
                </c:pt>
                <c:pt idx="4161">
                  <c:v>3.4517000000000002</c:v>
                </c:pt>
                <c:pt idx="4162">
                  <c:v>3.20811</c:v>
                </c:pt>
                <c:pt idx="4163">
                  <c:v>3.6221700000000001</c:v>
                </c:pt>
                <c:pt idx="4164">
                  <c:v>3.1678099999999998</c:v>
                </c:pt>
                <c:pt idx="4165">
                  <c:v>2.6057100000000002</c:v>
                </c:pt>
                <c:pt idx="4166">
                  <c:v>3.08358</c:v>
                </c:pt>
                <c:pt idx="4167">
                  <c:v>2.6887500000000002</c:v>
                </c:pt>
                <c:pt idx="4168">
                  <c:v>2.8520500000000002</c:v>
                </c:pt>
                <c:pt idx="4169">
                  <c:v>3.1816800000000001</c:v>
                </c:pt>
                <c:pt idx="4170">
                  <c:v>2.8868</c:v>
                </c:pt>
                <c:pt idx="4171">
                  <c:v>4.0470499999999996</c:v>
                </c:pt>
                <c:pt idx="4172">
                  <c:v>3.75413</c:v>
                </c:pt>
                <c:pt idx="4173">
                  <c:v>3.6677200000000001</c:v>
                </c:pt>
                <c:pt idx="4174">
                  <c:v>3.0400499999999999</c:v>
                </c:pt>
                <c:pt idx="4175">
                  <c:v>3.0379900000000002</c:v>
                </c:pt>
                <c:pt idx="4176">
                  <c:v>2.4822099999999998</c:v>
                </c:pt>
                <c:pt idx="4177">
                  <c:v>3.1991000000000001</c:v>
                </c:pt>
                <c:pt idx="4178">
                  <c:v>3.59375</c:v>
                </c:pt>
                <c:pt idx="4179">
                  <c:v>3.8271600000000001</c:v>
                </c:pt>
                <c:pt idx="4180">
                  <c:v>4.1047900000000004</c:v>
                </c:pt>
                <c:pt idx="4181">
                  <c:v>3.34613</c:v>
                </c:pt>
                <c:pt idx="4182">
                  <c:v>2.90795</c:v>
                </c:pt>
                <c:pt idx="4183">
                  <c:v>2.5388199999999999</c:v>
                </c:pt>
                <c:pt idx="4184">
                  <c:v>3.1010599999999999</c:v>
                </c:pt>
                <c:pt idx="4185">
                  <c:v>3.5178699999999998</c:v>
                </c:pt>
                <c:pt idx="4186">
                  <c:v>2.9639899999999999</c:v>
                </c:pt>
                <c:pt idx="4187">
                  <c:v>4.0894599999999999</c:v>
                </c:pt>
                <c:pt idx="4188">
                  <c:v>2.9941900000000001</c:v>
                </c:pt>
                <c:pt idx="4189">
                  <c:v>3.4135300000000002</c:v>
                </c:pt>
                <c:pt idx="4190">
                  <c:v>3.7574700000000001</c:v>
                </c:pt>
                <c:pt idx="4191">
                  <c:v>3.5461299999999998</c:v>
                </c:pt>
                <c:pt idx="4192">
                  <c:v>3.1661000000000001</c:v>
                </c:pt>
                <c:pt idx="4193">
                  <c:v>2.9288799999999999</c:v>
                </c:pt>
                <c:pt idx="4194">
                  <c:v>3.1166499999999999</c:v>
                </c:pt>
                <c:pt idx="4195">
                  <c:v>2.9558399999999998</c:v>
                </c:pt>
                <c:pt idx="4196">
                  <c:v>3.4317899999999999</c:v>
                </c:pt>
                <c:pt idx="4197">
                  <c:v>3.2639300000000002</c:v>
                </c:pt>
                <c:pt idx="4198">
                  <c:v>2.9404400000000002</c:v>
                </c:pt>
                <c:pt idx="4199">
                  <c:v>4.0117799999999999</c:v>
                </c:pt>
                <c:pt idx="4200">
                  <c:v>3.1759400000000002</c:v>
                </c:pt>
                <c:pt idx="4201">
                  <c:v>3.6556199999999999</c:v>
                </c:pt>
                <c:pt idx="4202">
                  <c:v>3.8872100000000001</c:v>
                </c:pt>
                <c:pt idx="4203">
                  <c:v>3.5249899999999998</c:v>
                </c:pt>
                <c:pt idx="4204">
                  <c:v>2.8856600000000001</c:v>
                </c:pt>
                <c:pt idx="4205">
                  <c:v>2.5880700000000001</c:v>
                </c:pt>
                <c:pt idx="4206">
                  <c:v>3.10521</c:v>
                </c:pt>
                <c:pt idx="4207">
                  <c:v>3.1946300000000001</c:v>
                </c:pt>
                <c:pt idx="4208">
                  <c:v>3.4703499999999998</c:v>
                </c:pt>
                <c:pt idx="4209">
                  <c:v>3.1313599999999999</c:v>
                </c:pt>
                <c:pt idx="4210">
                  <c:v>2.6087400000000001</c:v>
                </c:pt>
                <c:pt idx="4211">
                  <c:v>2.6946400000000001</c:v>
                </c:pt>
                <c:pt idx="4212">
                  <c:v>2.8804400000000001</c:v>
                </c:pt>
                <c:pt idx="4213">
                  <c:v>2.9394200000000001</c:v>
                </c:pt>
                <c:pt idx="4214">
                  <c:v>3.0948199999999999</c:v>
                </c:pt>
                <c:pt idx="4215">
                  <c:v>3.7680899999999999</c:v>
                </c:pt>
                <c:pt idx="4216">
                  <c:v>3.3307099999999998</c:v>
                </c:pt>
                <c:pt idx="4217">
                  <c:v>3.2590300000000001</c:v>
                </c:pt>
                <c:pt idx="4218">
                  <c:v>3.7070400000000001</c:v>
                </c:pt>
                <c:pt idx="4219">
                  <c:v>3.4683899999999999</c:v>
                </c:pt>
                <c:pt idx="4220">
                  <c:v>3.26735</c:v>
                </c:pt>
                <c:pt idx="4221">
                  <c:v>2.9320300000000001</c:v>
                </c:pt>
                <c:pt idx="4222">
                  <c:v>2.45729</c:v>
                </c:pt>
                <c:pt idx="4223">
                  <c:v>2.6958799999999998</c:v>
                </c:pt>
                <c:pt idx="4224">
                  <c:v>3.42564</c:v>
                </c:pt>
                <c:pt idx="4225">
                  <c:v>3.8464299999999998</c:v>
                </c:pt>
                <c:pt idx="4226">
                  <c:v>3.6774499999999999</c:v>
                </c:pt>
                <c:pt idx="4227">
                  <c:v>3.56047</c:v>
                </c:pt>
                <c:pt idx="4228">
                  <c:v>2.3485900000000002</c:v>
                </c:pt>
                <c:pt idx="4229">
                  <c:v>2.77216</c:v>
                </c:pt>
                <c:pt idx="4230">
                  <c:v>2.6893400000000001</c:v>
                </c:pt>
                <c:pt idx="4231">
                  <c:v>3.2534299999999998</c:v>
                </c:pt>
                <c:pt idx="4232">
                  <c:v>4.07362</c:v>
                </c:pt>
                <c:pt idx="4233">
                  <c:v>3.6795800000000001</c:v>
                </c:pt>
                <c:pt idx="4234">
                  <c:v>3.0891500000000001</c:v>
                </c:pt>
                <c:pt idx="4235">
                  <c:v>3.2050900000000002</c:v>
                </c:pt>
                <c:pt idx="4236">
                  <c:v>3.2410000000000001</c:v>
                </c:pt>
                <c:pt idx="4237">
                  <c:v>3.16066</c:v>
                </c:pt>
                <c:pt idx="4238">
                  <c:v>3.3817599999999999</c:v>
                </c:pt>
                <c:pt idx="4239">
                  <c:v>2.8044899999999999</c:v>
                </c:pt>
                <c:pt idx="4240">
                  <c:v>2.4481799999999998</c:v>
                </c:pt>
                <c:pt idx="4241">
                  <c:v>3.02969</c:v>
                </c:pt>
                <c:pt idx="4242">
                  <c:v>2.5758100000000002</c:v>
                </c:pt>
                <c:pt idx="4243">
                  <c:v>3.7996300000000001</c:v>
                </c:pt>
                <c:pt idx="4244">
                  <c:v>3.6533799999999998</c:v>
                </c:pt>
                <c:pt idx="4245">
                  <c:v>2.6274600000000001</c:v>
                </c:pt>
                <c:pt idx="4246">
                  <c:v>2.6879499999999998</c:v>
                </c:pt>
                <c:pt idx="4247">
                  <c:v>2.7714699999999999</c:v>
                </c:pt>
                <c:pt idx="4248">
                  <c:v>3.2948</c:v>
                </c:pt>
                <c:pt idx="4249">
                  <c:v>3.2498399999999998</c:v>
                </c:pt>
                <c:pt idx="4250">
                  <c:v>2.8534600000000001</c:v>
                </c:pt>
                <c:pt idx="4251">
                  <c:v>2.94686</c:v>
                </c:pt>
                <c:pt idx="4252">
                  <c:v>2.5545200000000001</c:v>
                </c:pt>
                <c:pt idx="4253">
                  <c:v>3.2840500000000001</c:v>
                </c:pt>
                <c:pt idx="4254">
                  <c:v>3.1489400000000001</c:v>
                </c:pt>
                <c:pt idx="4255">
                  <c:v>3.2965100000000001</c:v>
                </c:pt>
                <c:pt idx="4256">
                  <c:v>3.0295299999999998</c:v>
                </c:pt>
                <c:pt idx="4257">
                  <c:v>2.63585</c:v>
                </c:pt>
                <c:pt idx="4258">
                  <c:v>2.61036</c:v>
                </c:pt>
                <c:pt idx="4259">
                  <c:v>2.76884</c:v>
                </c:pt>
                <c:pt idx="4260">
                  <c:v>2.5463499999999999</c:v>
                </c:pt>
                <c:pt idx="4261">
                  <c:v>2.8040500000000002</c:v>
                </c:pt>
                <c:pt idx="4262">
                  <c:v>3.4626700000000001</c:v>
                </c:pt>
                <c:pt idx="4263">
                  <c:v>3.1800700000000002</c:v>
                </c:pt>
                <c:pt idx="4264">
                  <c:v>3.6202899999999998</c:v>
                </c:pt>
                <c:pt idx="4265">
                  <c:v>3.1565799999999999</c:v>
                </c:pt>
                <c:pt idx="4266">
                  <c:v>2.4385500000000002</c:v>
                </c:pt>
                <c:pt idx="4267">
                  <c:v>2.31087</c:v>
                </c:pt>
                <c:pt idx="4268">
                  <c:v>3.1126800000000001</c:v>
                </c:pt>
                <c:pt idx="4269">
                  <c:v>2.90991</c:v>
                </c:pt>
                <c:pt idx="4270">
                  <c:v>3.8068200000000001</c:v>
                </c:pt>
                <c:pt idx="4271">
                  <c:v>2.99376</c:v>
                </c:pt>
                <c:pt idx="4272">
                  <c:v>2.9115099999999998</c:v>
                </c:pt>
                <c:pt idx="4273">
                  <c:v>2.9506000000000001</c:v>
                </c:pt>
                <c:pt idx="4274">
                  <c:v>2.4237899999999999</c:v>
                </c:pt>
                <c:pt idx="4275">
                  <c:v>2.6690999999999998</c:v>
                </c:pt>
                <c:pt idx="4276">
                  <c:v>2.3993099999999998</c:v>
                </c:pt>
                <c:pt idx="4277">
                  <c:v>3.3456800000000002</c:v>
                </c:pt>
                <c:pt idx="4278">
                  <c:v>3.1854900000000002</c:v>
                </c:pt>
                <c:pt idx="4279">
                  <c:v>3.5041899999999999</c:v>
                </c:pt>
                <c:pt idx="4280">
                  <c:v>3.4690400000000001</c:v>
                </c:pt>
                <c:pt idx="4281">
                  <c:v>2.6699600000000001</c:v>
                </c:pt>
                <c:pt idx="4282">
                  <c:v>2.5209700000000002</c:v>
                </c:pt>
                <c:pt idx="4283">
                  <c:v>2.4084300000000001</c:v>
                </c:pt>
                <c:pt idx="4284">
                  <c:v>3.0051999999999999</c:v>
                </c:pt>
                <c:pt idx="4285">
                  <c:v>3.3349700000000002</c:v>
                </c:pt>
                <c:pt idx="4286">
                  <c:v>3.99641</c:v>
                </c:pt>
                <c:pt idx="4287">
                  <c:v>2.8841199999999998</c:v>
                </c:pt>
                <c:pt idx="4288">
                  <c:v>2.5439699999999998</c:v>
                </c:pt>
                <c:pt idx="4289">
                  <c:v>2.4544700000000002</c:v>
                </c:pt>
                <c:pt idx="4290">
                  <c:v>2.4975700000000001</c:v>
                </c:pt>
                <c:pt idx="4291">
                  <c:v>3.13958</c:v>
                </c:pt>
                <c:pt idx="4292">
                  <c:v>2.9537</c:v>
                </c:pt>
                <c:pt idx="4293">
                  <c:v>3.3698700000000001</c:v>
                </c:pt>
                <c:pt idx="4294">
                  <c:v>2.74254</c:v>
                </c:pt>
                <c:pt idx="4295">
                  <c:v>2.6909200000000002</c:v>
                </c:pt>
                <c:pt idx="4296">
                  <c:v>2.85798</c:v>
                </c:pt>
                <c:pt idx="4297">
                  <c:v>2.7505299999999999</c:v>
                </c:pt>
                <c:pt idx="4298">
                  <c:v>2.86856</c:v>
                </c:pt>
                <c:pt idx="4299">
                  <c:v>2.2542300000000002</c:v>
                </c:pt>
                <c:pt idx="4300">
                  <c:v>2.7793700000000001</c:v>
                </c:pt>
                <c:pt idx="4301">
                  <c:v>2.6395</c:v>
                </c:pt>
                <c:pt idx="4302">
                  <c:v>3.09138</c:v>
                </c:pt>
                <c:pt idx="4303">
                  <c:v>3.02847</c:v>
                </c:pt>
                <c:pt idx="4304">
                  <c:v>3.24722</c:v>
                </c:pt>
                <c:pt idx="4305">
                  <c:v>2.9735999999999998</c:v>
                </c:pt>
                <c:pt idx="4306">
                  <c:v>2.8201000000000001</c:v>
                </c:pt>
                <c:pt idx="4307">
                  <c:v>2.5914799999999998</c:v>
                </c:pt>
                <c:pt idx="4308">
                  <c:v>2.6541199999999998</c:v>
                </c:pt>
                <c:pt idx="4309">
                  <c:v>3.3849900000000002</c:v>
                </c:pt>
                <c:pt idx="4310">
                  <c:v>2.9095</c:v>
                </c:pt>
                <c:pt idx="4311">
                  <c:v>2.65428</c:v>
                </c:pt>
                <c:pt idx="4312">
                  <c:v>2.6629900000000002</c:v>
                </c:pt>
                <c:pt idx="4313">
                  <c:v>2.5599599999999998</c:v>
                </c:pt>
                <c:pt idx="4314">
                  <c:v>2.6404200000000002</c:v>
                </c:pt>
                <c:pt idx="4315">
                  <c:v>3.3499699999999999</c:v>
                </c:pt>
                <c:pt idx="4316">
                  <c:v>3.27264</c:v>
                </c:pt>
                <c:pt idx="4317">
                  <c:v>2.8270900000000001</c:v>
                </c:pt>
                <c:pt idx="4318">
                  <c:v>2.6051600000000001</c:v>
                </c:pt>
                <c:pt idx="4319">
                  <c:v>3.617</c:v>
                </c:pt>
                <c:pt idx="4320">
                  <c:v>2.84707</c:v>
                </c:pt>
                <c:pt idx="4321">
                  <c:v>2.8012700000000001</c:v>
                </c:pt>
                <c:pt idx="4322">
                  <c:v>2.8774899999999999</c:v>
                </c:pt>
                <c:pt idx="4323">
                  <c:v>3.0544600000000002</c:v>
                </c:pt>
                <c:pt idx="4324">
                  <c:v>3.2847200000000001</c:v>
                </c:pt>
                <c:pt idx="4325">
                  <c:v>3.1256699999999999</c:v>
                </c:pt>
                <c:pt idx="4326">
                  <c:v>2.5961400000000001</c:v>
                </c:pt>
                <c:pt idx="4327">
                  <c:v>2.22174</c:v>
                </c:pt>
                <c:pt idx="4328">
                  <c:v>2.5222099999999998</c:v>
                </c:pt>
                <c:pt idx="4329">
                  <c:v>2.4816199999999999</c:v>
                </c:pt>
                <c:pt idx="4330">
                  <c:v>3.2203499999999998</c:v>
                </c:pt>
                <c:pt idx="4331">
                  <c:v>2.8424999999999998</c:v>
                </c:pt>
                <c:pt idx="4332">
                  <c:v>3.05091</c:v>
                </c:pt>
                <c:pt idx="4333">
                  <c:v>2.6033499999999998</c:v>
                </c:pt>
                <c:pt idx="4334">
                  <c:v>2.0153300000000001</c:v>
                </c:pt>
                <c:pt idx="4335">
                  <c:v>2.3831899999999999</c:v>
                </c:pt>
                <c:pt idx="4336">
                  <c:v>2.7867000000000002</c:v>
                </c:pt>
                <c:pt idx="4337">
                  <c:v>2.1113499999999998</c:v>
                </c:pt>
                <c:pt idx="4338">
                  <c:v>2.9043800000000002</c:v>
                </c:pt>
                <c:pt idx="4339">
                  <c:v>3.2334200000000002</c:v>
                </c:pt>
                <c:pt idx="4340">
                  <c:v>3.10371</c:v>
                </c:pt>
                <c:pt idx="4341">
                  <c:v>2.9129299999999998</c:v>
                </c:pt>
                <c:pt idx="4342">
                  <c:v>3.09449</c:v>
                </c:pt>
                <c:pt idx="4343">
                  <c:v>2.3906399999999999</c:v>
                </c:pt>
                <c:pt idx="4344">
                  <c:v>2.5264799999999998</c:v>
                </c:pt>
                <c:pt idx="4345">
                  <c:v>1.8932199999999999</c:v>
                </c:pt>
                <c:pt idx="4346">
                  <c:v>2.2690899999999998</c:v>
                </c:pt>
                <c:pt idx="4347">
                  <c:v>3.07986</c:v>
                </c:pt>
                <c:pt idx="4348">
                  <c:v>3.2927499999999998</c:v>
                </c:pt>
                <c:pt idx="4349">
                  <c:v>3.44889</c:v>
                </c:pt>
                <c:pt idx="4350">
                  <c:v>2.9639899999999999</c:v>
                </c:pt>
                <c:pt idx="4351">
                  <c:v>1.9916700000000001</c:v>
                </c:pt>
                <c:pt idx="4352">
                  <c:v>1.8058799999999999</c:v>
                </c:pt>
                <c:pt idx="4353">
                  <c:v>2.27434</c:v>
                </c:pt>
                <c:pt idx="4354">
                  <c:v>2.9884599999999999</c:v>
                </c:pt>
                <c:pt idx="4355">
                  <c:v>2.6461299999999999</c:v>
                </c:pt>
                <c:pt idx="4356">
                  <c:v>3.1231300000000002</c:v>
                </c:pt>
                <c:pt idx="4357">
                  <c:v>2.7436500000000001</c:v>
                </c:pt>
                <c:pt idx="4358">
                  <c:v>2.7162199999999999</c:v>
                </c:pt>
                <c:pt idx="4359">
                  <c:v>3.1996799999999999</c:v>
                </c:pt>
                <c:pt idx="4360">
                  <c:v>3.4138700000000002</c:v>
                </c:pt>
                <c:pt idx="4361">
                  <c:v>3.0481600000000002</c:v>
                </c:pt>
                <c:pt idx="4362">
                  <c:v>2.82809</c:v>
                </c:pt>
                <c:pt idx="4363">
                  <c:v>2.1496900000000001</c:v>
                </c:pt>
                <c:pt idx="4364">
                  <c:v>2.8744999999999998</c:v>
                </c:pt>
                <c:pt idx="4365">
                  <c:v>2.9069699999999998</c:v>
                </c:pt>
                <c:pt idx="4366">
                  <c:v>2.86212</c:v>
                </c:pt>
                <c:pt idx="4367">
                  <c:v>2.92076</c:v>
                </c:pt>
                <c:pt idx="4368">
                  <c:v>2.91045</c:v>
                </c:pt>
                <c:pt idx="4369">
                  <c:v>2.3582200000000002</c:v>
                </c:pt>
                <c:pt idx="4370">
                  <c:v>3.0819399999999999</c:v>
                </c:pt>
                <c:pt idx="4371">
                  <c:v>2.2755399999999999</c:v>
                </c:pt>
                <c:pt idx="4372">
                  <c:v>2.4845000000000002</c:v>
                </c:pt>
                <c:pt idx="4373">
                  <c:v>2.30491</c:v>
                </c:pt>
                <c:pt idx="4374">
                  <c:v>1.99481</c:v>
                </c:pt>
                <c:pt idx="4375">
                  <c:v>2.3888099999999999</c:v>
                </c:pt>
                <c:pt idx="4376">
                  <c:v>2.57613</c:v>
                </c:pt>
                <c:pt idx="4377">
                  <c:v>3.23997</c:v>
                </c:pt>
                <c:pt idx="4378">
                  <c:v>2.7915199999999998</c:v>
                </c:pt>
                <c:pt idx="4379">
                  <c:v>2.9971399999999999</c:v>
                </c:pt>
                <c:pt idx="4380">
                  <c:v>2.1435900000000001</c:v>
                </c:pt>
                <c:pt idx="4381">
                  <c:v>2.2055400000000001</c:v>
                </c:pt>
                <c:pt idx="4382">
                  <c:v>2.6564100000000002</c:v>
                </c:pt>
                <c:pt idx="4383">
                  <c:v>2.6316600000000001</c:v>
                </c:pt>
                <c:pt idx="4384">
                  <c:v>3.9533800000000001</c:v>
                </c:pt>
                <c:pt idx="4385">
                  <c:v>3.6587900000000002</c:v>
                </c:pt>
                <c:pt idx="4386">
                  <c:v>3.4680499999999999</c:v>
                </c:pt>
                <c:pt idx="4387">
                  <c:v>2.4553699999999998</c:v>
                </c:pt>
                <c:pt idx="4388">
                  <c:v>2.23827</c:v>
                </c:pt>
                <c:pt idx="4389">
                  <c:v>2.61266</c:v>
                </c:pt>
                <c:pt idx="4390">
                  <c:v>2.3645999999999998</c:v>
                </c:pt>
                <c:pt idx="4391">
                  <c:v>2.9954900000000002</c:v>
                </c:pt>
                <c:pt idx="4392">
                  <c:v>2.4775200000000002</c:v>
                </c:pt>
                <c:pt idx="4393">
                  <c:v>2.7124199999999998</c:v>
                </c:pt>
                <c:pt idx="4394">
                  <c:v>2.7324600000000001</c:v>
                </c:pt>
                <c:pt idx="4395">
                  <c:v>3.17997</c:v>
                </c:pt>
                <c:pt idx="4396">
                  <c:v>3.18126</c:v>
                </c:pt>
                <c:pt idx="4397">
                  <c:v>2.1710799999999999</c:v>
                </c:pt>
                <c:pt idx="4398">
                  <c:v>2.16723</c:v>
                </c:pt>
                <c:pt idx="4399">
                  <c:v>2.0855600000000001</c:v>
                </c:pt>
                <c:pt idx="4400">
                  <c:v>2.9222700000000001</c:v>
                </c:pt>
                <c:pt idx="4401">
                  <c:v>3.2100499999999998</c:v>
                </c:pt>
                <c:pt idx="4402">
                  <c:v>2.9880200000000001</c:v>
                </c:pt>
                <c:pt idx="4403">
                  <c:v>3.29013</c:v>
                </c:pt>
                <c:pt idx="4404">
                  <c:v>3.02745</c:v>
                </c:pt>
                <c:pt idx="4405">
                  <c:v>2.94476</c:v>
                </c:pt>
                <c:pt idx="4406">
                  <c:v>2.8570000000000002</c:v>
                </c:pt>
                <c:pt idx="4407">
                  <c:v>2.56304</c:v>
                </c:pt>
                <c:pt idx="4408">
                  <c:v>2.7874300000000001</c:v>
                </c:pt>
                <c:pt idx="4409">
                  <c:v>2.9409800000000001</c:v>
                </c:pt>
                <c:pt idx="4410">
                  <c:v>2.3863699999999999</c:v>
                </c:pt>
                <c:pt idx="4411">
                  <c:v>2.133</c:v>
                </c:pt>
                <c:pt idx="4412">
                  <c:v>2.6541299999999999</c:v>
                </c:pt>
                <c:pt idx="4413">
                  <c:v>3.0277099999999999</c:v>
                </c:pt>
                <c:pt idx="4414">
                  <c:v>2.6757900000000001</c:v>
                </c:pt>
                <c:pt idx="4415">
                  <c:v>2.665</c:v>
                </c:pt>
                <c:pt idx="4416">
                  <c:v>2.20295</c:v>
                </c:pt>
                <c:pt idx="4417">
                  <c:v>2.8091499999999998</c:v>
                </c:pt>
                <c:pt idx="4418">
                  <c:v>2.4568500000000002</c:v>
                </c:pt>
                <c:pt idx="4419">
                  <c:v>2.3288199999999999</c:v>
                </c:pt>
                <c:pt idx="4420">
                  <c:v>2.38157</c:v>
                </c:pt>
                <c:pt idx="4421">
                  <c:v>2.54989</c:v>
                </c:pt>
                <c:pt idx="4422">
                  <c:v>2.6490300000000002</c:v>
                </c:pt>
                <c:pt idx="4423">
                  <c:v>2.2486199999999998</c:v>
                </c:pt>
                <c:pt idx="4424">
                  <c:v>2.8305600000000002</c:v>
                </c:pt>
                <c:pt idx="4425">
                  <c:v>2.3357100000000002</c:v>
                </c:pt>
                <c:pt idx="4426">
                  <c:v>2.6691199999999999</c:v>
                </c:pt>
                <c:pt idx="4427">
                  <c:v>2.9630399999999999</c:v>
                </c:pt>
                <c:pt idx="4428">
                  <c:v>3.28681</c:v>
                </c:pt>
                <c:pt idx="4429">
                  <c:v>3.0738099999999999</c:v>
                </c:pt>
                <c:pt idx="4430">
                  <c:v>3.50054</c:v>
                </c:pt>
                <c:pt idx="4431">
                  <c:v>3.1421999999999999</c:v>
                </c:pt>
                <c:pt idx="4432">
                  <c:v>2.4848300000000001</c:v>
                </c:pt>
                <c:pt idx="4433">
                  <c:v>2.0078800000000001</c:v>
                </c:pt>
                <c:pt idx="4434">
                  <c:v>2.0596000000000001</c:v>
                </c:pt>
                <c:pt idx="4435">
                  <c:v>2.7227800000000002</c:v>
                </c:pt>
                <c:pt idx="4436">
                  <c:v>2.6602800000000002</c:v>
                </c:pt>
                <c:pt idx="4437">
                  <c:v>3.23495</c:v>
                </c:pt>
                <c:pt idx="4438">
                  <c:v>2.5941900000000002</c:v>
                </c:pt>
                <c:pt idx="4439">
                  <c:v>2.6360999999999999</c:v>
                </c:pt>
                <c:pt idx="4440">
                  <c:v>2.7114500000000001</c:v>
                </c:pt>
                <c:pt idx="4441">
                  <c:v>1.7784599999999999</c:v>
                </c:pt>
                <c:pt idx="4442">
                  <c:v>2.1672799999999999</c:v>
                </c:pt>
                <c:pt idx="4443">
                  <c:v>2.1164999999999998</c:v>
                </c:pt>
                <c:pt idx="4444">
                  <c:v>2.1063999999999998</c:v>
                </c:pt>
                <c:pt idx="4445">
                  <c:v>3.0769899999999999</c:v>
                </c:pt>
                <c:pt idx="4446">
                  <c:v>3.2914099999999999</c:v>
                </c:pt>
                <c:pt idx="4447">
                  <c:v>3.7610299999999999</c:v>
                </c:pt>
                <c:pt idx="4448">
                  <c:v>3.0630099999999998</c:v>
                </c:pt>
                <c:pt idx="4449">
                  <c:v>2.8886500000000002</c:v>
                </c:pt>
                <c:pt idx="4450">
                  <c:v>1.98872</c:v>
                </c:pt>
                <c:pt idx="4451">
                  <c:v>2.1862599999999999</c:v>
                </c:pt>
                <c:pt idx="4452">
                  <c:v>3.2504200000000001</c:v>
                </c:pt>
                <c:pt idx="4453">
                  <c:v>3.4050500000000001</c:v>
                </c:pt>
                <c:pt idx="4454">
                  <c:v>3.3355700000000001</c:v>
                </c:pt>
                <c:pt idx="4455">
                  <c:v>2.56149</c:v>
                </c:pt>
                <c:pt idx="4456">
                  <c:v>2.5276399999999999</c:v>
                </c:pt>
                <c:pt idx="4457">
                  <c:v>2.36307</c:v>
                </c:pt>
                <c:pt idx="4458">
                  <c:v>2.1087199999999999</c:v>
                </c:pt>
                <c:pt idx="4459">
                  <c:v>2.8397299999999999</c:v>
                </c:pt>
                <c:pt idx="4460">
                  <c:v>2.4192900000000002</c:v>
                </c:pt>
                <c:pt idx="4461">
                  <c:v>2.7971699999999999</c:v>
                </c:pt>
                <c:pt idx="4462">
                  <c:v>2.4396300000000002</c:v>
                </c:pt>
                <c:pt idx="4463">
                  <c:v>2.7611300000000001</c:v>
                </c:pt>
                <c:pt idx="4464">
                  <c:v>2.78674</c:v>
                </c:pt>
                <c:pt idx="4465">
                  <c:v>2.7039200000000001</c:v>
                </c:pt>
                <c:pt idx="4466">
                  <c:v>2.6008</c:v>
                </c:pt>
                <c:pt idx="4467">
                  <c:v>2.41988</c:v>
                </c:pt>
                <c:pt idx="4468">
                  <c:v>2.5980500000000002</c:v>
                </c:pt>
                <c:pt idx="4469">
                  <c:v>2.8115100000000002</c:v>
                </c:pt>
                <c:pt idx="4470">
                  <c:v>3.1711100000000001</c:v>
                </c:pt>
                <c:pt idx="4471">
                  <c:v>3.2212900000000002</c:v>
                </c:pt>
                <c:pt idx="4472">
                  <c:v>2.33853</c:v>
                </c:pt>
                <c:pt idx="4473">
                  <c:v>2.5431300000000001</c:v>
                </c:pt>
                <c:pt idx="4474">
                  <c:v>2.7195499999999999</c:v>
                </c:pt>
                <c:pt idx="4475">
                  <c:v>3.36477</c:v>
                </c:pt>
                <c:pt idx="4476">
                  <c:v>3.3202199999999999</c:v>
                </c:pt>
                <c:pt idx="4477">
                  <c:v>2.5735899999999998</c:v>
                </c:pt>
                <c:pt idx="4478">
                  <c:v>2.27332</c:v>
                </c:pt>
                <c:pt idx="4479">
                  <c:v>2.1895699999999998</c:v>
                </c:pt>
                <c:pt idx="4480">
                  <c:v>2.5750099999999998</c:v>
                </c:pt>
                <c:pt idx="4481">
                  <c:v>2.6239599999999998</c:v>
                </c:pt>
                <c:pt idx="4482">
                  <c:v>2.3424299999999998</c:v>
                </c:pt>
                <c:pt idx="4483">
                  <c:v>3.24478</c:v>
                </c:pt>
                <c:pt idx="4484">
                  <c:v>2.6303200000000002</c:v>
                </c:pt>
                <c:pt idx="4485">
                  <c:v>3.2155999999999998</c:v>
                </c:pt>
                <c:pt idx="4486">
                  <c:v>2.80951</c:v>
                </c:pt>
                <c:pt idx="4487">
                  <c:v>1.639</c:v>
                </c:pt>
                <c:pt idx="4488">
                  <c:v>1.75471</c:v>
                </c:pt>
                <c:pt idx="4489">
                  <c:v>2.2987099999999998</c:v>
                </c:pt>
                <c:pt idx="4490">
                  <c:v>3.4734799999999999</c:v>
                </c:pt>
                <c:pt idx="4491">
                  <c:v>3.2646799999999998</c:v>
                </c:pt>
                <c:pt idx="4492">
                  <c:v>3.4557699999999998</c:v>
                </c:pt>
                <c:pt idx="4493">
                  <c:v>2.9651299999999998</c:v>
                </c:pt>
                <c:pt idx="4494">
                  <c:v>2.50047</c:v>
                </c:pt>
                <c:pt idx="4495">
                  <c:v>2.4281100000000002</c:v>
                </c:pt>
                <c:pt idx="4496">
                  <c:v>2.4990600000000001</c:v>
                </c:pt>
                <c:pt idx="4497">
                  <c:v>2.8531599999999999</c:v>
                </c:pt>
                <c:pt idx="4498">
                  <c:v>3.0936300000000001</c:v>
                </c:pt>
                <c:pt idx="4499">
                  <c:v>2.54474</c:v>
                </c:pt>
                <c:pt idx="4500">
                  <c:v>2.4657900000000001</c:v>
                </c:pt>
                <c:pt idx="4501">
                  <c:v>2.34335</c:v>
                </c:pt>
                <c:pt idx="4502">
                  <c:v>2.9943</c:v>
                </c:pt>
                <c:pt idx="4503">
                  <c:v>2.9598499999999999</c:v>
                </c:pt>
                <c:pt idx="4504">
                  <c:v>4.7250100000000002</c:v>
                </c:pt>
                <c:pt idx="4505">
                  <c:v>3.39208</c:v>
                </c:pt>
                <c:pt idx="4506">
                  <c:v>3.7607499999999998</c:v>
                </c:pt>
                <c:pt idx="4507">
                  <c:v>4.04617</c:v>
                </c:pt>
                <c:pt idx="4508">
                  <c:v>3.5125299999999999</c:v>
                </c:pt>
                <c:pt idx="4509">
                  <c:v>3.19102</c:v>
                </c:pt>
                <c:pt idx="4510">
                  <c:v>2.63171</c:v>
                </c:pt>
                <c:pt idx="4511">
                  <c:v>2.3886500000000002</c:v>
                </c:pt>
                <c:pt idx="4512">
                  <c:v>1.8983399999999999</c:v>
                </c:pt>
                <c:pt idx="4513">
                  <c:v>2.3145099999999998</c:v>
                </c:pt>
                <c:pt idx="4514">
                  <c:v>2.7446000000000002</c:v>
                </c:pt>
                <c:pt idx="4515">
                  <c:v>1.8526899999999999</c:v>
                </c:pt>
                <c:pt idx="4516">
                  <c:v>1.9897</c:v>
                </c:pt>
                <c:pt idx="4517">
                  <c:v>1.77077</c:v>
                </c:pt>
                <c:pt idx="4518">
                  <c:v>1.5585500000000001</c:v>
                </c:pt>
                <c:pt idx="4519">
                  <c:v>1.83978</c:v>
                </c:pt>
                <c:pt idx="4520">
                  <c:v>2.0407500000000001</c:v>
                </c:pt>
                <c:pt idx="4521">
                  <c:v>2.3913500000000001</c:v>
                </c:pt>
                <c:pt idx="4522">
                  <c:v>2.3537599999999999</c:v>
                </c:pt>
                <c:pt idx="4523">
                  <c:v>3.2747999999999999</c:v>
                </c:pt>
                <c:pt idx="4524">
                  <c:v>2.7353700000000001</c:v>
                </c:pt>
                <c:pt idx="4525">
                  <c:v>3.53559</c:v>
                </c:pt>
                <c:pt idx="4526">
                  <c:v>3.3509899999999999</c:v>
                </c:pt>
                <c:pt idx="4527">
                  <c:v>3.53241</c:v>
                </c:pt>
                <c:pt idx="4528">
                  <c:v>2.9337900000000001</c:v>
                </c:pt>
                <c:pt idx="4529">
                  <c:v>2.9284500000000002</c:v>
                </c:pt>
                <c:pt idx="4530">
                  <c:v>3.5533100000000002</c:v>
                </c:pt>
                <c:pt idx="4531">
                  <c:v>2.6930100000000001</c:v>
                </c:pt>
                <c:pt idx="4532">
                  <c:v>2.3705500000000002</c:v>
                </c:pt>
                <c:pt idx="4533">
                  <c:v>2.0741399999999999</c:v>
                </c:pt>
                <c:pt idx="4534">
                  <c:v>2.2977500000000002</c:v>
                </c:pt>
                <c:pt idx="4535">
                  <c:v>2.6775199999999999</c:v>
                </c:pt>
                <c:pt idx="4536">
                  <c:v>2.8504</c:v>
                </c:pt>
                <c:pt idx="4537">
                  <c:v>3.4184800000000002</c:v>
                </c:pt>
                <c:pt idx="4538">
                  <c:v>3.08711</c:v>
                </c:pt>
                <c:pt idx="4539">
                  <c:v>3.1081799999999999</c:v>
                </c:pt>
                <c:pt idx="4540">
                  <c:v>2.3327499999999999</c:v>
                </c:pt>
                <c:pt idx="4541">
                  <c:v>2.8917199999999998</c:v>
                </c:pt>
                <c:pt idx="4542">
                  <c:v>3.2182200000000001</c:v>
                </c:pt>
                <c:pt idx="4543">
                  <c:v>2.5427399999999998</c:v>
                </c:pt>
                <c:pt idx="4544">
                  <c:v>3.1516600000000001</c:v>
                </c:pt>
                <c:pt idx="4545">
                  <c:v>3.3265899999999999</c:v>
                </c:pt>
                <c:pt idx="4546">
                  <c:v>3.41242</c:v>
                </c:pt>
                <c:pt idx="4547">
                  <c:v>3.2205400000000002</c:v>
                </c:pt>
                <c:pt idx="4548">
                  <c:v>2.32917</c:v>
                </c:pt>
                <c:pt idx="4549">
                  <c:v>2.1683699999999999</c:v>
                </c:pt>
                <c:pt idx="4550">
                  <c:v>2.65062</c:v>
                </c:pt>
                <c:pt idx="4551">
                  <c:v>3.30267</c:v>
                </c:pt>
                <c:pt idx="4552">
                  <c:v>3.2275200000000002</c:v>
                </c:pt>
                <c:pt idx="4553">
                  <c:v>3.5314299999999998</c:v>
                </c:pt>
                <c:pt idx="4554">
                  <c:v>3.0275799999999999</c:v>
                </c:pt>
                <c:pt idx="4555">
                  <c:v>2.7157100000000001</c:v>
                </c:pt>
                <c:pt idx="4556">
                  <c:v>2.7210700000000001</c:v>
                </c:pt>
                <c:pt idx="4557">
                  <c:v>2.7029100000000001</c:v>
                </c:pt>
                <c:pt idx="4558">
                  <c:v>2.4581499999999998</c:v>
                </c:pt>
                <c:pt idx="4559">
                  <c:v>1.9613400000000001</c:v>
                </c:pt>
                <c:pt idx="4560">
                  <c:v>2.4202699999999999</c:v>
                </c:pt>
                <c:pt idx="4561">
                  <c:v>2.7885499999999999</c:v>
                </c:pt>
                <c:pt idx="4562">
                  <c:v>2.6726700000000001</c:v>
                </c:pt>
                <c:pt idx="4563">
                  <c:v>3.13158</c:v>
                </c:pt>
                <c:pt idx="4564">
                  <c:v>3.0230000000000001</c:v>
                </c:pt>
                <c:pt idx="4565">
                  <c:v>2.4383499999999998</c:v>
                </c:pt>
                <c:pt idx="4566">
                  <c:v>2.4614500000000001</c:v>
                </c:pt>
                <c:pt idx="4567">
                  <c:v>2.54027</c:v>
                </c:pt>
                <c:pt idx="4568">
                  <c:v>3.2458499999999999</c:v>
                </c:pt>
                <c:pt idx="4569">
                  <c:v>3.3354400000000002</c:v>
                </c:pt>
                <c:pt idx="4570">
                  <c:v>3.14113</c:v>
                </c:pt>
                <c:pt idx="4571">
                  <c:v>2.7834400000000001</c:v>
                </c:pt>
                <c:pt idx="4572">
                  <c:v>2.21611</c:v>
                </c:pt>
                <c:pt idx="4573">
                  <c:v>2.2864</c:v>
                </c:pt>
                <c:pt idx="4574">
                  <c:v>2.7561499999999999</c:v>
                </c:pt>
                <c:pt idx="4575">
                  <c:v>3.0521199999999999</c:v>
                </c:pt>
                <c:pt idx="4576">
                  <c:v>2.9244699999999999</c:v>
                </c:pt>
                <c:pt idx="4577">
                  <c:v>2.8593500000000001</c:v>
                </c:pt>
                <c:pt idx="4578">
                  <c:v>3.0375100000000002</c:v>
                </c:pt>
                <c:pt idx="4579">
                  <c:v>2.0805199999999999</c:v>
                </c:pt>
                <c:pt idx="4580">
                  <c:v>2.6619199999999998</c:v>
                </c:pt>
                <c:pt idx="4581">
                  <c:v>3.0560499999999999</c:v>
                </c:pt>
                <c:pt idx="4582">
                  <c:v>3.1301000000000001</c:v>
                </c:pt>
                <c:pt idx="4583">
                  <c:v>3.1414300000000002</c:v>
                </c:pt>
                <c:pt idx="4584">
                  <c:v>3.2917999999999998</c:v>
                </c:pt>
                <c:pt idx="4585">
                  <c:v>2.8112300000000001</c:v>
                </c:pt>
                <c:pt idx="4586">
                  <c:v>2.34836</c:v>
                </c:pt>
                <c:pt idx="4587">
                  <c:v>2.9736500000000001</c:v>
                </c:pt>
                <c:pt idx="4588">
                  <c:v>2.4035600000000001</c:v>
                </c:pt>
                <c:pt idx="4589">
                  <c:v>2.0584500000000001</c:v>
                </c:pt>
                <c:pt idx="4590">
                  <c:v>2.4283299999999999</c:v>
                </c:pt>
                <c:pt idx="4591">
                  <c:v>2.9508100000000002</c:v>
                </c:pt>
                <c:pt idx="4592">
                  <c:v>2.6577700000000002</c:v>
                </c:pt>
                <c:pt idx="4593">
                  <c:v>2.3519100000000002</c:v>
                </c:pt>
                <c:pt idx="4594">
                  <c:v>1.9458</c:v>
                </c:pt>
                <c:pt idx="4595">
                  <c:v>2.1786099999999999</c:v>
                </c:pt>
                <c:pt idx="4596">
                  <c:v>2.7410299999999999</c:v>
                </c:pt>
                <c:pt idx="4597">
                  <c:v>3.0866500000000001</c:v>
                </c:pt>
                <c:pt idx="4598">
                  <c:v>2.77643</c:v>
                </c:pt>
                <c:pt idx="4599">
                  <c:v>3.0405199999999999</c:v>
                </c:pt>
                <c:pt idx="4600">
                  <c:v>3.0460099999999999</c:v>
                </c:pt>
                <c:pt idx="4601">
                  <c:v>3.1071900000000001</c:v>
                </c:pt>
                <c:pt idx="4602">
                  <c:v>3.13517</c:v>
                </c:pt>
                <c:pt idx="4603">
                  <c:v>2.76783</c:v>
                </c:pt>
                <c:pt idx="4604">
                  <c:v>2.9227500000000002</c:v>
                </c:pt>
                <c:pt idx="4605">
                  <c:v>2.1457000000000002</c:v>
                </c:pt>
                <c:pt idx="4606">
                  <c:v>3.6102799999999999</c:v>
                </c:pt>
                <c:pt idx="4607">
                  <c:v>3.0504699999999998</c:v>
                </c:pt>
                <c:pt idx="4608">
                  <c:v>2.3677199999999998</c:v>
                </c:pt>
                <c:pt idx="4609">
                  <c:v>2.62418</c:v>
                </c:pt>
                <c:pt idx="4610">
                  <c:v>3.0041199999999999</c:v>
                </c:pt>
                <c:pt idx="4611">
                  <c:v>3.3985300000000001</c:v>
                </c:pt>
                <c:pt idx="4612">
                  <c:v>3.4384000000000001</c:v>
                </c:pt>
                <c:pt idx="4613">
                  <c:v>3.0310999999999999</c:v>
                </c:pt>
                <c:pt idx="4614">
                  <c:v>2.8507799999999999</c:v>
                </c:pt>
                <c:pt idx="4615">
                  <c:v>3.3157800000000002</c:v>
                </c:pt>
                <c:pt idx="4616">
                  <c:v>2.5928200000000001</c:v>
                </c:pt>
                <c:pt idx="4617">
                  <c:v>2.8638499999999998</c:v>
                </c:pt>
                <c:pt idx="4618">
                  <c:v>3.0044300000000002</c:v>
                </c:pt>
                <c:pt idx="4619">
                  <c:v>2.7664399999999998</c:v>
                </c:pt>
                <c:pt idx="4620">
                  <c:v>2.9700299999999999</c:v>
                </c:pt>
                <c:pt idx="4621">
                  <c:v>2.9300299999999999</c:v>
                </c:pt>
                <c:pt idx="4622">
                  <c:v>3.2005599999999998</c:v>
                </c:pt>
                <c:pt idx="4623">
                  <c:v>2.8926099999999999</c:v>
                </c:pt>
                <c:pt idx="4624">
                  <c:v>2.8791899999999999</c:v>
                </c:pt>
                <c:pt idx="4625">
                  <c:v>2.4398399999999998</c:v>
                </c:pt>
                <c:pt idx="4626">
                  <c:v>2.4291499999999999</c:v>
                </c:pt>
                <c:pt idx="4627">
                  <c:v>3.2527499999999998</c:v>
                </c:pt>
                <c:pt idx="4628">
                  <c:v>3.1987700000000001</c:v>
                </c:pt>
                <c:pt idx="4629">
                  <c:v>3.12262</c:v>
                </c:pt>
                <c:pt idx="4630">
                  <c:v>2.73881</c:v>
                </c:pt>
                <c:pt idx="4631">
                  <c:v>2.4265400000000001</c:v>
                </c:pt>
                <c:pt idx="4632">
                  <c:v>2.6306400000000001</c:v>
                </c:pt>
                <c:pt idx="4633">
                  <c:v>2.7915899999999998</c:v>
                </c:pt>
                <c:pt idx="4634">
                  <c:v>2.7647499999999998</c:v>
                </c:pt>
                <c:pt idx="4635">
                  <c:v>2.9847399999999999</c:v>
                </c:pt>
                <c:pt idx="4636">
                  <c:v>2.8552399999999998</c:v>
                </c:pt>
                <c:pt idx="4637">
                  <c:v>2.30375</c:v>
                </c:pt>
                <c:pt idx="4638">
                  <c:v>2.8483700000000001</c:v>
                </c:pt>
                <c:pt idx="4639">
                  <c:v>2.7243300000000001</c:v>
                </c:pt>
                <c:pt idx="4640">
                  <c:v>2.0623100000000001</c:v>
                </c:pt>
                <c:pt idx="4641">
                  <c:v>2.8774199999999999</c:v>
                </c:pt>
                <c:pt idx="4642">
                  <c:v>2.71976</c:v>
                </c:pt>
                <c:pt idx="4643">
                  <c:v>3.6196199999999998</c:v>
                </c:pt>
                <c:pt idx="4644">
                  <c:v>3.3622700000000001</c:v>
                </c:pt>
                <c:pt idx="4645">
                  <c:v>3.53945</c:v>
                </c:pt>
                <c:pt idx="4646">
                  <c:v>2.2484700000000002</c:v>
                </c:pt>
                <c:pt idx="4647">
                  <c:v>2.0111500000000002</c:v>
                </c:pt>
                <c:pt idx="4648">
                  <c:v>2.3293400000000002</c:v>
                </c:pt>
                <c:pt idx="4649">
                  <c:v>2.5628000000000002</c:v>
                </c:pt>
                <c:pt idx="4650">
                  <c:v>3.5424199999999999</c:v>
                </c:pt>
                <c:pt idx="4651">
                  <c:v>2.8420800000000002</c:v>
                </c:pt>
                <c:pt idx="4652">
                  <c:v>2.9641500000000001</c:v>
                </c:pt>
                <c:pt idx="4653">
                  <c:v>2.62731</c:v>
                </c:pt>
                <c:pt idx="4654">
                  <c:v>2.2071100000000001</c:v>
                </c:pt>
                <c:pt idx="4655">
                  <c:v>2.6678600000000001</c:v>
                </c:pt>
                <c:pt idx="4656">
                  <c:v>2.8483299999999998</c:v>
                </c:pt>
                <c:pt idx="4657">
                  <c:v>3.1015700000000002</c:v>
                </c:pt>
                <c:pt idx="4658">
                  <c:v>2.9176799999999998</c:v>
                </c:pt>
                <c:pt idx="4659">
                  <c:v>3.5261499999999999</c:v>
                </c:pt>
                <c:pt idx="4660">
                  <c:v>2.3620000000000001</c:v>
                </c:pt>
                <c:pt idx="4661">
                  <c:v>2.8328199999999999</c:v>
                </c:pt>
                <c:pt idx="4662">
                  <c:v>3.3759600000000001</c:v>
                </c:pt>
                <c:pt idx="4663">
                  <c:v>3.2517200000000002</c:v>
                </c:pt>
                <c:pt idx="4664">
                  <c:v>3.0483899999999999</c:v>
                </c:pt>
                <c:pt idx="4665">
                  <c:v>2.5498699999999999</c:v>
                </c:pt>
                <c:pt idx="4666">
                  <c:v>3.1021200000000002</c:v>
                </c:pt>
                <c:pt idx="4667">
                  <c:v>2.90354</c:v>
                </c:pt>
                <c:pt idx="4668">
                  <c:v>2.9815299999999998</c:v>
                </c:pt>
                <c:pt idx="4669">
                  <c:v>2.72404</c:v>
                </c:pt>
                <c:pt idx="4670">
                  <c:v>2.3829899999999999</c:v>
                </c:pt>
                <c:pt idx="4671">
                  <c:v>2.9148399999999999</c:v>
                </c:pt>
                <c:pt idx="4672">
                  <c:v>2.6861600000000001</c:v>
                </c:pt>
                <c:pt idx="4673">
                  <c:v>3.39411</c:v>
                </c:pt>
                <c:pt idx="4674">
                  <c:v>3.20173</c:v>
                </c:pt>
                <c:pt idx="4675">
                  <c:v>2.0558200000000002</c:v>
                </c:pt>
                <c:pt idx="4676">
                  <c:v>3.2201599999999999</c:v>
                </c:pt>
                <c:pt idx="4677">
                  <c:v>2.8585199999999999</c:v>
                </c:pt>
                <c:pt idx="4678">
                  <c:v>2.8785699999999999</c:v>
                </c:pt>
                <c:pt idx="4679">
                  <c:v>3.13964</c:v>
                </c:pt>
                <c:pt idx="4680">
                  <c:v>3.4273099999999999</c:v>
                </c:pt>
                <c:pt idx="4681">
                  <c:v>2.9281799999999998</c:v>
                </c:pt>
                <c:pt idx="4682">
                  <c:v>3.19278</c:v>
                </c:pt>
                <c:pt idx="4683">
                  <c:v>3.2541799999999999</c:v>
                </c:pt>
                <c:pt idx="4684">
                  <c:v>2.4412400000000001</c:v>
                </c:pt>
                <c:pt idx="4685">
                  <c:v>2.96271</c:v>
                </c:pt>
                <c:pt idx="4686">
                  <c:v>3.49383</c:v>
                </c:pt>
                <c:pt idx="4687">
                  <c:v>3.1659899999999999</c:v>
                </c:pt>
                <c:pt idx="4688">
                  <c:v>3.2934899999999998</c:v>
                </c:pt>
                <c:pt idx="4689">
                  <c:v>3.1673800000000001</c:v>
                </c:pt>
                <c:pt idx="4690">
                  <c:v>3.0856599999999998</c:v>
                </c:pt>
                <c:pt idx="4691">
                  <c:v>2.6638899999999999</c:v>
                </c:pt>
                <c:pt idx="4692">
                  <c:v>2.3878900000000001</c:v>
                </c:pt>
                <c:pt idx="4693">
                  <c:v>2.5920999999999998</c:v>
                </c:pt>
                <c:pt idx="4694">
                  <c:v>2.6250499999999999</c:v>
                </c:pt>
                <c:pt idx="4695">
                  <c:v>2.37554</c:v>
                </c:pt>
                <c:pt idx="4696">
                  <c:v>3.3678599999999999</c:v>
                </c:pt>
                <c:pt idx="4697">
                  <c:v>2.9117099999999998</c:v>
                </c:pt>
                <c:pt idx="4698">
                  <c:v>3.1405699999999999</c:v>
                </c:pt>
                <c:pt idx="4699">
                  <c:v>2.3307000000000002</c:v>
                </c:pt>
                <c:pt idx="4700">
                  <c:v>2.4895900000000002</c:v>
                </c:pt>
                <c:pt idx="4701">
                  <c:v>3.0866099999999999</c:v>
                </c:pt>
                <c:pt idx="4702">
                  <c:v>3.01749</c:v>
                </c:pt>
                <c:pt idx="4703">
                  <c:v>3.6153300000000002</c:v>
                </c:pt>
                <c:pt idx="4704">
                  <c:v>3.1564000000000001</c:v>
                </c:pt>
                <c:pt idx="4705">
                  <c:v>2.8771200000000001</c:v>
                </c:pt>
                <c:pt idx="4706">
                  <c:v>3.5817999999999999</c:v>
                </c:pt>
                <c:pt idx="4707">
                  <c:v>3.13435</c:v>
                </c:pt>
                <c:pt idx="4708">
                  <c:v>3.2270300000000001</c:v>
                </c:pt>
                <c:pt idx="4709">
                  <c:v>2.36239</c:v>
                </c:pt>
                <c:pt idx="4710">
                  <c:v>2.8960400000000002</c:v>
                </c:pt>
                <c:pt idx="4711">
                  <c:v>2.75346</c:v>
                </c:pt>
                <c:pt idx="4712">
                  <c:v>3.2012499999999999</c:v>
                </c:pt>
                <c:pt idx="4713">
                  <c:v>3.4594</c:v>
                </c:pt>
                <c:pt idx="4714">
                  <c:v>2.6539899999999998</c:v>
                </c:pt>
                <c:pt idx="4715">
                  <c:v>2.7565</c:v>
                </c:pt>
                <c:pt idx="4716">
                  <c:v>2.3744100000000001</c:v>
                </c:pt>
                <c:pt idx="4717">
                  <c:v>2.9678100000000001</c:v>
                </c:pt>
                <c:pt idx="4718">
                  <c:v>2.96732</c:v>
                </c:pt>
                <c:pt idx="4719">
                  <c:v>3.4015599999999999</c:v>
                </c:pt>
                <c:pt idx="4720">
                  <c:v>2.9531200000000002</c:v>
                </c:pt>
                <c:pt idx="4721">
                  <c:v>3.0512100000000002</c:v>
                </c:pt>
                <c:pt idx="4722">
                  <c:v>3.0498099999999999</c:v>
                </c:pt>
                <c:pt idx="4723">
                  <c:v>2.4058899999999999</c:v>
                </c:pt>
                <c:pt idx="4724">
                  <c:v>3.26111</c:v>
                </c:pt>
                <c:pt idx="4725">
                  <c:v>2.9685299999999999</c:v>
                </c:pt>
                <c:pt idx="4726">
                  <c:v>3.13401</c:v>
                </c:pt>
                <c:pt idx="4727">
                  <c:v>3.1372399999999998</c:v>
                </c:pt>
                <c:pt idx="4728">
                  <c:v>2.5975899999999998</c:v>
                </c:pt>
                <c:pt idx="4729">
                  <c:v>2.5759799999999999</c:v>
                </c:pt>
                <c:pt idx="4730">
                  <c:v>2.2412899999999998</c:v>
                </c:pt>
                <c:pt idx="4731">
                  <c:v>2.7296499999999999</c:v>
                </c:pt>
                <c:pt idx="4732">
                  <c:v>2.8460800000000002</c:v>
                </c:pt>
                <c:pt idx="4733">
                  <c:v>2.4548399999999999</c:v>
                </c:pt>
                <c:pt idx="4734">
                  <c:v>2.7823699999999998</c:v>
                </c:pt>
                <c:pt idx="4735">
                  <c:v>2.9398200000000001</c:v>
                </c:pt>
                <c:pt idx="4736">
                  <c:v>3.0651199999999998</c:v>
                </c:pt>
                <c:pt idx="4737">
                  <c:v>2.7439900000000002</c:v>
                </c:pt>
                <c:pt idx="4738">
                  <c:v>2.9122400000000002</c:v>
                </c:pt>
                <c:pt idx="4739">
                  <c:v>3.1259600000000001</c:v>
                </c:pt>
                <c:pt idx="4740">
                  <c:v>3.0564100000000001</c:v>
                </c:pt>
                <c:pt idx="4741">
                  <c:v>2.4459499999999998</c:v>
                </c:pt>
                <c:pt idx="4742">
                  <c:v>2.7213799999999999</c:v>
                </c:pt>
                <c:pt idx="4743">
                  <c:v>2.8801600000000001</c:v>
                </c:pt>
                <c:pt idx="4744">
                  <c:v>2.89574</c:v>
                </c:pt>
                <c:pt idx="4745">
                  <c:v>2.8578000000000001</c:v>
                </c:pt>
                <c:pt idx="4746">
                  <c:v>2.6369799999999999</c:v>
                </c:pt>
                <c:pt idx="4747">
                  <c:v>2.5328599999999999</c:v>
                </c:pt>
                <c:pt idx="4748">
                  <c:v>2.5577999999999999</c:v>
                </c:pt>
                <c:pt idx="4749">
                  <c:v>2.9881600000000001</c:v>
                </c:pt>
                <c:pt idx="4750">
                  <c:v>3.5493000000000001</c:v>
                </c:pt>
                <c:pt idx="4751">
                  <c:v>3.5606100000000001</c:v>
                </c:pt>
                <c:pt idx="4752">
                  <c:v>3.10616</c:v>
                </c:pt>
                <c:pt idx="4753">
                  <c:v>2.3587799999999999</c:v>
                </c:pt>
                <c:pt idx="4754">
                  <c:v>2.4269400000000001</c:v>
                </c:pt>
                <c:pt idx="4755">
                  <c:v>2.1682299999999999</c:v>
                </c:pt>
                <c:pt idx="4756">
                  <c:v>3.3011200000000001</c:v>
                </c:pt>
                <c:pt idx="4757">
                  <c:v>3.06549</c:v>
                </c:pt>
                <c:pt idx="4758">
                  <c:v>3.3982600000000001</c:v>
                </c:pt>
                <c:pt idx="4759">
                  <c:v>2.76959</c:v>
                </c:pt>
                <c:pt idx="4760">
                  <c:v>2.5474700000000001</c:v>
                </c:pt>
                <c:pt idx="4761">
                  <c:v>2.88578</c:v>
                </c:pt>
                <c:pt idx="4762">
                  <c:v>2.3655599999999999</c:v>
                </c:pt>
                <c:pt idx="4763">
                  <c:v>2.8632499999999999</c:v>
                </c:pt>
                <c:pt idx="4764">
                  <c:v>2.6613500000000001</c:v>
                </c:pt>
                <c:pt idx="4765">
                  <c:v>3.0556800000000002</c:v>
                </c:pt>
                <c:pt idx="4766">
                  <c:v>3.4551599999999998</c:v>
                </c:pt>
                <c:pt idx="4767">
                  <c:v>3.2334700000000001</c:v>
                </c:pt>
                <c:pt idx="4768">
                  <c:v>2.93093</c:v>
                </c:pt>
                <c:pt idx="4769">
                  <c:v>2.5247099999999998</c:v>
                </c:pt>
                <c:pt idx="4770">
                  <c:v>2.3551000000000002</c:v>
                </c:pt>
                <c:pt idx="4771">
                  <c:v>2.6972299999999998</c:v>
                </c:pt>
                <c:pt idx="4772">
                  <c:v>2.7452399999999999</c:v>
                </c:pt>
                <c:pt idx="4773">
                  <c:v>2.8767900000000002</c:v>
                </c:pt>
                <c:pt idx="4774">
                  <c:v>3.1647099999999999</c:v>
                </c:pt>
                <c:pt idx="4775">
                  <c:v>2.9380299999999999</c:v>
                </c:pt>
                <c:pt idx="4776">
                  <c:v>2.1038700000000001</c:v>
                </c:pt>
                <c:pt idx="4777">
                  <c:v>2.3091400000000002</c:v>
                </c:pt>
                <c:pt idx="4778">
                  <c:v>2.9630000000000001</c:v>
                </c:pt>
                <c:pt idx="4779">
                  <c:v>3.1314000000000002</c:v>
                </c:pt>
                <c:pt idx="4780">
                  <c:v>3.07301</c:v>
                </c:pt>
                <c:pt idx="4781">
                  <c:v>2.8655200000000001</c:v>
                </c:pt>
                <c:pt idx="4782">
                  <c:v>2.8888699999999998</c:v>
                </c:pt>
                <c:pt idx="4783">
                  <c:v>2.8469500000000001</c:v>
                </c:pt>
                <c:pt idx="4784">
                  <c:v>2.8551099999999998</c:v>
                </c:pt>
                <c:pt idx="4785">
                  <c:v>2.9014000000000002</c:v>
                </c:pt>
                <c:pt idx="4786">
                  <c:v>3.11117</c:v>
                </c:pt>
                <c:pt idx="4787">
                  <c:v>3.2221000000000002</c:v>
                </c:pt>
                <c:pt idx="4788">
                  <c:v>2.7074500000000001</c:v>
                </c:pt>
                <c:pt idx="4789">
                  <c:v>3.07355</c:v>
                </c:pt>
                <c:pt idx="4790">
                  <c:v>2.94232</c:v>
                </c:pt>
                <c:pt idx="4791">
                  <c:v>2.4112800000000001</c:v>
                </c:pt>
                <c:pt idx="4792">
                  <c:v>2.7163499999999998</c:v>
                </c:pt>
                <c:pt idx="4793">
                  <c:v>2.83447</c:v>
                </c:pt>
                <c:pt idx="4794">
                  <c:v>3.3340200000000002</c:v>
                </c:pt>
                <c:pt idx="4795">
                  <c:v>3.036</c:v>
                </c:pt>
                <c:pt idx="4796">
                  <c:v>2.7394699999999998</c:v>
                </c:pt>
                <c:pt idx="4797">
                  <c:v>2.25109</c:v>
                </c:pt>
                <c:pt idx="4798">
                  <c:v>2.4489700000000001</c:v>
                </c:pt>
                <c:pt idx="4799">
                  <c:v>3.1482600000000001</c:v>
                </c:pt>
                <c:pt idx="4800">
                  <c:v>2.3395899999999998</c:v>
                </c:pt>
                <c:pt idx="4801">
                  <c:v>2.94997</c:v>
                </c:pt>
                <c:pt idx="4802">
                  <c:v>2.8375300000000001</c:v>
                </c:pt>
                <c:pt idx="4803">
                  <c:v>2.9594499999999999</c:v>
                </c:pt>
                <c:pt idx="4804">
                  <c:v>3.13035</c:v>
                </c:pt>
                <c:pt idx="4805">
                  <c:v>2.77718</c:v>
                </c:pt>
                <c:pt idx="4806">
                  <c:v>2.6763499999999998</c:v>
                </c:pt>
                <c:pt idx="4807">
                  <c:v>2.70017</c:v>
                </c:pt>
                <c:pt idx="4808">
                  <c:v>1.48159</c:v>
                </c:pt>
                <c:pt idx="4809">
                  <c:v>2.0336799999999999</c:v>
                </c:pt>
                <c:pt idx="4810">
                  <c:v>3.0075500000000002</c:v>
                </c:pt>
                <c:pt idx="4811">
                  <c:v>3.6232500000000001</c:v>
                </c:pt>
                <c:pt idx="4812">
                  <c:v>2.9729299999999999</c:v>
                </c:pt>
                <c:pt idx="4813">
                  <c:v>2.9950899999999998</c:v>
                </c:pt>
                <c:pt idx="4814">
                  <c:v>2.2503099999999998</c:v>
                </c:pt>
                <c:pt idx="4815">
                  <c:v>2.4419900000000001</c:v>
                </c:pt>
                <c:pt idx="4816">
                  <c:v>2.9207900000000002</c:v>
                </c:pt>
                <c:pt idx="4817">
                  <c:v>2.6616200000000001</c:v>
                </c:pt>
                <c:pt idx="4818">
                  <c:v>2.9617200000000001</c:v>
                </c:pt>
                <c:pt idx="4819">
                  <c:v>2.7052999999999998</c:v>
                </c:pt>
                <c:pt idx="4820">
                  <c:v>2.8319000000000001</c:v>
                </c:pt>
                <c:pt idx="4821">
                  <c:v>2.9070299999999998</c:v>
                </c:pt>
                <c:pt idx="4822">
                  <c:v>2.4602400000000002</c:v>
                </c:pt>
                <c:pt idx="4823">
                  <c:v>2.5811999999999999</c:v>
                </c:pt>
                <c:pt idx="4824">
                  <c:v>2.5300400000000001</c:v>
                </c:pt>
                <c:pt idx="4825">
                  <c:v>2.5534300000000001</c:v>
                </c:pt>
                <c:pt idx="4826">
                  <c:v>2.1941000000000002</c:v>
                </c:pt>
                <c:pt idx="4827">
                  <c:v>3.0211399999999999</c:v>
                </c:pt>
                <c:pt idx="4828">
                  <c:v>3.6293199999999999</c:v>
                </c:pt>
                <c:pt idx="4829">
                  <c:v>2.97037</c:v>
                </c:pt>
                <c:pt idx="4830">
                  <c:v>3.3043</c:v>
                </c:pt>
                <c:pt idx="4831">
                  <c:v>2.76214</c:v>
                </c:pt>
                <c:pt idx="4832">
                  <c:v>2.5297100000000001</c:v>
                </c:pt>
                <c:pt idx="4833">
                  <c:v>3.1202399999999999</c:v>
                </c:pt>
                <c:pt idx="4834">
                  <c:v>2.88964</c:v>
                </c:pt>
                <c:pt idx="4835">
                  <c:v>3.0450300000000001</c:v>
                </c:pt>
                <c:pt idx="4836">
                  <c:v>2.3198400000000001</c:v>
                </c:pt>
                <c:pt idx="4837">
                  <c:v>2.7422900000000001</c:v>
                </c:pt>
                <c:pt idx="4838">
                  <c:v>2.1429</c:v>
                </c:pt>
                <c:pt idx="4839">
                  <c:v>2.6310799999999999</c:v>
                </c:pt>
                <c:pt idx="4840">
                  <c:v>2.9155799999999998</c:v>
                </c:pt>
                <c:pt idx="4841">
                  <c:v>3.4670299999999998</c:v>
                </c:pt>
                <c:pt idx="4842">
                  <c:v>3.39202</c:v>
                </c:pt>
                <c:pt idx="4843">
                  <c:v>2.87459</c:v>
                </c:pt>
                <c:pt idx="4844">
                  <c:v>2.75143</c:v>
                </c:pt>
                <c:pt idx="4845">
                  <c:v>2.84178</c:v>
                </c:pt>
                <c:pt idx="4846">
                  <c:v>2.9912700000000001</c:v>
                </c:pt>
                <c:pt idx="4847">
                  <c:v>2.8930199999999999</c:v>
                </c:pt>
                <c:pt idx="4848">
                  <c:v>2.67984</c:v>
                </c:pt>
                <c:pt idx="4849">
                  <c:v>2.8629500000000001</c:v>
                </c:pt>
                <c:pt idx="4850">
                  <c:v>2.6804800000000002</c:v>
                </c:pt>
                <c:pt idx="4851">
                  <c:v>3.0389499999999998</c:v>
                </c:pt>
                <c:pt idx="4852">
                  <c:v>2.923</c:v>
                </c:pt>
                <c:pt idx="4853">
                  <c:v>2.50664</c:v>
                </c:pt>
                <c:pt idx="4854">
                  <c:v>2.4482599999999999</c:v>
                </c:pt>
                <c:pt idx="4855">
                  <c:v>3.1435300000000002</c:v>
                </c:pt>
                <c:pt idx="4856">
                  <c:v>2.9749400000000001</c:v>
                </c:pt>
                <c:pt idx="4857">
                  <c:v>3.2073100000000001</c:v>
                </c:pt>
                <c:pt idx="4858">
                  <c:v>3.2745600000000001</c:v>
                </c:pt>
                <c:pt idx="4859">
                  <c:v>2.8532600000000001</c:v>
                </c:pt>
                <c:pt idx="4860">
                  <c:v>2.8628200000000001</c:v>
                </c:pt>
                <c:pt idx="4861">
                  <c:v>2.3425400000000001</c:v>
                </c:pt>
                <c:pt idx="4862">
                  <c:v>2.5912199999999999</c:v>
                </c:pt>
                <c:pt idx="4863">
                  <c:v>2.71407</c:v>
                </c:pt>
                <c:pt idx="4864">
                  <c:v>3.0521400000000001</c:v>
                </c:pt>
                <c:pt idx="4865">
                  <c:v>3.2985899999999999</c:v>
                </c:pt>
                <c:pt idx="4866">
                  <c:v>2.7522500000000001</c:v>
                </c:pt>
                <c:pt idx="4867">
                  <c:v>2.6477400000000002</c:v>
                </c:pt>
                <c:pt idx="4868">
                  <c:v>2.14541</c:v>
                </c:pt>
                <c:pt idx="4869">
                  <c:v>2.3874900000000001</c:v>
                </c:pt>
                <c:pt idx="4870">
                  <c:v>2.6204900000000002</c:v>
                </c:pt>
                <c:pt idx="4871">
                  <c:v>3.2446100000000002</c:v>
                </c:pt>
                <c:pt idx="4872">
                  <c:v>3.0690900000000001</c:v>
                </c:pt>
                <c:pt idx="4873">
                  <c:v>3.0019</c:v>
                </c:pt>
                <c:pt idx="4874">
                  <c:v>3.1648499999999999</c:v>
                </c:pt>
                <c:pt idx="4875">
                  <c:v>3.4153199999999999</c:v>
                </c:pt>
                <c:pt idx="4876">
                  <c:v>3.0552100000000002</c:v>
                </c:pt>
                <c:pt idx="4877">
                  <c:v>2.7347299999999999</c:v>
                </c:pt>
                <c:pt idx="4878">
                  <c:v>2.4514499999999999</c:v>
                </c:pt>
                <c:pt idx="4879">
                  <c:v>2.7772899999999998</c:v>
                </c:pt>
                <c:pt idx="4880">
                  <c:v>2.5971899999999999</c:v>
                </c:pt>
                <c:pt idx="4881">
                  <c:v>3.1013600000000001</c:v>
                </c:pt>
                <c:pt idx="4882">
                  <c:v>3.1665100000000002</c:v>
                </c:pt>
                <c:pt idx="4883">
                  <c:v>2.9569399999999999</c:v>
                </c:pt>
                <c:pt idx="4884">
                  <c:v>2.8649399999999998</c:v>
                </c:pt>
                <c:pt idx="4885">
                  <c:v>2.32111</c:v>
                </c:pt>
                <c:pt idx="4886">
                  <c:v>2.7461500000000001</c:v>
                </c:pt>
                <c:pt idx="4887">
                  <c:v>3.15917</c:v>
                </c:pt>
                <c:pt idx="4888">
                  <c:v>2.8048199999999999</c:v>
                </c:pt>
                <c:pt idx="4889">
                  <c:v>3.1175799999999998</c:v>
                </c:pt>
                <c:pt idx="4890">
                  <c:v>2.99953</c:v>
                </c:pt>
                <c:pt idx="4891">
                  <c:v>2.7727499999999998</c:v>
                </c:pt>
                <c:pt idx="4892">
                  <c:v>3.1101399999999999</c:v>
                </c:pt>
                <c:pt idx="4893">
                  <c:v>2.8380000000000001</c:v>
                </c:pt>
                <c:pt idx="4894">
                  <c:v>2.5451700000000002</c:v>
                </c:pt>
                <c:pt idx="4895">
                  <c:v>2.56881</c:v>
                </c:pt>
                <c:pt idx="4896">
                  <c:v>2.9873400000000001</c:v>
                </c:pt>
                <c:pt idx="4897">
                  <c:v>2.7978700000000001</c:v>
                </c:pt>
                <c:pt idx="4898">
                  <c:v>2.6476799999999998</c:v>
                </c:pt>
                <c:pt idx="4899">
                  <c:v>2.7363400000000002</c:v>
                </c:pt>
                <c:pt idx="4900">
                  <c:v>2.6139000000000001</c:v>
                </c:pt>
                <c:pt idx="4901">
                  <c:v>2.31013</c:v>
                </c:pt>
                <c:pt idx="4902">
                  <c:v>3.37846</c:v>
                </c:pt>
                <c:pt idx="4903">
                  <c:v>3.1239699999999999</c:v>
                </c:pt>
                <c:pt idx="4904">
                  <c:v>3.0187900000000001</c:v>
                </c:pt>
                <c:pt idx="4905">
                  <c:v>2.8102200000000002</c:v>
                </c:pt>
                <c:pt idx="4906">
                  <c:v>2.4472800000000001</c:v>
                </c:pt>
                <c:pt idx="4907">
                  <c:v>2.3915000000000002</c:v>
                </c:pt>
                <c:pt idx="4908">
                  <c:v>2.4956100000000001</c:v>
                </c:pt>
                <c:pt idx="4909">
                  <c:v>3.1051899999999999</c:v>
                </c:pt>
                <c:pt idx="4910">
                  <c:v>3.0886100000000001</c:v>
                </c:pt>
                <c:pt idx="4911">
                  <c:v>2.5244800000000001</c:v>
                </c:pt>
                <c:pt idx="4912">
                  <c:v>2.6766100000000002</c:v>
                </c:pt>
                <c:pt idx="4913">
                  <c:v>2.7239499999999999</c:v>
                </c:pt>
                <c:pt idx="4914">
                  <c:v>2.6602999999999999</c:v>
                </c:pt>
                <c:pt idx="4915">
                  <c:v>2.45757</c:v>
                </c:pt>
                <c:pt idx="4916">
                  <c:v>2.9793400000000001</c:v>
                </c:pt>
                <c:pt idx="4917">
                  <c:v>2.8244899999999999</c:v>
                </c:pt>
                <c:pt idx="4918">
                  <c:v>3.0017399999999999</c:v>
                </c:pt>
                <c:pt idx="4919">
                  <c:v>3.6208100000000001</c:v>
                </c:pt>
                <c:pt idx="4920">
                  <c:v>3.4014500000000001</c:v>
                </c:pt>
                <c:pt idx="4921">
                  <c:v>3.2292700000000001</c:v>
                </c:pt>
                <c:pt idx="4922">
                  <c:v>3.2054999999999998</c:v>
                </c:pt>
                <c:pt idx="4923">
                  <c:v>2.3103699999999998</c:v>
                </c:pt>
                <c:pt idx="4924">
                  <c:v>2.8143799999999999</c:v>
                </c:pt>
                <c:pt idx="4925">
                  <c:v>2.9898799999999999</c:v>
                </c:pt>
                <c:pt idx="4926">
                  <c:v>3.5789499999999999</c:v>
                </c:pt>
                <c:pt idx="4927">
                  <c:v>3.3530899999999999</c:v>
                </c:pt>
                <c:pt idx="4928">
                  <c:v>2.2218200000000001</c:v>
                </c:pt>
                <c:pt idx="4929">
                  <c:v>2.8857900000000001</c:v>
                </c:pt>
                <c:pt idx="4930">
                  <c:v>2.7820900000000002</c:v>
                </c:pt>
                <c:pt idx="4931">
                  <c:v>3.01979</c:v>
                </c:pt>
                <c:pt idx="4932">
                  <c:v>5.0404099999999996</c:v>
                </c:pt>
                <c:pt idx="4933">
                  <c:v>5.3090900000000003</c:v>
                </c:pt>
                <c:pt idx="4934">
                  <c:v>4.3171999999999997</c:v>
                </c:pt>
                <c:pt idx="4935">
                  <c:v>3.4781499999999999</c:v>
                </c:pt>
                <c:pt idx="4936">
                  <c:v>2.90144</c:v>
                </c:pt>
                <c:pt idx="4937">
                  <c:v>2.8591600000000001</c:v>
                </c:pt>
                <c:pt idx="4938">
                  <c:v>3.3967200000000002</c:v>
                </c:pt>
                <c:pt idx="4939">
                  <c:v>3.1346400000000001</c:v>
                </c:pt>
                <c:pt idx="4940">
                  <c:v>2.4754700000000001</c:v>
                </c:pt>
                <c:pt idx="4941">
                  <c:v>2.0355099999999999</c:v>
                </c:pt>
                <c:pt idx="4942">
                  <c:v>2.2677800000000001</c:v>
                </c:pt>
                <c:pt idx="4943">
                  <c:v>2.8002600000000002</c:v>
                </c:pt>
                <c:pt idx="4944">
                  <c:v>2.62887</c:v>
                </c:pt>
                <c:pt idx="4945">
                  <c:v>2.2056200000000001</c:v>
                </c:pt>
                <c:pt idx="4946">
                  <c:v>1.7029799999999999</c:v>
                </c:pt>
                <c:pt idx="4947">
                  <c:v>2.3783099999999999</c:v>
                </c:pt>
                <c:pt idx="4948">
                  <c:v>2.45939</c:v>
                </c:pt>
                <c:pt idx="4949">
                  <c:v>2.8992800000000001</c:v>
                </c:pt>
                <c:pt idx="4950">
                  <c:v>3.4542999999999999</c:v>
                </c:pt>
                <c:pt idx="4951">
                  <c:v>3.2541799999999999</c:v>
                </c:pt>
                <c:pt idx="4952">
                  <c:v>2.8986000000000001</c:v>
                </c:pt>
                <c:pt idx="4953">
                  <c:v>2.7026300000000001</c:v>
                </c:pt>
                <c:pt idx="4954">
                  <c:v>3.2964699999999998</c:v>
                </c:pt>
                <c:pt idx="4955">
                  <c:v>3.2270599999999998</c:v>
                </c:pt>
                <c:pt idx="4956">
                  <c:v>3.8100200000000002</c:v>
                </c:pt>
                <c:pt idx="4957">
                  <c:v>3.7469600000000001</c:v>
                </c:pt>
                <c:pt idx="4958">
                  <c:v>2.6026500000000001</c:v>
                </c:pt>
                <c:pt idx="4959">
                  <c:v>2.55342</c:v>
                </c:pt>
                <c:pt idx="4960">
                  <c:v>1.99891</c:v>
                </c:pt>
                <c:pt idx="4961">
                  <c:v>2.41832</c:v>
                </c:pt>
                <c:pt idx="4962">
                  <c:v>2.9241999999999999</c:v>
                </c:pt>
                <c:pt idx="4963">
                  <c:v>1.8065</c:v>
                </c:pt>
                <c:pt idx="4964">
                  <c:v>2.8980000000000001</c:v>
                </c:pt>
                <c:pt idx="4965">
                  <c:v>2.8270200000000001</c:v>
                </c:pt>
                <c:pt idx="4966">
                  <c:v>3.1899099999999998</c:v>
                </c:pt>
                <c:pt idx="4967">
                  <c:v>3.2119300000000002</c:v>
                </c:pt>
                <c:pt idx="4968">
                  <c:v>2.4242300000000001</c:v>
                </c:pt>
                <c:pt idx="4969">
                  <c:v>2.6256499999999998</c:v>
                </c:pt>
                <c:pt idx="4970">
                  <c:v>2.4523999999999999</c:v>
                </c:pt>
                <c:pt idx="4971">
                  <c:v>2.9819900000000001</c:v>
                </c:pt>
                <c:pt idx="4972">
                  <c:v>3.1989399999999999</c:v>
                </c:pt>
                <c:pt idx="4973">
                  <c:v>3.40307</c:v>
                </c:pt>
                <c:pt idx="4974">
                  <c:v>2.91926</c:v>
                </c:pt>
                <c:pt idx="4975">
                  <c:v>2.9120499999999998</c:v>
                </c:pt>
                <c:pt idx="4976">
                  <c:v>2.5433500000000002</c:v>
                </c:pt>
                <c:pt idx="4977">
                  <c:v>2.03146</c:v>
                </c:pt>
                <c:pt idx="4978">
                  <c:v>2.54549</c:v>
                </c:pt>
                <c:pt idx="4979">
                  <c:v>2.6997399999999998</c:v>
                </c:pt>
                <c:pt idx="4980">
                  <c:v>3.32193</c:v>
                </c:pt>
                <c:pt idx="4981">
                  <c:v>3.13971</c:v>
                </c:pt>
                <c:pt idx="4982">
                  <c:v>2.54339</c:v>
                </c:pt>
                <c:pt idx="4983">
                  <c:v>2.8490700000000002</c:v>
                </c:pt>
                <c:pt idx="4984">
                  <c:v>3.0584600000000002</c:v>
                </c:pt>
                <c:pt idx="4985">
                  <c:v>3.5777299999999999</c:v>
                </c:pt>
                <c:pt idx="4986">
                  <c:v>2.6320000000000001</c:v>
                </c:pt>
                <c:pt idx="4987">
                  <c:v>2.2197499999999999</c:v>
                </c:pt>
                <c:pt idx="4988">
                  <c:v>2.0323600000000002</c:v>
                </c:pt>
                <c:pt idx="4989">
                  <c:v>2.5619999999999998</c:v>
                </c:pt>
                <c:pt idx="4990">
                  <c:v>2.94678</c:v>
                </c:pt>
                <c:pt idx="4991">
                  <c:v>2.8475199999999998</c:v>
                </c:pt>
                <c:pt idx="4992">
                  <c:v>2.8628</c:v>
                </c:pt>
                <c:pt idx="4993">
                  <c:v>2.51315</c:v>
                </c:pt>
                <c:pt idx="4994">
                  <c:v>2.9413</c:v>
                </c:pt>
                <c:pt idx="4995">
                  <c:v>2.3116699999999999</c:v>
                </c:pt>
                <c:pt idx="4996">
                  <c:v>3.3502800000000001</c:v>
                </c:pt>
                <c:pt idx="4997">
                  <c:v>3.2389899999999998</c:v>
                </c:pt>
                <c:pt idx="4998">
                  <c:v>3.3035399999999999</c:v>
                </c:pt>
                <c:pt idx="4999">
                  <c:v>2.77406</c:v>
                </c:pt>
                <c:pt idx="5000">
                  <c:v>2.3188300000000002</c:v>
                </c:pt>
                <c:pt idx="5001">
                  <c:v>2.4856199999999999</c:v>
                </c:pt>
                <c:pt idx="5002">
                  <c:v>2.3639399999999999</c:v>
                </c:pt>
                <c:pt idx="5003">
                  <c:v>3.1691400000000001</c:v>
                </c:pt>
                <c:pt idx="5004">
                  <c:v>2.6766700000000001</c:v>
                </c:pt>
                <c:pt idx="5005">
                  <c:v>2.7801100000000001</c:v>
                </c:pt>
                <c:pt idx="5006">
                  <c:v>2.3102100000000001</c:v>
                </c:pt>
                <c:pt idx="5007">
                  <c:v>2.4318499999999998</c:v>
                </c:pt>
                <c:pt idx="5008">
                  <c:v>2.3672499999999999</c:v>
                </c:pt>
                <c:pt idx="5009">
                  <c:v>2.9828000000000001</c:v>
                </c:pt>
                <c:pt idx="5010">
                  <c:v>3.5382699999999998</c:v>
                </c:pt>
                <c:pt idx="5011">
                  <c:v>3.43451</c:v>
                </c:pt>
                <c:pt idx="5012">
                  <c:v>3.3248899999999999</c:v>
                </c:pt>
                <c:pt idx="5013">
                  <c:v>3.1092300000000002</c:v>
                </c:pt>
                <c:pt idx="5014">
                  <c:v>2.9369900000000002</c:v>
                </c:pt>
                <c:pt idx="5015">
                  <c:v>3.0581499999999999</c:v>
                </c:pt>
                <c:pt idx="5016">
                  <c:v>2.5745499999999999</c:v>
                </c:pt>
                <c:pt idx="5017">
                  <c:v>2.93133</c:v>
                </c:pt>
                <c:pt idx="5018">
                  <c:v>3.18459</c:v>
                </c:pt>
                <c:pt idx="5019">
                  <c:v>3.3350900000000001</c:v>
                </c:pt>
                <c:pt idx="5020">
                  <c:v>3.1731400000000001</c:v>
                </c:pt>
                <c:pt idx="5021">
                  <c:v>2.1653199999999999</c:v>
                </c:pt>
                <c:pt idx="5022">
                  <c:v>2.3838400000000002</c:v>
                </c:pt>
                <c:pt idx="5023">
                  <c:v>2.4283000000000001</c:v>
                </c:pt>
                <c:pt idx="5024">
                  <c:v>3.0404399999999998</c:v>
                </c:pt>
                <c:pt idx="5025">
                  <c:v>3.45723</c:v>
                </c:pt>
                <c:pt idx="5026">
                  <c:v>3.4552399999999999</c:v>
                </c:pt>
                <c:pt idx="5027">
                  <c:v>3.5340500000000001</c:v>
                </c:pt>
                <c:pt idx="5028">
                  <c:v>2.6804700000000001</c:v>
                </c:pt>
                <c:pt idx="5029">
                  <c:v>2.4865300000000001</c:v>
                </c:pt>
                <c:pt idx="5030">
                  <c:v>2.8949699999999998</c:v>
                </c:pt>
                <c:pt idx="5031">
                  <c:v>2.9936400000000001</c:v>
                </c:pt>
                <c:pt idx="5032">
                  <c:v>2.6172900000000001</c:v>
                </c:pt>
                <c:pt idx="5033">
                  <c:v>3.48447</c:v>
                </c:pt>
                <c:pt idx="5034">
                  <c:v>3.0162599999999999</c:v>
                </c:pt>
                <c:pt idx="5035">
                  <c:v>3.3363800000000001</c:v>
                </c:pt>
                <c:pt idx="5036">
                  <c:v>2.9623599999999999</c:v>
                </c:pt>
                <c:pt idx="5037">
                  <c:v>2.6997800000000001</c:v>
                </c:pt>
                <c:pt idx="5038">
                  <c:v>2.20397</c:v>
                </c:pt>
                <c:pt idx="5039">
                  <c:v>2.5760399999999999</c:v>
                </c:pt>
                <c:pt idx="5040">
                  <c:v>2.7633200000000002</c:v>
                </c:pt>
                <c:pt idx="5041">
                  <c:v>3.2394400000000001</c:v>
                </c:pt>
                <c:pt idx="5042">
                  <c:v>3.1362700000000001</c:v>
                </c:pt>
                <c:pt idx="5043">
                  <c:v>2.57239</c:v>
                </c:pt>
                <c:pt idx="5044">
                  <c:v>2.68106</c:v>
                </c:pt>
                <c:pt idx="5045">
                  <c:v>1.9592000000000001</c:v>
                </c:pt>
                <c:pt idx="5046">
                  <c:v>3.1996899999999999</c:v>
                </c:pt>
                <c:pt idx="5047">
                  <c:v>3.1779000000000002</c:v>
                </c:pt>
                <c:pt idx="5048">
                  <c:v>3.4356800000000001</c:v>
                </c:pt>
                <c:pt idx="5049">
                  <c:v>2.7601200000000001</c:v>
                </c:pt>
                <c:pt idx="5050">
                  <c:v>2.6386799999999999</c:v>
                </c:pt>
                <c:pt idx="5051">
                  <c:v>2.66405</c:v>
                </c:pt>
                <c:pt idx="5052">
                  <c:v>2.4207999999999998</c:v>
                </c:pt>
                <c:pt idx="5053">
                  <c:v>2.6682600000000001</c:v>
                </c:pt>
                <c:pt idx="5054">
                  <c:v>2.88829</c:v>
                </c:pt>
                <c:pt idx="5055">
                  <c:v>2.6956000000000002</c:v>
                </c:pt>
                <c:pt idx="5056">
                  <c:v>3.4149500000000002</c:v>
                </c:pt>
                <c:pt idx="5057">
                  <c:v>3.1668599999999998</c:v>
                </c:pt>
                <c:pt idx="5058">
                  <c:v>3.1598199999999999</c:v>
                </c:pt>
                <c:pt idx="5059">
                  <c:v>3.2080899999999999</c:v>
                </c:pt>
                <c:pt idx="5060">
                  <c:v>2.43777</c:v>
                </c:pt>
                <c:pt idx="5061">
                  <c:v>2.48081</c:v>
                </c:pt>
                <c:pt idx="5062">
                  <c:v>2.2334700000000001</c:v>
                </c:pt>
                <c:pt idx="5063">
                  <c:v>3.2164700000000002</c:v>
                </c:pt>
                <c:pt idx="5064">
                  <c:v>3.7688999999999999</c:v>
                </c:pt>
                <c:pt idx="5065">
                  <c:v>2.51118</c:v>
                </c:pt>
                <c:pt idx="5066">
                  <c:v>2.5785499999999999</c:v>
                </c:pt>
                <c:pt idx="5067">
                  <c:v>2.1400600000000001</c:v>
                </c:pt>
                <c:pt idx="5068">
                  <c:v>2.8057300000000001</c:v>
                </c:pt>
                <c:pt idx="5069">
                  <c:v>1.9587699999999999</c:v>
                </c:pt>
                <c:pt idx="5070">
                  <c:v>2.7225700000000002</c:v>
                </c:pt>
                <c:pt idx="5071">
                  <c:v>2.9239299999999999</c:v>
                </c:pt>
                <c:pt idx="5072">
                  <c:v>3.5352800000000002</c:v>
                </c:pt>
                <c:pt idx="5073">
                  <c:v>3.7121599999999999</c:v>
                </c:pt>
                <c:pt idx="5074">
                  <c:v>2.88714</c:v>
                </c:pt>
                <c:pt idx="5075">
                  <c:v>2.9514</c:v>
                </c:pt>
                <c:pt idx="5076">
                  <c:v>2.0682</c:v>
                </c:pt>
                <c:pt idx="5077">
                  <c:v>2.6008599999999999</c:v>
                </c:pt>
                <c:pt idx="5078">
                  <c:v>2.19509</c:v>
                </c:pt>
                <c:pt idx="5079">
                  <c:v>3.0689099999999998</c:v>
                </c:pt>
                <c:pt idx="5080">
                  <c:v>3.05227</c:v>
                </c:pt>
                <c:pt idx="5081">
                  <c:v>2.5133899999999998</c:v>
                </c:pt>
                <c:pt idx="5082">
                  <c:v>2.6152799999999998</c:v>
                </c:pt>
                <c:pt idx="5083">
                  <c:v>2.0721799999999999</c:v>
                </c:pt>
                <c:pt idx="5084">
                  <c:v>2.6594899999999999</c:v>
                </c:pt>
                <c:pt idx="5085">
                  <c:v>2.8633799999999998</c:v>
                </c:pt>
                <c:pt idx="5086">
                  <c:v>3.7110599999999998</c:v>
                </c:pt>
                <c:pt idx="5087">
                  <c:v>3.0922200000000002</c:v>
                </c:pt>
                <c:pt idx="5088">
                  <c:v>2.5521099999999999</c:v>
                </c:pt>
                <c:pt idx="5089">
                  <c:v>2.9902899999999999</c:v>
                </c:pt>
                <c:pt idx="5090">
                  <c:v>3.2496399999999999</c:v>
                </c:pt>
                <c:pt idx="5091">
                  <c:v>3.3165100000000001</c:v>
                </c:pt>
                <c:pt idx="5092">
                  <c:v>2.6530900000000002</c:v>
                </c:pt>
                <c:pt idx="5093">
                  <c:v>2.6636099999999998</c:v>
                </c:pt>
                <c:pt idx="5094">
                  <c:v>2.69103</c:v>
                </c:pt>
                <c:pt idx="5095">
                  <c:v>2.82647</c:v>
                </c:pt>
                <c:pt idx="5096">
                  <c:v>2.9127100000000001</c:v>
                </c:pt>
                <c:pt idx="5097">
                  <c:v>3.25787</c:v>
                </c:pt>
                <c:pt idx="5098">
                  <c:v>2.3197100000000002</c:v>
                </c:pt>
                <c:pt idx="5099">
                  <c:v>2.5019499999999999</c:v>
                </c:pt>
                <c:pt idx="5100">
                  <c:v>2.6463399999999999</c:v>
                </c:pt>
                <c:pt idx="5101">
                  <c:v>2.7472400000000001</c:v>
                </c:pt>
                <c:pt idx="5102">
                  <c:v>3.4306700000000001</c:v>
                </c:pt>
                <c:pt idx="5103">
                  <c:v>3.9130099999999999</c:v>
                </c:pt>
                <c:pt idx="5104">
                  <c:v>3.5376099999999999</c:v>
                </c:pt>
                <c:pt idx="5105">
                  <c:v>2.9157600000000001</c:v>
                </c:pt>
                <c:pt idx="5106">
                  <c:v>2.9523999999999999</c:v>
                </c:pt>
                <c:pt idx="5107">
                  <c:v>2.67313</c:v>
                </c:pt>
                <c:pt idx="5108">
                  <c:v>2.9265599999999998</c:v>
                </c:pt>
                <c:pt idx="5109">
                  <c:v>2.91221</c:v>
                </c:pt>
                <c:pt idx="5110">
                  <c:v>2.8006899999999999</c:v>
                </c:pt>
                <c:pt idx="5111">
                  <c:v>3.11206</c:v>
                </c:pt>
                <c:pt idx="5112">
                  <c:v>2.2138</c:v>
                </c:pt>
                <c:pt idx="5113">
                  <c:v>2.8844400000000001</c:v>
                </c:pt>
                <c:pt idx="5114">
                  <c:v>2.5937399999999999</c:v>
                </c:pt>
                <c:pt idx="5115">
                  <c:v>3.0595500000000002</c:v>
                </c:pt>
                <c:pt idx="5116">
                  <c:v>2.6870699999999998</c:v>
                </c:pt>
                <c:pt idx="5117">
                  <c:v>3.1646700000000001</c:v>
                </c:pt>
                <c:pt idx="5118">
                  <c:v>3.6584699999999999</c:v>
                </c:pt>
                <c:pt idx="5119">
                  <c:v>3.27041</c:v>
                </c:pt>
                <c:pt idx="5120">
                  <c:v>3.0094400000000001</c:v>
                </c:pt>
                <c:pt idx="5121">
                  <c:v>2.6485799999999999</c:v>
                </c:pt>
                <c:pt idx="5122">
                  <c:v>2.7074699999999998</c:v>
                </c:pt>
                <c:pt idx="5123">
                  <c:v>2.9917400000000001</c:v>
                </c:pt>
                <c:pt idx="5124">
                  <c:v>3.7587799999999998</c:v>
                </c:pt>
                <c:pt idx="5125">
                  <c:v>3.2610199999999998</c:v>
                </c:pt>
                <c:pt idx="5126">
                  <c:v>3.1391399999999998</c:v>
                </c:pt>
                <c:pt idx="5127">
                  <c:v>2.6048800000000001</c:v>
                </c:pt>
                <c:pt idx="5128">
                  <c:v>1.9077500000000001</c:v>
                </c:pt>
                <c:pt idx="5129">
                  <c:v>2.5783200000000002</c:v>
                </c:pt>
                <c:pt idx="5130">
                  <c:v>2.44191</c:v>
                </c:pt>
                <c:pt idx="5131">
                  <c:v>2.77996</c:v>
                </c:pt>
                <c:pt idx="5132">
                  <c:v>3.4473099999999999</c:v>
                </c:pt>
                <c:pt idx="5133">
                  <c:v>3.6235499999999998</c:v>
                </c:pt>
                <c:pt idx="5134">
                  <c:v>3.6849699999999999</c:v>
                </c:pt>
                <c:pt idx="5135">
                  <c:v>3.5224600000000001</c:v>
                </c:pt>
                <c:pt idx="5136">
                  <c:v>2.7753399999999999</c:v>
                </c:pt>
                <c:pt idx="5137">
                  <c:v>2.1538599999999999</c:v>
                </c:pt>
                <c:pt idx="5138">
                  <c:v>2.4132199999999999</c:v>
                </c:pt>
                <c:pt idx="5139">
                  <c:v>3.1237300000000001</c:v>
                </c:pt>
                <c:pt idx="5140">
                  <c:v>3.04244</c:v>
                </c:pt>
                <c:pt idx="5141">
                  <c:v>3.2420399999999998</c:v>
                </c:pt>
                <c:pt idx="5142">
                  <c:v>3.1957599999999999</c:v>
                </c:pt>
                <c:pt idx="5143">
                  <c:v>2.6262300000000001</c:v>
                </c:pt>
                <c:pt idx="5144">
                  <c:v>2.8042199999999999</c:v>
                </c:pt>
                <c:pt idx="5145">
                  <c:v>2.68615</c:v>
                </c:pt>
                <c:pt idx="5146">
                  <c:v>2.9216899999999999</c:v>
                </c:pt>
                <c:pt idx="5147">
                  <c:v>2.6918799999999998</c:v>
                </c:pt>
                <c:pt idx="5148">
                  <c:v>3.6922600000000001</c:v>
                </c:pt>
                <c:pt idx="5149">
                  <c:v>2.9595400000000001</c:v>
                </c:pt>
                <c:pt idx="5150">
                  <c:v>2.9923299999999999</c:v>
                </c:pt>
                <c:pt idx="5151">
                  <c:v>3.3622800000000002</c:v>
                </c:pt>
                <c:pt idx="5152">
                  <c:v>2.7745299999999999</c:v>
                </c:pt>
                <c:pt idx="5153">
                  <c:v>3.0925400000000001</c:v>
                </c:pt>
                <c:pt idx="5154">
                  <c:v>2.64377</c:v>
                </c:pt>
                <c:pt idx="5155">
                  <c:v>2.2221899999999999</c:v>
                </c:pt>
                <c:pt idx="5156">
                  <c:v>2.3047599999999999</c:v>
                </c:pt>
                <c:pt idx="5157">
                  <c:v>3.2806999999999999</c:v>
                </c:pt>
                <c:pt idx="5158">
                  <c:v>3.3631600000000001</c:v>
                </c:pt>
                <c:pt idx="5159">
                  <c:v>2.2918699999999999</c:v>
                </c:pt>
                <c:pt idx="5160">
                  <c:v>2.6612900000000002</c:v>
                </c:pt>
                <c:pt idx="5161">
                  <c:v>2.5307200000000001</c:v>
                </c:pt>
                <c:pt idx="5162">
                  <c:v>2.9007299999999998</c:v>
                </c:pt>
                <c:pt idx="5163">
                  <c:v>3.1405599999999998</c:v>
                </c:pt>
                <c:pt idx="5164">
                  <c:v>3.3854600000000001</c:v>
                </c:pt>
                <c:pt idx="5165">
                  <c:v>3.2176100000000001</c:v>
                </c:pt>
                <c:pt idx="5166">
                  <c:v>2.46753</c:v>
                </c:pt>
                <c:pt idx="5167">
                  <c:v>2.8740299999999999</c:v>
                </c:pt>
                <c:pt idx="5168">
                  <c:v>2.4134500000000001</c:v>
                </c:pt>
                <c:pt idx="5169">
                  <c:v>3.0063800000000001</c:v>
                </c:pt>
                <c:pt idx="5170">
                  <c:v>3.2580499999999999</c:v>
                </c:pt>
                <c:pt idx="5171">
                  <c:v>3.3198699999999999</c:v>
                </c:pt>
                <c:pt idx="5172">
                  <c:v>2.88334</c:v>
                </c:pt>
                <c:pt idx="5173">
                  <c:v>2.2311000000000001</c:v>
                </c:pt>
                <c:pt idx="5174">
                  <c:v>2.6612300000000002</c:v>
                </c:pt>
                <c:pt idx="5175">
                  <c:v>2.5578799999999999</c:v>
                </c:pt>
                <c:pt idx="5176">
                  <c:v>2.6700400000000002</c:v>
                </c:pt>
                <c:pt idx="5177">
                  <c:v>3.2305000000000001</c:v>
                </c:pt>
                <c:pt idx="5178">
                  <c:v>2.7646500000000001</c:v>
                </c:pt>
                <c:pt idx="5179">
                  <c:v>3.1459000000000001</c:v>
                </c:pt>
                <c:pt idx="5180">
                  <c:v>3.1531699999999998</c:v>
                </c:pt>
                <c:pt idx="5181">
                  <c:v>3.3591899999999999</c:v>
                </c:pt>
                <c:pt idx="5182">
                  <c:v>2.8929399999999998</c:v>
                </c:pt>
                <c:pt idx="5183">
                  <c:v>2.74566</c:v>
                </c:pt>
                <c:pt idx="5184">
                  <c:v>2.5904400000000001</c:v>
                </c:pt>
                <c:pt idx="5185">
                  <c:v>2.5569899999999999</c:v>
                </c:pt>
                <c:pt idx="5186">
                  <c:v>3.09903</c:v>
                </c:pt>
                <c:pt idx="5187">
                  <c:v>3.2678799999999999</c:v>
                </c:pt>
                <c:pt idx="5188">
                  <c:v>3.4764200000000001</c:v>
                </c:pt>
                <c:pt idx="5189">
                  <c:v>2.8866100000000001</c:v>
                </c:pt>
                <c:pt idx="5190">
                  <c:v>2.9471699999999998</c:v>
                </c:pt>
                <c:pt idx="5191">
                  <c:v>2.1243300000000001</c:v>
                </c:pt>
                <c:pt idx="5192">
                  <c:v>2.3643999999999998</c:v>
                </c:pt>
                <c:pt idx="5193">
                  <c:v>3.22343</c:v>
                </c:pt>
                <c:pt idx="5194">
                  <c:v>3.37005</c:v>
                </c:pt>
                <c:pt idx="5195">
                  <c:v>3.2293599999999998</c:v>
                </c:pt>
                <c:pt idx="5196">
                  <c:v>2.7879</c:v>
                </c:pt>
                <c:pt idx="5197">
                  <c:v>2.7763100000000001</c:v>
                </c:pt>
                <c:pt idx="5198">
                  <c:v>2.3639299999999999</c:v>
                </c:pt>
                <c:pt idx="5199">
                  <c:v>2.8624800000000001</c:v>
                </c:pt>
                <c:pt idx="5200">
                  <c:v>2.65781</c:v>
                </c:pt>
                <c:pt idx="5201">
                  <c:v>2.44869</c:v>
                </c:pt>
                <c:pt idx="5202">
                  <c:v>2.7851699999999999</c:v>
                </c:pt>
                <c:pt idx="5203">
                  <c:v>2.40238</c:v>
                </c:pt>
                <c:pt idx="5204">
                  <c:v>3.12324</c:v>
                </c:pt>
                <c:pt idx="5205">
                  <c:v>3.1271100000000001</c:v>
                </c:pt>
                <c:pt idx="5206">
                  <c:v>2.66805</c:v>
                </c:pt>
                <c:pt idx="5207">
                  <c:v>2.9135399999999998</c:v>
                </c:pt>
                <c:pt idx="5208">
                  <c:v>2.6787700000000001</c:v>
                </c:pt>
                <c:pt idx="5209">
                  <c:v>2.5946500000000001</c:v>
                </c:pt>
                <c:pt idx="5210">
                  <c:v>3.33907</c:v>
                </c:pt>
                <c:pt idx="5211">
                  <c:v>3.4508700000000001</c:v>
                </c:pt>
                <c:pt idx="5212">
                  <c:v>3.2231200000000002</c:v>
                </c:pt>
                <c:pt idx="5213">
                  <c:v>2.4916499999999999</c:v>
                </c:pt>
                <c:pt idx="5214">
                  <c:v>2.44082</c:v>
                </c:pt>
                <c:pt idx="5215">
                  <c:v>2.7691499999999998</c:v>
                </c:pt>
                <c:pt idx="5216">
                  <c:v>3.0464199999999999</c:v>
                </c:pt>
                <c:pt idx="5217">
                  <c:v>2.8678499999999998</c:v>
                </c:pt>
                <c:pt idx="5218">
                  <c:v>3.1171700000000002</c:v>
                </c:pt>
                <c:pt idx="5219">
                  <c:v>2.6850999999999998</c:v>
                </c:pt>
                <c:pt idx="5220">
                  <c:v>2.39811</c:v>
                </c:pt>
                <c:pt idx="5221">
                  <c:v>2.1054499999999998</c:v>
                </c:pt>
                <c:pt idx="5222">
                  <c:v>2.6053099999999998</c:v>
                </c:pt>
                <c:pt idx="5223">
                  <c:v>3.16804</c:v>
                </c:pt>
                <c:pt idx="5224">
                  <c:v>3.1132900000000001</c:v>
                </c:pt>
                <c:pt idx="5225">
                  <c:v>2.82151</c:v>
                </c:pt>
                <c:pt idx="5226">
                  <c:v>2.9883899999999999</c:v>
                </c:pt>
                <c:pt idx="5227">
                  <c:v>2.5235099999999999</c:v>
                </c:pt>
                <c:pt idx="5228">
                  <c:v>2.9467599999999998</c:v>
                </c:pt>
                <c:pt idx="5229">
                  <c:v>2.9872700000000001</c:v>
                </c:pt>
                <c:pt idx="5230">
                  <c:v>2.5347499999999998</c:v>
                </c:pt>
                <c:pt idx="5231">
                  <c:v>2.6301000000000001</c:v>
                </c:pt>
                <c:pt idx="5232">
                  <c:v>2.9085999999999999</c:v>
                </c:pt>
                <c:pt idx="5233">
                  <c:v>2.77745</c:v>
                </c:pt>
                <c:pt idx="5234">
                  <c:v>2.4244500000000002</c:v>
                </c:pt>
                <c:pt idx="5235">
                  <c:v>2.5021300000000002</c:v>
                </c:pt>
                <c:pt idx="5236">
                  <c:v>1.8789800000000001</c:v>
                </c:pt>
                <c:pt idx="5237">
                  <c:v>2.4929899999999998</c:v>
                </c:pt>
                <c:pt idx="5238">
                  <c:v>3.1774100000000001</c:v>
                </c:pt>
                <c:pt idx="5239">
                  <c:v>3.4986100000000002</c:v>
                </c:pt>
                <c:pt idx="5240">
                  <c:v>3.3799299999999999</c:v>
                </c:pt>
                <c:pt idx="5241">
                  <c:v>3.0691799999999998</c:v>
                </c:pt>
                <c:pt idx="5242">
                  <c:v>3.1982200000000001</c:v>
                </c:pt>
                <c:pt idx="5243">
                  <c:v>2.3260100000000001</c:v>
                </c:pt>
                <c:pt idx="5244">
                  <c:v>2.3014199999999998</c:v>
                </c:pt>
                <c:pt idx="5245">
                  <c:v>2.4626399999999999</c:v>
                </c:pt>
                <c:pt idx="5246">
                  <c:v>2.4470800000000001</c:v>
                </c:pt>
                <c:pt idx="5247">
                  <c:v>2.8399299999999998</c:v>
                </c:pt>
                <c:pt idx="5248">
                  <c:v>2.8416100000000002</c:v>
                </c:pt>
                <c:pt idx="5249">
                  <c:v>3.2083499999999998</c:v>
                </c:pt>
                <c:pt idx="5250">
                  <c:v>3.26004</c:v>
                </c:pt>
                <c:pt idx="5251">
                  <c:v>2.82185</c:v>
                </c:pt>
                <c:pt idx="5252">
                  <c:v>2.3577400000000002</c:v>
                </c:pt>
                <c:pt idx="5253">
                  <c:v>2.3993899999999999</c:v>
                </c:pt>
                <c:pt idx="5254">
                  <c:v>2.3686500000000001</c:v>
                </c:pt>
                <c:pt idx="5255">
                  <c:v>3.0114399999999999</c:v>
                </c:pt>
                <c:pt idx="5256">
                  <c:v>3.8177300000000001</c:v>
                </c:pt>
                <c:pt idx="5257">
                  <c:v>3.2223000000000002</c:v>
                </c:pt>
                <c:pt idx="5258">
                  <c:v>2.8424900000000002</c:v>
                </c:pt>
                <c:pt idx="5259">
                  <c:v>2.9494699999999998</c:v>
                </c:pt>
                <c:pt idx="5260">
                  <c:v>2.60059</c:v>
                </c:pt>
                <c:pt idx="5261">
                  <c:v>2.84829</c:v>
                </c:pt>
                <c:pt idx="5262">
                  <c:v>2.6718500000000001</c:v>
                </c:pt>
                <c:pt idx="5263">
                  <c:v>2.3339699999999999</c:v>
                </c:pt>
                <c:pt idx="5264">
                  <c:v>2.9548399999999999</c:v>
                </c:pt>
                <c:pt idx="5265">
                  <c:v>2.2454499999999999</c:v>
                </c:pt>
                <c:pt idx="5266">
                  <c:v>2.6930900000000002</c:v>
                </c:pt>
                <c:pt idx="5267">
                  <c:v>2.8058200000000002</c:v>
                </c:pt>
                <c:pt idx="5268">
                  <c:v>3.1263299999999998</c:v>
                </c:pt>
                <c:pt idx="5269">
                  <c:v>2.87026</c:v>
                </c:pt>
                <c:pt idx="5270">
                  <c:v>2.7021799999999998</c:v>
                </c:pt>
                <c:pt idx="5271">
                  <c:v>3.1905700000000001</c:v>
                </c:pt>
                <c:pt idx="5272">
                  <c:v>2.4809399999999999</c:v>
                </c:pt>
                <c:pt idx="5273">
                  <c:v>2.9645000000000001</c:v>
                </c:pt>
                <c:pt idx="5274">
                  <c:v>2.7349399999999999</c:v>
                </c:pt>
                <c:pt idx="5275">
                  <c:v>2.2604099999999998</c:v>
                </c:pt>
                <c:pt idx="5276">
                  <c:v>2.8555000000000001</c:v>
                </c:pt>
                <c:pt idx="5277">
                  <c:v>2.83</c:v>
                </c:pt>
                <c:pt idx="5278">
                  <c:v>3.3440500000000002</c:v>
                </c:pt>
                <c:pt idx="5279">
                  <c:v>3.0215299999999998</c:v>
                </c:pt>
                <c:pt idx="5280">
                  <c:v>3.2622800000000001</c:v>
                </c:pt>
                <c:pt idx="5281">
                  <c:v>2.5680999999999998</c:v>
                </c:pt>
                <c:pt idx="5282">
                  <c:v>2.07145</c:v>
                </c:pt>
                <c:pt idx="5283">
                  <c:v>2.2240899999999999</c:v>
                </c:pt>
                <c:pt idx="5284">
                  <c:v>2.54339</c:v>
                </c:pt>
                <c:pt idx="5285">
                  <c:v>3.2795200000000002</c:v>
                </c:pt>
                <c:pt idx="5286">
                  <c:v>3.46577</c:v>
                </c:pt>
                <c:pt idx="5287">
                  <c:v>3.3506800000000001</c:v>
                </c:pt>
                <c:pt idx="5288">
                  <c:v>2.5853600000000001</c:v>
                </c:pt>
                <c:pt idx="5289">
                  <c:v>2.5609600000000001</c:v>
                </c:pt>
                <c:pt idx="5290">
                  <c:v>2.0039400000000001</c:v>
                </c:pt>
                <c:pt idx="5291">
                  <c:v>3.2484199999999999</c:v>
                </c:pt>
                <c:pt idx="5292">
                  <c:v>2.5114399999999999</c:v>
                </c:pt>
                <c:pt idx="5293">
                  <c:v>3.5810200000000001</c:v>
                </c:pt>
                <c:pt idx="5294">
                  <c:v>2.93275</c:v>
                </c:pt>
                <c:pt idx="5295">
                  <c:v>2.7631800000000002</c:v>
                </c:pt>
                <c:pt idx="5296">
                  <c:v>2.57742</c:v>
                </c:pt>
                <c:pt idx="5297">
                  <c:v>2.1829999999999998</c:v>
                </c:pt>
                <c:pt idx="5298">
                  <c:v>2.7083499999999998</c:v>
                </c:pt>
                <c:pt idx="5299">
                  <c:v>2.3383500000000002</c:v>
                </c:pt>
                <c:pt idx="5300">
                  <c:v>3.09415</c:v>
                </c:pt>
                <c:pt idx="5301">
                  <c:v>2.7052999999999998</c:v>
                </c:pt>
                <c:pt idx="5302">
                  <c:v>2.9272200000000002</c:v>
                </c:pt>
                <c:pt idx="5303">
                  <c:v>3.8372199999999999</c:v>
                </c:pt>
                <c:pt idx="5304">
                  <c:v>3.1100099999999999</c:v>
                </c:pt>
                <c:pt idx="5305">
                  <c:v>2.9188000000000001</c:v>
                </c:pt>
                <c:pt idx="5306">
                  <c:v>2.49729</c:v>
                </c:pt>
                <c:pt idx="5307">
                  <c:v>1.9401600000000001</c:v>
                </c:pt>
                <c:pt idx="5308">
                  <c:v>2.7417400000000001</c:v>
                </c:pt>
                <c:pt idx="5309">
                  <c:v>2.99918</c:v>
                </c:pt>
                <c:pt idx="5310">
                  <c:v>3.3067500000000001</c:v>
                </c:pt>
                <c:pt idx="5311">
                  <c:v>2.5781399999999999</c:v>
                </c:pt>
                <c:pt idx="5312">
                  <c:v>2.8313600000000001</c:v>
                </c:pt>
                <c:pt idx="5313">
                  <c:v>2.5084300000000002</c:v>
                </c:pt>
                <c:pt idx="5314">
                  <c:v>2.8962699999999999</c:v>
                </c:pt>
                <c:pt idx="5315">
                  <c:v>2.9894099999999999</c:v>
                </c:pt>
                <c:pt idx="5316">
                  <c:v>3.1149200000000001</c:v>
                </c:pt>
                <c:pt idx="5317">
                  <c:v>2.6919200000000001</c:v>
                </c:pt>
                <c:pt idx="5318">
                  <c:v>3.2905899999999999</c:v>
                </c:pt>
                <c:pt idx="5319">
                  <c:v>2.73244</c:v>
                </c:pt>
                <c:pt idx="5320">
                  <c:v>2.70722</c:v>
                </c:pt>
                <c:pt idx="5321">
                  <c:v>2.7042299999999999</c:v>
                </c:pt>
                <c:pt idx="5322">
                  <c:v>3.3427699999999998</c:v>
                </c:pt>
                <c:pt idx="5323">
                  <c:v>3.3658999999999999</c:v>
                </c:pt>
                <c:pt idx="5324">
                  <c:v>2.8510200000000001</c:v>
                </c:pt>
                <c:pt idx="5325">
                  <c:v>2.6924199999999998</c:v>
                </c:pt>
                <c:pt idx="5326">
                  <c:v>2.7777799999999999</c:v>
                </c:pt>
                <c:pt idx="5327">
                  <c:v>2.99777</c:v>
                </c:pt>
                <c:pt idx="5328">
                  <c:v>2.3252999999999999</c:v>
                </c:pt>
                <c:pt idx="5329">
                  <c:v>2.7236899999999999</c:v>
                </c:pt>
                <c:pt idx="5330">
                  <c:v>2.71698</c:v>
                </c:pt>
                <c:pt idx="5331">
                  <c:v>3.0788700000000002</c:v>
                </c:pt>
                <c:pt idx="5332">
                  <c:v>3.9329100000000001</c:v>
                </c:pt>
                <c:pt idx="5333">
                  <c:v>2.98264</c:v>
                </c:pt>
                <c:pt idx="5334">
                  <c:v>2.65883</c:v>
                </c:pt>
                <c:pt idx="5335">
                  <c:v>2.51004</c:v>
                </c:pt>
                <c:pt idx="5336">
                  <c:v>2.7496200000000002</c:v>
                </c:pt>
                <c:pt idx="5337">
                  <c:v>2.7627199999999998</c:v>
                </c:pt>
                <c:pt idx="5338">
                  <c:v>2.9439299999999999</c:v>
                </c:pt>
                <c:pt idx="5339">
                  <c:v>2.9139699999999999</c:v>
                </c:pt>
                <c:pt idx="5340">
                  <c:v>2.7568999999999999</c:v>
                </c:pt>
                <c:pt idx="5341">
                  <c:v>3.2289500000000002</c:v>
                </c:pt>
                <c:pt idx="5342">
                  <c:v>2.0249199999999998</c:v>
                </c:pt>
                <c:pt idx="5343">
                  <c:v>2.7418</c:v>
                </c:pt>
                <c:pt idx="5344">
                  <c:v>2.3023600000000002</c:v>
                </c:pt>
                <c:pt idx="5345">
                  <c:v>2.7821799999999999</c:v>
                </c:pt>
                <c:pt idx="5346">
                  <c:v>2.3922400000000001</c:v>
                </c:pt>
                <c:pt idx="5347">
                  <c:v>2.7441</c:v>
                </c:pt>
                <c:pt idx="5348">
                  <c:v>3.20973</c:v>
                </c:pt>
                <c:pt idx="5349">
                  <c:v>3.3289900000000001</c:v>
                </c:pt>
                <c:pt idx="5350">
                  <c:v>2.80924</c:v>
                </c:pt>
                <c:pt idx="5351">
                  <c:v>2.13551</c:v>
                </c:pt>
                <c:pt idx="5352">
                  <c:v>2.8206000000000002</c:v>
                </c:pt>
                <c:pt idx="5353">
                  <c:v>2.4776099999999999</c:v>
                </c:pt>
                <c:pt idx="5354">
                  <c:v>3.2680799999999999</c:v>
                </c:pt>
                <c:pt idx="5355">
                  <c:v>2.8464700000000001</c:v>
                </c:pt>
                <c:pt idx="5356">
                  <c:v>3.7324899999999999</c:v>
                </c:pt>
                <c:pt idx="5357">
                  <c:v>2.9147799999999999</c:v>
                </c:pt>
                <c:pt idx="5358">
                  <c:v>2.4386000000000001</c:v>
                </c:pt>
                <c:pt idx="5359">
                  <c:v>1.75559</c:v>
                </c:pt>
                <c:pt idx="5360">
                  <c:v>2.5761500000000002</c:v>
                </c:pt>
                <c:pt idx="5361">
                  <c:v>3.3511299999999999</c:v>
                </c:pt>
                <c:pt idx="5362">
                  <c:v>2.8325800000000001</c:v>
                </c:pt>
                <c:pt idx="5363">
                  <c:v>2.6102799999999999</c:v>
                </c:pt>
                <c:pt idx="5364">
                  <c:v>2.8894899999999999</c:v>
                </c:pt>
                <c:pt idx="5365">
                  <c:v>2.9843099999999998</c:v>
                </c:pt>
                <c:pt idx="5366">
                  <c:v>3.08107</c:v>
                </c:pt>
                <c:pt idx="5367">
                  <c:v>2.78878</c:v>
                </c:pt>
                <c:pt idx="5368">
                  <c:v>2.64324</c:v>
                </c:pt>
                <c:pt idx="5369">
                  <c:v>2.1270699999999998</c:v>
                </c:pt>
                <c:pt idx="5370">
                  <c:v>2.53301</c:v>
                </c:pt>
                <c:pt idx="5371">
                  <c:v>3.2688100000000002</c:v>
                </c:pt>
                <c:pt idx="5372">
                  <c:v>2.81223</c:v>
                </c:pt>
                <c:pt idx="5373">
                  <c:v>2.6370900000000002</c:v>
                </c:pt>
                <c:pt idx="5374">
                  <c:v>2.5947900000000002</c:v>
                </c:pt>
                <c:pt idx="5375">
                  <c:v>2.3026900000000001</c:v>
                </c:pt>
                <c:pt idx="5376">
                  <c:v>2.6154299999999999</c:v>
                </c:pt>
                <c:pt idx="5377">
                  <c:v>3.18181</c:v>
                </c:pt>
                <c:pt idx="5378">
                  <c:v>3.55383</c:v>
                </c:pt>
                <c:pt idx="5379">
                  <c:v>3.6014699999999999</c:v>
                </c:pt>
                <c:pt idx="5380">
                  <c:v>3.1403300000000001</c:v>
                </c:pt>
                <c:pt idx="5381">
                  <c:v>2.7557700000000001</c:v>
                </c:pt>
                <c:pt idx="5382">
                  <c:v>3.0239600000000002</c:v>
                </c:pt>
                <c:pt idx="5383">
                  <c:v>3.3405</c:v>
                </c:pt>
                <c:pt idx="5384">
                  <c:v>3.2957900000000002</c:v>
                </c:pt>
                <c:pt idx="5385">
                  <c:v>3.24688</c:v>
                </c:pt>
                <c:pt idx="5386">
                  <c:v>2.4439099999999998</c:v>
                </c:pt>
                <c:pt idx="5387">
                  <c:v>2.4387500000000002</c:v>
                </c:pt>
                <c:pt idx="5388">
                  <c:v>2.6585700000000001</c:v>
                </c:pt>
                <c:pt idx="5389">
                  <c:v>2.2739600000000002</c:v>
                </c:pt>
                <c:pt idx="5390">
                  <c:v>2.2584300000000002</c:v>
                </c:pt>
                <c:pt idx="5391">
                  <c:v>2.0216699999999999</c:v>
                </c:pt>
                <c:pt idx="5392">
                  <c:v>2.2889599999999999</c:v>
                </c:pt>
                <c:pt idx="5393">
                  <c:v>2.5203899999999999</c:v>
                </c:pt>
                <c:pt idx="5394">
                  <c:v>3.2485200000000001</c:v>
                </c:pt>
                <c:pt idx="5395">
                  <c:v>3.2463700000000002</c:v>
                </c:pt>
                <c:pt idx="5396">
                  <c:v>2.6000299999999998</c:v>
                </c:pt>
                <c:pt idx="5397">
                  <c:v>2.2668599999999999</c:v>
                </c:pt>
                <c:pt idx="5398">
                  <c:v>2.5099300000000002</c:v>
                </c:pt>
                <c:pt idx="5399">
                  <c:v>3.09259</c:v>
                </c:pt>
                <c:pt idx="5400">
                  <c:v>3.50095</c:v>
                </c:pt>
                <c:pt idx="5401">
                  <c:v>3.1922899999999998</c:v>
                </c:pt>
                <c:pt idx="5402">
                  <c:v>2.78179</c:v>
                </c:pt>
                <c:pt idx="5403">
                  <c:v>2.6691400000000001</c:v>
                </c:pt>
                <c:pt idx="5404">
                  <c:v>2.7882899999999999</c:v>
                </c:pt>
                <c:pt idx="5405">
                  <c:v>2.4991599999999998</c:v>
                </c:pt>
                <c:pt idx="5406">
                  <c:v>2.73665</c:v>
                </c:pt>
                <c:pt idx="5407">
                  <c:v>2.6673200000000001</c:v>
                </c:pt>
                <c:pt idx="5408">
                  <c:v>2.46373</c:v>
                </c:pt>
                <c:pt idx="5409">
                  <c:v>2.7402899999999999</c:v>
                </c:pt>
                <c:pt idx="5410">
                  <c:v>3.1653799999999999</c:v>
                </c:pt>
                <c:pt idx="5411">
                  <c:v>3.1304599999999998</c:v>
                </c:pt>
                <c:pt idx="5412">
                  <c:v>3.2983099999999999</c:v>
                </c:pt>
                <c:pt idx="5413">
                  <c:v>2.32192</c:v>
                </c:pt>
                <c:pt idx="5414">
                  <c:v>2.7608799999999998</c:v>
                </c:pt>
                <c:pt idx="5415">
                  <c:v>2.80748</c:v>
                </c:pt>
                <c:pt idx="5416">
                  <c:v>3.42882</c:v>
                </c:pt>
                <c:pt idx="5417">
                  <c:v>3.5531000000000001</c:v>
                </c:pt>
                <c:pt idx="5418">
                  <c:v>3.6309300000000002</c:v>
                </c:pt>
                <c:pt idx="5419">
                  <c:v>2.6475599999999999</c:v>
                </c:pt>
                <c:pt idx="5420">
                  <c:v>2.9537</c:v>
                </c:pt>
                <c:pt idx="5421">
                  <c:v>2.59117</c:v>
                </c:pt>
                <c:pt idx="5422">
                  <c:v>2.7482700000000002</c:v>
                </c:pt>
                <c:pt idx="5423">
                  <c:v>3.3001200000000002</c:v>
                </c:pt>
                <c:pt idx="5424">
                  <c:v>2.8589199999999999</c:v>
                </c:pt>
                <c:pt idx="5425">
                  <c:v>3.02406</c:v>
                </c:pt>
                <c:pt idx="5426">
                  <c:v>2.7852299999999999</c:v>
                </c:pt>
                <c:pt idx="5427">
                  <c:v>2.9603000000000002</c:v>
                </c:pt>
                <c:pt idx="5428">
                  <c:v>2.4647199999999998</c:v>
                </c:pt>
                <c:pt idx="5429">
                  <c:v>3.0664899999999999</c:v>
                </c:pt>
                <c:pt idx="5430">
                  <c:v>2.59389</c:v>
                </c:pt>
                <c:pt idx="5431">
                  <c:v>2.3475999999999999</c:v>
                </c:pt>
                <c:pt idx="5432">
                  <c:v>2.66167</c:v>
                </c:pt>
                <c:pt idx="5433">
                  <c:v>2.24634</c:v>
                </c:pt>
                <c:pt idx="5434">
                  <c:v>2.8940000000000001</c:v>
                </c:pt>
                <c:pt idx="5435">
                  <c:v>2.21733</c:v>
                </c:pt>
                <c:pt idx="5436">
                  <c:v>2.7164600000000001</c:v>
                </c:pt>
                <c:pt idx="5437">
                  <c:v>2.4929999999999999</c:v>
                </c:pt>
                <c:pt idx="5438">
                  <c:v>2.6322700000000001</c:v>
                </c:pt>
                <c:pt idx="5439">
                  <c:v>3.8695300000000001</c:v>
                </c:pt>
                <c:pt idx="5440">
                  <c:v>3.0035500000000002</c:v>
                </c:pt>
                <c:pt idx="5441">
                  <c:v>3.3562400000000001</c:v>
                </c:pt>
                <c:pt idx="5442">
                  <c:v>2.5894699999999999</c:v>
                </c:pt>
                <c:pt idx="5443">
                  <c:v>2.1583000000000001</c:v>
                </c:pt>
                <c:pt idx="5444">
                  <c:v>2.7557999999999998</c:v>
                </c:pt>
                <c:pt idx="5445">
                  <c:v>3.0592700000000002</c:v>
                </c:pt>
                <c:pt idx="5446">
                  <c:v>3.6585100000000002</c:v>
                </c:pt>
                <c:pt idx="5447">
                  <c:v>3.2574900000000002</c:v>
                </c:pt>
                <c:pt idx="5448">
                  <c:v>2.98251</c:v>
                </c:pt>
                <c:pt idx="5449">
                  <c:v>2.6041799999999999</c:v>
                </c:pt>
                <c:pt idx="5450">
                  <c:v>1.9889300000000001</c:v>
                </c:pt>
                <c:pt idx="5451">
                  <c:v>2.10487</c:v>
                </c:pt>
                <c:pt idx="5452">
                  <c:v>2.0074299999999998</c:v>
                </c:pt>
                <c:pt idx="5453">
                  <c:v>2.88598</c:v>
                </c:pt>
                <c:pt idx="5454">
                  <c:v>3.1039099999999999</c:v>
                </c:pt>
                <c:pt idx="5455">
                  <c:v>3.4045100000000001</c:v>
                </c:pt>
                <c:pt idx="5456">
                  <c:v>3.3932000000000002</c:v>
                </c:pt>
                <c:pt idx="5457">
                  <c:v>3.0548500000000001</c:v>
                </c:pt>
                <c:pt idx="5458">
                  <c:v>2.5220099999999999</c:v>
                </c:pt>
                <c:pt idx="5459">
                  <c:v>2.1238299999999999</c:v>
                </c:pt>
                <c:pt idx="5460">
                  <c:v>2.3537400000000002</c:v>
                </c:pt>
                <c:pt idx="5461">
                  <c:v>3.2372700000000001</c:v>
                </c:pt>
                <c:pt idx="5462">
                  <c:v>3.2084000000000001</c:v>
                </c:pt>
                <c:pt idx="5463">
                  <c:v>2.7033999999999998</c:v>
                </c:pt>
                <c:pt idx="5464">
                  <c:v>2.72845</c:v>
                </c:pt>
                <c:pt idx="5465">
                  <c:v>2.4489100000000001</c:v>
                </c:pt>
                <c:pt idx="5466">
                  <c:v>2.3954300000000002</c:v>
                </c:pt>
                <c:pt idx="5467">
                  <c:v>2.3769100000000001</c:v>
                </c:pt>
                <c:pt idx="5468">
                  <c:v>3.9821800000000001</c:v>
                </c:pt>
                <c:pt idx="5469">
                  <c:v>3.4032100000000001</c:v>
                </c:pt>
                <c:pt idx="5470">
                  <c:v>2.8277800000000002</c:v>
                </c:pt>
                <c:pt idx="5471">
                  <c:v>2.6064699999999998</c:v>
                </c:pt>
                <c:pt idx="5472">
                  <c:v>2.2217600000000002</c:v>
                </c:pt>
                <c:pt idx="5473">
                  <c:v>2.5670000000000002</c:v>
                </c:pt>
                <c:pt idx="5474">
                  <c:v>2.8867699999999998</c:v>
                </c:pt>
                <c:pt idx="5475">
                  <c:v>2.9991599999999998</c:v>
                </c:pt>
                <c:pt idx="5476">
                  <c:v>2.3748999999999998</c:v>
                </c:pt>
                <c:pt idx="5477">
                  <c:v>2.2611699999999999</c:v>
                </c:pt>
                <c:pt idx="5478">
                  <c:v>3.1263700000000001</c:v>
                </c:pt>
                <c:pt idx="5479">
                  <c:v>2.5631900000000001</c:v>
                </c:pt>
                <c:pt idx="5480">
                  <c:v>2.9165399999999999</c:v>
                </c:pt>
                <c:pt idx="5481">
                  <c:v>2.4994800000000001</c:v>
                </c:pt>
                <c:pt idx="5482">
                  <c:v>2.2568000000000001</c:v>
                </c:pt>
                <c:pt idx="5483">
                  <c:v>3.1431300000000002</c:v>
                </c:pt>
                <c:pt idx="5484">
                  <c:v>2.4925000000000002</c:v>
                </c:pt>
                <c:pt idx="5485">
                  <c:v>3.5849799999999998</c:v>
                </c:pt>
                <c:pt idx="5486">
                  <c:v>3.4918499999999999</c:v>
                </c:pt>
                <c:pt idx="5487">
                  <c:v>2.7096</c:v>
                </c:pt>
                <c:pt idx="5488">
                  <c:v>2.7918599999999998</c:v>
                </c:pt>
                <c:pt idx="5489">
                  <c:v>2.8361900000000002</c:v>
                </c:pt>
                <c:pt idx="5490">
                  <c:v>2.45383</c:v>
                </c:pt>
                <c:pt idx="5491">
                  <c:v>2.6891099999999999</c:v>
                </c:pt>
                <c:pt idx="5492">
                  <c:v>3.3498299999999999</c:v>
                </c:pt>
                <c:pt idx="5493">
                  <c:v>2.9716399999999998</c:v>
                </c:pt>
                <c:pt idx="5494">
                  <c:v>2.5085099999999998</c:v>
                </c:pt>
                <c:pt idx="5495">
                  <c:v>2.0061200000000001</c:v>
                </c:pt>
                <c:pt idx="5496">
                  <c:v>2.4290600000000002</c:v>
                </c:pt>
                <c:pt idx="5497">
                  <c:v>2.66208</c:v>
                </c:pt>
                <c:pt idx="5498">
                  <c:v>2.8619300000000001</c:v>
                </c:pt>
                <c:pt idx="5499">
                  <c:v>2.9130799999999999</c:v>
                </c:pt>
                <c:pt idx="5500">
                  <c:v>3.0994799999999998</c:v>
                </c:pt>
                <c:pt idx="5501">
                  <c:v>3.0556100000000002</c:v>
                </c:pt>
                <c:pt idx="5502">
                  <c:v>3.2199399999999998</c:v>
                </c:pt>
                <c:pt idx="5503">
                  <c:v>2.7713800000000002</c:v>
                </c:pt>
                <c:pt idx="5504">
                  <c:v>2.2655400000000001</c:v>
                </c:pt>
                <c:pt idx="5505">
                  <c:v>3.08494</c:v>
                </c:pt>
                <c:pt idx="5506">
                  <c:v>3.4020899999999998</c:v>
                </c:pt>
                <c:pt idx="5507">
                  <c:v>3.7101299999999999</c:v>
                </c:pt>
                <c:pt idx="5508">
                  <c:v>3.63327</c:v>
                </c:pt>
                <c:pt idx="5509">
                  <c:v>3.2316600000000002</c:v>
                </c:pt>
                <c:pt idx="5510">
                  <c:v>2.0009399999999999</c:v>
                </c:pt>
                <c:pt idx="5511">
                  <c:v>2.5856599999999998</c:v>
                </c:pt>
                <c:pt idx="5512">
                  <c:v>2.6781299999999999</c:v>
                </c:pt>
                <c:pt idx="5513">
                  <c:v>3.1290100000000001</c:v>
                </c:pt>
                <c:pt idx="5514">
                  <c:v>3.1349800000000001</c:v>
                </c:pt>
                <c:pt idx="5515">
                  <c:v>2.8949199999999999</c:v>
                </c:pt>
                <c:pt idx="5516">
                  <c:v>3.3506</c:v>
                </c:pt>
                <c:pt idx="5517">
                  <c:v>2.7225000000000001</c:v>
                </c:pt>
                <c:pt idx="5518">
                  <c:v>3.0779299999999998</c:v>
                </c:pt>
                <c:pt idx="5519">
                  <c:v>2.5108700000000002</c:v>
                </c:pt>
                <c:pt idx="5520">
                  <c:v>2.2961100000000001</c:v>
                </c:pt>
                <c:pt idx="5521">
                  <c:v>1.9416500000000001</c:v>
                </c:pt>
                <c:pt idx="5522">
                  <c:v>2.41784</c:v>
                </c:pt>
                <c:pt idx="5523">
                  <c:v>3.0981999999999998</c:v>
                </c:pt>
                <c:pt idx="5524">
                  <c:v>2.8947600000000002</c:v>
                </c:pt>
                <c:pt idx="5525">
                  <c:v>2.6675300000000002</c:v>
                </c:pt>
                <c:pt idx="5526">
                  <c:v>2.8228900000000001</c:v>
                </c:pt>
                <c:pt idx="5527">
                  <c:v>2.2536100000000001</c:v>
                </c:pt>
                <c:pt idx="5528">
                  <c:v>2.6731799999999999</c:v>
                </c:pt>
                <c:pt idx="5529">
                  <c:v>3.1176400000000002</c:v>
                </c:pt>
                <c:pt idx="5530">
                  <c:v>3.12114</c:v>
                </c:pt>
                <c:pt idx="5531">
                  <c:v>3.0200300000000002</c:v>
                </c:pt>
                <c:pt idx="5532">
                  <c:v>2.2991799999999998</c:v>
                </c:pt>
                <c:pt idx="5533">
                  <c:v>2.8254199999999998</c:v>
                </c:pt>
                <c:pt idx="5534">
                  <c:v>2.6606100000000001</c:v>
                </c:pt>
                <c:pt idx="5535">
                  <c:v>3.14554</c:v>
                </c:pt>
                <c:pt idx="5536">
                  <c:v>3.0262099999999998</c:v>
                </c:pt>
                <c:pt idx="5537">
                  <c:v>2.7070500000000002</c:v>
                </c:pt>
                <c:pt idx="5538">
                  <c:v>2.9404400000000002</c:v>
                </c:pt>
                <c:pt idx="5539">
                  <c:v>2.2873800000000002</c:v>
                </c:pt>
                <c:pt idx="5540">
                  <c:v>2.76281</c:v>
                </c:pt>
                <c:pt idx="5541">
                  <c:v>2.4470499999999999</c:v>
                </c:pt>
                <c:pt idx="5542">
                  <c:v>2.2566299999999999</c:v>
                </c:pt>
                <c:pt idx="5543">
                  <c:v>2.6036899999999998</c:v>
                </c:pt>
                <c:pt idx="5544">
                  <c:v>2.4495300000000002</c:v>
                </c:pt>
                <c:pt idx="5545">
                  <c:v>2.7895799999999999</c:v>
                </c:pt>
                <c:pt idx="5546">
                  <c:v>3.3731900000000001</c:v>
                </c:pt>
                <c:pt idx="5547">
                  <c:v>3.2245400000000002</c:v>
                </c:pt>
                <c:pt idx="5548">
                  <c:v>2.7648000000000001</c:v>
                </c:pt>
                <c:pt idx="5549">
                  <c:v>3.0853100000000002</c:v>
                </c:pt>
                <c:pt idx="5550">
                  <c:v>2.34396</c:v>
                </c:pt>
                <c:pt idx="5551">
                  <c:v>2.5179800000000001</c:v>
                </c:pt>
                <c:pt idx="5552">
                  <c:v>2.9953400000000001</c:v>
                </c:pt>
                <c:pt idx="5553">
                  <c:v>3.27115</c:v>
                </c:pt>
                <c:pt idx="5554">
                  <c:v>3.2894999999999999</c:v>
                </c:pt>
                <c:pt idx="5555">
                  <c:v>2.51037</c:v>
                </c:pt>
                <c:pt idx="5556">
                  <c:v>2.52854</c:v>
                </c:pt>
                <c:pt idx="5557">
                  <c:v>2.68554</c:v>
                </c:pt>
                <c:pt idx="5558">
                  <c:v>2.88896</c:v>
                </c:pt>
                <c:pt idx="5559">
                  <c:v>2.8352300000000001</c:v>
                </c:pt>
                <c:pt idx="5560">
                  <c:v>3.4401700000000002</c:v>
                </c:pt>
                <c:pt idx="5561">
                  <c:v>3.5348099999999998</c:v>
                </c:pt>
                <c:pt idx="5562">
                  <c:v>3.3506499999999999</c:v>
                </c:pt>
                <c:pt idx="5563">
                  <c:v>2.91987</c:v>
                </c:pt>
                <c:pt idx="5564">
                  <c:v>3.0420400000000001</c:v>
                </c:pt>
                <c:pt idx="5565">
                  <c:v>2.0270800000000002</c:v>
                </c:pt>
                <c:pt idx="5566">
                  <c:v>2.6383999999999999</c:v>
                </c:pt>
                <c:pt idx="5567">
                  <c:v>3.0559599999999998</c:v>
                </c:pt>
                <c:pt idx="5568">
                  <c:v>3.17299</c:v>
                </c:pt>
                <c:pt idx="5569">
                  <c:v>3.1606100000000001</c:v>
                </c:pt>
                <c:pt idx="5570">
                  <c:v>2.1814800000000001</c:v>
                </c:pt>
                <c:pt idx="5571">
                  <c:v>2.5187300000000001</c:v>
                </c:pt>
                <c:pt idx="5572">
                  <c:v>2.3165200000000001</c:v>
                </c:pt>
                <c:pt idx="5573">
                  <c:v>3.0385200000000001</c:v>
                </c:pt>
                <c:pt idx="5574">
                  <c:v>2.5533199999999998</c:v>
                </c:pt>
                <c:pt idx="5575">
                  <c:v>2.5203700000000002</c:v>
                </c:pt>
                <c:pt idx="5576">
                  <c:v>3.0107200000000001</c:v>
                </c:pt>
                <c:pt idx="5577">
                  <c:v>3.3643399999999999</c:v>
                </c:pt>
                <c:pt idx="5578">
                  <c:v>3.6164299999999998</c:v>
                </c:pt>
                <c:pt idx="5579">
                  <c:v>3.1015100000000002</c:v>
                </c:pt>
                <c:pt idx="5580">
                  <c:v>2.8052899999999998</c:v>
                </c:pt>
                <c:pt idx="5581">
                  <c:v>2.2797999999999998</c:v>
                </c:pt>
                <c:pt idx="5582">
                  <c:v>2.2850999999999999</c:v>
                </c:pt>
                <c:pt idx="5583">
                  <c:v>2.79494</c:v>
                </c:pt>
                <c:pt idx="5584">
                  <c:v>3.13273</c:v>
                </c:pt>
                <c:pt idx="5585">
                  <c:v>3.335</c:v>
                </c:pt>
                <c:pt idx="5586">
                  <c:v>3.0695299999999999</c:v>
                </c:pt>
                <c:pt idx="5587">
                  <c:v>2.14093</c:v>
                </c:pt>
                <c:pt idx="5588">
                  <c:v>2.3952399999999998</c:v>
                </c:pt>
                <c:pt idx="5589">
                  <c:v>2.4622700000000002</c:v>
                </c:pt>
                <c:pt idx="5590">
                  <c:v>3.27054</c:v>
                </c:pt>
                <c:pt idx="5591">
                  <c:v>3.3057500000000002</c:v>
                </c:pt>
                <c:pt idx="5592">
                  <c:v>3.0923500000000002</c:v>
                </c:pt>
                <c:pt idx="5593">
                  <c:v>2.8113800000000002</c:v>
                </c:pt>
                <c:pt idx="5594">
                  <c:v>2.70689</c:v>
                </c:pt>
                <c:pt idx="5595">
                  <c:v>3.1453700000000002</c:v>
                </c:pt>
                <c:pt idx="5596">
                  <c:v>3.0965500000000001</c:v>
                </c:pt>
                <c:pt idx="5597">
                  <c:v>3.1281400000000001</c:v>
                </c:pt>
                <c:pt idx="5598">
                  <c:v>2.8675799999999998</c:v>
                </c:pt>
                <c:pt idx="5599">
                  <c:v>2.49356</c:v>
                </c:pt>
                <c:pt idx="5600">
                  <c:v>3.4018199999999998</c:v>
                </c:pt>
                <c:pt idx="5601">
                  <c:v>2.7089799999999999</c:v>
                </c:pt>
                <c:pt idx="5602">
                  <c:v>3.2492700000000001</c:v>
                </c:pt>
                <c:pt idx="5603">
                  <c:v>2.9715199999999999</c:v>
                </c:pt>
                <c:pt idx="5604">
                  <c:v>2.9979100000000001</c:v>
                </c:pt>
                <c:pt idx="5605">
                  <c:v>2.9603199999999998</c:v>
                </c:pt>
                <c:pt idx="5606">
                  <c:v>2.9655100000000001</c:v>
                </c:pt>
                <c:pt idx="5607">
                  <c:v>3.1180300000000001</c:v>
                </c:pt>
                <c:pt idx="5608">
                  <c:v>3.4492699999999998</c:v>
                </c:pt>
                <c:pt idx="5609">
                  <c:v>3.13164</c:v>
                </c:pt>
                <c:pt idx="5610">
                  <c:v>2.1939099999999998</c:v>
                </c:pt>
                <c:pt idx="5611">
                  <c:v>2.6935600000000002</c:v>
                </c:pt>
                <c:pt idx="5612">
                  <c:v>2.5395699999999999</c:v>
                </c:pt>
                <c:pt idx="5613">
                  <c:v>3.4659200000000001</c:v>
                </c:pt>
                <c:pt idx="5614">
                  <c:v>3.6469299999999998</c:v>
                </c:pt>
                <c:pt idx="5615">
                  <c:v>3.1221999999999999</c:v>
                </c:pt>
                <c:pt idx="5616">
                  <c:v>3.1660900000000001</c:v>
                </c:pt>
                <c:pt idx="5617">
                  <c:v>2.31731</c:v>
                </c:pt>
                <c:pt idx="5618">
                  <c:v>3.02942</c:v>
                </c:pt>
                <c:pt idx="5619">
                  <c:v>2.6953499999999999</c:v>
                </c:pt>
                <c:pt idx="5620">
                  <c:v>2.7137799999999999</c:v>
                </c:pt>
                <c:pt idx="5621">
                  <c:v>3.04068</c:v>
                </c:pt>
                <c:pt idx="5622">
                  <c:v>3.2852100000000002</c:v>
                </c:pt>
                <c:pt idx="5623">
                  <c:v>3.7380200000000001</c:v>
                </c:pt>
                <c:pt idx="5624">
                  <c:v>3.0897700000000001</c:v>
                </c:pt>
                <c:pt idx="5625">
                  <c:v>2.86572</c:v>
                </c:pt>
                <c:pt idx="5626">
                  <c:v>2.3772799999999998</c:v>
                </c:pt>
                <c:pt idx="5627">
                  <c:v>2.0745</c:v>
                </c:pt>
                <c:pt idx="5628">
                  <c:v>3.1575700000000002</c:v>
                </c:pt>
                <c:pt idx="5629">
                  <c:v>3.6312000000000002</c:v>
                </c:pt>
                <c:pt idx="5630">
                  <c:v>3.3542399999999999</c:v>
                </c:pt>
                <c:pt idx="5631">
                  <c:v>2.6606000000000001</c:v>
                </c:pt>
                <c:pt idx="5632">
                  <c:v>2.61632</c:v>
                </c:pt>
                <c:pt idx="5633">
                  <c:v>2.9189799999999999</c:v>
                </c:pt>
                <c:pt idx="5634">
                  <c:v>2.3320500000000002</c:v>
                </c:pt>
                <c:pt idx="5635">
                  <c:v>2.7335500000000001</c:v>
                </c:pt>
                <c:pt idx="5636">
                  <c:v>2.6145</c:v>
                </c:pt>
                <c:pt idx="5637">
                  <c:v>2.6324299999999998</c:v>
                </c:pt>
                <c:pt idx="5638">
                  <c:v>2.7973499999999998</c:v>
                </c:pt>
                <c:pt idx="5639">
                  <c:v>2.8564099999999999</c:v>
                </c:pt>
                <c:pt idx="5640">
                  <c:v>3.3140999999999998</c:v>
                </c:pt>
                <c:pt idx="5641">
                  <c:v>2.7761100000000001</c:v>
                </c:pt>
                <c:pt idx="5642">
                  <c:v>2.4734400000000001</c:v>
                </c:pt>
                <c:pt idx="5643">
                  <c:v>1.22404</c:v>
                </c:pt>
                <c:pt idx="5644">
                  <c:v>-4.2271099999999999E-2</c:v>
                </c:pt>
                <c:pt idx="5645">
                  <c:v>-3.04976</c:v>
                </c:pt>
                <c:pt idx="5646">
                  <c:v>-4.6862399999999997</c:v>
                </c:pt>
                <c:pt idx="5647">
                  <c:v>-7.3377600000000003</c:v>
                </c:pt>
                <c:pt idx="5648">
                  <c:v>-8.7508900000000001</c:v>
                </c:pt>
                <c:pt idx="5649">
                  <c:v>-9.6620799999999996</c:v>
                </c:pt>
                <c:pt idx="5650">
                  <c:v>-11.5939</c:v>
                </c:pt>
                <c:pt idx="5651">
                  <c:v>-11.128</c:v>
                </c:pt>
                <c:pt idx="5652">
                  <c:v>-12.5099</c:v>
                </c:pt>
                <c:pt idx="5653">
                  <c:v>-13.4114</c:v>
                </c:pt>
                <c:pt idx="5654">
                  <c:v>-14.373699999999999</c:v>
                </c:pt>
                <c:pt idx="5655">
                  <c:v>-15.355</c:v>
                </c:pt>
                <c:pt idx="5656">
                  <c:v>-14.6465</c:v>
                </c:pt>
                <c:pt idx="5657">
                  <c:v>-13.933299999999999</c:v>
                </c:pt>
                <c:pt idx="5658">
                  <c:v>-12.786099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1F7-41F1-BCC7-0BC6B0F147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2000653599"/>
      </c:lineChart>
      <c:valAx>
        <c:axId val="2000653599"/>
        <c:scaling>
          <c:orientation val="minMax"/>
        </c:scaling>
        <c:delete val="0"/>
        <c:axPos val="l"/>
        <c:majorGridlines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1"/>
        <c:axPos val="b"/>
        <c:numFmt formatCode="General" sourceLinked="0"/>
        <c:majorTickMark val="cross"/>
        <c:minorTickMark val="cross"/>
        <c:tickLblPos val="nextTo"/>
        <c:crossAx val="2000653599"/>
        <c:crosses val="autoZero"/>
        <c:auto val="1"/>
        <c:lblAlgn val="ctr"/>
        <c:lblOffset val="100"/>
        <c:noMultiLvlLbl val="1"/>
      </c:catAx>
    </c:plotArea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Average of torqueactual</c:v>
                </c:pt>
              </c:strCache>
            </c:strRef>
          </c:tx>
          <c:spPr>
            <a:ln w="3175">
              <a:solidFill>
                <a:srgbClr val="1F77B4"/>
              </a:solidFill>
              <a:round/>
            </a:ln>
          </c:spPr>
          <c:marker>
            <c:symbol val="none"/>
          </c:marker>
          <c:cat>
            <c:strRef>
              <c:f>Data!$A$3:$A$5676</c:f>
              <c:strCache>
                <c:ptCount val="5674"/>
                <c:pt idx="0">
                  <c:v>0.011</c:v>
                </c:pt>
                <c:pt idx="1">
                  <c:v>0.022</c:v>
                </c:pt>
                <c:pt idx="2">
                  <c:v>0.031</c:v>
                </c:pt>
                <c:pt idx="3">
                  <c:v>0.04</c:v>
                </c:pt>
                <c:pt idx="4">
                  <c:v>0.049</c:v>
                </c:pt>
                <c:pt idx="5">
                  <c:v>0.058</c:v>
                </c:pt>
                <c:pt idx="6">
                  <c:v>0.067</c:v>
                </c:pt>
                <c:pt idx="7">
                  <c:v>0.076</c:v>
                </c:pt>
                <c:pt idx="8">
                  <c:v>0.085</c:v>
                </c:pt>
                <c:pt idx="9">
                  <c:v>0.094</c:v>
                </c:pt>
                <c:pt idx="10">
                  <c:v>0.103</c:v>
                </c:pt>
                <c:pt idx="11">
                  <c:v>0.112</c:v>
                </c:pt>
                <c:pt idx="12">
                  <c:v>0.122</c:v>
                </c:pt>
                <c:pt idx="13">
                  <c:v>0.132</c:v>
                </c:pt>
                <c:pt idx="14">
                  <c:v>0.141</c:v>
                </c:pt>
                <c:pt idx="15">
                  <c:v>0.15</c:v>
                </c:pt>
                <c:pt idx="16">
                  <c:v>0.159</c:v>
                </c:pt>
                <c:pt idx="17">
                  <c:v>0.168</c:v>
                </c:pt>
                <c:pt idx="18">
                  <c:v>0.177</c:v>
                </c:pt>
                <c:pt idx="19">
                  <c:v>0.186</c:v>
                </c:pt>
                <c:pt idx="20">
                  <c:v>0.195</c:v>
                </c:pt>
                <c:pt idx="21">
                  <c:v>0.204</c:v>
                </c:pt>
                <c:pt idx="22">
                  <c:v>0.214</c:v>
                </c:pt>
                <c:pt idx="23">
                  <c:v>0.223</c:v>
                </c:pt>
                <c:pt idx="24">
                  <c:v>0.232</c:v>
                </c:pt>
                <c:pt idx="25">
                  <c:v>0.241</c:v>
                </c:pt>
                <c:pt idx="26">
                  <c:v>0.25</c:v>
                </c:pt>
                <c:pt idx="27">
                  <c:v>0.259</c:v>
                </c:pt>
                <c:pt idx="28">
                  <c:v>0.268</c:v>
                </c:pt>
                <c:pt idx="29">
                  <c:v>0.277</c:v>
                </c:pt>
                <c:pt idx="30">
                  <c:v>0.286</c:v>
                </c:pt>
                <c:pt idx="31">
                  <c:v>0.295</c:v>
                </c:pt>
                <c:pt idx="32">
                  <c:v>0.304</c:v>
                </c:pt>
                <c:pt idx="33">
                  <c:v>0.313</c:v>
                </c:pt>
                <c:pt idx="34">
                  <c:v>0.322</c:v>
                </c:pt>
                <c:pt idx="35">
                  <c:v>0.331</c:v>
                </c:pt>
                <c:pt idx="36">
                  <c:v>0.34</c:v>
                </c:pt>
                <c:pt idx="37">
                  <c:v>0.349</c:v>
                </c:pt>
                <c:pt idx="38">
                  <c:v>0.358</c:v>
                </c:pt>
                <c:pt idx="39">
                  <c:v>0.367</c:v>
                </c:pt>
                <c:pt idx="40">
                  <c:v>0.376</c:v>
                </c:pt>
                <c:pt idx="41">
                  <c:v>0.385</c:v>
                </c:pt>
                <c:pt idx="42">
                  <c:v>0.394</c:v>
                </c:pt>
                <c:pt idx="43">
                  <c:v>0.404</c:v>
                </c:pt>
                <c:pt idx="44">
                  <c:v>0.413</c:v>
                </c:pt>
                <c:pt idx="45">
                  <c:v>0.422</c:v>
                </c:pt>
                <c:pt idx="46">
                  <c:v>0.431</c:v>
                </c:pt>
                <c:pt idx="47">
                  <c:v>0.44</c:v>
                </c:pt>
                <c:pt idx="48">
                  <c:v>0.449</c:v>
                </c:pt>
                <c:pt idx="49">
                  <c:v>0.458</c:v>
                </c:pt>
                <c:pt idx="50">
                  <c:v>0.467</c:v>
                </c:pt>
                <c:pt idx="51">
                  <c:v>0.477</c:v>
                </c:pt>
                <c:pt idx="52">
                  <c:v>0.486</c:v>
                </c:pt>
                <c:pt idx="53">
                  <c:v>0.495</c:v>
                </c:pt>
                <c:pt idx="54">
                  <c:v>0.504</c:v>
                </c:pt>
                <c:pt idx="55">
                  <c:v>0.513</c:v>
                </c:pt>
                <c:pt idx="56">
                  <c:v>0.522</c:v>
                </c:pt>
                <c:pt idx="57">
                  <c:v>0.531</c:v>
                </c:pt>
                <c:pt idx="58">
                  <c:v>0.541</c:v>
                </c:pt>
                <c:pt idx="59">
                  <c:v>0.55</c:v>
                </c:pt>
                <c:pt idx="60">
                  <c:v>0.559</c:v>
                </c:pt>
                <c:pt idx="61">
                  <c:v>0.568</c:v>
                </c:pt>
                <c:pt idx="62">
                  <c:v>0.577</c:v>
                </c:pt>
                <c:pt idx="63">
                  <c:v>0.586</c:v>
                </c:pt>
                <c:pt idx="64">
                  <c:v>0.595</c:v>
                </c:pt>
                <c:pt idx="65">
                  <c:v>0.604</c:v>
                </c:pt>
                <c:pt idx="66">
                  <c:v>0.614</c:v>
                </c:pt>
                <c:pt idx="67">
                  <c:v>0.623</c:v>
                </c:pt>
                <c:pt idx="68">
                  <c:v>0.632</c:v>
                </c:pt>
                <c:pt idx="69">
                  <c:v>0.641</c:v>
                </c:pt>
                <c:pt idx="70">
                  <c:v>0.65</c:v>
                </c:pt>
                <c:pt idx="71">
                  <c:v>0.659</c:v>
                </c:pt>
                <c:pt idx="72">
                  <c:v>0.668</c:v>
                </c:pt>
                <c:pt idx="73">
                  <c:v>0.677</c:v>
                </c:pt>
                <c:pt idx="74">
                  <c:v>0.686</c:v>
                </c:pt>
                <c:pt idx="75">
                  <c:v>0.696</c:v>
                </c:pt>
                <c:pt idx="76">
                  <c:v>0.705</c:v>
                </c:pt>
                <c:pt idx="77">
                  <c:v>0.714</c:v>
                </c:pt>
                <c:pt idx="78">
                  <c:v>0.723</c:v>
                </c:pt>
                <c:pt idx="79">
                  <c:v>0.732</c:v>
                </c:pt>
                <c:pt idx="80">
                  <c:v>0.741</c:v>
                </c:pt>
                <c:pt idx="81">
                  <c:v>0.751</c:v>
                </c:pt>
                <c:pt idx="82">
                  <c:v>0.76</c:v>
                </c:pt>
                <c:pt idx="83">
                  <c:v>0.769</c:v>
                </c:pt>
                <c:pt idx="84">
                  <c:v>0.778</c:v>
                </c:pt>
                <c:pt idx="85">
                  <c:v>0.787</c:v>
                </c:pt>
                <c:pt idx="86">
                  <c:v>0.796</c:v>
                </c:pt>
                <c:pt idx="87">
                  <c:v>0.805</c:v>
                </c:pt>
                <c:pt idx="88">
                  <c:v>0.814</c:v>
                </c:pt>
                <c:pt idx="89">
                  <c:v>0.823</c:v>
                </c:pt>
                <c:pt idx="90">
                  <c:v>0.832</c:v>
                </c:pt>
                <c:pt idx="91">
                  <c:v>0.841</c:v>
                </c:pt>
                <c:pt idx="92">
                  <c:v>0.85</c:v>
                </c:pt>
                <c:pt idx="93">
                  <c:v>0.859</c:v>
                </c:pt>
                <c:pt idx="94">
                  <c:v>0.868</c:v>
                </c:pt>
                <c:pt idx="95">
                  <c:v>0.877</c:v>
                </c:pt>
                <c:pt idx="96">
                  <c:v>0.886</c:v>
                </c:pt>
                <c:pt idx="97">
                  <c:v>0.896</c:v>
                </c:pt>
                <c:pt idx="98">
                  <c:v>0.905</c:v>
                </c:pt>
                <c:pt idx="99">
                  <c:v>0.914</c:v>
                </c:pt>
                <c:pt idx="100">
                  <c:v>0.923</c:v>
                </c:pt>
                <c:pt idx="101">
                  <c:v>1.188</c:v>
                </c:pt>
                <c:pt idx="102">
                  <c:v>1.198</c:v>
                </c:pt>
                <c:pt idx="103">
                  <c:v>1.209</c:v>
                </c:pt>
                <c:pt idx="104">
                  <c:v>1.218</c:v>
                </c:pt>
                <c:pt idx="105">
                  <c:v>1.227</c:v>
                </c:pt>
                <c:pt idx="106">
                  <c:v>1.236</c:v>
                </c:pt>
                <c:pt idx="107">
                  <c:v>1.245</c:v>
                </c:pt>
                <c:pt idx="108">
                  <c:v>1.254</c:v>
                </c:pt>
                <c:pt idx="109">
                  <c:v>1.263</c:v>
                </c:pt>
                <c:pt idx="110">
                  <c:v>1.272</c:v>
                </c:pt>
                <c:pt idx="111">
                  <c:v>1.281</c:v>
                </c:pt>
                <c:pt idx="112">
                  <c:v>1.29</c:v>
                </c:pt>
                <c:pt idx="113">
                  <c:v>1.299</c:v>
                </c:pt>
                <c:pt idx="114">
                  <c:v>1.308</c:v>
                </c:pt>
                <c:pt idx="115">
                  <c:v>1.317</c:v>
                </c:pt>
                <c:pt idx="116">
                  <c:v>1.326</c:v>
                </c:pt>
                <c:pt idx="117">
                  <c:v>1.335</c:v>
                </c:pt>
                <c:pt idx="118">
                  <c:v>1.344</c:v>
                </c:pt>
                <c:pt idx="119">
                  <c:v>1.353</c:v>
                </c:pt>
                <c:pt idx="120">
                  <c:v>1.362</c:v>
                </c:pt>
                <c:pt idx="121">
                  <c:v>1.371</c:v>
                </c:pt>
                <c:pt idx="122">
                  <c:v>1.38</c:v>
                </c:pt>
                <c:pt idx="123">
                  <c:v>1.389</c:v>
                </c:pt>
                <c:pt idx="124">
                  <c:v>1.398</c:v>
                </c:pt>
                <c:pt idx="125">
                  <c:v>1.407</c:v>
                </c:pt>
                <c:pt idx="126">
                  <c:v>1.416</c:v>
                </c:pt>
                <c:pt idx="127">
                  <c:v>1.425</c:v>
                </c:pt>
                <c:pt idx="128">
                  <c:v>1.434</c:v>
                </c:pt>
                <c:pt idx="129">
                  <c:v>1.443</c:v>
                </c:pt>
                <c:pt idx="130">
                  <c:v>1.453</c:v>
                </c:pt>
                <c:pt idx="131">
                  <c:v>1.462</c:v>
                </c:pt>
                <c:pt idx="132">
                  <c:v>1.471</c:v>
                </c:pt>
                <c:pt idx="133">
                  <c:v>1.481</c:v>
                </c:pt>
                <c:pt idx="134">
                  <c:v>1.492</c:v>
                </c:pt>
                <c:pt idx="135">
                  <c:v>1.501</c:v>
                </c:pt>
                <c:pt idx="136">
                  <c:v>1.51</c:v>
                </c:pt>
                <c:pt idx="137">
                  <c:v>1.519</c:v>
                </c:pt>
                <c:pt idx="138">
                  <c:v>1.528</c:v>
                </c:pt>
                <c:pt idx="139">
                  <c:v>1.537</c:v>
                </c:pt>
                <c:pt idx="140">
                  <c:v>1.546</c:v>
                </c:pt>
                <c:pt idx="141">
                  <c:v>1.555</c:v>
                </c:pt>
                <c:pt idx="142">
                  <c:v>1.564</c:v>
                </c:pt>
                <c:pt idx="143">
                  <c:v>1.574</c:v>
                </c:pt>
                <c:pt idx="144">
                  <c:v>1.583</c:v>
                </c:pt>
                <c:pt idx="145">
                  <c:v>1.592</c:v>
                </c:pt>
                <c:pt idx="146">
                  <c:v>1.601</c:v>
                </c:pt>
                <c:pt idx="147">
                  <c:v>1.61</c:v>
                </c:pt>
                <c:pt idx="148">
                  <c:v>1.619</c:v>
                </c:pt>
                <c:pt idx="149">
                  <c:v>1.628</c:v>
                </c:pt>
                <c:pt idx="150">
                  <c:v>1.637</c:v>
                </c:pt>
                <c:pt idx="151">
                  <c:v>1.646</c:v>
                </c:pt>
                <c:pt idx="152">
                  <c:v>1.655</c:v>
                </c:pt>
                <c:pt idx="153">
                  <c:v>1.664</c:v>
                </c:pt>
                <c:pt idx="154">
                  <c:v>1.673</c:v>
                </c:pt>
                <c:pt idx="155">
                  <c:v>1.682</c:v>
                </c:pt>
                <c:pt idx="156">
                  <c:v>1.693</c:v>
                </c:pt>
                <c:pt idx="157">
                  <c:v>1.703</c:v>
                </c:pt>
                <c:pt idx="158">
                  <c:v>1.714</c:v>
                </c:pt>
                <c:pt idx="159">
                  <c:v>1.723</c:v>
                </c:pt>
                <c:pt idx="160">
                  <c:v>1.732</c:v>
                </c:pt>
                <c:pt idx="161">
                  <c:v>1.741</c:v>
                </c:pt>
                <c:pt idx="162">
                  <c:v>1.75</c:v>
                </c:pt>
                <c:pt idx="163">
                  <c:v>1.759</c:v>
                </c:pt>
                <c:pt idx="164">
                  <c:v>1.768</c:v>
                </c:pt>
                <c:pt idx="165">
                  <c:v>1.777</c:v>
                </c:pt>
                <c:pt idx="166">
                  <c:v>1.786</c:v>
                </c:pt>
                <c:pt idx="167">
                  <c:v>1.795</c:v>
                </c:pt>
                <c:pt idx="168">
                  <c:v>1.804</c:v>
                </c:pt>
                <c:pt idx="169">
                  <c:v>1.813</c:v>
                </c:pt>
                <c:pt idx="170">
                  <c:v>1.822</c:v>
                </c:pt>
                <c:pt idx="171">
                  <c:v>1.831</c:v>
                </c:pt>
                <c:pt idx="172">
                  <c:v>1.84</c:v>
                </c:pt>
                <c:pt idx="173">
                  <c:v>1.849</c:v>
                </c:pt>
                <c:pt idx="174">
                  <c:v>1.858</c:v>
                </c:pt>
                <c:pt idx="175">
                  <c:v>1.867</c:v>
                </c:pt>
                <c:pt idx="176">
                  <c:v>1.876</c:v>
                </c:pt>
                <c:pt idx="177">
                  <c:v>1.885</c:v>
                </c:pt>
                <c:pt idx="178">
                  <c:v>1.894</c:v>
                </c:pt>
                <c:pt idx="179">
                  <c:v>1.903</c:v>
                </c:pt>
                <c:pt idx="180">
                  <c:v>1.912</c:v>
                </c:pt>
                <c:pt idx="181">
                  <c:v>1.921</c:v>
                </c:pt>
                <c:pt idx="182">
                  <c:v>1.93</c:v>
                </c:pt>
                <c:pt idx="183">
                  <c:v>1.939</c:v>
                </c:pt>
                <c:pt idx="184">
                  <c:v>1.949</c:v>
                </c:pt>
                <c:pt idx="185">
                  <c:v>1.958</c:v>
                </c:pt>
                <c:pt idx="186">
                  <c:v>1.967</c:v>
                </c:pt>
                <c:pt idx="187">
                  <c:v>1.976</c:v>
                </c:pt>
                <c:pt idx="188">
                  <c:v>1.985</c:v>
                </c:pt>
                <c:pt idx="189">
                  <c:v>1.994</c:v>
                </c:pt>
                <c:pt idx="190">
                  <c:v>2.003</c:v>
                </c:pt>
                <c:pt idx="191">
                  <c:v>2.012</c:v>
                </c:pt>
                <c:pt idx="192">
                  <c:v>2.021</c:v>
                </c:pt>
                <c:pt idx="193">
                  <c:v>2.03</c:v>
                </c:pt>
                <c:pt idx="194">
                  <c:v>2.039</c:v>
                </c:pt>
                <c:pt idx="195">
                  <c:v>2.048</c:v>
                </c:pt>
                <c:pt idx="196">
                  <c:v>2.057</c:v>
                </c:pt>
                <c:pt idx="197">
                  <c:v>2.066</c:v>
                </c:pt>
                <c:pt idx="198">
                  <c:v>2.075</c:v>
                </c:pt>
                <c:pt idx="199">
                  <c:v>2.084</c:v>
                </c:pt>
                <c:pt idx="200">
                  <c:v>2.093</c:v>
                </c:pt>
                <c:pt idx="201">
                  <c:v>2.102</c:v>
                </c:pt>
                <c:pt idx="202">
                  <c:v>2.111</c:v>
                </c:pt>
                <c:pt idx="203">
                  <c:v>2.12</c:v>
                </c:pt>
                <c:pt idx="204">
                  <c:v>2.129</c:v>
                </c:pt>
                <c:pt idx="205">
                  <c:v>2.138</c:v>
                </c:pt>
                <c:pt idx="206">
                  <c:v>2.147</c:v>
                </c:pt>
                <c:pt idx="207">
                  <c:v>2.156</c:v>
                </c:pt>
                <c:pt idx="208">
                  <c:v>2.166</c:v>
                </c:pt>
                <c:pt idx="209">
                  <c:v>2.175</c:v>
                </c:pt>
                <c:pt idx="210">
                  <c:v>2.184</c:v>
                </c:pt>
                <c:pt idx="211">
                  <c:v>2.193</c:v>
                </c:pt>
                <c:pt idx="212">
                  <c:v>2.204</c:v>
                </c:pt>
                <c:pt idx="213">
                  <c:v>2.215</c:v>
                </c:pt>
                <c:pt idx="214">
                  <c:v>2.225</c:v>
                </c:pt>
                <c:pt idx="215">
                  <c:v>2.235</c:v>
                </c:pt>
                <c:pt idx="216">
                  <c:v>2.244</c:v>
                </c:pt>
                <c:pt idx="217">
                  <c:v>2.253</c:v>
                </c:pt>
                <c:pt idx="218">
                  <c:v>2.262</c:v>
                </c:pt>
                <c:pt idx="219">
                  <c:v>2.271</c:v>
                </c:pt>
                <c:pt idx="220">
                  <c:v>2.28</c:v>
                </c:pt>
                <c:pt idx="221">
                  <c:v>2.289</c:v>
                </c:pt>
                <c:pt idx="222">
                  <c:v>2.298</c:v>
                </c:pt>
                <c:pt idx="223">
                  <c:v>2.307</c:v>
                </c:pt>
                <c:pt idx="224">
                  <c:v>2.316</c:v>
                </c:pt>
                <c:pt idx="225">
                  <c:v>2.325</c:v>
                </c:pt>
                <c:pt idx="226">
                  <c:v>2.334</c:v>
                </c:pt>
                <c:pt idx="227">
                  <c:v>2.343</c:v>
                </c:pt>
                <c:pt idx="228">
                  <c:v>2.352</c:v>
                </c:pt>
                <c:pt idx="229">
                  <c:v>2.361</c:v>
                </c:pt>
                <c:pt idx="230">
                  <c:v>2.37</c:v>
                </c:pt>
                <c:pt idx="231">
                  <c:v>2.38</c:v>
                </c:pt>
                <c:pt idx="232">
                  <c:v>2.389</c:v>
                </c:pt>
                <c:pt idx="233">
                  <c:v>2.398</c:v>
                </c:pt>
                <c:pt idx="234">
                  <c:v>2.407</c:v>
                </c:pt>
                <c:pt idx="235">
                  <c:v>2.416</c:v>
                </c:pt>
                <c:pt idx="236">
                  <c:v>2.425</c:v>
                </c:pt>
                <c:pt idx="237">
                  <c:v>2.434</c:v>
                </c:pt>
                <c:pt idx="238">
                  <c:v>2.443</c:v>
                </c:pt>
                <c:pt idx="239">
                  <c:v>2.453</c:v>
                </c:pt>
                <c:pt idx="240">
                  <c:v>2.462</c:v>
                </c:pt>
                <c:pt idx="241">
                  <c:v>2.471</c:v>
                </c:pt>
                <c:pt idx="242">
                  <c:v>2.48</c:v>
                </c:pt>
                <c:pt idx="243">
                  <c:v>2.489</c:v>
                </c:pt>
                <c:pt idx="244">
                  <c:v>2.498</c:v>
                </c:pt>
                <c:pt idx="245">
                  <c:v>2.507</c:v>
                </c:pt>
                <c:pt idx="246">
                  <c:v>2.516</c:v>
                </c:pt>
                <c:pt idx="247">
                  <c:v>2.526</c:v>
                </c:pt>
                <c:pt idx="248">
                  <c:v>2.535</c:v>
                </c:pt>
                <c:pt idx="249">
                  <c:v>2.544</c:v>
                </c:pt>
                <c:pt idx="250">
                  <c:v>2.553</c:v>
                </c:pt>
                <c:pt idx="251">
                  <c:v>2.562</c:v>
                </c:pt>
                <c:pt idx="252">
                  <c:v>2.571</c:v>
                </c:pt>
                <c:pt idx="253">
                  <c:v>2.58</c:v>
                </c:pt>
                <c:pt idx="254">
                  <c:v>2.589</c:v>
                </c:pt>
                <c:pt idx="255">
                  <c:v>2.598</c:v>
                </c:pt>
                <c:pt idx="256">
                  <c:v>2.607</c:v>
                </c:pt>
                <c:pt idx="257">
                  <c:v>2.616</c:v>
                </c:pt>
                <c:pt idx="258">
                  <c:v>2.625</c:v>
                </c:pt>
                <c:pt idx="259">
                  <c:v>2.634</c:v>
                </c:pt>
                <c:pt idx="260">
                  <c:v>2.643</c:v>
                </c:pt>
                <c:pt idx="261">
                  <c:v>2.652</c:v>
                </c:pt>
                <c:pt idx="262">
                  <c:v>2.661</c:v>
                </c:pt>
                <c:pt idx="263">
                  <c:v>2.671</c:v>
                </c:pt>
                <c:pt idx="264">
                  <c:v>2.68</c:v>
                </c:pt>
                <c:pt idx="265">
                  <c:v>2.689</c:v>
                </c:pt>
                <c:pt idx="266">
                  <c:v>2.698</c:v>
                </c:pt>
                <c:pt idx="267">
                  <c:v>2.707</c:v>
                </c:pt>
                <c:pt idx="268">
                  <c:v>2.716</c:v>
                </c:pt>
                <c:pt idx="269">
                  <c:v>2.726</c:v>
                </c:pt>
                <c:pt idx="270">
                  <c:v>2.735</c:v>
                </c:pt>
                <c:pt idx="271">
                  <c:v>2.744</c:v>
                </c:pt>
                <c:pt idx="272">
                  <c:v>2.753</c:v>
                </c:pt>
                <c:pt idx="273">
                  <c:v>2.762</c:v>
                </c:pt>
                <c:pt idx="274">
                  <c:v>2.771</c:v>
                </c:pt>
                <c:pt idx="275">
                  <c:v>2.78</c:v>
                </c:pt>
                <c:pt idx="276">
                  <c:v>2.789</c:v>
                </c:pt>
                <c:pt idx="277">
                  <c:v>2.798</c:v>
                </c:pt>
                <c:pt idx="278">
                  <c:v>2.807</c:v>
                </c:pt>
                <c:pt idx="279">
                  <c:v>2.816</c:v>
                </c:pt>
                <c:pt idx="280">
                  <c:v>2.825</c:v>
                </c:pt>
                <c:pt idx="281">
                  <c:v>2.834</c:v>
                </c:pt>
                <c:pt idx="282">
                  <c:v>2.843</c:v>
                </c:pt>
                <c:pt idx="283">
                  <c:v>2.852</c:v>
                </c:pt>
                <c:pt idx="284">
                  <c:v>2.861</c:v>
                </c:pt>
                <c:pt idx="285">
                  <c:v>2.871</c:v>
                </c:pt>
                <c:pt idx="286">
                  <c:v>2.88</c:v>
                </c:pt>
                <c:pt idx="287">
                  <c:v>2.889</c:v>
                </c:pt>
                <c:pt idx="288">
                  <c:v>2.898</c:v>
                </c:pt>
                <c:pt idx="289">
                  <c:v>2.907</c:v>
                </c:pt>
                <c:pt idx="290">
                  <c:v>2.916</c:v>
                </c:pt>
                <c:pt idx="291">
                  <c:v>2.925</c:v>
                </c:pt>
                <c:pt idx="292">
                  <c:v>2.934</c:v>
                </c:pt>
                <c:pt idx="293">
                  <c:v>2.943</c:v>
                </c:pt>
                <c:pt idx="294">
                  <c:v>2.952</c:v>
                </c:pt>
                <c:pt idx="295">
                  <c:v>2.961</c:v>
                </c:pt>
                <c:pt idx="296">
                  <c:v>2.97</c:v>
                </c:pt>
                <c:pt idx="297">
                  <c:v>2.979</c:v>
                </c:pt>
                <c:pt idx="298">
                  <c:v>2.988</c:v>
                </c:pt>
                <c:pt idx="299">
                  <c:v>2.997</c:v>
                </c:pt>
                <c:pt idx="300">
                  <c:v>3.006</c:v>
                </c:pt>
                <c:pt idx="301">
                  <c:v>3.016</c:v>
                </c:pt>
                <c:pt idx="302">
                  <c:v>3.025</c:v>
                </c:pt>
                <c:pt idx="303">
                  <c:v>3.034</c:v>
                </c:pt>
                <c:pt idx="304">
                  <c:v>3.043</c:v>
                </c:pt>
                <c:pt idx="305">
                  <c:v>3.052</c:v>
                </c:pt>
                <c:pt idx="306">
                  <c:v>3.061</c:v>
                </c:pt>
                <c:pt idx="307">
                  <c:v>3.07</c:v>
                </c:pt>
                <c:pt idx="308">
                  <c:v>3.079</c:v>
                </c:pt>
                <c:pt idx="309">
                  <c:v>3.088</c:v>
                </c:pt>
                <c:pt idx="310">
                  <c:v>3.097</c:v>
                </c:pt>
                <c:pt idx="311">
                  <c:v>3.106</c:v>
                </c:pt>
                <c:pt idx="312">
                  <c:v>3.115</c:v>
                </c:pt>
                <c:pt idx="313">
                  <c:v>3.124</c:v>
                </c:pt>
                <c:pt idx="314">
                  <c:v>3.133</c:v>
                </c:pt>
                <c:pt idx="315">
                  <c:v>3.142</c:v>
                </c:pt>
                <c:pt idx="316">
                  <c:v>3.151</c:v>
                </c:pt>
                <c:pt idx="317">
                  <c:v>3.16</c:v>
                </c:pt>
                <c:pt idx="318">
                  <c:v>3.169</c:v>
                </c:pt>
                <c:pt idx="319">
                  <c:v>3.178</c:v>
                </c:pt>
                <c:pt idx="320">
                  <c:v>3.187</c:v>
                </c:pt>
                <c:pt idx="321">
                  <c:v>3.196</c:v>
                </c:pt>
                <c:pt idx="322">
                  <c:v>3.209</c:v>
                </c:pt>
                <c:pt idx="323">
                  <c:v>3.219</c:v>
                </c:pt>
                <c:pt idx="324">
                  <c:v>3.232</c:v>
                </c:pt>
                <c:pt idx="325">
                  <c:v>3.242</c:v>
                </c:pt>
                <c:pt idx="326">
                  <c:v>3.251</c:v>
                </c:pt>
                <c:pt idx="327">
                  <c:v>3.26</c:v>
                </c:pt>
                <c:pt idx="328">
                  <c:v>3.269</c:v>
                </c:pt>
                <c:pt idx="329">
                  <c:v>3.278</c:v>
                </c:pt>
                <c:pt idx="330">
                  <c:v>3.287</c:v>
                </c:pt>
                <c:pt idx="331">
                  <c:v>3.297</c:v>
                </c:pt>
                <c:pt idx="332">
                  <c:v>3.306</c:v>
                </c:pt>
                <c:pt idx="333">
                  <c:v>3.315</c:v>
                </c:pt>
                <c:pt idx="334">
                  <c:v>3.324</c:v>
                </c:pt>
                <c:pt idx="335">
                  <c:v>3.333</c:v>
                </c:pt>
                <c:pt idx="336">
                  <c:v>3.342</c:v>
                </c:pt>
                <c:pt idx="337">
                  <c:v>3.351</c:v>
                </c:pt>
                <c:pt idx="338">
                  <c:v>3.36</c:v>
                </c:pt>
                <c:pt idx="339">
                  <c:v>3.369</c:v>
                </c:pt>
                <c:pt idx="340">
                  <c:v>3.378</c:v>
                </c:pt>
                <c:pt idx="341">
                  <c:v>3.387</c:v>
                </c:pt>
                <c:pt idx="342">
                  <c:v>3.396</c:v>
                </c:pt>
                <c:pt idx="343">
                  <c:v>3.405</c:v>
                </c:pt>
                <c:pt idx="344">
                  <c:v>3.414</c:v>
                </c:pt>
                <c:pt idx="345">
                  <c:v>3.423</c:v>
                </c:pt>
                <c:pt idx="346">
                  <c:v>3.432</c:v>
                </c:pt>
                <c:pt idx="347">
                  <c:v>3.441</c:v>
                </c:pt>
                <c:pt idx="348">
                  <c:v>3.45</c:v>
                </c:pt>
                <c:pt idx="349">
                  <c:v>3.459</c:v>
                </c:pt>
                <c:pt idx="350">
                  <c:v>3.468</c:v>
                </c:pt>
                <c:pt idx="351">
                  <c:v>3.477</c:v>
                </c:pt>
                <c:pt idx="352">
                  <c:v>3.486</c:v>
                </c:pt>
                <c:pt idx="353">
                  <c:v>3.495</c:v>
                </c:pt>
                <c:pt idx="354">
                  <c:v>3.504</c:v>
                </c:pt>
                <c:pt idx="355">
                  <c:v>3.513</c:v>
                </c:pt>
                <c:pt idx="356">
                  <c:v>3.522</c:v>
                </c:pt>
                <c:pt idx="357">
                  <c:v>3.532</c:v>
                </c:pt>
                <c:pt idx="358">
                  <c:v>3.541</c:v>
                </c:pt>
                <c:pt idx="359">
                  <c:v>3.55</c:v>
                </c:pt>
                <c:pt idx="360">
                  <c:v>3.559</c:v>
                </c:pt>
                <c:pt idx="361">
                  <c:v>3.568</c:v>
                </c:pt>
                <c:pt idx="362">
                  <c:v>3.577</c:v>
                </c:pt>
                <c:pt idx="363">
                  <c:v>3.586</c:v>
                </c:pt>
                <c:pt idx="364">
                  <c:v>3.595</c:v>
                </c:pt>
                <c:pt idx="365">
                  <c:v>3.604</c:v>
                </c:pt>
                <c:pt idx="366">
                  <c:v>3.613</c:v>
                </c:pt>
                <c:pt idx="367">
                  <c:v>3.622</c:v>
                </c:pt>
                <c:pt idx="368">
                  <c:v>3.631</c:v>
                </c:pt>
                <c:pt idx="369">
                  <c:v>3.64</c:v>
                </c:pt>
                <c:pt idx="370">
                  <c:v>3.649</c:v>
                </c:pt>
                <c:pt idx="371">
                  <c:v>3.658</c:v>
                </c:pt>
                <c:pt idx="372">
                  <c:v>3.667</c:v>
                </c:pt>
                <c:pt idx="373">
                  <c:v>3.677</c:v>
                </c:pt>
                <c:pt idx="374">
                  <c:v>3.686</c:v>
                </c:pt>
                <c:pt idx="375">
                  <c:v>3.695</c:v>
                </c:pt>
                <c:pt idx="376">
                  <c:v>3.704</c:v>
                </c:pt>
                <c:pt idx="377">
                  <c:v>3.713</c:v>
                </c:pt>
                <c:pt idx="378">
                  <c:v>3.722</c:v>
                </c:pt>
                <c:pt idx="379">
                  <c:v>3.731</c:v>
                </c:pt>
                <c:pt idx="380">
                  <c:v>3.741</c:v>
                </c:pt>
                <c:pt idx="381">
                  <c:v>3.75</c:v>
                </c:pt>
                <c:pt idx="382">
                  <c:v>3.759</c:v>
                </c:pt>
                <c:pt idx="383">
                  <c:v>3.768</c:v>
                </c:pt>
                <c:pt idx="384">
                  <c:v>3.777</c:v>
                </c:pt>
                <c:pt idx="385">
                  <c:v>3.786</c:v>
                </c:pt>
                <c:pt idx="386">
                  <c:v>3.795</c:v>
                </c:pt>
                <c:pt idx="387">
                  <c:v>3.804</c:v>
                </c:pt>
                <c:pt idx="388">
                  <c:v>3.813</c:v>
                </c:pt>
                <c:pt idx="389">
                  <c:v>3.822</c:v>
                </c:pt>
                <c:pt idx="390">
                  <c:v>3.831</c:v>
                </c:pt>
                <c:pt idx="391">
                  <c:v>3.84</c:v>
                </c:pt>
                <c:pt idx="392">
                  <c:v>3.849</c:v>
                </c:pt>
                <c:pt idx="393">
                  <c:v>3.858</c:v>
                </c:pt>
                <c:pt idx="394">
                  <c:v>3.867</c:v>
                </c:pt>
                <c:pt idx="395">
                  <c:v>3.876</c:v>
                </c:pt>
                <c:pt idx="396">
                  <c:v>3.885</c:v>
                </c:pt>
                <c:pt idx="397">
                  <c:v>3.895</c:v>
                </c:pt>
                <c:pt idx="398">
                  <c:v>3.904</c:v>
                </c:pt>
                <c:pt idx="399">
                  <c:v>3.913</c:v>
                </c:pt>
                <c:pt idx="400">
                  <c:v>3.923</c:v>
                </c:pt>
                <c:pt idx="401">
                  <c:v>3.932</c:v>
                </c:pt>
                <c:pt idx="402">
                  <c:v>3.941</c:v>
                </c:pt>
                <c:pt idx="403">
                  <c:v>3.951</c:v>
                </c:pt>
                <c:pt idx="404">
                  <c:v>3.96</c:v>
                </c:pt>
                <c:pt idx="405">
                  <c:v>3.969</c:v>
                </c:pt>
                <c:pt idx="406">
                  <c:v>3.978</c:v>
                </c:pt>
                <c:pt idx="407">
                  <c:v>3.987</c:v>
                </c:pt>
                <c:pt idx="408">
                  <c:v>3.996</c:v>
                </c:pt>
                <c:pt idx="409">
                  <c:v>4.005</c:v>
                </c:pt>
                <c:pt idx="410">
                  <c:v>4.014</c:v>
                </c:pt>
                <c:pt idx="411">
                  <c:v>4.023</c:v>
                </c:pt>
                <c:pt idx="412">
                  <c:v>4.032</c:v>
                </c:pt>
                <c:pt idx="413">
                  <c:v>4.041</c:v>
                </c:pt>
                <c:pt idx="414">
                  <c:v>4.05</c:v>
                </c:pt>
                <c:pt idx="415">
                  <c:v>4.059</c:v>
                </c:pt>
                <c:pt idx="416">
                  <c:v>4.068</c:v>
                </c:pt>
                <c:pt idx="417">
                  <c:v>4.077</c:v>
                </c:pt>
                <c:pt idx="418">
                  <c:v>4.086</c:v>
                </c:pt>
                <c:pt idx="419">
                  <c:v>4.096</c:v>
                </c:pt>
                <c:pt idx="420">
                  <c:v>4.105</c:v>
                </c:pt>
                <c:pt idx="421">
                  <c:v>4.114</c:v>
                </c:pt>
                <c:pt idx="422">
                  <c:v>4.124</c:v>
                </c:pt>
                <c:pt idx="423">
                  <c:v>4.133</c:v>
                </c:pt>
                <c:pt idx="424">
                  <c:v>4.142</c:v>
                </c:pt>
                <c:pt idx="425">
                  <c:v>4.151</c:v>
                </c:pt>
                <c:pt idx="426">
                  <c:v>4.16</c:v>
                </c:pt>
                <c:pt idx="427">
                  <c:v>4.169</c:v>
                </c:pt>
                <c:pt idx="428">
                  <c:v>4.178</c:v>
                </c:pt>
                <c:pt idx="429">
                  <c:v>4.188</c:v>
                </c:pt>
                <c:pt idx="430">
                  <c:v>4.197</c:v>
                </c:pt>
                <c:pt idx="431">
                  <c:v>4.207</c:v>
                </c:pt>
                <c:pt idx="432">
                  <c:v>4.218</c:v>
                </c:pt>
                <c:pt idx="433">
                  <c:v>4.228</c:v>
                </c:pt>
                <c:pt idx="434">
                  <c:v>4.237</c:v>
                </c:pt>
                <c:pt idx="435">
                  <c:v>4.246</c:v>
                </c:pt>
                <c:pt idx="436">
                  <c:v>4.255</c:v>
                </c:pt>
                <c:pt idx="437">
                  <c:v>4.264</c:v>
                </c:pt>
                <c:pt idx="438">
                  <c:v>4.273</c:v>
                </c:pt>
                <c:pt idx="439">
                  <c:v>4.282</c:v>
                </c:pt>
                <c:pt idx="440">
                  <c:v>4.291</c:v>
                </c:pt>
                <c:pt idx="441">
                  <c:v>4.3</c:v>
                </c:pt>
                <c:pt idx="442">
                  <c:v>4.309</c:v>
                </c:pt>
                <c:pt idx="443">
                  <c:v>4.318</c:v>
                </c:pt>
                <c:pt idx="444">
                  <c:v>4.327</c:v>
                </c:pt>
                <c:pt idx="445">
                  <c:v>4.336</c:v>
                </c:pt>
                <c:pt idx="446">
                  <c:v>4.345</c:v>
                </c:pt>
                <c:pt idx="447">
                  <c:v>4.354</c:v>
                </c:pt>
                <c:pt idx="448">
                  <c:v>4.363</c:v>
                </c:pt>
                <c:pt idx="449">
                  <c:v>4.372</c:v>
                </c:pt>
                <c:pt idx="450">
                  <c:v>4.382</c:v>
                </c:pt>
                <c:pt idx="451">
                  <c:v>4.391</c:v>
                </c:pt>
                <c:pt idx="452">
                  <c:v>4.4</c:v>
                </c:pt>
                <c:pt idx="453">
                  <c:v>4.409</c:v>
                </c:pt>
                <c:pt idx="454">
                  <c:v>4.418</c:v>
                </c:pt>
                <c:pt idx="455">
                  <c:v>4.428</c:v>
                </c:pt>
                <c:pt idx="456">
                  <c:v>4.437</c:v>
                </c:pt>
                <c:pt idx="457">
                  <c:v>4.446</c:v>
                </c:pt>
                <c:pt idx="458">
                  <c:v>4.455</c:v>
                </c:pt>
                <c:pt idx="459">
                  <c:v>4.464</c:v>
                </c:pt>
                <c:pt idx="460">
                  <c:v>4.473</c:v>
                </c:pt>
                <c:pt idx="461">
                  <c:v>4.482</c:v>
                </c:pt>
                <c:pt idx="462">
                  <c:v>4.491</c:v>
                </c:pt>
                <c:pt idx="463">
                  <c:v>4.5</c:v>
                </c:pt>
                <c:pt idx="464">
                  <c:v>4.509</c:v>
                </c:pt>
                <c:pt idx="465">
                  <c:v>4.518</c:v>
                </c:pt>
                <c:pt idx="466">
                  <c:v>4.527</c:v>
                </c:pt>
                <c:pt idx="467">
                  <c:v>4.536</c:v>
                </c:pt>
                <c:pt idx="468">
                  <c:v>4.545</c:v>
                </c:pt>
                <c:pt idx="469">
                  <c:v>4.554</c:v>
                </c:pt>
                <c:pt idx="470">
                  <c:v>4.563</c:v>
                </c:pt>
                <c:pt idx="471">
                  <c:v>4.572</c:v>
                </c:pt>
                <c:pt idx="472">
                  <c:v>4.581</c:v>
                </c:pt>
                <c:pt idx="473">
                  <c:v>4.59</c:v>
                </c:pt>
                <c:pt idx="474">
                  <c:v>4.599</c:v>
                </c:pt>
                <c:pt idx="475">
                  <c:v>4.608</c:v>
                </c:pt>
                <c:pt idx="476">
                  <c:v>4.617</c:v>
                </c:pt>
                <c:pt idx="477">
                  <c:v>4.626</c:v>
                </c:pt>
                <c:pt idx="478">
                  <c:v>4.635</c:v>
                </c:pt>
                <c:pt idx="479">
                  <c:v>4.644</c:v>
                </c:pt>
                <c:pt idx="480">
                  <c:v>4.653</c:v>
                </c:pt>
                <c:pt idx="481">
                  <c:v>4.662</c:v>
                </c:pt>
                <c:pt idx="482">
                  <c:v>4.672</c:v>
                </c:pt>
                <c:pt idx="483">
                  <c:v>4.681</c:v>
                </c:pt>
                <c:pt idx="484">
                  <c:v>4.69</c:v>
                </c:pt>
                <c:pt idx="485">
                  <c:v>4.699</c:v>
                </c:pt>
                <c:pt idx="486">
                  <c:v>4.709</c:v>
                </c:pt>
                <c:pt idx="487">
                  <c:v>4.721</c:v>
                </c:pt>
                <c:pt idx="488">
                  <c:v>4.731</c:v>
                </c:pt>
                <c:pt idx="489">
                  <c:v>4.74</c:v>
                </c:pt>
                <c:pt idx="490">
                  <c:v>4.749</c:v>
                </c:pt>
                <c:pt idx="491">
                  <c:v>4.758</c:v>
                </c:pt>
                <c:pt idx="492">
                  <c:v>4.767</c:v>
                </c:pt>
                <c:pt idx="493">
                  <c:v>4.777</c:v>
                </c:pt>
                <c:pt idx="494">
                  <c:v>4.786</c:v>
                </c:pt>
                <c:pt idx="495">
                  <c:v>4.795</c:v>
                </c:pt>
                <c:pt idx="496">
                  <c:v>4.804</c:v>
                </c:pt>
                <c:pt idx="497">
                  <c:v>4.813</c:v>
                </c:pt>
                <c:pt idx="498">
                  <c:v>4.822</c:v>
                </c:pt>
                <c:pt idx="499">
                  <c:v>4.831</c:v>
                </c:pt>
                <c:pt idx="500">
                  <c:v>4.84</c:v>
                </c:pt>
                <c:pt idx="501">
                  <c:v>4.85</c:v>
                </c:pt>
                <c:pt idx="502">
                  <c:v>4.859</c:v>
                </c:pt>
                <c:pt idx="503">
                  <c:v>4.868</c:v>
                </c:pt>
                <c:pt idx="504">
                  <c:v>4.878</c:v>
                </c:pt>
                <c:pt idx="505">
                  <c:v>4.887</c:v>
                </c:pt>
                <c:pt idx="506">
                  <c:v>4.896</c:v>
                </c:pt>
                <c:pt idx="507">
                  <c:v>4.905</c:v>
                </c:pt>
                <c:pt idx="508">
                  <c:v>4.914</c:v>
                </c:pt>
                <c:pt idx="509">
                  <c:v>4.923</c:v>
                </c:pt>
                <c:pt idx="510">
                  <c:v>4.933</c:v>
                </c:pt>
                <c:pt idx="511">
                  <c:v>4.942</c:v>
                </c:pt>
                <c:pt idx="512">
                  <c:v>4.951</c:v>
                </c:pt>
                <c:pt idx="513">
                  <c:v>4.96</c:v>
                </c:pt>
                <c:pt idx="514">
                  <c:v>4.969</c:v>
                </c:pt>
                <c:pt idx="515">
                  <c:v>4.978</c:v>
                </c:pt>
                <c:pt idx="516">
                  <c:v>4.987</c:v>
                </c:pt>
                <c:pt idx="517">
                  <c:v>4.996</c:v>
                </c:pt>
                <c:pt idx="518">
                  <c:v>5.005</c:v>
                </c:pt>
                <c:pt idx="519">
                  <c:v>5.014</c:v>
                </c:pt>
                <c:pt idx="520">
                  <c:v>5.023</c:v>
                </c:pt>
                <c:pt idx="521">
                  <c:v>5.032</c:v>
                </c:pt>
                <c:pt idx="522">
                  <c:v>5.041</c:v>
                </c:pt>
                <c:pt idx="523">
                  <c:v>5.05</c:v>
                </c:pt>
                <c:pt idx="524">
                  <c:v>5.059</c:v>
                </c:pt>
                <c:pt idx="525">
                  <c:v>5.068</c:v>
                </c:pt>
                <c:pt idx="526">
                  <c:v>5.077</c:v>
                </c:pt>
                <c:pt idx="527">
                  <c:v>5.086</c:v>
                </c:pt>
                <c:pt idx="528">
                  <c:v>5.095</c:v>
                </c:pt>
                <c:pt idx="529">
                  <c:v>5.104</c:v>
                </c:pt>
                <c:pt idx="530">
                  <c:v>5.113</c:v>
                </c:pt>
                <c:pt idx="531">
                  <c:v>5.122</c:v>
                </c:pt>
                <c:pt idx="532">
                  <c:v>5.131</c:v>
                </c:pt>
                <c:pt idx="533">
                  <c:v>5.14</c:v>
                </c:pt>
                <c:pt idx="534">
                  <c:v>5.149</c:v>
                </c:pt>
                <c:pt idx="535">
                  <c:v>5.158</c:v>
                </c:pt>
                <c:pt idx="536">
                  <c:v>5.167</c:v>
                </c:pt>
                <c:pt idx="537">
                  <c:v>5.176</c:v>
                </c:pt>
                <c:pt idx="538">
                  <c:v>5.185</c:v>
                </c:pt>
                <c:pt idx="539">
                  <c:v>5.194</c:v>
                </c:pt>
                <c:pt idx="540">
                  <c:v>5.203</c:v>
                </c:pt>
                <c:pt idx="541">
                  <c:v>5.214</c:v>
                </c:pt>
                <c:pt idx="542">
                  <c:v>5.226</c:v>
                </c:pt>
                <c:pt idx="543">
                  <c:v>5.237</c:v>
                </c:pt>
                <c:pt idx="544">
                  <c:v>5.247</c:v>
                </c:pt>
                <c:pt idx="545">
                  <c:v>5.256</c:v>
                </c:pt>
                <c:pt idx="546">
                  <c:v>5.265</c:v>
                </c:pt>
                <c:pt idx="547">
                  <c:v>5.274</c:v>
                </c:pt>
                <c:pt idx="548">
                  <c:v>5.283</c:v>
                </c:pt>
                <c:pt idx="549">
                  <c:v>5.293</c:v>
                </c:pt>
                <c:pt idx="550">
                  <c:v>5.302</c:v>
                </c:pt>
                <c:pt idx="551">
                  <c:v>5.311</c:v>
                </c:pt>
                <c:pt idx="552">
                  <c:v>5.32</c:v>
                </c:pt>
                <c:pt idx="553">
                  <c:v>5.329</c:v>
                </c:pt>
                <c:pt idx="554">
                  <c:v>5.338</c:v>
                </c:pt>
                <c:pt idx="555">
                  <c:v>5.347</c:v>
                </c:pt>
                <c:pt idx="556">
                  <c:v>5.356</c:v>
                </c:pt>
                <c:pt idx="557">
                  <c:v>5.365</c:v>
                </c:pt>
                <c:pt idx="558">
                  <c:v>5.374</c:v>
                </c:pt>
                <c:pt idx="559">
                  <c:v>5.383</c:v>
                </c:pt>
                <c:pt idx="560">
                  <c:v>5.392</c:v>
                </c:pt>
                <c:pt idx="561">
                  <c:v>5.401</c:v>
                </c:pt>
                <c:pt idx="562">
                  <c:v>5.41</c:v>
                </c:pt>
                <c:pt idx="563">
                  <c:v>5.419</c:v>
                </c:pt>
                <c:pt idx="564">
                  <c:v>5.428</c:v>
                </c:pt>
                <c:pt idx="565">
                  <c:v>5.437</c:v>
                </c:pt>
                <c:pt idx="566">
                  <c:v>5.446</c:v>
                </c:pt>
                <c:pt idx="567">
                  <c:v>5.455</c:v>
                </c:pt>
                <c:pt idx="568">
                  <c:v>5.464</c:v>
                </c:pt>
                <c:pt idx="569">
                  <c:v>5.473</c:v>
                </c:pt>
                <c:pt idx="570">
                  <c:v>5.482</c:v>
                </c:pt>
                <c:pt idx="571">
                  <c:v>5.491</c:v>
                </c:pt>
                <c:pt idx="572">
                  <c:v>5.5</c:v>
                </c:pt>
                <c:pt idx="573">
                  <c:v>5.509</c:v>
                </c:pt>
                <c:pt idx="574">
                  <c:v>5.518</c:v>
                </c:pt>
                <c:pt idx="575">
                  <c:v>5.527</c:v>
                </c:pt>
                <c:pt idx="576">
                  <c:v>5.536</c:v>
                </c:pt>
                <c:pt idx="577">
                  <c:v>5.545</c:v>
                </c:pt>
                <c:pt idx="578">
                  <c:v>5.554</c:v>
                </c:pt>
                <c:pt idx="579">
                  <c:v>5.564</c:v>
                </c:pt>
                <c:pt idx="580">
                  <c:v>5.573</c:v>
                </c:pt>
                <c:pt idx="581">
                  <c:v>5.582</c:v>
                </c:pt>
                <c:pt idx="582">
                  <c:v>5.592</c:v>
                </c:pt>
                <c:pt idx="583">
                  <c:v>5.601</c:v>
                </c:pt>
                <c:pt idx="584">
                  <c:v>5.61</c:v>
                </c:pt>
                <c:pt idx="585">
                  <c:v>5.619</c:v>
                </c:pt>
                <c:pt idx="586">
                  <c:v>5.629</c:v>
                </c:pt>
                <c:pt idx="587">
                  <c:v>5.638</c:v>
                </c:pt>
                <c:pt idx="588">
                  <c:v>5.647</c:v>
                </c:pt>
                <c:pt idx="589">
                  <c:v>5.656</c:v>
                </c:pt>
                <c:pt idx="590">
                  <c:v>5.665</c:v>
                </c:pt>
                <c:pt idx="591">
                  <c:v>5.674</c:v>
                </c:pt>
                <c:pt idx="592">
                  <c:v>5.683</c:v>
                </c:pt>
                <c:pt idx="593">
                  <c:v>5.692</c:v>
                </c:pt>
                <c:pt idx="594">
                  <c:v>5.701</c:v>
                </c:pt>
                <c:pt idx="595">
                  <c:v>5.71</c:v>
                </c:pt>
                <c:pt idx="596">
                  <c:v>5.719</c:v>
                </c:pt>
                <c:pt idx="597">
                  <c:v>5.728</c:v>
                </c:pt>
                <c:pt idx="598">
                  <c:v>5.737</c:v>
                </c:pt>
                <c:pt idx="599">
                  <c:v>5.746</c:v>
                </c:pt>
                <c:pt idx="600">
                  <c:v>5.755</c:v>
                </c:pt>
                <c:pt idx="601">
                  <c:v>5.764</c:v>
                </c:pt>
                <c:pt idx="602">
                  <c:v>5.773</c:v>
                </c:pt>
                <c:pt idx="603">
                  <c:v>5.782</c:v>
                </c:pt>
                <c:pt idx="604">
                  <c:v>5.791</c:v>
                </c:pt>
                <c:pt idx="605">
                  <c:v>5.8</c:v>
                </c:pt>
                <c:pt idx="606">
                  <c:v>5.809</c:v>
                </c:pt>
                <c:pt idx="607">
                  <c:v>5.818</c:v>
                </c:pt>
                <c:pt idx="608">
                  <c:v>5.827</c:v>
                </c:pt>
                <c:pt idx="609">
                  <c:v>5.836</c:v>
                </c:pt>
                <c:pt idx="610">
                  <c:v>5.845</c:v>
                </c:pt>
                <c:pt idx="611">
                  <c:v>5.854</c:v>
                </c:pt>
                <c:pt idx="612">
                  <c:v>5.863</c:v>
                </c:pt>
                <c:pt idx="613">
                  <c:v>5.872</c:v>
                </c:pt>
                <c:pt idx="614">
                  <c:v>5.882</c:v>
                </c:pt>
                <c:pt idx="615">
                  <c:v>5.891</c:v>
                </c:pt>
                <c:pt idx="616">
                  <c:v>5.9</c:v>
                </c:pt>
                <c:pt idx="617">
                  <c:v>5.909</c:v>
                </c:pt>
                <c:pt idx="618">
                  <c:v>5.918</c:v>
                </c:pt>
                <c:pt idx="619">
                  <c:v>5.927</c:v>
                </c:pt>
                <c:pt idx="620">
                  <c:v>5.936</c:v>
                </c:pt>
                <c:pt idx="621">
                  <c:v>5.945</c:v>
                </c:pt>
                <c:pt idx="622">
                  <c:v>5.954</c:v>
                </c:pt>
                <c:pt idx="623">
                  <c:v>5.963</c:v>
                </c:pt>
                <c:pt idx="624">
                  <c:v>5.972</c:v>
                </c:pt>
                <c:pt idx="625">
                  <c:v>5.981</c:v>
                </c:pt>
                <c:pt idx="626">
                  <c:v>5.99</c:v>
                </c:pt>
                <c:pt idx="627">
                  <c:v>5.999</c:v>
                </c:pt>
                <c:pt idx="628">
                  <c:v>6.008</c:v>
                </c:pt>
                <c:pt idx="629">
                  <c:v>6.017</c:v>
                </c:pt>
                <c:pt idx="630">
                  <c:v>6.027</c:v>
                </c:pt>
                <c:pt idx="631">
                  <c:v>6.036</c:v>
                </c:pt>
                <c:pt idx="632">
                  <c:v>6.045</c:v>
                </c:pt>
                <c:pt idx="633">
                  <c:v>6.054</c:v>
                </c:pt>
                <c:pt idx="634">
                  <c:v>6.063</c:v>
                </c:pt>
                <c:pt idx="635">
                  <c:v>6.072</c:v>
                </c:pt>
                <c:pt idx="636">
                  <c:v>6.081</c:v>
                </c:pt>
                <c:pt idx="637">
                  <c:v>6.09</c:v>
                </c:pt>
                <c:pt idx="638">
                  <c:v>6.099</c:v>
                </c:pt>
                <c:pt idx="639">
                  <c:v>6.108</c:v>
                </c:pt>
                <c:pt idx="640">
                  <c:v>6.117</c:v>
                </c:pt>
                <c:pt idx="641">
                  <c:v>6.126</c:v>
                </c:pt>
                <c:pt idx="642">
                  <c:v>6.135</c:v>
                </c:pt>
                <c:pt idx="643">
                  <c:v>6.144</c:v>
                </c:pt>
                <c:pt idx="644">
                  <c:v>6.153</c:v>
                </c:pt>
                <c:pt idx="645">
                  <c:v>6.162</c:v>
                </c:pt>
                <c:pt idx="646">
                  <c:v>6.172</c:v>
                </c:pt>
                <c:pt idx="647">
                  <c:v>6.182</c:v>
                </c:pt>
                <c:pt idx="648">
                  <c:v>6.191</c:v>
                </c:pt>
                <c:pt idx="649">
                  <c:v>6.2</c:v>
                </c:pt>
                <c:pt idx="650">
                  <c:v>6.209</c:v>
                </c:pt>
                <c:pt idx="651">
                  <c:v>6.218</c:v>
                </c:pt>
                <c:pt idx="652">
                  <c:v>6.23</c:v>
                </c:pt>
                <c:pt idx="653">
                  <c:v>6.24</c:v>
                </c:pt>
                <c:pt idx="654">
                  <c:v>6.253</c:v>
                </c:pt>
                <c:pt idx="655">
                  <c:v>6.262</c:v>
                </c:pt>
                <c:pt idx="656">
                  <c:v>6.271</c:v>
                </c:pt>
                <c:pt idx="657">
                  <c:v>6.28</c:v>
                </c:pt>
                <c:pt idx="658">
                  <c:v>6.289</c:v>
                </c:pt>
                <c:pt idx="659">
                  <c:v>6.298</c:v>
                </c:pt>
                <c:pt idx="660">
                  <c:v>6.307</c:v>
                </c:pt>
                <c:pt idx="661">
                  <c:v>6.317</c:v>
                </c:pt>
                <c:pt idx="662">
                  <c:v>6.326</c:v>
                </c:pt>
                <c:pt idx="663">
                  <c:v>6.335</c:v>
                </c:pt>
                <c:pt idx="664">
                  <c:v>6.344</c:v>
                </c:pt>
                <c:pt idx="665">
                  <c:v>6.354</c:v>
                </c:pt>
                <c:pt idx="666">
                  <c:v>6.363</c:v>
                </c:pt>
                <c:pt idx="667">
                  <c:v>6.372</c:v>
                </c:pt>
                <c:pt idx="668">
                  <c:v>6.382</c:v>
                </c:pt>
                <c:pt idx="669">
                  <c:v>6.391</c:v>
                </c:pt>
                <c:pt idx="670">
                  <c:v>6.4</c:v>
                </c:pt>
                <c:pt idx="671">
                  <c:v>6.409</c:v>
                </c:pt>
                <c:pt idx="672">
                  <c:v>6.418</c:v>
                </c:pt>
                <c:pt idx="673">
                  <c:v>6.427</c:v>
                </c:pt>
                <c:pt idx="674">
                  <c:v>6.436</c:v>
                </c:pt>
                <c:pt idx="675">
                  <c:v>6.446</c:v>
                </c:pt>
                <c:pt idx="676">
                  <c:v>6.455</c:v>
                </c:pt>
                <c:pt idx="677">
                  <c:v>6.464</c:v>
                </c:pt>
                <c:pt idx="678">
                  <c:v>6.473</c:v>
                </c:pt>
                <c:pt idx="679">
                  <c:v>6.482</c:v>
                </c:pt>
                <c:pt idx="680">
                  <c:v>6.491</c:v>
                </c:pt>
                <c:pt idx="681">
                  <c:v>6.5</c:v>
                </c:pt>
                <c:pt idx="682">
                  <c:v>6.509</c:v>
                </c:pt>
                <c:pt idx="683">
                  <c:v>6.518</c:v>
                </c:pt>
                <c:pt idx="684">
                  <c:v>6.527</c:v>
                </c:pt>
                <c:pt idx="685">
                  <c:v>6.536</c:v>
                </c:pt>
                <c:pt idx="686">
                  <c:v>6.545</c:v>
                </c:pt>
                <c:pt idx="687">
                  <c:v>6.554</c:v>
                </c:pt>
                <c:pt idx="688">
                  <c:v>6.563</c:v>
                </c:pt>
                <c:pt idx="689">
                  <c:v>6.572</c:v>
                </c:pt>
                <c:pt idx="690">
                  <c:v>6.581</c:v>
                </c:pt>
                <c:pt idx="691">
                  <c:v>6.59</c:v>
                </c:pt>
                <c:pt idx="692">
                  <c:v>6.599</c:v>
                </c:pt>
                <c:pt idx="693">
                  <c:v>6.608</c:v>
                </c:pt>
                <c:pt idx="694">
                  <c:v>6.617</c:v>
                </c:pt>
                <c:pt idx="695">
                  <c:v>6.626</c:v>
                </c:pt>
                <c:pt idx="696">
                  <c:v>6.635</c:v>
                </c:pt>
                <c:pt idx="697">
                  <c:v>6.644</c:v>
                </c:pt>
                <c:pt idx="698">
                  <c:v>6.653</c:v>
                </c:pt>
                <c:pt idx="699">
                  <c:v>6.662</c:v>
                </c:pt>
                <c:pt idx="700">
                  <c:v>6.672</c:v>
                </c:pt>
                <c:pt idx="701">
                  <c:v>6.681</c:v>
                </c:pt>
                <c:pt idx="702">
                  <c:v>6.69</c:v>
                </c:pt>
                <c:pt idx="703">
                  <c:v>6.699</c:v>
                </c:pt>
                <c:pt idx="704">
                  <c:v>6.708</c:v>
                </c:pt>
                <c:pt idx="705">
                  <c:v>6.717</c:v>
                </c:pt>
                <c:pt idx="706">
                  <c:v>6.726</c:v>
                </c:pt>
                <c:pt idx="707">
                  <c:v>6.735</c:v>
                </c:pt>
                <c:pt idx="708">
                  <c:v>6.744</c:v>
                </c:pt>
                <c:pt idx="709">
                  <c:v>6.753</c:v>
                </c:pt>
                <c:pt idx="710">
                  <c:v>6.762</c:v>
                </c:pt>
                <c:pt idx="711">
                  <c:v>6.771</c:v>
                </c:pt>
                <c:pt idx="712">
                  <c:v>6.78</c:v>
                </c:pt>
                <c:pt idx="713">
                  <c:v>6.789</c:v>
                </c:pt>
                <c:pt idx="714">
                  <c:v>6.798</c:v>
                </c:pt>
                <c:pt idx="715">
                  <c:v>6.807</c:v>
                </c:pt>
                <c:pt idx="716">
                  <c:v>6.817</c:v>
                </c:pt>
                <c:pt idx="717">
                  <c:v>6.826</c:v>
                </c:pt>
                <c:pt idx="718">
                  <c:v>6.835</c:v>
                </c:pt>
                <c:pt idx="719">
                  <c:v>6.844</c:v>
                </c:pt>
                <c:pt idx="720">
                  <c:v>6.854</c:v>
                </c:pt>
                <c:pt idx="721">
                  <c:v>6.863</c:v>
                </c:pt>
                <c:pt idx="722">
                  <c:v>6.872</c:v>
                </c:pt>
                <c:pt idx="723">
                  <c:v>6.882</c:v>
                </c:pt>
                <c:pt idx="724">
                  <c:v>6.891</c:v>
                </c:pt>
                <c:pt idx="725">
                  <c:v>6.9</c:v>
                </c:pt>
                <c:pt idx="726">
                  <c:v>6.91</c:v>
                </c:pt>
                <c:pt idx="727">
                  <c:v>6.919</c:v>
                </c:pt>
                <c:pt idx="728">
                  <c:v>6.928</c:v>
                </c:pt>
                <c:pt idx="729">
                  <c:v>6.937</c:v>
                </c:pt>
                <c:pt idx="730">
                  <c:v>6.946</c:v>
                </c:pt>
                <c:pt idx="731">
                  <c:v>6.955</c:v>
                </c:pt>
                <c:pt idx="732">
                  <c:v>6.964</c:v>
                </c:pt>
                <c:pt idx="733">
                  <c:v>6.974</c:v>
                </c:pt>
                <c:pt idx="734">
                  <c:v>6.983</c:v>
                </c:pt>
                <c:pt idx="735">
                  <c:v>6.992</c:v>
                </c:pt>
                <c:pt idx="736">
                  <c:v>7.001</c:v>
                </c:pt>
                <c:pt idx="737">
                  <c:v>7.01</c:v>
                </c:pt>
                <c:pt idx="738">
                  <c:v>7.019</c:v>
                </c:pt>
                <c:pt idx="739">
                  <c:v>7.028</c:v>
                </c:pt>
                <c:pt idx="740">
                  <c:v>7.038</c:v>
                </c:pt>
                <c:pt idx="741">
                  <c:v>7.047</c:v>
                </c:pt>
                <c:pt idx="742">
                  <c:v>7.056</c:v>
                </c:pt>
                <c:pt idx="743">
                  <c:v>7.065</c:v>
                </c:pt>
                <c:pt idx="744">
                  <c:v>7.074</c:v>
                </c:pt>
                <c:pt idx="745">
                  <c:v>7.083</c:v>
                </c:pt>
                <c:pt idx="746">
                  <c:v>7.092</c:v>
                </c:pt>
                <c:pt idx="747">
                  <c:v>7.101</c:v>
                </c:pt>
                <c:pt idx="748">
                  <c:v>7.11</c:v>
                </c:pt>
                <c:pt idx="749">
                  <c:v>7.119</c:v>
                </c:pt>
                <c:pt idx="750">
                  <c:v>7.128</c:v>
                </c:pt>
                <c:pt idx="751">
                  <c:v>7.137</c:v>
                </c:pt>
                <c:pt idx="752">
                  <c:v>7.146</c:v>
                </c:pt>
                <c:pt idx="753">
                  <c:v>7.155</c:v>
                </c:pt>
                <c:pt idx="754">
                  <c:v>7.164</c:v>
                </c:pt>
                <c:pt idx="755">
                  <c:v>7.173</c:v>
                </c:pt>
                <c:pt idx="756">
                  <c:v>7.182</c:v>
                </c:pt>
                <c:pt idx="757">
                  <c:v>7.192</c:v>
                </c:pt>
                <c:pt idx="758">
                  <c:v>7.201</c:v>
                </c:pt>
                <c:pt idx="759">
                  <c:v>7.21</c:v>
                </c:pt>
                <c:pt idx="760">
                  <c:v>7.219</c:v>
                </c:pt>
                <c:pt idx="761">
                  <c:v>7.228</c:v>
                </c:pt>
                <c:pt idx="762">
                  <c:v>7.24</c:v>
                </c:pt>
                <c:pt idx="763">
                  <c:v>7.249</c:v>
                </c:pt>
                <c:pt idx="764">
                  <c:v>7.258</c:v>
                </c:pt>
                <c:pt idx="765">
                  <c:v>7.267</c:v>
                </c:pt>
                <c:pt idx="766">
                  <c:v>7.277</c:v>
                </c:pt>
                <c:pt idx="767">
                  <c:v>7.287</c:v>
                </c:pt>
                <c:pt idx="768">
                  <c:v>7.297</c:v>
                </c:pt>
                <c:pt idx="769">
                  <c:v>7.306</c:v>
                </c:pt>
                <c:pt idx="770">
                  <c:v>7.315</c:v>
                </c:pt>
                <c:pt idx="771">
                  <c:v>7.324</c:v>
                </c:pt>
                <c:pt idx="772">
                  <c:v>7.333</c:v>
                </c:pt>
                <c:pt idx="773">
                  <c:v>7.342</c:v>
                </c:pt>
                <c:pt idx="774">
                  <c:v>7.351</c:v>
                </c:pt>
                <c:pt idx="775">
                  <c:v>7.36</c:v>
                </c:pt>
                <c:pt idx="776">
                  <c:v>7.37</c:v>
                </c:pt>
                <c:pt idx="777">
                  <c:v>7.379</c:v>
                </c:pt>
                <c:pt idx="778">
                  <c:v>7.388</c:v>
                </c:pt>
                <c:pt idx="779">
                  <c:v>7.397</c:v>
                </c:pt>
                <c:pt idx="780">
                  <c:v>7.407</c:v>
                </c:pt>
                <c:pt idx="781">
                  <c:v>7.416</c:v>
                </c:pt>
                <c:pt idx="782">
                  <c:v>7.425</c:v>
                </c:pt>
                <c:pt idx="783">
                  <c:v>7.434</c:v>
                </c:pt>
                <c:pt idx="784">
                  <c:v>7.443</c:v>
                </c:pt>
                <c:pt idx="785">
                  <c:v>7.452</c:v>
                </c:pt>
                <c:pt idx="786">
                  <c:v>7.461</c:v>
                </c:pt>
                <c:pt idx="787">
                  <c:v>7.47</c:v>
                </c:pt>
                <c:pt idx="788">
                  <c:v>7.48</c:v>
                </c:pt>
                <c:pt idx="789">
                  <c:v>7.489</c:v>
                </c:pt>
                <c:pt idx="790">
                  <c:v>7.498</c:v>
                </c:pt>
                <c:pt idx="791">
                  <c:v>7.507</c:v>
                </c:pt>
                <c:pt idx="792">
                  <c:v>7.516</c:v>
                </c:pt>
                <c:pt idx="793">
                  <c:v>7.525</c:v>
                </c:pt>
                <c:pt idx="794">
                  <c:v>7.534</c:v>
                </c:pt>
                <c:pt idx="795">
                  <c:v>7.543</c:v>
                </c:pt>
                <c:pt idx="796">
                  <c:v>7.552</c:v>
                </c:pt>
                <c:pt idx="797">
                  <c:v>7.561</c:v>
                </c:pt>
                <c:pt idx="798">
                  <c:v>7.57</c:v>
                </c:pt>
                <c:pt idx="799">
                  <c:v>7.579</c:v>
                </c:pt>
                <c:pt idx="800">
                  <c:v>7.588</c:v>
                </c:pt>
                <c:pt idx="801">
                  <c:v>7.597</c:v>
                </c:pt>
                <c:pt idx="802">
                  <c:v>7.606</c:v>
                </c:pt>
                <c:pt idx="803">
                  <c:v>7.615</c:v>
                </c:pt>
                <c:pt idx="804">
                  <c:v>7.625</c:v>
                </c:pt>
                <c:pt idx="805">
                  <c:v>7.634</c:v>
                </c:pt>
                <c:pt idx="806">
                  <c:v>7.643</c:v>
                </c:pt>
                <c:pt idx="807">
                  <c:v>7.652</c:v>
                </c:pt>
                <c:pt idx="808">
                  <c:v>7.661</c:v>
                </c:pt>
                <c:pt idx="809">
                  <c:v>7.67</c:v>
                </c:pt>
                <c:pt idx="810">
                  <c:v>7.679</c:v>
                </c:pt>
                <c:pt idx="811">
                  <c:v>7.688</c:v>
                </c:pt>
                <c:pt idx="812">
                  <c:v>7.697</c:v>
                </c:pt>
                <c:pt idx="813">
                  <c:v>7.706</c:v>
                </c:pt>
                <c:pt idx="814">
                  <c:v>7.715</c:v>
                </c:pt>
                <c:pt idx="815">
                  <c:v>7.724</c:v>
                </c:pt>
                <c:pt idx="816">
                  <c:v>7.733</c:v>
                </c:pt>
                <c:pt idx="817">
                  <c:v>7.743</c:v>
                </c:pt>
                <c:pt idx="818">
                  <c:v>7.754</c:v>
                </c:pt>
                <c:pt idx="819">
                  <c:v>7.763</c:v>
                </c:pt>
                <c:pt idx="820">
                  <c:v>7.772</c:v>
                </c:pt>
                <c:pt idx="821">
                  <c:v>7.781</c:v>
                </c:pt>
                <c:pt idx="822">
                  <c:v>7.79</c:v>
                </c:pt>
                <c:pt idx="823">
                  <c:v>7.799</c:v>
                </c:pt>
                <c:pt idx="824">
                  <c:v>7.809</c:v>
                </c:pt>
                <c:pt idx="825">
                  <c:v>7.818</c:v>
                </c:pt>
                <c:pt idx="826">
                  <c:v>7.827</c:v>
                </c:pt>
                <c:pt idx="827">
                  <c:v>7.836</c:v>
                </c:pt>
                <c:pt idx="828">
                  <c:v>7.845</c:v>
                </c:pt>
                <c:pt idx="829">
                  <c:v>7.854</c:v>
                </c:pt>
                <c:pt idx="830">
                  <c:v>7.863</c:v>
                </c:pt>
                <c:pt idx="831">
                  <c:v>7.872</c:v>
                </c:pt>
                <c:pt idx="832">
                  <c:v>7.881</c:v>
                </c:pt>
                <c:pt idx="833">
                  <c:v>7.891</c:v>
                </c:pt>
                <c:pt idx="834">
                  <c:v>7.9</c:v>
                </c:pt>
                <c:pt idx="835">
                  <c:v>7.909</c:v>
                </c:pt>
                <c:pt idx="836">
                  <c:v>7.918</c:v>
                </c:pt>
                <c:pt idx="837">
                  <c:v>7.927</c:v>
                </c:pt>
                <c:pt idx="838">
                  <c:v>7.936</c:v>
                </c:pt>
                <c:pt idx="839">
                  <c:v>7.945</c:v>
                </c:pt>
                <c:pt idx="840">
                  <c:v>7.954</c:v>
                </c:pt>
                <c:pt idx="841">
                  <c:v>7.963</c:v>
                </c:pt>
                <c:pt idx="842">
                  <c:v>7.972</c:v>
                </c:pt>
                <c:pt idx="843">
                  <c:v>7.981</c:v>
                </c:pt>
                <c:pt idx="844">
                  <c:v>7.99</c:v>
                </c:pt>
                <c:pt idx="845">
                  <c:v>7.999</c:v>
                </c:pt>
                <c:pt idx="846">
                  <c:v>8.008</c:v>
                </c:pt>
                <c:pt idx="847">
                  <c:v>8.028</c:v>
                </c:pt>
                <c:pt idx="848">
                  <c:v>8.037</c:v>
                </c:pt>
                <c:pt idx="849">
                  <c:v>8.046</c:v>
                </c:pt>
                <c:pt idx="850">
                  <c:v>8.055</c:v>
                </c:pt>
                <c:pt idx="851">
                  <c:v>8.064</c:v>
                </c:pt>
                <c:pt idx="852">
                  <c:v>8.073</c:v>
                </c:pt>
                <c:pt idx="853">
                  <c:v>8.082</c:v>
                </c:pt>
                <c:pt idx="854">
                  <c:v>8.091</c:v>
                </c:pt>
                <c:pt idx="855">
                  <c:v>8.1</c:v>
                </c:pt>
                <c:pt idx="856">
                  <c:v>8.109</c:v>
                </c:pt>
                <c:pt idx="857">
                  <c:v>8.118</c:v>
                </c:pt>
                <c:pt idx="858">
                  <c:v>8.127</c:v>
                </c:pt>
                <c:pt idx="859">
                  <c:v>8.136</c:v>
                </c:pt>
                <c:pt idx="860">
                  <c:v>8.145</c:v>
                </c:pt>
                <c:pt idx="861">
                  <c:v>8.154</c:v>
                </c:pt>
                <c:pt idx="862">
                  <c:v>8.163</c:v>
                </c:pt>
                <c:pt idx="863">
                  <c:v>8.172</c:v>
                </c:pt>
                <c:pt idx="864">
                  <c:v>8.182</c:v>
                </c:pt>
                <c:pt idx="865">
                  <c:v>8.192</c:v>
                </c:pt>
                <c:pt idx="866">
                  <c:v>8.201</c:v>
                </c:pt>
                <c:pt idx="867">
                  <c:v>8.21</c:v>
                </c:pt>
                <c:pt idx="868">
                  <c:v>8.219</c:v>
                </c:pt>
                <c:pt idx="869">
                  <c:v>8.229</c:v>
                </c:pt>
                <c:pt idx="870">
                  <c:v>8.238</c:v>
                </c:pt>
                <c:pt idx="871">
                  <c:v>8.247</c:v>
                </c:pt>
                <c:pt idx="872">
                  <c:v>8.257</c:v>
                </c:pt>
                <c:pt idx="873">
                  <c:v>8.266</c:v>
                </c:pt>
                <c:pt idx="874">
                  <c:v>8.275</c:v>
                </c:pt>
                <c:pt idx="875">
                  <c:v>8.284</c:v>
                </c:pt>
                <c:pt idx="876">
                  <c:v>8.293</c:v>
                </c:pt>
                <c:pt idx="877">
                  <c:v>8.302</c:v>
                </c:pt>
                <c:pt idx="878">
                  <c:v>8.311</c:v>
                </c:pt>
                <c:pt idx="879">
                  <c:v>8.32</c:v>
                </c:pt>
                <c:pt idx="880">
                  <c:v>8.329</c:v>
                </c:pt>
                <c:pt idx="881">
                  <c:v>8.338</c:v>
                </c:pt>
                <c:pt idx="882">
                  <c:v>8.347</c:v>
                </c:pt>
                <c:pt idx="883">
                  <c:v>8.356</c:v>
                </c:pt>
                <c:pt idx="884">
                  <c:v>8.365</c:v>
                </c:pt>
                <c:pt idx="885">
                  <c:v>8.375</c:v>
                </c:pt>
                <c:pt idx="886">
                  <c:v>8.384</c:v>
                </c:pt>
                <c:pt idx="887">
                  <c:v>8.393</c:v>
                </c:pt>
                <c:pt idx="888">
                  <c:v>8.402</c:v>
                </c:pt>
                <c:pt idx="889">
                  <c:v>8.411</c:v>
                </c:pt>
                <c:pt idx="890">
                  <c:v>8.42</c:v>
                </c:pt>
                <c:pt idx="891">
                  <c:v>8.429</c:v>
                </c:pt>
                <c:pt idx="892">
                  <c:v>8.438</c:v>
                </c:pt>
                <c:pt idx="893">
                  <c:v>8.447</c:v>
                </c:pt>
                <c:pt idx="894">
                  <c:v>8.456</c:v>
                </c:pt>
                <c:pt idx="895">
                  <c:v>8.465</c:v>
                </c:pt>
                <c:pt idx="896">
                  <c:v>8.474</c:v>
                </c:pt>
                <c:pt idx="897">
                  <c:v>8.483</c:v>
                </c:pt>
                <c:pt idx="898">
                  <c:v>8.492</c:v>
                </c:pt>
                <c:pt idx="899">
                  <c:v>8.501</c:v>
                </c:pt>
                <c:pt idx="900">
                  <c:v>8.51</c:v>
                </c:pt>
                <c:pt idx="901">
                  <c:v>8.52</c:v>
                </c:pt>
                <c:pt idx="902">
                  <c:v>8.529</c:v>
                </c:pt>
                <c:pt idx="903">
                  <c:v>8.538</c:v>
                </c:pt>
                <c:pt idx="904">
                  <c:v>8.547</c:v>
                </c:pt>
                <c:pt idx="905">
                  <c:v>8.556</c:v>
                </c:pt>
                <c:pt idx="906">
                  <c:v>8.565</c:v>
                </c:pt>
                <c:pt idx="907">
                  <c:v>8.574</c:v>
                </c:pt>
                <c:pt idx="908">
                  <c:v>8.583</c:v>
                </c:pt>
                <c:pt idx="909">
                  <c:v>8.592</c:v>
                </c:pt>
                <c:pt idx="910">
                  <c:v>8.601</c:v>
                </c:pt>
                <c:pt idx="911">
                  <c:v>8.61</c:v>
                </c:pt>
                <c:pt idx="912">
                  <c:v>8.619</c:v>
                </c:pt>
                <c:pt idx="913">
                  <c:v>8.628</c:v>
                </c:pt>
                <c:pt idx="914">
                  <c:v>8.637</c:v>
                </c:pt>
                <c:pt idx="915">
                  <c:v>8.646</c:v>
                </c:pt>
                <c:pt idx="916">
                  <c:v>8.655</c:v>
                </c:pt>
                <c:pt idx="917">
                  <c:v>8.664</c:v>
                </c:pt>
                <c:pt idx="918">
                  <c:v>8.673</c:v>
                </c:pt>
                <c:pt idx="919">
                  <c:v>8.682</c:v>
                </c:pt>
                <c:pt idx="920">
                  <c:v>8.692</c:v>
                </c:pt>
                <c:pt idx="921">
                  <c:v>8.701</c:v>
                </c:pt>
                <c:pt idx="922">
                  <c:v>8.71</c:v>
                </c:pt>
                <c:pt idx="923">
                  <c:v>8.719</c:v>
                </c:pt>
                <c:pt idx="924">
                  <c:v>8.728</c:v>
                </c:pt>
                <c:pt idx="925">
                  <c:v>8.737</c:v>
                </c:pt>
                <c:pt idx="926">
                  <c:v>8.746</c:v>
                </c:pt>
                <c:pt idx="927">
                  <c:v>8.755</c:v>
                </c:pt>
                <c:pt idx="928">
                  <c:v>8.764</c:v>
                </c:pt>
                <c:pt idx="929">
                  <c:v>8.773</c:v>
                </c:pt>
                <c:pt idx="930">
                  <c:v>8.782</c:v>
                </c:pt>
                <c:pt idx="931">
                  <c:v>8.791</c:v>
                </c:pt>
                <c:pt idx="932">
                  <c:v>8.8</c:v>
                </c:pt>
                <c:pt idx="933">
                  <c:v>8.809</c:v>
                </c:pt>
                <c:pt idx="934">
                  <c:v>8.818</c:v>
                </c:pt>
                <c:pt idx="935">
                  <c:v>8.827</c:v>
                </c:pt>
                <c:pt idx="936">
                  <c:v>8.836</c:v>
                </c:pt>
                <c:pt idx="937">
                  <c:v>8.846</c:v>
                </c:pt>
                <c:pt idx="938">
                  <c:v>8.856</c:v>
                </c:pt>
                <c:pt idx="939">
                  <c:v>8.865</c:v>
                </c:pt>
                <c:pt idx="940">
                  <c:v>8.874</c:v>
                </c:pt>
                <c:pt idx="941">
                  <c:v>8.883</c:v>
                </c:pt>
                <c:pt idx="942">
                  <c:v>8.892</c:v>
                </c:pt>
                <c:pt idx="943">
                  <c:v>8.902</c:v>
                </c:pt>
                <c:pt idx="944">
                  <c:v>8.911</c:v>
                </c:pt>
                <c:pt idx="945">
                  <c:v>8.92</c:v>
                </c:pt>
                <c:pt idx="946">
                  <c:v>8.929</c:v>
                </c:pt>
                <c:pt idx="947">
                  <c:v>8.938</c:v>
                </c:pt>
                <c:pt idx="948">
                  <c:v>8.947</c:v>
                </c:pt>
                <c:pt idx="949">
                  <c:v>8.956</c:v>
                </c:pt>
                <c:pt idx="950">
                  <c:v>8.965</c:v>
                </c:pt>
                <c:pt idx="951">
                  <c:v>8.974</c:v>
                </c:pt>
                <c:pt idx="952">
                  <c:v>8.983</c:v>
                </c:pt>
                <c:pt idx="953">
                  <c:v>8.992</c:v>
                </c:pt>
                <c:pt idx="954">
                  <c:v>9.001</c:v>
                </c:pt>
                <c:pt idx="955">
                  <c:v>9.01</c:v>
                </c:pt>
                <c:pt idx="956">
                  <c:v>9.019</c:v>
                </c:pt>
                <c:pt idx="957">
                  <c:v>9.028</c:v>
                </c:pt>
                <c:pt idx="958">
                  <c:v>9.037</c:v>
                </c:pt>
                <c:pt idx="959">
                  <c:v>9.047</c:v>
                </c:pt>
                <c:pt idx="960">
                  <c:v>9.056</c:v>
                </c:pt>
                <c:pt idx="961">
                  <c:v>9.065</c:v>
                </c:pt>
                <c:pt idx="962">
                  <c:v>9.074</c:v>
                </c:pt>
                <c:pt idx="963">
                  <c:v>9.083</c:v>
                </c:pt>
                <c:pt idx="964">
                  <c:v>9.092</c:v>
                </c:pt>
                <c:pt idx="965">
                  <c:v>9.101</c:v>
                </c:pt>
                <c:pt idx="966">
                  <c:v>9.11</c:v>
                </c:pt>
                <c:pt idx="967">
                  <c:v>9.12</c:v>
                </c:pt>
                <c:pt idx="968">
                  <c:v>9.129</c:v>
                </c:pt>
                <c:pt idx="969">
                  <c:v>9.138</c:v>
                </c:pt>
                <c:pt idx="970">
                  <c:v>9.147</c:v>
                </c:pt>
                <c:pt idx="971">
                  <c:v>9.156</c:v>
                </c:pt>
                <c:pt idx="972">
                  <c:v>9.165</c:v>
                </c:pt>
                <c:pt idx="973">
                  <c:v>9.174</c:v>
                </c:pt>
                <c:pt idx="974">
                  <c:v>9.183</c:v>
                </c:pt>
                <c:pt idx="975">
                  <c:v>9.192</c:v>
                </c:pt>
                <c:pt idx="976">
                  <c:v>9.201</c:v>
                </c:pt>
                <c:pt idx="977">
                  <c:v>9.21</c:v>
                </c:pt>
                <c:pt idx="978">
                  <c:v>9.219</c:v>
                </c:pt>
                <c:pt idx="979">
                  <c:v>9.228</c:v>
                </c:pt>
                <c:pt idx="980">
                  <c:v>9.237</c:v>
                </c:pt>
                <c:pt idx="981">
                  <c:v>9.246</c:v>
                </c:pt>
                <c:pt idx="982">
                  <c:v>9.255</c:v>
                </c:pt>
                <c:pt idx="983">
                  <c:v>9.265</c:v>
                </c:pt>
                <c:pt idx="984">
                  <c:v>9.274</c:v>
                </c:pt>
                <c:pt idx="985">
                  <c:v>9.283</c:v>
                </c:pt>
                <c:pt idx="986">
                  <c:v>9.292</c:v>
                </c:pt>
                <c:pt idx="987">
                  <c:v>9.301</c:v>
                </c:pt>
                <c:pt idx="988">
                  <c:v>9.31</c:v>
                </c:pt>
                <c:pt idx="989">
                  <c:v>9.319</c:v>
                </c:pt>
                <c:pt idx="990">
                  <c:v>9.328</c:v>
                </c:pt>
                <c:pt idx="991">
                  <c:v>9.337</c:v>
                </c:pt>
                <c:pt idx="992">
                  <c:v>9.346</c:v>
                </c:pt>
                <c:pt idx="993">
                  <c:v>9.355</c:v>
                </c:pt>
                <c:pt idx="994">
                  <c:v>9.364</c:v>
                </c:pt>
                <c:pt idx="995">
                  <c:v>9.373</c:v>
                </c:pt>
                <c:pt idx="996">
                  <c:v>9.382</c:v>
                </c:pt>
                <c:pt idx="997">
                  <c:v>9.391</c:v>
                </c:pt>
                <c:pt idx="998">
                  <c:v>9.4</c:v>
                </c:pt>
                <c:pt idx="999">
                  <c:v>9.409</c:v>
                </c:pt>
                <c:pt idx="1000">
                  <c:v>9.418</c:v>
                </c:pt>
                <c:pt idx="1001">
                  <c:v>9.427</c:v>
                </c:pt>
                <c:pt idx="1002">
                  <c:v>9.436</c:v>
                </c:pt>
                <c:pt idx="1003">
                  <c:v>9.445</c:v>
                </c:pt>
                <c:pt idx="1004">
                  <c:v>9.454</c:v>
                </c:pt>
                <c:pt idx="1005">
                  <c:v>9.463</c:v>
                </c:pt>
                <c:pt idx="1006">
                  <c:v>9.472</c:v>
                </c:pt>
                <c:pt idx="1007">
                  <c:v>9.481</c:v>
                </c:pt>
                <c:pt idx="1008">
                  <c:v>9.49</c:v>
                </c:pt>
                <c:pt idx="1009">
                  <c:v>9.499</c:v>
                </c:pt>
                <c:pt idx="1010">
                  <c:v>9.508</c:v>
                </c:pt>
                <c:pt idx="1011">
                  <c:v>9.517</c:v>
                </c:pt>
                <c:pt idx="1012">
                  <c:v>9.527</c:v>
                </c:pt>
                <c:pt idx="1013">
                  <c:v>9.536</c:v>
                </c:pt>
                <c:pt idx="1014">
                  <c:v>9.545</c:v>
                </c:pt>
                <c:pt idx="1015">
                  <c:v>9.554</c:v>
                </c:pt>
                <c:pt idx="1016">
                  <c:v>9.563</c:v>
                </c:pt>
                <c:pt idx="1017">
                  <c:v>9.572</c:v>
                </c:pt>
                <c:pt idx="1018">
                  <c:v>9.581</c:v>
                </c:pt>
                <c:pt idx="1019">
                  <c:v>9.59</c:v>
                </c:pt>
                <c:pt idx="1020">
                  <c:v>9.599</c:v>
                </c:pt>
                <c:pt idx="1021">
                  <c:v>9.608</c:v>
                </c:pt>
                <c:pt idx="1022">
                  <c:v>9.617</c:v>
                </c:pt>
                <c:pt idx="1023">
                  <c:v>9.626</c:v>
                </c:pt>
                <c:pt idx="1024">
                  <c:v>9.636</c:v>
                </c:pt>
                <c:pt idx="1025">
                  <c:v>9.645</c:v>
                </c:pt>
                <c:pt idx="1026">
                  <c:v>9.654</c:v>
                </c:pt>
                <c:pt idx="1027">
                  <c:v>9.663</c:v>
                </c:pt>
                <c:pt idx="1028">
                  <c:v>9.673</c:v>
                </c:pt>
                <c:pt idx="1029">
                  <c:v>9.682</c:v>
                </c:pt>
                <c:pt idx="1030">
                  <c:v>9.692</c:v>
                </c:pt>
                <c:pt idx="1031">
                  <c:v>9.701</c:v>
                </c:pt>
                <c:pt idx="1032">
                  <c:v>9.71</c:v>
                </c:pt>
                <c:pt idx="1033">
                  <c:v>9.719</c:v>
                </c:pt>
                <c:pt idx="1034">
                  <c:v>9.728</c:v>
                </c:pt>
                <c:pt idx="1035">
                  <c:v>9.737</c:v>
                </c:pt>
                <c:pt idx="1036">
                  <c:v>9.75</c:v>
                </c:pt>
                <c:pt idx="1037">
                  <c:v>9.761</c:v>
                </c:pt>
                <c:pt idx="1038">
                  <c:v>9.773</c:v>
                </c:pt>
                <c:pt idx="1039">
                  <c:v>9.782</c:v>
                </c:pt>
                <c:pt idx="1040">
                  <c:v>9.791</c:v>
                </c:pt>
                <c:pt idx="1041">
                  <c:v>9.8</c:v>
                </c:pt>
                <c:pt idx="1042">
                  <c:v>9.809</c:v>
                </c:pt>
                <c:pt idx="1043">
                  <c:v>9.818</c:v>
                </c:pt>
                <c:pt idx="1044">
                  <c:v>9.827</c:v>
                </c:pt>
                <c:pt idx="1045">
                  <c:v>9.836</c:v>
                </c:pt>
                <c:pt idx="1046">
                  <c:v>9.845</c:v>
                </c:pt>
                <c:pt idx="1047">
                  <c:v>9.854</c:v>
                </c:pt>
                <c:pt idx="1048">
                  <c:v>9.863</c:v>
                </c:pt>
                <c:pt idx="1049">
                  <c:v>9.872</c:v>
                </c:pt>
                <c:pt idx="1050">
                  <c:v>9.882</c:v>
                </c:pt>
                <c:pt idx="1051">
                  <c:v>9.891</c:v>
                </c:pt>
                <c:pt idx="1052">
                  <c:v>9.9</c:v>
                </c:pt>
                <c:pt idx="1053">
                  <c:v>9.909</c:v>
                </c:pt>
                <c:pt idx="1054">
                  <c:v>9.918</c:v>
                </c:pt>
                <c:pt idx="1055">
                  <c:v>9.927</c:v>
                </c:pt>
                <c:pt idx="1056">
                  <c:v>9.937</c:v>
                </c:pt>
                <c:pt idx="1057">
                  <c:v>9.946</c:v>
                </c:pt>
                <c:pt idx="1058">
                  <c:v>9.955</c:v>
                </c:pt>
                <c:pt idx="1059">
                  <c:v>9.964</c:v>
                </c:pt>
                <c:pt idx="1060">
                  <c:v>9.973</c:v>
                </c:pt>
                <c:pt idx="1061">
                  <c:v>9.982</c:v>
                </c:pt>
                <c:pt idx="1062">
                  <c:v>9.991</c:v>
                </c:pt>
                <c:pt idx="1063">
                  <c:v>10</c:v>
                </c:pt>
                <c:pt idx="1064">
                  <c:v>10.009</c:v>
                </c:pt>
                <c:pt idx="1065">
                  <c:v>10.018</c:v>
                </c:pt>
                <c:pt idx="1066">
                  <c:v>10.027</c:v>
                </c:pt>
                <c:pt idx="1067">
                  <c:v>10.036</c:v>
                </c:pt>
                <c:pt idx="1068">
                  <c:v>10.045</c:v>
                </c:pt>
                <c:pt idx="1069">
                  <c:v>10.054</c:v>
                </c:pt>
                <c:pt idx="1070">
                  <c:v>10.063</c:v>
                </c:pt>
                <c:pt idx="1071">
                  <c:v>10.072</c:v>
                </c:pt>
                <c:pt idx="1072">
                  <c:v>10.081</c:v>
                </c:pt>
                <c:pt idx="1073">
                  <c:v>10.09</c:v>
                </c:pt>
                <c:pt idx="1074">
                  <c:v>10.099</c:v>
                </c:pt>
                <c:pt idx="1075">
                  <c:v>10.108</c:v>
                </c:pt>
                <c:pt idx="1076">
                  <c:v>10.117</c:v>
                </c:pt>
                <c:pt idx="1077">
                  <c:v>10.126</c:v>
                </c:pt>
                <c:pt idx="1078">
                  <c:v>10.135</c:v>
                </c:pt>
                <c:pt idx="1079">
                  <c:v>10.144</c:v>
                </c:pt>
                <c:pt idx="1080">
                  <c:v>10.153</c:v>
                </c:pt>
                <c:pt idx="1081">
                  <c:v>10.162</c:v>
                </c:pt>
                <c:pt idx="1082">
                  <c:v>10.172</c:v>
                </c:pt>
                <c:pt idx="1083">
                  <c:v>10.181</c:v>
                </c:pt>
                <c:pt idx="1084">
                  <c:v>10.19</c:v>
                </c:pt>
                <c:pt idx="1085">
                  <c:v>10.199</c:v>
                </c:pt>
                <c:pt idx="1086">
                  <c:v>10.208</c:v>
                </c:pt>
                <c:pt idx="1087">
                  <c:v>10.217</c:v>
                </c:pt>
                <c:pt idx="1088">
                  <c:v>10.226</c:v>
                </c:pt>
                <c:pt idx="1089">
                  <c:v>10.235</c:v>
                </c:pt>
                <c:pt idx="1090">
                  <c:v>10.245</c:v>
                </c:pt>
                <c:pt idx="1091">
                  <c:v>10.256</c:v>
                </c:pt>
                <c:pt idx="1092">
                  <c:v>10.266</c:v>
                </c:pt>
                <c:pt idx="1093">
                  <c:v>10.275</c:v>
                </c:pt>
                <c:pt idx="1094">
                  <c:v>10.284</c:v>
                </c:pt>
                <c:pt idx="1095">
                  <c:v>10.293</c:v>
                </c:pt>
                <c:pt idx="1096">
                  <c:v>10.302</c:v>
                </c:pt>
                <c:pt idx="1097">
                  <c:v>10.311</c:v>
                </c:pt>
                <c:pt idx="1098">
                  <c:v>10.321</c:v>
                </c:pt>
                <c:pt idx="1099">
                  <c:v>10.33</c:v>
                </c:pt>
                <c:pt idx="1100">
                  <c:v>10.339</c:v>
                </c:pt>
                <c:pt idx="1101">
                  <c:v>10.348</c:v>
                </c:pt>
                <c:pt idx="1102">
                  <c:v>10.357</c:v>
                </c:pt>
                <c:pt idx="1103">
                  <c:v>10.366</c:v>
                </c:pt>
                <c:pt idx="1104">
                  <c:v>10.375</c:v>
                </c:pt>
                <c:pt idx="1105">
                  <c:v>10.384</c:v>
                </c:pt>
                <c:pt idx="1106">
                  <c:v>10.394</c:v>
                </c:pt>
                <c:pt idx="1107">
                  <c:v>10.403</c:v>
                </c:pt>
                <c:pt idx="1108">
                  <c:v>10.412</c:v>
                </c:pt>
                <c:pt idx="1109">
                  <c:v>10.422</c:v>
                </c:pt>
                <c:pt idx="1110">
                  <c:v>10.431</c:v>
                </c:pt>
                <c:pt idx="1111">
                  <c:v>10.44</c:v>
                </c:pt>
                <c:pt idx="1112">
                  <c:v>10.449</c:v>
                </c:pt>
                <c:pt idx="1113">
                  <c:v>10.458</c:v>
                </c:pt>
                <c:pt idx="1114">
                  <c:v>10.467</c:v>
                </c:pt>
                <c:pt idx="1115">
                  <c:v>10.476</c:v>
                </c:pt>
                <c:pt idx="1116">
                  <c:v>10.485</c:v>
                </c:pt>
                <c:pt idx="1117">
                  <c:v>10.494</c:v>
                </c:pt>
                <c:pt idx="1118">
                  <c:v>10.503</c:v>
                </c:pt>
                <c:pt idx="1119">
                  <c:v>10.512</c:v>
                </c:pt>
                <c:pt idx="1120">
                  <c:v>10.521</c:v>
                </c:pt>
                <c:pt idx="1121">
                  <c:v>10.531</c:v>
                </c:pt>
                <c:pt idx="1122">
                  <c:v>10.54</c:v>
                </c:pt>
                <c:pt idx="1123">
                  <c:v>10.549</c:v>
                </c:pt>
                <c:pt idx="1124">
                  <c:v>10.558</c:v>
                </c:pt>
                <c:pt idx="1125">
                  <c:v>10.567</c:v>
                </c:pt>
                <c:pt idx="1126">
                  <c:v>10.576</c:v>
                </c:pt>
                <c:pt idx="1127">
                  <c:v>10.586</c:v>
                </c:pt>
                <c:pt idx="1128">
                  <c:v>10.595</c:v>
                </c:pt>
                <c:pt idx="1129">
                  <c:v>10.604</c:v>
                </c:pt>
                <c:pt idx="1130">
                  <c:v>10.613</c:v>
                </c:pt>
                <c:pt idx="1131">
                  <c:v>10.622</c:v>
                </c:pt>
                <c:pt idx="1132">
                  <c:v>10.632</c:v>
                </c:pt>
                <c:pt idx="1133">
                  <c:v>10.641</c:v>
                </c:pt>
                <c:pt idx="1134">
                  <c:v>10.65</c:v>
                </c:pt>
                <c:pt idx="1135">
                  <c:v>10.659</c:v>
                </c:pt>
                <c:pt idx="1136">
                  <c:v>10.668</c:v>
                </c:pt>
                <c:pt idx="1137">
                  <c:v>10.677</c:v>
                </c:pt>
                <c:pt idx="1138">
                  <c:v>10.686</c:v>
                </c:pt>
                <c:pt idx="1139">
                  <c:v>10.695</c:v>
                </c:pt>
                <c:pt idx="1140">
                  <c:v>10.704</c:v>
                </c:pt>
                <c:pt idx="1141">
                  <c:v>10.713</c:v>
                </c:pt>
                <c:pt idx="1142">
                  <c:v>10.722</c:v>
                </c:pt>
                <c:pt idx="1143">
                  <c:v>10.731</c:v>
                </c:pt>
                <c:pt idx="1144">
                  <c:v>10.74</c:v>
                </c:pt>
                <c:pt idx="1145">
                  <c:v>10.751</c:v>
                </c:pt>
                <c:pt idx="1146">
                  <c:v>10.763</c:v>
                </c:pt>
                <c:pt idx="1147">
                  <c:v>10.773</c:v>
                </c:pt>
                <c:pt idx="1148">
                  <c:v>10.782</c:v>
                </c:pt>
                <c:pt idx="1149">
                  <c:v>10.791</c:v>
                </c:pt>
                <c:pt idx="1150">
                  <c:v>10.8</c:v>
                </c:pt>
                <c:pt idx="1151">
                  <c:v>10.809</c:v>
                </c:pt>
                <c:pt idx="1152">
                  <c:v>10.818</c:v>
                </c:pt>
                <c:pt idx="1153">
                  <c:v>10.827</c:v>
                </c:pt>
                <c:pt idx="1154">
                  <c:v>10.837</c:v>
                </c:pt>
                <c:pt idx="1155">
                  <c:v>10.846</c:v>
                </c:pt>
                <c:pt idx="1156">
                  <c:v>10.855</c:v>
                </c:pt>
                <c:pt idx="1157">
                  <c:v>10.864</c:v>
                </c:pt>
                <c:pt idx="1158">
                  <c:v>10.874</c:v>
                </c:pt>
                <c:pt idx="1159">
                  <c:v>10.883</c:v>
                </c:pt>
                <c:pt idx="1160">
                  <c:v>10.892</c:v>
                </c:pt>
                <c:pt idx="1161">
                  <c:v>10.902</c:v>
                </c:pt>
                <c:pt idx="1162">
                  <c:v>10.911</c:v>
                </c:pt>
                <c:pt idx="1163">
                  <c:v>10.92</c:v>
                </c:pt>
                <c:pt idx="1164">
                  <c:v>10.93</c:v>
                </c:pt>
                <c:pt idx="1165">
                  <c:v>10.939</c:v>
                </c:pt>
                <c:pt idx="1166">
                  <c:v>10.948</c:v>
                </c:pt>
                <c:pt idx="1167">
                  <c:v>10.957</c:v>
                </c:pt>
                <c:pt idx="1168">
                  <c:v>10.966</c:v>
                </c:pt>
                <c:pt idx="1169">
                  <c:v>10.975</c:v>
                </c:pt>
                <c:pt idx="1170">
                  <c:v>10.984</c:v>
                </c:pt>
                <c:pt idx="1171">
                  <c:v>10.994</c:v>
                </c:pt>
                <c:pt idx="1172">
                  <c:v>11.003</c:v>
                </c:pt>
                <c:pt idx="1173">
                  <c:v>11.012</c:v>
                </c:pt>
                <c:pt idx="1174">
                  <c:v>11.021</c:v>
                </c:pt>
                <c:pt idx="1175">
                  <c:v>11.03</c:v>
                </c:pt>
                <c:pt idx="1176">
                  <c:v>11.039</c:v>
                </c:pt>
                <c:pt idx="1177">
                  <c:v>11.048</c:v>
                </c:pt>
                <c:pt idx="1178">
                  <c:v>11.057</c:v>
                </c:pt>
                <c:pt idx="1179">
                  <c:v>11.067</c:v>
                </c:pt>
                <c:pt idx="1180">
                  <c:v>11.076</c:v>
                </c:pt>
                <c:pt idx="1181">
                  <c:v>11.085</c:v>
                </c:pt>
                <c:pt idx="1182">
                  <c:v>11.094</c:v>
                </c:pt>
                <c:pt idx="1183">
                  <c:v>11.103</c:v>
                </c:pt>
                <c:pt idx="1184">
                  <c:v>11.112</c:v>
                </c:pt>
                <c:pt idx="1185">
                  <c:v>11.121</c:v>
                </c:pt>
                <c:pt idx="1186">
                  <c:v>11.13</c:v>
                </c:pt>
                <c:pt idx="1187">
                  <c:v>11.139</c:v>
                </c:pt>
                <c:pt idx="1188">
                  <c:v>11.148</c:v>
                </c:pt>
                <c:pt idx="1189">
                  <c:v>11.157</c:v>
                </c:pt>
                <c:pt idx="1190">
                  <c:v>11.166</c:v>
                </c:pt>
                <c:pt idx="1191">
                  <c:v>11.175</c:v>
                </c:pt>
                <c:pt idx="1192">
                  <c:v>11.184</c:v>
                </c:pt>
                <c:pt idx="1193">
                  <c:v>11.193</c:v>
                </c:pt>
                <c:pt idx="1194">
                  <c:v>11.202</c:v>
                </c:pt>
                <c:pt idx="1195">
                  <c:v>11.212</c:v>
                </c:pt>
                <c:pt idx="1196">
                  <c:v>11.221</c:v>
                </c:pt>
                <c:pt idx="1197">
                  <c:v>11.23</c:v>
                </c:pt>
                <c:pt idx="1198">
                  <c:v>11.239</c:v>
                </c:pt>
                <c:pt idx="1199">
                  <c:v>11.248</c:v>
                </c:pt>
                <c:pt idx="1200">
                  <c:v>11.261</c:v>
                </c:pt>
                <c:pt idx="1201">
                  <c:v>11.274</c:v>
                </c:pt>
                <c:pt idx="1202">
                  <c:v>11.284</c:v>
                </c:pt>
                <c:pt idx="1203">
                  <c:v>11.293</c:v>
                </c:pt>
                <c:pt idx="1204">
                  <c:v>11.302</c:v>
                </c:pt>
                <c:pt idx="1205">
                  <c:v>11.311</c:v>
                </c:pt>
                <c:pt idx="1206">
                  <c:v>11.32</c:v>
                </c:pt>
                <c:pt idx="1207">
                  <c:v>11.33</c:v>
                </c:pt>
                <c:pt idx="1208">
                  <c:v>11.339</c:v>
                </c:pt>
                <c:pt idx="1209">
                  <c:v>11.348</c:v>
                </c:pt>
                <c:pt idx="1210">
                  <c:v>11.357</c:v>
                </c:pt>
                <c:pt idx="1211">
                  <c:v>11.366</c:v>
                </c:pt>
                <c:pt idx="1212">
                  <c:v>11.375</c:v>
                </c:pt>
                <c:pt idx="1213">
                  <c:v>11.384</c:v>
                </c:pt>
                <c:pt idx="1214">
                  <c:v>11.393</c:v>
                </c:pt>
                <c:pt idx="1215">
                  <c:v>11.402</c:v>
                </c:pt>
                <c:pt idx="1216">
                  <c:v>11.411</c:v>
                </c:pt>
                <c:pt idx="1217">
                  <c:v>11.42</c:v>
                </c:pt>
                <c:pt idx="1218">
                  <c:v>11.429</c:v>
                </c:pt>
                <c:pt idx="1219">
                  <c:v>11.438</c:v>
                </c:pt>
                <c:pt idx="1220">
                  <c:v>11.447</c:v>
                </c:pt>
                <c:pt idx="1221">
                  <c:v>11.456</c:v>
                </c:pt>
                <c:pt idx="1222">
                  <c:v>11.465</c:v>
                </c:pt>
                <c:pt idx="1223">
                  <c:v>11.475</c:v>
                </c:pt>
                <c:pt idx="1224">
                  <c:v>11.484</c:v>
                </c:pt>
                <c:pt idx="1225">
                  <c:v>11.493</c:v>
                </c:pt>
                <c:pt idx="1226">
                  <c:v>11.502</c:v>
                </c:pt>
                <c:pt idx="1227">
                  <c:v>11.511</c:v>
                </c:pt>
                <c:pt idx="1228">
                  <c:v>11.52</c:v>
                </c:pt>
                <c:pt idx="1229">
                  <c:v>11.529</c:v>
                </c:pt>
                <c:pt idx="1230">
                  <c:v>11.538</c:v>
                </c:pt>
                <c:pt idx="1231">
                  <c:v>11.547</c:v>
                </c:pt>
                <c:pt idx="1232">
                  <c:v>11.556</c:v>
                </c:pt>
                <c:pt idx="1233">
                  <c:v>11.565</c:v>
                </c:pt>
                <c:pt idx="1234">
                  <c:v>11.574</c:v>
                </c:pt>
                <c:pt idx="1235">
                  <c:v>11.583</c:v>
                </c:pt>
                <c:pt idx="1236">
                  <c:v>11.592</c:v>
                </c:pt>
                <c:pt idx="1237">
                  <c:v>11.601</c:v>
                </c:pt>
                <c:pt idx="1238">
                  <c:v>11.61</c:v>
                </c:pt>
                <c:pt idx="1239">
                  <c:v>11.619</c:v>
                </c:pt>
                <c:pt idx="1240">
                  <c:v>11.628</c:v>
                </c:pt>
                <c:pt idx="1241">
                  <c:v>11.637</c:v>
                </c:pt>
                <c:pt idx="1242">
                  <c:v>11.646</c:v>
                </c:pt>
                <c:pt idx="1243">
                  <c:v>11.656</c:v>
                </c:pt>
                <c:pt idx="1244">
                  <c:v>11.665</c:v>
                </c:pt>
                <c:pt idx="1245">
                  <c:v>11.674</c:v>
                </c:pt>
                <c:pt idx="1246">
                  <c:v>11.683</c:v>
                </c:pt>
                <c:pt idx="1247">
                  <c:v>11.692</c:v>
                </c:pt>
                <c:pt idx="1248">
                  <c:v>11.701</c:v>
                </c:pt>
                <c:pt idx="1249">
                  <c:v>11.71</c:v>
                </c:pt>
                <c:pt idx="1250">
                  <c:v>11.719</c:v>
                </c:pt>
                <c:pt idx="1251">
                  <c:v>11.728</c:v>
                </c:pt>
                <c:pt idx="1252">
                  <c:v>11.737</c:v>
                </c:pt>
                <c:pt idx="1253">
                  <c:v>11.746</c:v>
                </c:pt>
                <c:pt idx="1254">
                  <c:v>11.755</c:v>
                </c:pt>
                <c:pt idx="1255">
                  <c:v>11.767</c:v>
                </c:pt>
                <c:pt idx="1256">
                  <c:v>11.777</c:v>
                </c:pt>
                <c:pt idx="1257">
                  <c:v>11.787</c:v>
                </c:pt>
                <c:pt idx="1258">
                  <c:v>11.796</c:v>
                </c:pt>
                <c:pt idx="1259">
                  <c:v>11.805</c:v>
                </c:pt>
                <c:pt idx="1260">
                  <c:v>11.814</c:v>
                </c:pt>
                <c:pt idx="1261">
                  <c:v>11.823</c:v>
                </c:pt>
                <c:pt idx="1262">
                  <c:v>11.832</c:v>
                </c:pt>
                <c:pt idx="1263">
                  <c:v>11.841</c:v>
                </c:pt>
                <c:pt idx="1264">
                  <c:v>11.85</c:v>
                </c:pt>
                <c:pt idx="1265">
                  <c:v>11.859</c:v>
                </c:pt>
                <c:pt idx="1266">
                  <c:v>11.868</c:v>
                </c:pt>
                <c:pt idx="1267">
                  <c:v>11.877</c:v>
                </c:pt>
                <c:pt idx="1268">
                  <c:v>11.886</c:v>
                </c:pt>
                <c:pt idx="1269">
                  <c:v>11.895</c:v>
                </c:pt>
                <c:pt idx="1270">
                  <c:v>11.904</c:v>
                </c:pt>
                <c:pt idx="1271">
                  <c:v>11.913</c:v>
                </c:pt>
                <c:pt idx="1272">
                  <c:v>11.922</c:v>
                </c:pt>
                <c:pt idx="1273">
                  <c:v>11.931</c:v>
                </c:pt>
                <c:pt idx="1274">
                  <c:v>11.94</c:v>
                </c:pt>
                <c:pt idx="1275">
                  <c:v>11.949</c:v>
                </c:pt>
                <c:pt idx="1276">
                  <c:v>11.958</c:v>
                </c:pt>
                <c:pt idx="1277">
                  <c:v>11.967</c:v>
                </c:pt>
                <c:pt idx="1278">
                  <c:v>11.976</c:v>
                </c:pt>
                <c:pt idx="1279">
                  <c:v>11.985</c:v>
                </c:pt>
                <c:pt idx="1280">
                  <c:v>11.994</c:v>
                </c:pt>
                <c:pt idx="1281">
                  <c:v>12.003</c:v>
                </c:pt>
                <c:pt idx="1282">
                  <c:v>12.012</c:v>
                </c:pt>
                <c:pt idx="1283">
                  <c:v>12.021</c:v>
                </c:pt>
                <c:pt idx="1284">
                  <c:v>12.03</c:v>
                </c:pt>
                <c:pt idx="1285">
                  <c:v>12.039</c:v>
                </c:pt>
                <c:pt idx="1286">
                  <c:v>12.048</c:v>
                </c:pt>
                <c:pt idx="1287">
                  <c:v>12.057</c:v>
                </c:pt>
                <c:pt idx="1288">
                  <c:v>12.066</c:v>
                </c:pt>
                <c:pt idx="1289">
                  <c:v>12.075</c:v>
                </c:pt>
                <c:pt idx="1290">
                  <c:v>12.084</c:v>
                </c:pt>
                <c:pt idx="1291">
                  <c:v>12.093</c:v>
                </c:pt>
                <c:pt idx="1292">
                  <c:v>12.103</c:v>
                </c:pt>
                <c:pt idx="1293">
                  <c:v>12.112</c:v>
                </c:pt>
                <c:pt idx="1294">
                  <c:v>12.121</c:v>
                </c:pt>
                <c:pt idx="1295">
                  <c:v>12.13</c:v>
                </c:pt>
                <c:pt idx="1296">
                  <c:v>12.139</c:v>
                </c:pt>
                <c:pt idx="1297">
                  <c:v>12.148</c:v>
                </c:pt>
                <c:pt idx="1298">
                  <c:v>12.157</c:v>
                </c:pt>
                <c:pt idx="1299">
                  <c:v>12.166</c:v>
                </c:pt>
                <c:pt idx="1300">
                  <c:v>12.175</c:v>
                </c:pt>
                <c:pt idx="1301">
                  <c:v>12.184</c:v>
                </c:pt>
                <c:pt idx="1302">
                  <c:v>12.193</c:v>
                </c:pt>
                <c:pt idx="1303">
                  <c:v>12.202</c:v>
                </c:pt>
                <c:pt idx="1304">
                  <c:v>12.211</c:v>
                </c:pt>
                <c:pt idx="1305">
                  <c:v>12.22</c:v>
                </c:pt>
                <c:pt idx="1306">
                  <c:v>12.229</c:v>
                </c:pt>
                <c:pt idx="1307">
                  <c:v>12.238</c:v>
                </c:pt>
                <c:pt idx="1308">
                  <c:v>12.248</c:v>
                </c:pt>
                <c:pt idx="1309">
                  <c:v>12.257</c:v>
                </c:pt>
                <c:pt idx="1310">
                  <c:v>12.272</c:v>
                </c:pt>
                <c:pt idx="1311">
                  <c:v>12.282</c:v>
                </c:pt>
                <c:pt idx="1312">
                  <c:v>12.292</c:v>
                </c:pt>
                <c:pt idx="1313">
                  <c:v>12.301</c:v>
                </c:pt>
                <c:pt idx="1314">
                  <c:v>12.31</c:v>
                </c:pt>
                <c:pt idx="1315">
                  <c:v>12.32</c:v>
                </c:pt>
                <c:pt idx="1316">
                  <c:v>12.329</c:v>
                </c:pt>
                <c:pt idx="1317">
                  <c:v>12.339</c:v>
                </c:pt>
                <c:pt idx="1318">
                  <c:v>12.348</c:v>
                </c:pt>
                <c:pt idx="1319">
                  <c:v>12.357</c:v>
                </c:pt>
                <c:pt idx="1320">
                  <c:v>12.366</c:v>
                </c:pt>
                <c:pt idx="1321">
                  <c:v>12.375</c:v>
                </c:pt>
                <c:pt idx="1322">
                  <c:v>12.384</c:v>
                </c:pt>
                <c:pt idx="1323">
                  <c:v>12.393</c:v>
                </c:pt>
                <c:pt idx="1324">
                  <c:v>12.402</c:v>
                </c:pt>
                <c:pt idx="1325">
                  <c:v>12.411</c:v>
                </c:pt>
                <c:pt idx="1326">
                  <c:v>12.42</c:v>
                </c:pt>
                <c:pt idx="1327">
                  <c:v>12.429</c:v>
                </c:pt>
                <c:pt idx="1328">
                  <c:v>12.438</c:v>
                </c:pt>
                <c:pt idx="1329">
                  <c:v>12.447</c:v>
                </c:pt>
                <c:pt idx="1330">
                  <c:v>12.456</c:v>
                </c:pt>
                <c:pt idx="1331">
                  <c:v>12.465</c:v>
                </c:pt>
                <c:pt idx="1332">
                  <c:v>12.474</c:v>
                </c:pt>
                <c:pt idx="1333">
                  <c:v>12.483</c:v>
                </c:pt>
                <c:pt idx="1334">
                  <c:v>12.492</c:v>
                </c:pt>
                <c:pt idx="1335">
                  <c:v>12.501</c:v>
                </c:pt>
                <c:pt idx="1336">
                  <c:v>12.51</c:v>
                </c:pt>
                <c:pt idx="1337">
                  <c:v>12.519</c:v>
                </c:pt>
                <c:pt idx="1338">
                  <c:v>12.528</c:v>
                </c:pt>
                <c:pt idx="1339">
                  <c:v>12.538</c:v>
                </c:pt>
                <c:pt idx="1340">
                  <c:v>12.547</c:v>
                </c:pt>
                <c:pt idx="1341">
                  <c:v>12.556</c:v>
                </c:pt>
                <c:pt idx="1342">
                  <c:v>12.565</c:v>
                </c:pt>
                <c:pt idx="1343">
                  <c:v>12.574</c:v>
                </c:pt>
                <c:pt idx="1344">
                  <c:v>12.583</c:v>
                </c:pt>
                <c:pt idx="1345">
                  <c:v>12.592</c:v>
                </c:pt>
                <c:pt idx="1346">
                  <c:v>12.602</c:v>
                </c:pt>
                <c:pt idx="1347">
                  <c:v>12.611</c:v>
                </c:pt>
                <c:pt idx="1348">
                  <c:v>12.62</c:v>
                </c:pt>
                <c:pt idx="1349">
                  <c:v>12.629</c:v>
                </c:pt>
                <c:pt idx="1350">
                  <c:v>12.638</c:v>
                </c:pt>
                <c:pt idx="1351">
                  <c:v>12.647</c:v>
                </c:pt>
                <c:pt idx="1352">
                  <c:v>12.656</c:v>
                </c:pt>
                <c:pt idx="1353">
                  <c:v>12.665</c:v>
                </c:pt>
                <c:pt idx="1354">
                  <c:v>12.674</c:v>
                </c:pt>
                <c:pt idx="1355">
                  <c:v>12.683</c:v>
                </c:pt>
                <c:pt idx="1356">
                  <c:v>12.692</c:v>
                </c:pt>
                <c:pt idx="1357">
                  <c:v>12.701</c:v>
                </c:pt>
                <c:pt idx="1358">
                  <c:v>12.71</c:v>
                </c:pt>
                <c:pt idx="1359">
                  <c:v>12.719</c:v>
                </c:pt>
                <c:pt idx="1360">
                  <c:v>12.728</c:v>
                </c:pt>
                <c:pt idx="1361">
                  <c:v>12.737</c:v>
                </c:pt>
                <c:pt idx="1362">
                  <c:v>12.746</c:v>
                </c:pt>
                <c:pt idx="1363">
                  <c:v>12.755</c:v>
                </c:pt>
                <c:pt idx="1364">
                  <c:v>12.765</c:v>
                </c:pt>
                <c:pt idx="1365">
                  <c:v>12.777</c:v>
                </c:pt>
                <c:pt idx="1366">
                  <c:v>12.789</c:v>
                </c:pt>
                <c:pt idx="1367">
                  <c:v>12.798</c:v>
                </c:pt>
                <c:pt idx="1368">
                  <c:v>12.807</c:v>
                </c:pt>
                <c:pt idx="1369">
                  <c:v>12.816</c:v>
                </c:pt>
                <c:pt idx="1370">
                  <c:v>12.825</c:v>
                </c:pt>
                <c:pt idx="1371">
                  <c:v>12.834</c:v>
                </c:pt>
                <c:pt idx="1372">
                  <c:v>12.844</c:v>
                </c:pt>
                <c:pt idx="1373">
                  <c:v>12.853</c:v>
                </c:pt>
                <c:pt idx="1374">
                  <c:v>12.862</c:v>
                </c:pt>
                <c:pt idx="1375">
                  <c:v>12.871</c:v>
                </c:pt>
                <c:pt idx="1376">
                  <c:v>12.88</c:v>
                </c:pt>
                <c:pt idx="1377">
                  <c:v>12.889</c:v>
                </c:pt>
                <c:pt idx="1378">
                  <c:v>12.898</c:v>
                </c:pt>
                <c:pt idx="1379">
                  <c:v>12.907</c:v>
                </c:pt>
                <c:pt idx="1380">
                  <c:v>12.916</c:v>
                </c:pt>
                <c:pt idx="1381">
                  <c:v>12.925</c:v>
                </c:pt>
                <c:pt idx="1382">
                  <c:v>12.934</c:v>
                </c:pt>
                <c:pt idx="1383">
                  <c:v>12.943</c:v>
                </c:pt>
                <c:pt idx="1384">
                  <c:v>12.952</c:v>
                </c:pt>
                <c:pt idx="1385">
                  <c:v>12.961</c:v>
                </c:pt>
                <c:pt idx="1386">
                  <c:v>12.97</c:v>
                </c:pt>
                <c:pt idx="1387">
                  <c:v>12.979</c:v>
                </c:pt>
                <c:pt idx="1388">
                  <c:v>12.989</c:v>
                </c:pt>
                <c:pt idx="1389">
                  <c:v>12.998</c:v>
                </c:pt>
                <c:pt idx="1390">
                  <c:v>13.007</c:v>
                </c:pt>
                <c:pt idx="1391">
                  <c:v>13.017</c:v>
                </c:pt>
                <c:pt idx="1392">
                  <c:v>13.026</c:v>
                </c:pt>
                <c:pt idx="1393">
                  <c:v>13.041</c:v>
                </c:pt>
                <c:pt idx="1394">
                  <c:v>13.05</c:v>
                </c:pt>
                <c:pt idx="1395">
                  <c:v>13.06</c:v>
                </c:pt>
                <c:pt idx="1396">
                  <c:v>13.069</c:v>
                </c:pt>
                <c:pt idx="1397">
                  <c:v>13.078</c:v>
                </c:pt>
                <c:pt idx="1398">
                  <c:v>13.087</c:v>
                </c:pt>
                <c:pt idx="1399">
                  <c:v>13.096</c:v>
                </c:pt>
                <c:pt idx="1400">
                  <c:v>13.105</c:v>
                </c:pt>
                <c:pt idx="1401">
                  <c:v>13.114</c:v>
                </c:pt>
                <c:pt idx="1402">
                  <c:v>13.123</c:v>
                </c:pt>
                <c:pt idx="1403">
                  <c:v>13.132</c:v>
                </c:pt>
                <c:pt idx="1404">
                  <c:v>13.141</c:v>
                </c:pt>
                <c:pt idx="1405">
                  <c:v>13.15</c:v>
                </c:pt>
                <c:pt idx="1406">
                  <c:v>13.159</c:v>
                </c:pt>
                <c:pt idx="1407">
                  <c:v>13.168</c:v>
                </c:pt>
                <c:pt idx="1408">
                  <c:v>13.177</c:v>
                </c:pt>
                <c:pt idx="1409">
                  <c:v>13.186</c:v>
                </c:pt>
                <c:pt idx="1410">
                  <c:v>13.195</c:v>
                </c:pt>
                <c:pt idx="1411">
                  <c:v>13.204</c:v>
                </c:pt>
                <c:pt idx="1412">
                  <c:v>13.213</c:v>
                </c:pt>
                <c:pt idx="1413">
                  <c:v>13.222</c:v>
                </c:pt>
                <c:pt idx="1414">
                  <c:v>13.231</c:v>
                </c:pt>
                <c:pt idx="1415">
                  <c:v>13.24</c:v>
                </c:pt>
                <c:pt idx="1416">
                  <c:v>13.249</c:v>
                </c:pt>
                <c:pt idx="1417">
                  <c:v>13.258</c:v>
                </c:pt>
                <c:pt idx="1418">
                  <c:v>13.267</c:v>
                </c:pt>
                <c:pt idx="1419">
                  <c:v>13.281</c:v>
                </c:pt>
                <c:pt idx="1420">
                  <c:v>13.292</c:v>
                </c:pt>
                <c:pt idx="1421">
                  <c:v>13.301</c:v>
                </c:pt>
                <c:pt idx="1422">
                  <c:v>13.31</c:v>
                </c:pt>
                <c:pt idx="1423">
                  <c:v>13.319</c:v>
                </c:pt>
                <c:pt idx="1424">
                  <c:v>13.328</c:v>
                </c:pt>
                <c:pt idx="1425">
                  <c:v>13.337</c:v>
                </c:pt>
                <c:pt idx="1426">
                  <c:v>13.346</c:v>
                </c:pt>
                <c:pt idx="1427">
                  <c:v>13.355</c:v>
                </c:pt>
                <c:pt idx="1428">
                  <c:v>13.364</c:v>
                </c:pt>
                <c:pt idx="1429">
                  <c:v>13.373</c:v>
                </c:pt>
                <c:pt idx="1430">
                  <c:v>13.382</c:v>
                </c:pt>
                <c:pt idx="1431">
                  <c:v>13.391</c:v>
                </c:pt>
                <c:pt idx="1432">
                  <c:v>13.4</c:v>
                </c:pt>
                <c:pt idx="1433">
                  <c:v>13.409</c:v>
                </c:pt>
                <c:pt idx="1434">
                  <c:v>13.418</c:v>
                </c:pt>
                <c:pt idx="1435">
                  <c:v>13.428</c:v>
                </c:pt>
                <c:pt idx="1436">
                  <c:v>13.437</c:v>
                </c:pt>
                <c:pt idx="1437">
                  <c:v>13.446</c:v>
                </c:pt>
                <c:pt idx="1438">
                  <c:v>13.455</c:v>
                </c:pt>
                <c:pt idx="1439">
                  <c:v>13.464</c:v>
                </c:pt>
                <c:pt idx="1440">
                  <c:v>13.473</c:v>
                </c:pt>
                <c:pt idx="1441">
                  <c:v>13.482</c:v>
                </c:pt>
                <c:pt idx="1442">
                  <c:v>13.492</c:v>
                </c:pt>
                <c:pt idx="1443">
                  <c:v>13.501</c:v>
                </c:pt>
                <c:pt idx="1444">
                  <c:v>13.51</c:v>
                </c:pt>
                <c:pt idx="1445">
                  <c:v>13.519</c:v>
                </c:pt>
                <c:pt idx="1446">
                  <c:v>13.528</c:v>
                </c:pt>
                <c:pt idx="1447">
                  <c:v>13.537</c:v>
                </c:pt>
                <c:pt idx="1448">
                  <c:v>13.546</c:v>
                </c:pt>
                <c:pt idx="1449">
                  <c:v>13.555</c:v>
                </c:pt>
                <c:pt idx="1450">
                  <c:v>13.564</c:v>
                </c:pt>
                <c:pt idx="1451">
                  <c:v>13.573</c:v>
                </c:pt>
                <c:pt idx="1452">
                  <c:v>13.582</c:v>
                </c:pt>
                <c:pt idx="1453">
                  <c:v>13.591</c:v>
                </c:pt>
                <c:pt idx="1454">
                  <c:v>13.6</c:v>
                </c:pt>
                <c:pt idx="1455">
                  <c:v>13.609</c:v>
                </c:pt>
                <c:pt idx="1456">
                  <c:v>13.618</c:v>
                </c:pt>
                <c:pt idx="1457">
                  <c:v>13.627</c:v>
                </c:pt>
                <c:pt idx="1458">
                  <c:v>13.636</c:v>
                </c:pt>
                <c:pt idx="1459">
                  <c:v>13.645</c:v>
                </c:pt>
                <c:pt idx="1460">
                  <c:v>13.654</c:v>
                </c:pt>
                <c:pt idx="1461">
                  <c:v>13.663</c:v>
                </c:pt>
                <c:pt idx="1462">
                  <c:v>13.672</c:v>
                </c:pt>
                <c:pt idx="1463">
                  <c:v>13.681</c:v>
                </c:pt>
                <c:pt idx="1464">
                  <c:v>13.691</c:v>
                </c:pt>
                <c:pt idx="1465">
                  <c:v>13.7</c:v>
                </c:pt>
                <c:pt idx="1466">
                  <c:v>13.709</c:v>
                </c:pt>
                <c:pt idx="1467">
                  <c:v>13.718</c:v>
                </c:pt>
                <c:pt idx="1468">
                  <c:v>13.727</c:v>
                </c:pt>
                <c:pt idx="1469">
                  <c:v>13.736</c:v>
                </c:pt>
                <c:pt idx="1470">
                  <c:v>13.745</c:v>
                </c:pt>
                <c:pt idx="1471">
                  <c:v>13.754</c:v>
                </c:pt>
                <c:pt idx="1472">
                  <c:v>13.763</c:v>
                </c:pt>
                <c:pt idx="1473">
                  <c:v>13.772</c:v>
                </c:pt>
                <c:pt idx="1474">
                  <c:v>13.785</c:v>
                </c:pt>
                <c:pt idx="1475">
                  <c:v>13.797</c:v>
                </c:pt>
                <c:pt idx="1476">
                  <c:v>13.808</c:v>
                </c:pt>
                <c:pt idx="1477">
                  <c:v>13.817</c:v>
                </c:pt>
                <c:pt idx="1478">
                  <c:v>13.826</c:v>
                </c:pt>
                <c:pt idx="1479">
                  <c:v>13.836</c:v>
                </c:pt>
                <c:pt idx="1480">
                  <c:v>13.845</c:v>
                </c:pt>
                <c:pt idx="1481">
                  <c:v>13.854</c:v>
                </c:pt>
                <c:pt idx="1482">
                  <c:v>13.863</c:v>
                </c:pt>
                <c:pt idx="1483">
                  <c:v>13.872</c:v>
                </c:pt>
                <c:pt idx="1484">
                  <c:v>13.881</c:v>
                </c:pt>
                <c:pt idx="1485">
                  <c:v>13.89</c:v>
                </c:pt>
                <c:pt idx="1486">
                  <c:v>13.899</c:v>
                </c:pt>
                <c:pt idx="1487">
                  <c:v>13.908</c:v>
                </c:pt>
                <c:pt idx="1488">
                  <c:v>13.917</c:v>
                </c:pt>
                <c:pt idx="1489">
                  <c:v>13.926</c:v>
                </c:pt>
                <c:pt idx="1490">
                  <c:v>13.935</c:v>
                </c:pt>
                <c:pt idx="1491">
                  <c:v>13.944</c:v>
                </c:pt>
                <c:pt idx="1492">
                  <c:v>13.953</c:v>
                </c:pt>
                <c:pt idx="1493">
                  <c:v>13.962</c:v>
                </c:pt>
                <c:pt idx="1494">
                  <c:v>13.971</c:v>
                </c:pt>
                <c:pt idx="1495">
                  <c:v>13.981</c:v>
                </c:pt>
                <c:pt idx="1496">
                  <c:v>13.99</c:v>
                </c:pt>
                <c:pt idx="1497">
                  <c:v>13.999</c:v>
                </c:pt>
                <c:pt idx="1498">
                  <c:v>14.008</c:v>
                </c:pt>
                <c:pt idx="1499">
                  <c:v>14.017</c:v>
                </c:pt>
                <c:pt idx="1500">
                  <c:v>14.026</c:v>
                </c:pt>
                <c:pt idx="1501">
                  <c:v>14.036</c:v>
                </c:pt>
                <c:pt idx="1502">
                  <c:v>14.045</c:v>
                </c:pt>
                <c:pt idx="1503">
                  <c:v>14.054</c:v>
                </c:pt>
                <c:pt idx="1504">
                  <c:v>14.063</c:v>
                </c:pt>
                <c:pt idx="1505">
                  <c:v>14.073</c:v>
                </c:pt>
                <c:pt idx="1506">
                  <c:v>14.082</c:v>
                </c:pt>
                <c:pt idx="1507">
                  <c:v>14.091</c:v>
                </c:pt>
                <c:pt idx="1508">
                  <c:v>14.1</c:v>
                </c:pt>
                <c:pt idx="1509">
                  <c:v>14.109</c:v>
                </c:pt>
                <c:pt idx="1510">
                  <c:v>14.118</c:v>
                </c:pt>
                <c:pt idx="1511">
                  <c:v>14.127</c:v>
                </c:pt>
                <c:pt idx="1512">
                  <c:v>14.136</c:v>
                </c:pt>
                <c:pt idx="1513">
                  <c:v>14.145</c:v>
                </c:pt>
                <c:pt idx="1514">
                  <c:v>14.154</c:v>
                </c:pt>
                <c:pt idx="1515">
                  <c:v>14.163</c:v>
                </c:pt>
                <c:pt idx="1516">
                  <c:v>14.172</c:v>
                </c:pt>
                <c:pt idx="1517">
                  <c:v>14.182</c:v>
                </c:pt>
                <c:pt idx="1518">
                  <c:v>14.191</c:v>
                </c:pt>
                <c:pt idx="1519">
                  <c:v>14.2</c:v>
                </c:pt>
                <c:pt idx="1520">
                  <c:v>14.209</c:v>
                </c:pt>
                <c:pt idx="1521">
                  <c:v>14.218</c:v>
                </c:pt>
                <c:pt idx="1522">
                  <c:v>14.227</c:v>
                </c:pt>
                <c:pt idx="1523">
                  <c:v>14.236</c:v>
                </c:pt>
                <c:pt idx="1524">
                  <c:v>14.245</c:v>
                </c:pt>
                <c:pt idx="1525">
                  <c:v>14.254</c:v>
                </c:pt>
                <c:pt idx="1526">
                  <c:v>14.263</c:v>
                </c:pt>
                <c:pt idx="1527">
                  <c:v>14.272</c:v>
                </c:pt>
                <c:pt idx="1528">
                  <c:v>14.281</c:v>
                </c:pt>
                <c:pt idx="1529">
                  <c:v>14.29</c:v>
                </c:pt>
                <c:pt idx="1530">
                  <c:v>14.299</c:v>
                </c:pt>
                <c:pt idx="1531">
                  <c:v>14.308</c:v>
                </c:pt>
                <c:pt idx="1532">
                  <c:v>14.317</c:v>
                </c:pt>
                <c:pt idx="1533">
                  <c:v>14.326</c:v>
                </c:pt>
                <c:pt idx="1534">
                  <c:v>14.335</c:v>
                </c:pt>
                <c:pt idx="1535">
                  <c:v>14.344</c:v>
                </c:pt>
                <c:pt idx="1536">
                  <c:v>14.353</c:v>
                </c:pt>
                <c:pt idx="1537">
                  <c:v>14.362</c:v>
                </c:pt>
                <c:pt idx="1538">
                  <c:v>14.371</c:v>
                </c:pt>
                <c:pt idx="1539">
                  <c:v>14.38</c:v>
                </c:pt>
                <c:pt idx="1540">
                  <c:v>14.389</c:v>
                </c:pt>
                <c:pt idx="1541">
                  <c:v>14.398</c:v>
                </c:pt>
                <c:pt idx="1542">
                  <c:v>14.408</c:v>
                </c:pt>
                <c:pt idx="1543">
                  <c:v>14.417</c:v>
                </c:pt>
                <c:pt idx="1544">
                  <c:v>14.426</c:v>
                </c:pt>
                <c:pt idx="1545">
                  <c:v>14.435</c:v>
                </c:pt>
                <c:pt idx="1546">
                  <c:v>14.444</c:v>
                </c:pt>
                <c:pt idx="1547">
                  <c:v>14.454</c:v>
                </c:pt>
                <c:pt idx="1548">
                  <c:v>14.463</c:v>
                </c:pt>
                <c:pt idx="1549">
                  <c:v>14.472</c:v>
                </c:pt>
                <c:pt idx="1550">
                  <c:v>14.481</c:v>
                </c:pt>
                <c:pt idx="1551">
                  <c:v>14.49</c:v>
                </c:pt>
                <c:pt idx="1552">
                  <c:v>14.499</c:v>
                </c:pt>
                <c:pt idx="1553">
                  <c:v>14.508</c:v>
                </c:pt>
                <c:pt idx="1554">
                  <c:v>14.517</c:v>
                </c:pt>
                <c:pt idx="1555">
                  <c:v>14.526</c:v>
                </c:pt>
                <c:pt idx="1556">
                  <c:v>14.535</c:v>
                </c:pt>
                <c:pt idx="1557">
                  <c:v>14.544</c:v>
                </c:pt>
                <c:pt idx="1558">
                  <c:v>14.553</c:v>
                </c:pt>
                <c:pt idx="1559">
                  <c:v>14.562</c:v>
                </c:pt>
                <c:pt idx="1560">
                  <c:v>14.571</c:v>
                </c:pt>
                <c:pt idx="1561">
                  <c:v>14.58</c:v>
                </c:pt>
                <c:pt idx="1562">
                  <c:v>14.589</c:v>
                </c:pt>
                <c:pt idx="1563">
                  <c:v>14.599</c:v>
                </c:pt>
                <c:pt idx="1564">
                  <c:v>14.608</c:v>
                </c:pt>
                <c:pt idx="1565">
                  <c:v>14.617</c:v>
                </c:pt>
                <c:pt idx="1566">
                  <c:v>14.626</c:v>
                </c:pt>
                <c:pt idx="1567">
                  <c:v>14.635</c:v>
                </c:pt>
                <c:pt idx="1568">
                  <c:v>14.644</c:v>
                </c:pt>
                <c:pt idx="1569">
                  <c:v>14.653</c:v>
                </c:pt>
                <c:pt idx="1570">
                  <c:v>14.662</c:v>
                </c:pt>
                <c:pt idx="1571">
                  <c:v>14.671</c:v>
                </c:pt>
                <c:pt idx="1572">
                  <c:v>14.68</c:v>
                </c:pt>
                <c:pt idx="1573">
                  <c:v>14.689</c:v>
                </c:pt>
                <c:pt idx="1574">
                  <c:v>14.698</c:v>
                </c:pt>
                <c:pt idx="1575">
                  <c:v>14.707</c:v>
                </c:pt>
                <c:pt idx="1576">
                  <c:v>14.716</c:v>
                </c:pt>
                <c:pt idx="1577">
                  <c:v>14.725</c:v>
                </c:pt>
                <c:pt idx="1578">
                  <c:v>14.735</c:v>
                </c:pt>
                <c:pt idx="1579">
                  <c:v>14.745</c:v>
                </c:pt>
                <c:pt idx="1580">
                  <c:v>14.754</c:v>
                </c:pt>
                <c:pt idx="1581">
                  <c:v>14.763</c:v>
                </c:pt>
                <c:pt idx="1582">
                  <c:v>14.772</c:v>
                </c:pt>
                <c:pt idx="1583">
                  <c:v>14.781</c:v>
                </c:pt>
                <c:pt idx="1584">
                  <c:v>14.791</c:v>
                </c:pt>
                <c:pt idx="1585">
                  <c:v>14.8</c:v>
                </c:pt>
                <c:pt idx="1586">
                  <c:v>14.809</c:v>
                </c:pt>
                <c:pt idx="1587">
                  <c:v>14.818</c:v>
                </c:pt>
                <c:pt idx="1588">
                  <c:v>14.827</c:v>
                </c:pt>
                <c:pt idx="1589">
                  <c:v>14.836</c:v>
                </c:pt>
                <c:pt idx="1590">
                  <c:v>14.845</c:v>
                </c:pt>
                <c:pt idx="1591">
                  <c:v>14.854</c:v>
                </c:pt>
                <c:pt idx="1592">
                  <c:v>14.864</c:v>
                </c:pt>
                <c:pt idx="1593">
                  <c:v>14.873</c:v>
                </c:pt>
                <c:pt idx="1594">
                  <c:v>14.882</c:v>
                </c:pt>
                <c:pt idx="1595">
                  <c:v>14.891</c:v>
                </c:pt>
                <c:pt idx="1596">
                  <c:v>14.9</c:v>
                </c:pt>
                <c:pt idx="1597">
                  <c:v>14.909</c:v>
                </c:pt>
                <c:pt idx="1598">
                  <c:v>14.918</c:v>
                </c:pt>
                <c:pt idx="1599">
                  <c:v>14.928</c:v>
                </c:pt>
                <c:pt idx="1600">
                  <c:v>14.937</c:v>
                </c:pt>
                <c:pt idx="1601">
                  <c:v>14.946</c:v>
                </c:pt>
                <c:pt idx="1602">
                  <c:v>14.955</c:v>
                </c:pt>
                <c:pt idx="1603">
                  <c:v>14.964</c:v>
                </c:pt>
                <c:pt idx="1604">
                  <c:v>14.973</c:v>
                </c:pt>
                <c:pt idx="1605">
                  <c:v>14.982</c:v>
                </c:pt>
                <c:pt idx="1606">
                  <c:v>14.991</c:v>
                </c:pt>
                <c:pt idx="1607">
                  <c:v>15</c:v>
                </c:pt>
                <c:pt idx="1608">
                  <c:v>15.01</c:v>
                </c:pt>
                <c:pt idx="1609">
                  <c:v>15.019</c:v>
                </c:pt>
                <c:pt idx="1610">
                  <c:v>15.028</c:v>
                </c:pt>
                <c:pt idx="1611">
                  <c:v>15.037</c:v>
                </c:pt>
                <c:pt idx="1612">
                  <c:v>15.046</c:v>
                </c:pt>
                <c:pt idx="1613">
                  <c:v>15.055</c:v>
                </c:pt>
                <c:pt idx="1614">
                  <c:v>15.064</c:v>
                </c:pt>
                <c:pt idx="1615">
                  <c:v>15.073</c:v>
                </c:pt>
                <c:pt idx="1616">
                  <c:v>15.083</c:v>
                </c:pt>
                <c:pt idx="1617">
                  <c:v>15.092</c:v>
                </c:pt>
                <c:pt idx="1618">
                  <c:v>15.101</c:v>
                </c:pt>
                <c:pt idx="1619">
                  <c:v>15.11</c:v>
                </c:pt>
                <c:pt idx="1620">
                  <c:v>15.119</c:v>
                </c:pt>
                <c:pt idx="1621">
                  <c:v>15.128</c:v>
                </c:pt>
                <c:pt idx="1622">
                  <c:v>15.137</c:v>
                </c:pt>
                <c:pt idx="1623">
                  <c:v>15.146</c:v>
                </c:pt>
                <c:pt idx="1624">
                  <c:v>15.155</c:v>
                </c:pt>
                <c:pt idx="1625">
                  <c:v>15.164</c:v>
                </c:pt>
                <c:pt idx="1626">
                  <c:v>15.173</c:v>
                </c:pt>
                <c:pt idx="1627">
                  <c:v>15.182</c:v>
                </c:pt>
                <c:pt idx="1628">
                  <c:v>15.191</c:v>
                </c:pt>
                <c:pt idx="1629">
                  <c:v>15.2</c:v>
                </c:pt>
                <c:pt idx="1630">
                  <c:v>15.209</c:v>
                </c:pt>
                <c:pt idx="1631">
                  <c:v>15.218</c:v>
                </c:pt>
                <c:pt idx="1632">
                  <c:v>15.227</c:v>
                </c:pt>
                <c:pt idx="1633">
                  <c:v>15.236</c:v>
                </c:pt>
                <c:pt idx="1634">
                  <c:v>15.245</c:v>
                </c:pt>
                <c:pt idx="1635">
                  <c:v>15.254</c:v>
                </c:pt>
                <c:pt idx="1636">
                  <c:v>15.263</c:v>
                </c:pt>
                <c:pt idx="1637">
                  <c:v>15.272</c:v>
                </c:pt>
                <c:pt idx="1638">
                  <c:v>15.281</c:v>
                </c:pt>
                <c:pt idx="1639">
                  <c:v>15.29</c:v>
                </c:pt>
                <c:pt idx="1640">
                  <c:v>15.299</c:v>
                </c:pt>
                <c:pt idx="1641">
                  <c:v>15.308</c:v>
                </c:pt>
                <c:pt idx="1642">
                  <c:v>15.317</c:v>
                </c:pt>
                <c:pt idx="1643">
                  <c:v>15.326</c:v>
                </c:pt>
                <c:pt idx="1644">
                  <c:v>15.336</c:v>
                </c:pt>
                <c:pt idx="1645">
                  <c:v>15.345</c:v>
                </c:pt>
                <c:pt idx="1646">
                  <c:v>15.354</c:v>
                </c:pt>
                <c:pt idx="1647">
                  <c:v>15.363</c:v>
                </c:pt>
                <c:pt idx="1648">
                  <c:v>15.372</c:v>
                </c:pt>
                <c:pt idx="1649">
                  <c:v>15.381</c:v>
                </c:pt>
                <c:pt idx="1650">
                  <c:v>15.39</c:v>
                </c:pt>
                <c:pt idx="1651">
                  <c:v>15.399</c:v>
                </c:pt>
                <c:pt idx="1652">
                  <c:v>15.408</c:v>
                </c:pt>
                <c:pt idx="1653">
                  <c:v>15.417</c:v>
                </c:pt>
                <c:pt idx="1654">
                  <c:v>15.426</c:v>
                </c:pt>
                <c:pt idx="1655">
                  <c:v>15.435</c:v>
                </c:pt>
                <c:pt idx="1656">
                  <c:v>15.444</c:v>
                </c:pt>
                <c:pt idx="1657">
                  <c:v>15.453</c:v>
                </c:pt>
                <c:pt idx="1658">
                  <c:v>15.462</c:v>
                </c:pt>
                <c:pt idx="1659">
                  <c:v>15.471</c:v>
                </c:pt>
                <c:pt idx="1660">
                  <c:v>15.481</c:v>
                </c:pt>
                <c:pt idx="1661">
                  <c:v>15.491</c:v>
                </c:pt>
                <c:pt idx="1662">
                  <c:v>15.5</c:v>
                </c:pt>
                <c:pt idx="1663">
                  <c:v>15.509</c:v>
                </c:pt>
                <c:pt idx="1664">
                  <c:v>15.518</c:v>
                </c:pt>
                <c:pt idx="1665">
                  <c:v>15.527</c:v>
                </c:pt>
                <c:pt idx="1666">
                  <c:v>15.536</c:v>
                </c:pt>
                <c:pt idx="1667">
                  <c:v>15.545</c:v>
                </c:pt>
                <c:pt idx="1668">
                  <c:v>15.554</c:v>
                </c:pt>
                <c:pt idx="1669">
                  <c:v>15.563</c:v>
                </c:pt>
                <c:pt idx="1670">
                  <c:v>15.572</c:v>
                </c:pt>
                <c:pt idx="1671">
                  <c:v>15.581</c:v>
                </c:pt>
                <c:pt idx="1672">
                  <c:v>15.59</c:v>
                </c:pt>
                <c:pt idx="1673">
                  <c:v>15.599</c:v>
                </c:pt>
                <c:pt idx="1674">
                  <c:v>15.608</c:v>
                </c:pt>
                <c:pt idx="1675">
                  <c:v>15.617</c:v>
                </c:pt>
                <c:pt idx="1676">
                  <c:v>15.626</c:v>
                </c:pt>
                <c:pt idx="1677">
                  <c:v>15.635</c:v>
                </c:pt>
                <c:pt idx="1678">
                  <c:v>15.644</c:v>
                </c:pt>
                <c:pt idx="1679">
                  <c:v>15.653</c:v>
                </c:pt>
                <c:pt idx="1680">
                  <c:v>15.662</c:v>
                </c:pt>
                <c:pt idx="1681">
                  <c:v>15.671</c:v>
                </c:pt>
                <c:pt idx="1682">
                  <c:v>15.68</c:v>
                </c:pt>
                <c:pt idx="1683">
                  <c:v>15.689</c:v>
                </c:pt>
                <c:pt idx="1684">
                  <c:v>15.699</c:v>
                </c:pt>
                <c:pt idx="1685">
                  <c:v>15.708</c:v>
                </c:pt>
                <c:pt idx="1686">
                  <c:v>15.717</c:v>
                </c:pt>
                <c:pt idx="1687">
                  <c:v>15.726</c:v>
                </c:pt>
                <c:pt idx="1688">
                  <c:v>15.735</c:v>
                </c:pt>
                <c:pt idx="1689">
                  <c:v>15.744</c:v>
                </c:pt>
                <c:pt idx="1690">
                  <c:v>15.753</c:v>
                </c:pt>
                <c:pt idx="1691">
                  <c:v>15.762</c:v>
                </c:pt>
                <c:pt idx="1692">
                  <c:v>15.771</c:v>
                </c:pt>
                <c:pt idx="1693">
                  <c:v>15.78</c:v>
                </c:pt>
                <c:pt idx="1694">
                  <c:v>15.789</c:v>
                </c:pt>
                <c:pt idx="1695">
                  <c:v>15.798</c:v>
                </c:pt>
                <c:pt idx="1696">
                  <c:v>15.807</c:v>
                </c:pt>
                <c:pt idx="1697">
                  <c:v>15.816</c:v>
                </c:pt>
                <c:pt idx="1698">
                  <c:v>15.825</c:v>
                </c:pt>
                <c:pt idx="1699">
                  <c:v>15.834</c:v>
                </c:pt>
                <c:pt idx="1700">
                  <c:v>15.844</c:v>
                </c:pt>
                <c:pt idx="1701">
                  <c:v>15.853</c:v>
                </c:pt>
                <c:pt idx="1702">
                  <c:v>15.862</c:v>
                </c:pt>
                <c:pt idx="1703">
                  <c:v>15.871</c:v>
                </c:pt>
                <c:pt idx="1704">
                  <c:v>15.88</c:v>
                </c:pt>
                <c:pt idx="1705">
                  <c:v>15.889</c:v>
                </c:pt>
                <c:pt idx="1706">
                  <c:v>15.898</c:v>
                </c:pt>
                <c:pt idx="1707">
                  <c:v>15.907</c:v>
                </c:pt>
                <c:pt idx="1708">
                  <c:v>15.916</c:v>
                </c:pt>
                <c:pt idx="1709">
                  <c:v>15.925</c:v>
                </c:pt>
                <c:pt idx="1710">
                  <c:v>15.934</c:v>
                </c:pt>
                <c:pt idx="1711">
                  <c:v>16.089</c:v>
                </c:pt>
                <c:pt idx="1712">
                  <c:v>16.098</c:v>
                </c:pt>
                <c:pt idx="1713">
                  <c:v>16.107</c:v>
                </c:pt>
                <c:pt idx="1714">
                  <c:v>16.116</c:v>
                </c:pt>
                <c:pt idx="1715">
                  <c:v>16.125</c:v>
                </c:pt>
                <c:pt idx="1716">
                  <c:v>16.134</c:v>
                </c:pt>
                <c:pt idx="1717">
                  <c:v>16.143</c:v>
                </c:pt>
                <c:pt idx="1718">
                  <c:v>16.152</c:v>
                </c:pt>
                <c:pt idx="1719">
                  <c:v>16.161</c:v>
                </c:pt>
                <c:pt idx="1720">
                  <c:v>16.17</c:v>
                </c:pt>
                <c:pt idx="1721">
                  <c:v>16.179</c:v>
                </c:pt>
                <c:pt idx="1722">
                  <c:v>16.188</c:v>
                </c:pt>
                <c:pt idx="1723">
                  <c:v>16.197</c:v>
                </c:pt>
                <c:pt idx="1724">
                  <c:v>16.206</c:v>
                </c:pt>
                <c:pt idx="1725">
                  <c:v>16.215</c:v>
                </c:pt>
                <c:pt idx="1726">
                  <c:v>16.224</c:v>
                </c:pt>
                <c:pt idx="1727">
                  <c:v>16.233</c:v>
                </c:pt>
                <c:pt idx="1728">
                  <c:v>16.242</c:v>
                </c:pt>
                <c:pt idx="1729">
                  <c:v>16.251</c:v>
                </c:pt>
                <c:pt idx="1730">
                  <c:v>16.26</c:v>
                </c:pt>
                <c:pt idx="1731">
                  <c:v>16.269</c:v>
                </c:pt>
                <c:pt idx="1732">
                  <c:v>16.278</c:v>
                </c:pt>
                <c:pt idx="1733">
                  <c:v>16.289</c:v>
                </c:pt>
                <c:pt idx="1734">
                  <c:v>16.298</c:v>
                </c:pt>
                <c:pt idx="1735">
                  <c:v>16.308</c:v>
                </c:pt>
                <c:pt idx="1736">
                  <c:v>16.317</c:v>
                </c:pt>
                <c:pt idx="1737">
                  <c:v>16.326</c:v>
                </c:pt>
                <c:pt idx="1738">
                  <c:v>16.335</c:v>
                </c:pt>
                <c:pt idx="1739">
                  <c:v>16.344</c:v>
                </c:pt>
                <c:pt idx="1740">
                  <c:v>16.353</c:v>
                </c:pt>
                <c:pt idx="1741">
                  <c:v>16.362</c:v>
                </c:pt>
                <c:pt idx="1742">
                  <c:v>16.371</c:v>
                </c:pt>
                <c:pt idx="1743">
                  <c:v>16.38</c:v>
                </c:pt>
                <c:pt idx="1744">
                  <c:v>16.389</c:v>
                </c:pt>
                <c:pt idx="1745">
                  <c:v>16.398</c:v>
                </c:pt>
                <c:pt idx="1746">
                  <c:v>16.408</c:v>
                </c:pt>
                <c:pt idx="1747">
                  <c:v>16.417</c:v>
                </c:pt>
                <c:pt idx="1748">
                  <c:v>16.426</c:v>
                </c:pt>
                <c:pt idx="1749">
                  <c:v>16.435</c:v>
                </c:pt>
                <c:pt idx="1750">
                  <c:v>16.444</c:v>
                </c:pt>
                <c:pt idx="1751">
                  <c:v>16.453</c:v>
                </c:pt>
                <c:pt idx="1752">
                  <c:v>16.462</c:v>
                </c:pt>
                <c:pt idx="1753">
                  <c:v>16.471</c:v>
                </c:pt>
                <c:pt idx="1754">
                  <c:v>16.48</c:v>
                </c:pt>
                <c:pt idx="1755">
                  <c:v>16.489</c:v>
                </c:pt>
                <c:pt idx="1756">
                  <c:v>16.498</c:v>
                </c:pt>
                <c:pt idx="1757">
                  <c:v>16.507</c:v>
                </c:pt>
                <c:pt idx="1758">
                  <c:v>16.516</c:v>
                </c:pt>
                <c:pt idx="1759">
                  <c:v>16.525</c:v>
                </c:pt>
                <c:pt idx="1760">
                  <c:v>16.534</c:v>
                </c:pt>
                <c:pt idx="1761">
                  <c:v>16.543</c:v>
                </c:pt>
                <c:pt idx="1762">
                  <c:v>16.552</c:v>
                </c:pt>
                <c:pt idx="1763">
                  <c:v>16.561</c:v>
                </c:pt>
                <c:pt idx="1764">
                  <c:v>16.57</c:v>
                </c:pt>
                <c:pt idx="1765">
                  <c:v>16.579</c:v>
                </c:pt>
                <c:pt idx="1766">
                  <c:v>16.588</c:v>
                </c:pt>
                <c:pt idx="1767">
                  <c:v>16.597</c:v>
                </c:pt>
                <c:pt idx="1768">
                  <c:v>16.606</c:v>
                </c:pt>
                <c:pt idx="1769">
                  <c:v>16.615</c:v>
                </c:pt>
                <c:pt idx="1770">
                  <c:v>16.624</c:v>
                </c:pt>
                <c:pt idx="1771">
                  <c:v>16.634</c:v>
                </c:pt>
                <c:pt idx="1772">
                  <c:v>16.644</c:v>
                </c:pt>
                <c:pt idx="1773">
                  <c:v>16.653</c:v>
                </c:pt>
                <c:pt idx="1774">
                  <c:v>16.662</c:v>
                </c:pt>
                <c:pt idx="1775">
                  <c:v>16.671</c:v>
                </c:pt>
                <c:pt idx="1776">
                  <c:v>16.68</c:v>
                </c:pt>
                <c:pt idx="1777">
                  <c:v>16.689</c:v>
                </c:pt>
                <c:pt idx="1778">
                  <c:v>16.698</c:v>
                </c:pt>
                <c:pt idx="1779">
                  <c:v>16.707</c:v>
                </c:pt>
                <c:pt idx="1780">
                  <c:v>16.716</c:v>
                </c:pt>
                <c:pt idx="1781">
                  <c:v>16.725</c:v>
                </c:pt>
                <c:pt idx="1782">
                  <c:v>16.734</c:v>
                </c:pt>
                <c:pt idx="1783">
                  <c:v>16.743</c:v>
                </c:pt>
                <c:pt idx="1784">
                  <c:v>16.752</c:v>
                </c:pt>
                <c:pt idx="1785">
                  <c:v>16.761</c:v>
                </c:pt>
                <c:pt idx="1786">
                  <c:v>16.77</c:v>
                </c:pt>
                <c:pt idx="1787">
                  <c:v>16.779</c:v>
                </c:pt>
                <c:pt idx="1788">
                  <c:v>16.793</c:v>
                </c:pt>
                <c:pt idx="1789">
                  <c:v>16.805</c:v>
                </c:pt>
                <c:pt idx="1790">
                  <c:v>16.814</c:v>
                </c:pt>
                <c:pt idx="1791">
                  <c:v>16.823</c:v>
                </c:pt>
                <c:pt idx="1792">
                  <c:v>16.832</c:v>
                </c:pt>
                <c:pt idx="1793">
                  <c:v>16.841</c:v>
                </c:pt>
                <c:pt idx="1794">
                  <c:v>16.85</c:v>
                </c:pt>
                <c:pt idx="1795">
                  <c:v>16.86</c:v>
                </c:pt>
                <c:pt idx="1796">
                  <c:v>16.869</c:v>
                </c:pt>
                <c:pt idx="1797">
                  <c:v>16.878</c:v>
                </c:pt>
                <c:pt idx="1798">
                  <c:v>16.888</c:v>
                </c:pt>
                <c:pt idx="1799">
                  <c:v>16.897</c:v>
                </c:pt>
                <c:pt idx="1800">
                  <c:v>16.906</c:v>
                </c:pt>
                <c:pt idx="1801">
                  <c:v>16.915</c:v>
                </c:pt>
                <c:pt idx="1802">
                  <c:v>16.924</c:v>
                </c:pt>
                <c:pt idx="1803">
                  <c:v>16.933</c:v>
                </c:pt>
                <c:pt idx="1804">
                  <c:v>16.942</c:v>
                </c:pt>
                <c:pt idx="1805">
                  <c:v>16.951</c:v>
                </c:pt>
                <c:pt idx="1806">
                  <c:v>16.96</c:v>
                </c:pt>
                <c:pt idx="1807">
                  <c:v>16.969</c:v>
                </c:pt>
                <c:pt idx="1808">
                  <c:v>16.978</c:v>
                </c:pt>
                <c:pt idx="1809">
                  <c:v>16.987</c:v>
                </c:pt>
                <c:pt idx="1810">
                  <c:v>16.997</c:v>
                </c:pt>
                <c:pt idx="1811">
                  <c:v>17.006</c:v>
                </c:pt>
                <c:pt idx="1812">
                  <c:v>17.015</c:v>
                </c:pt>
                <c:pt idx="1813">
                  <c:v>17.024</c:v>
                </c:pt>
                <c:pt idx="1814">
                  <c:v>17.033</c:v>
                </c:pt>
                <c:pt idx="1815">
                  <c:v>17.042</c:v>
                </c:pt>
                <c:pt idx="1816">
                  <c:v>17.051</c:v>
                </c:pt>
                <c:pt idx="1817">
                  <c:v>17.06</c:v>
                </c:pt>
                <c:pt idx="1818">
                  <c:v>17.069</c:v>
                </c:pt>
                <c:pt idx="1819">
                  <c:v>17.078</c:v>
                </c:pt>
                <c:pt idx="1820">
                  <c:v>17.087</c:v>
                </c:pt>
                <c:pt idx="1821">
                  <c:v>17.096</c:v>
                </c:pt>
                <c:pt idx="1822">
                  <c:v>17.105</c:v>
                </c:pt>
                <c:pt idx="1823">
                  <c:v>17.114</c:v>
                </c:pt>
                <c:pt idx="1824">
                  <c:v>17.123</c:v>
                </c:pt>
                <c:pt idx="1825">
                  <c:v>17.132</c:v>
                </c:pt>
                <c:pt idx="1826">
                  <c:v>17.142</c:v>
                </c:pt>
                <c:pt idx="1827">
                  <c:v>17.151</c:v>
                </c:pt>
                <c:pt idx="1828">
                  <c:v>17.16</c:v>
                </c:pt>
                <c:pt idx="1829">
                  <c:v>17.169</c:v>
                </c:pt>
                <c:pt idx="1830">
                  <c:v>17.178</c:v>
                </c:pt>
                <c:pt idx="1831">
                  <c:v>17.187</c:v>
                </c:pt>
                <c:pt idx="1832">
                  <c:v>17.196</c:v>
                </c:pt>
                <c:pt idx="1833">
                  <c:v>17.205</c:v>
                </c:pt>
                <c:pt idx="1834">
                  <c:v>17.215</c:v>
                </c:pt>
                <c:pt idx="1835">
                  <c:v>17.224</c:v>
                </c:pt>
                <c:pt idx="1836">
                  <c:v>17.233</c:v>
                </c:pt>
                <c:pt idx="1837">
                  <c:v>17.243</c:v>
                </c:pt>
                <c:pt idx="1838">
                  <c:v>17.252</c:v>
                </c:pt>
                <c:pt idx="1839">
                  <c:v>17.261</c:v>
                </c:pt>
                <c:pt idx="1840">
                  <c:v>17.271</c:v>
                </c:pt>
                <c:pt idx="1841">
                  <c:v>17.28</c:v>
                </c:pt>
                <c:pt idx="1842">
                  <c:v>17.289</c:v>
                </c:pt>
                <c:pt idx="1843">
                  <c:v>17.301</c:v>
                </c:pt>
                <c:pt idx="1844">
                  <c:v>17.312</c:v>
                </c:pt>
                <c:pt idx="1845">
                  <c:v>17.321</c:v>
                </c:pt>
                <c:pt idx="1846">
                  <c:v>17.33</c:v>
                </c:pt>
                <c:pt idx="1847">
                  <c:v>17.339</c:v>
                </c:pt>
                <c:pt idx="1848">
                  <c:v>17.348</c:v>
                </c:pt>
                <c:pt idx="1849">
                  <c:v>17.357</c:v>
                </c:pt>
                <c:pt idx="1850">
                  <c:v>17.367</c:v>
                </c:pt>
                <c:pt idx="1851">
                  <c:v>17.376</c:v>
                </c:pt>
                <c:pt idx="1852">
                  <c:v>17.385</c:v>
                </c:pt>
                <c:pt idx="1853">
                  <c:v>17.394</c:v>
                </c:pt>
                <c:pt idx="1854">
                  <c:v>17.403</c:v>
                </c:pt>
                <c:pt idx="1855">
                  <c:v>17.412</c:v>
                </c:pt>
                <c:pt idx="1856">
                  <c:v>17.421</c:v>
                </c:pt>
                <c:pt idx="1857">
                  <c:v>17.43</c:v>
                </c:pt>
                <c:pt idx="1858">
                  <c:v>17.439</c:v>
                </c:pt>
                <c:pt idx="1859">
                  <c:v>17.448</c:v>
                </c:pt>
                <c:pt idx="1860">
                  <c:v>17.457</c:v>
                </c:pt>
                <c:pt idx="1861">
                  <c:v>17.466</c:v>
                </c:pt>
                <c:pt idx="1862">
                  <c:v>17.475</c:v>
                </c:pt>
                <c:pt idx="1863">
                  <c:v>17.484</c:v>
                </c:pt>
                <c:pt idx="1864">
                  <c:v>17.493</c:v>
                </c:pt>
                <c:pt idx="1865">
                  <c:v>17.502</c:v>
                </c:pt>
                <c:pt idx="1866">
                  <c:v>17.511</c:v>
                </c:pt>
                <c:pt idx="1867">
                  <c:v>17.52</c:v>
                </c:pt>
                <c:pt idx="1868">
                  <c:v>17.529</c:v>
                </c:pt>
                <c:pt idx="1869">
                  <c:v>17.538</c:v>
                </c:pt>
                <c:pt idx="1870">
                  <c:v>17.547</c:v>
                </c:pt>
                <c:pt idx="1871">
                  <c:v>17.556</c:v>
                </c:pt>
                <c:pt idx="1872">
                  <c:v>17.565</c:v>
                </c:pt>
                <c:pt idx="1873">
                  <c:v>17.574</c:v>
                </c:pt>
                <c:pt idx="1874">
                  <c:v>17.583</c:v>
                </c:pt>
                <c:pt idx="1875">
                  <c:v>17.592</c:v>
                </c:pt>
                <c:pt idx="1876">
                  <c:v>17.601</c:v>
                </c:pt>
                <c:pt idx="1877">
                  <c:v>17.61</c:v>
                </c:pt>
                <c:pt idx="1878">
                  <c:v>17.619</c:v>
                </c:pt>
                <c:pt idx="1879">
                  <c:v>17.629</c:v>
                </c:pt>
                <c:pt idx="1880">
                  <c:v>17.638</c:v>
                </c:pt>
                <c:pt idx="1881">
                  <c:v>17.647</c:v>
                </c:pt>
                <c:pt idx="1882">
                  <c:v>17.656</c:v>
                </c:pt>
                <c:pt idx="1883">
                  <c:v>17.665</c:v>
                </c:pt>
                <c:pt idx="1884">
                  <c:v>17.674</c:v>
                </c:pt>
                <c:pt idx="1885">
                  <c:v>17.683</c:v>
                </c:pt>
                <c:pt idx="1886">
                  <c:v>17.692</c:v>
                </c:pt>
                <c:pt idx="1887">
                  <c:v>17.701</c:v>
                </c:pt>
                <c:pt idx="1888">
                  <c:v>17.711</c:v>
                </c:pt>
                <c:pt idx="1889">
                  <c:v>17.72</c:v>
                </c:pt>
                <c:pt idx="1890">
                  <c:v>17.729</c:v>
                </c:pt>
                <c:pt idx="1891">
                  <c:v>17.738</c:v>
                </c:pt>
                <c:pt idx="1892">
                  <c:v>17.747</c:v>
                </c:pt>
                <c:pt idx="1893">
                  <c:v>17.756</c:v>
                </c:pt>
                <c:pt idx="1894">
                  <c:v>17.765</c:v>
                </c:pt>
                <c:pt idx="1895">
                  <c:v>17.775</c:v>
                </c:pt>
                <c:pt idx="1896">
                  <c:v>17.784</c:v>
                </c:pt>
                <c:pt idx="1897">
                  <c:v>17.795</c:v>
                </c:pt>
                <c:pt idx="1898">
                  <c:v>17.805</c:v>
                </c:pt>
                <c:pt idx="1899">
                  <c:v>17.816</c:v>
                </c:pt>
                <c:pt idx="1900">
                  <c:v>17.826</c:v>
                </c:pt>
                <c:pt idx="1901">
                  <c:v>17.835</c:v>
                </c:pt>
                <c:pt idx="1902">
                  <c:v>17.844</c:v>
                </c:pt>
                <c:pt idx="1903">
                  <c:v>17.853</c:v>
                </c:pt>
                <c:pt idx="1904">
                  <c:v>17.862</c:v>
                </c:pt>
                <c:pt idx="1905">
                  <c:v>17.871</c:v>
                </c:pt>
                <c:pt idx="1906">
                  <c:v>17.88</c:v>
                </c:pt>
                <c:pt idx="1907">
                  <c:v>17.889</c:v>
                </c:pt>
                <c:pt idx="1908">
                  <c:v>17.898</c:v>
                </c:pt>
                <c:pt idx="1909">
                  <c:v>17.908</c:v>
                </c:pt>
                <c:pt idx="1910">
                  <c:v>17.917</c:v>
                </c:pt>
                <c:pt idx="1911">
                  <c:v>17.926</c:v>
                </c:pt>
                <c:pt idx="1912">
                  <c:v>17.935</c:v>
                </c:pt>
                <c:pt idx="1913">
                  <c:v>17.944</c:v>
                </c:pt>
                <c:pt idx="1914">
                  <c:v>17.953</c:v>
                </c:pt>
                <c:pt idx="1915">
                  <c:v>17.962</c:v>
                </c:pt>
                <c:pt idx="1916">
                  <c:v>17.971</c:v>
                </c:pt>
                <c:pt idx="1917">
                  <c:v>17.98</c:v>
                </c:pt>
                <c:pt idx="1918">
                  <c:v>17.989</c:v>
                </c:pt>
                <c:pt idx="1919">
                  <c:v>17.998</c:v>
                </c:pt>
                <c:pt idx="1920">
                  <c:v>18.007</c:v>
                </c:pt>
                <c:pt idx="1921">
                  <c:v>18.016</c:v>
                </c:pt>
                <c:pt idx="1922">
                  <c:v>18.025</c:v>
                </c:pt>
                <c:pt idx="1923">
                  <c:v>18.034</c:v>
                </c:pt>
                <c:pt idx="1924">
                  <c:v>18.043</c:v>
                </c:pt>
                <c:pt idx="1925">
                  <c:v>18.054</c:v>
                </c:pt>
                <c:pt idx="1926">
                  <c:v>18.064</c:v>
                </c:pt>
                <c:pt idx="1927">
                  <c:v>18.073</c:v>
                </c:pt>
                <c:pt idx="1928">
                  <c:v>18.082</c:v>
                </c:pt>
                <c:pt idx="1929">
                  <c:v>18.091</c:v>
                </c:pt>
                <c:pt idx="1930">
                  <c:v>18.1</c:v>
                </c:pt>
                <c:pt idx="1931">
                  <c:v>18.109</c:v>
                </c:pt>
                <c:pt idx="1932">
                  <c:v>18.118</c:v>
                </c:pt>
                <c:pt idx="1933">
                  <c:v>18.127</c:v>
                </c:pt>
                <c:pt idx="1934">
                  <c:v>18.136</c:v>
                </c:pt>
                <c:pt idx="1935">
                  <c:v>18.146</c:v>
                </c:pt>
                <c:pt idx="1936">
                  <c:v>18.155</c:v>
                </c:pt>
                <c:pt idx="1937">
                  <c:v>18.164</c:v>
                </c:pt>
                <c:pt idx="1938">
                  <c:v>18.173</c:v>
                </c:pt>
                <c:pt idx="1939">
                  <c:v>18.182</c:v>
                </c:pt>
                <c:pt idx="1940">
                  <c:v>18.191</c:v>
                </c:pt>
                <c:pt idx="1941">
                  <c:v>18.2</c:v>
                </c:pt>
                <c:pt idx="1942">
                  <c:v>18.209</c:v>
                </c:pt>
                <c:pt idx="1943">
                  <c:v>18.219</c:v>
                </c:pt>
                <c:pt idx="1944">
                  <c:v>18.228</c:v>
                </c:pt>
                <c:pt idx="1945">
                  <c:v>18.237</c:v>
                </c:pt>
                <c:pt idx="1946">
                  <c:v>18.246</c:v>
                </c:pt>
                <c:pt idx="1947">
                  <c:v>18.256</c:v>
                </c:pt>
                <c:pt idx="1948">
                  <c:v>18.265</c:v>
                </c:pt>
                <c:pt idx="1949">
                  <c:v>18.274</c:v>
                </c:pt>
                <c:pt idx="1950">
                  <c:v>18.283</c:v>
                </c:pt>
                <c:pt idx="1951">
                  <c:v>18.292</c:v>
                </c:pt>
                <c:pt idx="1952">
                  <c:v>18.306</c:v>
                </c:pt>
                <c:pt idx="1953">
                  <c:v>18.317</c:v>
                </c:pt>
                <c:pt idx="1954">
                  <c:v>18.326</c:v>
                </c:pt>
                <c:pt idx="1955">
                  <c:v>18.335</c:v>
                </c:pt>
                <c:pt idx="1956">
                  <c:v>18.344</c:v>
                </c:pt>
                <c:pt idx="1957">
                  <c:v>18.353</c:v>
                </c:pt>
                <c:pt idx="1958">
                  <c:v>18.362</c:v>
                </c:pt>
                <c:pt idx="1959">
                  <c:v>18.371</c:v>
                </c:pt>
                <c:pt idx="1960">
                  <c:v>18.38</c:v>
                </c:pt>
                <c:pt idx="1961">
                  <c:v>18.389</c:v>
                </c:pt>
                <c:pt idx="1962">
                  <c:v>18.398</c:v>
                </c:pt>
                <c:pt idx="1963">
                  <c:v>18.407</c:v>
                </c:pt>
                <c:pt idx="1964">
                  <c:v>18.416</c:v>
                </c:pt>
                <c:pt idx="1965">
                  <c:v>18.425</c:v>
                </c:pt>
                <c:pt idx="1966">
                  <c:v>18.434</c:v>
                </c:pt>
                <c:pt idx="1967">
                  <c:v>18.443</c:v>
                </c:pt>
                <c:pt idx="1968">
                  <c:v>18.452</c:v>
                </c:pt>
                <c:pt idx="1969">
                  <c:v>18.461</c:v>
                </c:pt>
                <c:pt idx="1970">
                  <c:v>18.47</c:v>
                </c:pt>
                <c:pt idx="1971">
                  <c:v>18.479</c:v>
                </c:pt>
                <c:pt idx="1972">
                  <c:v>18.488</c:v>
                </c:pt>
                <c:pt idx="1973">
                  <c:v>18.498</c:v>
                </c:pt>
                <c:pt idx="1974">
                  <c:v>18.507</c:v>
                </c:pt>
                <c:pt idx="1975">
                  <c:v>18.516</c:v>
                </c:pt>
                <c:pt idx="1976">
                  <c:v>18.525</c:v>
                </c:pt>
                <c:pt idx="1977">
                  <c:v>18.534</c:v>
                </c:pt>
                <c:pt idx="1978">
                  <c:v>18.543</c:v>
                </c:pt>
                <c:pt idx="1979">
                  <c:v>18.553</c:v>
                </c:pt>
                <c:pt idx="1980">
                  <c:v>18.562</c:v>
                </c:pt>
                <c:pt idx="1981">
                  <c:v>18.571</c:v>
                </c:pt>
                <c:pt idx="1982">
                  <c:v>18.58</c:v>
                </c:pt>
                <c:pt idx="1983">
                  <c:v>18.589</c:v>
                </c:pt>
                <c:pt idx="1984">
                  <c:v>18.598</c:v>
                </c:pt>
                <c:pt idx="1985">
                  <c:v>18.607</c:v>
                </c:pt>
                <c:pt idx="1986">
                  <c:v>18.616</c:v>
                </c:pt>
                <c:pt idx="1987">
                  <c:v>18.625</c:v>
                </c:pt>
                <c:pt idx="1988">
                  <c:v>18.634</c:v>
                </c:pt>
                <c:pt idx="1989">
                  <c:v>18.643</c:v>
                </c:pt>
                <c:pt idx="1990">
                  <c:v>18.652</c:v>
                </c:pt>
                <c:pt idx="1991">
                  <c:v>18.661</c:v>
                </c:pt>
                <c:pt idx="1992">
                  <c:v>18.67</c:v>
                </c:pt>
                <c:pt idx="1993">
                  <c:v>18.679</c:v>
                </c:pt>
                <c:pt idx="1994">
                  <c:v>18.688</c:v>
                </c:pt>
                <c:pt idx="1995">
                  <c:v>18.698</c:v>
                </c:pt>
                <c:pt idx="1996">
                  <c:v>18.707</c:v>
                </c:pt>
                <c:pt idx="1997">
                  <c:v>18.716</c:v>
                </c:pt>
                <c:pt idx="1998">
                  <c:v>18.725</c:v>
                </c:pt>
                <c:pt idx="1999">
                  <c:v>18.734</c:v>
                </c:pt>
                <c:pt idx="2000">
                  <c:v>18.743</c:v>
                </c:pt>
                <c:pt idx="2001">
                  <c:v>18.752</c:v>
                </c:pt>
                <c:pt idx="2002">
                  <c:v>18.761</c:v>
                </c:pt>
                <c:pt idx="2003">
                  <c:v>18.77</c:v>
                </c:pt>
                <c:pt idx="2004">
                  <c:v>18.779</c:v>
                </c:pt>
                <c:pt idx="2005">
                  <c:v>18.788</c:v>
                </c:pt>
                <c:pt idx="2006">
                  <c:v>18.797</c:v>
                </c:pt>
                <c:pt idx="2007">
                  <c:v>18.811</c:v>
                </c:pt>
                <c:pt idx="2008">
                  <c:v>18.822</c:v>
                </c:pt>
                <c:pt idx="2009">
                  <c:v>18.831</c:v>
                </c:pt>
                <c:pt idx="2010">
                  <c:v>18.84</c:v>
                </c:pt>
                <c:pt idx="2011">
                  <c:v>18.849</c:v>
                </c:pt>
                <c:pt idx="2012">
                  <c:v>18.858</c:v>
                </c:pt>
                <c:pt idx="2013">
                  <c:v>18.868</c:v>
                </c:pt>
                <c:pt idx="2014">
                  <c:v>18.877</c:v>
                </c:pt>
                <c:pt idx="2015">
                  <c:v>18.886</c:v>
                </c:pt>
                <c:pt idx="2016">
                  <c:v>18.895</c:v>
                </c:pt>
                <c:pt idx="2017">
                  <c:v>18.904</c:v>
                </c:pt>
                <c:pt idx="2018">
                  <c:v>18.913</c:v>
                </c:pt>
                <c:pt idx="2019">
                  <c:v>18.922</c:v>
                </c:pt>
                <c:pt idx="2020">
                  <c:v>18.933</c:v>
                </c:pt>
                <c:pt idx="2021">
                  <c:v>18.942</c:v>
                </c:pt>
                <c:pt idx="2022">
                  <c:v>18.951</c:v>
                </c:pt>
                <c:pt idx="2023">
                  <c:v>18.96</c:v>
                </c:pt>
                <c:pt idx="2024">
                  <c:v>18.969</c:v>
                </c:pt>
                <c:pt idx="2025">
                  <c:v>18.978</c:v>
                </c:pt>
                <c:pt idx="2026">
                  <c:v>18.987</c:v>
                </c:pt>
                <c:pt idx="2027">
                  <c:v>18.996</c:v>
                </c:pt>
                <c:pt idx="2028">
                  <c:v>19.006</c:v>
                </c:pt>
                <c:pt idx="2029">
                  <c:v>19.015</c:v>
                </c:pt>
                <c:pt idx="2030">
                  <c:v>19.024</c:v>
                </c:pt>
                <c:pt idx="2031">
                  <c:v>19.033</c:v>
                </c:pt>
                <c:pt idx="2032">
                  <c:v>19.042</c:v>
                </c:pt>
                <c:pt idx="2033">
                  <c:v>19.051</c:v>
                </c:pt>
                <c:pt idx="2034">
                  <c:v>19.06</c:v>
                </c:pt>
                <c:pt idx="2035">
                  <c:v>19.069</c:v>
                </c:pt>
                <c:pt idx="2036">
                  <c:v>19.078</c:v>
                </c:pt>
                <c:pt idx="2037">
                  <c:v>19.087</c:v>
                </c:pt>
                <c:pt idx="2038">
                  <c:v>19.096</c:v>
                </c:pt>
                <c:pt idx="2039">
                  <c:v>19.105</c:v>
                </c:pt>
                <c:pt idx="2040">
                  <c:v>19.114</c:v>
                </c:pt>
                <c:pt idx="2041">
                  <c:v>19.123</c:v>
                </c:pt>
                <c:pt idx="2042">
                  <c:v>19.132</c:v>
                </c:pt>
                <c:pt idx="2043">
                  <c:v>19.142</c:v>
                </c:pt>
                <c:pt idx="2044">
                  <c:v>19.151</c:v>
                </c:pt>
                <c:pt idx="2045">
                  <c:v>19.16</c:v>
                </c:pt>
                <c:pt idx="2046">
                  <c:v>19.169</c:v>
                </c:pt>
                <c:pt idx="2047">
                  <c:v>19.178</c:v>
                </c:pt>
                <c:pt idx="2048">
                  <c:v>19.187</c:v>
                </c:pt>
                <c:pt idx="2049">
                  <c:v>19.196</c:v>
                </c:pt>
                <c:pt idx="2050">
                  <c:v>19.205</c:v>
                </c:pt>
                <c:pt idx="2051">
                  <c:v>19.214</c:v>
                </c:pt>
                <c:pt idx="2052">
                  <c:v>19.224</c:v>
                </c:pt>
                <c:pt idx="2053">
                  <c:v>19.233</c:v>
                </c:pt>
                <c:pt idx="2054">
                  <c:v>19.242</c:v>
                </c:pt>
                <c:pt idx="2055">
                  <c:v>19.251</c:v>
                </c:pt>
                <c:pt idx="2056">
                  <c:v>19.26</c:v>
                </c:pt>
                <c:pt idx="2057">
                  <c:v>19.269</c:v>
                </c:pt>
                <c:pt idx="2058">
                  <c:v>19.278</c:v>
                </c:pt>
                <c:pt idx="2059">
                  <c:v>19.287</c:v>
                </c:pt>
                <c:pt idx="2060">
                  <c:v>19.296</c:v>
                </c:pt>
                <c:pt idx="2061">
                  <c:v>19.307</c:v>
                </c:pt>
                <c:pt idx="2062">
                  <c:v>19.318</c:v>
                </c:pt>
                <c:pt idx="2063">
                  <c:v>19.329</c:v>
                </c:pt>
                <c:pt idx="2064">
                  <c:v>19.339</c:v>
                </c:pt>
                <c:pt idx="2065">
                  <c:v>19.348</c:v>
                </c:pt>
                <c:pt idx="2066">
                  <c:v>19.357</c:v>
                </c:pt>
                <c:pt idx="2067">
                  <c:v>19.366</c:v>
                </c:pt>
                <c:pt idx="2068">
                  <c:v>19.375</c:v>
                </c:pt>
                <c:pt idx="2069">
                  <c:v>19.384</c:v>
                </c:pt>
                <c:pt idx="2070">
                  <c:v>19.393</c:v>
                </c:pt>
                <c:pt idx="2071">
                  <c:v>19.402</c:v>
                </c:pt>
                <c:pt idx="2072">
                  <c:v>19.411</c:v>
                </c:pt>
                <c:pt idx="2073">
                  <c:v>19.42</c:v>
                </c:pt>
                <c:pt idx="2074">
                  <c:v>19.429</c:v>
                </c:pt>
                <c:pt idx="2075">
                  <c:v>19.438</c:v>
                </c:pt>
                <c:pt idx="2076">
                  <c:v>19.448</c:v>
                </c:pt>
                <c:pt idx="2077">
                  <c:v>19.457</c:v>
                </c:pt>
                <c:pt idx="2078">
                  <c:v>19.466</c:v>
                </c:pt>
                <c:pt idx="2079">
                  <c:v>19.475</c:v>
                </c:pt>
                <c:pt idx="2080">
                  <c:v>19.484</c:v>
                </c:pt>
                <c:pt idx="2081">
                  <c:v>19.493</c:v>
                </c:pt>
                <c:pt idx="2082">
                  <c:v>19.502</c:v>
                </c:pt>
                <c:pt idx="2083">
                  <c:v>19.511</c:v>
                </c:pt>
                <c:pt idx="2084">
                  <c:v>19.52</c:v>
                </c:pt>
                <c:pt idx="2085">
                  <c:v>19.529</c:v>
                </c:pt>
                <c:pt idx="2086">
                  <c:v>19.538</c:v>
                </c:pt>
                <c:pt idx="2087">
                  <c:v>19.547</c:v>
                </c:pt>
                <c:pt idx="2088">
                  <c:v>19.556</c:v>
                </c:pt>
                <c:pt idx="2089">
                  <c:v>19.565</c:v>
                </c:pt>
                <c:pt idx="2090">
                  <c:v>19.574</c:v>
                </c:pt>
                <c:pt idx="2091">
                  <c:v>19.583</c:v>
                </c:pt>
                <c:pt idx="2092">
                  <c:v>19.593</c:v>
                </c:pt>
                <c:pt idx="2093">
                  <c:v>19.602</c:v>
                </c:pt>
                <c:pt idx="2094">
                  <c:v>19.611</c:v>
                </c:pt>
                <c:pt idx="2095">
                  <c:v>19.62</c:v>
                </c:pt>
                <c:pt idx="2096">
                  <c:v>19.629</c:v>
                </c:pt>
                <c:pt idx="2097">
                  <c:v>19.638</c:v>
                </c:pt>
                <c:pt idx="2098">
                  <c:v>19.647</c:v>
                </c:pt>
                <c:pt idx="2099">
                  <c:v>19.656</c:v>
                </c:pt>
                <c:pt idx="2100">
                  <c:v>19.665</c:v>
                </c:pt>
                <c:pt idx="2101">
                  <c:v>19.674</c:v>
                </c:pt>
                <c:pt idx="2102">
                  <c:v>19.683</c:v>
                </c:pt>
                <c:pt idx="2103">
                  <c:v>19.692</c:v>
                </c:pt>
                <c:pt idx="2104">
                  <c:v>19.701</c:v>
                </c:pt>
                <c:pt idx="2105">
                  <c:v>19.71</c:v>
                </c:pt>
                <c:pt idx="2106">
                  <c:v>19.719</c:v>
                </c:pt>
                <c:pt idx="2107">
                  <c:v>19.728</c:v>
                </c:pt>
                <c:pt idx="2108">
                  <c:v>19.738</c:v>
                </c:pt>
                <c:pt idx="2109">
                  <c:v>19.747</c:v>
                </c:pt>
                <c:pt idx="2110">
                  <c:v>19.756</c:v>
                </c:pt>
                <c:pt idx="2111">
                  <c:v>19.765</c:v>
                </c:pt>
                <c:pt idx="2112">
                  <c:v>19.774</c:v>
                </c:pt>
                <c:pt idx="2113">
                  <c:v>19.783</c:v>
                </c:pt>
                <c:pt idx="2114">
                  <c:v>19.792</c:v>
                </c:pt>
                <c:pt idx="2115">
                  <c:v>19.802</c:v>
                </c:pt>
                <c:pt idx="2116">
                  <c:v>19.811</c:v>
                </c:pt>
                <c:pt idx="2117">
                  <c:v>19.82</c:v>
                </c:pt>
                <c:pt idx="2118">
                  <c:v>19.829</c:v>
                </c:pt>
                <c:pt idx="2119">
                  <c:v>19.838</c:v>
                </c:pt>
                <c:pt idx="2120">
                  <c:v>19.847</c:v>
                </c:pt>
                <c:pt idx="2121">
                  <c:v>19.856</c:v>
                </c:pt>
                <c:pt idx="2122">
                  <c:v>19.865</c:v>
                </c:pt>
                <c:pt idx="2123">
                  <c:v>19.874</c:v>
                </c:pt>
                <c:pt idx="2124">
                  <c:v>19.883</c:v>
                </c:pt>
                <c:pt idx="2125">
                  <c:v>19.892</c:v>
                </c:pt>
                <c:pt idx="2126">
                  <c:v>19.901</c:v>
                </c:pt>
                <c:pt idx="2127">
                  <c:v>19.91</c:v>
                </c:pt>
                <c:pt idx="2128">
                  <c:v>19.919</c:v>
                </c:pt>
                <c:pt idx="2129">
                  <c:v>19.928</c:v>
                </c:pt>
                <c:pt idx="2130">
                  <c:v>19.937</c:v>
                </c:pt>
                <c:pt idx="2131">
                  <c:v>19.946</c:v>
                </c:pt>
                <c:pt idx="2132">
                  <c:v>19.955</c:v>
                </c:pt>
                <c:pt idx="2133">
                  <c:v>19.964</c:v>
                </c:pt>
                <c:pt idx="2134">
                  <c:v>19.973</c:v>
                </c:pt>
                <c:pt idx="2135">
                  <c:v>19.982</c:v>
                </c:pt>
                <c:pt idx="2136">
                  <c:v>19.991</c:v>
                </c:pt>
                <c:pt idx="2137">
                  <c:v>20</c:v>
                </c:pt>
                <c:pt idx="2138">
                  <c:v>20.009</c:v>
                </c:pt>
                <c:pt idx="2139">
                  <c:v>20.018</c:v>
                </c:pt>
                <c:pt idx="2140">
                  <c:v>20.027</c:v>
                </c:pt>
                <c:pt idx="2141">
                  <c:v>20.036</c:v>
                </c:pt>
                <c:pt idx="2142">
                  <c:v>20.045</c:v>
                </c:pt>
                <c:pt idx="2143">
                  <c:v>20.054</c:v>
                </c:pt>
                <c:pt idx="2144">
                  <c:v>20.063</c:v>
                </c:pt>
                <c:pt idx="2145">
                  <c:v>20.072</c:v>
                </c:pt>
                <c:pt idx="2146">
                  <c:v>20.081</c:v>
                </c:pt>
                <c:pt idx="2147">
                  <c:v>20.09</c:v>
                </c:pt>
                <c:pt idx="2148">
                  <c:v>20.099</c:v>
                </c:pt>
                <c:pt idx="2149">
                  <c:v>20.109</c:v>
                </c:pt>
                <c:pt idx="2150">
                  <c:v>20.118</c:v>
                </c:pt>
                <c:pt idx="2151">
                  <c:v>20.127</c:v>
                </c:pt>
                <c:pt idx="2152">
                  <c:v>20.136</c:v>
                </c:pt>
                <c:pt idx="2153">
                  <c:v>20.145</c:v>
                </c:pt>
                <c:pt idx="2154">
                  <c:v>20.154</c:v>
                </c:pt>
                <c:pt idx="2155">
                  <c:v>20.163</c:v>
                </c:pt>
                <c:pt idx="2156">
                  <c:v>20.172</c:v>
                </c:pt>
                <c:pt idx="2157">
                  <c:v>20.182</c:v>
                </c:pt>
                <c:pt idx="2158">
                  <c:v>20.191</c:v>
                </c:pt>
                <c:pt idx="2159">
                  <c:v>20.2</c:v>
                </c:pt>
                <c:pt idx="2160">
                  <c:v>20.21</c:v>
                </c:pt>
                <c:pt idx="2161">
                  <c:v>20.219</c:v>
                </c:pt>
                <c:pt idx="2162">
                  <c:v>20.228</c:v>
                </c:pt>
                <c:pt idx="2163">
                  <c:v>20.238</c:v>
                </c:pt>
                <c:pt idx="2164">
                  <c:v>20.247</c:v>
                </c:pt>
                <c:pt idx="2165">
                  <c:v>20.256</c:v>
                </c:pt>
                <c:pt idx="2166">
                  <c:v>20.265</c:v>
                </c:pt>
                <c:pt idx="2167">
                  <c:v>20.274</c:v>
                </c:pt>
                <c:pt idx="2168">
                  <c:v>20.283</c:v>
                </c:pt>
                <c:pt idx="2169">
                  <c:v>20.292</c:v>
                </c:pt>
                <c:pt idx="2170">
                  <c:v>20.302</c:v>
                </c:pt>
                <c:pt idx="2171">
                  <c:v>20.311</c:v>
                </c:pt>
                <c:pt idx="2172">
                  <c:v>20.32</c:v>
                </c:pt>
                <c:pt idx="2173">
                  <c:v>20.329</c:v>
                </c:pt>
                <c:pt idx="2174">
                  <c:v>20.338</c:v>
                </c:pt>
                <c:pt idx="2175">
                  <c:v>20.347</c:v>
                </c:pt>
                <c:pt idx="2176">
                  <c:v>20.356</c:v>
                </c:pt>
                <c:pt idx="2177">
                  <c:v>20.365</c:v>
                </c:pt>
                <c:pt idx="2178">
                  <c:v>20.375</c:v>
                </c:pt>
                <c:pt idx="2179">
                  <c:v>20.384</c:v>
                </c:pt>
                <c:pt idx="2180">
                  <c:v>20.394</c:v>
                </c:pt>
                <c:pt idx="2181">
                  <c:v>20.403</c:v>
                </c:pt>
                <c:pt idx="2182">
                  <c:v>20.412</c:v>
                </c:pt>
                <c:pt idx="2183">
                  <c:v>20.421</c:v>
                </c:pt>
                <c:pt idx="2184">
                  <c:v>20.43</c:v>
                </c:pt>
                <c:pt idx="2185">
                  <c:v>20.439</c:v>
                </c:pt>
                <c:pt idx="2186">
                  <c:v>20.448</c:v>
                </c:pt>
                <c:pt idx="2187">
                  <c:v>20.457</c:v>
                </c:pt>
                <c:pt idx="2188">
                  <c:v>20.466</c:v>
                </c:pt>
                <c:pt idx="2189">
                  <c:v>20.475</c:v>
                </c:pt>
                <c:pt idx="2190">
                  <c:v>20.484</c:v>
                </c:pt>
                <c:pt idx="2191">
                  <c:v>20.493</c:v>
                </c:pt>
                <c:pt idx="2192">
                  <c:v>20.502</c:v>
                </c:pt>
                <c:pt idx="2193">
                  <c:v>20.511</c:v>
                </c:pt>
                <c:pt idx="2194">
                  <c:v>20.52</c:v>
                </c:pt>
                <c:pt idx="2195">
                  <c:v>20.529</c:v>
                </c:pt>
                <c:pt idx="2196">
                  <c:v>20.538</c:v>
                </c:pt>
                <c:pt idx="2197">
                  <c:v>20.548</c:v>
                </c:pt>
                <c:pt idx="2198">
                  <c:v>20.557</c:v>
                </c:pt>
                <c:pt idx="2199">
                  <c:v>20.566</c:v>
                </c:pt>
                <c:pt idx="2200">
                  <c:v>20.575</c:v>
                </c:pt>
                <c:pt idx="2201">
                  <c:v>20.584</c:v>
                </c:pt>
                <c:pt idx="2202">
                  <c:v>20.593</c:v>
                </c:pt>
                <c:pt idx="2203">
                  <c:v>20.602</c:v>
                </c:pt>
                <c:pt idx="2204">
                  <c:v>20.611</c:v>
                </c:pt>
                <c:pt idx="2205">
                  <c:v>20.62</c:v>
                </c:pt>
                <c:pt idx="2206">
                  <c:v>20.629</c:v>
                </c:pt>
                <c:pt idx="2207">
                  <c:v>20.638</c:v>
                </c:pt>
                <c:pt idx="2208">
                  <c:v>20.647</c:v>
                </c:pt>
                <c:pt idx="2209">
                  <c:v>20.656</c:v>
                </c:pt>
                <c:pt idx="2210">
                  <c:v>20.665</c:v>
                </c:pt>
                <c:pt idx="2211">
                  <c:v>20.674</c:v>
                </c:pt>
                <c:pt idx="2212">
                  <c:v>20.683</c:v>
                </c:pt>
                <c:pt idx="2213">
                  <c:v>20.692</c:v>
                </c:pt>
                <c:pt idx="2214">
                  <c:v>20.701</c:v>
                </c:pt>
                <c:pt idx="2215">
                  <c:v>20.71</c:v>
                </c:pt>
                <c:pt idx="2216">
                  <c:v>20.719</c:v>
                </c:pt>
                <c:pt idx="2217">
                  <c:v>20.729</c:v>
                </c:pt>
                <c:pt idx="2218">
                  <c:v>20.739</c:v>
                </c:pt>
                <c:pt idx="2219">
                  <c:v>20.748</c:v>
                </c:pt>
                <c:pt idx="2220">
                  <c:v>20.757</c:v>
                </c:pt>
                <c:pt idx="2221">
                  <c:v>20.766</c:v>
                </c:pt>
                <c:pt idx="2222">
                  <c:v>20.775</c:v>
                </c:pt>
                <c:pt idx="2223">
                  <c:v>20.784</c:v>
                </c:pt>
                <c:pt idx="2224">
                  <c:v>20.793</c:v>
                </c:pt>
                <c:pt idx="2225">
                  <c:v>20.802</c:v>
                </c:pt>
                <c:pt idx="2226">
                  <c:v>20.811</c:v>
                </c:pt>
                <c:pt idx="2227">
                  <c:v>20.82</c:v>
                </c:pt>
                <c:pt idx="2228">
                  <c:v>20.829</c:v>
                </c:pt>
                <c:pt idx="2229">
                  <c:v>20.838</c:v>
                </c:pt>
                <c:pt idx="2230">
                  <c:v>20.847</c:v>
                </c:pt>
                <c:pt idx="2231">
                  <c:v>20.856</c:v>
                </c:pt>
                <c:pt idx="2232">
                  <c:v>20.865</c:v>
                </c:pt>
                <c:pt idx="2233">
                  <c:v>20.874</c:v>
                </c:pt>
                <c:pt idx="2234">
                  <c:v>20.883</c:v>
                </c:pt>
                <c:pt idx="2235">
                  <c:v>20.892</c:v>
                </c:pt>
                <c:pt idx="2236">
                  <c:v>20.901</c:v>
                </c:pt>
                <c:pt idx="2237">
                  <c:v>20.91</c:v>
                </c:pt>
                <c:pt idx="2238">
                  <c:v>20.919</c:v>
                </c:pt>
                <c:pt idx="2239">
                  <c:v>20.928</c:v>
                </c:pt>
                <c:pt idx="2240">
                  <c:v>20.937</c:v>
                </c:pt>
                <c:pt idx="2241">
                  <c:v>20.946</c:v>
                </c:pt>
                <c:pt idx="2242">
                  <c:v>20.955</c:v>
                </c:pt>
                <c:pt idx="2243">
                  <c:v>20.964</c:v>
                </c:pt>
                <c:pt idx="2244">
                  <c:v>20.973</c:v>
                </c:pt>
                <c:pt idx="2245">
                  <c:v>20.983</c:v>
                </c:pt>
                <c:pt idx="2246">
                  <c:v>20.992</c:v>
                </c:pt>
                <c:pt idx="2247">
                  <c:v>21.001</c:v>
                </c:pt>
                <c:pt idx="2248">
                  <c:v>21.01</c:v>
                </c:pt>
                <c:pt idx="2249">
                  <c:v>21.019</c:v>
                </c:pt>
                <c:pt idx="2250">
                  <c:v>21.028</c:v>
                </c:pt>
                <c:pt idx="2251">
                  <c:v>21.037</c:v>
                </c:pt>
                <c:pt idx="2252">
                  <c:v>21.046</c:v>
                </c:pt>
                <c:pt idx="2253">
                  <c:v>21.055</c:v>
                </c:pt>
                <c:pt idx="2254">
                  <c:v>21.064</c:v>
                </c:pt>
                <c:pt idx="2255">
                  <c:v>21.073</c:v>
                </c:pt>
                <c:pt idx="2256">
                  <c:v>21.082</c:v>
                </c:pt>
                <c:pt idx="2257">
                  <c:v>21.091</c:v>
                </c:pt>
                <c:pt idx="2258">
                  <c:v>21.1</c:v>
                </c:pt>
                <c:pt idx="2259">
                  <c:v>21.109</c:v>
                </c:pt>
                <c:pt idx="2260">
                  <c:v>21.118</c:v>
                </c:pt>
                <c:pt idx="2261">
                  <c:v>21.127</c:v>
                </c:pt>
                <c:pt idx="2262">
                  <c:v>21.136</c:v>
                </c:pt>
                <c:pt idx="2263">
                  <c:v>21.145</c:v>
                </c:pt>
                <c:pt idx="2264">
                  <c:v>21.154</c:v>
                </c:pt>
                <c:pt idx="2265">
                  <c:v>21.163</c:v>
                </c:pt>
                <c:pt idx="2266">
                  <c:v>21.172</c:v>
                </c:pt>
                <c:pt idx="2267">
                  <c:v>21.181</c:v>
                </c:pt>
                <c:pt idx="2268">
                  <c:v>21.19</c:v>
                </c:pt>
                <c:pt idx="2269">
                  <c:v>21.199</c:v>
                </c:pt>
                <c:pt idx="2270">
                  <c:v>21.209</c:v>
                </c:pt>
                <c:pt idx="2271">
                  <c:v>21.219</c:v>
                </c:pt>
                <c:pt idx="2272">
                  <c:v>21.228</c:v>
                </c:pt>
                <c:pt idx="2273">
                  <c:v>21.237</c:v>
                </c:pt>
                <c:pt idx="2274">
                  <c:v>21.246</c:v>
                </c:pt>
                <c:pt idx="2275">
                  <c:v>21.255</c:v>
                </c:pt>
                <c:pt idx="2276">
                  <c:v>21.264</c:v>
                </c:pt>
                <c:pt idx="2277">
                  <c:v>21.273</c:v>
                </c:pt>
                <c:pt idx="2278">
                  <c:v>21.282</c:v>
                </c:pt>
                <c:pt idx="2279">
                  <c:v>21.291</c:v>
                </c:pt>
                <c:pt idx="2280">
                  <c:v>21.3</c:v>
                </c:pt>
                <c:pt idx="2281">
                  <c:v>21.309</c:v>
                </c:pt>
                <c:pt idx="2282">
                  <c:v>21.318</c:v>
                </c:pt>
                <c:pt idx="2283">
                  <c:v>21.327</c:v>
                </c:pt>
                <c:pt idx="2284">
                  <c:v>21.336</c:v>
                </c:pt>
                <c:pt idx="2285">
                  <c:v>21.345</c:v>
                </c:pt>
                <c:pt idx="2286">
                  <c:v>21.354</c:v>
                </c:pt>
                <c:pt idx="2287">
                  <c:v>21.364</c:v>
                </c:pt>
                <c:pt idx="2288">
                  <c:v>21.373</c:v>
                </c:pt>
                <c:pt idx="2289">
                  <c:v>21.382</c:v>
                </c:pt>
                <c:pt idx="2290">
                  <c:v>21.391</c:v>
                </c:pt>
                <c:pt idx="2291">
                  <c:v>21.4</c:v>
                </c:pt>
                <c:pt idx="2292">
                  <c:v>21.409</c:v>
                </c:pt>
                <c:pt idx="2293">
                  <c:v>21.418</c:v>
                </c:pt>
                <c:pt idx="2294">
                  <c:v>21.427</c:v>
                </c:pt>
                <c:pt idx="2295">
                  <c:v>21.436</c:v>
                </c:pt>
                <c:pt idx="2296">
                  <c:v>21.445</c:v>
                </c:pt>
                <c:pt idx="2297">
                  <c:v>21.454</c:v>
                </c:pt>
                <c:pt idx="2298">
                  <c:v>21.463</c:v>
                </c:pt>
                <c:pt idx="2299">
                  <c:v>21.472</c:v>
                </c:pt>
                <c:pt idx="2300">
                  <c:v>21.481</c:v>
                </c:pt>
                <c:pt idx="2301">
                  <c:v>21.49</c:v>
                </c:pt>
                <c:pt idx="2302">
                  <c:v>21.499</c:v>
                </c:pt>
                <c:pt idx="2303">
                  <c:v>21.508</c:v>
                </c:pt>
                <c:pt idx="2304">
                  <c:v>21.517</c:v>
                </c:pt>
                <c:pt idx="2305">
                  <c:v>21.526</c:v>
                </c:pt>
                <c:pt idx="2306">
                  <c:v>21.535</c:v>
                </c:pt>
                <c:pt idx="2307">
                  <c:v>21.544</c:v>
                </c:pt>
                <c:pt idx="2308">
                  <c:v>21.553</c:v>
                </c:pt>
                <c:pt idx="2309">
                  <c:v>21.563</c:v>
                </c:pt>
                <c:pt idx="2310">
                  <c:v>21.572</c:v>
                </c:pt>
                <c:pt idx="2311">
                  <c:v>21.581</c:v>
                </c:pt>
                <c:pt idx="2312">
                  <c:v>21.59</c:v>
                </c:pt>
                <c:pt idx="2313">
                  <c:v>21.599</c:v>
                </c:pt>
                <c:pt idx="2314">
                  <c:v>21.608</c:v>
                </c:pt>
                <c:pt idx="2315">
                  <c:v>21.617</c:v>
                </c:pt>
                <c:pt idx="2316">
                  <c:v>21.626</c:v>
                </c:pt>
                <c:pt idx="2317">
                  <c:v>21.635</c:v>
                </c:pt>
                <c:pt idx="2318">
                  <c:v>21.644</c:v>
                </c:pt>
                <c:pt idx="2319">
                  <c:v>21.653</c:v>
                </c:pt>
                <c:pt idx="2320">
                  <c:v>21.662</c:v>
                </c:pt>
                <c:pt idx="2321">
                  <c:v>21.671</c:v>
                </c:pt>
                <c:pt idx="2322">
                  <c:v>21.68</c:v>
                </c:pt>
                <c:pt idx="2323">
                  <c:v>21.689</c:v>
                </c:pt>
                <c:pt idx="2324">
                  <c:v>21.698</c:v>
                </c:pt>
                <c:pt idx="2325">
                  <c:v>21.707</c:v>
                </c:pt>
                <c:pt idx="2326">
                  <c:v>21.717</c:v>
                </c:pt>
                <c:pt idx="2327">
                  <c:v>21.726</c:v>
                </c:pt>
                <c:pt idx="2328">
                  <c:v>21.735</c:v>
                </c:pt>
                <c:pt idx="2329">
                  <c:v>21.744</c:v>
                </c:pt>
                <c:pt idx="2330">
                  <c:v>21.753</c:v>
                </c:pt>
                <c:pt idx="2331">
                  <c:v>21.762</c:v>
                </c:pt>
                <c:pt idx="2332">
                  <c:v>21.772</c:v>
                </c:pt>
                <c:pt idx="2333">
                  <c:v>21.781</c:v>
                </c:pt>
                <c:pt idx="2334">
                  <c:v>21.79</c:v>
                </c:pt>
                <c:pt idx="2335">
                  <c:v>21.799</c:v>
                </c:pt>
                <c:pt idx="2336">
                  <c:v>21.808</c:v>
                </c:pt>
                <c:pt idx="2337">
                  <c:v>21.82</c:v>
                </c:pt>
                <c:pt idx="2338">
                  <c:v>21.832</c:v>
                </c:pt>
                <c:pt idx="2339">
                  <c:v>21.843</c:v>
                </c:pt>
                <c:pt idx="2340">
                  <c:v>21.853</c:v>
                </c:pt>
                <c:pt idx="2341">
                  <c:v>21.862</c:v>
                </c:pt>
                <c:pt idx="2342">
                  <c:v>21.871</c:v>
                </c:pt>
                <c:pt idx="2343">
                  <c:v>21.88</c:v>
                </c:pt>
                <c:pt idx="2344">
                  <c:v>21.889</c:v>
                </c:pt>
                <c:pt idx="2345">
                  <c:v>21.898</c:v>
                </c:pt>
                <c:pt idx="2346">
                  <c:v>21.907</c:v>
                </c:pt>
                <c:pt idx="2347">
                  <c:v>21.916</c:v>
                </c:pt>
                <c:pt idx="2348">
                  <c:v>21.925</c:v>
                </c:pt>
                <c:pt idx="2349">
                  <c:v>21.934</c:v>
                </c:pt>
                <c:pt idx="2350">
                  <c:v>21.943</c:v>
                </c:pt>
                <c:pt idx="2351">
                  <c:v>21.952</c:v>
                </c:pt>
                <c:pt idx="2352">
                  <c:v>21.961</c:v>
                </c:pt>
                <c:pt idx="2353">
                  <c:v>21.971</c:v>
                </c:pt>
                <c:pt idx="2354">
                  <c:v>21.98</c:v>
                </c:pt>
                <c:pt idx="2355">
                  <c:v>21.989</c:v>
                </c:pt>
                <c:pt idx="2356">
                  <c:v>21.998</c:v>
                </c:pt>
                <c:pt idx="2357">
                  <c:v>22.007</c:v>
                </c:pt>
                <c:pt idx="2358">
                  <c:v>22.016</c:v>
                </c:pt>
                <c:pt idx="2359">
                  <c:v>22.025</c:v>
                </c:pt>
                <c:pt idx="2360">
                  <c:v>22.034</c:v>
                </c:pt>
                <c:pt idx="2361">
                  <c:v>22.043</c:v>
                </c:pt>
                <c:pt idx="2362">
                  <c:v>22.052</c:v>
                </c:pt>
                <c:pt idx="2363">
                  <c:v>22.061</c:v>
                </c:pt>
                <c:pt idx="2364">
                  <c:v>22.07</c:v>
                </c:pt>
                <c:pt idx="2365">
                  <c:v>22.079</c:v>
                </c:pt>
                <c:pt idx="2366">
                  <c:v>22.088</c:v>
                </c:pt>
                <c:pt idx="2367">
                  <c:v>22.097</c:v>
                </c:pt>
                <c:pt idx="2368">
                  <c:v>22.106</c:v>
                </c:pt>
                <c:pt idx="2369">
                  <c:v>22.116</c:v>
                </c:pt>
                <c:pt idx="2370">
                  <c:v>22.125</c:v>
                </c:pt>
                <c:pt idx="2371">
                  <c:v>22.134</c:v>
                </c:pt>
                <c:pt idx="2372">
                  <c:v>22.143</c:v>
                </c:pt>
                <c:pt idx="2373">
                  <c:v>22.152</c:v>
                </c:pt>
                <c:pt idx="2374">
                  <c:v>22.161</c:v>
                </c:pt>
                <c:pt idx="2375">
                  <c:v>22.171</c:v>
                </c:pt>
                <c:pt idx="2376">
                  <c:v>22.18</c:v>
                </c:pt>
                <c:pt idx="2377">
                  <c:v>22.189</c:v>
                </c:pt>
                <c:pt idx="2378">
                  <c:v>22.198</c:v>
                </c:pt>
                <c:pt idx="2379">
                  <c:v>22.207</c:v>
                </c:pt>
                <c:pt idx="2380">
                  <c:v>22.216</c:v>
                </c:pt>
                <c:pt idx="2381">
                  <c:v>22.225</c:v>
                </c:pt>
                <c:pt idx="2382">
                  <c:v>22.234</c:v>
                </c:pt>
                <c:pt idx="2383">
                  <c:v>22.243</c:v>
                </c:pt>
                <c:pt idx="2384">
                  <c:v>22.253</c:v>
                </c:pt>
                <c:pt idx="2385">
                  <c:v>22.262</c:v>
                </c:pt>
                <c:pt idx="2386">
                  <c:v>22.271</c:v>
                </c:pt>
                <c:pt idx="2387">
                  <c:v>22.28</c:v>
                </c:pt>
                <c:pt idx="2388">
                  <c:v>22.289</c:v>
                </c:pt>
                <c:pt idx="2389">
                  <c:v>22.298</c:v>
                </c:pt>
                <c:pt idx="2390">
                  <c:v>22.307</c:v>
                </c:pt>
                <c:pt idx="2391">
                  <c:v>22.316</c:v>
                </c:pt>
                <c:pt idx="2392">
                  <c:v>22.328</c:v>
                </c:pt>
                <c:pt idx="2393">
                  <c:v>22.337</c:v>
                </c:pt>
                <c:pt idx="2394">
                  <c:v>22.346</c:v>
                </c:pt>
                <c:pt idx="2395">
                  <c:v>22.355</c:v>
                </c:pt>
                <c:pt idx="2396">
                  <c:v>22.364</c:v>
                </c:pt>
                <c:pt idx="2397">
                  <c:v>22.373</c:v>
                </c:pt>
                <c:pt idx="2398">
                  <c:v>22.382</c:v>
                </c:pt>
                <c:pt idx="2399">
                  <c:v>22.391</c:v>
                </c:pt>
                <c:pt idx="2400">
                  <c:v>22.4</c:v>
                </c:pt>
                <c:pt idx="2401">
                  <c:v>22.409</c:v>
                </c:pt>
                <c:pt idx="2402">
                  <c:v>22.418</c:v>
                </c:pt>
                <c:pt idx="2403">
                  <c:v>22.427</c:v>
                </c:pt>
                <c:pt idx="2404">
                  <c:v>22.436</c:v>
                </c:pt>
                <c:pt idx="2405">
                  <c:v>22.445</c:v>
                </c:pt>
                <c:pt idx="2406">
                  <c:v>22.455</c:v>
                </c:pt>
                <c:pt idx="2407">
                  <c:v>22.464</c:v>
                </c:pt>
                <c:pt idx="2408">
                  <c:v>22.473</c:v>
                </c:pt>
                <c:pt idx="2409">
                  <c:v>22.483</c:v>
                </c:pt>
                <c:pt idx="2410">
                  <c:v>22.494</c:v>
                </c:pt>
                <c:pt idx="2411">
                  <c:v>22.503</c:v>
                </c:pt>
                <c:pt idx="2412">
                  <c:v>22.512</c:v>
                </c:pt>
                <c:pt idx="2413">
                  <c:v>22.521</c:v>
                </c:pt>
                <c:pt idx="2414">
                  <c:v>22.53</c:v>
                </c:pt>
                <c:pt idx="2415">
                  <c:v>22.539</c:v>
                </c:pt>
                <c:pt idx="2416">
                  <c:v>22.548</c:v>
                </c:pt>
                <c:pt idx="2417">
                  <c:v>22.557</c:v>
                </c:pt>
                <c:pt idx="2418">
                  <c:v>22.566</c:v>
                </c:pt>
                <c:pt idx="2419">
                  <c:v>22.576</c:v>
                </c:pt>
                <c:pt idx="2420">
                  <c:v>22.585</c:v>
                </c:pt>
                <c:pt idx="2421">
                  <c:v>22.594</c:v>
                </c:pt>
                <c:pt idx="2422">
                  <c:v>22.603</c:v>
                </c:pt>
                <c:pt idx="2423">
                  <c:v>22.613</c:v>
                </c:pt>
                <c:pt idx="2424">
                  <c:v>22.622</c:v>
                </c:pt>
                <c:pt idx="2425">
                  <c:v>22.631</c:v>
                </c:pt>
                <c:pt idx="2426">
                  <c:v>22.64</c:v>
                </c:pt>
                <c:pt idx="2427">
                  <c:v>22.649</c:v>
                </c:pt>
                <c:pt idx="2428">
                  <c:v>22.658</c:v>
                </c:pt>
                <c:pt idx="2429">
                  <c:v>22.667</c:v>
                </c:pt>
                <c:pt idx="2430">
                  <c:v>22.676</c:v>
                </c:pt>
                <c:pt idx="2431">
                  <c:v>22.685</c:v>
                </c:pt>
                <c:pt idx="2432">
                  <c:v>22.694</c:v>
                </c:pt>
                <c:pt idx="2433">
                  <c:v>22.703</c:v>
                </c:pt>
                <c:pt idx="2434">
                  <c:v>22.712</c:v>
                </c:pt>
                <c:pt idx="2435">
                  <c:v>22.721</c:v>
                </c:pt>
                <c:pt idx="2436">
                  <c:v>22.73</c:v>
                </c:pt>
                <c:pt idx="2437">
                  <c:v>22.739</c:v>
                </c:pt>
                <c:pt idx="2438">
                  <c:v>22.748</c:v>
                </c:pt>
                <c:pt idx="2439">
                  <c:v>22.757</c:v>
                </c:pt>
                <c:pt idx="2440">
                  <c:v>22.766</c:v>
                </c:pt>
                <c:pt idx="2441">
                  <c:v>22.775</c:v>
                </c:pt>
                <c:pt idx="2442">
                  <c:v>22.784</c:v>
                </c:pt>
                <c:pt idx="2443">
                  <c:v>22.793</c:v>
                </c:pt>
                <c:pt idx="2444">
                  <c:v>22.802</c:v>
                </c:pt>
                <c:pt idx="2445">
                  <c:v>22.811</c:v>
                </c:pt>
                <c:pt idx="2446">
                  <c:v>22.822</c:v>
                </c:pt>
                <c:pt idx="2447">
                  <c:v>22.833</c:v>
                </c:pt>
                <c:pt idx="2448">
                  <c:v>22.843</c:v>
                </c:pt>
                <c:pt idx="2449">
                  <c:v>22.854</c:v>
                </c:pt>
                <c:pt idx="2450">
                  <c:v>22.863</c:v>
                </c:pt>
                <c:pt idx="2451">
                  <c:v>22.872</c:v>
                </c:pt>
                <c:pt idx="2452">
                  <c:v>22.882</c:v>
                </c:pt>
                <c:pt idx="2453">
                  <c:v>22.891</c:v>
                </c:pt>
                <c:pt idx="2454">
                  <c:v>22.901</c:v>
                </c:pt>
                <c:pt idx="2455">
                  <c:v>22.91</c:v>
                </c:pt>
                <c:pt idx="2456">
                  <c:v>22.919</c:v>
                </c:pt>
                <c:pt idx="2457">
                  <c:v>22.928</c:v>
                </c:pt>
                <c:pt idx="2458">
                  <c:v>22.938</c:v>
                </c:pt>
                <c:pt idx="2459">
                  <c:v>22.947</c:v>
                </c:pt>
                <c:pt idx="2460">
                  <c:v>22.956</c:v>
                </c:pt>
                <c:pt idx="2461">
                  <c:v>22.965</c:v>
                </c:pt>
                <c:pt idx="2462">
                  <c:v>22.974</c:v>
                </c:pt>
                <c:pt idx="2463">
                  <c:v>22.983</c:v>
                </c:pt>
                <c:pt idx="2464">
                  <c:v>22.992</c:v>
                </c:pt>
                <c:pt idx="2465">
                  <c:v>23.001</c:v>
                </c:pt>
                <c:pt idx="2466">
                  <c:v>23.01</c:v>
                </c:pt>
                <c:pt idx="2467">
                  <c:v>23.019</c:v>
                </c:pt>
                <c:pt idx="2468">
                  <c:v>23.028</c:v>
                </c:pt>
                <c:pt idx="2469">
                  <c:v>23.037</c:v>
                </c:pt>
                <c:pt idx="2470">
                  <c:v>23.054</c:v>
                </c:pt>
                <c:pt idx="2471">
                  <c:v>23.063</c:v>
                </c:pt>
                <c:pt idx="2472">
                  <c:v>23.072</c:v>
                </c:pt>
                <c:pt idx="2473">
                  <c:v>23.081</c:v>
                </c:pt>
                <c:pt idx="2474">
                  <c:v>23.09</c:v>
                </c:pt>
                <c:pt idx="2475">
                  <c:v>23.1</c:v>
                </c:pt>
                <c:pt idx="2476">
                  <c:v>23.109</c:v>
                </c:pt>
                <c:pt idx="2477">
                  <c:v>23.118</c:v>
                </c:pt>
                <c:pt idx="2478">
                  <c:v>23.128</c:v>
                </c:pt>
                <c:pt idx="2479">
                  <c:v>23.137</c:v>
                </c:pt>
                <c:pt idx="2480">
                  <c:v>23.146</c:v>
                </c:pt>
                <c:pt idx="2481">
                  <c:v>23.155</c:v>
                </c:pt>
                <c:pt idx="2482">
                  <c:v>23.165</c:v>
                </c:pt>
                <c:pt idx="2483">
                  <c:v>23.174</c:v>
                </c:pt>
                <c:pt idx="2484">
                  <c:v>23.183</c:v>
                </c:pt>
                <c:pt idx="2485">
                  <c:v>23.192</c:v>
                </c:pt>
                <c:pt idx="2486">
                  <c:v>23.201</c:v>
                </c:pt>
                <c:pt idx="2487">
                  <c:v>23.21</c:v>
                </c:pt>
                <c:pt idx="2488">
                  <c:v>23.219</c:v>
                </c:pt>
                <c:pt idx="2489">
                  <c:v>23.228</c:v>
                </c:pt>
                <c:pt idx="2490">
                  <c:v>23.237</c:v>
                </c:pt>
                <c:pt idx="2491">
                  <c:v>23.246</c:v>
                </c:pt>
                <c:pt idx="2492">
                  <c:v>23.255</c:v>
                </c:pt>
                <c:pt idx="2493">
                  <c:v>23.264</c:v>
                </c:pt>
                <c:pt idx="2494">
                  <c:v>23.273</c:v>
                </c:pt>
                <c:pt idx="2495">
                  <c:v>23.282</c:v>
                </c:pt>
                <c:pt idx="2496">
                  <c:v>23.291</c:v>
                </c:pt>
                <c:pt idx="2497">
                  <c:v>23.3</c:v>
                </c:pt>
                <c:pt idx="2498">
                  <c:v>23.309</c:v>
                </c:pt>
                <c:pt idx="2499">
                  <c:v>23.318</c:v>
                </c:pt>
                <c:pt idx="2500">
                  <c:v>23.327</c:v>
                </c:pt>
                <c:pt idx="2501">
                  <c:v>23.336</c:v>
                </c:pt>
                <c:pt idx="2502">
                  <c:v>23.345</c:v>
                </c:pt>
                <c:pt idx="2503">
                  <c:v>23.354</c:v>
                </c:pt>
                <c:pt idx="2504">
                  <c:v>23.363</c:v>
                </c:pt>
                <c:pt idx="2505">
                  <c:v>23.372</c:v>
                </c:pt>
                <c:pt idx="2506">
                  <c:v>23.381</c:v>
                </c:pt>
                <c:pt idx="2507">
                  <c:v>23.39</c:v>
                </c:pt>
                <c:pt idx="2508">
                  <c:v>23.399</c:v>
                </c:pt>
                <c:pt idx="2509">
                  <c:v>23.408</c:v>
                </c:pt>
                <c:pt idx="2510">
                  <c:v>23.418</c:v>
                </c:pt>
                <c:pt idx="2511">
                  <c:v>23.427</c:v>
                </c:pt>
                <c:pt idx="2512">
                  <c:v>23.436</c:v>
                </c:pt>
                <c:pt idx="2513">
                  <c:v>23.445</c:v>
                </c:pt>
                <c:pt idx="2514">
                  <c:v>23.454</c:v>
                </c:pt>
                <c:pt idx="2515">
                  <c:v>23.463</c:v>
                </c:pt>
                <c:pt idx="2516">
                  <c:v>23.472</c:v>
                </c:pt>
                <c:pt idx="2517">
                  <c:v>23.481</c:v>
                </c:pt>
                <c:pt idx="2518">
                  <c:v>23.49</c:v>
                </c:pt>
                <c:pt idx="2519">
                  <c:v>23.499</c:v>
                </c:pt>
                <c:pt idx="2520">
                  <c:v>23.508</c:v>
                </c:pt>
                <c:pt idx="2521">
                  <c:v>23.517</c:v>
                </c:pt>
                <c:pt idx="2522">
                  <c:v>23.526</c:v>
                </c:pt>
                <c:pt idx="2523">
                  <c:v>23.535</c:v>
                </c:pt>
                <c:pt idx="2524">
                  <c:v>23.544</c:v>
                </c:pt>
                <c:pt idx="2525">
                  <c:v>23.553</c:v>
                </c:pt>
                <c:pt idx="2526">
                  <c:v>23.564</c:v>
                </c:pt>
                <c:pt idx="2527">
                  <c:v>23.574</c:v>
                </c:pt>
                <c:pt idx="2528">
                  <c:v>23.584</c:v>
                </c:pt>
                <c:pt idx="2529">
                  <c:v>23.593</c:v>
                </c:pt>
                <c:pt idx="2530">
                  <c:v>23.602</c:v>
                </c:pt>
                <c:pt idx="2531">
                  <c:v>23.611</c:v>
                </c:pt>
                <c:pt idx="2532">
                  <c:v>23.62</c:v>
                </c:pt>
                <c:pt idx="2533">
                  <c:v>23.629</c:v>
                </c:pt>
                <c:pt idx="2534">
                  <c:v>23.638</c:v>
                </c:pt>
                <c:pt idx="2535">
                  <c:v>23.648</c:v>
                </c:pt>
                <c:pt idx="2536">
                  <c:v>23.657</c:v>
                </c:pt>
                <c:pt idx="2537">
                  <c:v>23.666</c:v>
                </c:pt>
                <c:pt idx="2538">
                  <c:v>23.675</c:v>
                </c:pt>
                <c:pt idx="2539">
                  <c:v>23.684</c:v>
                </c:pt>
                <c:pt idx="2540">
                  <c:v>23.694</c:v>
                </c:pt>
                <c:pt idx="2541">
                  <c:v>23.703</c:v>
                </c:pt>
                <c:pt idx="2542">
                  <c:v>23.712</c:v>
                </c:pt>
                <c:pt idx="2543">
                  <c:v>23.721</c:v>
                </c:pt>
                <c:pt idx="2544">
                  <c:v>23.73</c:v>
                </c:pt>
                <c:pt idx="2545">
                  <c:v>23.739</c:v>
                </c:pt>
                <c:pt idx="2546">
                  <c:v>23.748</c:v>
                </c:pt>
                <c:pt idx="2547">
                  <c:v>23.757</c:v>
                </c:pt>
                <c:pt idx="2548">
                  <c:v>23.766</c:v>
                </c:pt>
                <c:pt idx="2549">
                  <c:v>23.775</c:v>
                </c:pt>
                <c:pt idx="2550">
                  <c:v>23.784</c:v>
                </c:pt>
                <c:pt idx="2551">
                  <c:v>23.793</c:v>
                </c:pt>
                <c:pt idx="2552">
                  <c:v>23.802</c:v>
                </c:pt>
                <c:pt idx="2553">
                  <c:v>23.811</c:v>
                </c:pt>
                <c:pt idx="2554">
                  <c:v>23.82</c:v>
                </c:pt>
                <c:pt idx="2555">
                  <c:v>23.835</c:v>
                </c:pt>
                <c:pt idx="2556">
                  <c:v>23.845</c:v>
                </c:pt>
                <c:pt idx="2557">
                  <c:v>23.854</c:v>
                </c:pt>
                <c:pt idx="2558">
                  <c:v>23.863</c:v>
                </c:pt>
                <c:pt idx="2559">
                  <c:v>23.872</c:v>
                </c:pt>
                <c:pt idx="2560">
                  <c:v>23.881</c:v>
                </c:pt>
                <c:pt idx="2561">
                  <c:v>23.89</c:v>
                </c:pt>
                <c:pt idx="2562">
                  <c:v>23.899</c:v>
                </c:pt>
                <c:pt idx="2563">
                  <c:v>23.908</c:v>
                </c:pt>
                <c:pt idx="2564">
                  <c:v>23.917</c:v>
                </c:pt>
                <c:pt idx="2565">
                  <c:v>23.926</c:v>
                </c:pt>
                <c:pt idx="2566">
                  <c:v>23.935</c:v>
                </c:pt>
                <c:pt idx="2567">
                  <c:v>23.944</c:v>
                </c:pt>
                <c:pt idx="2568">
                  <c:v>23.954</c:v>
                </c:pt>
                <c:pt idx="2569">
                  <c:v>23.963</c:v>
                </c:pt>
                <c:pt idx="2570">
                  <c:v>23.972</c:v>
                </c:pt>
                <c:pt idx="2571">
                  <c:v>23.982</c:v>
                </c:pt>
                <c:pt idx="2572">
                  <c:v>23.991</c:v>
                </c:pt>
                <c:pt idx="2573">
                  <c:v>24</c:v>
                </c:pt>
                <c:pt idx="2574">
                  <c:v>24.009</c:v>
                </c:pt>
                <c:pt idx="2575">
                  <c:v>24.018</c:v>
                </c:pt>
                <c:pt idx="2576">
                  <c:v>24.027</c:v>
                </c:pt>
                <c:pt idx="2577">
                  <c:v>24.036</c:v>
                </c:pt>
                <c:pt idx="2578">
                  <c:v>24.045</c:v>
                </c:pt>
                <c:pt idx="2579">
                  <c:v>24.055</c:v>
                </c:pt>
                <c:pt idx="2580">
                  <c:v>24.064</c:v>
                </c:pt>
                <c:pt idx="2581">
                  <c:v>24.073</c:v>
                </c:pt>
                <c:pt idx="2582">
                  <c:v>24.083</c:v>
                </c:pt>
                <c:pt idx="2583">
                  <c:v>24.092</c:v>
                </c:pt>
                <c:pt idx="2584">
                  <c:v>24.102</c:v>
                </c:pt>
                <c:pt idx="2585">
                  <c:v>24.111</c:v>
                </c:pt>
                <c:pt idx="2586">
                  <c:v>24.12</c:v>
                </c:pt>
                <c:pt idx="2587">
                  <c:v>24.129</c:v>
                </c:pt>
                <c:pt idx="2588">
                  <c:v>24.138</c:v>
                </c:pt>
                <c:pt idx="2589">
                  <c:v>24.147</c:v>
                </c:pt>
                <c:pt idx="2590">
                  <c:v>24.156</c:v>
                </c:pt>
                <c:pt idx="2591">
                  <c:v>24.165</c:v>
                </c:pt>
                <c:pt idx="2592">
                  <c:v>24.174</c:v>
                </c:pt>
                <c:pt idx="2593">
                  <c:v>24.183</c:v>
                </c:pt>
                <c:pt idx="2594">
                  <c:v>24.192</c:v>
                </c:pt>
                <c:pt idx="2595">
                  <c:v>24.201</c:v>
                </c:pt>
                <c:pt idx="2596">
                  <c:v>24.21</c:v>
                </c:pt>
                <c:pt idx="2597">
                  <c:v>24.219</c:v>
                </c:pt>
                <c:pt idx="2598">
                  <c:v>24.229</c:v>
                </c:pt>
                <c:pt idx="2599">
                  <c:v>24.238</c:v>
                </c:pt>
                <c:pt idx="2600">
                  <c:v>24.247</c:v>
                </c:pt>
                <c:pt idx="2601">
                  <c:v>24.256</c:v>
                </c:pt>
                <c:pt idx="2602">
                  <c:v>24.265</c:v>
                </c:pt>
                <c:pt idx="2603">
                  <c:v>24.274</c:v>
                </c:pt>
                <c:pt idx="2604">
                  <c:v>24.283</c:v>
                </c:pt>
                <c:pt idx="2605">
                  <c:v>24.292</c:v>
                </c:pt>
                <c:pt idx="2606">
                  <c:v>24.301</c:v>
                </c:pt>
                <c:pt idx="2607">
                  <c:v>24.31</c:v>
                </c:pt>
                <c:pt idx="2608">
                  <c:v>24.319</c:v>
                </c:pt>
                <c:pt idx="2609">
                  <c:v>24.329</c:v>
                </c:pt>
                <c:pt idx="2610">
                  <c:v>24.34</c:v>
                </c:pt>
                <c:pt idx="2611">
                  <c:v>24.352</c:v>
                </c:pt>
                <c:pt idx="2612">
                  <c:v>24.363</c:v>
                </c:pt>
                <c:pt idx="2613">
                  <c:v>24.372</c:v>
                </c:pt>
                <c:pt idx="2614">
                  <c:v>24.381</c:v>
                </c:pt>
                <c:pt idx="2615">
                  <c:v>24.39</c:v>
                </c:pt>
                <c:pt idx="2616">
                  <c:v>24.399</c:v>
                </c:pt>
                <c:pt idx="2617">
                  <c:v>24.408</c:v>
                </c:pt>
                <c:pt idx="2618">
                  <c:v>24.418</c:v>
                </c:pt>
                <c:pt idx="2619">
                  <c:v>24.427</c:v>
                </c:pt>
                <c:pt idx="2620">
                  <c:v>24.436</c:v>
                </c:pt>
                <c:pt idx="2621">
                  <c:v>24.445</c:v>
                </c:pt>
                <c:pt idx="2622">
                  <c:v>24.454</c:v>
                </c:pt>
                <c:pt idx="2623">
                  <c:v>24.463</c:v>
                </c:pt>
                <c:pt idx="2624">
                  <c:v>24.472</c:v>
                </c:pt>
                <c:pt idx="2625">
                  <c:v>24.481</c:v>
                </c:pt>
                <c:pt idx="2626">
                  <c:v>24.491</c:v>
                </c:pt>
                <c:pt idx="2627">
                  <c:v>24.5</c:v>
                </c:pt>
                <c:pt idx="2628">
                  <c:v>24.51</c:v>
                </c:pt>
                <c:pt idx="2629">
                  <c:v>24.519</c:v>
                </c:pt>
                <c:pt idx="2630">
                  <c:v>24.528</c:v>
                </c:pt>
                <c:pt idx="2631">
                  <c:v>24.537</c:v>
                </c:pt>
                <c:pt idx="2632">
                  <c:v>24.546</c:v>
                </c:pt>
                <c:pt idx="2633">
                  <c:v>24.555</c:v>
                </c:pt>
                <c:pt idx="2634">
                  <c:v>24.564</c:v>
                </c:pt>
                <c:pt idx="2635">
                  <c:v>24.573</c:v>
                </c:pt>
                <c:pt idx="2636">
                  <c:v>24.582</c:v>
                </c:pt>
                <c:pt idx="2637">
                  <c:v>24.591</c:v>
                </c:pt>
                <c:pt idx="2638">
                  <c:v>24.6</c:v>
                </c:pt>
                <c:pt idx="2639">
                  <c:v>24.609</c:v>
                </c:pt>
                <c:pt idx="2640">
                  <c:v>24.618</c:v>
                </c:pt>
                <c:pt idx="2641">
                  <c:v>24.627</c:v>
                </c:pt>
                <c:pt idx="2642">
                  <c:v>24.636</c:v>
                </c:pt>
                <c:pt idx="2643">
                  <c:v>24.645</c:v>
                </c:pt>
                <c:pt idx="2644">
                  <c:v>24.654</c:v>
                </c:pt>
                <c:pt idx="2645">
                  <c:v>24.663</c:v>
                </c:pt>
                <c:pt idx="2646">
                  <c:v>24.672</c:v>
                </c:pt>
                <c:pt idx="2647">
                  <c:v>24.681</c:v>
                </c:pt>
                <c:pt idx="2648">
                  <c:v>24.69</c:v>
                </c:pt>
                <c:pt idx="2649">
                  <c:v>24.7</c:v>
                </c:pt>
                <c:pt idx="2650">
                  <c:v>24.709</c:v>
                </c:pt>
                <c:pt idx="2651">
                  <c:v>24.718</c:v>
                </c:pt>
                <c:pt idx="2652">
                  <c:v>24.727</c:v>
                </c:pt>
                <c:pt idx="2653">
                  <c:v>24.736</c:v>
                </c:pt>
                <c:pt idx="2654">
                  <c:v>24.745</c:v>
                </c:pt>
                <c:pt idx="2655">
                  <c:v>24.754</c:v>
                </c:pt>
                <c:pt idx="2656">
                  <c:v>24.763</c:v>
                </c:pt>
                <c:pt idx="2657">
                  <c:v>24.772</c:v>
                </c:pt>
                <c:pt idx="2658">
                  <c:v>24.781</c:v>
                </c:pt>
                <c:pt idx="2659">
                  <c:v>24.79</c:v>
                </c:pt>
                <c:pt idx="2660">
                  <c:v>24.799</c:v>
                </c:pt>
                <c:pt idx="2661">
                  <c:v>24.808</c:v>
                </c:pt>
                <c:pt idx="2662">
                  <c:v>24.817</c:v>
                </c:pt>
                <c:pt idx="2663">
                  <c:v>24.826</c:v>
                </c:pt>
                <c:pt idx="2664">
                  <c:v>24.836</c:v>
                </c:pt>
                <c:pt idx="2665">
                  <c:v>24.845</c:v>
                </c:pt>
                <c:pt idx="2666">
                  <c:v>24.854</c:v>
                </c:pt>
                <c:pt idx="2667">
                  <c:v>24.863</c:v>
                </c:pt>
                <c:pt idx="2668">
                  <c:v>24.872</c:v>
                </c:pt>
                <c:pt idx="2669">
                  <c:v>24.881</c:v>
                </c:pt>
                <c:pt idx="2670">
                  <c:v>24.89</c:v>
                </c:pt>
                <c:pt idx="2671">
                  <c:v>24.899</c:v>
                </c:pt>
                <c:pt idx="2672">
                  <c:v>24.908</c:v>
                </c:pt>
                <c:pt idx="2673">
                  <c:v>24.917</c:v>
                </c:pt>
                <c:pt idx="2674">
                  <c:v>24.926</c:v>
                </c:pt>
                <c:pt idx="2675">
                  <c:v>24.935</c:v>
                </c:pt>
                <c:pt idx="2676">
                  <c:v>24.944</c:v>
                </c:pt>
                <c:pt idx="2677">
                  <c:v>24.953</c:v>
                </c:pt>
                <c:pt idx="2678">
                  <c:v>24.962</c:v>
                </c:pt>
                <c:pt idx="2679">
                  <c:v>24.971</c:v>
                </c:pt>
                <c:pt idx="2680">
                  <c:v>24.98</c:v>
                </c:pt>
                <c:pt idx="2681">
                  <c:v>24.989</c:v>
                </c:pt>
                <c:pt idx="2682">
                  <c:v>24.999</c:v>
                </c:pt>
                <c:pt idx="2683">
                  <c:v>25.008</c:v>
                </c:pt>
                <c:pt idx="2684">
                  <c:v>25.017</c:v>
                </c:pt>
                <c:pt idx="2685">
                  <c:v>25.026</c:v>
                </c:pt>
                <c:pt idx="2686">
                  <c:v>25.035</c:v>
                </c:pt>
                <c:pt idx="2687">
                  <c:v>25.044</c:v>
                </c:pt>
                <c:pt idx="2688">
                  <c:v>25.054</c:v>
                </c:pt>
                <c:pt idx="2689">
                  <c:v>25.063</c:v>
                </c:pt>
                <c:pt idx="2690">
                  <c:v>25.072</c:v>
                </c:pt>
                <c:pt idx="2691">
                  <c:v>25.081</c:v>
                </c:pt>
                <c:pt idx="2692">
                  <c:v>25.09</c:v>
                </c:pt>
                <c:pt idx="2693">
                  <c:v>25.099</c:v>
                </c:pt>
                <c:pt idx="2694">
                  <c:v>25.108</c:v>
                </c:pt>
                <c:pt idx="2695">
                  <c:v>25.117</c:v>
                </c:pt>
                <c:pt idx="2696">
                  <c:v>25.126</c:v>
                </c:pt>
                <c:pt idx="2697">
                  <c:v>25.136</c:v>
                </c:pt>
                <c:pt idx="2698">
                  <c:v>25.145</c:v>
                </c:pt>
                <c:pt idx="2699">
                  <c:v>25.154</c:v>
                </c:pt>
                <c:pt idx="2700">
                  <c:v>25.163</c:v>
                </c:pt>
                <c:pt idx="2701">
                  <c:v>25.172</c:v>
                </c:pt>
                <c:pt idx="2702">
                  <c:v>25.181</c:v>
                </c:pt>
                <c:pt idx="2703">
                  <c:v>25.19</c:v>
                </c:pt>
                <c:pt idx="2704">
                  <c:v>25.199</c:v>
                </c:pt>
                <c:pt idx="2705">
                  <c:v>25.208</c:v>
                </c:pt>
                <c:pt idx="2706">
                  <c:v>25.217</c:v>
                </c:pt>
                <c:pt idx="2707">
                  <c:v>25.226</c:v>
                </c:pt>
                <c:pt idx="2708">
                  <c:v>25.235</c:v>
                </c:pt>
                <c:pt idx="2709">
                  <c:v>25.244</c:v>
                </c:pt>
                <c:pt idx="2710">
                  <c:v>25.253</c:v>
                </c:pt>
                <c:pt idx="2711">
                  <c:v>25.262</c:v>
                </c:pt>
                <c:pt idx="2712">
                  <c:v>25.271</c:v>
                </c:pt>
                <c:pt idx="2713">
                  <c:v>25.28</c:v>
                </c:pt>
                <c:pt idx="2714">
                  <c:v>25.289</c:v>
                </c:pt>
                <c:pt idx="2715">
                  <c:v>25.298</c:v>
                </c:pt>
                <c:pt idx="2716">
                  <c:v>25.307</c:v>
                </c:pt>
                <c:pt idx="2717">
                  <c:v>25.316</c:v>
                </c:pt>
                <c:pt idx="2718">
                  <c:v>25.326</c:v>
                </c:pt>
                <c:pt idx="2719">
                  <c:v>25.337</c:v>
                </c:pt>
                <c:pt idx="2720">
                  <c:v>25.346</c:v>
                </c:pt>
                <c:pt idx="2721">
                  <c:v>25.355</c:v>
                </c:pt>
                <c:pt idx="2722">
                  <c:v>25.365</c:v>
                </c:pt>
                <c:pt idx="2723">
                  <c:v>25.374</c:v>
                </c:pt>
                <c:pt idx="2724">
                  <c:v>25.383</c:v>
                </c:pt>
                <c:pt idx="2725">
                  <c:v>25.392</c:v>
                </c:pt>
                <c:pt idx="2726">
                  <c:v>25.401</c:v>
                </c:pt>
                <c:pt idx="2727">
                  <c:v>25.41</c:v>
                </c:pt>
                <c:pt idx="2728">
                  <c:v>25.419</c:v>
                </c:pt>
                <c:pt idx="2729">
                  <c:v>25.428</c:v>
                </c:pt>
                <c:pt idx="2730">
                  <c:v>25.437</c:v>
                </c:pt>
                <c:pt idx="2731">
                  <c:v>25.446</c:v>
                </c:pt>
                <c:pt idx="2732">
                  <c:v>25.455</c:v>
                </c:pt>
                <c:pt idx="2733">
                  <c:v>25.464</c:v>
                </c:pt>
                <c:pt idx="2734">
                  <c:v>25.473</c:v>
                </c:pt>
                <c:pt idx="2735">
                  <c:v>25.482</c:v>
                </c:pt>
                <c:pt idx="2736">
                  <c:v>25.491</c:v>
                </c:pt>
                <c:pt idx="2737">
                  <c:v>25.5</c:v>
                </c:pt>
                <c:pt idx="2738">
                  <c:v>25.509</c:v>
                </c:pt>
                <c:pt idx="2739">
                  <c:v>25.519</c:v>
                </c:pt>
                <c:pt idx="2740">
                  <c:v>25.528</c:v>
                </c:pt>
                <c:pt idx="2741">
                  <c:v>25.537</c:v>
                </c:pt>
                <c:pt idx="2742">
                  <c:v>25.546</c:v>
                </c:pt>
                <c:pt idx="2743">
                  <c:v>25.555</c:v>
                </c:pt>
                <c:pt idx="2744">
                  <c:v>25.564</c:v>
                </c:pt>
                <c:pt idx="2745">
                  <c:v>25.573</c:v>
                </c:pt>
                <c:pt idx="2746">
                  <c:v>25.583</c:v>
                </c:pt>
                <c:pt idx="2747">
                  <c:v>25.593</c:v>
                </c:pt>
                <c:pt idx="2748">
                  <c:v>25.602</c:v>
                </c:pt>
                <c:pt idx="2749">
                  <c:v>25.611</c:v>
                </c:pt>
                <c:pt idx="2750">
                  <c:v>25.62</c:v>
                </c:pt>
                <c:pt idx="2751">
                  <c:v>25.629</c:v>
                </c:pt>
                <c:pt idx="2752">
                  <c:v>25.638</c:v>
                </c:pt>
                <c:pt idx="2753">
                  <c:v>25.647</c:v>
                </c:pt>
                <c:pt idx="2754">
                  <c:v>25.656</c:v>
                </c:pt>
                <c:pt idx="2755">
                  <c:v>25.665</c:v>
                </c:pt>
                <c:pt idx="2756">
                  <c:v>25.674</c:v>
                </c:pt>
                <c:pt idx="2757">
                  <c:v>25.683</c:v>
                </c:pt>
                <c:pt idx="2758">
                  <c:v>25.692</c:v>
                </c:pt>
                <c:pt idx="2759">
                  <c:v>25.701</c:v>
                </c:pt>
                <c:pt idx="2760">
                  <c:v>25.71</c:v>
                </c:pt>
                <c:pt idx="2761">
                  <c:v>25.719</c:v>
                </c:pt>
                <c:pt idx="2762">
                  <c:v>25.728</c:v>
                </c:pt>
                <c:pt idx="2763">
                  <c:v>25.738</c:v>
                </c:pt>
                <c:pt idx="2764">
                  <c:v>25.747</c:v>
                </c:pt>
                <c:pt idx="2765">
                  <c:v>25.756</c:v>
                </c:pt>
                <c:pt idx="2766">
                  <c:v>25.765</c:v>
                </c:pt>
                <c:pt idx="2767">
                  <c:v>25.774</c:v>
                </c:pt>
                <c:pt idx="2768">
                  <c:v>25.783</c:v>
                </c:pt>
                <c:pt idx="2769">
                  <c:v>25.792</c:v>
                </c:pt>
                <c:pt idx="2770">
                  <c:v>25.801</c:v>
                </c:pt>
                <c:pt idx="2771">
                  <c:v>25.81</c:v>
                </c:pt>
                <c:pt idx="2772">
                  <c:v>25.819</c:v>
                </c:pt>
                <c:pt idx="2773">
                  <c:v>25.828</c:v>
                </c:pt>
                <c:pt idx="2774">
                  <c:v>25.842</c:v>
                </c:pt>
                <c:pt idx="2775">
                  <c:v>25.853</c:v>
                </c:pt>
                <c:pt idx="2776">
                  <c:v>25.863</c:v>
                </c:pt>
                <c:pt idx="2777">
                  <c:v>25.872</c:v>
                </c:pt>
                <c:pt idx="2778">
                  <c:v>25.882</c:v>
                </c:pt>
                <c:pt idx="2779">
                  <c:v>25.891</c:v>
                </c:pt>
                <c:pt idx="2780">
                  <c:v>25.9</c:v>
                </c:pt>
                <c:pt idx="2781">
                  <c:v>25.91</c:v>
                </c:pt>
                <c:pt idx="2782">
                  <c:v>25.919</c:v>
                </c:pt>
                <c:pt idx="2783">
                  <c:v>25.928</c:v>
                </c:pt>
                <c:pt idx="2784">
                  <c:v>25.937</c:v>
                </c:pt>
                <c:pt idx="2785">
                  <c:v>25.946</c:v>
                </c:pt>
                <c:pt idx="2786">
                  <c:v>25.955</c:v>
                </c:pt>
                <c:pt idx="2787">
                  <c:v>25.964</c:v>
                </c:pt>
                <c:pt idx="2788">
                  <c:v>25.973</c:v>
                </c:pt>
                <c:pt idx="2789">
                  <c:v>25.983</c:v>
                </c:pt>
                <c:pt idx="2790">
                  <c:v>25.992</c:v>
                </c:pt>
                <c:pt idx="2791">
                  <c:v>26.001</c:v>
                </c:pt>
                <c:pt idx="2792">
                  <c:v>26.011</c:v>
                </c:pt>
                <c:pt idx="2793">
                  <c:v>26.02</c:v>
                </c:pt>
                <c:pt idx="2794">
                  <c:v>26.029</c:v>
                </c:pt>
                <c:pt idx="2795">
                  <c:v>26.038</c:v>
                </c:pt>
                <c:pt idx="2796">
                  <c:v>26.047</c:v>
                </c:pt>
                <c:pt idx="2797">
                  <c:v>26.056</c:v>
                </c:pt>
                <c:pt idx="2798">
                  <c:v>26.065</c:v>
                </c:pt>
                <c:pt idx="2799">
                  <c:v>26.074</c:v>
                </c:pt>
                <c:pt idx="2800">
                  <c:v>26.083</c:v>
                </c:pt>
                <c:pt idx="2801">
                  <c:v>26.092</c:v>
                </c:pt>
                <c:pt idx="2802">
                  <c:v>26.101</c:v>
                </c:pt>
                <c:pt idx="2803">
                  <c:v>26.11</c:v>
                </c:pt>
                <c:pt idx="2804">
                  <c:v>26.119</c:v>
                </c:pt>
                <c:pt idx="2805">
                  <c:v>26.128</c:v>
                </c:pt>
                <c:pt idx="2806">
                  <c:v>26.137</c:v>
                </c:pt>
                <c:pt idx="2807">
                  <c:v>26.146</c:v>
                </c:pt>
                <c:pt idx="2808">
                  <c:v>26.156</c:v>
                </c:pt>
                <c:pt idx="2809">
                  <c:v>26.165</c:v>
                </c:pt>
                <c:pt idx="2810">
                  <c:v>26.174</c:v>
                </c:pt>
                <c:pt idx="2811">
                  <c:v>26.183</c:v>
                </c:pt>
                <c:pt idx="2812">
                  <c:v>26.192</c:v>
                </c:pt>
                <c:pt idx="2813">
                  <c:v>26.201</c:v>
                </c:pt>
                <c:pt idx="2814">
                  <c:v>26.21</c:v>
                </c:pt>
                <c:pt idx="2815">
                  <c:v>26.219</c:v>
                </c:pt>
                <c:pt idx="2816">
                  <c:v>26.228</c:v>
                </c:pt>
                <c:pt idx="2817">
                  <c:v>26.237</c:v>
                </c:pt>
                <c:pt idx="2818">
                  <c:v>26.246</c:v>
                </c:pt>
                <c:pt idx="2819">
                  <c:v>26.255</c:v>
                </c:pt>
                <c:pt idx="2820">
                  <c:v>26.264</c:v>
                </c:pt>
                <c:pt idx="2821">
                  <c:v>26.273</c:v>
                </c:pt>
                <c:pt idx="2822">
                  <c:v>26.282</c:v>
                </c:pt>
                <c:pt idx="2823">
                  <c:v>26.291</c:v>
                </c:pt>
                <c:pt idx="2824">
                  <c:v>26.301</c:v>
                </c:pt>
                <c:pt idx="2825">
                  <c:v>26.31</c:v>
                </c:pt>
                <c:pt idx="2826">
                  <c:v>26.319</c:v>
                </c:pt>
                <c:pt idx="2827">
                  <c:v>26.328</c:v>
                </c:pt>
                <c:pt idx="2828">
                  <c:v>26.338</c:v>
                </c:pt>
                <c:pt idx="2829">
                  <c:v>26.349</c:v>
                </c:pt>
                <c:pt idx="2830">
                  <c:v>26.361</c:v>
                </c:pt>
                <c:pt idx="2831">
                  <c:v>26.37</c:v>
                </c:pt>
                <c:pt idx="2832">
                  <c:v>26.85</c:v>
                </c:pt>
                <c:pt idx="2833">
                  <c:v>26.862</c:v>
                </c:pt>
                <c:pt idx="2834">
                  <c:v>26.873</c:v>
                </c:pt>
                <c:pt idx="2835">
                  <c:v>26.884</c:v>
                </c:pt>
                <c:pt idx="2836">
                  <c:v>26.894</c:v>
                </c:pt>
                <c:pt idx="2837">
                  <c:v>26.903</c:v>
                </c:pt>
                <c:pt idx="2838">
                  <c:v>26.912</c:v>
                </c:pt>
                <c:pt idx="2839">
                  <c:v>26.921</c:v>
                </c:pt>
                <c:pt idx="2840">
                  <c:v>26.93</c:v>
                </c:pt>
                <c:pt idx="2841">
                  <c:v>26.939</c:v>
                </c:pt>
                <c:pt idx="2842">
                  <c:v>26.948</c:v>
                </c:pt>
                <c:pt idx="2843">
                  <c:v>26.957</c:v>
                </c:pt>
                <c:pt idx="2844">
                  <c:v>26.966</c:v>
                </c:pt>
                <c:pt idx="2845">
                  <c:v>26.975</c:v>
                </c:pt>
                <c:pt idx="2846">
                  <c:v>26.984</c:v>
                </c:pt>
                <c:pt idx="2847">
                  <c:v>26.993</c:v>
                </c:pt>
                <c:pt idx="2848">
                  <c:v>27.002</c:v>
                </c:pt>
                <c:pt idx="2849">
                  <c:v>27.011</c:v>
                </c:pt>
                <c:pt idx="2850">
                  <c:v>27.02</c:v>
                </c:pt>
                <c:pt idx="2851">
                  <c:v>27.029</c:v>
                </c:pt>
                <c:pt idx="2852">
                  <c:v>27.038</c:v>
                </c:pt>
                <c:pt idx="2853">
                  <c:v>27.047</c:v>
                </c:pt>
                <c:pt idx="2854">
                  <c:v>27.056</c:v>
                </c:pt>
                <c:pt idx="2855">
                  <c:v>27.065</c:v>
                </c:pt>
                <c:pt idx="2856">
                  <c:v>27.074</c:v>
                </c:pt>
                <c:pt idx="2857">
                  <c:v>27.083</c:v>
                </c:pt>
                <c:pt idx="2858">
                  <c:v>27.092</c:v>
                </c:pt>
                <c:pt idx="2859">
                  <c:v>27.101</c:v>
                </c:pt>
                <c:pt idx="2860">
                  <c:v>27.11</c:v>
                </c:pt>
                <c:pt idx="2861">
                  <c:v>27.119</c:v>
                </c:pt>
                <c:pt idx="2862">
                  <c:v>27.128</c:v>
                </c:pt>
                <c:pt idx="2863">
                  <c:v>27.137</c:v>
                </c:pt>
                <c:pt idx="2864">
                  <c:v>27.146</c:v>
                </c:pt>
                <c:pt idx="2865">
                  <c:v>27.155</c:v>
                </c:pt>
                <c:pt idx="2866">
                  <c:v>27.164</c:v>
                </c:pt>
                <c:pt idx="2867">
                  <c:v>27.173</c:v>
                </c:pt>
                <c:pt idx="2868">
                  <c:v>27.182</c:v>
                </c:pt>
                <c:pt idx="2869">
                  <c:v>27.191</c:v>
                </c:pt>
                <c:pt idx="2870">
                  <c:v>27.2</c:v>
                </c:pt>
                <c:pt idx="2871">
                  <c:v>27.209</c:v>
                </c:pt>
                <c:pt idx="2872">
                  <c:v>27.218</c:v>
                </c:pt>
                <c:pt idx="2873">
                  <c:v>27.227</c:v>
                </c:pt>
                <c:pt idx="2874">
                  <c:v>27.248</c:v>
                </c:pt>
                <c:pt idx="2875">
                  <c:v>27.257</c:v>
                </c:pt>
                <c:pt idx="2876">
                  <c:v>27.266</c:v>
                </c:pt>
                <c:pt idx="2877">
                  <c:v>27.275</c:v>
                </c:pt>
                <c:pt idx="2878">
                  <c:v>27.284</c:v>
                </c:pt>
                <c:pt idx="2879">
                  <c:v>27.293</c:v>
                </c:pt>
                <c:pt idx="2880">
                  <c:v>27.302</c:v>
                </c:pt>
                <c:pt idx="2881">
                  <c:v>27.311</c:v>
                </c:pt>
                <c:pt idx="2882">
                  <c:v>27.32</c:v>
                </c:pt>
                <c:pt idx="2883">
                  <c:v>27.329</c:v>
                </c:pt>
                <c:pt idx="2884">
                  <c:v>27.338</c:v>
                </c:pt>
                <c:pt idx="2885">
                  <c:v>27.348</c:v>
                </c:pt>
                <c:pt idx="2886">
                  <c:v>27.357</c:v>
                </c:pt>
                <c:pt idx="2887">
                  <c:v>27.366</c:v>
                </c:pt>
                <c:pt idx="2888">
                  <c:v>27.375</c:v>
                </c:pt>
                <c:pt idx="2889">
                  <c:v>27.384</c:v>
                </c:pt>
                <c:pt idx="2890">
                  <c:v>27.393</c:v>
                </c:pt>
                <c:pt idx="2891">
                  <c:v>27.402</c:v>
                </c:pt>
                <c:pt idx="2892">
                  <c:v>27.411</c:v>
                </c:pt>
                <c:pt idx="2893">
                  <c:v>27.42</c:v>
                </c:pt>
                <c:pt idx="2894">
                  <c:v>27.429</c:v>
                </c:pt>
                <c:pt idx="2895">
                  <c:v>27.438</c:v>
                </c:pt>
                <c:pt idx="2896">
                  <c:v>27.447</c:v>
                </c:pt>
                <c:pt idx="2897">
                  <c:v>27.456</c:v>
                </c:pt>
                <c:pt idx="2898">
                  <c:v>27.465</c:v>
                </c:pt>
                <c:pt idx="2899">
                  <c:v>27.474</c:v>
                </c:pt>
                <c:pt idx="2900">
                  <c:v>27.483</c:v>
                </c:pt>
                <c:pt idx="2901">
                  <c:v>27.492</c:v>
                </c:pt>
                <c:pt idx="2902">
                  <c:v>27.501</c:v>
                </c:pt>
                <c:pt idx="2903">
                  <c:v>27.51</c:v>
                </c:pt>
                <c:pt idx="2904">
                  <c:v>27.519</c:v>
                </c:pt>
                <c:pt idx="2905">
                  <c:v>27.528</c:v>
                </c:pt>
                <c:pt idx="2906">
                  <c:v>27.537</c:v>
                </c:pt>
                <c:pt idx="2907">
                  <c:v>27.546</c:v>
                </c:pt>
                <c:pt idx="2908">
                  <c:v>27.555</c:v>
                </c:pt>
                <c:pt idx="2909">
                  <c:v>27.564</c:v>
                </c:pt>
                <c:pt idx="2910">
                  <c:v>27.573</c:v>
                </c:pt>
                <c:pt idx="2911">
                  <c:v>27.583</c:v>
                </c:pt>
                <c:pt idx="2912">
                  <c:v>27.592</c:v>
                </c:pt>
                <c:pt idx="2913">
                  <c:v>27.601</c:v>
                </c:pt>
                <c:pt idx="2914">
                  <c:v>27.61</c:v>
                </c:pt>
                <c:pt idx="2915">
                  <c:v>27.619</c:v>
                </c:pt>
                <c:pt idx="2916">
                  <c:v>27.628</c:v>
                </c:pt>
                <c:pt idx="2917">
                  <c:v>27.637</c:v>
                </c:pt>
                <c:pt idx="2918">
                  <c:v>27.646</c:v>
                </c:pt>
                <c:pt idx="2919">
                  <c:v>27.655</c:v>
                </c:pt>
                <c:pt idx="2920">
                  <c:v>27.664</c:v>
                </c:pt>
                <c:pt idx="2921">
                  <c:v>27.673</c:v>
                </c:pt>
                <c:pt idx="2922">
                  <c:v>27.683</c:v>
                </c:pt>
                <c:pt idx="2923">
                  <c:v>27.692</c:v>
                </c:pt>
                <c:pt idx="2924">
                  <c:v>27.702</c:v>
                </c:pt>
                <c:pt idx="2925">
                  <c:v>27.711</c:v>
                </c:pt>
                <c:pt idx="2926">
                  <c:v>27.72</c:v>
                </c:pt>
                <c:pt idx="2927">
                  <c:v>27.729</c:v>
                </c:pt>
                <c:pt idx="2928">
                  <c:v>27.738</c:v>
                </c:pt>
                <c:pt idx="2929">
                  <c:v>27.747</c:v>
                </c:pt>
                <c:pt idx="2930">
                  <c:v>27.756</c:v>
                </c:pt>
                <c:pt idx="2931">
                  <c:v>27.765</c:v>
                </c:pt>
                <c:pt idx="2932">
                  <c:v>27.774</c:v>
                </c:pt>
                <c:pt idx="2933">
                  <c:v>27.783</c:v>
                </c:pt>
                <c:pt idx="2934">
                  <c:v>27.792</c:v>
                </c:pt>
                <c:pt idx="2935">
                  <c:v>27.801</c:v>
                </c:pt>
                <c:pt idx="2936">
                  <c:v>27.81</c:v>
                </c:pt>
                <c:pt idx="2937">
                  <c:v>27.819</c:v>
                </c:pt>
                <c:pt idx="2938">
                  <c:v>27.828</c:v>
                </c:pt>
                <c:pt idx="2939">
                  <c:v>27.837</c:v>
                </c:pt>
                <c:pt idx="2940">
                  <c:v>27.849</c:v>
                </c:pt>
                <c:pt idx="2941">
                  <c:v>27.86</c:v>
                </c:pt>
                <c:pt idx="2942">
                  <c:v>27.872</c:v>
                </c:pt>
                <c:pt idx="2943">
                  <c:v>27.881</c:v>
                </c:pt>
                <c:pt idx="2944">
                  <c:v>27.89</c:v>
                </c:pt>
                <c:pt idx="2945">
                  <c:v>27.899</c:v>
                </c:pt>
                <c:pt idx="2946">
                  <c:v>27.908</c:v>
                </c:pt>
                <c:pt idx="2947">
                  <c:v>27.917</c:v>
                </c:pt>
                <c:pt idx="2948">
                  <c:v>27.926</c:v>
                </c:pt>
                <c:pt idx="2949">
                  <c:v>27.935</c:v>
                </c:pt>
                <c:pt idx="2950">
                  <c:v>27.944</c:v>
                </c:pt>
                <c:pt idx="2951">
                  <c:v>27.953</c:v>
                </c:pt>
                <c:pt idx="2952">
                  <c:v>27.962</c:v>
                </c:pt>
                <c:pt idx="2953">
                  <c:v>27.971</c:v>
                </c:pt>
                <c:pt idx="2954">
                  <c:v>27.98</c:v>
                </c:pt>
                <c:pt idx="2955">
                  <c:v>27.989</c:v>
                </c:pt>
                <c:pt idx="2956">
                  <c:v>27.999</c:v>
                </c:pt>
                <c:pt idx="2957">
                  <c:v>28.008</c:v>
                </c:pt>
                <c:pt idx="2958">
                  <c:v>28.017</c:v>
                </c:pt>
                <c:pt idx="2959">
                  <c:v>28.026</c:v>
                </c:pt>
                <c:pt idx="2960">
                  <c:v>28.035</c:v>
                </c:pt>
                <c:pt idx="2961">
                  <c:v>28.044</c:v>
                </c:pt>
                <c:pt idx="2962">
                  <c:v>28.054</c:v>
                </c:pt>
                <c:pt idx="2963">
                  <c:v>28.063</c:v>
                </c:pt>
                <c:pt idx="2964">
                  <c:v>28.072</c:v>
                </c:pt>
                <c:pt idx="2965">
                  <c:v>28.081</c:v>
                </c:pt>
                <c:pt idx="2966">
                  <c:v>28.09</c:v>
                </c:pt>
                <c:pt idx="2967">
                  <c:v>28.099</c:v>
                </c:pt>
                <c:pt idx="2968">
                  <c:v>28.108</c:v>
                </c:pt>
                <c:pt idx="2969">
                  <c:v>28.117</c:v>
                </c:pt>
                <c:pt idx="2970">
                  <c:v>28.126</c:v>
                </c:pt>
                <c:pt idx="2971">
                  <c:v>28.135</c:v>
                </c:pt>
                <c:pt idx="2972">
                  <c:v>28.144</c:v>
                </c:pt>
                <c:pt idx="2973">
                  <c:v>28.153</c:v>
                </c:pt>
                <c:pt idx="2974">
                  <c:v>28.162</c:v>
                </c:pt>
                <c:pt idx="2975">
                  <c:v>28.171</c:v>
                </c:pt>
                <c:pt idx="2976">
                  <c:v>28.18</c:v>
                </c:pt>
                <c:pt idx="2977">
                  <c:v>28.189</c:v>
                </c:pt>
                <c:pt idx="2978">
                  <c:v>28.198</c:v>
                </c:pt>
                <c:pt idx="2979">
                  <c:v>28.208</c:v>
                </c:pt>
                <c:pt idx="2980">
                  <c:v>28.217</c:v>
                </c:pt>
                <c:pt idx="2981">
                  <c:v>28.226</c:v>
                </c:pt>
                <c:pt idx="2982">
                  <c:v>28.235</c:v>
                </c:pt>
                <c:pt idx="2983">
                  <c:v>28.244</c:v>
                </c:pt>
                <c:pt idx="2984">
                  <c:v>28.253</c:v>
                </c:pt>
                <c:pt idx="2985">
                  <c:v>28.262</c:v>
                </c:pt>
                <c:pt idx="2986">
                  <c:v>28.271</c:v>
                </c:pt>
                <c:pt idx="2987">
                  <c:v>28.28</c:v>
                </c:pt>
                <c:pt idx="2988">
                  <c:v>28.289</c:v>
                </c:pt>
                <c:pt idx="2989">
                  <c:v>28.298</c:v>
                </c:pt>
                <c:pt idx="2990">
                  <c:v>28.307</c:v>
                </c:pt>
                <c:pt idx="2991">
                  <c:v>28.316</c:v>
                </c:pt>
                <c:pt idx="2992">
                  <c:v>28.325</c:v>
                </c:pt>
                <c:pt idx="2993">
                  <c:v>28.334</c:v>
                </c:pt>
                <c:pt idx="2994">
                  <c:v>28.343</c:v>
                </c:pt>
                <c:pt idx="2995">
                  <c:v>28.355</c:v>
                </c:pt>
                <c:pt idx="2996">
                  <c:v>28.368</c:v>
                </c:pt>
                <c:pt idx="2997">
                  <c:v>28.379</c:v>
                </c:pt>
                <c:pt idx="2998">
                  <c:v>28.389</c:v>
                </c:pt>
                <c:pt idx="2999">
                  <c:v>28.398</c:v>
                </c:pt>
                <c:pt idx="3000">
                  <c:v>28.407</c:v>
                </c:pt>
                <c:pt idx="3001">
                  <c:v>28.416</c:v>
                </c:pt>
                <c:pt idx="3002">
                  <c:v>28.425</c:v>
                </c:pt>
                <c:pt idx="3003">
                  <c:v>28.434</c:v>
                </c:pt>
                <c:pt idx="3004">
                  <c:v>28.443</c:v>
                </c:pt>
                <c:pt idx="3005">
                  <c:v>28.452</c:v>
                </c:pt>
                <c:pt idx="3006">
                  <c:v>28.461</c:v>
                </c:pt>
                <c:pt idx="3007">
                  <c:v>28.47</c:v>
                </c:pt>
                <c:pt idx="3008">
                  <c:v>28.479</c:v>
                </c:pt>
                <c:pt idx="3009">
                  <c:v>28.488</c:v>
                </c:pt>
                <c:pt idx="3010">
                  <c:v>28.498</c:v>
                </c:pt>
                <c:pt idx="3011">
                  <c:v>28.507</c:v>
                </c:pt>
                <c:pt idx="3012">
                  <c:v>28.516</c:v>
                </c:pt>
                <c:pt idx="3013">
                  <c:v>28.525</c:v>
                </c:pt>
                <c:pt idx="3014">
                  <c:v>28.534</c:v>
                </c:pt>
                <c:pt idx="3015">
                  <c:v>28.544</c:v>
                </c:pt>
                <c:pt idx="3016">
                  <c:v>28.553</c:v>
                </c:pt>
                <c:pt idx="3017">
                  <c:v>28.562</c:v>
                </c:pt>
                <c:pt idx="3018">
                  <c:v>28.571</c:v>
                </c:pt>
                <c:pt idx="3019">
                  <c:v>28.58</c:v>
                </c:pt>
                <c:pt idx="3020">
                  <c:v>28.589</c:v>
                </c:pt>
                <c:pt idx="3021">
                  <c:v>28.598</c:v>
                </c:pt>
                <c:pt idx="3022">
                  <c:v>28.607</c:v>
                </c:pt>
                <c:pt idx="3023">
                  <c:v>28.616</c:v>
                </c:pt>
                <c:pt idx="3024">
                  <c:v>28.625</c:v>
                </c:pt>
                <c:pt idx="3025">
                  <c:v>28.634</c:v>
                </c:pt>
                <c:pt idx="3026">
                  <c:v>28.643</c:v>
                </c:pt>
                <c:pt idx="3027">
                  <c:v>28.652</c:v>
                </c:pt>
                <c:pt idx="3028">
                  <c:v>28.661</c:v>
                </c:pt>
                <c:pt idx="3029">
                  <c:v>28.67</c:v>
                </c:pt>
                <c:pt idx="3030">
                  <c:v>28.679</c:v>
                </c:pt>
                <c:pt idx="3031">
                  <c:v>28.688</c:v>
                </c:pt>
                <c:pt idx="3032">
                  <c:v>28.697</c:v>
                </c:pt>
                <c:pt idx="3033">
                  <c:v>28.706</c:v>
                </c:pt>
                <c:pt idx="3034">
                  <c:v>28.715</c:v>
                </c:pt>
                <c:pt idx="3035">
                  <c:v>28.724</c:v>
                </c:pt>
                <c:pt idx="3036">
                  <c:v>28.733</c:v>
                </c:pt>
                <c:pt idx="3037">
                  <c:v>28.742</c:v>
                </c:pt>
                <c:pt idx="3038">
                  <c:v>28.751</c:v>
                </c:pt>
                <c:pt idx="3039">
                  <c:v>28.76</c:v>
                </c:pt>
                <c:pt idx="3040">
                  <c:v>28.769</c:v>
                </c:pt>
                <c:pt idx="3041">
                  <c:v>28.778</c:v>
                </c:pt>
                <c:pt idx="3042">
                  <c:v>28.788</c:v>
                </c:pt>
                <c:pt idx="3043">
                  <c:v>28.797</c:v>
                </c:pt>
                <c:pt idx="3044">
                  <c:v>28.806</c:v>
                </c:pt>
                <c:pt idx="3045">
                  <c:v>28.815</c:v>
                </c:pt>
                <c:pt idx="3046">
                  <c:v>28.824</c:v>
                </c:pt>
                <c:pt idx="3047">
                  <c:v>28.833</c:v>
                </c:pt>
                <c:pt idx="3048">
                  <c:v>28.842</c:v>
                </c:pt>
                <c:pt idx="3049">
                  <c:v>28.853</c:v>
                </c:pt>
                <c:pt idx="3050">
                  <c:v>28.864</c:v>
                </c:pt>
                <c:pt idx="3051">
                  <c:v>28.875</c:v>
                </c:pt>
                <c:pt idx="3052">
                  <c:v>28.884</c:v>
                </c:pt>
                <c:pt idx="3053">
                  <c:v>28.893</c:v>
                </c:pt>
                <c:pt idx="3054">
                  <c:v>28.902</c:v>
                </c:pt>
                <c:pt idx="3055">
                  <c:v>28.911</c:v>
                </c:pt>
                <c:pt idx="3056">
                  <c:v>28.92</c:v>
                </c:pt>
                <c:pt idx="3057">
                  <c:v>28.929</c:v>
                </c:pt>
                <c:pt idx="3058">
                  <c:v>28.938</c:v>
                </c:pt>
                <c:pt idx="3059">
                  <c:v>28.947</c:v>
                </c:pt>
                <c:pt idx="3060">
                  <c:v>28.956</c:v>
                </c:pt>
                <c:pt idx="3061">
                  <c:v>28.965</c:v>
                </c:pt>
                <c:pt idx="3062">
                  <c:v>28.974</c:v>
                </c:pt>
                <c:pt idx="3063">
                  <c:v>28.983</c:v>
                </c:pt>
                <c:pt idx="3064">
                  <c:v>28.992</c:v>
                </c:pt>
                <c:pt idx="3065">
                  <c:v>29.001</c:v>
                </c:pt>
                <c:pt idx="3066">
                  <c:v>29.01</c:v>
                </c:pt>
                <c:pt idx="3067">
                  <c:v>29.019</c:v>
                </c:pt>
                <c:pt idx="3068">
                  <c:v>29.028</c:v>
                </c:pt>
                <c:pt idx="3069">
                  <c:v>29.037</c:v>
                </c:pt>
                <c:pt idx="3070">
                  <c:v>29.046</c:v>
                </c:pt>
                <c:pt idx="3071">
                  <c:v>29.055</c:v>
                </c:pt>
                <c:pt idx="3072">
                  <c:v>29.064</c:v>
                </c:pt>
                <c:pt idx="3073">
                  <c:v>29.073</c:v>
                </c:pt>
                <c:pt idx="3074">
                  <c:v>29.082</c:v>
                </c:pt>
                <c:pt idx="3075">
                  <c:v>29.091</c:v>
                </c:pt>
                <c:pt idx="3076">
                  <c:v>29.1</c:v>
                </c:pt>
                <c:pt idx="3077">
                  <c:v>29.109</c:v>
                </c:pt>
                <c:pt idx="3078">
                  <c:v>29.119</c:v>
                </c:pt>
                <c:pt idx="3079">
                  <c:v>29.128</c:v>
                </c:pt>
                <c:pt idx="3080">
                  <c:v>29.137</c:v>
                </c:pt>
                <c:pt idx="3081">
                  <c:v>29.146</c:v>
                </c:pt>
                <c:pt idx="3082">
                  <c:v>29.155</c:v>
                </c:pt>
                <c:pt idx="3083">
                  <c:v>29.164</c:v>
                </c:pt>
                <c:pt idx="3084">
                  <c:v>29.173</c:v>
                </c:pt>
                <c:pt idx="3085">
                  <c:v>29.183</c:v>
                </c:pt>
                <c:pt idx="3086">
                  <c:v>29.193</c:v>
                </c:pt>
                <c:pt idx="3087">
                  <c:v>29.202</c:v>
                </c:pt>
                <c:pt idx="3088">
                  <c:v>29.211</c:v>
                </c:pt>
                <c:pt idx="3089">
                  <c:v>29.22</c:v>
                </c:pt>
                <c:pt idx="3090">
                  <c:v>29.229</c:v>
                </c:pt>
                <c:pt idx="3091">
                  <c:v>29.238</c:v>
                </c:pt>
                <c:pt idx="3092">
                  <c:v>29.248</c:v>
                </c:pt>
                <c:pt idx="3093">
                  <c:v>29.257</c:v>
                </c:pt>
                <c:pt idx="3094">
                  <c:v>29.266</c:v>
                </c:pt>
                <c:pt idx="3095">
                  <c:v>29.275</c:v>
                </c:pt>
                <c:pt idx="3096">
                  <c:v>29.284</c:v>
                </c:pt>
                <c:pt idx="3097">
                  <c:v>29.293</c:v>
                </c:pt>
                <c:pt idx="3098">
                  <c:v>29.302</c:v>
                </c:pt>
                <c:pt idx="3099">
                  <c:v>29.313</c:v>
                </c:pt>
                <c:pt idx="3100">
                  <c:v>29.322</c:v>
                </c:pt>
                <c:pt idx="3101">
                  <c:v>29.331</c:v>
                </c:pt>
                <c:pt idx="3102">
                  <c:v>29.34</c:v>
                </c:pt>
                <c:pt idx="3103">
                  <c:v>29.349</c:v>
                </c:pt>
                <c:pt idx="3104">
                  <c:v>29.358</c:v>
                </c:pt>
                <c:pt idx="3105">
                  <c:v>29.369</c:v>
                </c:pt>
                <c:pt idx="3106">
                  <c:v>29.38</c:v>
                </c:pt>
                <c:pt idx="3107">
                  <c:v>29.389</c:v>
                </c:pt>
                <c:pt idx="3108">
                  <c:v>29.398</c:v>
                </c:pt>
                <c:pt idx="3109">
                  <c:v>29.407</c:v>
                </c:pt>
                <c:pt idx="3110">
                  <c:v>29.416</c:v>
                </c:pt>
                <c:pt idx="3111">
                  <c:v>29.425</c:v>
                </c:pt>
                <c:pt idx="3112">
                  <c:v>29.434</c:v>
                </c:pt>
                <c:pt idx="3113">
                  <c:v>29.443</c:v>
                </c:pt>
                <c:pt idx="3114">
                  <c:v>29.452</c:v>
                </c:pt>
                <c:pt idx="3115">
                  <c:v>29.461</c:v>
                </c:pt>
                <c:pt idx="3116">
                  <c:v>29.47</c:v>
                </c:pt>
                <c:pt idx="3117">
                  <c:v>29.479</c:v>
                </c:pt>
                <c:pt idx="3118">
                  <c:v>29.488</c:v>
                </c:pt>
                <c:pt idx="3119">
                  <c:v>29.497</c:v>
                </c:pt>
                <c:pt idx="3120">
                  <c:v>29.507</c:v>
                </c:pt>
                <c:pt idx="3121">
                  <c:v>29.516</c:v>
                </c:pt>
                <c:pt idx="3122">
                  <c:v>29.525</c:v>
                </c:pt>
                <c:pt idx="3123">
                  <c:v>29.534</c:v>
                </c:pt>
                <c:pt idx="3124">
                  <c:v>29.543</c:v>
                </c:pt>
                <c:pt idx="3125">
                  <c:v>29.552</c:v>
                </c:pt>
                <c:pt idx="3126">
                  <c:v>29.561</c:v>
                </c:pt>
                <c:pt idx="3127">
                  <c:v>29.57</c:v>
                </c:pt>
                <c:pt idx="3128">
                  <c:v>29.579</c:v>
                </c:pt>
                <c:pt idx="3129">
                  <c:v>29.588</c:v>
                </c:pt>
                <c:pt idx="3130">
                  <c:v>29.597</c:v>
                </c:pt>
                <c:pt idx="3131">
                  <c:v>29.606</c:v>
                </c:pt>
                <c:pt idx="3132">
                  <c:v>29.615</c:v>
                </c:pt>
                <c:pt idx="3133">
                  <c:v>29.624</c:v>
                </c:pt>
                <c:pt idx="3134">
                  <c:v>29.633</c:v>
                </c:pt>
                <c:pt idx="3135">
                  <c:v>29.642</c:v>
                </c:pt>
                <c:pt idx="3136">
                  <c:v>29.651</c:v>
                </c:pt>
                <c:pt idx="3137">
                  <c:v>29.66</c:v>
                </c:pt>
                <c:pt idx="3138">
                  <c:v>29.669</c:v>
                </c:pt>
                <c:pt idx="3139">
                  <c:v>29.678</c:v>
                </c:pt>
                <c:pt idx="3140">
                  <c:v>29.687</c:v>
                </c:pt>
                <c:pt idx="3141">
                  <c:v>29.696</c:v>
                </c:pt>
                <c:pt idx="3142">
                  <c:v>29.705</c:v>
                </c:pt>
                <c:pt idx="3143">
                  <c:v>29.714</c:v>
                </c:pt>
                <c:pt idx="3144">
                  <c:v>29.724</c:v>
                </c:pt>
                <c:pt idx="3145">
                  <c:v>29.733</c:v>
                </c:pt>
                <c:pt idx="3146">
                  <c:v>29.742</c:v>
                </c:pt>
                <c:pt idx="3147">
                  <c:v>29.751</c:v>
                </c:pt>
                <c:pt idx="3148">
                  <c:v>29.76</c:v>
                </c:pt>
                <c:pt idx="3149">
                  <c:v>29.769</c:v>
                </c:pt>
                <c:pt idx="3150">
                  <c:v>29.778</c:v>
                </c:pt>
                <c:pt idx="3151">
                  <c:v>29.787</c:v>
                </c:pt>
                <c:pt idx="3152">
                  <c:v>29.797</c:v>
                </c:pt>
                <c:pt idx="3153">
                  <c:v>29.806</c:v>
                </c:pt>
                <c:pt idx="3154">
                  <c:v>29.815</c:v>
                </c:pt>
                <c:pt idx="3155">
                  <c:v>29.824</c:v>
                </c:pt>
                <c:pt idx="3156">
                  <c:v>29.833</c:v>
                </c:pt>
                <c:pt idx="3157">
                  <c:v>29.842</c:v>
                </c:pt>
                <c:pt idx="3158">
                  <c:v>29.851</c:v>
                </c:pt>
                <c:pt idx="3159">
                  <c:v>29.861</c:v>
                </c:pt>
                <c:pt idx="3160">
                  <c:v>29.873</c:v>
                </c:pt>
                <c:pt idx="3161">
                  <c:v>29.884</c:v>
                </c:pt>
                <c:pt idx="3162">
                  <c:v>29.893</c:v>
                </c:pt>
                <c:pt idx="3163">
                  <c:v>29.902</c:v>
                </c:pt>
                <c:pt idx="3164">
                  <c:v>29.911</c:v>
                </c:pt>
                <c:pt idx="3165">
                  <c:v>29.92</c:v>
                </c:pt>
                <c:pt idx="3166">
                  <c:v>29.929</c:v>
                </c:pt>
                <c:pt idx="3167">
                  <c:v>29.938</c:v>
                </c:pt>
                <c:pt idx="3168">
                  <c:v>29.947</c:v>
                </c:pt>
                <c:pt idx="3169">
                  <c:v>29.957</c:v>
                </c:pt>
                <c:pt idx="3170">
                  <c:v>29.966</c:v>
                </c:pt>
                <c:pt idx="3171">
                  <c:v>29.975</c:v>
                </c:pt>
                <c:pt idx="3172">
                  <c:v>29.984</c:v>
                </c:pt>
                <c:pt idx="3173">
                  <c:v>29.993</c:v>
                </c:pt>
                <c:pt idx="3174">
                  <c:v>30.002</c:v>
                </c:pt>
                <c:pt idx="3175">
                  <c:v>30.011</c:v>
                </c:pt>
                <c:pt idx="3176">
                  <c:v>30.02</c:v>
                </c:pt>
                <c:pt idx="3177">
                  <c:v>30.029</c:v>
                </c:pt>
                <c:pt idx="3178">
                  <c:v>30.038</c:v>
                </c:pt>
                <c:pt idx="3179">
                  <c:v>30.047</c:v>
                </c:pt>
                <c:pt idx="3180">
                  <c:v>30.056</c:v>
                </c:pt>
                <c:pt idx="3181">
                  <c:v>30.065</c:v>
                </c:pt>
                <c:pt idx="3182">
                  <c:v>30.074</c:v>
                </c:pt>
                <c:pt idx="3183">
                  <c:v>30.083</c:v>
                </c:pt>
                <c:pt idx="3184">
                  <c:v>30.092</c:v>
                </c:pt>
                <c:pt idx="3185">
                  <c:v>30.102</c:v>
                </c:pt>
                <c:pt idx="3186">
                  <c:v>30.111</c:v>
                </c:pt>
                <c:pt idx="3187">
                  <c:v>30.12</c:v>
                </c:pt>
                <c:pt idx="3188">
                  <c:v>30.129</c:v>
                </c:pt>
                <c:pt idx="3189">
                  <c:v>30.138</c:v>
                </c:pt>
                <c:pt idx="3190">
                  <c:v>30.147</c:v>
                </c:pt>
                <c:pt idx="3191">
                  <c:v>30.157</c:v>
                </c:pt>
                <c:pt idx="3192">
                  <c:v>30.166</c:v>
                </c:pt>
                <c:pt idx="3193">
                  <c:v>30.175</c:v>
                </c:pt>
                <c:pt idx="3194">
                  <c:v>30.184</c:v>
                </c:pt>
                <c:pt idx="3195">
                  <c:v>30.193</c:v>
                </c:pt>
                <c:pt idx="3196">
                  <c:v>30.202</c:v>
                </c:pt>
                <c:pt idx="3197">
                  <c:v>30.211</c:v>
                </c:pt>
                <c:pt idx="3198">
                  <c:v>30.22</c:v>
                </c:pt>
                <c:pt idx="3199">
                  <c:v>30.229</c:v>
                </c:pt>
                <c:pt idx="3200">
                  <c:v>30.238</c:v>
                </c:pt>
                <c:pt idx="3201">
                  <c:v>30.247</c:v>
                </c:pt>
                <c:pt idx="3202">
                  <c:v>30.256</c:v>
                </c:pt>
                <c:pt idx="3203">
                  <c:v>30.265</c:v>
                </c:pt>
                <c:pt idx="3204">
                  <c:v>30.274</c:v>
                </c:pt>
                <c:pt idx="3205">
                  <c:v>30.283</c:v>
                </c:pt>
                <c:pt idx="3206">
                  <c:v>30.292</c:v>
                </c:pt>
                <c:pt idx="3207">
                  <c:v>30.301</c:v>
                </c:pt>
                <c:pt idx="3208">
                  <c:v>30.31</c:v>
                </c:pt>
                <c:pt idx="3209">
                  <c:v>30.32</c:v>
                </c:pt>
                <c:pt idx="3210">
                  <c:v>30.329</c:v>
                </c:pt>
                <c:pt idx="3211">
                  <c:v>30.338</c:v>
                </c:pt>
                <c:pt idx="3212">
                  <c:v>30.348</c:v>
                </c:pt>
                <c:pt idx="3213">
                  <c:v>30.357</c:v>
                </c:pt>
                <c:pt idx="3214">
                  <c:v>30.366</c:v>
                </c:pt>
                <c:pt idx="3215">
                  <c:v>30.375</c:v>
                </c:pt>
                <c:pt idx="3216">
                  <c:v>30.384</c:v>
                </c:pt>
                <c:pt idx="3217">
                  <c:v>30.393</c:v>
                </c:pt>
                <c:pt idx="3218">
                  <c:v>30.402</c:v>
                </c:pt>
                <c:pt idx="3219">
                  <c:v>30.411</c:v>
                </c:pt>
                <c:pt idx="3220">
                  <c:v>30.421</c:v>
                </c:pt>
                <c:pt idx="3221">
                  <c:v>30.43</c:v>
                </c:pt>
                <c:pt idx="3222">
                  <c:v>30.439</c:v>
                </c:pt>
                <c:pt idx="3223">
                  <c:v>30.448</c:v>
                </c:pt>
                <c:pt idx="3224">
                  <c:v>30.457</c:v>
                </c:pt>
                <c:pt idx="3225">
                  <c:v>30.466</c:v>
                </c:pt>
                <c:pt idx="3226">
                  <c:v>30.475</c:v>
                </c:pt>
                <c:pt idx="3227">
                  <c:v>30.484</c:v>
                </c:pt>
                <c:pt idx="3228">
                  <c:v>30.493</c:v>
                </c:pt>
                <c:pt idx="3229">
                  <c:v>30.502</c:v>
                </c:pt>
                <c:pt idx="3230">
                  <c:v>30.511</c:v>
                </c:pt>
                <c:pt idx="3231">
                  <c:v>30.52</c:v>
                </c:pt>
                <c:pt idx="3232">
                  <c:v>30.529</c:v>
                </c:pt>
                <c:pt idx="3233">
                  <c:v>30.538</c:v>
                </c:pt>
                <c:pt idx="3234">
                  <c:v>30.547</c:v>
                </c:pt>
                <c:pt idx="3235">
                  <c:v>30.556</c:v>
                </c:pt>
                <c:pt idx="3236">
                  <c:v>30.566</c:v>
                </c:pt>
                <c:pt idx="3237">
                  <c:v>30.575</c:v>
                </c:pt>
                <c:pt idx="3238">
                  <c:v>30.584</c:v>
                </c:pt>
                <c:pt idx="3239">
                  <c:v>30.593</c:v>
                </c:pt>
                <c:pt idx="3240">
                  <c:v>30.602</c:v>
                </c:pt>
                <c:pt idx="3241">
                  <c:v>30.611</c:v>
                </c:pt>
                <c:pt idx="3242">
                  <c:v>30.62</c:v>
                </c:pt>
                <c:pt idx="3243">
                  <c:v>30.629</c:v>
                </c:pt>
                <c:pt idx="3244">
                  <c:v>30.638</c:v>
                </c:pt>
                <c:pt idx="3245">
                  <c:v>30.647</c:v>
                </c:pt>
                <c:pt idx="3246">
                  <c:v>30.656</c:v>
                </c:pt>
                <c:pt idx="3247">
                  <c:v>30.665</c:v>
                </c:pt>
                <c:pt idx="3248">
                  <c:v>30.674</c:v>
                </c:pt>
                <c:pt idx="3249">
                  <c:v>30.683</c:v>
                </c:pt>
                <c:pt idx="3250">
                  <c:v>30.692</c:v>
                </c:pt>
                <c:pt idx="3251">
                  <c:v>30.701</c:v>
                </c:pt>
                <c:pt idx="3252">
                  <c:v>30.71</c:v>
                </c:pt>
                <c:pt idx="3253">
                  <c:v>30.719</c:v>
                </c:pt>
                <c:pt idx="3254">
                  <c:v>30.728</c:v>
                </c:pt>
                <c:pt idx="3255">
                  <c:v>30.737</c:v>
                </c:pt>
                <c:pt idx="3256">
                  <c:v>30.746</c:v>
                </c:pt>
                <c:pt idx="3257">
                  <c:v>30.755</c:v>
                </c:pt>
                <c:pt idx="3258">
                  <c:v>30.764</c:v>
                </c:pt>
                <c:pt idx="3259">
                  <c:v>30.773</c:v>
                </c:pt>
                <c:pt idx="3260">
                  <c:v>30.783</c:v>
                </c:pt>
                <c:pt idx="3261">
                  <c:v>30.792</c:v>
                </c:pt>
                <c:pt idx="3262">
                  <c:v>30.801</c:v>
                </c:pt>
                <c:pt idx="3263">
                  <c:v>30.81</c:v>
                </c:pt>
                <c:pt idx="3264">
                  <c:v>30.819</c:v>
                </c:pt>
                <c:pt idx="3265">
                  <c:v>30.828</c:v>
                </c:pt>
                <c:pt idx="3266">
                  <c:v>30.837</c:v>
                </c:pt>
                <c:pt idx="3267">
                  <c:v>30.846</c:v>
                </c:pt>
                <c:pt idx="3268">
                  <c:v>30.855</c:v>
                </c:pt>
                <c:pt idx="3269">
                  <c:v>30.865</c:v>
                </c:pt>
                <c:pt idx="3270">
                  <c:v>30.876</c:v>
                </c:pt>
                <c:pt idx="3271">
                  <c:v>30.888</c:v>
                </c:pt>
                <c:pt idx="3272">
                  <c:v>30.899</c:v>
                </c:pt>
                <c:pt idx="3273">
                  <c:v>30.908</c:v>
                </c:pt>
                <c:pt idx="3274">
                  <c:v>30.917</c:v>
                </c:pt>
                <c:pt idx="3275">
                  <c:v>30.926</c:v>
                </c:pt>
                <c:pt idx="3276">
                  <c:v>30.935</c:v>
                </c:pt>
                <c:pt idx="3277">
                  <c:v>30.944</c:v>
                </c:pt>
                <c:pt idx="3278">
                  <c:v>30.953</c:v>
                </c:pt>
                <c:pt idx="3279">
                  <c:v>30.962</c:v>
                </c:pt>
                <c:pt idx="3280">
                  <c:v>30.971</c:v>
                </c:pt>
                <c:pt idx="3281">
                  <c:v>30.98</c:v>
                </c:pt>
                <c:pt idx="3282">
                  <c:v>30.989</c:v>
                </c:pt>
                <c:pt idx="3283">
                  <c:v>30.998</c:v>
                </c:pt>
                <c:pt idx="3284">
                  <c:v>31.007</c:v>
                </c:pt>
                <c:pt idx="3285">
                  <c:v>31.016</c:v>
                </c:pt>
                <c:pt idx="3286">
                  <c:v>31.025</c:v>
                </c:pt>
                <c:pt idx="3287">
                  <c:v>31.034</c:v>
                </c:pt>
                <c:pt idx="3288">
                  <c:v>31.043</c:v>
                </c:pt>
                <c:pt idx="3289">
                  <c:v>31.052</c:v>
                </c:pt>
                <c:pt idx="3290">
                  <c:v>31.061</c:v>
                </c:pt>
                <c:pt idx="3291">
                  <c:v>31.07</c:v>
                </c:pt>
                <c:pt idx="3292">
                  <c:v>31.079</c:v>
                </c:pt>
                <c:pt idx="3293">
                  <c:v>31.088</c:v>
                </c:pt>
                <c:pt idx="3294">
                  <c:v>31.246</c:v>
                </c:pt>
                <c:pt idx="3295">
                  <c:v>31.255</c:v>
                </c:pt>
                <c:pt idx="3296">
                  <c:v>31.264</c:v>
                </c:pt>
                <c:pt idx="3297">
                  <c:v>31.273</c:v>
                </c:pt>
                <c:pt idx="3298">
                  <c:v>31.282</c:v>
                </c:pt>
                <c:pt idx="3299">
                  <c:v>31.291</c:v>
                </c:pt>
                <c:pt idx="3300">
                  <c:v>31.3</c:v>
                </c:pt>
                <c:pt idx="3301">
                  <c:v>31.31</c:v>
                </c:pt>
                <c:pt idx="3302">
                  <c:v>31.319</c:v>
                </c:pt>
                <c:pt idx="3303">
                  <c:v>31.328</c:v>
                </c:pt>
                <c:pt idx="3304">
                  <c:v>31.337</c:v>
                </c:pt>
                <c:pt idx="3305">
                  <c:v>31.346</c:v>
                </c:pt>
                <c:pt idx="3306">
                  <c:v>31.355</c:v>
                </c:pt>
                <c:pt idx="3307">
                  <c:v>31.364</c:v>
                </c:pt>
                <c:pt idx="3308">
                  <c:v>31.379</c:v>
                </c:pt>
                <c:pt idx="3309">
                  <c:v>31.388</c:v>
                </c:pt>
                <c:pt idx="3310">
                  <c:v>31.397</c:v>
                </c:pt>
                <c:pt idx="3311">
                  <c:v>31.406</c:v>
                </c:pt>
                <c:pt idx="3312">
                  <c:v>31.415</c:v>
                </c:pt>
                <c:pt idx="3313">
                  <c:v>31.424</c:v>
                </c:pt>
                <c:pt idx="3314">
                  <c:v>31.433</c:v>
                </c:pt>
                <c:pt idx="3315">
                  <c:v>31.442</c:v>
                </c:pt>
                <c:pt idx="3316">
                  <c:v>31.451</c:v>
                </c:pt>
                <c:pt idx="3317">
                  <c:v>31.46</c:v>
                </c:pt>
                <c:pt idx="3318">
                  <c:v>31.469</c:v>
                </c:pt>
                <c:pt idx="3319">
                  <c:v>31.478</c:v>
                </c:pt>
                <c:pt idx="3320">
                  <c:v>31.487</c:v>
                </c:pt>
                <c:pt idx="3321">
                  <c:v>31.496</c:v>
                </c:pt>
                <c:pt idx="3322">
                  <c:v>31.505</c:v>
                </c:pt>
                <c:pt idx="3323">
                  <c:v>31.514</c:v>
                </c:pt>
                <c:pt idx="3324">
                  <c:v>31.523</c:v>
                </c:pt>
                <c:pt idx="3325">
                  <c:v>31.532</c:v>
                </c:pt>
                <c:pt idx="3326">
                  <c:v>31.541</c:v>
                </c:pt>
                <c:pt idx="3327">
                  <c:v>31.55</c:v>
                </c:pt>
                <c:pt idx="3328">
                  <c:v>31.559</c:v>
                </c:pt>
                <c:pt idx="3329">
                  <c:v>31.568</c:v>
                </c:pt>
                <c:pt idx="3330">
                  <c:v>31.577</c:v>
                </c:pt>
                <c:pt idx="3331">
                  <c:v>31.586</c:v>
                </c:pt>
                <c:pt idx="3332">
                  <c:v>31.595</c:v>
                </c:pt>
                <c:pt idx="3333">
                  <c:v>31.604</c:v>
                </c:pt>
                <c:pt idx="3334">
                  <c:v>31.614</c:v>
                </c:pt>
                <c:pt idx="3335">
                  <c:v>31.623</c:v>
                </c:pt>
                <c:pt idx="3336">
                  <c:v>31.632</c:v>
                </c:pt>
                <c:pt idx="3337">
                  <c:v>31.641</c:v>
                </c:pt>
                <c:pt idx="3338">
                  <c:v>31.65</c:v>
                </c:pt>
                <c:pt idx="3339">
                  <c:v>31.659</c:v>
                </c:pt>
                <c:pt idx="3340">
                  <c:v>31.668</c:v>
                </c:pt>
                <c:pt idx="3341">
                  <c:v>31.678</c:v>
                </c:pt>
                <c:pt idx="3342">
                  <c:v>31.687</c:v>
                </c:pt>
                <c:pt idx="3343">
                  <c:v>31.696</c:v>
                </c:pt>
                <c:pt idx="3344">
                  <c:v>31.705</c:v>
                </c:pt>
                <c:pt idx="3345">
                  <c:v>31.714</c:v>
                </c:pt>
                <c:pt idx="3346">
                  <c:v>31.723</c:v>
                </c:pt>
                <c:pt idx="3347">
                  <c:v>31.732</c:v>
                </c:pt>
                <c:pt idx="3348">
                  <c:v>31.741</c:v>
                </c:pt>
                <c:pt idx="3349">
                  <c:v>31.75</c:v>
                </c:pt>
                <c:pt idx="3350">
                  <c:v>31.759</c:v>
                </c:pt>
                <c:pt idx="3351">
                  <c:v>31.768</c:v>
                </c:pt>
                <c:pt idx="3352">
                  <c:v>31.777</c:v>
                </c:pt>
                <c:pt idx="3353">
                  <c:v>31.786</c:v>
                </c:pt>
                <c:pt idx="3354">
                  <c:v>31.795</c:v>
                </c:pt>
                <c:pt idx="3355">
                  <c:v>31.804</c:v>
                </c:pt>
                <c:pt idx="3356">
                  <c:v>31.813</c:v>
                </c:pt>
                <c:pt idx="3357">
                  <c:v>31.822</c:v>
                </c:pt>
                <c:pt idx="3358">
                  <c:v>31.832</c:v>
                </c:pt>
                <c:pt idx="3359">
                  <c:v>31.841</c:v>
                </c:pt>
                <c:pt idx="3360">
                  <c:v>31.85</c:v>
                </c:pt>
                <c:pt idx="3361">
                  <c:v>31.859</c:v>
                </c:pt>
                <c:pt idx="3362">
                  <c:v>31.868</c:v>
                </c:pt>
                <c:pt idx="3363">
                  <c:v>31.881</c:v>
                </c:pt>
                <c:pt idx="3364">
                  <c:v>31.891</c:v>
                </c:pt>
                <c:pt idx="3365">
                  <c:v>31.9</c:v>
                </c:pt>
                <c:pt idx="3366">
                  <c:v>31.909</c:v>
                </c:pt>
                <c:pt idx="3367">
                  <c:v>31.918</c:v>
                </c:pt>
                <c:pt idx="3368">
                  <c:v>31.928</c:v>
                </c:pt>
                <c:pt idx="3369">
                  <c:v>31.937</c:v>
                </c:pt>
                <c:pt idx="3370">
                  <c:v>31.946</c:v>
                </c:pt>
                <c:pt idx="3371">
                  <c:v>31.955</c:v>
                </c:pt>
                <c:pt idx="3372">
                  <c:v>31.964</c:v>
                </c:pt>
                <c:pt idx="3373">
                  <c:v>31.973</c:v>
                </c:pt>
                <c:pt idx="3374">
                  <c:v>31.983</c:v>
                </c:pt>
                <c:pt idx="3375">
                  <c:v>31.992</c:v>
                </c:pt>
                <c:pt idx="3376">
                  <c:v>32.001</c:v>
                </c:pt>
                <c:pt idx="3377">
                  <c:v>32.01</c:v>
                </c:pt>
                <c:pt idx="3378">
                  <c:v>32.019</c:v>
                </c:pt>
                <c:pt idx="3379">
                  <c:v>32.028</c:v>
                </c:pt>
                <c:pt idx="3380">
                  <c:v>32.037</c:v>
                </c:pt>
                <c:pt idx="3381">
                  <c:v>32.046</c:v>
                </c:pt>
                <c:pt idx="3382">
                  <c:v>32.055</c:v>
                </c:pt>
                <c:pt idx="3383">
                  <c:v>32.064</c:v>
                </c:pt>
                <c:pt idx="3384">
                  <c:v>32.073</c:v>
                </c:pt>
                <c:pt idx="3385">
                  <c:v>32.082</c:v>
                </c:pt>
                <c:pt idx="3386">
                  <c:v>32.091</c:v>
                </c:pt>
                <c:pt idx="3387">
                  <c:v>32.1</c:v>
                </c:pt>
                <c:pt idx="3388">
                  <c:v>32.11</c:v>
                </c:pt>
                <c:pt idx="3389">
                  <c:v>32.119</c:v>
                </c:pt>
                <c:pt idx="3390">
                  <c:v>32.128</c:v>
                </c:pt>
                <c:pt idx="3391">
                  <c:v>32.138</c:v>
                </c:pt>
                <c:pt idx="3392">
                  <c:v>32.147</c:v>
                </c:pt>
                <c:pt idx="3393">
                  <c:v>32.156</c:v>
                </c:pt>
                <c:pt idx="3394">
                  <c:v>32.165</c:v>
                </c:pt>
                <c:pt idx="3395">
                  <c:v>32.175</c:v>
                </c:pt>
                <c:pt idx="3396">
                  <c:v>32.184</c:v>
                </c:pt>
                <c:pt idx="3397">
                  <c:v>32.193</c:v>
                </c:pt>
                <c:pt idx="3398">
                  <c:v>32.202</c:v>
                </c:pt>
                <c:pt idx="3399">
                  <c:v>32.211</c:v>
                </c:pt>
                <c:pt idx="3400">
                  <c:v>32.22</c:v>
                </c:pt>
                <c:pt idx="3401">
                  <c:v>32.229</c:v>
                </c:pt>
                <c:pt idx="3402">
                  <c:v>32.238</c:v>
                </c:pt>
                <c:pt idx="3403">
                  <c:v>32.247</c:v>
                </c:pt>
                <c:pt idx="3404">
                  <c:v>32.256</c:v>
                </c:pt>
                <c:pt idx="3405">
                  <c:v>32.265</c:v>
                </c:pt>
                <c:pt idx="3406">
                  <c:v>32.274</c:v>
                </c:pt>
                <c:pt idx="3407">
                  <c:v>32.283</c:v>
                </c:pt>
                <c:pt idx="3408">
                  <c:v>32.292</c:v>
                </c:pt>
                <c:pt idx="3409">
                  <c:v>32.301</c:v>
                </c:pt>
                <c:pt idx="3410">
                  <c:v>32.31</c:v>
                </c:pt>
                <c:pt idx="3411">
                  <c:v>32.319</c:v>
                </c:pt>
                <c:pt idx="3412">
                  <c:v>32.328</c:v>
                </c:pt>
                <c:pt idx="3413">
                  <c:v>32.337</c:v>
                </c:pt>
                <c:pt idx="3414">
                  <c:v>32.346</c:v>
                </c:pt>
                <c:pt idx="3415">
                  <c:v>32.355</c:v>
                </c:pt>
                <c:pt idx="3416">
                  <c:v>32.364</c:v>
                </c:pt>
                <c:pt idx="3417">
                  <c:v>32.373</c:v>
                </c:pt>
                <c:pt idx="3418">
                  <c:v>32.384</c:v>
                </c:pt>
                <c:pt idx="3419">
                  <c:v>32.397</c:v>
                </c:pt>
                <c:pt idx="3420">
                  <c:v>32.407</c:v>
                </c:pt>
                <c:pt idx="3421">
                  <c:v>32.416</c:v>
                </c:pt>
                <c:pt idx="3422">
                  <c:v>32.425</c:v>
                </c:pt>
                <c:pt idx="3423">
                  <c:v>32.434</c:v>
                </c:pt>
                <c:pt idx="3424">
                  <c:v>32.443</c:v>
                </c:pt>
                <c:pt idx="3425">
                  <c:v>32.452</c:v>
                </c:pt>
                <c:pt idx="3426">
                  <c:v>32.461</c:v>
                </c:pt>
                <c:pt idx="3427">
                  <c:v>32.47</c:v>
                </c:pt>
                <c:pt idx="3428">
                  <c:v>32.479</c:v>
                </c:pt>
                <c:pt idx="3429">
                  <c:v>32.488</c:v>
                </c:pt>
                <c:pt idx="3430">
                  <c:v>32.497</c:v>
                </c:pt>
                <c:pt idx="3431">
                  <c:v>32.506</c:v>
                </c:pt>
                <c:pt idx="3432">
                  <c:v>32.515</c:v>
                </c:pt>
                <c:pt idx="3433">
                  <c:v>32.524</c:v>
                </c:pt>
                <c:pt idx="3434">
                  <c:v>32.533</c:v>
                </c:pt>
                <c:pt idx="3435">
                  <c:v>32.542</c:v>
                </c:pt>
                <c:pt idx="3436">
                  <c:v>32.551</c:v>
                </c:pt>
                <c:pt idx="3437">
                  <c:v>32.56</c:v>
                </c:pt>
                <c:pt idx="3438">
                  <c:v>32.569</c:v>
                </c:pt>
                <c:pt idx="3439">
                  <c:v>32.578</c:v>
                </c:pt>
                <c:pt idx="3440">
                  <c:v>32.587</c:v>
                </c:pt>
                <c:pt idx="3441">
                  <c:v>32.596</c:v>
                </c:pt>
                <c:pt idx="3442">
                  <c:v>32.605</c:v>
                </c:pt>
                <c:pt idx="3443">
                  <c:v>32.614</c:v>
                </c:pt>
                <c:pt idx="3444">
                  <c:v>32.623</c:v>
                </c:pt>
                <c:pt idx="3445">
                  <c:v>32.632</c:v>
                </c:pt>
                <c:pt idx="3446">
                  <c:v>32.642</c:v>
                </c:pt>
                <c:pt idx="3447">
                  <c:v>32.651</c:v>
                </c:pt>
                <c:pt idx="3448">
                  <c:v>32.66</c:v>
                </c:pt>
                <c:pt idx="3449">
                  <c:v>32.669</c:v>
                </c:pt>
                <c:pt idx="3450">
                  <c:v>32.679</c:v>
                </c:pt>
                <c:pt idx="3451">
                  <c:v>32.688</c:v>
                </c:pt>
                <c:pt idx="3452">
                  <c:v>32.698</c:v>
                </c:pt>
                <c:pt idx="3453">
                  <c:v>32.707</c:v>
                </c:pt>
                <c:pt idx="3454">
                  <c:v>32.716</c:v>
                </c:pt>
                <c:pt idx="3455">
                  <c:v>32.725</c:v>
                </c:pt>
                <c:pt idx="3456">
                  <c:v>32.734</c:v>
                </c:pt>
                <c:pt idx="3457">
                  <c:v>32.743</c:v>
                </c:pt>
                <c:pt idx="3458">
                  <c:v>32.752</c:v>
                </c:pt>
                <c:pt idx="3459">
                  <c:v>32.761</c:v>
                </c:pt>
                <c:pt idx="3460">
                  <c:v>32.77</c:v>
                </c:pt>
                <c:pt idx="3461">
                  <c:v>32.779</c:v>
                </c:pt>
                <c:pt idx="3462">
                  <c:v>32.788</c:v>
                </c:pt>
                <c:pt idx="3463">
                  <c:v>32.797</c:v>
                </c:pt>
                <c:pt idx="3464">
                  <c:v>32.806</c:v>
                </c:pt>
                <c:pt idx="3465">
                  <c:v>32.815</c:v>
                </c:pt>
                <c:pt idx="3466">
                  <c:v>32.824</c:v>
                </c:pt>
                <c:pt idx="3467">
                  <c:v>32.833</c:v>
                </c:pt>
                <c:pt idx="3468">
                  <c:v>32.842</c:v>
                </c:pt>
                <c:pt idx="3469">
                  <c:v>32.851</c:v>
                </c:pt>
                <c:pt idx="3470">
                  <c:v>32.86</c:v>
                </c:pt>
                <c:pt idx="3471">
                  <c:v>32.869</c:v>
                </c:pt>
                <c:pt idx="3472">
                  <c:v>32.878</c:v>
                </c:pt>
                <c:pt idx="3473">
                  <c:v>32.888</c:v>
                </c:pt>
                <c:pt idx="3474">
                  <c:v>32.897</c:v>
                </c:pt>
                <c:pt idx="3475">
                  <c:v>32.906</c:v>
                </c:pt>
                <c:pt idx="3476">
                  <c:v>32.915</c:v>
                </c:pt>
                <c:pt idx="3477">
                  <c:v>32.924</c:v>
                </c:pt>
                <c:pt idx="3478">
                  <c:v>32.933</c:v>
                </c:pt>
                <c:pt idx="3479">
                  <c:v>32.942</c:v>
                </c:pt>
                <c:pt idx="3480">
                  <c:v>32.951</c:v>
                </c:pt>
                <c:pt idx="3481">
                  <c:v>32.96</c:v>
                </c:pt>
                <c:pt idx="3482">
                  <c:v>32.969</c:v>
                </c:pt>
                <c:pt idx="3483">
                  <c:v>32.978</c:v>
                </c:pt>
                <c:pt idx="3484">
                  <c:v>32.987</c:v>
                </c:pt>
                <c:pt idx="3485">
                  <c:v>32.996</c:v>
                </c:pt>
                <c:pt idx="3486">
                  <c:v>33.005</c:v>
                </c:pt>
                <c:pt idx="3487">
                  <c:v>33.014</c:v>
                </c:pt>
                <c:pt idx="3488">
                  <c:v>33.023</c:v>
                </c:pt>
                <c:pt idx="3489">
                  <c:v>33.033</c:v>
                </c:pt>
                <c:pt idx="3490">
                  <c:v>33.042</c:v>
                </c:pt>
                <c:pt idx="3491">
                  <c:v>33.051</c:v>
                </c:pt>
                <c:pt idx="3492">
                  <c:v>33.06</c:v>
                </c:pt>
                <c:pt idx="3493">
                  <c:v>33.069</c:v>
                </c:pt>
                <c:pt idx="3494">
                  <c:v>33.078</c:v>
                </c:pt>
                <c:pt idx="3495">
                  <c:v>33.088</c:v>
                </c:pt>
                <c:pt idx="3496">
                  <c:v>33.097</c:v>
                </c:pt>
                <c:pt idx="3497">
                  <c:v>33.106</c:v>
                </c:pt>
                <c:pt idx="3498">
                  <c:v>33.115</c:v>
                </c:pt>
                <c:pt idx="3499">
                  <c:v>33.124</c:v>
                </c:pt>
                <c:pt idx="3500">
                  <c:v>33.133</c:v>
                </c:pt>
                <c:pt idx="3501">
                  <c:v>33.142</c:v>
                </c:pt>
                <c:pt idx="3502">
                  <c:v>33.151</c:v>
                </c:pt>
                <c:pt idx="3503">
                  <c:v>33.16</c:v>
                </c:pt>
                <c:pt idx="3504">
                  <c:v>33.169</c:v>
                </c:pt>
                <c:pt idx="3505">
                  <c:v>33.178</c:v>
                </c:pt>
                <c:pt idx="3506">
                  <c:v>33.187</c:v>
                </c:pt>
                <c:pt idx="3507">
                  <c:v>33.196</c:v>
                </c:pt>
                <c:pt idx="3508">
                  <c:v>33.205</c:v>
                </c:pt>
                <c:pt idx="3509">
                  <c:v>33.215</c:v>
                </c:pt>
                <c:pt idx="3510">
                  <c:v>33.224</c:v>
                </c:pt>
                <c:pt idx="3511">
                  <c:v>33.233</c:v>
                </c:pt>
                <c:pt idx="3512">
                  <c:v>33.243</c:v>
                </c:pt>
                <c:pt idx="3513">
                  <c:v>33.252</c:v>
                </c:pt>
                <c:pt idx="3514">
                  <c:v>33.261</c:v>
                </c:pt>
                <c:pt idx="3515">
                  <c:v>33.27</c:v>
                </c:pt>
                <c:pt idx="3516">
                  <c:v>33.28</c:v>
                </c:pt>
                <c:pt idx="3517">
                  <c:v>33.289</c:v>
                </c:pt>
                <c:pt idx="3518">
                  <c:v>33.298</c:v>
                </c:pt>
                <c:pt idx="3519">
                  <c:v>33.307</c:v>
                </c:pt>
                <c:pt idx="3520">
                  <c:v>33.316</c:v>
                </c:pt>
                <c:pt idx="3521">
                  <c:v>33.325</c:v>
                </c:pt>
                <c:pt idx="3522">
                  <c:v>33.334</c:v>
                </c:pt>
                <c:pt idx="3523">
                  <c:v>33.343</c:v>
                </c:pt>
                <c:pt idx="3524">
                  <c:v>33.352</c:v>
                </c:pt>
                <c:pt idx="3525">
                  <c:v>33.361</c:v>
                </c:pt>
                <c:pt idx="3526">
                  <c:v>33.37</c:v>
                </c:pt>
                <c:pt idx="3527">
                  <c:v>33.379</c:v>
                </c:pt>
                <c:pt idx="3528">
                  <c:v>33.388</c:v>
                </c:pt>
                <c:pt idx="3529">
                  <c:v>33.397</c:v>
                </c:pt>
                <c:pt idx="3530">
                  <c:v>33.406</c:v>
                </c:pt>
                <c:pt idx="3531">
                  <c:v>33.415</c:v>
                </c:pt>
                <c:pt idx="3532">
                  <c:v>33.424</c:v>
                </c:pt>
                <c:pt idx="3533">
                  <c:v>33.433</c:v>
                </c:pt>
                <c:pt idx="3534">
                  <c:v>33.442</c:v>
                </c:pt>
                <c:pt idx="3535">
                  <c:v>33.451</c:v>
                </c:pt>
                <c:pt idx="3536">
                  <c:v>33.46</c:v>
                </c:pt>
                <c:pt idx="3537">
                  <c:v>33.469</c:v>
                </c:pt>
                <c:pt idx="3538">
                  <c:v>33.478</c:v>
                </c:pt>
                <c:pt idx="3539">
                  <c:v>33.487</c:v>
                </c:pt>
                <c:pt idx="3540">
                  <c:v>33.496</c:v>
                </c:pt>
                <c:pt idx="3541">
                  <c:v>33.505</c:v>
                </c:pt>
                <c:pt idx="3542">
                  <c:v>33.514</c:v>
                </c:pt>
                <c:pt idx="3543">
                  <c:v>33.523</c:v>
                </c:pt>
                <c:pt idx="3544">
                  <c:v>33.533</c:v>
                </c:pt>
                <c:pt idx="3545">
                  <c:v>33.542</c:v>
                </c:pt>
                <c:pt idx="3546">
                  <c:v>33.551</c:v>
                </c:pt>
                <c:pt idx="3547">
                  <c:v>33.56</c:v>
                </c:pt>
                <c:pt idx="3548">
                  <c:v>33.569</c:v>
                </c:pt>
                <c:pt idx="3549">
                  <c:v>33.578</c:v>
                </c:pt>
                <c:pt idx="3550">
                  <c:v>33.587</c:v>
                </c:pt>
                <c:pt idx="3551">
                  <c:v>33.596</c:v>
                </c:pt>
                <c:pt idx="3552">
                  <c:v>33.605</c:v>
                </c:pt>
                <c:pt idx="3553">
                  <c:v>33.614</c:v>
                </c:pt>
                <c:pt idx="3554">
                  <c:v>33.623</c:v>
                </c:pt>
                <c:pt idx="3555">
                  <c:v>33.632</c:v>
                </c:pt>
                <c:pt idx="3556">
                  <c:v>33.641</c:v>
                </c:pt>
                <c:pt idx="3557">
                  <c:v>33.65</c:v>
                </c:pt>
                <c:pt idx="3558">
                  <c:v>33.659</c:v>
                </c:pt>
                <c:pt idx="3559">
                  <c:v>33.668</c:v>
                </c:pt>
                <c:pt idx="3560">
                  <c:v>33.678</c:v>
                </c:pt>
                <c:pt idx="3561">
                  <c:v>33.688</c:v>
                </c:pt>
                <c:pt idx="3562">
                  <c:v>33.698</c:v>
                </c:pt>
                <c:pt idx="3563">
                  <c:v>33.707</c:v>
                </c:pt>
                <c:pt idx="3564">
                  <c:v>33.716</c:v>
                </c:pt>
                <c:pt idx="3565">
                  <c:v>33.725</c:v>
                </c:pt>
                <c:pt idx="3566">
                  <c:v>33.734</c:v>
                </c:pt>
                <c:pt idx="3567">
                  <c:v>33.743</c:v>
                </c:pt>
                <c:pt idx="3568">
                  <c:v>33.752</c:v>
                </c:pt>
                <c:pt idx="3569">
                  <c:v>33.761</c:v>
                </c:pt>
                <c:pt idx="3570">
                  <c:v>33.771</c:v>
                </c:pt>
                <c:pt idx="3571">
                  <c:v>33.78</c:v>
                </c:pt>
                <c:pt idx="3572">
                  <c:v>33.789</c:v>
                </c:pt>
                <c:pt idx="3573">
                  <c:v>33.798</c:v>
                </c:pt>
                <c:pt idx="3574">
                  <c:v>33.808</c:v>
                </c:pt>
                <c:pt idx="3575">
                  <c:v>33.817</c:v>
                </c:pt>
                <c:pt idx="3576">
                  <c:v>33.826</c:v>
                </c:pt>
                <c:pt idx="3577">
                  <c:v>33.835</c:v>
                </c:pt>
                <c:pt idx="3578">
                  <c:v>33.844</c:v>
                </c:pt>
                <c:pt idx="3579">
                  <c:v>33.853</c:v>
                </c:pt>
                <c:pt idx="3580">
                  <c:v>33.862</c:v>
                </c:pt>
                <c:pt idx="3581">
                  <c:v>33.871</c:v>
                </c:pt>
                <c:pt idx="3582">
                  <c:v>33.881</c:v>
                </c:pt>
                <c:pt idx="3583">
                  <c:v>33.89</c:v>
                </c:pt>
                <c:pt idx="3584">
                  <c:v>33.899</c:v>
                </c:pt>
                <c:pt idx="3585">
                  <c:v>33.908</c:v>
                </c:pt>
                <c:pt idx="3586">
                  <c:v>33.917</c:v>
                </c:pt>
                <c:pt idx="3587">
                  <c:v>33.926</c:v>
                </c:pt>
                <c:pt idx="3588">
                  <c:v>33.935</c:v>
                </c:pt>
                <c:pt idx="3589">
                  <c:v>33.944</c:v>
                </c:pt>
                <c:pt idx="3590">
                  <c:v>33.953</c:v>
                </c:pt>
                <c:pt idx="3591">
                  <c:v>33.962</c:v>
                </c:pt>
                <c:pt idx="3592">
                  <c:v>33.971</c:v>
                </c:pt>
                <c:pt idx="3593">
                  <c:v>33.98</c:v>
                </c:pt>
                <c:pt idx="3594">
                  <c:v>33.989</c:v>
                </c:pt>
                <c:pt idx="3595">
                  <c:v>33.998</c:v>
                </c:pt>
                <c:pt idx="3596">
                  <c:v>34.007</c:v>
                </c:pt>
                <c:pt idx="3597">
                  <c:v>34.016</c:v>
                </c:pt>
                <c:pt idx="3598">
                  <c:v>34.025</c:v>
                </c:pt>
                <c:pt idx="3599">
                  <c:v>34.034</c:v>
                </c:pt>
                <c:pt idx="3600">
                  <c:v>34.043</c:v>
                </c:pt>
                <c:pt idx="3601">
                  <c:v>34.053</c:v>
                </c:pt>
                <c:pt idx="3602">
                  <c:v>34.062</c:v>
                </c:pt>
                <c:pt idx="3603">
                  <c:v>34.071</c:v>
                </c:pt>
                <c:pt idx="3604">
                  <c:v>34.08</c:v>
                </c:pt>
                <c:pt idx="3605">
                  <c:v>34.089</c:v>
                </c:pt>
                <c:pt idx="3606">
                  <c:v>34.098</c:v>
                </c:pt>
                <c:pt idx="3607">
                  <c:v>34.107</c:v>
                </c:pt>
                <c:pt idx="3608">
                  <c:v>34.116</c:v>
                </c:pt>
                <c:pt idx="3609">
                  <c:v>34.125</c:v>
                </c:pt>
                <c:pt idx="3610">
                  <c:v>34.134</c:v>
                </c:pt>
                <c:pt idx="3611">
                  <c:v>34.143</c:v>
                </c:pt>
                <c:pt idx="3612">
                  <c:v>34.152</c:v>
                </c:pt>
                <c:pt idx="3613">
                  <c:v>34.161</c:v>
                </c:pt>
                <c:pt idx="3614">
                  <c:v>34.17</c:v>
                </c:pt>
                <c:pt idx="3615">
                  <c:v>34.179</c:v>
                </c:pt>
                <c:pt idx="3616">
                  <c:v>34.188</c:v>
                </c:pt>
                <c:pt idx="3617">
                  <c:v>34.198</c:v>
                </c:pt>
                <c:pt idx="3618">
                  <c:v>34.207</c:v>
                </c:pt>
                <c:pt idx="3619">
                  <c:v>34.217</c:v>
                </c:pt>
                <c:pt idx="3620">
                  <c:v>34.226</c:v>
                </c:pt>
                <c:pt idx="3621">
                  <c:v>34.235</c:v>
                </c:pt>
                <c:pt idx="3622">
                  <c:v>34.244</c:v>
                </c:pt>
                <c:pt idx="3623">
                  <c:v>34.253</c:v>
                </c:pt>
                <c:pt idx="3624">
                  <c:v>34.262</c:v>
                </c:pt>
                <c:pt idx="3625">
                  <c:v>34.271</c:v>
                </c:pt>
                <c:pt idx="3626">
                  <c:v>34.28</c:v>
                </c:pt>
                <c:pt idx="3627">
                  <c:v>34.289</c:v>
                </c:pt>
                <c:pt idx="3628">
                  <c:v>34.298</c:v>
                </c:pt>
                <c:pt idx="3629">
                  <c:v>34.307</c:v>
                </c:pt>
                <c:pt idx="3630">
                  <c:v>34.316</c:v>
                </c:pt>
                <c:pt idx="3631">
                  <c:v>34.325</c:v>
                </c:pt>
                <c:pt idx="3632">
                  <c:v>34.334</c:v>
                </c:pt>
                <c:pt idx="3633">
                  <c:v>34.343</c:v>
                </c:pt>
                <c:pt idx="3634">
                  <c:v>34.352</c:v>
                </c:pt>
                <c:pt idx="3635">
                  <c:v>34.361</c:v>
                </c:pt>
                <c:pt idx="3636">
                  <c:v>34.37</c:v>
                </c:pt>
                <c:pt idx="3637">
                  <c:v>34.379</c:v>
                </c:pt>
                <c:pt idx="3638">
                  <c:v>34.393</c:v>
                </c:pt>
                <c:pt idx="3639">
                  <c:v>34.404</c:v>
                </c:pt>
                <c:pt idx="3640">
                  <c:v>34.414</c:v>
                </c:pt>
                <c:pt idx="3641">
                  <c:v>34.425</c:v>
                </c:pt>
                <c:pt idx="3642">
                  <c:v>34.434</c:v>
                </c:pt>
                <c:pt idx="3643">
                  <c:v>34.443</c:v>
                </c:pt>
                <c:pt idx="3644">
                  <c:v>34.452</c:v>
                </c:pt>
                <c:pt idx="3645">
                  <c:v>34.461</c:v>
                </c:pt>
                <c:pt idx="3646">
                  <c:v>34.47</c:v>
                </c:pt>
                <c:pt idx="3647">
                  <c:v>34.479</c:v>
                </c:pt>
                <c:pt idx="3648">
                  <c:v>34.488</c:v>
                </c:pt>
                <c:pt idx="3649">
                  <c:v>34.497</c:v>
                </c:pt>
                <c:pt idx="3650">
                  <c:v>34.506</c:v>
                </c:pt>
                <c:pt idx="3651">
                  <c:v>34.515</c:v>
                </c:pt>
                <c:pt idx="3652">
                  <c:v>34.524</c:v>
                </c:pt>
                <c:pt idx="3653">
                  <c:v>34.533</c:v>
                </c:pt>
                <c:pt idx="3654">
                  <c:v>34.542</c:v>
                </c:pt>
                <c:pt idx="3655">
                  <c:v>34.551</c:v>
                </c:pt>
                <c:pt idx="3656">
                  <c:v>34.56</c:v>
                </c:pt>
                <c:pt idx="3657">
                  <c:v>34.569</c:v>
                </c:pt>
                <c:pt idx="3658">
                  <c:v>34.578</c:v>
                </c:pt>
                <c:pt idx="3659">
                  <c:v>34.587</c:v>
                </c:pt>
                <c:pt idx="3660">
                  <c:v>34.596</c:v>
                </c:pt>
                <c:pt idx="3661">
                  <c:v>34.606</c:v>
                </c:pt>
                <c:pt idx="3662">
                  <c:v>34.615</c:v>
                </c:pt>
                <c:pt idx="3663">
                  <c:v>34.625</c:v>
                </c:pt>
                <c:pt idx="3664">
                  <c:v>34.634</c:v>
                </c:pt>
                <c:pt idx="3665">
                  <c:v>34.643</c:v>
                </c:pt>
                <c:pt idx="3666">
                  <c:v>34.652</c:v>
                </c:pt>
                <c:pt idx="3667">
                  <c:v>34.661</c:v>
                </c:pt>
                <c:pt idx="3668">
                  <c:v>34.67</c:v>
                </c:pt>
                <c:pt idx="3669">
                  <c:v>34.679</c:v>
                </c:pt>
                <c:pt idx="3670">
                  <c:v>34.688</c:v>
                </c:pt>
                <c:pt idx="3671">
                  <c:v>34.698</c:v>
                </c:pt>
                <c:pt idx="3672">
                  <c:v>34.707</c:v>
                </c:pt>
                <c:pt idx="3673">
                  <c:v>34.716</c:v>
                </c:pt>
                <c:pt idx="3674">
                  <c:v>34.725</c:v>
                </c:pt>
                <c:pt idx="3675">
                  <c:v>34.734</c:v>
                </c:pt>
                <c:pt idx="3676">
                  <c:v>34.743</c:v>
                </c:pt>
                <c:pt idx="3677">
                  <c:v>34.752</c:v>
                </c:pt>
                <c:pt idx="3678">
                  <c:v>34.761</c:v>
                </c:pt>
                <c:pt idx="3679">
                  <c:v>34.77</c:v>
                </c:pt>
                <c:pt idx="3680">
                  <c:v>34.779</c:v>
                </c:pt>
                <c:pt idx="3681">
                  <c:v>34.788</c:v>
                </c:pt>
                <c:pt idx="3682">
                  <c:v>34.797</c:v>
                </c:pt>
                <c:pt idx="3683">
                  <c:v>34.806</c:v>
                </c:pt>
                <c:pt idx="3684">
                  <c:v>34.815</c:v>
                </c:pt>
                <c:pt idx="3685">
                  <c:v>34.824</c:v>
                </c:pt>
                <c:pt idx="3686">
                  <c:v>34.833</c:v>
                </c:pt>
                <c:pt idx="3687">
                  <c:v>34.843</c:v>
                </c:pt>
                <c:pt idx="3688">
                  <c:v>34.852</c:v>
                </c:pt>
                <c:pt idx="3689">
                  <c:v>34.861</c:v>
                </c:pt>
                <c:pt idx="3690">
                  <c:v>34.87</c:v>
                </c:pt>
                <c:pt idx="3691">
                  <c:v>34.879</c:v>
                </c:pt>
                <c:pt idx="3692">
                  <c:v>34.894</c:v>
                </c:pt>
                <c:pt idx="3693">
                  <c:v>34.905</c:v>
                </c:pt>
                <c:pt idx="3694">
                  <c:v>34.916</c:v>
                </c:pt>
                <c:pt idx="3695">
                  <c:v>34.925</c:v>
                </c:pt>
                <c:pt idx="3696">
                  <c:v>34.934</c:v>
                </c:pt>
                <c:pt idx="3697">
                  <c:v>34.944</c:v>
                </c:pt>
                <c:pt idx="3698">
                  <c:v>34.953</c:v>
                </c:pt>
                <c:pt idx="3699">
                  <c:v>34.962</c:v>
                </c:pt>
                <c:pt idx="3700">
                  <c:v>34.971</c:v>
                </c:pt>
                <c:pt idx="3701">
                  <c:v>34.98</c:v>
                </c:pt>
                <c:pt idx="3702">
                  <c:v>34.989</c:v>
                </c:pt>
                <c:pt idx="3703">
                  <c:v>34.998</c:v>
                </c:pt>
                <c:pt idx="3704">
                  <c:v>35.007</c:v>
                </c:pt>
                <c:pt idx="3705">
                  <c:v>35.017</c:v>
                </c:pt>
                <c:pt idx="3706">
                  <c:v>35.026</c:v>
                </c:pt>
                <c:pt idx="3707">
                  <c:v>35.035</c:v>
                </c:pt>
                <c:pt idx="3708">
                  <c:v>35.044</c:v>
                </c:pt>
                <c:pt idx="3709">
                  <c:v>35.053</c:v>
                </c:pt>
                <c:pt idx="3710">
                  <c:v>35.062</c:v>
                </c:pt>
                <c:pt idx="3711">
                  <c:v>35.071</c:v>
                </c:pt>
                <c:pt idx="3712">
                  <c:v>35.08</c:v>
                </c:pt>
                <c:pt idx="3713">
                  <c:v>35.09</c:v>
                </c:pt>
                <c:pt idx="3714">
                  <c:v>35.099</c:v>
                </c:pt>
                <c:pt idx="3715">
                  <c:v>35.108</c:v>
                </c:pt>
                <c:pt idx="3716">
                  <c:v>35.117</c:v>
                </c:pt>
                <c:pt idx="3717">
                  <c:v>35.126</c:v>
                </c:pt>
                <c:pt idx="3718">
                  <c:v>35.135</c:v>
                </c:pt>
                <c:pt idx="3719">
                  <c:v>35.144</c:v>
                </c:pt>
                <c:pt idx="3720">
                  <c:v>35.154</c:v>
                </c:pt>
                <c:pt idx="3721">
                  <c:v>35.163</c:v>
                </c:pt>
                <c:pt idx="3722">
                  <c:v>35.172</c:v>
                </c:pt>
                <c:pt idx="3723">
                  <c:v>35.181</c:v>
                </c:pt>
                <c:pt idx="3724">
                  <c:v>35.19</c:v>
                </c:pt>
                <c:pt idx="3725">
                  <c:v>35.199</c:v>
                </c:pt>
                <c:pt idx="3726">
                  <c:v>35.208</c:v>
                </c:pt>
                <c:pt idx="3727">
                  <c:v>35.218</c:v>
                </c:pt>
                <c:pt idx="3728">
                  <c:v>35.227</c:v>
                </c:pt>
                <c:pt idx="3729">
                  <c:v>35.236</c:v>
                </c:pt>
                <c:pt idx="3730">
                  <c:v>35.245</c:v>
                </c:pt>
                <c:pt idx="3731">
                  <c:v>35.254</c:v>
                </c:pt>
                <c:pt idx="3732">
                  <c:v>35.263</c:v>
                </c:pt>
                <c:pt idx="3733">
                  <c:v>35.272</c:v>
                </c:pt>
                <c:pt idx="3734">
                  <c:v>35.281</c:v>
                </c:pt>
                <c:pt idx="3735">
                  <c:v>35.29</c:v>
                </c:pt>
                <c:pt idx="3736">
                  <c:v>35.299</c:v>
                </c:pt>
                <c:pt idx="3737">
                  <c:v>35.308</c:v>
                </c:pt>
                <c:pt idx="3738">
                  <c:v>35.317</c:v>
                </c:pt>
                <c:pt idx="3739">
                  <c:v>35.326</c:v>
                </c:pt>
                <c:pt idx="3740">
                  <c:v>35.335</c:v>
                </c:pt>
                <c:pt idx="3741">
                  <c:v>35.344</c:v>
                </c:pt>
                <c:pt idx="3742">
                  <c:v>35.353</c:v>
                </c:pt>
                <c:pt idx="3743">
                  <c:v>35.362</c:v>
                </c:pt>
                <c:pt idx="3744">
                  <c:v>35.371</c:v>
                </c:pt>
                <c:pt idx="3745">
                  <c:v>35.38</c:v>
                </c:pt>
                <c:pt idx="3746">
                  <c:v>35.389</c:v>
                </c:pt>
                <c:pt idx="3747">
                  <c:v>35.398</c:v>
                </c:pt>
                <c:pt idx="3748">
                  <c:v>35.407</c:v>
                </c:pt>
                <c:pt idx="3749">
                  <c:v>35.416</c:v>
                </c:pt>
                <c:pt idx="3750">
                  <c:v>35.425</c:v>
                </c:pt>
                <c:pt idx="3751">
                  <c:v>35.434</c:v>
                </c:pt>
                <c:pt idx="3752">
                  <c:v>35.443</c:v>
                </c:pt>
                <c:pt idx="3753">
                  <c:v>35.452</c:v>
                </c:pt>
                <c:pt idx="3754">
                  <c:v>35.461</c:v>
                </c:pt>
                <c:pt idx="3755">
                  <c:v>35.47</c:v>
                </c:pt>
                <c:pt idx="3756">
                  <c:v>35.479</c:v>
                </c:pt>
                <c:pt idx="3757">
                  <c:v>35.489</c:v>
                </c:pt>
                <c:pt idx="3758">
                  <c:v>35.498</c:v>
                </c:pt>
                <c:pt idx="3759">
                  <c:v>35.507</c:v>
                </c:pt>
                <c:pt idx="3760">
                  <c:v>35.516</c:v>
                </c:pt>
                <c:pt idx="3761">
                  <c:v>35.525</c:v>
                </c:pt>
                <c:pt idx="3762">
                  <c:v>35.534</c:v>
                </c:pt>
                <c:pt idx="3763">
                  <c:v>35.543</c:v>
                </c:pt>
                <c:pt idx="3764">
                  <c:v>35.552</c:v>
                </c:pt>
                <c:pt idx="3765">
                  <c:v>35.562</c:v>
                </c:pt>
                <c:pt idx="3766">
                  <c:v>35.571</c:v>
                </c:pt>
                <c:pt idx="3767">
                  <c:v>35.58</c:v>
                </c:pt>
                <c:pt idx="3768">
                  <c:v>35.589</c:v>
                </c:pt>
                <c:pt idx="3769">
                  <c:v>35.598</c:v>
                </c:pt>
                <c:pt idx="3770">
                  <c:v>35.607</c:v>
                </c:pt>
                <c:pt idx="3771">
                  <c:v>35.616</c:v>
                </c:pt>
                <c:pt idx="3772">
                  <c:v>35.625</c:v>
                </c:pt>
                <c:pt idx="3773">
                  <c:v>35.635</c:v>
                </c:pt>
                <c:pt idx="3774">
                  <c:v>35.644</c:v>
                </c:pt>
                <c:pt idx="3775">
                  <c:v>35.653</c:v>
                </c:pt>
                <c:pt idx="3776">
                  <c:v>35.662</c:v>
                </c:pt>
                <c:pt idx="3777">
                  <c:v>35.671</c:v>
                </c:pt>
                <c:pt idx="3778">
                  <c:v>35.68</c:v>
                </c:pt>
                <c:pt idx="3779">
                  <c:v>35.689</c:v>
                </c:pt>
                <c:pt idx="3780">
                  <c:v>35.698</c:v>
                </c:pt>
                <c:pt idx="3781">
                  <c:v>35.707</c:v>
                </c:pt>
                <c:pt idx="3782">
                  <c:v>35.716</c:v>
                </c:pt>
                <c:pt idx="3783">
                  <c:v>35.725</c:v>
                </c:pt>
                <c:pt idx="3784">
                  <c:v>35.734</c:v>
                </c:pt>
                <c:pt idx="3785">
                  <c:v>35.743</c:v>
                </c:pt>
                <c:pt idx="3786">
                  <c:v>35.752</c:v>
                </c:pt>
                <c:pt idx="3787">
                  <c:v>35.761</c:v>
                </c:pt>
                <c:pt idx="3788">
                  <c:v>35.77</c:v>
                </c:pt>
                <c:pt idx="3789">
                  <c:v>35.78</c:v>
                </c:pt>
                <c:pt idx="3790">
                  <c:v>35.789</c:v>
                </c:pt>
                <c:pt idx="3791">
                  <c:v>35.798</c:v>
                </c:pt>
                <c:pt idx="3792">
                  <c:v>35.807</c:v>
                </c:pt>
                <c:pt idx="3793">
                  <c:v>35.816</c:v>
                </c:pt>
                <c:pt idx="3794">
                  <c:v>35.825</c:v>
                </c:pt>
                <c:pt idx="3795">
                  <c:v>35.834</c:v>
                </c:pt>
                <c:pt idx="3796">
                  <c:v>35.843</c:v>
                </c:pt>
                <c:pt idx="3797">
                  <c:v>35.853</c:v>
                </c:pt>
                <c:pt idx="3798">
                  <c:v>35.862</c:v>
                </c:pt>
                <c:pt idx="3799">
                  <c:v>35.871</c:v>
                </c:pt>
                <c:pt idx="3800">
                  <c:v>35.88</c:v>
                </c:pt>
                <c:pt idx="3801">
                  <c:v>35.889</c:v>
                </c:pt>
                <c:pt idx="3802">
                  <c:v>35.898</c:v>
                </c:pt>
                <c:pt idx="3803">
                  <c:v>35.908</c:v>
                </c:pt>
                <c:pt idx="3804">
                  <c:v>35.917</c:v>
                </c:pt>
                <c:pt idx="3805">
                  <c:v>35.926</c:v>
                </c:pt>
                <c:pt idx="3806">
                  <c:v>35.935</c:v>
                </c:pt>
                <c:pt idx="3807">
                  <c:v>35.944</c:v>
                </c:pt>
                <c:pt idx="3808">
                  <c:v>35.953</c:v>
                </c:pt>
                <c:pt idx="3809">
                  <c:v>35.962</c:v>
                </c:pt>
                <c:pt idx="3810">
                  <c:v>35.971</c:v>
                </c:pt>
                <c:pt idx="3811">
                  <c:v>35.98</c:v>
                </c:pt>
                <c:pt idx="3812">
                  <c:v>35.989</c:v>
                </c:pt>
                <c:pt idx="3813">
                  <c:v>35.998</c:v>
                </c:pt>
                <c:pt idx="3814">
                  <c:v>36.007</c:v>
                </c:pt>
                <c:pt idx="3815">
                  <c:v>36.016</c:v>
                </c:pt>
                <c:pt idx="3816">
                  <c:v>36.025</c:v>
                </c:pt>
                <c:pt idx="3817">
                  <c:v>36.034</c:v>
                </c:pt>
                <c:pt idx="3818">
                  <c:v>36.043</c:v>
                </c:pt>
                <c:pt idx="3819">
                  <c:v>36.053</c:v>
                </c:pt>
                <c:pt idx="3820">
                  <c:v>36.062</c:v>
                </c:pt>
                <c:pt idx="3821">
                  <c:v>36.071</c:v>
                </c:pt>
                <c:pt idx="3822">
                  <c:v>36.08</c:v>
                </c:pt>
                <c:pt idx="3823">
                  <c:v>36.089</c:v>
                </c:pt>
                <c:pt idx="3824">
                  <c:v>36.098</c:v>
                </c:pt>
                <c:pt idx="3825">
                  <c:v>36.107</c:v>
                </c:pt>
                <c:pt idx="3826">
                  <c:v>36.116</c:v>
                </c:pt>
                <c:pt idx="3827">
                  <c:v>36.125</c:v>
                </c:pt>
                <c:pt idx="3828">
                  <c:v>36.134</c:v>
                </c:pt>
                <c:pt idx="3829">
                  <c:v>36.143</c:v>
                </c:pt>
                <c:pt idx="3830">
                  <c:v>36.152</c:v>
                </c:pt>
                <c:pt idx="3831">
                  <c:v>36.161</c:v>
                </c:pt>
                <c:pt idx="3832">
                  <c:v>36.17</c:v>
                </c:pt>
                <c:pt idx="3833">
                  <c:v>36.179</c:v>
                </c:pt>
                <c:pt idx="3834">
                  <c:v>36.188</c:v>
                </c:pt>
                <c:pt idx="3835">
                  <c:v>36.198</c:v>
                </c:pt>
                <c:pt idx="3836">
                  <c:v>36.207</c:v>
                </c:pt>
                <c:pt idx="3837">
                  <c:v>36.216</c:v>
                </c:pt>
                <c:pt idx="3838">
                  <c:v>36.225</c:v>
                </c:pt>
                <c:pt idx="3839">
                  <c:v>36.234</c:v>
                </c:pt>
                <c:pt idx="3840">
                  <c:v>36.243</c:v>
                </c:pt>
                <c:pt idx="3841">
                  <c:v>36.252</c:v>
                </c:pt>
                <c:pt idx="3842">
                  <c:v>36.261</c:v>
                </c:pt>
                <c:pt idx="3843">
                  <c:v>36.27</c:v>
                </c:pt>
                <c:pt idx="3844">
                  <c:v>36.279</c:v>
                </c:pt>
                <c:pt idx="3845">
                  <c:v>36.288</c:v>
                </c:pt>
                <c:pt idx="3846">
                  <c:v>36.297</c:v>
                </c:pt>
                <c:pt idx="3847">
                  <c:v>36.306</c:v>
                </c:pt>
                <c:pt idx="3848">
                  <c:v>36.315</c:v>
                </c:pt>
                <c:pt idx="3849">
                  <c:v>36.324</c:v>
                </c:pt>
                <c:pt idx="3850">
                  <c:v>36.333</c:v>
                </c:pt>
                <c:pt idx="3851">
                  <c:v>36.343</c:v>
                </c:pt>
                <c:pt idx="3852">
                  <c:v>36.352</c:v>
                </c:pt>
                <c:pt idx="3853">
                  <c:v>36.361</c:v>
                </c:pt>
                <c:pt idx="3854">
                  <c:v>36.37</c:v>
                </c:pt>
                <c:pt idx="3855">
                  <c:v>36.379</c:v>
                </c:pt>
                <c:pt idx="3856">
                  <c:v>36.388</c:v>
                </c:pt>
                <c:pt idx="3857">
                  <c:v>36.397</c:v>
                </c:pt>
                <c:pt idx="3858">
                  <c:v>36.406</c:v>
                </c:pt>
                <c:pt idx="3859">
                  <c:v>36.415</c:v>
                </c:pt>
                <c:pt idx="3860">
                  <c:v>36.424</c:v>
                </c:pt>
                <c:pt idx="3861">
                  <c:v>36.433</c:v>
                </c:pt>
                <c:pt idx="3862">
                  <c:v>36.442</c:v>
                </c:pt>
                <c:pt idx="3863">
                  <c:v>36.451</c:v>
                </c:pt>
                <c:pt idx="3864">
                  <c:v>36.46</c:v>
                </c:pt>
                <c:pt idx="3865">
                  <c:v>36.469</c:v>
                </c:pt>
                <c:pt idx="3866">
                  <c:v>36.478</c:v>
                </c:pt>
                <c:pt idx="3867">
                  <c:v>36.487</c:v>
                </c:pt>
                <c:pt idx="3868">
                  <c:v>36.497</c:v>
                </c:pt>
                <c:pt idx="3869">
                  <c:v>36.506</c:v>
                </c:pt>
                <c:pt idx="3870">
                  <c:v>36.515</c:v>
                </c:pt>
                <c:pt idx="3871">
                  <c:v>36.524</c:v>
                </c:pt>
                <c:pt idx="3872">
                  <c:v>36.533</c:v>
                </c:pt>
                <c:pt idx="3873">
                  <c:v>36.542</c:v>
                </c:pt>
                <c:pt idx="3874">
                  <c:v>36.551</c:v>
                </c:pt>
                <c:pt idx="3875">
                  <c:v>36.56</c:v>
                </c:pt>
                <c:pt idx="3876">
                  <c:v>36.569</c:v>
                </c:pt>
                <c:pt idx="3877">
                  <c:v>36.578</c:v>
                </c:pt>
                <c:pt idx="3878">
                  <c:v>36.587</c:v>
                </c:pt>
                <c:pt idx="3879">
                  <c:v>36.596</c:v>
                </c:pt>
                <c:pt idx="3880">
                  <c:v>36.605</c:v>
                </c:pt>
                <c:pt idx="3881">
                  <c:v>36.614</c:v>
                </c:pt>
                <c:pt idx="3882">
                  <c:v>36.623</c:v>
                </c:pt>
                <c:pt idx="3883">
                  <c:v>36.632</c:v>
                </c:pt>
                <c:pt idx="3884">
                  <c:v>36.642</c:v>
                </c:pt>
                <c:pt idx="3885">
                  <c:v>36.651</c:v>
                </c:pt>
                <c:pt idx="3886">
                  <c:v>36.66</c:v>
                </c:pt>
                <c:pt idx="3887">
                  <c:v>36.669</c:v>
                </c:pt>
                <c:pt idx="3888">
                  <c:v>36.678</c:v>
                </c:pt>
                <c:pt idx="3889">
                  <c:v>36.687</c:v>
                </c:pt>
                <c:pt idx="3890">
                  <c:v>36.697</c:v>
                </c:pt>
                <c:pt idx="3891">
                  <c:v>36.706</c:v>
                </c:pt>
                <c:pt idx="3892">
                  <c:v>36.715</c:v>
                </c:pt>
                <c:pt idx="3893">
                  <c:v>36.724</c:v>
                </c:pt>
                <c:pt idx="3894">
                  <c:v>36.733</c:v>
                </c:pt>
                <c:pt idx="3895">
                  <c:v>36.742</c:v>
                </c:pt>
                <c:pt idx="3896">
                  <c:v>36.751</c:v>
                </c:pt>
                <c:pt idx="3897">
                  <c:v>36.76</c:v>
                </c:pt>
                <c:pt idx="3898">
                  <c:v>36.769</c:v>
                </c:pt>
                <c:pt idx="3899">
                  <c:v>36.778</c:v>
                </c:pt>
                <c:pt idx="3900">
                  <c:v>36.787</c:v>
                </c:pt>
                <c:pt idx="3901">
                  <c:v>36.796</c:v>
                </c:pt>
                <c:pt idx="3902">
                  <c:v>36.805</c:v>
                </c:pt>
                <c:pt idx="3903">
                  <c:v>36.814</c:v>
                </c:pt>
                <c:pt idx="3904">
                  <c:v>36.823</c:v>
                </c:pt>
                <c:pt idx="3905">
                  <c:v>36.832</c:v>
                </c:pt>
                <c:pt idx="3906">
                  <c:v>36.841</c:v>
                </c:pt>
                <c:pt idx="3907">
                  <c:v>36.85</c:v>
                </c:pt>
                <c:pt idx="3908">
                  <c:v>36.86</c:v>
                </c:pt>
                <c:pt idx="3909">
                  <c:v>36.869</c:v>
                </c:pt>
                <c:pt idx="3910">
                  <c:v>36.878</c:v>
                </c:pt>
                <c:pt idx="3911">
                  <c:v>36.888</c:v>
                </c:pt>
                <c:pt idx="3912">
                  <c:v>36.903</c:v>
                </c:pt>
                <c:pt idx="3913">
                  <c:v>36.913</c:v>
                </c:pt>
                <c:pt idx="3914">
                  <c:v>36.922</c:v>
                </c:pt>
                <c:pt idx="3915">
                  <c:v>36.932</c:v>
                </c:pt>
                <c:pt idx="3916">
                  <c:v>36.941</c:v>
                </c:pt>
                <c:pt idx="3917">
                  <c:v>36.95</c:v>
                </c:pt>
                <c:pt idx="3918">
                  <c:v>36.959</c:v>
                </c:pt>
                <c:pt idx="3919">
                  <c:v>36.968</c:v>
                </c:pt>
                <c:pt idx="3920">
                  <c:v>36.977</c:v>
                </c:pt>
                <c:pt idx="3921">
                  <c:v>36.986</c:v>
                </c:pt>
                <c:pt idx="3922">
                  <c:v>36.995</c:v>
                </c:pt>
                <c:pt idx="3923">
                  <c:v>37.005</c:v>
                </c:pt>
                <c:pt idx="3924">
                  <c:v>37.014</c:v>
                </c:pt>
                <c:pt idx="3925">
                  <c:v>37.024</c:v>
                </c:pt>
                <c:pt idx="3926">
                  <c:v>37.033</c:v>
                </c:pt>
                <c:pt idx="3927">
                  <c:v>37.042</c:v>
                </c:pt>
                <c:pt idx="3928">
                  <c:v>37.051</c:v>
                </c:pt>
                <c:pt idx="3929">
                  <c:v>37.06</c:v>
                </c:pt>
                <c:pt idx="3930">
                  <c:v>37.069</c:v>
                </c:pt>
                <c:pt idx="3931">
                  <c:v>37.078</c:v>
                </c:pt>
                <c:pt idx="3932">
                  <c:v>37.087</c:v>
                </c:pt>
                <c:pt idx="3933">
                  <c:v>37.096</c:v>
                </c:pt>
                <c:pt idx="3934">
                  <c:v>37.105</c:v>
                </c:pt>
                <c:pt idx="3935">
                  <c:v>37.114</c:v>
                </c:pt>
                <c:pt idx="3936">
                  <c:v>37.123</c:v>
                </c:pt>
                <c:pt idx="3937">
                  <c:v>37.132</c:v>
                </c:pt>
                <c:pt idx="3938">
                  <c:v>37.141</c:v>
                </c:pt>
                <c:pt idx="3939">
                  <c:v>37.15</c:v>
                </c:pt>
                <c:pt idx="3940">
                  <c:v>37.159</c:v>
                </c:pt>
                <c:pt idx="3941">
                  <c:v>37.169</c:v>
                </c:pt>
                <c:pt idx="3942">
                  <c:v>37.178</c:v>
                </c:pt>
                <c:pt idx="3943">
                  <c:v>37.187</c:v>
                </c:pt>
                <c:pt idx="3944">
                  <c:v>37.196</c:v>
                </c:pt>
                <c:pt idx="3945">
                  <c:v>37.205</c:v>
                </c:pt>
                <c:pt idx="3946">
                  <c:v>37.214</c:v>
                </c:pt>
                <c:pt idx="3947">
                  <c:v>37.223</c:v>
                </c:pt>
                <c:pt idx="3948">
                  <c:v>37.232</c:v>
                </c:pt>
                <c:pt idx="3949">
                  <c:v>37.241</c:v>
                </c:pt>
                <c:pt idx="3950">
                  <c:v>37.25</c:v>
                </c:pt>
                <c:pt idx="3951">
                  <c:v>37.259</c:v>
                </c:pt>
                <c:pt idx="3952">
                  <c:v>37.268</c:v>
                </c:pt>
                <c:pt idx="3953">
                  <c:v>37.277</c:v>
                </c:pt>
                <c:pt idx="3954">
                  <c:v>37.286</c:v>
                </c:pt>
                <c:pt idx="3955">
                  <c:v>37.295</c:v>
                </c:pt>
                <c:pt idx="3956">
                  <c:v>37.304</c:v>
                </c:pt>
                <c:pt idx="3957">
                  <c:v>37.313</c:v>
                </c:pt>
                <c:pt idx="3958">
                  <c:v>37.323</c:v>
                </c:pt>
                <c:pt idx="3959">
                  <c:v>37.332</c:v>
                </c:pt>
                <c:pt idx="3960">
                  <c:v>37.341</c:v>
                </c:pt>
                <c:pt idx="3961">
                  <c:v>37.35</c:v>
                </c:pt>
                <c:pt idx="3962">
                  <c:v>37.359</c:v>
                </c:pt>
                <c:pt idx="3963">
                  <c:v>37.368</c:v>
                </c:pt>
                <c:pt idx="3964">
                  <c:v>37.377</c:v>
                </c:pt>
                <c:pt idx="3965">
                  <c:v>37.386</c:v>
                </c:pt>
                <c:pt idx="3966">
                  <c:v>37.395</c:v>
                </c:pt>
                <c:pt idx="3967">
                  <c:v>37.407</c:v>
                </c:pt>
                <c:pt idx="3968">
                  <c:v>37.418</c:v>
                </c:pt>
                <c:pt idx="3969">
                  <c:v>37.427</c:v>
                </c:pt>
                <c:pt idx="3970">
                  <c:v>37.436</c:v>
                </c:pt>
                <c:pt idx="3971">
                  <c:v>37.445</c:v>
                </c:pt>
                <c:pt idx="3972">
                  <c:v>37.454</c:v>
                </c:pt>
                <c:pt idx="3973">
                  <c:v>37.464</c:v>
                </c:pt>
                <c:pt idx="3974">
                  <c:v>37.473</c:v>
                </c:pt>
                <c:pt idx="3975">
                  <c:v>37.482</c:v>
                </c:pt>
                <c:pt idx="3976">
                  <c:v>37.491</c:v>
                </c:pt>
                <c:pt idx="3977">
                  <c:v>37.5</c:v>
                </c:pt>
                <c:pt idx="3978">
                  <c:v>37.509</c:v>
                </c:pt>
                <c:pt idx="3979">
                  <c:v>37.518</c:v>
                </c:pt>
                <c:pt idx="3980">
                  <c:v>37.527</c:v>
                </c:pt>
                <c:pt idx="3981">
                  <c:v>37.536</c:v>
                </c:pt>
                <c:pt idx="3982">
                  <c:v>37.545</c:v>
                </c:pt>
                <c:pt idx="3983">
                  <c:v>37.554</c:v>
                </c:pt>
                <c:pt idx="3984">
                  <c:v>37.564</c:v>
                </c:pt>
                <c:pt idx="3985">
                  <c:v>37.573</c:v>
                </c:pt>
                <c:pt idx="3986">
                  <c:v>37.582</c:v>
                </c:pt>
                <c:pt idx="3987">
                  <c:v>37.591</c:v>
                </c:pt>
                <c:pt idx="3988">
                  <c:v>37.6</c:v>
                </c:pt>
                <c:pt idx="3989">
                  <c:v>37.61</c:v>
                </c:pt>
                <c:pt idx="3990">
                  <c:v>37.619</c:v>
                </c:pt>
                <c:pt idx="3991">
                  <c:v>37.628</c:v>
                </c:pt>
                <c:pt idx="3992">
                  <c:v>37.637</c:v>
                </c:pt>
                <c:pt idx="3993">
                  <c:v>37.646</c:v>
                </c:pt>
                <c:pt idx="3994">
                  <c:v>37.655</c:v>
                </c:pt>
                <c:pt idx="3995">
                  <c:v>37.664</c:v>
                </c:pt>
                <c:pt idx="3996">
                  <c:v>37.673</c:v>
                </c:pt>
                <c:pt idx="3997">
                  <c:v>37.682</c:v>
                </c:pt>
                <c:pt idx="3998">
                  <c:v>37.691</c:v>
                </c:pt>
                <c:pt idx="3999">
                  <c:v>37.7</c:v>
                </c:pt>
                <c:pt idx="4000">
                  <c:v>37.709</c:v>
                </c:pt>
                <c:pt idx="4001">
                  <c:v>37.718</c:v>
                </c:pt>
                <c:pt idx="4002">
                  <c:v>37.727</c:v>
                </c:pt>
                <c:pt idx="4003">
                  <c:v>37.736</c:v>
                </c:pt>
                <c:pt idx="4004">
                  <c:v>37.745</c:v>
                </c:pt>
                <c:pt idx="4005">
                  <c:v>37.754</c:v>
                </c:pt>
                <c:pt idx="4006">
                  <c:v>37.763</c:v>
                </c:pt>
                <c:pt idx="4007">
                  <c:v>37.772</c:v>
                </c:pt>
                <c:pt idx="4008">
                  <c:v>37.781</c:v>
                </c:pt>
                <c:pt idx="4009">
                  <c:v>37.791</c:v>
                </c:pt>
                <c:pt idx="4010">
                  <c:v>37.8</c:v>
                </c:pt>
                <c:pt idx="4011">
                  <c:v>37.809</c:v>
                </c:pt>
                <c:pt idx="4012">
                  <c:v>37.818</c:v>
                </c:pt>
                <c:pt idx="4013">
                  <c:v>37.827</c:v>
                </c:pt>
                <c:pt idx="4014">
                  <c:v>37.836</c:v>
                </c:pt>
                <c:pt idx="4015">
                  <c:v>37.845</c:v>
                </c:pt>
                <c:pt idx="4016">
                  <c:v>37.854</c:v>
                </c:pt>
                <c:pt idx="4017">
                  <c:v>37.863</c:v>
                </c:pt>
                <c:pt idx="4018">
                  <c:v>37.872</c:v>
                </c:pt>
                <c:pt idx="4019">
                  <c:v>37.881</c:v>
                </c:pt>
                <c:pt idx="4020">
                  <c:v>37.89</c:v>
                </c:pt>
                <c:pt idx="4021">
                  <c:v>37.9</c:v>
                </c:pt>
                <c:pt idx="4022">
                  <c:v>37.911</c:v>
                </c:pt>
                <c:pt idx="4023">
                  <c:v>37.924</c:v>
                </c:pt>
                <c:pt idx="4024">
                  <c:v>37.933</c:v>
                </c:pt>
                <c:pt idx="4025">
                  <c:v>37.942</c:v>
                </c:pt>
                <c:pt idx="4026">
                  <c:v>37.951</c:v>
                </c:pt>
                <c:pt idx="4027">
                  <c:v>37.96</c:v>
                </c:pt>
                <c:pt idx="4028">
                  <c:v>37.97</c:v>
                </c:pt>
                <c:pt idx="4029">
                  <c:v>37.979</c:v>
                </c:pt>
                <c:pt idx="4030">
                  <c:v>37.988</c:v>
                </c:pt>
                <c:pt idx="4031">
                  <c:v>37.997</c:v>
                </c:pt>
                <c:pt idx="4032">
                  <c:v>38.006</c:v>
                </c:pt>
                <c:pt idx="4033">
                  <c:v>38.015</c:v>
                </c:pt>
                <c:pt idx="4034">
                  <c:v>38.024</c:v>
                </c:pt>
                <c:pt idx="4035">
                  <c:v>38.033</c:v>
                </c:pt>
                <c:pt idx="4036">
                  <c:v>38.042</c:v>
                </c:pt>
                <c:pt idx="4037">
                  <c:v>38.051</c:v>
                </c:pt>
                <c:pt idx="4038">
                  <c:v>38.067</c:v>
                </c:pt>
                <c:pt idx="4039">
                  <c:v>38.076</c:v>
                </c:pt>
                <c:pt idx="4040">
                  <c:v>38.085</c:v>
                </c:pt>
                <c:pt idx="4041">
                  <c:v>38.094</c:v>
                </c:pt>
                <c:pt idx="4042">
                  <c:v>38.103</c:v>
                </c:pt>
                <c:pt idx="4043">
                  <c:v>38.112</c:v>
                </c:pt>
                <c:pt idx="4044">
                  <c:v>38.121</c:v>
                </c:pt>
                <c:pt idx="4045">
                  <c:v>38.13</c:v>
                </c:pt>
                <c:pt idx="4046">
                  <c:v>38.139</c:v>
                </c:pt>
                <c:pt idx="4047">
                  <c:v>38.148</c:v>
                </c:pt>
                <c:pt idx="4048">
                  <c:v>38.157</c:v>
                </c:pt>
                <c:pt idx="4049">
                  <c:v>38.166</c:v>
                </c:pt>
                <c:pt idx="4050">
                  <c:v>38.175</c:v>
                </c:pt>
                <c:pt idx="4051">
                  <c:v>38.184</c:v>
                </c:pt>
                <c:pt idx="4052">
                  <c:v>38.193</c:v>
                </c:pt>
                <c:pt idx="4053">
                  <c:v>38.202</c:v>
                </c:pt>
                <c:pt idx="4054">
                  <c:v>38.211</c:v>
                </c:pt>
                <c:pt idx="4055">
                  <c:v>38.22</c:v>
                </c:pt>
                <c:pt idx="4056">
                  <c:v>38.229</c:v>
                </c:pt>
                <c:pt idx="4057">
                  <c:v>38.238</c:v>
                </c:pt>
                <c:pt idx="4058">
                  <c:v>38.247</c:v>
                </c:pt>
                <c:pt idx="4059">
                  <c:v>38.256</c:v>
                </c:pt>
                <c:pt idx="4060">
                  <c:v>38.265</c:v>
                </c:pt>
                <c:pt idx="4061">
                  <c:v>38.274</c:v>
                </c:pt>
                <c:pt idx="4062">
                  <c:v>38.283</c:v>
                </c:pt>
                <c:pt idx="4063">
                  <c:v>38.292</c:v>
                </c:pt>
                <c:pt idx="4064">
                  <c:v>38.301</c:v>
                </c:pt>
                <c:pt idx="4065">
                  <c:v>38.31</c:v>
                </c:pt>
                <c:pt idx="4066">
                  <c:v>38.319</c:v>
                </c:pt>
                <c:pt idx="4067">
                  <c:v>38.328</c:v>
                </c:pt>
                <c:pt idx="4068">
                  <c:v>38.338</c:v>
                </c:pt>
                <c:pt idx="4069">
                  <c:v>38.347</c:v>
                </c:pt>
                <c:pt idx="4070">
                  <c:v>38.356</c:v>
                </c:pt>
                <c:pt idx="4071">
                  <c:v>38.365</c:v>
                </c:pt>
                <c:pt idx="4072">
                  <c:v>38.374</c:v>
                </c:pt>
                <c:pt idx="4073">
                  <c:v>38.383</c:v>
                </c:pt>
                <c:pt idx="4074">
                  <c:v>38.392</c:v>
                </c:pt>
                <c:pt idx="4075">
                  <c:v>38.401</c:v>
                </c:pt>
                <c:pt idx="4076">
                  <c:v>38.416</c:v>
                </c:pt>
                <c:pt idx="4077">
                  <c:v>38.427</c:v>
                </c:pt>
                <c:pt idx="4078">
                  <c:v>38.436</c:v>
                </c:pt>
                <c:pt idx="4079">
                  <c:v>38.445</c:v>
                </c:pt>
                <c:pt idx="4080">
                  <c:v>38.454</c:v>
                </c:pt>
                <c:pt idx="4081">
                  <c:v>38.463</c:v>
                </c:pt>
                <c:pt idx="4082">
                  <c:v>38.472</c:v>
                </c:pt>
                <c:pt idx="4083">
                  <c:v>38.481</c:v>
                </c:pt>
                <c:pt idx="4084">
                  <c:v>38.49</c:v>
                </c:pt>
                <c:pt idx="4085">
                  <c:v>38.499</c:v>
                </c:pt>
                <c:pt idx="4086">
                  <c:v>38.508</c:v>
                </c:pt>
                <c:pt idx="4087">
                  <c:v>38.517</c:v>
                </c:pt>
                <c:pt idx="4088">
                  <c:v>38.526</c:v>
                </c:pt>
                <c:pt idx="4089">
                  <c:v>38.535</c:v>
                </c:pt>
                <c:pt idx="4090">
                  <c:v>38.544</c:v>
                </c:pt>
                <c:pt idx="4091">
                  <c:v>38.553</c:v>
                </c:pt>
                <c:pt idx="4092">
                  <c:v>38.562</c:v>
                </c:pt>
                <c:pt idx="4093">
                  <c:v>38.571</c:v>
                </c:pt>
                <c:pt idx="4094">
                  <c:v>38.58</c:v>
                </c:pt>
                <c:pt idx="4095">
                  <c:v>38.589</c:v>
                </c:pt>
                <c:pt idx="4096">
                  <c:v>38.598</c:v>
                </c:pt>
                <c:pt idx="4097">
                  <c:v>38.607</c:v>
                </c:pt>
                <c:pt idx="4098">
                  <c:v>38.616</c:v>
                </c:pt>
                <c:pt idx="4099">
                  <c:v>38.625</c:v>
                </c:pt>
                <c:pt idx="4100">
                  <c:v>38.634</c:v>
                </c:pt>
                <c:pt idx="4101">
                  <c:v>38.643</c:v>
                </c:pt>
                <c:pt idx="4102">
                  <c:v>38.652</c:v>
                </c:pt>
                <c:pt idx="4103">
                  <c:v>38.661</c:v>
                </c:pt>
                <c:pt idx="4104">
                  <c:v>38.67</c:v>
                </c:pt>
                <c:pt idx="4105">
                  <c:v>38.679</c:v>
                </c:pt>
                <c:pt idx="4106">
                  <c:v>38.688</c:v>
                </c:pt>
                <c:pt idx="4107">
                  <c:v>38.697</c:v>
                </c:pt>
                <c:pt idx="4108">
                  <c:v>38.706</c:v>
                </c:pt>
                <c:pt idx="4109">
                  <c:v>38.715</c:v>
                </c:pt>
                <c:pt idx="4110">
                  <c:v>38.724</c:v>
                </c:pt>
                <c:pt idx="4111">
                  <c:v>38.733</c:v>
                </c:pt>
                <c:pt idx="4112">
                  <c:v>38.742</c:v>
                </c:pt>
                <c:pt idx="4113">
                  <c:v>38.751</c:v>
                </c:pt>
                <c:pt idx="4114">
                  <c:v>38.76</c:v>
                </c:pt>
                <c:pt idx="4115">
                  <c:v>38.769</c:v>
                </c:pt>
                <c:pt idx="4116">
                  <c:v>38.778</c:v>
                </c:pt>
                <c:pt idx="4117">
                  <c:v>38.787</c:v>
                </c:pt>
                <c:pt idx="4118">
                  <c:v>38.796</c:v>
                </c:pt>
                <c:pt idx="4119">
                  <c:v>38.805</c:v>
                </c:pt>
                <c:pt idx="4120">
                  <c:v>38.814</c:v>
                </c:pt>
                <c:pt idx="4121">
                  <c:v>38.823</c:v>
                </c:pt>
                <c:pt idx="4122">
                  <c:v>38.832</c:v>
                </c:pt>
                <c:pt idx="4123">
                  <c:v>38.842</c:v>
                </c:pt>
                <c:pt idx="4124">
                  <c:v>38.851</c:v>
                </c:pt>
                <c:pt idx="4125">
                  <c:v>38.86</c:v>
                </c:pt>
                <c:pt idx="4126">
                  <c:v>38.869</c:v>
                </c:pt>
                <c:pt idx="4127">
                  <c:v>38.878</c:v>
                </c:pt>
                <c:pt idx="4128">
                  <c:v>38.887</c:v>
                </c:pt>
                <c:pt idx="4129">
                  <c:v>38.896</c:v>
                </c:pt>
                <c:pt idx="4130">
                  <c:v>38.905</c:v>
                </c:pt>
                <c:pt idx="4131">
                  <c:v>38.92</c:v>
                </c:pt>
                <c:pt idx="4132">
                  <c:v>38.93</c:v>
                </c:pt>
                <c:pt idx="4133">
                  <c:v>38.939</c:v>
                </c:pt>
                <c:pt idx="4134">
                  <c:v>38.948</c:v>
                </c:pt>
                <c:pt idx="4135">
                  <c:v>38.957</c:v>
                </c:pt>
                <c:pt idx="4136">
                  <c:v>38.966</c:v>
                </c:pt>
                <c:pt idx="4137">
                  <c:v>38.975</c:v>
                </c:pt>
                <c:pt idx="4138">
                  <c:v>38.984</c:v>
                </c:pt>
                <c:pt idx="4139">
                  <c:v>38.994</c:v>
                </c:pt>
                <c:pt idx="4140">
                  <c:v>39.003</c:v>
                </c:pt>
                <c:pt idx="4141">
                  <c:v>39.012</c:v>
                </c:pt>
                <c:pt idx="4142">
                  <c:v>39.021</c:v>
                </c:pt>
                <c:pt idx="4143">
                  <c:v>39.03</c:v>
                </c:pt>
                <c:pt idx="4144">
                  <c:v>39.039</c:v>
                </c:pt>
                <c:pt idx="4145">
                  <c:v>39.048</c:v>
                </c:pt>
                <c:pt idx="4146">
                  <c:v>39.057</c:v>
                </c:pt>
                <c:pt idx="4147">
                  <c:v>39.066</c:v>
                </c:pt>
                <c:pt idx="4148">
                  <c:v>39.075</c:v>
                </c:pt>
                <c:pt idx="4149">
                  <c:v>39.084</c:v>
                </c:pt>
                <c:pt idx="4150">
                  <c:v>39.093</c:v>
                </c:pt>
                <c:pt idx="4151">
                  <c:v>39.102</c:v>
                </c:pt>
                <c:pt idx="4152">
                  <c:v>39.111</c:v>
                </c:pt>
                <c:pt idx="4153">
                  <c:v>39.12</c:v>
                </c:pt>
                <c:pt idx="4154">
                  <c:v>39.129</c:v>
                </c:pt>
                <c:pt idx="4155">
                  <c:v>39.138</c:v>
                </c:pt>
                <c:pt idx="4156">
                  <c:v>39.148</c:v>
                </c:pt>
                <c:pt idx="4157">
                  <c:v>39.157</c:v>
                </c:pt>
                <c:pt idx="4158">
                  <c:v>39.166</c:v>
                </c:pt>
                <c:pt idx="4159">
                  <c:v>39.175</c:v>
                </c:pt>
                <c:pt idx="4160">
                  <c:v>39.184</c:v>
                </c:pt>
                <c:pt idx="4161">
                  <c:v>39.193</c:v>
                </c:pt>
                <c:pt idx="4162">
                  <c:v>39.202</c:v>
                </c:pt>
                <c:pt idx="4163">
                  <c:v>39.211</c:v>
                </c:pt>
                <c:pt idx="4164">
                  <c:v>39.22</c:v>
                </c:pt>
                <c:pt idx="4165">
                  <c:v>39.229</c:v>
                </c:pt>
                <c:pt idx="4166">
                  <c:v>39.238</c:v>
                </c:pt>
                <c:pt idx="4167">
                  <c:v>39.247</c:v>
                </c:pt>
                <c:pt idx="4168">
                  <c:v>39.256</c:v>
                </c:pt>
                <c:pt idx="4169">
                  <c:v>39.265</c:v>
                </c:pt>
                <c:pt idx="4170">
                  <c:v>39.274</c:v>
                </c:pt>
                <c:pt idx="4171">
                  <c:v>39.283</c:v>
                </c:pt>
                <c:pt idx="4172">
                  <c:v>39.293</c:v>
                </c:pt>
                <c:pt idx="4173">
                  <c:v>39.302</c:v>
                </c:pt>
                <c:pt idx="4174">
                  <c:v>39.311</c:v>
                </c:pt>
                <c:pt idx="4175">
                  <c:v>39.32</c:v>
                </c:pt>
                <c:pt idx="4176">
                  <c:v>39.329</c:v>
                </c:pt>
                <c:pt idx="4177">
                  <c:v>39.339</c:v>
                </c:pt>
                <c:pt idx="4178">
                  <c:v>39.348</c:v>
                </c:pt>
                <c:pt idx="4179">
                  <c:v>39.357</c:v>
                </c:pt>
                <c:pt idx="4180">
                  <c:v>39.366</c:v>
                </c:pt>
                <c:pt idx="4181">
                  <c:v>39.375</c:v>
                </c:pt>
                <c:pt idx="4182">
                  <c:v>39.384</c:v>
                </c:pt>
                <c:pt idx="4183">
                  <c:v>39.394</c:v>
                </c:pt>
                <c:pt idx="4184">
                  <c:v>39.403</c:v>
                </c:pt>
                <c:pt idx="4185">
                  <c:v>39.412</c:v>
                </c:pt>
                <c:pt idx="4186">
                  <c:v>39.425</c:v>
                </c:pt>
                <c:pt idx="4187">
                  <c:v>39.436</c:v>
                </c:pt>
                <c:pt idx="4188">
                  <c:v>39.446</c:v>
                </c:pt>
                <c:pt idx="4189">
                  <c:v>39.455</c:v>
                </c:pt>
                <c:pt idx="4190">
                  <c:v>39.464</c:v>
                </c:pt>
                <c:pt idx="4191">
                  <c:v>39.473</c:v>
                </c:pt>
                <c:pt idx="4192">
                  <c:v>39.482</c:v>
                </c:pt>
                <c:pt idx="4193">
                  <c:v>39.491</c:v>
                </c:pt>
                <c:pt idx="4194">
                  <c:v>39.5</c:v>
                </c:pt>
                <c:pt idx="4195">
                  <c:v>39.509</c:v>
                </c:pt>
                <c:pt idx="4196">
                  <c:v>39.519</c:v>
                </c:pt>
                <c:pt idx="4197">
                  <c:v>39.528</c:v>
                </c:pt>
                <c:pt idx="4198">
                  <c:v>39.537</c:v>
                </c:pt>
                <c:pt idx="4199">
                  <c:v>39.546</c:v>
                </c:pt>
                <c:pt idx="4200">
                  <c:v>39.556</c:v>
                </c:pt>
                <c:pt idx="4201">
                  <c:v>39.565</c:v>
                </c:pt>
                <c:pt idx="4202">
                  <c:v>39.574</c:v>
                </c:pt>
                <c:pt idx="4203">
                  <c:v>39.583</c:v>
                </c:pt>
                <c:pt idx="4204">
                  <c:v>39.592</c:v>
                </c:pt>
                <c:pt idx="4205">
                  <c:v>39.601</c:v>
                </c:pt>
                <c:pt idx="4206">
                  <c:v>39.61</c:v>
                </c:pt>
                <c:pt idx="4207">
                  <c:v>39.619</c:v>
                </c:pt>
                <c:pt idx="4208">
                  <c:v>39.628</c:v>
                </c:pt>
                <c:pt idx="4209">
                  <c:v>39.637</c:v>
                </c:pt>
                <c:pt idx="4210">
                  <c:v>39.646</c:v>
                </c:pt>
                <c:pt idx="4211">
                  <c:v>39.655</c:v>
                </c:pt>
                <c:pt idx="4212">
                  <c:v>39.664</c:v>
                </c:pt>
                <c:pt idx="4213">
                  <c:v>39.673</c:v>
                </c:pt>
                <c:pt idx="4214">
                  <c:v>39.682</c:v>
                </c:pt>
                <c:pt idx="4215">
                  <c:v>39.691</c:v>
                </c:pt>
                <c:pt idx="4216">
                  <c:v>39.7</c:v>
                </c:pt>
                <c:pt idx="4217">
                  <c:v>39.709</c:v>
                </c:pt>
                <c:pt idx="4218">
                  <c:v>39.718</c:v>
                </c:pt>
                <c:pt idx="4219">
                  <c:v>39.727</c:v>
                </c:pt>
                <c:pt idx="4220">
                  <c:v>39.737</c:v>
                </c:pt>
                <c:pt idx="4221">
                  <c:v>39.746</c:v>
                </c:pt>
                <c:pt idx="4222">
                  <c:v>39.755</c:v>
                </c:pt>
                <c:pt idx="4223">
                  <c:v>39.764</c:v>
                </c:pt>
                <c:pt idx="4224">
                  <c:v>39.773</c:v>
                </c:pt>
                <c:pt idx="4225">
                  <c:v>39.782</c:v>
                </c:pt>
                <c:pt idx="4226">
                  <c:v>39.791</c:v>
                </c:pt>
                <c:pt idx="4227">
                  <c:v>39.801</c:v>
                </c:pt>
                <c:pt idx="4228">
                  <c:v>39.81</c:v>
                </c:pt>
                <c:pt idx="4229">
                  <c:v>39.82</c:v>
                </c:pt>
                <c:pt idx="4230">
                  <c:v>39.829</c:v>
                </c:pt>
                <c:pt idx="4231">
                  <c:v>39.838</c:v>
                </c:pt>
                <c:pt idx="4232">
                  <c:v>39.847</c:v>
                </c:pt>
                <c:pt idx="4233">
                  <c:v>39.856</c:v>
                </c:pt>
                <c:pt idx="4234">
                  <c:v>39.865</c:v>
                </c:pt>
                <c:pt idx="4235">
                  <c:v>39.874</c:v>
                </c:pt>
                <c:pt idx="4236">
                  <c:v>39.883</c:v>
                </c:pt>
                <c:pt idx="4237">
                  <c:v>39.892</c:v>
                </c:pt>
                <c:pt idx="4238">
                  <c:v>39.901</c:v>
                </c:pt>
                <c:pt idx="4239">
                  <c:v>39.91</c:v>
                </c:pt>
                <c:pt idx="4240">
                  <c:v>39.919</c:v>
                </c:pt>
                <c:pt idx="4241">
                  <c:v>39.928</c:v>
                </c:pt>
                <c:pt idx="4242">
                  <c:v>39.937</c:v>
                </c:pt>
                <c:pt idx="4243">
                  <c:v>39.946</c:v>
                </c:pt>
                <c:pt idx="4244">
                  <c:v>39.955</c:v>
                </c:pt>
                <c:pt idx="4245">
                  <c:v>39.964</c:v>
                </c:pt>
                <c:pt idx="4246">
                  <c:v>39.973</c:v>
                </c:pt>
                <c:pt idx="4247">
                  <c:v>39.982</c:v>
                </c:pt>
                <c:pt idx="4248">
                  <c:v>39.991</c:v>
                </c:pt>
                <c:pt idx="4249">
                  <c:v>40</c:v>
                </c:pt>
                <c:pt idx="4250">
                  <c:v>40.009</c:v>
                </c:pt>
                <c:pt idx="4251">
                  <c:v>40.019</c:v>
                </c:pt>
                <c:pt idx="4252">
                  <c:v>40.028</c:v>
                </c:pt>
                <c:pt idx="4253">
                  <c:v>40.037</c:v>
                </c:pt>
                <c:pt idx="4254">
                  <c:v>40.046</c:v>
                </c:pt>
                <c:pt idx="4255">
                  <c:v>40.055</c:v>
                </c:pt>
                <c:pt idx="4256">
                  <c:v>40.064</c:v>
                </c:pt>
                <c:pt idx="4257">
                  <c:v>40.073</c:v>
                </c:pt>
                <c:pt idx="4258">
                  <c:v>40.082</c:v>
                </c:pt>
                <c:pt idx="4259">
                  <c:v>40.092</c:v>
                </c:pt>
                <c:pt idx="4260">
                  <c:v>40.101</c:v>
                </c:pt>
                <c:pt idx="4261">
                  <c:v>40.11</c:v>
                </c:pt>
                <c:pt idx="4262">
                  <c:v>40.119</c:v>
                </c:pt>
                <c:pt idx="4263">
                  <c:v>40.128</c:v>
                </c:pt>
                <c:pt idx="4264">
                  <c:v>40.137</c:v>
                </c:pt>
                <c:pt idx="4265">
                  <c:v>40.146</c:v>
                </c:pt>
                <c:pt idx="4266">
                  <c:v>40.156</c:v>
                </c:pt>
                <c:pt idx="4267">
                  <c:v>40.165</c:v>
                </c:pt>
                <c:pt idx="4268">
                  <c:v>40.174</c:v>
                </c:pt>
                <c:pt idx="4269">
                  <c:v>40.183</c:v>
                </c:pt>
                <c:pt idx="4270">
                  <c:v>40.192</c:v>
                </c:pt>
                <c:pt idx="4271">
                  <c:v>40.201</c:v>
                </c:pt>
                <c:pt idx="4272">
                  <c:v>40.21</c:v>
                </c:pt>
                <c:pt idx="4273">
                  <c:v>40.219</c:v>
                </c:pt>
                <c:pt idx="4274">
                  <c:v>40.228</c:v>
                </c:pt>
                <c:pt idx="4275">
                  <c:v>40.237</c:v>
                </c:pt>
                <c:pt idx="4276">
                  <c:v>40.246</c:v>
                </c:pt>
                <c:pt idx="4277">
                  <c:v>40.255</c:v>
                </c:pt>
                <c:pt idx="4278">
                  <c:v>40.264</c:v>
                </c:pt>
                <c:pt idx="4279">
                  <c:v>40.273</c:v>
                </c:pt>
                <c:pt idx="4280">
                  <c:v>40.282</c:v>
                </c:pt>
                <c:pt idx="4281">
                  <c:v>40.291</c:v>
                </c:pt>
                <c:pt idx="4282">
                  <c:v>40.3</c:v>
                </c:pt>
                <c:pt idx="4283">
                  <c:v>40.309</c:v>
                </c:pt>
                <c:pt idx="4284">
                  <c:v>40.318</c:v>
                </c:pt>
                <c:pt idx="4285">
                  <c:v>40.327</c:v>
                </c:pt>
                <c:pt idx="4286">
                  <c:v>40.336</c:v>
                </c:pt>
                <c:pt idx="4287">
                  <c:v>40.345</c:v>
                </c:pt>
                <c:pt idx="4288">
                  <c:v>40.354</c:v>
                </c:pt>
                <c:pt idx="4289">
                  <c:v>40.363</c:v>
                </c:pt>
                <c:pt idx="4290">
                  <c:v>40.372</c:v>
                </c:pt>
                <c:pt idx="4291">
                  <c:v>40.382</c:v>
                </c:pt>
                <c:pt idx="4292">
                  <c:v>40.391</c:v>
                </c:pt>
                <c:pt idx="4293">
                  <c:v>40.4</c:v>
                </c:pt>
                <c:pt idx="4294">
                  <c:v>40.409</c:v>
                </c:pt>
                <c:pt idx="4295">
                  <c:v>40.418</c:v>
                </c:pt>
                <c:pt idx="4296">
                  <c:v>40.427</c:v>
                </c:pt>
                <c:pt idx="4297">
                  <c:v>40.436</c:v>
                </c:pt>
                <c:pt idx="4298">
                  <c:v>40.445</c:v>
                </c:pt>
                <c:pt idx="4299">
                  <c:v>40.455</c:v>
                </c:pt>
                <c:pt idx="4300">
                  <c:v>40.464</c:v>
                </c:pt>
                <c:pt idx="4301">
                  <c:v>40.473</c:v>
                </c:pt>
                <c:pt idx="4302">
                  <c:v>40.483</c:v>
                </c:pt>
                <c:pt idx="4303">
                  <c:v>40.494</c:v>
                </c:pt>
                <c:pt idx="4304">
                  <c:v>40.503</c:v>
                </c:pt>
                <c:pt idx="4305">
                  <c:v>40.512</c:v>
                </c:pt>
                <c:pt idx="4306">
                  <c:v>40.521</c:v>
                </c:pt>
                <c:pt idx="4307">
                  <c:v>40.53</c:v>
                </c:pt>
                <c:pt idx="4308">
                  <c:v>40.539</c:v>
                </c:pt>
                <c:pt idx="4309">
                  <c:v>40.548</c:v>
                </c:pt>
                <c:pt idx="4310">
                  <c:v>40.557</c:v>
                </c:pt>
                <c:pt idx="4311">
                  <c:v>40.566</c:v>
                </c:pt>
                <c:pt idx="4312">
                  <c:v>40.575</c:v>
                </c:pt>
                <c:pt idx="4313">
                  <c:v>40.584</c:v>
                </c:pt>
                <c:pt idx="4314">
                  <c:v>40.593</c:v>
                </c:pt>
                <c:pt idx="4315">
                  <c:v>40.602</c:v>
                </c:pt>
                <c:pt idx="4316">
                  <c:v>40.611</c:v>
                </c:pt>
                <c:pt idx="4317">
                  <c:v>40.62</c:v>
                </c:pt>
                <c:pt idx="4318">
                  <c:v>40.629</c:v>
                </c:pt>
                <c:pt idx="4319">
                  <c:v>40.639</c:v>
                </c:pt>
                <c:pt idx="4320">
                  <c:v>40.648</c:v>
                </c:pt>
                <c:pt idx="4321">
                  <c:v>40.657</c:v>
                </c:pt>
                <c:pt idx="4322">
                  <c:v>40.666</c:v>
                </c:pt>
                <c:pt idx="4323">
                  <c:v>40.675</c:v>
                </c:pt>
                <c:pt idx="4324">
                  <c:v>40.685</c:v>
                </c:pt>
                <c:pt idx="4325">
                  <c:v>40.694</c:v>
                </c:pt>
                <c:pt idx="4326">
                  <c:v>40.703</c:v>
                </c:pt>
                <c:pt idx="4327">
                  <c:v>40.712</c:v>
                </c:pt>
                <c:pt idx="4328">
                  <c:v>40.721</c:v>
                </c:pt>
                <c:pt idx="4329">
                  <c:v>40.73</c:v>
                </c:pt>
                <c:pt idx="4330">
                  <c:v>40.739</c:v>
                </c:pt>
                <c:pt idx="4331">
                  <c:v>40.748</c:v>
                </c:pt>
                <c:pt idx="4332">
                  <c:v>40.757</c:v>
                </c:pt>
                <c:pt idx="4333">
                  <c:v>40.766</c:v>
                </c:pt>
                <c:pt idx="4334">
                  <c:v>40.775</c:v>
                </c:pt>
                <c:pt idx="4335">
                  <c:v>40.784</c:v>
                </c:pt>
                <c:pt idx="4336">
                  <c:v>40.793</c:v>
                </c:pt>
                <c:pt idx="4337">
                  <c:v>40.802</c:v>
                </c:pt>
                <c:pt idx="4338">
                  <c:v>40.811</c:v>
                </c:pt>
                <c:pt idx="4339">
                  <c:v>40.82</c:v>
                </c:pt>
                <c:pt idx="4340">
                  <c:v>40.829</c:v>
                </c:pt>
                <c:pt idx="4341">
                  <c:v>40.838</c:v>
                </c:pt>
                <c:pt idx="4342">
                  <c:v>40.847</c:v>
                </c:pt>
                <c:pt idx="4343">
                  <c:v>40.856</c:v>
                </c:pt>
                <c:pt idx="4344">
                  <c:v>40.866</c:v>
                </c:pt>
                <c:pt idx="4345">
                  <c:v>40.875</c:v>
                </c:pt>
                <c:pt idx="4346">
                  <c:v>40.884</c:v>
                </c:pt>
                <c:pt idx="4347">
                  <c:v>40.894</c:v>
                </c:pt>
                <c:pt idx="4348">
                  <c:v>40.903</c:v>
                </c:pt>
                <c:pt idx="4349">
                  <c:v>40.912</c:v>
                </c:pt>
                <c:pt idx="4350">
                  <c:v>40.921</c:v>
                </c:pt>
                <c:pt idx="4351">
                  <c:v>40.93</c:v>
                </c:pt>
                <c:pt idx="4352">
                  <c:v>40.939</c:v>
                </c:pt>
                <c:pt idx="4353">
                  <c:v>40.949</c:v>
                </c:pt>
                <c:pt idx="4354">
                  <c:v>40.958</c:v>
                </c:pt>
                <c:pt idx="4355">
                  <c:v>40.967</c:v>
                </c:pt>
                <c:pt idx="4356">
                  <c:v>40.976</c:v>
                </c:pt>
                <c:pt idx="4357">
                  <c:v>40.985</c:v>
                </c:pt>
                <c:pt idx="4358">
                  <c:v>40.994</c:v>
                </c:pt>
                <c:pt idx="4359">
                  <c:v>41.003</c:v>
                </c:pt>
                <c:pt idx="4360">
                  <c:v>41.012</c:v>
                </c:pt>
                <c:pt idx="4361">
                  <c:v>41.021</c:v>
                </c:pt>
                <c:pt idx="4362">
                  <c:v>41.03</c:v>
                </c:pt>
                <c:pt idx="4363">
                  <c:v>41.039</c:v>
                </c:pt>
                <c:pt idx="4364">
                  <c:v>41.048</c:v>
                </c:pt>
                <c:pt idx="4365">
                  <c:v>41.057</c:v>
                </c:pt>
                <c:pt idx="4366">
                  <c:v>41.066</c:v>
                </c:pt>
                <c:pt idx="4367">
                  <c:v>41.075</c:v>
                </c:pt>
                <c:pt idx="4368">
                  <c:v>41.084</c:v>
                </c:pt>
                <c:pt idx="4369">
                  <c:v>41.093</c:v>
                </c:pt>
                <c:pt idx="4370">
                  <c:v>41.102</c:v>
                </c:pt>
                <c:pt idx="4371">
                  <c:v>41.111</c:v>
                </c:pt>
                <c:pt idx="4372">
                  <c:v>41.12</c:v>
                </c:pt>
                <c:pt idx="4373">
                  <c:v>41.129</c:v>
                </c:pt>
                <c:pt idx="4374">
                  <c:v>41.138</c:v>
                </c:pt>
                <c:pt idx="4375">
                  <c:v>41.147</c:v>
                </c:pt>
                <c:pt idx="4376">
                  <c:v>41.156</c:v>
                </c:pt>
                <c:pt idx="4377">
                  <c:v>41.165</c:v>
                </c:pt>
                <c:pt idx="4378">
                  <c:v>41.174</c:v>
                </c:pt>
                <c:pt idx="4379">
                  <c:v>41.183</c:v>
                </c:pt>
                <c:pt idx="4380">
                  <c:v>41.192</c:v>
                </c:pt>
                <c:pt idx="4381">
                  <c:v>41.201</c:v>
                </c:pt>
                <c:pt idx="4382">
                  <c:v>41.21</c:v>
                </c:pt>
                <c:pt idx="4383">
                  <c:v>41.219</c:v>
                </c:pt>
                <c:pt idx="4384">
                  <c:v>41.228</c:v>
                </c:pt>
                <c:pt idx="4385">
                  <c:v>41.237</c:v>
                </c:pt>
                <c:pt idx="4386">
                  <c:v>41.246</c:v>
                </c:pt>
                <c:pt idx="4387">
                  <c:v>41.255</c:v>
                </c:pt>
                <c:pt idx="4388">
                  <c:v>41.265</c:v>
                </c:pt>
                <c:pt idx="4389">
                  <c:v>41.274</c:v>
                </c:pt>
                <c:pt idx="4390">
                  <c:v>41.283</c:v>
                </c:pt>
                <c:pt idx="4391">
                  <c:v>41.292</c:v>
                </c:pt>
                <c:pt idx="4392">
                  <c:v>41.301</c:v>
                </c:pt>
                <c:pt idx="4393">
                  <c:v>41.31</c:v>
                </c:pt>
                <c:pt idx="4394">
                  <c:v>41.319</c:v>
                </c:pt>
                <c:pt idx="4395">
                  <c:v>41.328</c:v>
                </c:pt>
                <c:pt idx="4396">
                  <c:v>41.338</c:v>
                </c:pt>
                <c:pt idx="4397">
                  <c:v>41.347</c:v>
                </c:pt>
                <c:pt idx="4398">
                  <c:v>41.357</c:v>
                </c:pt>
                <c:pt idx="4399">
                  <c:v>41.366</c:v>
                </c:pt>
                <c:pt idx="4400">
                  <c:v>41.375</c:v>
                </c:pt>
                <c:pt idx="4401">
                  <c:v>41.384</c:v>
                </c:pt>
                <c:pt idx="4402">
                  <c:v>41.393</c:v>
                </c:pt>
                <c:pt idx="4403">
                  <c:v>41.402</c:v>
                </c:pt>
                <c:pt idx="4404">
                  <c:v>41.411</c:v>
                </c:pt>
                <c:pt idx="4405">
                  <c:v>41.42</c:v>
                </c:pt>
                <c:pt idx="4406">
                  <c:v>41.429</c:v>
                </c:pt>
                <c:pt idx="4407">
                  <c:v>41.438</c:v>
                </c:pt>
                <c:pt idx="4408">
                  <c:v>41.447</c:v>
                </c:pt>
                <c:pt idx="4409">
                  <c:v>41.456</c:v>
                </c:pt>
                <c:pt idx="4410">
                  <c:v>41.465</c:v>
                </c:pt>
                <c:pt idx="4411">
                  <c:v>41.474</c:v>
                </c:pt>
                <c:pt idx="4412">
                  <c:v>41.483</c:v>
                </c:pt>
                <c:pt idx="4413">
                  <c:v>41.492</c:v>
                </c:pt>
                <c:pt idx="4414">
                  <c:v>41.501</c:v>
                </c:pt>
                <c:pt idx="4415">
                  <c:v>41.51</c:v>
                </c:pt>
                <c:pt idx="4416">
                  <c:v>41.519</c:v>
                </c:pt>
                <c:pt idx="4417">
                  <c:v>41.528</c:v>
                </c:pt>
                <c:pt idx="4418">
                  <c:v>41.537</c:v>
                </c:pt>
                <c:pt idx="4419">
                  <c:v>41.546</c:v>
                </c:pt>
                <c:pt idx="4420">
                  <c:v>41.555</c:v>
                </c:pt>
                <c:pt idx="4421">
                  <c:v>41.564</c:v>
                </c:pt>
                <c:pt idx="4422">
                  <c:v>41.573</c:v>
                </c:pt>
                <c:pt idx="4423">
                  <c:v>41.582</c:v>
                </c:pt>
                <c:pt idx="4424">
                  <c:v>41.591</c:v>
                </c:pt>
                <c:pt idx="4425">
                  <c:v>41.6</c:v>
                </c:pt>
                <c:pt idx="4426">
                  <c:v>41.609</c:v>
                </c:pt>
                <c:pt idx="4427">
                  <c:v>41.618</c:v>
                </c:pt>
                <c:pt idx="4428">
                  <c:v>41.628</c:v>
                </c:pt>
                <c:pt idx="4429">
                  <c:v>41.637</c:v>
                </c:pt>
                <c:pt idx="4430">
                  <c:v>41.646</c:v>
                </c:pt>
                <c:pt idx="4431">
                  <c:v>41.655</c:v>
                </c:pt>
                <c:pt idx="4432">
                  <c:v>41.664</c:v>
                </c:pt>
                <c:pt idx="4433">
                  <c:v>41.673</c:v>
                </c:pt>
                <c:pt idx="4434">
                  <c:v>41.682</c:v>
                </c:pt>
                <c:pt idx="4435">
                  <c:v>41.691</c:v>
                </c:pt>
                <c:pt idx="4436">
                  <c:v>41.701</c:v>
                </c:pt>
                <c:pt idx="4437">
                  <c:v>41.71</c:v>
                </c:pt>
                <c:pt idx="4438">
                  <c:v>41.719</c:v>
                </c:pt>
                <c:pt idx="4439">
                  <c:v>41.728</c:v>
                </c:pt>
                <c:pt idx="4440">
                  <c:v>41.737</c:v>
                </c:pt>
                <c:pt idx="4441">
                  <c:v>41.746</c:v>
                </c:pt>
                <c:pt idx="4442">
                  <c:v>41.755</c:v>
                </c:pt>
                <c:pt idx="4443">
                  <c:v>41.764</c:v>
                </c:pt>
                <c:pt idx="4444">
                  <c:v>41.773</c:v>
                </c:pt>
                <c:pt idx="4445">
                  <c:v>41.782</c:v>
                </c:pt>
                <c:pt idx="4446">
                  <c:v>41.791</c:v>
                </c:pt>
                <c:pt idx="4447">
                  <c:v>41.8</c:v>
                </c:pt>
                <c:pt idx="4448">
                  <c:v>41.809</c:v>
                </c:pt>
                <c:pt idx="4449">
                  <c:v>41.818</c:v>
                </c:pt>
                <c:pt idx="4450">
                  <c:v>41.827</c:v>
                </c:pt>
                <c:pt idx="4451">
                  <c:v>41.836</c:v>
                </c:pt>
                <c:pt idx="4452">
                  <c:v>41.846</c:v>
                </c:pt>
                <c:pt idx="4453">
                  <c:v>41.855</c:v>
                </c:pt>
                <c:pt idx="4454">
                  <c:v>41.864</c:v>
                </c:pt>
                <c:pt idx="4455">
                  <c:v>41.873</c:v>
                </c:pt>
                <c:pt idx="4456">
                  <c:v>41.882</c:v>
                </c:pt>
                <c:pt idx="4457">
                  <c:v>41.891</c:v>
                </c:pt>
                <c:pt idx="4458">
                  <c:v>41.9</c:v>
                </c:pt>
                <c:pt idx="4459">
                  <c:v>41.91</c:v>
                </c:pt>
                <c:pt idx="4460">
                  <c:v>41.919</c:v>
                </c:pt>
                <c:pt idx="4461">
                  <c:v>41.932</c:v>
                </c:pt>
                <c:pt idx="4462">
                  <c:v>41.944</c:v>
                </c:pt>
                <c:pt idx="4463">
                  <c:v>41.955</c:v>
                </c:pt>
                <c:pt idx="4464">
                  <c:v>41.965</c:v>
                </c:pt>
                <c:pt idx="4465">
                  <c:v>41.974</c:v>
                </c:pt>
                <c:pt idx="4466">
                  <c:v>41.983</c:v>
                </c:pt>
                <c:pt idx="4467">
                  <c:v>41.992</c:v>
                </c:pt>
                <c:pt idx="4468">
                  <c:v>42.001</c:v>
                </c:pt>
                <c:pt idx="4469">
                  <c:v>42.01</c:v>
                </c:pt>
                <c:pt idx="4470">
                  <c:v>42.019</c:v>
                </c:pt>
                <c:pt idx="4471">
                  <c:v>42.028</c:v>
                </c:pt>
                <c:pt idx="4472">
                  <c:v>42.037</c:v>
                </c:pt>
                <c:pt idx="4473">
                  <c:v>42.046</c:v>
                </c:pt>
                <c:pt idx="4474">
                  <c:v>42.055</c:v>
                </c:pt>
                <c:pt idx="4475">
                  <c:v>42.064</c:v>
                </c:pt>
                <c:pt idx="4476">
                  <c:v>42.073</c:v>
                </c:pt>
                <c:pt idx="4477">
                  <c:v>42.082</c:v>
                </c:pt>
                <c:pt idx="4478">
                  <c:v>42.091</c:v>
                </c:pt>
                <c:pt idx="4479">
                  <c:v>42.1</c:v>
                </c:pt>
                <c:pt idx="4480">
                  <c:v>42.109</c:v>
                </c:pt>
                <c:pt idx="4481">
                  <c:v>42.118</c:v>
                </c:pt>
                <c:pt idx="4482">
                  <c:v>42.127</c:v>
                </c:pt>
                <c:pt idx="4483">
                  <c:v>42.136</c:v>
                </c:pt>
                <c:pt idx="4484">
                  <c:v>42.145</c:v>
                </c:pt>
                <c:pt idx="4485">
                  <c:v>42.154</c:v>
                </c:pt>
                <c:pt idx="4486">
                  <c:v>42.163</c:v>
                </c:pt>
                <c:pt idx="4487">
                  <c:v>42.172</c:v>
                </c:pt>
                <c:pt idx="4488">
                  <c:v>42.181</c:v>
                </c:pt>
                <c:pt idx="4489">
                  <c:v>42.19</c:v>
                </c:pt>
                <c:pt idx="4490">
                  <c:v>42.199</c:v>
                </c:pt>
                <c:pt idx="4491">
                  <c:v>42.208</c:v>
                </c:pt>
                <c:pt idx="4492">
                  <c:v>42.217</c:v>
                </c:pt>
                <c:pt idx="4493">
                  <c:v>42.226</c:v>
                </c:pt>
                <c:pt idx="4494">
                  <c:v>42.235</c:v>
                </c:pt>
                <c:pt idx="4495">
                  <c:v>42.245</c:v>
                </c:pt>
                <c:pt idx="4496">
                  <c:v>42.254</c:v>
                </c:pt>
                <c:pt idx="4497">
                  <c:v>42.263</c:v>
                </c:pt>
                <c:pt idx="4498">
                  <c:v>42.272</c:v>
                </c:pt>
                <c:pt idx="4499">
                  <c:v>42.281</c:v>
                </c:pt>
                <c:pt idx="4500">
                  <c:v>42.29</c:v>
                </c:pt>
                <c:pt idx="4501">
                  <c:v>42.299</c:v>
                </c:pt>
                <c:pt idx="4502">
                  <c:v>42.308</c:v>
                </c:pt>
                <c:pt idx="4503">
                  <c:v>42.317</c:v>
                </c:pt>
                <c:pt idx="4504">
                  <c:v>42.326</c:v>
                </c:pt>
                <c:pt idx="4505">
                  <c:v>42.335</c:v>
                </c:pt>
                <c:pt idx="4506">
                  <c:v>42.344</c:v>
                </c:pt>
                <c:pt idx="4507">
                  <c:v>42.353</c:v>
                </c:pt>
                <c:pt idx="4508">
                  <c:v>42.362</c:v>
                </c:pt>
                <c:pt idx="4509">
                  <c:v>42.371</c:v>
                </c:pt>
                <c:pt idx="4510">
                  <c:v>42.38</c:v>
                </c:pt>
                <c:pt idx="4511">
                  <c:v>42.39</c:v>
                </c:pt>
                <c:pt idx="4512">
                  <c:v>42.399</c:v>
                </c:pt>
                <c:pt idx="4513">
                  <c:v>42.408</c:v>
                </c:pt>
                <c:pt idx="4514">
                  <c:v>42.418</c:v>
                </c:pt>
                <c:pt idx="4515">
                  <c:v>42.427</c:v>
                </c:pt>
                <c:pt idx="4516">
                  <c:v>42.439</c:v>
                </c:pt>
                <c:pt idx="4517">
                  <c:v>42.448</c:v>
                </c:pt>
                <c:pt idx="4518">
                  <c:v>42.457</c:v>
                </c:pt>
                <c:pt idx="4519">
                  <c:v>42.466</c:v>
                </c:pt>
                <c:pt idx="4520">
                  <c:v>42.475</c:v>
                </c:pt>
                <c:pt idx="4521">
                  <c:v>42.484</c:v>
                </c:pt>
                <c:pt idx="4522">
                  <c:v>42.493</c:v>
                </c:pt>
                <c:pt idx="4523">
                  <c:v>42.502</c:v>
                </c:pt>
                <c:pt idx="4524">
                  <c:v>42.512</c:v>
                </c:pt>
                <c:pt idx="4525">
                  <c:v>42.521</c:v>
                </c:pt>
                <c:pt idx="4526">
                  <c:v>42.53</c:v>
                </c:pt>
                <c:pt idx="4527">
                  <c:v>42.539</c:v>
                </c:pt>
                <c:pt idx="4528">
                  <c:v>42.548</c:v>
                </c:pt>
                <c:pt idx="4529">
                  <c:v>42.557</c:v>
                </c:pt>
                <c:pt idx="4530">
                  <c:v>42.567</c:v>
                </c:pt>
                <c:pt idx="4531">
                  <c:v>42.576</c:v>
                </c:pt>
                <c:pt idx="4532">
                  <c:v>42.585</c:v>
                </c:pt>
                <c:pt idx="4533">
                  <c:v>42.594</c:v>
                </c:pt>
                <c:pt idx="4534">
                  <c:v>42.603</c:v>
                </c:pt>
                <c:pt idx="4535">
                  <c:v>42.612</c:v>
                </c:pt>
                <c:pt idx="4536">
                  <c:v>42.621</c:v>
                </c:pt>
                <c:pt idx="4537">
                  <c:v>42.63</c:v>
                </c:pt>
                <c:pt idx="4538">
                  <c:v>42.639</c:v>
                </c:pt>
                <c:pt idx="4539">
                  <c:v>42.648</c:v>
                </c:pt>
                <c:pt idx="4540">
                  <c:v>42.657</c:v>
                </c:pt>
                <c:pt idx="4541">
                  <c:v>42.666</c:v>
                </c:pt>
                <c:pt idx="4542">
                  <c:v>42.675</c:v>
                </c:pt>
                <c:pt idx="4543">
                  <c:v>42.684</c:v>
                </c:pt>
                <c:pt idx="4544">
                  <c:v>42.693</c:v>
                </c:pt>
                <c:pt idx="4545">
                  <c:v>42.702</c:v>
                </c:pt>
                <c:pt idx="4546">
                  <c:v>42.711</c:v>
                </c:pt>
                <c:pt idx="4547">
                  <c:v>42.72</c:v>
                </c:pt>
                <c:pt idx="4548">
                  <c:v>42.73</c:v>
                </c:pt>
                <c:pt idx="4549">
                  <c:v>42.739</c:v>
                </c:pt>
                <c:pt idx="4550">
                  <c:v>42.748</c:v>
                </c:pt>
                <c:pt idx="4551">
                  <c:v>42.757</c:v>
                </c:pt>
                <c:pt idx="4552">
                  <c:v>42.766</c:v>
                </c:pt>
                <c:pt idx="4553">
                  <c:v>42.775</c:v>
                </c:pt>
                <c:pt idx="4554">
                  <c:v>42.784</c:v>
                </c:pt>
                <c:pt idx="4555">
                  <c:v>42.793</c:v>
                </c:pt>
                <c:pt idx="4556">
                  <c:v>42.802</c:v>
                </c:pt>
                <c:pt idx="4557">
                  <c:v>42.811</c:v>
                </c:pt>
                <c:pt idx="4558">
                  <c:v>42.82</c:v>
                </c:pt>
                <c:pt idx="4559">
                  <c:v>42.829</c:v>
                </c:pt>
                <c:pt idx="4560">
                  <c:v>42.838</c:v>
                </c:pt>
                <c:pt idx="4561">
                  <c:v>42.847</c:v>
                </c:pt>
                <c:pt idx="4562">
                  <c:v>42.856</c:v>
                </c:pt>
                <c:pt idx="4563">
                  <c:v>42.865</c:v>
                </c:pt>
                <c:pt idx="4564">
                  <c:v>42.874</c:v>
                </c:pt>
                <c:pt idx="4565">
                  <c:v>42.883</c:v>
                </c:pt>
                <c:pt idx="4566">
                  <c:v>42.892</c:v>
                </c:pt>
                <c:pt idx="4567">
                  <c:v>42.901</c:v>
                </c:pt>
                <c:pt idx="4568">
                  <c:v>42.91</c:v>
                </c:pt>
                <c:pt idx="4569">
                  <c:v>42.919</c:v>
                </c:pt>
                <c:pt idx="4570">
                  <c:v>42.928</c:v>
                </c:pt>
                <c:pt idx="4571">
                  <c:v>42.942</c:v>
                </c:pt>
                <c:pt idx="4572">
                  <c:v>42.952</c:v>
                </c:pt>
                <c:pt idx="4573">
                  <c:v>42.963</c:v>
                </c:pt>
                <c:pt idx="4574">
                  <c:v>42.972</c:v>
                </c:pt>
                <c:pt idx="4575">
                  <c:v>42.981</c:v>
                </c:pt>
                <c:pt idx="4576">
                  <c:v>42.99</c:v>
                </c:pt>
                <c:pt idx="4577">
                  <c:v>42.999</c:v>
                </c:pt>
                <c:pt idx="4578">
                  <c:v>43.008</c:v>
                </c:pt>
                <c:pt idx="4579">
                  <c:v>43.017</c:v>
                </c:pt>
                <c:pt idx="4580">
                  <c:v>43.026</c:v>
                </c:pt>
                <c:pt idx="4581">
                  <c:v>43.035</c:v>
                </c:pt>
                <c:pt idx="4582">
                  <c:v>43.044</c:v>
                </c:pt>
                <c:pt idx="4583">
                  <c:v>43.053</c:v>
                </c:pt>
                <c:pt idx="4584">
                  <c:v>43.062</c:v>
                </c:pt>
                <c:pt idx="4585">
                  <c:v>43.08</c:v>
                </c:pt>
                <c:pt idx="4586">
                  <c:v>43.089</c:v>
                </c:pt>
                <c:pt idx="4587">
                  <c:v>43.098</c:v>
                </c:pt>
                <c:pt idx="4588">
                  <c:v>43.107</c:v>
                </c:pt>
                <c:pt idx="4589">
                  <c:v>43.116</c:v>
                </c:pt>
                <c:pt idx="4590">
                  <c:v>43.125</c:v>
                </c:pt>
                <c:pt idx="4591">
                  <c:v>43.134</c:v>
                </c:pt>
                <c:pt idx="4592">
                  <c:v>43.143</c:v>
                </c:pt>
                <c:pt idx="4593">
                  <c:v>43.152</c:v>
                </c:pt>
                <c:pt idx="4594">
                  <c:v>43.161</c:v>
                </c:pt>
                <c:pt idx="4595">
                  <c:v>43.17</c:v>
                </c:pt>
                <c:pt idx="4596">
                  <c:v>43.179</c:v>
                </c:pt>
                <c:pt idx="4597">
                  <c:v>43.188</c:v>
                </c:pt>
                <c:pt idx="4598">
                  <c:v>43.197</c:v>
                </c:pt>
                <c:pt idx="4599">
                  <c:v>43.206</c:v>
                </c:pt>
                <c:pt idx="4600">
                  <c:v>43.215</c:v>
                </c:pt>
                <c:pt idx="4601">
                  <c:v>43.225</c:v>
                </c:pt>
                <c:pt idx="4602">
                  <c:v>43.234</c:v>
                </c:pt>
                <c:pt idx="4603">
                  <c:v>43.243</c:v>
                </c:pt>
                <c:pt idx="4604">
                  <c:v>43.253</c:v>
                </c:pt>
                <c:pt idx="4605">
                  <c:v>43.262</c:v>
                </c:pt>
                <c:pt idx="4606">
                  <c:v>43.271</c:v>
                </c:pt>
                <c:pt idx="4607">
                  <c:v>43.28</c:v>
                </c:pt>
                <c:pt idx="4608">
                  <c:v>43.289</c:v>
                </c:pt>
                <c:pt idx="4609">
                  <c:v>43.298</c:v>
                </c:pt>
                <c:pt idx="4610">
                  <c:v>43.308</c:v>
                </c:pt>
                <c:pt idx="4611">
                  <c:v>43.317</c:v>
                </c:pt>
                <c:pt idx="4612">
                  <c:v>43.326</c:v>
                </c:pt>
                <c:pt idx="4613">
                  <c:v>43.335</c:v>
                </c:pt>
                <c:pt idx="4614">
                  <c:v>43.344</c:v>
                </c:pt>
                <c:pt idx="4615">
                  <c:v>43.353</c:v>
                </c:pt>
                <c:pt idx="4616">
                  <c:v>43.362</c:v>
                </c:pt>
                <c:pt idx="4617">
                  <c:v>43.371</c:v>
                </c:pt>
                <c:pt idx="4618">
                  <c:v>43.38</c:v>
                </c:pt>
                <c:pt idx="4619">
                  <c:v>43.389</c:v>
                </c:pt>
                <c:pt idx="4620">
                  <c:v>43.398</c:v>
                </c:pt>
                <c:pt idx="4621">
                  <c:v>43.407</c:v>
                </c:pt>
                <c:pt idx="4622">
                  <c:v>43.416</c:v>
                </c:pt>
                <c:pt idx="4623">
                  <c:v>43.425</c:v>
                </c:pt>
                <c:pt idx="4624">
                  <c:v>43.434</c:v>
                </c:pt>
                <c:pt idx="4625">
                  <c:v>43.443</c:v>
                </c:pt>
                <c:pt idx="4626">
                  <c:v>43.452</c:v>
                </c:pt>
                <c:pt idx="4627">
                  <c:v>43.461</c:v>
                </c:pt>
                <c:pt idx="4628">
                  <c:v>43.47</c:v>
                </c:pt>
                <c:pt idx="4629">
                  <c:v>43.479</c:v>
                </c:pt>
                <c:pt idx="4630">
                  <c:v>43.488</c:v>
                </c:pt>
                <c:pt idx="4631">
                  <c:v>43.497</c:v>
                </c:pt>
                <c:pt idx="4632">
                  <c:v>43.506</c:v>
                </c:pt>
                <c:pt idx="4633">
                  <c:v>43.515</c:v>
                </c:pt>
                <c:pt idx="4634">
                  <c:v>43.524</c:v>
                </c:pt>
                <c:pt idx="4635">
                  <c:v>43.533</c:v>
                </c:pt>
                <c:pt idx="4636">
                  <c:v>43.543</c:v>
                </c:pt>
                <c:pt idx="4637">
                  <c:v>43.552</c:v>
                </c:pt>
                <c:pt idx="4638">
                  <c:v>43.561</c:v>
                </c:pt>
                <c:pt idx="4639">
                  <c:v>43.57</c:v>
                </c:pt>
                <c:pt idx="4640">
                  <c:v>43.579</c:v>
                </c:pt>
                <c:pt idx="4641">
                  <c:v>43.588</c:v>
                </c:pt>
                <c:pt idx="4642">
                  <c:v>43.597</c:v>
                </c:pt>
                <c:pt idx="4643">
                  <c:v>43.606</c:v>
                </c:pt>
                <c:pt idx="4644">
                  <c:v>43.615</c:v>
                </c:pt>
                <c:pt idx="4645">
                  <c:v>43.624</c:v>
                </c:pt>
                <c:pt idx="4646">
                  <c:v>43.633</c:v>
                </c:pt>
                <c:pt idx="4647">
                  <c:v>43.642</c:v>
                </c:pt>
                <c:pt idx="4648">
                  <c:v>43.651</c:v>
                </c:pt>
                <c:pt idx="4649">
                  <c:v>43.66</c:v>
                </c:pt>
                <c:pt idx="4650">
                  <c:v>43.669</c:v>
                </c:pt>
                <c:pt idx="4651">
                  <c:v>43.678</c:v>
                </c:pt>
                <c:pt idx="4652">
                  <c:v>43.688</c:v>
                </c:pt>
                <c:pt idx="4653">
                  <c:v>43.697</c:v>
                </c:pt>
                <c:pt idx="4654">
                  <c:v>43.706</c:v>
                </c:pt>
                <c:pt idx="4655">
                  <c:v>43.716</c:v>
                </c:pt>
                <c:pt idx="4656">
                  <c:v>43.725</c:v>
                </c:pt>
                <c:pt idx="4657">
                  <c:v>43.734</c:v>
                </c:pt>
                <c:pt idx="4658">
                  <c:v>43.743</c:v>
                </c:pt>
                <c:pt idx="4659">
                  <c:v>43.752</c:v>
                </c:pt>
                <c:pt idx="4660">
                  <c:v>43.761</c:v>
                </c:pt>
                <c:pt idx="4661">
                  <c:v>43.77</c:v>
                </c:pt>
                <c:pt idx="4662">
                  <c:v>43.78</c:v>
                </c:pt>
                <c:pt idx="4663">
                  <c:v>43.789</c:v>
                </c:pt>
                <c:pt idx="4664">
                  <c:v>43.798</c:v>
                </c:pt>
                <c:pt idx="4665">
                  <c:v>43.807</c:v>
                </c:pt>
                <c:pt idx="4666">
                  <c:v>43.816</c:v>
                </c:pt>
                <c:pt idx="4667">
                  <c:v>43.825</c:v>
                </c:pt>
                <c:pt idx="4668">
                  <c:v>43.834</c:v>
                </c:pt>
                <c:pt idx="4669">
                  <c:v>43.843</c:v>
                </c:pt>
                <c:pt idx="4670">
                  <c:v>43.852</c:v>
                </c:pt>
                <c:pt idx="4671">
                  <c:v>43.861</c:v>
                </c:pt>
                <c:pt idx="4672">
                  <c:v>43.87</c:v>
                </c:pt>
                <c:pt idx="4673">
                  <c:v>43.879</c:v>
                </c:pt>
                <c:pt idx="4674">
                  <c:v>43.888</c:v>
                </c:pt>
                <c:pt idx="4675">
                  <c:v>43.897</c:v>
                </c:pt>
                <c:pt idx="4676">
                  <c:v>43.906</c:v>
                </c:pt>
                <c:pt idx="4677">
                  <c:v>43.915</c:v>
                </c:pt>
                <c:pt idx="4678">
                  <c:v>43.924</c:v>
                </c:pt>
                <c:pt idx="4679">
                  <c:v>43.933</c:v>
                </c:pt>
                <c:pt idx="4680">
                  <c:v>43.945</c:v>
                </c:pt>
                <c:pt idx="4681">
                  <c:v>43.957</c:v>
                </c:pt>
                <c:pt idx="4682">
                  <c:v>43.968</c:v>
                </c:pt>
                <c:pt idx="4683">
                  <c:v>43.978</c:v>
                </c:pt>
                <c:pt idx="4684">
                  <c:v>43.987</c:v>
                </c:pt>
                <c:pt idx="4685">
                  <c:v>43.996</c:v>
                </c:pt>
                <c:pt idx="4686">
                  <c:v>44.005</c:v>
                </c:pt>
                <c:pt idx="4687">
                  <c:v>44.014</c:v>
                </c:pt>
                <c:pt idx="4688">
                  <c:v>44.023</c:v>
                </c:pt>
                <c:pt idx="4689">
                  <c:v>44.032</c:v>
                </c:pt>
                <c:pt idx="4690">
                  <c:v>44.041</c:v>
                </c:pt>
                <c:pt idx="4691">
                  <c:v>44.05</c:v>
                </c:pt>
                <c:pt idx="4692">
                  <c:v>44.059</c:v>
                </c:pt>
                <c:pt idx="4693">
                  <c:v>44.068</c:v>
                </c:pt>
                <c:pt idx="4694">
                  <c:v>44.077</c:v>
                </c:pt>
                <c:pt idx="4695">
                  <c:v>44.086</c:v>
                </c:pt>
                <c:pt idx="4696">
                  <c:v>44.096</c:v>
                </c:pt>
                <c:pt idx="4697">
                  <c:v>44.105</c:v>
                </c:pt>
                <c:pt idx="4698">
                  <c:v>44.114</c:v>
                </c:pt>
                <c:pt idx="4699">
                  <c:v>44.123</c:v>
                </c:pt>
                <c:pt idx="4700">
                  <c:v>44.132</c:v>
                </c:pt>
                <c:pt idx="4701">
                  <c:v>44.141</c:v>
                </c:pt>
                <c:pt idx="4702">
                  <c:v>44.15</c:v>
                </c:pt>
                <c:pt idx="4703">
                  <c:v>44.159</c:v>
                </c:pt>
                <c:pt idx="4704">
                  <c:v>44.168</c:v>
                </c:pt>
                <c:pt idx="4705">
                  <c:v>44.177</c:v>
                </c:pt>
                <c:pt idx="4706">
                  <c:v>44.186</c:v>
                </c:pt>
                <c:pt idx="4707">
                  <c:v>44.195</c:v>
                </c:pt>
                <c:pt idx="4708">
                  <c:v>44.204</c:v>
                </c:pt>
                <c:pt idx="4709">
                  <c:v>44.213</c:v>
                </c:pt>
                <c:pt idx="4710">
                  <c:v>44.222</c:v>
                </c:pt>
                <c:pt idx="4711">
                  <c:v>44.231</c:v>
                </c:pt>
                <c:pt idx="4712">
                  <c:v>44.24</c:v>
                </c:pt>
                <c:pt idx="4713">
                  <c:v>44.249</c:v>
                </c:pt>
                <c:pt idx="4714">
                  <c:v>44.258</c:v>
                </c:pt>
                <c:pt idx="4715">
                  <c:v>44.267</c:v>
                </c:pt>
                <c:pt idx="4716">
                  <c:v>44.276</c:v>
                </c:pt>
                <c:pt idx="4717">
                  <c:v>44.285</c:v>
                </c:pt>
                <c:pt idx="4718">
                  <c:v>44.294</c:v>
                </c:pt>
                <c:pt idx="4719">
                  <c:v>44.303</c:v>
                </c:pt>
                <c:pt idx="4720">
                  <c:v>44.313</c:v>
                </c:pt>
                <c:pt idx="4721">
                  <c:v>44.322</c:v>
                </c:pt>
                <c:pt idx="4722">
                  <c:v>44.331</c:v>
                </c:pt>
                <c:pt idx="4723">
                  <c:v>44.341</c:v>
                </c:pt>
                <c:pt idx="4724">
                  <c:v>44.35</c:v>
                </c:pt>
                <c:pt idx="4725">
                  <c:v>44.359</c:v>
                </c:pt>
                <c:pt idx="4726">
                  <c:v>44.369</c:v>
                </c:pt>
                <c:pt idx="4727">
                  <c:v>44.378</c:v>
                </c:pt>
                <c:pt idx="4728">
                  <c:v>44.387</c:v>
                </c:pt>
                <c:pt idx="4729">
                  <c:v>44.396</c:v>
                </c:pt>
                <c:pt idx="4730">
                  <c:v>44.405</c:v>
                </c:pt>
                <c:pt idx="4731">
                  <c:v>44.414</c:v>
                </c:pt>
                <c:pt idx="4732">
                  <c:v>44.423</c:v>
                </c:pt>
                <c:pt idx="4733">
                  <c:v>44.432</c:v>
                </c:pt>
                <c:pt idx="4734">
                  <c:v>44.441</c:v>
                </c:pt>
                <c:pt idx="4735">
                  <c:v>44.453</c:v>
                </c:pt>
                <c:pt idx="4736">
                  <c:v>44.464</c:v>
                </c:pt>
                <c:pt idx="4737">
                  <c:v>44.473</c:v>
                </c:pt>
                <c:pt idx="4738">
                  <c:v>44.482</c:v>
                </c:pt>
                <c:pt idx="4739">
                  <c:v>44.491</c:v>
                </c:pt>
                <c:pt idx="4740">
                  <c:v>44.5</c:v>
                </c:pt>
                <c:pt idx="4741">
                  <c:v>44.509</c:v>
                </c:pt>
                <c:pt idx="4742">
                  <c:v>44.518</c:v>
                </c:pt>
                <c:pt idx="4743">
                  <c:v>44.527</c:v>
                </c:pt>
                <c:pt idx="4744">
                  <c:v>44.536</c:v>
                </c:pt>
                <c:pt idx="4745">
                  <c:v>44.545</c:v>
                </c:pt>
                <c:pt idx="4746">
                  <c:v>44.554</c:v>
                </c:pt>
                <c:pt idx="4747">
                  <c:v>44.563</c:v>
                </c:pt>
                <c:pt idx="4748">
                  <c:v>44.572</c:v>
                </c:pt>
                <c:pt idx="4749">
                  <c:v>44.581</c:v>
                </c:pt>
                <c:pt idx="4750">
                  <c:v>44.59</c:v>
                </c:pt>
                <c:pt idx="4751">
                  <c:v>44.599</c:v>
                </c:pt>
                <c:pt idx="4752">
                  <c:v>44.608</c:v>
                </c:pt>
                <c:pt idx="4753">
                  <c:v>44.617</c:v>
                </c:pt>
                <c:pt idx="4754">
                  <c:v>44.626</c:v>
                </c:pt>
                <c:pt idx="4755">
                  <c:v>44.635</c:v>
                </c:pt>
                <c:pt idx="4756">
                  <c:v>44.644</c:v>
                </c:pt>
                <c:pt idx="4757">
                  <c:v>44.653</c:v>
                </c:pt>
                <c:pt idx="4758">
                  <c:v>44.662</c:v>
                </c:pt>
                <c:pt idx="4759">
                  <c:v>44.671</c:v>
                </c:pt>
                <c:pt idx="4760">
                  <c:v>44.68</c:v>
                </c:pt>
                <c:pt idx="4761">
                  <c:v>44.689</c:v>
                </c:pt>
                <c:pt idx="4762">
                  <c:v>44.698</c:v>
                </c:pt>
                <c:pt idx="4763">
                  <c:v>44.707</c:v>
                </c:pt>
                <c:pt idx="4764">
                  <c:v>44.716</c:v>
                </c:pt>
                <c:pt idx="4765">
                  <c:v>44.725</c:v>
                </c:pt>
                <c:pt idx="4766">
                  <c:v>44.734</c:v>
                </c:pt>
                <c:pt idx="4767">
                  <c:v>44.743</c:v>
                </c:pt>
                <c:pt idx="4768">
                  <c:v>44.752</c:v>
                </c:pt>
                <c:pt idx="4769">
                  <c:v>44.761</c:v>
                </c:pt>
                <c:pt idx="4770">
                  <c:v>44.77</c:v>
                </c:pt>
                <c:pt idx="4771">
                  <c:v>44.779</c:v>
                </c:pt>
                <c:pt idx="4772">
                  <c:v>44.789</c:v>
                </c:pt>
                <c:pt idx="4773">
                  <c:v>44.798</c:v>
                </c:pt>
                <c:pt idx="4774">
                  <c:v>44.807</c:v>
                </c:pt>
                <c:pt idx="4775">
                  <c:v>44.816</c:v>
                </c:pt>
                <c:pt idx="4776">
                  <c:v>44.825</c:v>
                </c:pt>
                <c:pt idx="4777">
                  <c:v>44.834</c:v>
                </c:pt>
                <c:pt idx="4778">
                  <c:v>44.843</c:v>
                </c:pt>
                <c:pt idx="4779">
                  <c:v>44.852</c:v>
                </c:pt>
                <c:pt idx="4780">
                  <c:v>44.862</c:v>
                </c:pt>
                <c:pt idx="4781">
                  <c:v>44.871</c:v>
                </c:pt>
                <c:pt idx="4782">
                  <c:v>44.88</c:v>
                </c:pt>
                <c:pt idx="4783">
                  <c:v>44.889</c:v>
                </c:pt>
                <c:pt idx="4784">
                  <c:v>44.898</c:v>
                </c:pt>
                <c:pt idx="4785">
                  <c:v>44.907</c:v>
                </c:pt>
                <c:pt idx="4786">
                  <c:v>44.916</c:v>
                </c:pt>
                <c:pt idx="4787">
                  <c:v>44.925</c:v>
                </c:pt>
                <c:pt idx="4788">
                  <c:v>44.934</c:v>
                </c:pt>
                <c:pt idx="4789">
                  <c:v>44.944</c:v>
                </c:pt>
                <c:pt idx="4790">
                  <c:v>44.955</c:v>
                </c:pt>
                <c:pt idx="4791">
                  <c:v>44.968</c:v>
                </c:pt>
                <c:pt idx="4792">
                  <c:v>44.977</c:v>
                </c:pt>
                <c:pt idx="4793">
                  <c:v>44.986</c:v>
                </c:pt>
                <c:pt idx="4794">
                  <c:v>44.995</c:v>
                </c:pt>
                <c:pt idx="4795">
                  <c:v>45.004</c:v>
                </c:pt>
                <c:pt idx="4796">
                  <c:v>45.014</c:v>
                </c:pt>
                <c:pt idx="4797">
                  <c:v>45.023</c:v>
                </c:pt>
                <c:pt idx="4798">
                  <c:v>45.032</c:v>
                </c:pt>
                <c:pt idx="4799">
                  <c:v>45.041</c:v>
                </c:pt>
                <c:pt idx="4800">
                  <c:v>45.05</c:v>
                </c:pt>
                <c:pt idx="4801">
                  <c:v>45.059</c:v>
                </c:pt>
                <c:pt idx="4802">
                  <c:v>45.068</c:v>
                </c:pt>
                <c:pt idx="4803">
                  <c:v>45.077</c:v>
                </c:pt>
                <c:pt idx="4804">
                  <c:v>45.086</c:v>
                </c:pt>
                <c:pt idx="4805">
                  <c:v>45.095</c:v>
                </c:pt>
                <c:pt idx="4806">
                  <c:v>45.104</c:v>
                </c:pt>
                <c:pt idx="4807">
                  <c:v>45.113</c:v>
                </c:pt>
                <c:pt idx="4808">
                  <c:v>45.122</c:v>
                </c:pt>
                <c:pt idx="4809">
                  <c:v>45.131</c:v>
                </c:pt>
                <c:pt idx="4810">
                  <c:v>45.14</c:v>
                </c:pt>
                <c:pt idx="4811">
                  <c:v>45.149</c:v>
                </c:pt>
                <c:pt idx="4812">
                  <c:v>45.158</c:v>
                </c:pt>
                <c:pt idx="4813">
                  <c:v>45.167</c:v>
                </c:pt>
                <c:pt idx="4814">
                  <c:v>45.176</c:v>
                </c:pt>
                <c:pt idx="4815">
                  <c:v>45.185</c:v>
                </c:pt>
                <c:pt idx="4816">
                  <c:v>45.194</c:v>
                </c:pt>
                <c:pt idx="4817">
                  <c:v>45.203</c:v>
                </c:pt>
                <c:pt idx="4818">
                  <c:v>45.212</c:v>
                </c:pt>
                <c:pt idx="4819">
                  <c:v>45.221</c:v>
                </c:pt>
                <c:pt idx="4820">
                  <c:v>45.23</c:v>
                </c:pt>
                <c:pt idx="4821">
                  <c:v>45.239</c:v>
                </c:pt>
                <c:pt idx="4822">
                  <c:v>45.248</c:v>
                </c:pt>
                <c:pt idx="4823">
                  <c:v>45.257</c:v>
                </c:pt>
                <c:pt idx="4824">
                  <c:v>45.266</c:v>
                </c:pt>
                <c:pt idx="4825">
                  <c:v>45.275</c:v>
                </c:pt>
                <c:pt idx="4826">
                  <c:v>45.285</c:v>
                </c:pt>
                <c:pt idx="4827">
                  <c:v>45.294</c:v>
                </c:pt>
                <c:pt idx="4828">
                  <c:v>45.303</c:v>
                </c:pt>
                <c:pt idx="4829">
                  <c:v>45.313</c:v>
                </c:pt>
                <c:pt idx="4830">
                  <c:v>45.322</c:v>
                </c:pt>
                <c:pt idx="4831">
                  <c:v>45.331</c:v>
                </c:pt>
                <c:pt idx="4832">
                  <c:v>45.34</c:v>
                </c:pt>
                <c:pt idx="4833">
                  <c:v>45.35</c:v>
                </c:pt>
                <c:pt idx="4834">
                  <c:v>45.359</c:v>
                </c:pt>
                <c:pt idx="4835">
                  <c:v>45.368</c:v>
                </c:pt>
                <c:pt idx="4836">
                  <c:v>45.377</c:v>
                </c:pt>
                <c:pt idx="4837">
                  <c:v>45.386</c:v>
                </c:pt>
                <c:pt idx="4838">
                  <c:v>45.395</c:v>
                </c:pt>
                <c:pt idx="4839">
                  <c:v>45.404</c:v>
                </c:pt>
                <c:pt idx="4840">
                  <c:v>45.413</c:v>
                </c:pt>
                <c:pt idx="4841">
                  <c:v>45.422</c:v>
                </c:pt>
                <c:pt idx="4842">
                  <c:v>45.431</c:v>
                </c:pt>
                <c:pt idx="4843">
                  <c:v>45.44</c:v>
                </c:pt>
                <c:pt idx="4844">
                  <c:v>45.449</c:v>
                </c:pt>
                <c:pt idx="4845">
                  <c:v>45.461</c:v>
                </c:pt>
                <c:pt idx="4846">
                  <c:v>45.472</c:v>
                </c:pt>
                <c:pt idx="4847">
                  <c:v>45.482</c:v>
                </c:pt>
                <c:pt idx="4848">
                  <c:v>45.491</c:v>
                </c:pt>
                <c:pt idx="4849">
                  <c:v>45.5</c:v>
                </c:pt>
                <c:pt idx="4850">
                  <c:v>45.509</c:v>
                </c:pt>
                <c:pt idx="4851">
                  <c:v>45.518</c:v>
                </c:pt>
                <c:pt idx="4852">
                  <c:v>45.527</c:v>
                </c:pt>
                <c:pt idx="4853">
                  <c:v>45.536</c:v>
                </c:pt>
                <c:pt idx="4854">
                  <c:v>45.545</c:v>
                </c:pt>
                <c:pt idx="4855">
                  <c:v>45.554</c:v>
                </c:pt>
                <c:pt idx="4856">
                  <c:v>45.563</c:v>
                </c:pt>
                <c:pt idx="4857">
                  <c:v>45.572</c:v>
                </c:pt>
                <c:pt idx="4858">
                  <c:v>45.581</c:v>
                </c:pt>
                <c:pt idx="4859">
                  <c:v>45.59</c:v>
                </c:pt>
                <c:pt idx="4860">
                  <c:v>45.599</c:v>
                </c:pt>
                <c:pt idx="4861">
                  <c:v>45.608</c:v>
                </c:pt>
                <c:pt idx="4862">
                  <c:v>45.617</c:v>
                </c:pt>
                <c:pt idx="4863">
                  <c:v>45.626</c:v>
                </c:pt>
                <c:pt idx="4864">
                  <c:v>45.635</c:v>
                </c:pt>
                <c:pt idx="4865">
                  <c:v>45.644</c:v>
                </c:pt>
                <c:pt idx="4866">
                  <c:v>45.653</c:v>
                </c:pt>
                <c:pt idx="4867">
                  <c:v>45.663</c:v>
                </c:pt>
                <c:pt idx="4868">
                  <c:v>45.672</c:v>
                </c:pt>
                <c:pt idx="4869">
                  <c:v>45.681</c:v>
                </c:pt>
                <c:pt idx="4870">
                  <c:v>45.69</c:v>
                </c:pt>
                <c:pt idx="4871">
                  <c:v>45.699</c:v>
                </c:pt>
                <c:pt idx="4872">
                  <c:v>45.708</c:v>
                </c:pt>
                <c:pt idx="4873">
                  <c:v>45.717</c:v>
                </c:pt>
                <c:pt idx="4874">
                  <c:v>45.726</c:v>
                </c:pt>
                <c:pt idx="4875">
                  <c:v>45.735</c:v>
                </c:pt>
                <c:pt idx="4876">
                  <c:v>45.744</c:v>
                </c:pt>
                <c:pt idx="4877">
                  <c:v>45.753</c:v>
                </c:pt>
                <c:pt idx="4878">
                  <c:v>45.762</c:v>
                </c:pt>
                <c:pt idx="4879">
                  <c:v>45.771</c:v>
                </c:pt>
                <c:pt idx="4880">
                  <c:v>45.78</c:v>
                </c:pt>
                <c:pt idx="4881">
                  <c:v>45.789</c:v>
                </c:pt>
                <c:pt idx="4882">
                  <c:v>45.798</c:v>
                </c:pt>
                <c:pt idx="4883">
                  <c:v>45.808</c:v>
                </c:pt>
                <c:pt idx="4884">
                  <c:v>45.817</c:v>
                </c:pt>
                <c:pt idx="4885">
                  <c:v>45.826</c:v>
                </c:pt>
                <c:pt idx="4886">
                  <c:v>45.835</c:v>
                </c:pt>
                <c:pt idx="4887">
                  <c:v>45.844</c:v>
                </c:pt>
                <c:pt idx="4888">
                  <c:v>45.854</c:v>
                </c:pt>
                <c:pt idx="4889">
                  <c:v>45.863</c:v>
                </c:pt>
                <c:pt idx="4890">
                  <c:v>45.872</c:v>
                </c:pt>
                <c:pt idx="4891">
                  <c:v>45.881</c:v>
                </c:pt>
                <c:pt idx="4892">
                  <c:v>45.89</c:v>
                </c:pt>
                <c:pt idx="4893">
                  <c:v>45.899</c:v>
                </c:pt>
                <c:pt idx="4894">
                  <c:v>45.908</c:v>
                </c:pt>
                <c:pt idx="4895">
                  <c:v>45.917</c:v>
                </c:pt>
                <c:pt idx="4896">
                  <c:v>45.926</c:v>
                </c:pt>
                <c:pt idx="4897">
                  <c:v>45.935</c:v>
                </c:pt>
                <c:pt idx="4898">
                  <c:v>45.944</c:v>
                </c:pt>
                <c:pt idx="4899">
                  <c:v>45.953</c:v>
                </c:pt>
                <c:pt idx="4900">
                  <c:v>45.962</c:v>
                </c:pt>
                <c:pt idx="4901">
                  <c:v>45.971</c:v>
                </c:pt>
                <c:pt idx="4902">
                  <c:v>45.98</c:v>
                </c:pt>
                <c:pt idx="4903">
                  <c:v>45.989</c:v>
                </c:pt>
                <c:pt idx="4904">
                  <c:v>45.999</c:v>
                </c:pt>
                <c:pt idx="4905">
                  <c:v>46.008</c:v>
                </c:pt>
                <c:pt idx="4906">
                  <c:v>46.017</c:v>
                </c:pt>
                <c:pt idx="4907">
                  <c:v>46.026</c:v>
                </c:pt>
                <c:pt idx="4908">
                  <c:v>46.035</c:v>
                </c:pt>
                <c:pt idx="4909">
                  <c:v>46.044</c:v>
                </c:pt>
                <c:pt idx="4910">
                  <c:v>46.053</c:v>
                </c:pt>
                <c:pt idx="4911">
                  <c:v>46.062</c:v>
                </c:pt>
                <c:pt idx="4912">
                  <c:v>46.071</c:v>
                </c:pt>
                <c:pt idx="4913">
                  <c:v>46.08</c:v>
                </c:pt>
                <c:pt idx="4914">
                  <c:v>46.089</c:v>
                </c:pt>
                <c:pt idx="4915">
                  <c:v>46.098</c:v>
                </c:pt>
                <c:pt idx="4916">
                  <c:v>46.107</c:v>
                </c:pt>
                <c:pt idx="4917">
                  <c:v>46.116</c:v>
                </c:pt>
                <c:pt idx="4918">
                  <c:v>46.125</c:v>
                </c:pt>
                <c:pt idx="4919">
                  <c:v>46.134</c:v>
                </c:pt>
                <c:pt idx="4920">
                  <c:v>46.143</c:v>
                </c:pt>
                <c:pt idx="4921">
                  <c:v>46.152</c:v>
                </c:pt>
                <c:pt idx="4922">
                  <c:v>46.161</c:v>
                </c:pt>
                <c:pt idx="4923">
                  <c:v>46.17</c:v>
                </c:pt>
                <c:pt idx="4924">
                  <c:v>46.179</c:v>
                </c:pt>
                <c:pt idx="4925">
                  <c:v>46.188</c:v>
                </c:pt>
                <c:pt idx="4926">
                  <c:v>46.197</c:v>
                </c:pt>
                <c:pt idx="4927">
                  <c:v>46.206</c:v>
                </c:pt>
                <c:pt idx="4928">
                  <c:v>46.215</c:v>
                </c:pt>
                <c:pt idx="4929">
                  <c:v>46.224</c:v>
                </c:pt>
                <c:pt idx="4930">
                  <c:v>46.233</c:v>
                </c:pt>
                <c:pt idx="4931">
                  <c:v>46.242</c:v>
                </c:pt>
                <c:pt idx="4932">
                  <c:v>46.405</c:v>
                </c:pt>
                <c:pt idx="4933">
                  <c:v>46.414</c:v>
                </c:pt>
                <c:pt idx="4934">
                  <c:v>46.424</c:v>
                </c:pt>
                <c:pt idx="4935">
                  <c:v>46.433</c:v>
                </c:pt>
                <c:pt idx="4936">
                  <c:v>46.442</c:v>
                </c:pt>
                <c:pt idx="4937">
                  <c:v>46.452</c:v>
                </c:pt>
                <c:pt idx="4938">
                  <c:v>46.465</c:v>
                </c:pt>
                <c:pt idx="4939">
                  <c:v>46.476</c:v>
                </c:pt>
                <c:pt idx="4940">
                  <c:v>46.485</c:v>
                </c:pt>
                <c:pt idx="4941">
                  <c:v>46.494</c:v>
                </c:pt>
                <c:pt idx="4942">
                  <c:v>46.503</c:v>
                </c:pt>
                <c:pt idx="4943">
                  <c:v>46.512</c:v>
                </c:pt>
                <c:pt idx="4944">
                  <c:v>46.521</c:v>
                </c:pt>
                <c:pt idx="4945">
                  <c:v>46.53</c:v>
                </c:pt>
                <c:pt idx="4946">
                  <c:v>46.539</c:v>
                </c:pt>
                <c:pt idx="4947">
                  <c:v>46.548</c:v>
                </c:pt>
                <c:pt idx="4948">
                  <c:v>46.558</c:v>
                </c:pt>
                <c:pt idx="4949">
                  <c:v>46.567</c:v>
                </c:pt>
                <c:pt idx="4950">
                  <c:v>46.576</c:v>
                </c:pt>
                <c:pt idx="4951">
                  <c:v>46.585</c:v>
                </c:pt>
                <c:pt idx="4952">
                  <c:v>46.594</c:v>
                </c:pt>
                <c:pt idx="4953">
                  <c:v>46.603</c:v>
                </c:pt>
                <c:pt idx="4954">
                  <c:v>46.612</c:v>
                </c:pt>
                <c:pt idx="4955">
                  <c:v>46.621</c:v>
                </c:pt>
                <c:pt idx="4956">
                  <c:v>46.63</c:v>
                </c:pt>
                <c:pt idx="4957">
                  <c:v>46.639</c:v>
                </c:pt>
                <c:pt idx="4958">
                  <c:v>46.648</c:v>
                </c:pt>
                <c:pt idx="4959">
                  <c:v>46.657</c:v>
                </c:pt>
                <c:pt idx="4960">
                  <c:v>46.666</c:v>
                </c:pt>
                <c:pt idx="4961">
                  <c:v>46.675</c:v>
                </c:pt>
                <c:pt idx="4962">
                  <c:v>46.684</c:v>
                </c:pt>
                <c:pt idx="4963">
                  <c:v>46.693</c:v>
                </c:pt>
                <c:pt idx="4964">
                  <c:v>46.703</c:v>
                </c:pt>
                <c:pt idx="4965">
                  <c:v>46.712</c:v>
                </c:pt>
                <c:pt idx="4966">
                  <c:v>46.721</c:v>
                </c:pt>
                <c:pt idx="4967">
                  <c:v>46.73</c:v>
                </c:pt>
                <c:pt idx="4968">
                  <c:v>46.739</c:v>
                </c:pt>
                <c:pt idx="4969">
                  <c:v>46.748</c:v>
                </c:pt>
                <c:pt idx="4970">
                  <c:v>46.757</c:v>
                </c:pt>
                <c:pt idx="4971">
                  <c:v>46.767</c:v>
                </c:pt>
                <c:pt idx="4972">
                  <c:v>46.776</c:v>
                </c:pt>
                <c:pt idx="4973">
                  <c:v>46.785</c:v>
                </c:pt>
                <c:pt idx="4974">
                  <c:v>46.794</c:v>
                </c:pt>
                <c:pt idx="4975">
                  <c:v>46.803</c:v>
                </c:pt>
                <c:pt idx="4976">
                  <c:v>46.812</c:v>
                </c:pt>
                <c:pt idx="4977">
                  <c:v>46.821</c:v>
                </c:pt>
                <c:pt idx="4978">
                  <c:v>46.83</c:v>
                </c:pt>
                <c:pt idx="4979">
                  <c:v>46.839</c:v>
                </c:pt>
                <c:pt idx="4980">
                  <c:v>46.848</c:v>
                </c:pt>
                <c:pt idx="4981">
                  <c:v>46.857</c:v>
                </c:pt>
                <c:pt idx="4982">
                  <c:v>46.866</c:v>
                </c:pt>
                <c:pt idx="4983">
                  <c:v>46.875</c:v>
                </c:pt>
                <c:pt idx="4984">
                  <c:v>46.884</c:v>
                </c:pt>
                <c:pt idx="4985">
                  <c:v>46.893</c:v>
                </c:pt>
                <c:pt idx="4986">
                  <c:v>46.902</c:v>
                </c:pt>
                <c:pt idx="4987">
                  <c:v>46.911</c:v>
                </c:pt>
                <c:pt idx="4988">
                  <c:v>46.92</c:v>
                </c:pt>
                <c:pt idx="4989">
                  <c:v>46.929</c:v>
                </c:pt>
                <c:pt idx="4990">
                  <c:v>46.938</c:v>
                </c:pt>
                <c:pt idx="4991">
                  <c:v>46.947</c:v>
                </c:pt>
                <c:pt idx="4992">
                  <c:v>46.956</c:v>
                </c:pt>
                <c:pt idx="4993">
                  <c:v>46.968</c:v>
                </c:pt>
                <c:pt idx="4994">
                  <c:v>46.979</c:v>
                </c:pt>
                <c:pt idx="4995">
                  <c:v>46.99</c:v>
                </c:pt>
                <c:pt idx="4996">
                  <c:v>46.999</c:v>
                </c:pt>
                <c:pt idx="4997">
                  <c:v>47.008</c:v>
                </c:pt>
                <c:pt idx="4998">
                  <c:v>47.017</c:v>
                </c:pt>
                <c:pt idx="4999">
                  <c:v>47.026</c:v>
                </c:pt>
                <c:pt idx="5000">
                  <c:v>47.035</c:v>
                </c:pt>
                <c:pt idx="5001">
                  <c:v>47.044</c:v>
                </c:pt>
                <c:pt idx="5002">
                  <c:v>47.053</c:v>
                </c:pt>
                <c:pt idx="5003">
                  <c:v>47.062</c:v>
                </c:pt>
                <c:pt idx="5004">
                  <c:v>47.071</c:v>
                </c:pt>
                <c:pt idx="5005">
                  <c:v>47.08</c:v>
                </c:pt>
                <c:pt idx="5006">
                  <c:v>47.089</c:v>
                </c:pt>
                <c:pt idx="5007">
                  <c:v>47.098</c:v>
                </c:pt>
                <c:pt idx="5008">
                  <c:v>47.107</c:v>
                </c:pt>
                <c:pt idx="5009">
                  <c:v>47.116</c:v>
                </c:pt>
                <c:pt idx="5010">
                  <c:v>47.125</c:v>
                </c:pt>
                <c:pt idx="5011">
                  <c:v>47.134</c:v>
                </c:pt>
                <c:pt idx="5012">
                  <c:v>47.143</c:v>
                </c:pt>
                <c:pt idx="5013">
                  <c:v>47.152</c:v>
                </c:pt>
                <c:pt idx="5014">
                  <c:v>47.161</c:v>
                </c:pt>
                <c:pt idx="5015">
                  <c:v>47.17</c:v>
                </c:pt>
                <c:pt idx="5016">
                  <c:v>47.179</c:v>
                </c:pt>
                <c:pt idx="5017">
                  <c:v>47.188</c:v>
                </c:pt>
                <c:pt idx="5018">
                  <c:v>47.197</c:v>
                </c:pt>
                <c:pt idx="5019">
                  <c:v>47.207</c:v>
                </c:pt>
                <c:pt idx="5020">
                  <c:v>47.216</c:v>
                </c:pt>
                <c:pt idx="5021">
                  <c:v>47.225</c:v>
                </c:pt>
                <c:pt idx="5022">
                  <c:v>47.234</c:v>
                </c:pt>
                <c:pt idx="5023">
                  <c:v>47.243</c:v>
                </c:pt>
                <c:pt idx="5024">
                  <c:v>47.252</c:v>
                </c:pt>
                <c:pt idx="5025">
                  <c:v>47.261</c:v>
                </c:pt>
                <c:pt idx="5026">
                  <c:v>47.27</c:v>
                </c:pt>
                <c:pt idx="5027">
                  <c:v>47.279</c:v>
                </c:pt>
                <c:pt idx="5028">
                  <c:v>47.288</c:v>
                </c:pt>
                <c:pt idx="5029">
                  <c:v>47.297</c:v>
                </c:pt>
                <c:pt idx="5030">
                  <c:v>47.306</c:v>
                </c:pt>
                <c:pt idx="5031">
                  <c:v>47.315</c:v>
                </c:pt>
                <c:pt idx="5032">
                  <c:v>47.324</c:v>
                </c:pt>
                <c:pt idx="5033">
                  <c:v>47.333</c:v>
                </c:pt>
                <c:pt idx="5034">
                  <c:v>47.342</c:v>
                </c:pt>
                <c:pt idx="5035">
                  <c:v>47.352</c:v>
                </c:pt>
                <c:pt idx="5036">
                  <c:v>47.361</c:v>
                </c:pt>
                <c:pt idx="5037">
                  <c:v>47.37</c:v>
                </c:pt>
                <c:pt idx="5038">
                  <c:v>47.379</c:v>
                </c:pt>
                <c:pt idx="5039">
                  <c:v>47.388</c:v>
                </c:pt>
                <c:pt idx="5040">
                  <c:v>47.397</c:v>
                </c:pt>
                <c:pt idx="5041">
                  <c:v>47.406</c:v>
                </c:pt>
                <c:pt idx="5042">
                  <c:v>47.416</c:v>
                </c:pt>
                <c:pt idx="5043">
                  <c:v>47.425</c:v>
                </c:pt>
                <c:pt idx="5044">
                  <c:v>47.434</c:v>
                </c:pt>
                <c:pt idx="5045">
                  <c:v>47.443</c:v>
                </c:pt>
                <c:pt idx="5046">
                  <c:v>47.452</c:v>
                </c:pt>
                <c:pt idx="5047">
                  <c:v>47.461</c:v>
                </c:pt>
                <c:pt idx="5048">
                  <c:v>47.47</c:v>
                </c:pt>
                <c:pt idx="5049">
                  <c:v>47.479</c:v>
                </c:pt>
                <c:pt idx="5050">
                  <c:v>47.489</c:v>
                </c:pt>
                <c:pt idx="5051">
                  <c:v>47.498</c:v>
                </c:pt>
                <c:pt idx="5052">
                  <c:v>47.507</c:v>
                </c:pt>
                <c:pt idx="5053">
                  <c:v>47.516</c:v>
                </c:pt>
                <c:pt idx="5054">
                  <c:v>47.525</c:v>
                </c:pt>
                <c:pt idx="5055">
                  <c:v>47.534</c:v>
                </c:pt>
                <c:pt idx="5056">
                  <c:v>47.543</c:v>
                </c:pt>
                <c:pt idx="5057">
                  <c:v>47.552</c:v>
                </c:pt>
                <c:pt idx="5058">
                  <c:v>47.561</c:v>
                </c:pt>
                <c:pt idx="5059">
                  <c:v>47.57</c:v>
                </c:pt>
                <c:pt idx="5060">
                  <c:v>47.579</c:v>
                </c:pt>
                <c:pt idx="5061">
                  <c:v>47.588</c:v>
                </c:pt>
                <c:pt idx="5062">
                  <c:v>47.597</c:v>
                </c:pt>
                <c:pt idx="5063">
                  <c:v>47.606</c:v>
                </c:pt>
                <c:pt idx="5064">
                  <c:v>47.615</c:v>
                </c:pt>
                <c:pt idx="5065">
                  <c:v>47.624</c:v>
                </c:pt>
                <c:pt idx="5066">
                  <c:v>47.634</c:v>
                </c:pt>
                <c:pt idx="5067">
                  <c:v>47.643</c:v>
                </c:pt>
                <c:pt idx="5068">
                  <c:v>47.652</c:v>
                </c:pt>
                <c:pt idx="5069">
                  <c:v>47.661</c:v>
                </c:pt>
                <c:pt idx="5070">
                  <c:v>47.67</c:v>
                </c:pt>
                <c:pt idx="5071">
                  <c:v>47.68</c:v>
                </c:pt>
                <c:pt idx="5072">
                  <c:v>47.689</c:v>
                </c:pt>
                <c:pt idx="5073">
                  <c:v>47.698</c:v>
                </c:pt>
                <c:pt idx="5074">
                  <c:v>47.707</c:v>
                </c:pt>
                <c:pt idx="5075">
                  <c:v>47.716</c:v>
                </c:pt>
                <c:pt idx="5076">
                  <c:v>47.725</c:v>
                </c:pt>
                <c:pt idx="5077">
                  <c:v>47.734</c:v>
                </c:pt>
                <c:pt idx="5078">
                  <c:v>47.743</c:v>
                </c:pt>
                <c:pt idx="5079">
                  <c:v>47.752</c:v>
                </c:pt>
                <c:pt idx="5080">
                  <c:v>47.761</c:v>
                </c:pt>
                <c:pt idx="5081">
                  <c:v>47.77</c:v>
                </c:pt>
                <c:pt idx="5082">
                  <c:v>47.779</c:v>
                </c:pt>
                <c:pt idx="5083">
                  <c:v>47.788</c:v>
                </c:pt>
                <c:pt idx="5084">
                  <c:v>47.797</c:v>
                </c:pt>
                <c:pt idx="5085">
                  <c:v>47.806</c:v>
                </c:pt>
                <c:pt idx="5086">
                  <c:v>47.815</c:v>
                </c:pt>
                <c:pt idx="5087">
                  <c:v>47.824</c:v>
                </c:pt>
                <c:pt idx="5088">
                  <c:v>47.833</c:v>
                </c:pt>
                <c:pt idx="5089">
                  <c:v>47.842</c:v>
                </c:pt>
                <c:pt idx="5090">
                  <c:v>47.852</c:v>
                </c:pt>
                <c:pt idx="5091">
                  <c:v>47.861</c:v>
                </c:pt>
                <c:pt idx="5092">
                  <c:v>47.87</c:v>
                </c:pt>
                <c:pt idx="5093">
                  <c:v>47.879</c:v>
                </c:pt>
                <c:pt idx="5094">
                  <c:v>47.888</c:v>
                </c:pt>
                <c:pt idx="5095">
                  <c:v>47.897</c:v>
                </c:pt>
                <c:pt idx="5096">
                  <c:v>47.906</c:v>
                </c:pt>
                <c:pt idx="5097">
                  <c:v>47.915</c:v>
                </c:pt>
                <c:pt idx="5098">
                  <c:v>47.924</c:v>
                </c:pt>
                <c:pt idx="5099">
                  <c:v>47.933</c:v>
                </c:pt>
                <c:pt idx="5100">
                  <c:v>47.942</c:v>
                </c:pt>
                <c:pt idx="5101">
                  <c:v>47.951</c:v>
                </c:pt>
                <c:pt idx="5102">
                  <c:v>47.96</c:v>
                </c:pt>
                <c:pt idx="5103">
                  <c:v>47.969</c:v>
                </c:pt>
                <c:pt idx="5104">
                  <c:v>47.978</c:v>
                </c:pt>
                <c:pt idx="5105">
                  <c:v>47.987</c:v>
                </c:pt>
                <c:pt idx="5106">
                  <c:v>47.997</c:v>
                </c:pt>
                <c:pt idx="5107">
                  <c:v>48.006</c:v>
                </c:pt>
                <c:pt idx="5108">
                  <c:v>48.016</c:v>
                </c:pt>
                <c:pt idx="5109">
                  <c:v>48.025</c:v>
                </c:pt>
                <c:pt idx="5110">
                  <c:v>48.034</c:v>
                </c:pt>
                <c:pt idx="5111">
                  <c:v>48.043</c:v>
                </c:pt>
                <c:pt idx="5112">
                  <c:v>48.053</c:v>
                </c:pt>
                <c:pt idx="5113">
                  <c:v>48.062</c:v>
                </c:pt>
                <c:pt idx="5114">
                  <c:v>48.071</c:v>
                </c:pt>
                <c:pt idx="5115">
                  <c:v>48.08</c:v>
                </c:pt>
                <c:pt idx="5116">
                  <c:v>48.089</c:v>
                </c:pt>
                <c:pt idx="5117">
                  <c:v>48.098</c:v>
                </c:pt>
                <c:pt idx="5118">
                  <c:v>48.107</c:v>
                </c:pt>
                <c:pt idx="5119">
                  <c:v>48.116</c:v>
                </c:pt>
                <c:pt idx="5120">
                  <c:v>48.125</c:v>
                </c:pt>
                <c:pt idx="5121">
                  <c:v>48.134</c:v>
                </c:pt>
                <c:pt idx="5122">
                  <c:v>48.143</c:v>
                </c:pt>
                <c:pt idx="5123">
                  <c:v>48.152</c:v>
                </c:pt>
                <c:pt idx="5124">
                  <c:v>48.161</c:v>
                </c:pt>
                <c:pt idx="5125">
                  <c:v>48.17</c:v>
                </c:pt>
                <c:pt idx="5126">
                  <c:v>48.179</c:v>
                </c:pt>
                <c:pt idx="5127">
                  <c:v>48.188</c:v>
                </c:pt>
                <c:pt idx="5128">
                  <c:v>48.197</c:v>
                </c:pt>
                <c:pt idx="5129">
                  <c:v>48.206</c:v>
                </c:pt>
                <c:pt idx="5130">
                  <c:v>48.215</c:v>
                </c:pt>
                <c:pt idx="5131">
                  <c:v>48.224</c:v>
                </c:pt>
                <c:pt idx="5132">
                  <c:v>48.233</c:v>
                </c:pt>
                <c:pt idx="5133">
                  <c:v>48.243</c:v>
                </c:pt>
                <c:pt idx="5134">
                  <c:v>48.252</c:v>
                </c:pt>
                <c:pt idx="5135">
                  <c:v>48.261</c:v>
                </c:pt>
                <c:pt idx="5136">
                  <c:v>48.27</c:v>
                </c:pt>
                <c:pt idx="5137">
                  <c:v>48.279</c:v>
                </c:pt>
                <c:pt idx="5138">
                  <c:v>48.288</c:v>
                </c:pt>
                <c:pt idx="5139">
                  <c:v>48.297</c:v>
                </c:pt>
                <c:pt idx="5140">
                  <c:v>48.306</c:v>
                </c:pt>
                <c:pt idx="5141">
                  <c:v>48.315</c:v>
                </c:pt>
                <c:pt idx="5142">
                  <c:v>48.324</c:v>
                </c:pt>
                <c:pt idx="5143">
                  <c:v>48.333</c:v>
                </c:pt>
                <c:pt idx="5144">
                  <c:v>48.342</c:v>
                </c:pt>
                <c:pt idx="5145">
                  <c:v>48.351</c:v>
                </c:pt>
                <c:pt idx="5146">
                  <c:v>48.36</c:v>
                </c:pt>
                <c:pt idx="5147">
                  <c:v>48.369</c:v>
                </c:pt>
                <c:pt idx="5148">
                  <c:v>48.378</c:v>
                </c:pt>
                <c:pt idx="5149">
                  <c:v>48.388</c:v>
                </c:pt>
                <c:pt idx="5150">
                  <c:v>48.397</c:v>
                </c:pt>
                <c:pt idx="5151">
                  <c:v>48.406</c:v>
                </c:pt>
                <c:pt idx="5152">
                  <c:v>48.415</c:v>
                </c:pt>
                <c:pt idx="5153">
                  <c:v>48.425</c:v>
                </c:pt>
                <c:pt idx="5154">
                  <c:v>48.434</c:v>
                </c:pt>
                <c:pt idx="5155">
                  <c:v>48.443</c:v>
                </c:pt>
                <c:pt idx="5156">
                  <c:v>48.452</c:v>
                </c:pt>
                <c:pt idx="5157">
                  <c:v>48.461</c:v>
                </c:pt>
                <c:pt idx="5158">
                  <c:v>48.47</c:v>
                </c:pt>
                <c:pt idx="5159">
                  <c:v>48.479</c:v>
                </c:pt>
                <c:pt idx="5160">
                  <c:v>48.488</c:v>
                </c:pt>
                <c:pt idx="5161">
                  <c:v>48.497</c:v>
                </c:pt>
                <c:pt idx="5162">
                  <c:v>48.506</c:v>
                </c:pt>
                <c:pt idx="5163">
                  <c:v>48.515</c:v>
                </c:pt>
                <c:pt idx="5164">
                  <c:v>48.524</c:v>
                </c:pt>
                <c:pt idx="5165">
                  <c:v>48.533</c:v>
                </c:pt>
                <c:pt idx="5166">
                  <c:v>48.542</c:v>
                </c:pt>
                <c:pt idx="5167">
                  <c:v>48.551</c:v>
                </c:pt>
                <c:pt idx="5168">
                  <c:v>48.56</c:v>
                </c:pt>
                <c:pt idx="5169">
                  <c:v>48.569</c:v>
                </c:pt>
                <c:pt idx="5170">
                  <c:v>48.578</c:v>
                </c:pt>
                <c:pt idx="5171">
                  <c:v>48.587</c:v>
                </c:pt>
                <c:pt idx="5172">
                  <c:v>48.596</c:v>
                </c:pt>
                <c:pt idx="5173">
                  <c:v>48.605</c:v>
                </c:pt>
                <c:pt idx="5174">
                  <c:v>48.614</c:v>
                </c:pt>
                <c:pt idx="5175">
                  <c:v>48.623</c:v>
                </c:pt>
                <c:pt idx="5176">
                  <c:v>48.632</c:v>
                </c:pt>
                <c:pt idx="5177">
                  <c:v>48.641</c:v>
                </c:pt>
                <c:pt idx="5178">
                  <c:v>48.65</c:v>
                </c:pt>
                <c:pt idx="5179">
                  <c:v>48.659</c:v>
                </c:pt>
                <c:pt idx="5180">
                  <c:v>48.668</c:v>
                </c:pt>
                <c:pt idx="5181">
                  <c:v>48.677</c:v>
                </c:pt>
                <c:pt idx="5182">
                  <c:v>48.686</c:v>
                </c:pt>
                <c:pt idx="5183">
                  <c:v>48.695</c:v>
                </c:pt>
                <c:pt idx="5184">
                  <c:v>48.704</c:v>
                </c:pt>
                <c:pt idx="5185">
                  <c:v>48.713</c:v>
                </c:pt>
                <c:pt idx="5186">
                  <c:v>48.722</c:v>
                </c:pt>
                <c:pt idx="5187">
                  <c:v>48.731</c:v>
                </c:pt>
                <c:pt idx="5188">
                  <c:v>48.74</c:v>
                </c:pt>
                <c:pt idx="5189">
                  <c:v>48.749</c:v>
                </c:pt>
                <c:pt idx="5190">
                  <c:v>48.759</c:v>
                </c:pt>
                <c:pt idx="5191">
                  <c:v>48.768</c:v>
                </c:pt>
                <c:pt idx="5192">
                  <c:v>48.777</c:v>
                </c:pt>
                <c:pt idx="5193">
                  <c:v>48.786</c:v>
                </c:pt>
                <c:pt idx="5194">
                  <c:v>48.795</c:v>
                </c:pt>
                <c:pt idx="5195">
                  <c:v>48.804</c:v>
                </c:pt>
                <c:pt idx="5196">
                  <c:v>48.813</c:v>
                </c:pt>
                <c:pt idx="5197">
                  <c:v>48.822</c:v>
                </c:pt>
                <c:pt idx="5198">
                  <c:v>48.832</c:v>
                </c:pt>
                <c:pt idx="5199">
                  <c:v>48.841</c:v>
                </c:pt>
                <c:pt idx="5200">
                  <c:v>48.85</c:v>
                </c:pt>
                <c:pt idx="5201">
                  <c:v>48.86</c:v>
                </c:pt>
                <c:pt idx="5202">
                  <c:v>48.869</c:v>
                </c:pt>
                <c:pt idx="5203">
                  <c:v>48.878</c:v>
                </c:pt>
                <c:pt idx="5204">
                  <c:v>48.888</c:v>
                </c:pt>
                <c:pt idx="5205">
                  <c:v>48.897</c:v>
                </c:pt>
                <c:pt idx="5206">
                  <c:v>48.906</c:v>
                </c:pt>
                <c:pt idx="5207">
                  <c:v>48.915</c:v>
                </c:pt>
                <c:pt idx="5208">
                  <c:v>48.924</c:v>
                </c:pt>
                <c:pt idx="5209">
                  <c:v>48.933</c:v>
                </c:pt>
                <c:pt idx="5210">
                  <c:v>48.942</c:v>
                </c:pt>
                <c:pt idx="5211">
                  <c:v>48.951</c:v>
                </c:pt>
                <c:pt idx="5212">
                  <c:v>48.96</c:v>
                </c:pt>
                <c:pt idx="5213">
                  <c:v>48.97</c:v>
                </c:pt>
                <c:pt idx="5214">
                  <c:v>48.979</c:v>
                </c:pt>
                <c:pt idx="5215">
                  <c:v>48.988</c:v>
                </c:pt>
                <c:pt idx="5216">
                  <c:v>48.997</c:v>
                </c:pt>
                <c:pt idx="5217">
                  <c:v>49.006</c:v>
                </c:pt>
                <c:pt idx="5218">
                  <c:v>49.015</c:v>
                </c:pt>
                <c:pt idx="5219">
                  <c:v>49.025</c:v>
                </c:pt>
                <c:pt idx="5220">
                  <c:v>49.034</c:v>
                </c:pt>
                <c:pt idx="5221">
                  <c:v>49.044</c:v>
                </c:pt>
                <c:pt idx="5222">
                  <c:v>49.053</c:v>
                </c:pt>
                <c:pt idx="5223">
                  <c:v>49.062</c:v>
                </c:pt>
                <c:pt idx="5224">
                  <c:v>49.071</c:v>
                </c:pt>
                <c:pt idx="5225">
                  <c:v>49.08</c:v>
                </c:pt>
                <c:pt idx="5226">
                  <c:v>49.089</c:v>
                </c:pt>
                <c:pt idx="5227">
                  <c:v>49.098</c:v>
                </c:pt>
                <c:pt idx="5228">
                  <c:v>49.107</c:v>
                </c:pt>
                <c:pt idx="5229">
                  <c:v>49.116</c:v>
                </c:pt>
                <c:pt idx="5230">
                  <c:v>49.126</c:v>
                </c:pt>
                <c:pt idx="5231">
                  <c:v>49.135</c:v>
                </c:pt>
                <c:pt idx="5232">
                  <c:v>49.144</c:v>
                </c:pt>
                <c:pt idx="5233">
                  <c:v>49.153</c:v>
                </c:pt>
                <c:pt idx="5234">
                  <c:v>49.162</c:v>
                </c:pt>
                <c:pt idx="5235">
                  <c:v>49.171</c:v>
                </c:pt>
                <c:pt idx="5236">
                  <c:v>49.18</c:v>
                </c:pt>
                <c:pt idx="5237">
                  <c:v>49.189</c:v>
                </c:pt>
                <c:pt idx="5238">
                  <c:v>49.198</c:v>
                </c:pt>
                <c:pt idx="5239">
                  <c:v>49.207</c:v>
                </c:pt>
                <c:pt idx="5240">
                  <c:v>49.216</c:v>
                </c:pt>
                <c:pt idx="5241">
                  <c:v>49.225</c:v>
                </c:pt>
                <c:pt idx="5242">
                  <c:v>49.234</c:v>
                </c:pt>
                <c:pt idx="5243">
                  <c:v>49.243</c:v>
                </c:pt>
                <c:pt idx="5244">
                  <c:v>49.252</c:v>
                </c:pt>
                <c:pt idx="5245">
                  <c:v>49.261</c:v>
                </c:pt>
                <c:pt idx="5246">
                  <c:v>49.27</c:v>
                </c:pt>
                <c:pt idx="5247">
                  <c:v>49.279</c:v>
                </c:pt>
                <c:pt idx="5248">
                  <c:v>49.288</c:v>
                </c:pt>
                <c:pt idx="5249">
                  <c:v>49.297</c:v>
                </c:pt>
                <c:pt idx="5250">
                  <c:v>49.306</c:v>
                </c:pt>
                <c:pt idx="5251">
                  <c:v>49.315</c:v>
                </c:pt>
                <c:pt idx="5252">
                  <c:v>49.324</c:v>
                </c:pt>
                <c:pt idx="5253">
                  <c:v>49.333</c:v>
                </c:pt>
                <c:pt idx="5254">
                  <c:v>49.343</c:v>
                </c:pt>
                <c:pt idx="5255">
                  <c:v>49.352</c:v>
                </c:pt>
                <c:pt idx="5256">
                  <c:v>49.361</c:v>
                </c:pt>
                <c:pt idx="5257">
                  <c:v>49.37</c:v>
                </c:pt>
                <c:pt idx="5258">
                  <c:v>49.379</c:v>
                </c:pt>
                <c:pt idx="5259">
                  <c:v>49.388</c:v>
                </c:pt>
                <c:pt idx="5260">
                  <c:v>49.397</c:v>
                </c:pt>
                <c:pt idx="5261">
                  <c:v>49.406</c:v>
                </c:pt>
                <c:pt idx="5262">
                  <c:v>49.416</c:v>
                </c:pt>
                <c:pt idx="5263">
                  <c:v>49.425</c:v>
                </c:pt>
                <c:pt idx="5264">
                  <c:v>49.434</c:v>
                </c:pt>
                <c:pt idx="5265">
                  <c:v>49.443</c:v>
                </c:pt>
                <c:pt idx="5266">
                  <c:v>49.452</c:v>
                </c:pt>
                <c:pt idx="5267">
                  <c:v>49.462</c:v>
                </c:pt>
                <c:pt idx="5268">
                  <c:v>49.474</c:v>
                </c:pt>
                <c:pt idx="5269">
                  <c:v>49.487</c:v>
                </c:pt>
                <c:pt idx="5270">
                  <c:v>49.497</c:v>
                </c:pt>
                <c:pt idx="5271">
                  <c:v>49.508</c:v>
                </c:pt>
                <c:pt idx="5272">
                  <c:v>49.517</c:v>
                </c:pt>
                <c:pt idx="5273">
                  <c:v>49.526</c:v>
                </c:pt>
                <c:pt idx="5274">
                  <c:v>49.535</c:v>
                </c:pt>
                <c:pt idx="5275">
                  <c:v>49.544</c:v>
                </c:pt>
                <c:pt idx="5276">
                  <c:v>49.553</c:v>
                </c:pt>
                <c:pt idx="5277">
                  <c:v>49.562</c:v>
                </c:pt>
                <c:pt idx="5278">
                  <c:v>49.571</c:v>
                </c:pt>
                <c:pt idx="5279">
                  <c:v>49.58</c:v>
                </c:pt>
                <c:pt idx="5280">
                  <c:v>49.589</c:v>
                </c:pt>
                <c:pt idx="5281">
                  <c:v>49.598</c:v>
                </c:pt>
                <c:pt idx="5282">
                  <c:v>49.607</c:v>
                </c:pt>
                <c:pt idx="5283">
                  <c:v>49.616</c:v>
                </c:pt>
                <c:pt idx="5284">
                  <c:v>49.625</c:v>
                </c:pt>
                <c:pt idx="5285">
                  <c:v>49.634</c:v>
                </c:pt>
                <c:pt idx="5286">
                  <c:v>49.643</c:v>
                </c:pt>
                <c:pt idx="5287">
                  <c:v>49.652</c:v>
                </c:pt>
                <c:pt idx="5288">
                  <c:v>49.661</c:v>
                </c:pt>
                <c:pt idx="5289">
                  <c:v>49.67</c:v>
                </c:pt>
                <c:pt idx="5290">
                  <c:v>49.679</c:v>
                </c:pt>
                <c:pt idx="5291">
                  <c:v>49.688</c:v>
                </c:pt>
                <c:pt idx="5292">
                  <c:v>49.698</c:v>
                </c:pt>
                <c:pt idx="5293">
                  <c:v>49.707</c:v>
                </c:pt>
                <c:pt idx="5294">
                  <c:v>49.716</c:v>
                </c:pt>
                <c:pt idx="5295">
                  <c:v>49.725</c:v>
                </c:pt>
                <c:pt idx="5296">
                  <c:v>49.734</c:v>
                </c:pt>
                <c:pt idx="5297">
                  <c:v>49.743</c:v>
                </c:pt>
                <c:pt idx="5298">
                  <c:v>49.752</c:v>
                </c:pt>
                <c:pt idx="5299">
                  <c:v>49.761</c:v>
                </c:pt>
                <c:pt idx="5300">
                  <c:v>49.77</c:v>
                </c:pt>
                <c:pt idx="5301">
                  <c:v>49.779</c:v>
                </c:pt>
                <c:pt idx="5302">
                  <c:v>49.788</c:v>
                </c:pt>
                <c:pt idx="5303">
                  <c:v>49.797</c:v>
                </c:pt>
                <c:pt idx="5304">
                  <c:v>49.806</c:v>
                </c:pt>
                <c:pt idx="5305">
                  <c:v>49.815</c:v>
                </c:pt>
                <c:pt idx="5306">
                  <c:v>49.824</c:v>
                </c:pt>
                <c:pt idx="5307">
                  <c:v>49.833</c:v>
                </c:pt>
                <c:pt idx="5308">
                  <c:v>49.843</c:v>
                </c:pt>
                <c:pt idx="5309">
                  <c:v>49.852</c:v>
                </c:pt>
                <c:pt idx="5310">
                  <c:v>49.861</c:v>
                </c:pt>
                <c:pt idx="5311">
                  <c:v>49.871</c:v>
                </c:pt>
                <c:pt idx="5312">
                  <c:v>49.88</c:v>
                </c:pt>
                <c:pt idx="5313">
                  <c:v>49.889</c:v>
                </c:pt>
                <c:pt idx="5314">
                  <c:v>49.899</c:v>
                </c:pt>
                <c:pt idx="5315">
                  <c:v>49.908</c:v>
                </c:pt>
                <c:pt idx="5316">
                  <c:v>49.917</c:v>
                </c:pt>
                <c:pt idx="5317">
                  <c:v>49.926</c:v>
                </c:pt>
                <c:pt idx="5318">
                  <c:v>49.935</c:v>
                </c:pt>
                <c:pt idx="5319">
                  <c:v>49.944</c:v>
                </c:pt>
                <c:pt idx="5320">
                  <c:v>49.953</c:v>
                </c:pt>
                <c:pt idx="5321">
                  <c:v>49.962</c:v>
                </c:pt>
                <c:pt idx="5322">
                  <c:v>49.971</c:v>
                </c:pt>
                <c:pt idx="5323">
                  <c:v>49.985</c:v>
                </c:pt>
                <c:pt idx="5324">
                  <c:v>49.994</c:v>
                </c:pt>
                <c:pt idx="5325">
                  <c:v>50.003</c:v>
                </c:pt>
                <c:pt idx="5326">
                  <c:v>50.012</c:v>
                </c:pt>
                <c:pt idx="5327">
                  <c:v>50.021</c:v>
                </c:pt>
                <c:pt idx="5328">
                  <c:v>50.03</c:v>
                </c:pt>
                <c:pt idx="5329">
                  <c:v>50.039</c:v>
                </c:pt>
                <c:pt idx="5330">
                  <c:v>50.048</c:v>
                </c:pt>
                <c:pt idx="5331">
                  <c:v>50.057</c:v>
                </c:pt>
                <c:pt idx="5332">
                  <c:v>50.066</c:v>
                </c:pt>
                <c:pt idx="5333">
                  <c:v>50.075</c:v>
                </c:pt>
                <c:pt idx="5334">
                  <c:v>50.084</c:v>
                </c:pt>
                <c:pt idx="5335">
                  <c:v>50.093</c:v>
                </c:pt>
                <c:pt idx="5336">
                  <c:v>50.102</c:v>
                </c:pt>
                <c:pt idx="5337">
                  <c:v>50.111</c:v>
                </c:pt>
                <c:pt idx="5338">
                  <c:v>50.12</c:v>
                </c:pt>
                <c:pt idx="5339">
                  <c:v>50.129</c:v>
                </c:pt>
                <c:pt idx="5340">
                  <c:v>50.138</c:v>
                </c:pt>
                <c:pt idx="5341">
                  <c:v>50.147</c:v>
                </c:pt>
                <c:pt idx="5342">
                  <c:v>50.156</c:v>
                </c:pt>
                <c:pt idx="5343">
                  <c:v>50.165</c:v>
                </c:pt>
                <c:pt idx="5344">
                  <c:v>50.174</c:v>
                </c:pt>
                <c:pt idx="5345">
                  <c:v>50.183</c:v>
                </c:pt>
                <c:pt idx="5346">
                  <c:v>50.192</c:v>
                </c:pt>
                <c:pt idx="5347">
                  <c:v>50.201</c:v>
                </c:pt>
                <c:pt idx="5348">
                  <c:v>50.21</c:v>
                </c:pt>
                <c:pt idx="5349">
                  <c:v>50.219</c:v>
                </c:pt>
                <c:pt idx="5350">
                  <c:v>50.228</c:v>
                </c:pt>
                <c:pt idx="5351">
                  <c:v>50.237</c:v>
                </c:pt>
                <c:pt idx="5352">
                  <c:v>50.247</c:v>
                </c:pt>
                <c:pt idx="5353">
                  <c:v>50.256</c:v>
                </c:pt>
                <c:pt idx="5354">
                  <c:v>50.265</c:v>
                </c:pt>
                <c:pt idx="5355">
                  <c:v>50.274</c:v>
                </c:pt>
                <c:pt idx="5356">
                  <c:v>50.283</c:v>
                </c:pt>
                <c:pt idx="5357">
                  <c:v>50.292</c:v>
                </c:pt>
                <c:pt idx="5358">
                  <c:v>50.301</c:v>
                </c:pt>
                <c:pt idx="5359">
                  <c:v>50.31</c:v>
                </c:pt>
                <c:pt idx="5360">
                  <c:v>50.319</c:v>
                </c:pt>
                <c:pt idx="5361">
                  <c:v>50.328</c:v>
                </c:pt>
                <c:pt idx="5362">
                  <c:v>50.337</c:v>
                </c:pt>
                <c:pt idx="5363">
                  <c:v>50.346</c:v>
                </c:pt>
                <c:pt idx="5364">
                  <c:v>50.355</c:v>
                </c:pt>
                <c:pt idx="5365">
                  <c:v>50.364</c:v>
                </c:pt>
                <c:pt idx="5366">
                  <c:v>50.373</c:v>
                </c:pt>
                <c:pt idx="5367">
                  <c:v>50.382</c:v>
                </c:pt>
                <c:pt idx="5368">
                  <c:v>50.392</c:v>
                </c:pt>
                <c:pt idx="5369">
                  <c:v>50.401</c:v>
                </c:pt>
                <c:pt idx="5370">
                  <c:v>50.41</c:v>
                </c:pt>
                <c:pt idx="5371">
                  <c:v>50.419</c:v>
                </c:pt>
                <c:pt idx="5372">
                  <c:v>50.428</c:v>
                </c:pt>
                <c:pt idx="5373">
                  <c:v>50.437</c:v>
                </c:pt>
                <c:pt idx="5374">
                  <c:v>50.446</c:v>
                </c:pt>
                <c:pt idx="5375">
                  <c:v>50.455</c:v>
                </c:pt>
                <c:pt idx="5376">
                  <c:v>50.465</c:v>
                </c:pt>
                <c:pt idx="5377">
                  <c:v>50.474</c:v>
                </c:pt>
                <c:pt idx="5378">
                  <c:v>50.485</c:v>
                </c:pt>
                <c:pt idx="5379">
                  <c:v>50.497</c:v>
                </c:pt>
                <c:pt idx="5380">
                  <c:v>50.506</c:v>
                </c:pt>
                <c:pt idx="5381">
                  <c:v>50.515</c:v>
                </c:pt>
                <c:pt idx="5382">
                  <c:v>50.524</c:v>
                </c:pt>
                <c:pt idx="5383">
                  <c:v>50.533</c:v>
                </c:pt>
                <c:pt idx="5384">
                  <c:v>50.542</c:v>
                </c:pt>
                <c:pt idx="5385">
                  <c:v>50.551</c:v>
                </c:pt>
                <c:pt idx="5386">
                  <c:v>50.561</c:v>
                </c:pt>
                <c:pt idx="5387">
                  <c:v>50.57</c:v>
                </c:pt>
                <c:pt idx="5388">
                  <c:v>50.579</c:v>
                </c:pt>
                <c:pt idx="5389">
                  <c:v>50.588</c:v>
                </c:pt>
                <c:pt idx="5390">
                  <c:v>50.597</c:v>
                </c:pt>
                <c:pt idx="5391">
                  <c:v>50.606</c:v>
                </c:pt>
                <c:pt idx="5392">
                  <c:v>50.616</c:v>
                </c:pt>
                <c:pt idx="5393">
                  <c:v>50.625</c:v>
                </c:pt>
                <c:pt idx="5394">
                  <c:v>50.634</c:v>
                </c:pt>
                <c:pt idx="5395">
                  <c:v>50.643</c:v>
                </c:pt>
                <c:pt idx="5396">
                  <c:v>50.652</c:v>
                </c:pt>
                <c:pt idx="5397">
                  <c:v>50.661</c:v>
                </c:pt>
                <c:pt idx="5398">
                  <c:v>50.67</c:v>
                </c:pt>
                <c:pt idx="5399">
                  <c:v>50.679</c:v>
                </c:pt>
                <c:pt idx="5400">
                  <c:v>50.688</c:v>
                </c:pt>
                <c:pt idx="5401">
                  <c:v>50.698</c:v>
                </c:pt>
                <c:pt idx="5402">
                  <c:v>50.707</c:v>
                </c:pt>
                <c:pt idx="5403">
                  <c:v>50.716</c:v>
                </c:pt>
                <c:pt idx="5404">
                  <c:v>50.725</c:v>
                </c:pt>
                <c:pt idx="5405">
                  <c:v>50.734</c:v>
                </c:pt>
                <c:pt idx="5406">
                  <c:v>50.743</c:v>
                </c:pt>
                <c:pt idx="5407">
                  <c:v>50.752</c:v>
                </c:pt>
                <c:pt idx="5408">
                  <c:v>50.761</c:v>
                </c:pt>
                <c:pt idx="5409">
                  <c:v>50.77</c:v>
                </c:pt>
                <c:pt idx="5410">
                  <c:v>50.779</c:v>
                </c:pt>
                <c:pt idx="5411">
                  <c:v>50.788</c:v>
                </c:pt>
                <c:pt idx="5412">
                  <c:v>50.798</c:v>
                </c:pt>
                <c:pt idx="5413">
                  <c:v>50.808</c:v>
                </c:pt>
                <c:pt idx="5414">
                  <c:v>50.817</c:v>
                </c:pt>
                <c:pt idx="5415">
                  <c:v>50.826</c:v>
                </c:pt>
                <c:pt idx="5416">
                  <c:v>50.835</c:v>
                </c:pt>
                <c:pt idx="5417">
                  <c:v>50.844</c:v>
                </c:pt>
                <c:pt idx="5418">
                  <c:v>50.853</c:v>
                </c:pt>
                <c:pt idx="5419">
                  <c:v>50.862</c:v>
                </c:pt>
                <c:pt idx="5420">
                  <c:v>50.871</c:v>
                </c:pt>
                <c:pt idx="5421">
                  <c:v>50.88</c:v>
                </c:pt>
                <c:pt idx="5422">
                  <c:v>50.889</c:v>
                </c:pt>
                <c:pt idx="5423">
                  <c:v>50.898</c:v>
                </c:pt>
                <c:pt idx="5424">
                  <c:v>50.908</c:v>
                </c:pt>
                <c:pt idx="5425">
                  <c:v>50.917</c:v>
                </c:pt>
                <c:pt idx="5426">
                  <c:v>50.926</c:v>
                </c:pt>
                <c:pt idx="5427">
                  <c:v>50.935</c:v>
                </c:pt>
                <c:pt idx="5428">
                  <c:v>50.944</c:v>
                </c:pt>
                <c:pt idx="5429">
                  <c:v>50.953</c:v>
                </c:pt>
                <c:pt idx="5430">
                  <c:v>50.962</c:v>
                </c:pt>
                <c:pt idx="5431">
                  <c:v>50.971</c:v>
                </c:pt>
                <c:pt idx="5432">
                  <c:v>50.98</c:v>
                </c:pt>
                <c:pt idx="5433">
                  <c:v>50.992</c:v>
                </c:pt>
                <c:pt idx="5434">
                  <c:v>51.004</c:v>
                </c:pt>
                <c:pt idx="5435">
                  <c:v>51.014</c:v>
                </c:pt>
                <c:pt idx="5436">
                  <c:v>51.024</c:v>
                </c:pt>
                <c:pt idx="5437">
                  <c:v>51.033</c:v>
                </c:pt>
                <c:pt idx="5438">
                  <c:v>51.042</c:v>
                </c:pt>
                <c:pt idx="5439">
                  <c:v>51.051</c:v>
                </c:pt>
                <c:pt idx="5440">
                  <c:v>51.061</c:v>
                </c:pt>
                <c:pt idx="5441">
                  <c:v>51.07</c:v>
                </c:pt>
                <c:pt idx="5442">
                  <c:v>51.079</c:v>
                </c:pt>
                <c:pt idx="5443">
                  <c:v>51.088</c:v>
                </c:pt>
                <c:pt idx="5444">
                  <c:v>51.098</c:v>
                </c:pt>
                <c:pt idx="5445">
                  <c:v>51.107</c:v>
                </c:pt>
                <c:pt idx="5446">
                  <c:v>51.116</c:v>
                </c:pt>
                <c:pt idx="5447">
                  <c:v>51.125</c:v>
                </c:pt>
                <c:pt idx="5448">
                  <c:v>51.134</c:v>
                </c:pt>
                <c:pt idx="5449">
                  <c:v>51.144</c:v>
                </c:pt>
                <c:pt idx="5450">
                  <c:v>51.153</c:v>
                </c:pt>
                <c:pt idx="5451">
                  <c:v>51.162</c:v>
                </c:pt>
                <c:pt idx="5452">
                  <c:v>51.171</c:v>
                </c:pt>
                <c:pt idx="5453">
                  <c:v>51.18</c:v>
                </c:pt>
                <c:pt idx="5454">
                  <c:v>51.189</c:v>
                </c:pt>
                <c:pt idx="5455">
                  <c:v>51.198</c:v>
                </c:pt>
                <c:pt idx="5456">
                  <c:v>51.207</c:v>
                </c:pt>
                <c:pt idx="5457">
                  <c:v>51.216</c:v>
                </c:pt>
                <c:pt idx="5458">
                  <c:v>51.225</c:v>
                </c:pt>
                <c:pt idx="5459">
                  <c:v>51.234</c:v>
                </c:pt>
                <c:pt idx="5460">
                  <c:v>51.243</c:v>
                </c:pt>
                <c:pt idx="5461">
                  <c:v>51.252</c:v>
                </c:pt>
                <c:pt idx="5462">
                  <c:v>51.261</c:v>
                </c:pt>
                <c:pt idx="5463">
                  <c:v>51.27</c:v>
                </c:pt>
                <c:pt idx="5464">
                  <c:v>51.279</c:v>
                </c:pt>
                <c:pt idx="5465">
                  <c:v>51.288</c:v>
                </c:pt>
                <c:pt idx="5466">
                  <c:v>51.297</c:v>
                </c:pt>
                <c:pt idx="5467">
                  <c:v>51.306</c:v>
                </c:pt>
                <c:pt idx="5468">
                  <c:v>51.315</c:v>
                </c:pt>
                <c:pt idx="5469">
                  <c:v>51.324</c:v>
                </c:pt>
                <c:pt idx="5470">
                  <c:v>51.333</c:v>
                </c:pt>
                <c:pt idx="5471">
                  <c:v>51.343</c:v>
                </c:pt>
                <c:pt idx="5472">
                  <c:v>51.352</c:v>
                </c:pt>
                <c:pt idx="5473">
                  <c:v>51.361</c:v>
                </c:pt>
                <c:pt idx="5474">
                  <c:v>51.37</c:v>
                </c:pt>
                <c:pt idx="5475">
                  <c:v>51.379</c:v>
                </c:pt>
                <c:pt idx="5476">
                  <c:v>51.388</c:v>
                </c:pt>
                <c:pt idx="5477">
                  <c:v>51.399</c:v>
                </c:pt>
                <c:pt idx="5478">
                  <c:v>51.408</c:v>
                </c:pt>
                <c:pt idx="5479">
                  <c:v>51.417</c:v>
                </c:pt>
                <c:pt idx="5480">
                  <c:v>51.426</c:v>
                </c:pt>
                <c:pt idx="5481">
                  <c:v>51.435</c:v>
                </c:pt>
                <c:pt idx="5482">
                  <c:v>51.444</c:v>
                </c:pt>
                <c:pt idx="5483">
                  <c:v>51.453</c:v>
                </c:pt>
                <c:pt idx="5484">
                  <c:v>51.462</c:v>
                </c:pt>
                <c:pt idx="5485">
                  <c:v>51.471</c:v>
                </c:pt>
                <c:pt idx="5486">
                  <c:v>51.481</c:v>
                </c:pt>
                <c:pt idx="5487">
                  <c:v>51.495</c:v>
                </c:pt>
                <c:pt idx="5488">
                  <c:v>51.505</c:v>
                </c:pt>
                <c:pt idx="5489">
                  <c:v>51.514</c:v>
                </c:pt>
                <c:pt idx="5490">
                  <c:v>51.523</c:v>
                </c:pt>
                <c:pt idx="5491">
                  <c:v>51.532</c:v>
                </c:pt>
                <c:pt idx="5492">
                  <c:v>51.541</c:v>
                </c:pt>
                <c:pt idx="5493">
                  <c:v>51.55</c:v>
                </c:pt>
                <c:pt idx="5494">
                  <c:v>51.559</c:v>
                </c:pt>
                <c:pt idx="5495">
                  <c:v>51.569</c:v>
                </c:pt>
                <c:pt idx="5496">
                  <c:v>51.578</c:v>
                </c:pt>
                <c:pt idx="5497">
                  <c:v>51.587</c:v>
                </c:pt>
                <c:pt idx="5498">
                  <c:v>51.596</c:v>
                </c:pt>
                <c:pt idx="5499">
                  <c:v>51.605</c:v>
                </c:pt>
                <c:pt idx="5500">
                  <c:v>51.614</c:v>
                </c:pt>
                <c:pt idx="5501">
                  <c:v>51.623</c:v>
                </c:pt>
                <c:pt idx="5502">
                  <c:v>51.632</c:v>
                </c:pt>
                <c:pt idx="5503">
                  <c:v>51.642</c:v>
                </c:pt>
                <c:pt idx="5504">
                  <c:v>51.651</c:v>
                </c:pt>
                <c:pt idx="5505">
                  <c:v>51.66</c:v>
                </c:pt>
                <c:pt idx="5506">
                  <c:v>51.669</c:v>
                </c:pt>
                <c:pt idx="5507">
                  <c:v>51.678</c:v>
                </c:pt>
                <c:pt idx="5508">
                  <c:v>51.687</c:v>
                </c:pt>
                <c:pt idx="5509">
                  <c:v>51.698</c:v>
                </c:pt>
                <c:pt idx="5510">
                  <c:v>51.707</c:v>
                </c:pt>
                <c:pt idx="5511">
                  <c:v>51.716</c:v>
                </c:pt>
                <c:pt idx="5512">
                  <c:v>51.725</c:v>
                </c:pt>
                <c:pt idx="5513">
                  <c:v>51.734</c:v>
                </c:pt>
                <c:pt idx="5514">
                  <c:v>51.743</c:v>
                </c:pt>
                <c:pt idx="5515">
                  <c:v>51.752</c:v>
                </c:pt>
                <c:pt idx="5516">
                  <c:v>51.761</c:v>
                </c:pt>
                <c:pt idx="5517">
                  <c:v>51.77</c:v>
                </c:pt>
                <c:pt idx="5518">
                  <c:v>51.779</c:v>
                </c:pt>
                <c:pt idx="5519">
                  <c:v>51.788</c:v>
                </c:pt>
                <c:pt idx="5520">
                  <c:v>51.797</c:v>
                </c:pt>
                <c:pt idx="5521">
                  <c:v>51.806</c:v>
                </c:pt>
                <c:pt idx="5522">
                  <c:v>51.815</c:v>
                </c:pt>
                <c:pt idx="5523">
                  <c:v>51.824</c:v>
                </c:pt>
                <c:pt idx="5524">
                  <c:v>51.833</c:v>
                </c:pt>
                <c:pt idx="5525">
                  <c:v>51.843</c:v>
                </c:pt>
                <c:pt idx="5526">
                  <c:v>51.852</c:v>
                </c:pt>
                <c:pt idx="5527">
                  <c:v>51.861</c:v>
                </c:pt>
                <c:pt idx="5528">
                  <c:v>51.87</c:v>
                </c:pt>
                <c:pt idx="5529">
                  <c:v>51.879</c:v>
                </c:pt>
                <c:pt idx="5530">
                  <c:v>51.889</c:v>
                </c:pt>
                <c:pt idx="5531">
                  <c:v>51.898</c:v>
                </c:pt>
                <c:pt idx="5532">
                  <c:v>51.907</c:v>
                </c:pt>
                <c:pt idx="5533">
                  <c:v>51.916</c:v>
                </c:pt>
                <c:pt idx="5534">
                  <c:v>51.925</c:v>
                </c:pt>
                <c:pt idx="5535">
                  <c:v>51.934</c:v>
                </c:pt>
                <c:pt idx="5536">
                  <c:v>51.944</c:v>
                </c:pt>
                <c:pt idx="5537">
                  <c:v>51.953</c:v>
                </c:pt>
                <c:pt idx="5538">
                  <c:v>51.962</c:v>
                </c:pt>
                <c:pt idx="5539">
                  <c:v>51.971</c:v>
                </c:pt>
                <c:pt idx="5540">
                  <c:v>51.98</c:v>
                </c:pt>
                <c:pt idx="5541">
                  <c:v>51.99</c:v>
                </c:pt>
                <c:pt idx="5542">
                  <c:v>52.002</c:v>
                </c:pt>
                <c:pt idx="5543">
                  <c:v>52.013</c:v>
                </c:pt>
                <c:pt idx="5544">
                  <c:v>52.022</c:v>
                </c:pt>
                <c:pt idx="5545">
                  <c:v>52.031</c:v>
                </c:pt>
                <c:pt idx="5546">
                  <c:v>52.041</c:v>
                </c:pt>
                <c:pt idx="5547">
                  <c:v>52.05</c:v>
                </c:pt>
                <c:pt idx="5548">
                  <c:v>52.059</c:v>
                </c:pt>
                <c:pt idx="5549">
                  <c:v>52.068</c:v>
                </c:pt>
                <c:pt idx="5550">
                  <c:v>52.077</c:v>
                </c:pt>
                <c:pt idx="5551">
                  <c:v>52.086</c:v>
                </c:pt>
                <c:pt idx="5552">
                  <c:v>52.095</c:v>
                </c:pt>
                <c:pt idx="5553">
                  <c:v>52.105</c:v>
                </c:pt>
                <c:pt idx="5554">
                  <c:v>52.114</c:v>
                </c:pt>
                <c:pt idx="5555">
                  <c:v>52.123</c:v>
                </c:pt>
                <c:pt idx="5556">
                  <c:v>52.132</c:v>
                </c:pt>
                <c:pt idx="5557">
                  <c:v>52.141</c:v>
                </c:pt>
                <c:pt idx="5558">
                  <c:v>52.15</c:v>
                </c:pt>
                <c:pt idx="5559">
                  <c:v>52.159</c:v>
                </c:pt>
                <c:pt idx="5560">
                  <c:v>52.168</c:v>
                </c:pt>
                <c:pt idx="5561">
                  <c:v>52.178</c:v>
                </c:pt>
                <c:pt idx="5562">
                  <c:v>52.187</c:v>
                </c:pt>
                <c:pt idx="5563">
                  <c:v>52.196</c:v>
                </c:pt>
                <c:pt idx="5564">
                  <c:v>52.205</c:v>
                </c:pt>
                <c:pt idx="5565">
                  <c:v>52.214</c:v>
                </c:pt>
                <c:pt idx="5566">
                  <c:v>52.223</c:v>
                </c:pt>
                <c:pt idx="5567">
                  <c:v>52.232</c:v>
                </c:pt>
                <c:pt idx="5568">
                  <c:v>52.241</c:v>
                </c:pt>
                <c:pt idx="5569">
                  <c:v>52.25</c:v>
                </c:pt>
                <c:pt idx="5570">
                  <c:v>52.259</c:v>
                </c:pt>
                <c:pt idx="5571">
                  <c:v>52.268</c:v>
                </c:pt>
                <c:pt idx="5572">
                  <c:v>52.277</c:v>
                </c:pt>
                <c:pt idx="5573">
                  <c:v>52.286</c:v>
                </c:pt>
                <c:pt idx="5574">
                  <c:v>52.295</c:v>
                </c:pt>
                <c:pt idx="5575">
                  <c:v>52.304</c:v>
                </c:pt>
                <c:pt idx="5576">
                  <c:v>52.313</c:v>
                </c:pt>
                <c:pt idx="5577">
                  <c:v>52.323</c:v>
                </c:pt>
                <c:pt idx="5578">
                  <c:v>52.332</c:v>
                </c:pt>
                <c:pt idx="5579">
                  <c:v>52.341</c:v>
                </c:pt>
                <c:pt idx="5580">
                  <c:v>52.35</c:v>
                </c:pt>
                <c:pt idx="5581">
                  <c:v>52.359</c:v>
                </c:pt>
                <c:pt idx="5582">
                  <c:v>52.368</c:v>
                </c:pt>
                <c:pt idx="5583">
                  <c:v>52.377</c:v>
                </c:pt>
                <c:pt idx="5584">
                  <c:v>52.386</c:v>
                </c:pt>
                <c:pt idx="5585">
                  <c:v>52.395</c:v>
                </c:pt>
                <c:pt idx="5586">
                  <c:v>52.404</c:v>
                </c:pt>
                <c:pt idx="5587">
                  <c:v>52.413</c:v>
                </c:pt>
                <c:pt idx="5588">
                  <c:v>52.422</c:v>
                </c:pt>
                <c:pt idx="5589">
                  <c:v>52.431</c:v>
                </c:pt>
                <c:pt idx="5590">
                  <c:v>52.44</c:v>
                </c:pt>
                <c:pt idx="5591">
                  <c:v>52.449</c:v>
                </c:pt>
                <c:pt idx="5592">
                  <c:v>52.458</c:v>
                </c:pt>
                <c:pt idx="5593">
                  <c:v>52.468</c:v>
                </c:pt>
                <c:pt idx="5594">
                  <c:v>52.477</c:v>
                </c:pt>
                <c:pt idx="5595">
                  <c:v>52.486</c:v>
                </c:pt>
                <c:pt idx="5596">
                  <c:v>52.495</c:v>
                </c:pt>
                <c:pt idx="5597">
                  <c:v>52.504</c:v>
                </c:pt>
                <c:pt idx="5598">
                  <c:v>52.513</c:v>
                </c:pt>
                <c:pt idx="5599">
                  <c:v>52.522</c:v>
                </c:pt>
                <c:pt idx="5600">
                  <c:v>52.531</c:v>
                </c:pt>
                <c:pt idx="5601">
                  <c:v>52.54</c:v>
                </c:pt>
                <c:pt idx="5602">
                  <c:v>52.549</c:v>
                </c:pt>
                <c:pt idx="5603">
                  <c:v>52.558</c:v>
                </c:pt>
                <c:pt idx="5604">
                  <c:v>52.567</c:v>
                </c:pt>
                <c:pt idx="5605">
                  <c:v>52.576</c:v>
                </c:pt>
                <c:pt idx="5606">
                  <c:v>52.586</c:v>
                </c:pt>
                <c:pt idx="5607">
                  <c:v>52.595</c:v>
                </c:pt>
                <c:pt idx="5608">
                  <c:v>52.604</c:v>
                </c:pt>
                <c:pt idx="5609">
                  <c:v>52.613</c:v>
                </c:pt>
                <c:pt idx="5610">
                  <c:v>52.622</c:v>
                </c:pt>
                <c:pt idx="5611">
                  <c:v>52.631</c:v>
                </c:pt>
                <c:pt idx="5612">
                  <c:v>52.64</c:v>
                </c:pt>
                <c:pt idx="5613">
                  <c:v>52.649</c:v>
                </c:pt>
                <c:pt idx="5614">
                  <c:v>52.658</c:v>
                </c:pt>
                <c:pt idx="5615">
                  <c:v>52.667</c:v>
                </c:pt>
                <c:pt idx="5616">
                  <c:v>52.676</c:v>
                </c:pt>
                <c:pt idx="5617">
                  <c:v>52.685</c:v>
                </c:pt>
                <c:pt idx="5618">
                  <c:v>52.694</c:v>
                </c:pt>
                <c:pt idx="5619">
                  <c:v>52.703</c:v>
                </c:pt>
                <c:pt idx="5620">
                  <c:v>52.712</c:v>
                </c:pt>
                <c:pt idx="5621">
                  <c:v>52.721</c:v>
                </c:pt>
                <c:pt idx="5622">
                  <c:v>52.73</c:v>
                </c:pt>
                <c:pt idx="5623">
                  <c:v>52.739</c:v>
                </c:pt>
                <c:pt idx="5624">
                  <c:v>52.748</c:v>
                </c:pt>
                <c:pt idx="5625">
                  <c:v>52.757</c:v>
                </c:pt>
                <c:pt idx="5626">
                  <c:v>52.766</c:v>
                </c:pt>
                <c:pt idx="5627">
                  <c:v>52.775</c:v>
                </c:pt>
                <c:pt idx="5628">
                  <c:v>52.784</c:v>
                </c:pt>
                <c:pt idx="5629">
                  <c:v>52.793</c:v>
                </c:pt>
                <c:pt idx="5630">
                  <c:v>52.803</c:v>
                </c:pt>
                <c:pt idx="5631">
                  <c:v>52.812</c:v>
                </c:pt>
                <c:pt idx="5632">
                  <c:v>52.821</c:v>
                </c:pt>
                <c:pt idx="5633">
                  <c:v>52.83</c:v>
                </c:pt>
                <c:pt idx="5634">
                  <c:v>52.839</c:v>
                </c:pt>
                <c:pt idx="5635">
                  <c:v>52.848</c:v>
                </c:pt>
                <c:pt idx="5636">
                  <c:v>52.857</c:v>
                </c:pt>
                <c:pt idx="5637">
                  <c:v>52.866</c:v>
                </c:pt>
                <c:pt idx="5638">
                  <c:v>52.875</c:v>
                </c:pt>
                <c:pt idx="5639">
                  <c:v>52.884</c:v>
                </c:pt>
                <c:pt idx="5640">
                  <c:v>52.893</c:v>
                </c:pt>
                <c:pt idx="5641">
                  <c:v>52.902</c:v>
                </c:pt>
                <c:pt idx="5642">
                  <c:v>52.911</c:v>
                </c:pt>
                <c:pt idx="5643">
                  <c:v>52.92</c:v>
                </c:pt>
                <c:pt idx="5644">
                  <c:v>52.929</c:v>
                </c:pt>
                <c:pt idx="5645">
                  <c:v>52.938</c:v>
                </c:pt>
                <c:pt idx="5646">
                  <c:v>52.948</c:v>
                </c:pt>
                <c:pt idx="5647">
                  <c:v>52.957</c:v>
                </c:pt>
                <c:pt idx="5648">
                  <c:v>52.966</c:v>
                </c:pt>
                <c:pt idx="5649">
                  <c:v>52.975</c:v>
                </c:pt>
                <c:pt idx="5650">
                  <c:v>52.984</c:v>
                </c:pt>
                <c:pt idx="5651">
                  <c:v>52.993</c:v>
                </c:pt>
                <c:pt idx="5652">
                  <c:v>53.006</c:v>
                </c:pt>
                <c:pt idx="5653">
                  <c:v>53.016</c:v>
                </c:pt>
                <c:pt idx="5654">
                  <c:v>53.027</c:v>
                </c:pt>
                <c:pt idx="5655">
                  <c:v>53.036</c:v>
                </c:pt>
                <c:pt idx="5656">
                  <c:v>53.045</c:v>
                </c:pt>
                <c:pt idx="5657">
                  <c:v>53.054</c:v>
                </c:pt>
                <c:pt idx="5658">
                  <c:v>53.063</c:v>
                </c:pt>
                <c:pt idx="5659">
                  <c:v>53.072</c:v>
                </c:pt>
                <c:pt idx="5660">
                  <c:v>53.093</c:v>
                </c:pt>
                <c:pt idx="5661">
                  <c:v>53.102</c:v>
                </c:pt>
                <c:pt idx="5662">
                  <c:v>53.111</c:v>
                </c:pt>
                <c:pt idx="5663">
                  <c:v>53.12</c:v>
                </c:pt>
                <c:pt idx="5664">
                  <c:v>53.129</c:v>
                </c:pt>
                <c:pt idx="5665">
                  <c:v>53.138</c:v>
                </c:pt>
                <c:pt idx="5666">
                  <c:v>53.147</c:v>
                </c:pt>
                <c:pt idx="5667">
                  <c:v>53.156</c:v>
                </c:pt>
                <c:pt idx="5668">
                  <c:v>53.165</c:v>
                </c:pt>
                <c:pt idx="5669">
                  <c:v>53.174</c:v>
                </c:pt>
                <c:pt idx="5670">
                  <c:v>53.183</c:v>
                </c:pt>
                <c:pt idx="5671">
                  <c:v>53.192</c:v>
                </c:pt>
                <c:pt idx="5672">
                  <c:v>53.202</c:v>
                </c:pt>
                <c:pt idx="5673">
                  <c:v>53.211</c:v>
                </c:pt>
              </c:strCache>
            </c:strRef>
          </c:cat>
          <c:val>
            <c:numRef>
              <c:f>Data!$B$3:$B$5676</c:f>
              <c:numCache>
                <c:formatCode>General</c:formatCode>
                <c:ptCount val="5674"/>
                <c:pt idx="0">
                  <c:v>-5.6983199999999998E-2</c:v>
                </c:pt>
                <c:pt idx="1">
                  <c:v>-0.117494</c:v>
                </c:pt>
                <c:pt idx="2">
                  <c:v>-0.266289</c:v>
                </c:pt>
                <c:pt idx="3">
                  <c:v>-8.7116599999999995E-3</c:v>
                </c:pt>
                <c:pt idx="4">
                  <c:v>2.02343E-2</c:v>
                </c:pt>
                <c:pt idx="5">
                  <c:v>-8.8328299999999998E-2</c:v>
                </c:pt>
                <c:pt idx="6">
                  <c:v>-7.0555300000000001E-2</c:v>
                </c:pt>
                <c:pt idx="7">
                  <c:v>-0.62778999999999996</c:v>
                </c:pt>
                <c:pt idx="8">
                  <c:v>-1.0532999999999999</c:v>
                </c:pt>
                <c:pt idx="9">
                  <c:v>-0.74256500000000003</c:v>
                </c:pt>
                <c:pt idx="10">
                  <c:v>-0.96491899999999997</c:v>
                </c:pt>
                <c:pt idx="11">
                  <c:v>-1.00166</c:v>
                </c:pt>
                <c:pt idx="12">
                  <c:v>-3.2822399999999998</c:v>
                </c:pt>
                <c:pt idx="13">
                  <c:v>-7.3821899999999996</c:v>
                </c:pt>
                <c:pt idx="14">
                  <c:v>-9.7116500000000006</c:v>
                </c:pt>
                <c:pt idx="15">
                  <c:v>-11.1533</c:v>
                </c:pt>
                <c:pt idx="16">
                  <c:v>-12.059200000000001</c:v>
                </c:pt>
                <c:pt idx="17">
                  <c:v>-13.216900000000001</c:v>
                </c:pt>
                <c:pt idx="18">
                  <c:v>-14.278499999999999</c:v>
                </c:pt>
                <c:pt idx="19">
                  <c:v>-15.0092</c:v>
                </c:pt>
                <c:pt idx="20">
                  <c:v>-16.040299999999998</c:v>
                </c:pt>
                <c:pt idx="21">
                  <c:v>-17.056100000000001</c:v>
                </c:pt>
                <c:pt idx="22">
                  <c:v>-17.643000000000001</c:v>
                </c:pt>
                <c:pt idx="23">
                  <c:v>-17.863900000000001</c:v>
                </c:pt>
                <c:pt idx="24">
                  <c:v>-18.4985</c:v>
                </c:pt>
                <c:pt idx="25">
                  <c:v>-17.593900000000001</c:v>
                </c:pt>
                <c:pt idx="26">
                  <c:v>-16.872</c:v>
                </c:pt>
                <c:pt idx="27">
                  <c:v>-16.9892</c:v>
                </c:pt>
                <c:pt idx="28">
                  <c:v>-16.6632</c:v>
                </c:pt>
                <c:pt idx="29">
                  <c:v>-16.4131</c:v>
                </c:pt>
                <c:pt idx="30">
                  <c:v>-16.012599999999999</c:v>
                </c:pt>
                <c:pt idx="31">
                  <c:v>-15.5206</c:v>
                </c:pt>
                <c:pt idx="32">
                  <c:v>-15.984400000000001</c:v>
                </c:pt>
                <c:pt idx="33">
                  <c:v>-15.7392</c:v>
                </c:pt>
                <c:pt idx="34">
                  <c:v>-13.806699999999999</c:v>
                </c:pt>
                <c:pt idx="35">
                  <c:v>-11.5365</c:v>
                </c:pt>
                <c:pt idx="36">
                  <c:v>-9.6713000000000005</c:v>
                </c:pt>
                <c:pt idx="37">
                  <c:v>-7.9478900000000001</c:v>
                </c:pt>
                <c:pt idx="38">
                  <c:v>-6.2742399999999998</c:v>
                </c:pt>
                <c:pt idx="39">
                  <c:v>-5.80593</c:v>
                </c:pt>
                <c:pt idx="40">
                  <c:v>-5.9457399999999998</c:v>
                </c:pt>
                <c:pt idx="41">
                  <c:v>-5.3074899999999996</c:v>
                </c:pt>
                <c:pt idx="42">
                  <c:v>-3.8530899999999999</c:v>
                </c:pt>
                <c:pt idx="43">
                  <c:v>-2.4007200000000002</c:v>
                </c:pt>
                <c:pt idx="44">
                  <c:v>-1.4153500000000001</c:v>
                </c:pt>
                <c:pt idx="45">
                  <c:v>-1.3909100000000001</c:v>
                </c:pt>
                <c:pt idx="46">
                  <c:v>-1.80427</c:v>
                </c:pt>
                <c:pt idx="47">
                  <c:v>-1.6050800000000001</c:v>
                </c:pt>
                <c:pt idx="48">
                  <c:v>-0.96610600000000002</c:v>
                </c:pt>
                <c:pt idx="49">
                  <c:v>-1.2997300000000001</c:v>
                </c:pt>
                <c:pt idx="50">
                  <c:v>-1.41723</c:v>
                </c:pt>
                <c:pt idx="51">
                  <c:v>-1.53027</c:v>
                </c:pt>
                <c:pt idx="52">
                  <c:v>-1.64978</c:v>
                </c:pt>
                <c:pt idx="53">
                  <c:v>-2.2523</c:v>
                </c:pt>
                <c:pt idx="54">
                  <c:v>-2.21591</c:v>
                </c:pt>
                <c:pt idx="55">
                  <c:v>-1.0002599999999999</c:v>
                </c:pt>
                <c:pt idx="56">
                  <c:v>-1.85883</c:v>
                </c:pt>
                <c:pt idx="57">
                  <c:v>-2.1907299999999998</c:v>
                </c:pt>
                <c:pt idx="58">
                  <c:v>-3.1009199999999999</c:v>
                </c:pt>
                <c:pt idx="59">
                  <c:v>-3.2249400000000001</c:v>
                </c:pt>
                <c:pt idx="60">
                  <c:v>-3.1127699999999998</c:v>
                </c:pt>
                <c:pt idx="61">
                  <c:v>-3.5923500000000002</c:v>
                </c:pt>
                <c:pt idx="62">
                  <c:v>-3.0545300000000002</c:v>
                </c:pt>
                <c:pt idx="63">
                  <c:v>-3.4594100000000001</c:v>
                </c:pt>
                <c:pt idx="64">
                  <c:v>-3.2829899999999999</c:v>
                </c:pt>
                <c:pt idx="65">
                  <c:v>-3.09009</c:v>
                </c:pt>
                <c:pt idx="66">
                  <c:v>-2.2722600000000002</c:v>
                </c:pt>
                <c:pt idx="67">
                  <c:v>-1.9998100000000001</c:v>
                </c:pt>
                <c:pt idx="68">
                  <c:v>-1.8543499999999999</c:v>
                </c:pt>
                <c:pt idx="69">
                  <c:v>-1.61774</c:v>
                </c:pt>
                <c:pt idx="70">
                  <c:v>-1.6239300000000001</c:v>
                </c:pt>
                <c:pt idx="71">
                  <c:v>-1.4162999999999999</c:v>
                </c:pt>
                <c:pt idx="72">
                  <c:v>-1.4626300000000001</c:v>
                </c:pt>
                <c:pt idx="73">
                  <c:v>-1.0578399999999999</c:v>
                </c:pt>
                <c:pt idx="74">
                  <c:v>-2.1336499999999998</c:v>
                </c:pt>
                <c:pt idx="75">
                  <c:v>-2.4312999999999998</c:v>
                </c:pt>
                <c:pt idx="76">
                  <c:v>-3.4704899999999999</c:v>
                </c:pt>
                <c:pt idx="77">
                  <c:v>-3.3932799999999999</c:v>
                </c:pt>
                <c:pt idx="78">
                  <c:v>-3.0707300000000002</c:v>
                </c:pt>
                <c:pt idx="79">
                  <c:v>-2.69312</c:v>
                </c:pt>
                <c:pt idx="80">
                  <c:v>-2.1013700000000002</c:v>
                </c:pt>
                <c:pt idx="81">
                  <c:v>-2.0983499999999999</c:v>
                </c:pt>
                <c:pt idx="82">
                  <c:v>-2.4796</c:v>
                </c:pt>
                <c:pt idx="83">
                  <c:v>-3.1195599999999999</c:v>
                </c:pt>
                <c:pt idx="84">
                  <c:v>-3.1814</c:v>
                </c:pt>
                <c:pt idx="85">
                  <c:v>-3.01051</c:v>
                </c:pt>
                <c:pt idx="86">
                  <c:v>-3.2480199999999999</c:v>
                </c:pt>
                <c:pt idx="87">
                  <c:v>-3.15326</c:v>
                </c:pt>
                <c:pt idx="88">
                  <c:v>-2.4819300000000002</c:v>
                </c:pt>
                <c:pt idx="89">
                  <c:v>-1.6964399999999999</c:v>
                </c:pt>
                <c:pt idx="90">
                  <c:v>-1.1795100000000001</c:v>
                </c:pt>
                <c:pt idx="91">
                  <c:v>-1.7724299999999999</c:v>
                </c:pt>
                <c:pt idx="92">
                  <c:v>-1.9476899999999999</c:v>
                </c:pt>
                <c:pt idx="93">
                  <c:v>-2.4928699999999999</c:v>
                </c:pt>
                <c:pt idx="94">
                  <c:v>-2.5095900000000002</c:v>
                </c:pt>
                <c:pt idx="95">
                  <c:v>-2.61416</c:v>
                </c:pt>
                <c:pt idx="96">
                  <c:v>-2.6278299999999999</c:v>
                </c:pt>
                <c:pt idx="97">
                  <c:v>-1.82307</c:v>
                </c:pt>
                <c:pt idx="98">
                  <c:v>-2.1337100000000002</c:v>
                </c:pt>
                <c:pt idx="99">
                  <c:v>-1.96746</c:v>
                </c:pt>
                <c:pt idx="100">
                  <c:v>-2.9510299999999998</c:v>
                </c:pt>
                <c:pt idx="101">
                  <c:v>-2.7051599999999998</c:v>
                </c:pt>
                <c:pt idx="102">
                  <c:v>-2.9045100000000001</c:v>
                </c:pt>
                <c:pt idx="103">
                  <c:v>-2.9024299999999998</c:v>
                </c:pt>
                <c:pt idx="104">
                  <c:v>-2.6008200000000001</c:v>
                </c:pt>
                <c:pt idx="105">
                  <c:v>-1.9322699999999999</c:v>
                </c:pt>
                <c:pt idx="106">
                  <c:v>-1.8652599999999999</c:v>
                </c:pt>
                <c:pt idx="107">
                  <c:v>-1.8006500000000001</c:v>
                </c:pt>
                <c:pt idx="108">
                  <c:v>-2.0461900000000002</c:v>
                </c:pt>
                <c:pt idx="109">
                  <c:v>-2.7164799999999998</c:v>
                </c:pt>
                <c:pt idx="110">
                  <c:v>-2.8186200000000001</c:v>
                </c:pt>
                <c:pt idx="111">
                  <c:v>-3.0274200000000002</c:v>
                </c:pt>
                <c:pt idx="112">
                  <c:v>-2.6992500000000001</c:v>
                </c:pt>
                <c:pt idx="113">
                  <c:v>-2.7210800000000002</c:v>
                </c:pt>
                <c:pt idx="114">
                  <c:v>-2.87995</c:v>
                </c:pt>
                <c:pt idx="115">
                  <c:v>-1.6492899999999999</c:v>
                </c:pt>
                <c:pt idx="116">
                  <c:v>-1.68049</c:v>
                </c:pt>
                <c:pt idx="117">
                  <c:v>-1.64567</c:v>
                </c:pt>
                <c:pt idx="118">
                  <c:v>-2.3885299999999998</c:v>
                </c:pt>
                <c:pt idx="119">
                  <c:v>-2.71862</c:v>
                </c:pt>
                <c:pt idx="120">
                  <c:v>-3.2588200000000001</c:v>
                </c:pt>
                <c:pt idx="121">
                  <c:v>-2.7437800000000001</c:v>
                </c:pt>
                <c:pt idx="122">
                  <c:v>-2.3545400000000001</c:v>
                </c:pt>
                <c:pt idx="123">
                  <c:v>-2.3895900000000001</c:v>
                </c:pt>
                <c:pt idx="124">
                  <c:v>-1.9134800000000001</c:v>
                </c:pt>
                <c:pt idx="125">
                  <c:v>-2.3907099999999999</c:v>
                </c:pt>
                <c:pt idx="126">
                  <c:v>-2.42353</c:v>
                </c:pt>
                <c:pt idx="127">
                  <c:v>-2.84579</c:v>
                </c:pt>
                <c:pt idx="128">
                  <c:v>-2.72078</c:v>
                </c:pt>
                <c:pt idx="129">
                  <c:v>-2.5525699999999998</c:v>
                </c:pt>
                <c:pt idx="130">
                  <c:v>-2.93912</c:v>
                </c:pt>
                <c:pt idx="131">
                  <c:v>-2.8557600000000001</c:v>
                </c:pt>
                <c:pt idx="132">
                  <c:v>-2.6562299999999999</c:v>
                </c:pt>
                <c:pt idx="133">
                  <c:v>-1.84555</c:v>
                </c:pt>
                <c:pt idx="134">
                  <c:v>-2.0787300000000002</c:v>
                </c:pt>
                <c:pt idx="135">
                  <c:v>-2.0218400000000001</c:v>
                </c:pt>
                <c:pt idx="136">
                  <c:v>-2.5347200000000001</c:v>
                </c:pt>
                <c:pt idx="137">
                  <c:v>-3.0148999999999999</c:v>
                </c:pt>
                <c:pt idx="138">
                  <c:v>-3.0592199999999998</c:v>
                </c:pt>
                <c:pt idx="139">
                  <c:v>-3.0918899999999998</c:v>
                </c:pt>
                <c:pt idx="140">
                  <c:v>-2.5889899999999999</c:v>
                </c:pt>
                <c:pt idx="141">
                  <c:v>-2.7239399999999998</c:v>
                </c:pt>
                <c:pt idx="142">
                  <c:v>-2.0872199999999999</c:v>
                </c:pt>
                <c:pt idx="143">
                  <c:v>-2.7591199999999998</c:v>
                </c:pt>
                <c:pt idx="144">
                  <c:v>-2.3583400000000001</c:v>
                </c:pt>
                <c:pt idx="145">
                  <c:v>-3.2012299999999998</c:v>
                </c:pt>
                <c:pt idx="146">
                  <c:v>-2.9479099999999998</c:v>
                </c:pt>
                <c:pt idx="147">
                  <c:v>-2.6781000000000001</c:v>
                </c:pt>
                <c:pt idx="148">
                  <c:v>-2.7492999999999999</c:v>
                </c:pt>
                <c:pt idx="149">
                  <c:v>-2.25284</c:v>
                </c:pt>
                <c:pt idx="150">
                  <c:v>-2.6129699999999998</c:v>
                </c:pt>
                <c:pt idx="151">
                  <c:v>-1.92119</c:v>
                </c:pt>
                <c:pt idx="152">
                  <c:v>-1.35134</c:v>
                </c:pt>
                <c:pt idx="153">
                  <c:v>-1.75621</c:v>
                </c:pt>
                <c:pt idx="154">
                  <c:v>-2.4398399999999998</c:v>
                </c:pt>
                <c:pt idx="155">
                  <c:v>-3.4928300000000001</c:v>
                </c:pt>
                <c:pt idx="156">
                  <c:v>-3.6526299999999998</c:v>
                </c:pt>
                <c:pt idx="157">
                  <c:v>-2.8634599999999999</c:v>
                </c:pt>
                <c:pt idx="158">
                  <c:v>-2.7936200000000002</c:v>
                </c:pt>
                <c:pt idx="159">
                  <c:v>-2.11287</c:v>
                </c:pt>
                <c:pt idx="160">
                  <c:v>-1.64927</c:v>
                </c:pt>
                <c:pt idx="161">
                  <c:v>-1.9480500000000001</c:v>
                </c:pt>
                <c:pt idx="162">
                  <c:v>-2.09334</c:v>
                </c:pt>
                <c:pt idx="163">
                  <c:v>-2.6705899999999998</c:v>
                </c:pt>
                <c:pt idx="164">
                  <c:v>-3.0936499999999998</c:v>
                </c:pt>
                <c:pt idx="165">
                  <c:v>-3.1556600000000001</c:v>
                </c:pt>
                <c:pt idx="166">
                  <c:v>-2.4662999999999999</c:v>
                </c:pt>
                <c:pt idx="167">
                  <c:v>-2.2361200000000001</c:v>
                </c:pt>
                <c:pt idx="168">
                  <c:v>-2.3655900000000001</c:v>
                </c:pt>
                <c:pt idx="169">
                  <c:v>-2.1199699999999999</c:v>
                </c:pt>
                <c:pt idx="170">
                  <c:v>-2.6051600000000001</c:v>
                </c:pt>
                <c:pt idx="171">
                  <c:v>-2.3971800000000001</c:v>
                </c:pt>
                <c:pt idx="172">
                  <c:v>-2.8065500000000001</c:v>
                </c:pt>
                <c:pt idx="173">
                  <c:v>-3.2081900000000001</c:v>
                </c:pt>
                <c:pt idx="174">
                  <c:v>-3.4176799999999998</c:v>
                </c:pt>
                <c:pt idx="175">
                  <c:v>-3.3527300000000002</c:v>
                </c:pt>
                <c:pt idx="176">
                  <c:v>-2.5812400000000002</c:v>
                </c:pt>
                <c:pt idx="177">
                  <c:v>-1.94923</c:v>
                </c:pt>
                <c:pt idx="178">
                  <c:v>-1.5952900000000001</c:v>
                </c:pt>
                <c:pt idx="179">
                  <c:v>-1.60429</c:v>
                </c:pt>
                <c:pt idx="180">
                  <c:v>-2.1103299999999998</c:v>
                </c:pt>
                <c:pt idx="181">
                  <c:v>-2.6231800000000001</c:v>
                </c:pt>
                <c:pt idx="182">
                  <c:v>-2.7029200000000002</c:v>
                </c:pt>
                <c:pt idx="183">
                  <c:v>-2.79034</c:v>
                </c:pt>
                <c:pt idx="184">
                  <c:v>-2.73847</c:v>
                </c:pt>
                <c:pt idx="185">
                  <c:v>-2.6102400000000001</c:v>
                </c:pt>
                <c:pt idx="186">
                  <c:v>-2.2010000000000001</c:v>
                </c:pt>
                <c:pt idx="187">
                  <c:v>-2.6722399999999999</c:v>
                </c:pt>
                <c:pt idx="188">
                  <c:v>-2.4797600000000002</c:v>
                </c:pt>
                <c:pt idx="189">
                  <c:v>-2.3520300000000001</c:v>
                </c:pt>
                <c:pt idx="190">
                  <c:v>-2.2993100000000002</c:v>
                </c:pt>
                <c:pt idx="191">
                  <c:v>-3.1798099999999998</c:v>
                </c:pt>
                <c:pt idx="192">
                  <c:v>-3.48319</c:v>
                </c:pt>
                <c:pt idx="193">
                  <c:v>-2.9163000000000001</c:v>
                </c:pt>
                <c:pt idx="194">
                  <c:v>-2.3500999999999999</c:v>
                </c:pt>
                <c:pt idx="195">
                  <c:v>-2.00265</c:v>
                </c:pt>
                <c:pt idx="196">
                  <c:v>-1.90561</c:v>
                </c:pt>
                <c:pt idx="197">
                  <c:v>-2.06338</c:v>
                </c:pt>
                <c:pt idx="198">
                  <c:v>-1.99332</c:v>
                </c:pt>
                <c:pt idx="199">
                  <c:v>-2.7141500000000001</c:v>
                </c:pt>
                <c:pt idx="200">
                  <c:v>-2.5643699999999998</c:v>
                </c:pt>
                <c:pt idx="201">
                  <c:v>-2.8763899999999998</c:v>
                </c:pt>
                <c:pt idx="202">
                  <c:v>-3.3718300000000001</c:v>
                </c:pt>
                <c:pt idx="203">
                  <c:v>-2.84057</c:v>
                </c:pt>
                <c:pt idx="204">
                  <c:v>-2.8954900000000001</c:v>
                </c:pt>
                <c:pt idx="205">
                  <c:v>-2.2092499999999999</c:v>
                </c:pt>
                <c:pt idx="206">
                  <c:v>-1.8264100000000001</c:v>
                </c:pt>
                <c:pt idx="207">
                  <c:v>-1.9195800000000001</c:v>
                </c:pt>
                <c:pt idx="208">
                  <c:v>-2.5182699999999998</c:v>
                </c:pt>
                <c:pt idx="209">
                  <c:v>-3.0830000000000002</c:v>
                </c:pt>
                <c:pt idx="210">
                  <c:v>-3.3027299999999999</c:v>
                </c:pt>
                <c:pt idx="211">
                  <c:v>-2.8943699999999999</c:v>
                </c:pt>
                <c:pt idx="212">
                  <c:v>-2.5854599999999999</c:v>
                </c:pt>
                <c:pt idx="213">
                  <c:v>-1.74349</c:v>
                </c:pt>
                <c:pt idx="214">
                  <c:v>-1.9368300000000001</c:v>
                </c:pt>
                <c:pt idx="215">
                  <c:v>-1.71932</c:v>
                </c:pt>
                <c:pt idx="216">
                  <c:v>-2.3374600000000001</c:v>
                </c:pt>
                <c:pt idx="217">
                  <c:v>-3.2196799999999999</c:v>
                </c:pt>
                <c:pt idx="218">
                  <c:v>-3.1522000000000001</c:v>
                </c:pt>
                <c:pt idx="219">
                  <c:v>-3.1153900000000001</c:v>
                </c:pt>
                <c:pt idx="220">
                  <c:v>-2.5660699999999999</c:v>
                </c:pt>
                <c:pt idx="221">
                  <c:v>-2.4241000000000001</c:v>
                </c:pt>
                <c:pt idx="222">
                  <c:v>-1.8332299999999999</c:v>
                </c:pt>
                <c:pt idx="223">
                  <c:v>-1.49074</c:v>
                </c:pt>
                <c:pt idx="224">
                  <c:v>-2.9765100000000002</c:v>
                </c:pt>
                <c:pt idx="225">
                  <c:v>-2.9591799999999999</c:v>
                </c:pt>
                <c:pt idx="226">
                  <c:v>-2.8052999999999999</c:v>
                </c:pt>
                <c:pt idx="227">
                  <c:v>-2.7797000000000001</c:v>
                </c:pt>
                <c:pt idx="228">
                  <c:v>-3.30748</c:v>
                </c:pt>
                <c:pt idx="229">
                  <c:v>-2.9618500000000001</c:v>
                </c:pt>
                <c:pt idx="230">
                  <c:v>-2.79148</c:v>
                </c:pt>
                <c:pt idx="231">
                  <c:v>-1.9591700000000001</c:v>
                </c:pt>
                <c:pt idx="232">
                  <c:v>-1.7444299999999999</c:v>
                </c:pt>
                <c:pt idx="233">
                  <c:v>-2.1598700000000002</c:v>
                </c:pt>
                <c:pt idx="234">
                  <c:v>-2.7978499999999999</c:v>
                </c:pt>
                <c:pt idx="235">
                  <c:v>-3.1534599999999999</c:v>
                </c:pt>
                <c:pt idx="236">
                  <c:v>-2.68879</c:v>
                </c:pt>
                <c:pt idx="237">
                  <c:v>-2.5779200000000002</c:v>
                </c:pt>
                <c:pt idx="238">
                  <c:v>-2.41554</c:v>
                </c:pt>
                <c:pt idx="239">
                  <c:v>-2.19903</c:v>
                </c:pt>
                <c:pt idx="240">
                  <c:v>-2.0109400000000002</c:v>
                </c:pt>
                <c:pt idx="241">
                  <c:v>-2.03003</c:v>
                </c:pt>
                <c:pt idx="242">
                  <c:v>-2.2078199999999999</c:v>
                </c:pt>
                <c:pt idx="243">
                  <c:v>-2.2570999999999999</c:v>
                </c:pt>
                <c:pt idx="244">
                  <c:v>-2.47864</c:v>
                </c:pt>
                <c:pt idx="245">
                  <c:v>-2.9127700000000001</c:v>
                </c:pt>
                <c:pt idx="246">
                  <c:v>-3.0486300000000002</c:v>
                </c:pt>
                <c:pt idx="247">
                  <c:v>-3.2630300000000001</c:v>
                </c:pt>
                <c:pt idx="248">
                  <c:v>-2.8014199999999998</c:v>
                </c:pt>
                <c:pt idx="249">
                  <c:v>-2.1428400000000001</c:v>
                </c:pt>
                <c:pt idx="250">
                  <c:v>-1.9356800000000001</c:v>
                </c:pt>
                <c:pt idx="251">
                  <c:v>-2.5756299999999999</c:v>
                </c:pt>
                <c:pt idx="252">
                  <c:v>-2.8588900000000002</c:v>
                </c:pt>
                <c:pt idx="253">
                  <c:v>-3.5428899999999999</c:v>
                </c:pt>
                <c:pt idx="254">
                  <c:v>-3.3884699999999999</c:v>
                </c:pt>
                <c:pt idx="255">
                  <c:v>-2.4486599999999998</c:v>
                </c:pt>
                <c:pt idx="256">
                  <c:v>-2.4173300000000002</c:v>
                </c:pt>
                <c:pt idx="257">
                  <c:v>-1.9791000000000001</c:v>
                </c:pt>
                <c:pt idx="258">
                  <c:v>-1.99041</c:v>
                </c:pt>
                <c:pt idx="259">
                  <c:v>-1.9244399999999999</c:v>
                </c:pt>
                <c:pt idx="260">
                  <c:v>-2.0289100000000002</c:v>
                </c:pt>
                <c:pt idx="261">
                  <c:v>-2.55715</c:v>
                </c:pt>
                <c:pt idx="262">
                  <c:v>-2.5607799999999998</c:v>
                </c:pt>
                <c:pt idx="263">
                  <c:v>-3.2987899999999999</c:v>
                </c:pt>
                <c:pt idx="264">
                  <c:v>-3.1462500000000002</c:v>
                </c:pt>
                <c:pt idx="265">
                  <c:v>-3.34409</c:v>
                </c:pt>
                <c:pt idx="266">
                  <c:v>-2.7736200000000002</c:v>
                </c:pt>
                <c:pt idx="267">
                  <c:v>-1.56457</c:v>
                </c:pt>
                <c:pt idx="268">
                  <c:v>-1.3503799999999999</c:v>
                </c:pt>
                <c:pt idx="269">
                  <c:v>-1.5465899999999999</c:v>
                </c:pt>
                <c:pt idx="270">
                  <c:v>-2.5270600000000001</c:v>
                </c:pt>
                <c:pt idx="271">
                  <c:v>-2.77508</c:v>
                </c:pt>
                <c:pt idx="272">
                  <c:v>-3.15124</c:v>
                </c:pt>
                <c:pt idx="273">
                  <c:v>-2.9324400000000002</c:v>
                </c:pt>
                <c:pt idx="274">
                  <c:v>-2.4469699999999999</c:v>
                </c:pt>
                <c:pt idx="275">
                  <c:v>-3.13632</c:v>
                </c:pt>
                <c:pt idx="276">
                  <c:v>-2.79609</c:v>
                </c:pt>
                <c:pt idx="277">
                  <c:v>-2.6148699999999998</c:v>
                </c:pt>
                <c:pt idx="278">
                  <c:v>-2.1382400000000001</c:v>
                </c:pt>
                <c:pt idx="279">
                  <c:v>-1.96689</c:v>
                </c:pt>
                <c:pt idx="280">
                  <c:v>-2.8297300000000001</c:v>
                </c:pt>
                <c:pt idx="281">
                  <c:v>-2.7005499999999998</c:v>
                </c:pt>
                <c:pt idx="282">
                  <c:v>-2.95757</c:v>
                </c:pt>
                <c:pt idx="283">
                  <c:v>-2.5142799999999998</c:v>
                </c:pt>
                <c:pt idx="284">
                  <c:v>-2.26064</c:v>
                </c:pt>
                <c:pt idx="285">
                  <c:v>-1.2738499999999999</c:v>
                </c:pt>
                <c:pt idx="286">
                  <c:v>-1.49576</c:v>
                </c:pt>
                <c:pt idx="287">
                  <c:v>-2.0114800000000002</c:v>
                </c:pt>
                <c:pt idx="288">
                  <c:v>-2.5499700000000001</c:v>
                </c:pt>
                <c:pt idx="289">
                  <c:v>-2.8466900000000002</c:v>
                </c:pt>
                <c:pt idx="290">
                  <c:v>-2.4325199999999998</c:v>
                </c:pt>
                <c:pt idx="291">
                  <c:v>-2.5165199999999999</c:v>
                </c:pt>
                <c:pt idx="292">
                  <c:v>-2.0350700000000002</c:v>
                </c:pt>
                <c:pt idx="293">
                  <c:v>-2.9784999999999999</c:v>
                </c:pt>
                <c:pt idx="294">
                  <c:v>-2.75088</c:v>
                </c:pt>
                <c:pt idx="295">
                  <c:v>-2.4770699999999999</c:v>
                </c:pt>
                <c:pt idx="296">
                  <c:v>-2.9044300000000001</c:v>
                </c:pt>
                <c:pt idx="297">
                  <c:v>-2.86151</c:v>
                </c:pt>
                <c:pt idx="298">
                  <c:v>-2.8262100000000001</c:v>
                </c:pt>
                <c:pt idx="299">
                  <c:v>-3.16256</c:v>
                </c:pt>
                <c:pt idx="300">
                  <c:v>-2.3410799999999998</c:v>
                </c:pt>
                <c:pt idx="301">
                  <c:v>-2.4734600000000002</c:v>
                </c:pt>
                <c:pt idx="302">
                  <c:v>-1.3410500000000001</c:v>
                </c:pt>
                <c:pt idx="303">
                  <c:v>-1.38069</c:v>
                </c:pt>
                <c:pt idx="304">
                  <c:v>-1.6408100000000001</c:v>
                </c:pt>
                <c:pt idx="305">
                  <c:v>-2.3393099999999998</c:v>
                </c:pt>
                <c:pt idx="306">
                  <c:v>-3.03301</c:v>
                </c:pt>
                <c:pt idx="307">
                  <c:v>-2.9636900000000002</c:v>
                </c:pt>
                <c:pt idx="308">
                  <c:v>-3.3188900000000001</c:v>
                </c:pt>
                <c:pt idx="309">
                  <c:v>-2.8435600000000001</c:v>
                </c:pt>
                <c:pt idx="310">
                  <c:v>-2.9293100000000001</c:v>
                </c:pt>
                <c:pt idx="311">
                  <c:v>-2.2531300000000001</c:v>
                </c:pt>
                <c:pt idx="312">
                  <c:v>-2.3146599999999999</c:v>
                </c:pt>
                <c:pt idx="313">
                  <c:v>-2.0261499999999999</c:v>
                </c:pt>
                <c:pt idx="314">
                  <c:v>-1.99881</c:v>
                </c:pt>
                <c:pt idx="315">
                  <c:v>-2.7414399999999999</c:v>
                </c:pt>
                <c:pt idx="316">
                  <c:v>-2.79237</c:v>
                </c:pt>
                <c:pt idx="317">
                  <c:v>-3.1465299999999998</c:v>
                </c:pt>
                <c:pt idx="318">
                  <c:v>-2.9985200000000001</c:v>
                </c:pt>
                <c:pt idx="319">
                  <c:v>-2.1115400000000002</c:v>
                </c:pt>
                <c:pt idx="320">
                  <c:v>-1.79033</c:v>
                </c:pt>
                <c:pt idx="321">
                  <c:v>-1.52871</c:v>
                </c:pt>
                <c:pt idx="322">
                  <c:v>-1.60093</c:v>
                </c:pt>
                <c:pt idx="323">
                  <c:v>-2.7314500000000002</c:v>
                </c:pt>
                <c:pt idx="324">
                  <c:v>-3.7653799999999999</c:v>
                </c:pt>
                <c:pt idx="325">
                  <c:v>-2.81833</c:v>
                </c:pt>
                <c:pt idx="326">
                  <c:v>-3.2177500000000001</c:v>
                </c:pt>
                <c:pt idx="327">
                  <c:v>-2.56941</c:v>
                </c:pt>
                <c:pt idx="328">
                  <c:v>-2.5456400000000001</c:v>
                </c:pt>
                <c:pt idx="329">
                  <c:v>-1.9026700000000001</c:v>
                </c:pt>
                <c:pt idx="330">
                  <c:v>-1.5882400000000001</c:v>
                </c:pt>
                <c:pt idx="331">
                  <c:v>-2.2230400000000001</c:v>
                </c:pt>
                <c:pt idx="332">
                  <c:v>-2.6523400000000001</c:v>
                </c:pt>
                <c:pt idx="333">
                  <c:v>-3.1751499999999999</c:v>
                </c:pt>
                <c:pt idx="334">
                  <c:v>-3.4721899999999999</c:v>
                </c:pt>
                <c:pt idx="335">
                  <c:v>-2.9549400000000001</c:v>
                </c:pt>
                <c:pt idx="336">
                  <c:v>-2.1602100000000002</c:v>
                </c:pt>
                <c:pt idx="337">
                  <c:v>-1.8716900000000001</c:v>
                </c:pt>
                <c:pt idx="338">
                  <c:v>-1.8692899999999999</c:v>
                </c:pt>
                <c:pt idx="339">
                  <c:v>-1.8989</c:v>
                </c:pt>
                <c:pt idx="340">
                  <c:v>-2.6477900000000001</c:v>
                </c:pt>
                <c:pt idx="341">
                  <c:v>-3.25712</c:v>
                </c:pt>
                <c:pt idx="342">
                  <c:v>-2.78966</c:v>
                </c:pt>
                <c:pt idx="343">
                  <c:v>-2.8679100000000002</c:v>
                </c:pt>
                <c:pt idx="344">
                  <c:v>-2.4771800000000002</c:v>
                </c:pt>
                <c:pt idx="345">
                  <c:v>-2.6044200000000002</c:v>
                </c:pt>
                <c:pt idx="346">
                  <c:v>-2.17808</c:v>
                </c:pt>
                <c:pt idx="347">
                  <c:v>-2.0421499999999999</c:v>
                </c:pt>
                <c:pt idx="348">
                  <c:v>-1.77586</c:v>
                </c:pt>
                <c:pt idx="349">
                  <c:v>-2.1809400000000001</c:v>
                </c:pt>
                <c:pt idx="350">
                  <c:v>-3.0420500000000001</c:v>
                </c:pt>
                <c:pt idx="351">
                  <c:v>-2.9733900000000002</c:v>
                </c:pt>
                <c:pt idx="352">
                  <c:v>-3.0339499999999999</c:v>
                </c:pt>
                <c:pt idx="353">
                  <c:v>-2.7620200000000001</c:v>
                </c:pt>
                <c:pt idx="354">
                  <c:v>-2.4204300000000001</c:v>
                </c:pt>
                <c:pt idx="355">
                  <c:v>-2.4937499999999999</c:v>
                </c:pt>
                <c:pt idx="356">
                  <c:v>-2.4083700000000001</c:v>
                </c:pt>
                <c:pt idx="357">
                  <c:v>-2.29209</c:v>
                </c:pt>
                <c:pt idx="358">
                  <c:v>-2.5592299999999999</c:v>
                </c:pt>
                <c:pt idx="359">
                  <c:v>-3.3515100000000002</c:v>
                </c:pt>
                <c:pt idx="360">
                  <c:v>-2.64608</c:v>
                </c:pt>
                <c:pt idx="361">
                  <c:v>-2.5879599999999998</c:v>
                </c:pt>
                <c:pt idx="362">
                  <c:v>-3.31162</c:v>
                </c:pt>
                <c:pt idx="363">
                  <c:v>-2.6833399999999998</c:v>
                </c:pt>
                <c:pt idx="364">
                  <c:v>-2.3683100000000001</c:v>
                </c:pt>
                <c:pt idx="365">
                  <c:v>-1.41567</c:v>
                </c:pt>
                <c:pt idx="366">
                  <c:v>-2.0997400000000002</c:v>
                </c:pt>
                <c:pt idx="367">
                  <c:v>-2.5150999999999999</c:v>
                </c:pt>
                <c:pt idx="368">
                  <c:v>-3.3788499999999999</c:v>
                </c:pt>
                <c:pt idx="369">
                  <c:v>-3.4603700000000002</c:v>
                </c:pt>
                <c:pt idx="370">
                  <c:v>-3.2305899999999999</c:v>
                </c:pt>
                <c:pt idx="371">
                  <c:v>-3.2428699999999999</c:v>
                </c:pt>
                <c:pt idx="372">
                  <c:v>-2.5015700000000001</c:v>
                </c:pt>
                <c:pt idx="373">
                  <c:v>-1.95556</c:v>
                </c:pt>
                <c:pt idx="374">
                  <c:v>-1.9619500000000001</c:v>
                </c:pt>
                <c:pt idx="375">
                  <c:v>-2.3187000000000002</c:v>
                </c:pt>
                <c:pt idx="376">
                  <c:v>-2.8614299999999999</c:v>
                </c:pt>
                <c:pt idx="377">
                  <c:v>-2.48828</c:v>
                </c:pt>
                <c:pt idx="378">
                  <c:v>-2.5213199999999998</c:v>
                </c:pt>
                <c:pt idx="379">
                  <c:v>-2.4829400000000001</c:v>
                </c:pt>
                <c:pt idx="380">
                  <c:v>-2.6816399999999998</c:v>
                </c:pt>
                <c:pt idx="381">
                  <c:v>-2.4400599999999999</c:v>
                </c:pt>
                <c:pt idx="382">
                  <c:v>-1.6234200000000001</c:v>
                </c:pt>
                <c:pt idx="383">
                  <c:v>-1.6629499999999999</c:v>
                </c:pt>
                <c:pt idx="384">
                  <c:v>-1.7162500000000001</c:v>
                </c:pt>
                <c:pt idx="385">
                  <c:v>-2.4987499999999998</c:v>
                </c:pt>
                <c:pt idx="386">
                  <c:v>-2.8965200000000002</c:v>
                </c:pt>
                <c:pt idx="387">
                  <c:v>-3.6614200000000001</c:v>
                </c:pt>
                <c:pt idx="388">
                  <c:v>-2.9657100000000001</c:v>
                </c:pt>
                <c:pt idx="389">
                  <c:v>-3.1505899999999998</c:v>
                </c:pt>
                <c:pt idx="390">
                  <c:v>-2.8095599999999998</c:v>
                </c:pt>
                <c:pt idx="391">
                  <c:v>-1.9933399999999999</c:v>
                </c:pt>
                <c:pt idx="392">
                  <c:v>-1.90299</c:v>
                </c:pt>
                <c:pt idx="393">
                  <c:v>-2.0715400000000002</c:v>
                </c:pt>
                <c:pt idx="394">
                  <c:v>-1.84918</c:v>
                </c:pt>
                <c:pt idx="395">
                  <c:v>-2.3539599999999998</c:v>
                </c:pt>
                <c:pt idx="396">
                  <c:v>-2.9708000000000001</c:v>
                </c:pt>
                <c:pt idx="397">
                  <c:v>-3.2805800000000001</c:v>
                </c:pt>
                <c:pt idx="398">
                  <c:v>-2.7817400000000001</c:v>
                </c:pt>
                <c:pt idx="399">
                  <c:v>-2.7400699999999998</c:v>
                </c:pt>
                <c:pt idx="400">
                  <c:v>-2.3269199999999999</c:v>
                </c:pt>
                <c:pt idx="401">
                  <c:v>-1.6408799999999999</c:v>
                </c:pt>
                <c:pt idx="402">
                  <c:v>-1.8247800000000001</c:v>
                </c:pt>
                <c:pt idx="403">
                  <c:v>-2.6263800000000002</c:v>
                </c:pt>
                <c:pt idx="404">
                  <c:v>-3.45459</c:v>
                </c:pt>
                <c:pt idx="405">
                  <c:v>-3.4549599999999998</c:v>
                </c:pt>
                <c:pt idx="406">
                  <c:v>-2.92238</c:v>
                </c:pt>
                <c:pt idx="407">
                  <c:v>-2.59721</c:v>
                </c:pt>
                <c:pt idx="408">
                  <c:v>-2.1602899999999998</c:v>
                </c:pt>
                <c:pt idx="409">
                  <c:v>-2.0498799999999999</c:v>
                </c:pt>
                <c:pt idx="410">
                  <c:v>-1.66239</c:v>
                </c:pt>
                <c:pt idx="411">
                  <c:v>-2.17028</c:v>
                </c:pt>
                <c:pt idx="412">
                  <c:v>-2.052</c:v>
                </c:pt>
                <c:pt idx="413">
                  <c:v>-2.4332699999999998</c:v>
                </c:pt>
                <c:pt idx="414">
                  <c:v>-3.1902400000000002</c:v>
                </c:pt>
                <c:pt idx="415">
                  <c:v>-2.9692699999999999</c:v>
                </c:pt>
                <c:pt idx="416">
                  <c:v>-3.3656000000000001</c:v>
                </c:pt>
                <c:pt idx="417">
                  <c:v>-2.8949799999999999</c:v>
                </c:pt>
                <c:pt idx="418">
                  <c:v>-2.4421599999999999</c:v>
                </c:pt>
                <c:pt idx="419">
                  <c:v>-2.0244399999999998</c:v>
                </c:pt>
                <c:pt idx="420">
                  <c:v>-2.5890599999999999</c:v>
                </c:pt>
                <c:pt idx="421">
                  <c:v>-2.1987999999999999</c:v>
                </c:pt>
                <c:pt idx="422">
                  <c:v>-2.8641200000000002</c:v>
                </c:pt>
                <c:pt idx="423">
                  <c:v>-2.63266</c:v>
                </c:pt>
                <c:pt idx="424">
                  <c:v>-3.34979</c:v>
                </c:pt>
                <c:pt idx="425">
                  <c:v>-2.57301</c:v>
                </c:pt>
                <c:pt idx="426">
                  <c:v>-1.76362</c:v>
                </c:pt>
                <c:pt idx="427">
                  <c:v>-1.8491899999999999</c:v>
                </c:pt>
                <c:pt idx="428">
                  <c:v>-1.4917800000000001</c:v>
                </c:pt>
                <c:pt idx="429">
                  <c:v>-2.0158399999999999</c:v>
                </c:pt>
                <c:pt idx="430">
                  <c:v>-2.1445500000000002</c:v>
                </c:pt>
                <c:pt idx="431">
                  <c:v>-3.33683</c:v>
                </c:pt>
                <c:pt idx="432">
                  <c:v>-3.5083099999999998</c:v>
                </c:pt>
                <c:pt idx="433">
                  <c:v>-3.0350799999999998</c:v>
                </c:pt>
                <c:pt idx="434">
                  <c:v>-2.5746600000000002</c:v>
                </c:pt>
                <c:pt idx="435">
                  <c:v>-2.52536</c:v>
                </c:pt>
                <c:pt idx="436">
                  <c:v>-2.0844</c:v>
                </c:pt>
                <c:pt idx="437">
                  <c:v>-2.7378</c:v>
                </c:pt>
                <c:pt idx="438">
                  <c:v>-2.0936699999999999</c:v>
                </c:pt>
                <c:pt idx="439">
                  <c:v>-2.2294200000000002</c:v>
                </c:pt>
                <c:pt idx="440">
                  <c:v>-3.1062699999999999</c:v>
                </c:pt>
                <c:pt idx="441">
                  <c:v>-2.7915999999999999</c:v>
                </c:pt>
                <c:pt idx="442">
                  <c:v>-3.0498099999999999</c:v>
                </c:pt>
                <c:pt idx="443">
                  <c:v>-2.3224</c:v>
                </c:pt>
                <c:pt idx="444">
                  <c:v>-1.82209</c:v>
                </c:pt>
                <c:pt idx="445">
                  <c:v>-1.2957099999999999</c:v>
                </c:pt>
                <c:pt idx="446">
                  <c:v>-1.76953</c:v>
                </c:pt>
                <c:pt idx="447">
                  <c:v>-2.81778</c:v>
                </c:pt>
                <c:pt idx="448">
                  <c:v>-2.8996200000000001</c:v>
                </c:pt>
                <c:pt idx="449">
                  <c:v>-3.5306899999999999</c:v>
                </c:pt>
                <c:pt idx="450">
                  <c:v>-3.34117</c:v>
                </c:pt>
                <c:pt idx="451">
                  <c:v>-2.6261999999999999</c:v>
                </c:pt>
                <c:pt idx="452">
                  <c:v>-2.4976400000000001</c:v>
                </c:pt>
                <c:pt idx="453">
                  <c:v>-1.7514099999999999</c:v>
                </c:pt>
                <c:pt idx="454">
                  <c:v>-2.19007</c:v>
                </c:pt>
                <c:pt idx="455">
                  <c:v>-1.6548499999999999</c:v>
                </c:pt>
                <c:pt idx="456">
                  <c:v>-2.76919</c:v>
                </c:pt>
                <c:pt idx="457">
                  <c:v>-2.18588</c:v>
                </c:pt>
                <c:pt idx="458">
                  <c:v>-3.3594300000000001</c:v>
                </c:pt>
                <c:pt idx="459">
                  <c:v>-3.5332499999999998</c:v>
                </c:pt>
                <c:pt idx="460">
                  <c:v>-3.3633000000000002</c:v>
                </c:pt>
                <c:pt idx="461">
                  <c:v>-2.6734300000000002</c:v>
                </c:pt>
                <c:pt idx="462">
                  <c:v>-1.5861099999999999</c:v>
                </c:pt>
                <c:pt idx="463">
                  <c:v>-2.28376</c:v>
                </c:pt>
                <c:pt idx="464">
                  <c:v>-2.2098499999999999</c:v>
                </c:pt>
                <c:pt idx="465">
                  <c:v>-2.7977599999999998</c:v>
                </c:pt>
                <c:pt idx="466">
                  <c:v>-2.9371</c:v>
                </c:pt>
                <c:pt idx="467">
                  <c:v>-3.1150199999999999</c:v>
                </c:pt>
                <c:pt idx="468">
                  <c:v>-2.6468099999999999</c:v>
                </c:pt>
                <c:pt idx="469">
                  <c:v>-2.0670999999999999</c:v>
                </c:pt>
                <c:pt idx="470">
                  <c:v>-2.03986</c:v>
                </c:pt>
                <c:pt idx="471">
                  <c:v>-2.0985999999999998</c:v>
                </c:pt>
                <c:pt idx="472">
                  <c:v>-1.6782699999999999</c:v>
                </c:pt>
                <c:pt idx="473">
                  <c:v>-1.8993100000000001</c:v>
                </c:pt>
                <c:pt idx="474">
                  <c:v>-1.6559900000000001</c:v>
                </c:pt>
                <c:pt idx="475">
                  <c:v>-2.4596200000000001</c:v>
                </c:pt>
                <c:pt idx="476">
                  <c:v>-2.9513199999999999</c:v>
                </c:pt>
                <c:pt idx="477">
                  <c:v>-3.5486900000000001</c:v>
                </c:pt>
                <c:pt idx="478">
                  <c:v>-3.41066</c:v>
                </c:pt>
                <c:pt idx="479">
                  <c:v>-2.91947</c:v>
                </c:pt>
                <c:pt idx="480">
                  <c:v>-2.3675600000000001</c:v>
                </c:pt>
                <c:pt idx="481">
                  <c:v>-2.1570900000000002</c:v>
                </c:pt>
                <c:pt idx="482">
                  <c:v>-2.0386899999999999</c:v>
                </c:pt>
                <c:pt idx="483">
                  <c:v>-1.9901</c:v>
                </c:pt>
                <c:pt idx="484">
                  <c:v>-2.15062</c:v>
                </c:pt>
                <c:pt idx="485">
                  <c:v>-3.0082499999999999</c:v>
                </c:pt>
                <c:pt idx="486">
                  <c:v>-2.80803</c:v>
                </c:pt>
                <c:pt idx="487">
                  <c:v>-2.2997999999999998</c:v>
                </c:pt>
                <c:pt idx="488">
                  <c:v>-1.9353899999999999</c:v>
                </c:pt>
                <c:pt idx="489">
                  <c:v>-1.4217900000000001</c:v>
                </c:pt>
                <c:pt idx="490">
                  <c:v>-1.8724799999999999</c:v>
                </c:pt>
                <c:pt idx="491">
                  <c:v>-2.0932300000000001</c:v>
                </c:pt>
                <c:pt idx="492">
                  <c:v>-2.75488</c:v>
                </c:pt>
                <c:pt idx="493">
                  <c:v>-3.2250899999999998</c:v>
                </c:pt>
                <c:pt idx="494">
                  <c:v>-3.1694800000000001</c:v>
                </c:pt>
                <c:pt idx="495">
                  <c:v>-3.6752400000000001</c:v>
                </c:pt>
                <c:pt idx="496">
                  <c:v>-2.9706399999999999</c:v>
                </c:pt>
                <c:pt idx="497">
                  <c:v>-2.93588</c:v>
                </c:pt>
                <c:pt idx="498">
                  <c:v>-1.82453</c:v>
                </c:pt>
                <c:pt idx="499">
                  <c:v>-1.6991799999999999</c:v>
                </c:pt>
                <c:pt idx="500">
                  <c:v>-1.7133400000000001</c:v>
                </c:pt>
                <c:pt idx="501">
                  <c:v>-2.3785699999999999</c:v>
                </c:pt>
                <c:pt idx="502">
                  <c:v>-2.9794200000000002</c:v>
                </c:pt>
                <c:pt idx="503">
                  <c:v>-3.04989</c:v>
                </c:pt>
                <c:pt idx="504">
                  <c:v>-2.9718</c:v>
                </c:pt>
                <c:pt idx="505">
                  <c:v>-2.7666200000000001</c:v>
                </c:pt>
                <c:pt idx="506">
                  <c:v>-2.5422799999999999</c:v>
                </c:pt>
                <c:pt idx="507">
                  <c:v>-2.2208999999999999</c:v>
                </c:pt>
                <c:pt idx="508">
                  <c:v>-2.18513</c:v>
                </c:pt>
                <c:pt idx="509">
                  <c:v>-2.59944</c:v>
                </c:pt>
                <c:pt idx="510">
                  <c:v>-2.8426999999999998</c:v>
                </c:pt>
                <c:pt idx="511">
                  <c:v>-3.16967</c:v>
                </c:pt>
                <c:pt idx="512">
                  <c:v>-2.6089000000000002</c:v>
                </c:pt>
                <c:pt idx="513">
                  <c:v>-2.8033000000000001</c:v>
                </c:pt>
                <c:pt idx="514">
                  <c:v>-1.97672</c:v>
                </c:pt>
                <c:pt idx="515">
                  <c:v>-2.21624</c:v>
                </c:pt>
                <c:pt idx="516">
                  <c:v>-2.3075899999999998</c:v>
                </c:pt>
                <c:pt idx="517">
                  <c:v>-1.5645899999999999</c:v>
                </c:pt>
                <c:pt idx="518">
                  <c:v>-2.0358000000000001</c:v>
                </c:pt>
                <c:pt idx="519">
                  <c:v>-2.50719</c:v>
                </c:pt>
                <c:pt idx="520">
                  <c:v>-3.18458</c:v>
                </c:pt>
                <c:pt idx="521">
                  <c:v>-3.4340199999999999</c:v>
                </c:pt>
                <c:pt idx="522">
                  <c:v>-2.6566299999999998</c:v>
                </c:pt>
                <c:pt idx="523">
                  <c:v>-3.0616599999999998</c:v>
                </c:pt>
                <c:pt idx="524">
                  <c:v>-2.1604899999999998</c:v>
                </c:pt>
                <c:pt idx="525">
                  <c:v>-2.7626900000000001</c:v>
                </c:pt>
                <c:pt idx="526">
                  <c:v>-2.0448400000000002</c:v>
                </c:pt>
                <c:pt idx="527">
                  <c:v>-2.6046</c:v>
                </c:pt>
                <c:pt idx="528">
                  <c:v>-2.6882999999999999</c:v>
                </c:pt>
                <c:pt idx="529">
                  <c:v>-2.56087</c:v>
                </c:pt>
                <c:pt idx="530">
                  <c:v>-2.7404999999999999</c:v>
                </c:pt>
                <c:pt idx="531">
                  <c:v>-2.2455799999999999</c:v>
                </c:pt>
                <c:pt idx="532">
                  <c:v>-2.52399</c:v>
                </c:pt>
                <c:pt idx="533">
                  <c:v>-2.5206499999999998</c:v>
                </c:pt>
                <c:pt idx="534">
                  <c:v>-1.3751199999999999</c:v>
                </c:pt>
                <c:pt idx="535">
                  <c:v>-1.5621799999999999</c:v>
                </c:pt>
                <c:pt idx="536">
                  <c:v>-1.82735</c:v>
                </c:pt>
                <c:pt idx="537">
                  <c:v>-2.8414899999999998</c:v>
                </c:pt>
                <c:pt idx="538">
                  <c:v>-3.2097199999999999</c:v>
                </c:pt>
                <c:pt idx="539">
                  <c:v>-3.2049699999999999</c:v>
                </c:pt>
                <c:pt idx="540">
                  <c:v>-3.0229599999999999</c:v>
                </c:pt>
                <c:pt idx="541">
                  <c:v>-2.5879500000000002</c:v>
                </c:pt>
                <c:pt idx="542">
                  <c:v>-2.2469800000000002</c:v>
                </c:pt>
                <c:pt idx="543">
                  <c:v>-2.0899000000000001</c:v>
                </c:pt>
                <c:pt idx="544">
                  <c:v>-2.2169400000000001</c:v>
                </c:pt>
                <c:pt idx="545">
                  <c:v>-2.3673299999999999</c:v>
                </c:pt>
                <c:pt idx="546">
                  <c:v>-2.6850299999999998</c:v>
                </c:pt>
                <c:pt idx="547">
                  <c:v>-3.3713199999999999</c:v>
                </c:pt>
                <c:pt idx="548">
                  <c:v>-3.3803999999999998</c:v>
                </c:pt>
                <c:pt idx="549">
                  <c:v>-2.8456000000000001</c:v>
                </c:pt>
                <c:pt idx="550">
                  <c:v>-1.7125999999999999</c:v>
                </c:pt>
                <c:pt idx="551">
                  <c:v>-1.9412700000000001</c:v>
                </c:pt>
                <c:pt idx="552">
                  <c:v>-1.93055</c:v>
                </c:pt>
                <c:pt idx="553">
                  <c:v>-2.7533599999999998</c:v>
                </c:pt>
                <c:pt idx="554">
                  <c:v>-2.97004</c:v>
                </c:pt>
                <c:pt idx="555">
                  <c:v>-2.47207</c:v>
                </c:pt>
                <c:pt idx="556">
                  <c:v>-3.1013500000000001</c:v>
                </c:pt>
                <c:pt idx="557">
                  <c:v>-2.9477000000000002</c:v>
                </c:pt>
                <c:pt idx="558">
                  <c:v>-2.96136</c:v>
                </c:pt>
                <c:pt idx="559">
                  <c:v>-2.1802299999999999</c:v>
                </c:pt>
                <c:pt idx="560">
                  <c:v>-1.6732400000000001</c:v>
                </c:pt>
                <c:pt idx="561">
                  <c:v>-2.1686800000000002</c:v>
                </c:pt>
                <c:pt idx="562">
                  <c:v>-1.6588400000000001</c:v>
                </c:pt>
                <c:pt idx="563">
                  <c:v>-2.04148</c:v>
                </c:pt>
                <c:pt idx="564">
                  <c:v>-2.32206</c:v>
                </c:pt>
                <c:pt idx="565">
                  <c:v>-3.1824699999999999</c:v>
                </c:pt>
                <c:pt idx="566">
                  <c:v>-3.2307100000000002</c:v>
                </c:pt>
                <c:pt idx="567">
                  <c:v>-2.8069700000000002</c:v>
                </c:pt>
                <c:pt idx="568">
                  <c:v>-2.65449</c:v>
                </c:pt>
                <c:pt idx="569">
                  <c:v>-1.9353199999999999</c:v>
                </c:pt>
                <c:pt idx="570">
                  <c:v>-2.2510699999999999</c:v>
                </c:pt>
                <c:pt idx="571">
                  <c:v>-2.3999799999999998</c:v>
                </c:pt>
                <c:pt idx="572">
                  <c:v>-1.6460999999999999</c:v>
                </c:pt>
                <c:pt idx="573">
                  <c:v>-2.4146000000000001</c:v>
                </c:pt>
                <c:pt idx="574">
                  <c:v>-3.2113</c:v>
                </c:pt>
                <c:pt idx="575">
                  <c:v>-3.8128600000000001</c:v>
                </c:pt>
                <c:pt idx="576">
                  <c:v>-2.8490899999999999</c:v>
                </c:pt>
                <c:pt idx="577">
                  <c:v>-2.1168499999999999</c:v>
                </c:pt>
                <c:pt idx="578">
                  <c:v>-1.95505</c:v>
                </c:pt>
                <c:pt idx="579">
                  <c:v>-1.11077</c:v>
                </c:pt>
                <c:pt idx="580">
                  <c:v>-1.85619</c:v>
                </c:pt>
                <c:pt idx="581">
                  <c:v>-2.2097099999999998</c:v>
                </c:pt>
                <c:pt idx="582">
                  <c:v>-3.0474000000000001</c:v>
                </c:pt>
                <c:pt idx="583">
                  <c:v>-3.2282500000000001</c:v>
                </c:pt>
                <c:pt idx="584">
                  <c:v>-3.0254599999999998</c:v>
                </c:pt>
                <c:pt idx="585">
                  <c:v>-2.7759499999999999</c:v>
                </c:pt>
                <c:pt idx="586">
                  <c:v>-2.43479</c:v>
                </c:pt>
                <c:pt idx="587">
                  <c:v>-1.7798400000000001</c:v>
                </c:pt>
                <c:pt idx="588">
                  <c:v>-2.7084600000000001</c:v>
                </c:pt>
                <c:pt idx="589">
                  <c:v>-2.7863899999999999</c:v>
                </c:pt>
                <c:pt idx="590">
                  <c:v>-2.0816300000000001</c:v>
                </c:pt>
                <c:pt idx="591">
                  <c:v>-2.1663800000000002</c:v>
                </c:pt>
                <c:pt idx="592">
                  <c:v>-2.25705</c:v>
                </c:pt>
                <c:pt idx="593">
                  <c:v>-2.8380200000000002</c:v>
                </c:pt>
                <c:pt idx="594">
                  <c:v>-3.1846299999999998</c:v>
                </c:pt>
                <c:pt idx="595">
                  <c:v>-2.4935800000000001</c:v>
                </c:pt>
                <c:pt idx="596">
                  <c:v>-2.3618600000000001</c:v>
                </c:pt>
                <c:pt idx="597">
                  <c:v>-2.1565400000000001</c:v>
                </c:pt>
                <c:pt idx="598">
                  <c:v>-2.5786799999999999</c:v>
                </c:pt>
                <c:pt idx="599">
                  <c:v>-2.4042400000000002</c:v>
                </c:pt>
                <c:pt idx="600">
                  <c:v>-2.8163100000000001</c:v>
                </c:pt>
                <c:pt idx="601">
                  <c:v>-3.0620599999999998</c:v>
                </c:pt>
                <c:pt idx="602">
                  <c:v>-3.1550500000000001</c:v>
                </c:pt>
                <c:pt idx="603">
                  <c:v>-3.1867000000000001</c:v>
                </c:pt>
                <c:pt idx="604">
                  <c:v>-3.0405799999999998</c:v>
                </c:pt>
                <c:pt idx="605">
                  <c:v>-2.2705500000000001</c:v>
                </c:pt>
                <c:pt idx="606">
                  <c:v>-2.2653400000000001</c:v>
                </c:pt>
                <c:pt idx="607">
                  <c:v>-1.51658</c:v>
                </c:pt>
                <c:pt idx="608">
                  <c:v>-1.7132099999999999</c:v>
                </c:pt>
                <c:pt idx="609">
                  <c:v>-2.2583600000000001</c:v>
                </c:pt>
                <c:pt idx="610">
                  <c:v>-2.90008</c:v>
                </c:pt>
                <c:pt idx="611">
                  <c:v>-3.2759999999999998</c:v>
                </c:pt>
                <c:pt idx="612">
                  <c:v>-2.3263099999999999</c:v>
                </c:pt>
                <c:pt idx="613">
                  <c:v>-2.0830299999999999</c:v>
                </c:pt>
                <c:pt idx="614">
                  <c:v>-2.0840299999999998</c:v>
                </c:pt>
                <c:pt idx="615">
                  <c:v>-2.2935400000000001</c:v>
                </c:pt>
                <c:pt idx="616">
                  <c:v>-2.7920699999999998</c:v>
                </c:pt>
                <c:pt idx="617">
                  <c:v>-2.9346100000000002</c:v>
                </c:pt>
                <c:pt idx="618">
                  <c:v>-2.8804699999999999</c:v>
                </c:pt>
                <c:pt idx="619">
                  <c:v>-3.3881199999999998</c:v>
                </c:pt>
                <c:pt idx="620">
                  <c:v>-3.0520800000000001</c:v>
                </c:pt>
                <c:pt idx="621">
                  <c:v>-2.4481999999999999</c:v>
                </c:pt>
                <c:pt idx="622">
                  <c:v>-2.1760299999999999</c:v>
                </c:pt>
                <c:pt idx="623">
                  <c:v>-2.0798100000000002</c:v>
                </c:pt>
                <c:pt idx="624">
                  <c:v>-1.7158100000000001</c:v>
                </c:pt>
                <c:pt idx="625">
                  <c:v>-1.99726</c:v>
                </c:pt>
                <c:pt idx="626">
                  <c:v>-2.0058199999999999</c:v>
                </c:pt>
                <c:pt idx="627">
                  <c:v>-2.9932500000000002</c:v>
                </c:pt>
                <c:pt idx="628">
                  <c:v>-3.1906599999999998</c:v>
                </c:pt>
                <c:pt idx="629">
                  <c:v>-3.33127</c:v>
                </c:pt>
                <c:pt idx="630">
                  <c:v>-2.8639000000000001</c:v>
                </c:pt>
                <c:pt idx="631">
                  <c:v>-2.7007500000000002</c:v>
                </c:pt>
                <c:pt idx="632">
                  <c:v>-2.42605</c:v>
                </c:pt>
                <c:pt idx="633">
                  <c:v>-2.6262500000000002</c:v>
                </c:pt>
                <c:pt idx="634">
                  <c:v>-2.7404600000000001</c:v>
                </c:pt>
                <c:pt idx="635">
                  <c:v>-2.3664299999999998</c:v>
                </c:pt>
                <c:pt idx="636">
                  <c:v>-2.3846500000000002</c:v>
                </c:pt>
                <c:pt idx="637">
                  <c:v>-2.6299399999999999</c:v>
                </c:pt>
                <c:pt idx="638">
                  <c:v>-2.9925199999999998</c:v>
                </c:pt>
                <c:pt idx="639">
                  <c:v>-2.98569</c:v>
                </c:pt>
                <c:pt idx="640">
                  <c:v>-2.6084299999999998</c:v>
                </c:pt>
                <c:pt idx="641">
                  <c:v>-2.1712500000000001</c:v>
                </c:pt>
                <c:pt idx="642">
                  <c:v>-2.01464</c:v>
                </c:pt>
                <c:pt idx="643">
                  <c:v>-1.56233</c:v>
                </c:pt>
                <c:pt idx="644">
                  <c:v>-2.2710300000000001</c:v>
                </c:pt>
                <c:pt idx="645">
                  <c:v>-2.7647200000000001</c:v>
                </c:pt>
                <c:pt idx="646">
                  <c:v>-3.1271100000000001</c:v>
                </c:pt>
                <c:pt idx="647">
                  <c:v>-3.5972900000000001</c:v>
                </c:pt>
                <c:pt idx="648">
                  <c:v>-3.3464399999999999</c:v>
                </c:pt>
                <c:pt idx="649">
                  <c:v>-2.0082200000000001</c:v>
                </c:pt>
                <c:pt idx="650">
                  <c:v>-2.4066800000000002</c:v>
                </c:pt>
                <c:pt idx="651">
                  <c:v>-1.66571</c:v>
                </c:pt>
                <c:pt idx="652">
                  <c:v>-2.3319399999999999</c:v>
                </c:pt>
                <c:pt idx="653">
                  <c:v>-2.2951000000000001</c:v>
                </c:pt>
                <c:pt idx="654">
                  <c:v>-2.73271</c:v>
                </c:pt>
                <c:pt idx="655">
                  <c:v>-2.8174700000000001</c:v>
                </c:pt>
                <c:pt idx="656">
                  <c:v>-2.7364000000000002</c:v>
                </c:pt>
                <c:pt idx="657">
                  <c:v>-2.5630600000000001</c:v>
                </c:pt>
                <c:pt idx="658">
                  <c:v>-2.1696499999999999</c:v>
                </c:pt>
                <c:pt idx="659">
                  <c:v>-1.4489399999999999</c:v>
                </c:pt>
                <c:pt idx="660">
                  <c:v>-1.96455</c:v>
                </c:pt>
                <c:pt idx="661">
                  <c:v>-2.1968700000000001</c:v>
                </c:pt>
                <c:pt idx="662">
                  <c:v>-3.23637</c:v>
                </c:pt>
                <c:pt idx="663">
                  <c:v>-3.8963999999999999</c:v>
                </c:pt>
                <c:pt idx="664">
                  <c:v>-3.6511200000000001</c:v>
                </c:pt>
                <c:pt idx="665">
                  <c:v>-2.6183200000000002</c:v>
                </c:pt>
                <c:pt idx="666">
                  <c:v>-2.62357</c:v>
                </c:pt>
                <c:pt idx="667">
                  <c:v>-1.6831799999999999</c:v>
                </c:pt>
                <c:pt idx="668">
                  <c:v>-1.83721</c:v>
                </c:pt>
                <c:pt idx="669">
                  <c:v>-2.2083300000000001</c:v>
                </c:pt>
                <c:pt idx="670">
                  <c:v>-2.5468299999999999</c:v>
                </c:pt>
                <c:pt idx="671">
                  <c:v>-2.9483199999999998</c:v>
                </c:pt>
                <c:pt idx="672">
                  <c:v>-3.0316800000000002</c:v>
                </c:pt>
                <c:pt idx="673">
                  <c:v>-3.2156500000000001</c:v>
                </c:pt>
                <c:pt idx="674">
                  <c:v>-3.1080399999999999</c:v>
                </c:pt>
                <c:pt idx="675">
                  <c:v>-2.6599200000000001</c:v>
                </c:pt>
                <c:pt idx="676">
                  <c:v>-2.3146200000000001</c:v>
                </c:pt>
                <c:pt idx="677">
                  <c:v>-2.2582599999999999</c:v>
                </c:pt>
                <c:pt idx="678">
                  <c:v>-2.6020300000000001</c:v>
                </c:pt>
                <c:pt idx="679">
                  <c:v>-2.6662699999999999</c:v>
                </c:pt>
                <c:pt idx="680">
                  <c:v>-3.3258000000000001</c:v>
                </c:pt>
                <c:pt idx="681">
                  <c:v>-3.4082300000000001</c:v>
                </c:pt>
                <c:pt idx="682">
                  <c:v>-3.7447300000000001</c:v>
                </c:pt>
                <c:pt idx="683">
                  <c:v>-2.4510700000000001</c:v>
                </c:pt>
                <c:pt idx="684">
                  <c:v>-2.0031300000000001</c:v>
                </c:pt>
                <c:pt idx="685">
                  <c:v>-2.3904700000000001</c:v>
                </c:pt>
                <c:pt idx="686">
                  <c:v>-1.8280000000000001</c:v>
                </c:pt>
                <c:pt idx="687">
                  <c:v>-2.0964</c:v>
                </c:pt>
                <c:pt idx="688">
                  <c:v>-1.7828599999999999</c:v>
                </c:pt>
                <c:pt idx="689">
                  <c:v>-1.70191</c:v>
                </c:pt>
                <c:pt idx="690">
                  <c:v>-3.0002399999999998</c:v>
                </c:pt>
                <c:pt idx="691">
                  <c:v>-3.0987</c:v>
                </c:pt>
                <c:pt idx="692">
                  <c:v>-3.4076300000000002</c:v>
                </c:pt>
                <c:pt idx="693">
                  <c:v>-2.7176900000000002</c:v>
                </c:pt>
                <c:pt idx="694">
                  <c:v>-2.4037099999999998</c:v>
                </c:pt>
                <c:pt idx="695">
                  <c:v>-1.9960599999999999</c:v>
                </c:pt>
                <c:pt idx="696">
                  <c:v>-1.77406</c:v>
                </c:pt>
                <c:pt idx="697">
                  <c:v>-2.4243899999999998</c:v>
                </c:pt>
                <c:pt idx="698">
                  <c:v>-2.7624599999999999</c:v>
                </c:pt>
                <c:pt idx="699">
                  <c:v>-3.3770099999999998</c:v>
                </c:pt>
                <c:pt idx="700">
                  <c:v>-2.7317300000000002</c:v>
                </c:pt>
                <c:pt idx="701">
                  <c:v>-2.6480999999999999</c:v>
                </c:pt>
                <c:pt idx="702">
                  <c:v>-2.58033</c:v>
                </c:pt>
                <c:pt idx="703">
                  <c:v>-2.1625899999999998</c:v>
                </c:pt>
                <c:pt idx="704">
                  <c:v>-2.1152600000000001</c:v>
                </c:pt>
                <c:pt idx="705">
                  <c:v>-1.6995499999999999</c:v>
                </c:pt>
                <c:pt idx="706">
                  <c:v>-1.87714</c:v>
                </c:pt>
                <c:pt idx="707">
                  <c:v>-2.4428999999999998</c:v>
                </c:pt>
                <c:pt idx="708">
                  <c:v>-3.7509000000000001</c:v>
                </c:pt>
                <c:pt idx="709">
                  <c:v>-3.7139700000000002</c:v>
                </c:pt>
                <c:pt idx="710">
                  <c:v>-2.6206800000000001</c:v>
                </c:pt>
                <c:pt idx="711">
                  <c:v>-2.2559999999999998</c:v>
                </c:pt>
                <c:pt idx="712">
                  <c:v>-1.97353</c:v>
                </c:pt>
                <c:pt idx="713">
                  <c:v>-1.76722</c:v>
                </c:pt>
                <c:pt idx="714">
                  <c:v>-1.84091</c:v>
                </c:pt>
                <c:pt idx="715">
                  <c:v>-2.4747599999999998</c:v>
                </c:pt>
                <c:pt idx="716">
                  <c:v>-3.0429200000000001</c:v>
                </c:pt>
                <c:pt idx="717">
                  <c:v>-2.8432200000000001</c:v>
                </c:pt>
                <c:pt idx="718">
                  <c:v>-2.7625899999999999</c:v>
                </c:pt>
                <c:pt idx="719">
                  <c:v>-3.9810400000000001</c:v>
                </c:pt>
                <c:pt idx="720">
                  <c:v>-4.8694800000000003</c:v>
                </c:pt>
                <c:pt idx="721">
                  <c:v>-4.1051399999999996</c:v>
                </c:pt>
                <c:pt idx="722">
                  <c:v>-3.1076700000000002</c:v>
                </c:pt>
                <c:pt idx="723">
                  <c:v>-2.1567799999999999</c:v>
                </c:pt>
                <c:pt idx="724">
                  <c:v>-1.0750299999999999</c:v>
                </c:pt>
                <c:pt idx="725">
                  <c:v>-1.4691000000000001</c:v>
                </c:pt>
                <c:pt idx="726">
                  <c:v>-2.2186499999999998</c:v>
                </c:pt>
                <c:pt idx="727">
                  <c:v>-2.8316300000000001</c:v>
                </c:pt>
                <c:pt idx="728">
                  <c:v>-2.2366199999999998</c:v>
                </c:pt>
                <c:pt idx="729">
                  <c:v>-2.0647099999999998</c:v>
                </c:pt>
                <c:pt idx="730">
                  <c:v>-1.1093500000000001</c:v>
                </c:pt>
                <c:pt idx="731">
                  <c:v>-0.90690199999999999</c:v>
                </c:pt>
                <c:pt idx="732">
                  <c:v>-0.86788500000000002</c:v>
                </c:pt>
                <c:pt idx="733">
                  <c:v>-1.5101100000000001</c:v>
                </c:pt>
                <c:pt idx="734">
                  <c:v>-1.45479</c:v>
                </c:pt>
                <c:pt idx="735">
                  <c:v>-1.19214</c:v>
                </c:pt>
                <c:pt idx="736">
                  <c:v>-2.2508900000000001</c:v>
                </c:pt>
                <c:pt idx="737">
                  <c:v>-2.7602600000000002</c:v>
                </c:pt>
                <c:pt idx="738">
                  <c:v>-4.0822799999999999</c:v>
                </c:pt>
                <c:pt idx="739">
                  <c:v>-4.4129100000000001</c:v>
                </c:pt>
                <c:pt idx="740">
                  <c:v>-4.0370299999999997</c:v>
                </c:pt>
                <c:pt idx="741">
                  <c:v>-3.4693299999999998</c:v>
                </c:pt>
                <c:pt idx="742">
                  <c:v>-2.3736100000000002</c:v>
                </c:pt>
                <c:pt idx="743">
                  <c:v>-2.6004200000000002</c:v>
                </c:pt>
                <c:pt idx="744">
                  <c:v>-1.79986</c:v>
                </c:pt>
                <c:pt idx="745">
                  <c:v>-2.78376</c:v>
                </c:pt>
                <c:pt idx="746">
                  <c:v>-2.8784800000000001</c:v>
                </c:pt>
                <c:pt idx="747">
                  <c:v>-2.5967099999999999</c:v>
                </c:pt>
                <c:pt idx="748">
                  <c:v>-2.5921400000000001</c:v>
                </c:pt>
                <c:pt idx="749">
                  <c:v>-2.2537500000000001</c:v>
                </c:pt>
                <c:pt idx="750">
                  <c:v>-2.5790500000000001</c:v>
                </c:pt>
                <c:pt idx="751">
                  <c:v>-2.6858599999999999</c:v>
                </c:pt>
                <c:pt idx="752">
                  <c:v>-2.75881</c:v>
                </c:pt>
                <c:pt idx="753">
                  <c:v>-2.8353100000000002</c:v>
                </c:pt>
                <c:pt idx="754">
                  <c:v>-2.1222599999999998</c:v>
                </c:pt>
                <c:pt idx="755">
                  <c:v>-2.1950500000000002</c:v>
                </c:pt>
                <c:pt idx="756">
                  <c:v>-1.9646399999999999</c:v>
                </c:pt>
                <c:pt idx="757">
                  <c:v>-2.4944799999999998</c:v>
                </c:pt>
                <c:pt idx="758">
                  <c:v>-2.5101</c:v>
                </c:pt>
                <c:pt idx="759">
                  <c:v>-1.97733</c:v>
                </c:pt>
                <c:pt idx="760">
                  <c:v>-2.6854499999999999</c:v>
                </c:pt>
                <c:pt idx="761">
                  <c:v>-2.6443300000000001</c:v>
                </c:pt>
                <c:pt idx="762">
                  <c:v>-3.0697800000000002</c:v>
                </c:pt>
                <c:pt idx="763">
                  <c:v>-2.9899100000000001</c:v>
                </c:pt>
                <c:pt idx="764">
                  <c:v>-2.67279</c:v>
                </c:pt>
                <c:pt idx="765">
                  <c:v>-1.92659</c:v>
                </c:pt>
                <c:pt idx="766">
                  <c:v>-2.0081600000000002</c:v>
                </c:pt>
                <c:pt idx="767">
                  <c:v>-2.8835000000000002</c:v>
                </c:pt>
                <c:pt idx="768">
                  <c:v>-2.6430699999999998</c:v>
                </c:pt>
                <c:pt idx="769">
                  <c:v>-3.08602</c:v>
                </c:pt>
                <c:pt idx="770">
                  <c:v>-3.5163099999999998</c:v>
                </c:pt>
                <c:pt idx="771">
                  <c:v>-3.2229899999999998</c:v>
                </c:pt>
                <c:pt idx="772">
                  <c:v>-2.7371599999999998</c:v>
                </c:pt>
                <c:pt idx="773">
                  <c:v>-2.1301399999999999</c:v>
                </c:pt>
                <c:pt idx="774">
                  <c:v>-1.68651</c:v>
                </c:pt>
                <c:pt idx="775">
                  <c:v>-1.6397200000000001</c:v>
                </c:pt>
                <c:pt idx="776">
                  <c:v>-1.6596299999999999</c:v>
                </c:pt>
                <c:pt idx="777">
                  <c:v>-2.60507</c:v>
                </c:pt>
                <c:pt idx="778">
                  <c:v>-2.7835000000000001</c:v>
                </c:pt>
                <c:pt idx="779">
                  <c:v>-3.38015</c:v>
                </c:pt>
                <c:pt idx="780">
                  <c:v>-2.9302100000000002</c:v>
                </c:pt>
                <c:pt idx="781">
                  <c:v>-2.96509</c:v>
                </c:pt>
                <c:pt idx="782">
                  <c:v>-2.43973</c:v>
                </c:pt>
                <c:pt idx="783">
                  <c:v>-2.3443299999999998</c:v>
                </c:pt>
                <c:pt idx="784">
                  <c:v>-2.7191700000000001</c:v>
                </c:pt>
                <c:pt idx="785">
                  <c:v>-2.0436299999999998</c:v>
                </c:pt>
                <c:pt idx="786">
                  <c:v>-2.7046299999999999</c:v>
                </c:pt>
                <c:pt idx="787">
                  <c:v>-3.2490800000000002</c:v>
                </c:pt>
                <c:pt idx="788">
                  <c:v>-3.3563999999999998</c:v>
                </c:pt>
                <c:pt idx="789">
                  <c:v>-2.8560300000000001</c:v>
                </c:pt>
                <c:pt idx="790">
                  <c:v>-2.5547300000000002</c:v>
                </c:pt>
                <c:pt idx="791">
                  <c:v>-2.89825</c:v>
                </c:pt>
                <c:pt idx="792">
                  <c:v>-1.61826</c:v>
                </c:pt>
                <c:pt idx="793">
                  <c:v>-1.5923400000000001</c:v>
                </c:pt>
                <c:pt idx="794">
                  <c:v>-1.6042700000000001</c:v>
                </c:pt>
                <c:pt idx="795">
                  <c:v>-2.5461999999999998</c:v>
                </c:pt>
                <c:pt idx="796">
                  <c:v>-2.8690899999999999</c:v>
                </c:pt>
                <c:pt idx="797">
                  <c:v>-2.75563</c:v>
                </c:pt>
                <c:pt idx="798">
                  <c:v>-3.2992499999999998</c:v>
                </c:pt>
                <c:pt idx="799">
                  <c:v>-2.9890300000000001</c:v>
                </c:pt>
                <c:pt idx="800">
                  <c:v>-3.1444200000000002</c:v>
                </c:pt>
                <c:pt idx="801">
                  <c:v>-2.8388300000000002</c:v>
                </c:pt>
                <c:pt idx="802">
                  <c:v>-2.8805900000000002</c:v>
                </c:pt>
                <c:pt idx="803">
                  <c:v>-2.0967199999999999</c:v>
                </c:pt>
                <c:pt idx="804">
                  <c:v>-2.3720400000000001</c:v>
                </c:pt>
                <c:pt idx="805">
                  <c:v>-2.5061900000000001</c:v>
                </c:pt>
                <c:pt idx="806">
                  <c:v>-2.8690099999999998</c:v>
                </c:pt>
                <c:pt idx="807">
                  <c:v>-3.37677</c:v>
                </c:pt>
                <c:pt idx="808">
                  <c:v>-2.9484400000000002</c:v>
                </c:pt>
                <c:pt idx="809">
                  <c:v>-2.4206300000000001</c:v>
                </c:pt>
                <c:pt idx="810">
                  <c:v>-2.0142600000000002</c:v>
                </c:pt>
                <c:pt idx="811">
                  <c:v>-2.3221799999999999</c:v>
                </c:pt>
                <c:pt idx="812">
                  <c:v>-2.3040699999999998</c:v>
                </c:pt>
                <c:pt idx="813">
                  <c:v>-2.54183</c:v>
                </c:pt>
                <c:pt idx="814">
                  <c:v>-2.9792200000000002</c:v>
                </c:pt>
                <c:pt idx="815">
                  <c:v>-3.3474599999999999</c:v>
                </c:pt>
                <c:pt idx="816">
                  <c:v>-2.9042300000000001</c:v>
                </c:pt>
                <c:pt idx="817">
                  <c:v>-2.2877900000000002</c:v>
                </c:pt>
                <c:pt idx="818">
                  <c:v>-2.8908299999999998</c:v>
                </c:pt>
                <c:pt idx="819">
                  <c:v>-1.88252</c:v>
                </c:pt>
                <c:pt idx="820">
                  <c:v>-2.3871500000000001</c:v>
                </c:pt>
                <c:pt idx="821">
                  <c:v>-1.9682599999999999</c:v>
                </c:pt>
                <c:pt idx="822">
                  <c:v>-2.07721</c:v>
                </c:pt>
                <c:pt idx="823">
                  <c:v>-2.9014899999999999</c:v>
                </c:pt>
                <c:pt idx="824">
                  <c:v>-3.2068500000000002</c:v>
                </c:pt>
                <c:pt idx="825">
                  <c:v>-3.2734200000000002</c:v>
                </c:pt>
                <c:pt idx="826">
                  <c:v>-2.83507</c:v>
                </c:pt>
                <c:pt idx="827">
                  <c:v>-2.6459199999999998</c:v>
                </c:pt>
                <c:pt idx="828">
                  <c:v>-2.1561900000000001</c:v>
                </c:pt>
                <c:pt idx="829">
                  <c:v>-2.2551999999999999</c:v>
                </c:pt>
                <c:pt idx="830">
                  <c:v>-2.6433499999999999</c:v>
                </c:pt>
                <c:pt idx="831">
                  <c:v>-3.1934300000000002</c:v>
                </c:pt>
                <c:pt idx="832">
                  <c:v>-3.67733</c:v>
                </c:pt>
                <c:pt idx="833">
                  <c:v>-3.7625700000000002</c:v>
                </c:pt>
                <c:pt idx="834">
                  <c:v>-3.7270599999999998</c:v>
                </c:pt>
                <c:pt idx="835">
                  <c:v>-2.64018</c:v>
                </c:pt>
                <c:pt idx="836">
                  <c:v>-1.76902</c:v>
                </c:pt>
                <c:pt idx="837">
                  <c:v>-2.5628500000000001</c:v>
                </c:pt>
                <c:pt idx="838">
                  <c:v>-1.80067</c:v>
                </c:pt>
                <c:pt idx="839">
                  <c:v>-2.26471</c:v>
                </c:pt>
                <c:pt idx="840">
                  <c:v>-2.1539700000000002</c:v>
                </c:pt>
                <c:pt idx="841">
                  <c:v>-2.4806900000000001</c:v>
                </c:pt>
                <c:pt idx="842">
                  <c:v>-3.5400499999999999</c:v>
                </c:pt>
                <c:pt idx="843">
                  <c:v>-3.8035399999999999</c:v>
                </c:pt>
                <c:pt idx="844">
                  <c:v>-3.4668000000000001</c:v>
                </c:pt>
                <c:pt idx="845">
                  <c:v>-3.0575199999999998</c:v>
                </c:pt>
                <c:pt idx="846">
                  <c:v>-2.1705800000000002</c:v>
                </c:pt>
                <c:pt idx="847">
                  <c:v>-2.3810699999999998</c:v>
                </c:pt>
                <c:pt idx="848">
                  <c:v>-2.41025</c:v>
                </c:pt>
                <c:pt idx="849">
                  <c:v>-3.3772799999999998</c:v>
                </c:pt>
                <c:pt idx="850">
                  <c:v>-3.7292800000000002</c:v>
                </c:pt>
                <c:pt idx="851">
                  <c:v>-2.9297800000000001</c:v>
                </c:pt>
                <c:pt idx="852">
                  <c:v>-2.34883</c:v>
                </c:pt>
                <c:pt idx="853">
                  <c:v>-1.7971900000000001</c:v>
                </c:pt>
                <c:pt idx="854">
                  <c:v>-1.82389</c:v>
                </c:pt>
                <c:pt idx="855">
                  <c:v>-2.2020599999999999</c:v>
                </c:pt>
                <c:pt idx="856">
                  <c:v>-2.1035400000000002</c:v>
                </c:pt>
                <c:pt idx="857">
                  <c:v>-2.6798600000000001</c:v>
                </c:pt>
                <c:pt idx="858">
                  <c:v>-2.7040500000000001</c:v>
                </c:pt>
                <c:pt idx="859">
                  <c:v>-3.1593499999999999</c:v>
                </c:pt>
                <c:pt idx="860">
                  <c:v>-3.3513099999999998</c:v>
                </c:pt>
                <c:pt idx="861">
                  <c:v>-3.1669100000000001</c:v>
                </c:pt>
                <c:pt idx="862">
                  <c:v>-2.4620799999999998</c:v>
                </c:pt>
                <c:pt idx="863">
                  <c:v>-2.4586700000000001</c:v>
                </c:pt>
                <c:pt idx="864">
                  <c:v>-2.2338300000000002</c:v>
                </c:pt>
                <c:pt idx="865">
                  <c:v>-2.0830500000000001</c:v>
                </c:pt>
                <c:pt idx="866">
                  <c:v>-2.5663399999999998</c:v>
                </c:pt>
                <c:pt idx="867">
                  <c:v>-2.9857399999999998</c:v>
                </c:pt>
                <c:pt idx="868">
                  <c:v>-3.7581099999999998</c:v>
                </c:pt>
                <c:pt idx="869">
                  <c:v>-3.08839</c:v>
                </c:pt>
                <c:pt idx="870">
                  <c:v>-2.6689799999999999</c:v>
                </c:pt>
                <c:pt idx="871">
                  <c:v>-2.0396899999999998</c:v>
                </c:pt>
                <c:pt idx="872">
                  <c:v>-2.14453</c:v>
                </c:pt>
                <c:pt idx="873">
                  <c:v>-2.43499</c:v>
                </c:pt>
                <c:pt idx="874">
                  <c:v>-2.9014500000000001</c:v>
                </c:pt>
                <c:pt idx="875">
                  <c:v>-3.6121099999999999</c:v>
                </c:pt>
                <c:pt idx="876">
                  <c:v>-3.1591100000000001</c:v>
                </c:pt>
                <c:pt idx="877">
                  <c:v>-3.6351599999999999</c:v>
                </c:pt>
                <c:pt idx="878">
                  <c:v>-3.8713099999999998</c:v>
                </c:pt>
                <c:pt idx="879">
                  <c:v>-3.0509200000000001</c:v>
                </c:pt>
                <c:pt idx="880">
                  <c:v>-2.0634100000000002</c:v>
                </c:pt>
                <c:pt idx="881">
                  <c:v>-1.81786</c:v>
                </c:pt>
                <c:pt idx="882">
                  <c:v>-1.6814199999999999</c:v>
                </c:pt>
                <c:pt idx="883">
                  <c:v>-1.65201</c:v>
                </c:pt>
                <c:pt idx="884">
                  <c:v>-2.7553100000000001</c:v>
                </c:pt>
                <c:pt idx="885">
                  <c:v>-3.3472900000000001</c:v>
                </c:pt>
                <c:pt idx="886">
                  <c:v>-3.5467599999999999</c:v>
                </c:pt>
                <c:pt idx="887">
                  <c:v>-2.9633600000000002</c:v>
                </c:pt>
                <c:pt idx="888">
                  <c:v>-2.5312999999999999</c:v>
                </c:pt>
                <c:pt idx="889">
                  <c:v>-2.7358099999999999</c:v>
                </c:pt>
                <c:pt idx="890">
                  <c:v>-2.00352</c:v>
                </c:pt>
                <c:pt idx="891">
                  <c:v>-2.6380400000000002</c:v>
                </c:pt>
                <c:pt idx="892">
                  <c:v>-2.7206399999999999</c:v>
                </c:pt>
                <c:pt idx="893">
                  <c:v>-2.48108</c:v>
                </c:pt>
                <c:pt idx="894">
                  <c:v>-3.15076</c:v>
                </c:pt>
                <c:pt idx="895">
                  <c:v>-3.0510299999999999</c:v>
                </c:pt>
                <c:pt idx="896">
                  <c:v>-3.5495000000000001</c:v>
                </c:pt>
                <c:pt idx="897">
                  <c:v>-2.4760399999999998</c:v>
                </c:pt>
                <c:pt idx="898">
                  <c:v>-2.05036</c:v>
                </c:pt>
                <c:pt idx="899">
                  <c:v>-1.72109</c:v>
                </c:pt>
                <c:pt idx="900">
                  <c:v>-1.9307399999999999</c:v>
                </c:pt>
                <c:pt idx="901">
                  <c:v>-2.2478699999999998</c:v>
                </c:pt>
                <c:pt idx="902">
                  <c:v>-2.70669</c:v>
                </c:pt>
                <c:pt idx="903">
                  <c:v>-3.05247</c:v>
                </c:pt>
                <c:pt idx="904">
                  <c:v>-3.1553300000000002</c:v>
                </c:pt>
                <c:pt idx="905">
                  <c:v>-3.21258</c:v>
                </c:pt>
                <c:pt idx="906">
                  <c:v>-2.9624999999999999</c:v>
                </c:pt>
                <c:pt idx="907">
                  <c:v>-2.17001</c:v>
                </c:pt>
                <c:pt idx="908">
                  <c:v>-2.7721</c:v>
                </c:pt>
                <c:pt idx="909">
                  <c:v>-2.8235700000000001</c:v>
                </c:pt>
                <c:pt idx="910">
                  <c:v>-1.81751</c:v>
                </c:pt>
                <c:pt idx="911">
                  <c:v>-2.80443</c:v>
                </c:pt>
                <c:pt idx="912">
                  <c:v>-2.3736100000000002</c:v>
                </c:pt>
                <c:pt idx="913">
                  <c:v>-3.5206200000000001</c:v>
                </c:pt>
                <c:pt idx="914">
                  <c:v>-3.1943800000000002</c:v>
                </c:pt>
                <c:pt idx="915">
                  <c:v>-2.93208</c:v>
                </c:pt>
                <c:pt idx="916">
                  <c:v>-2.2000500000000001</c:v>
                </c:pt>
                <c:pt idx="917">
                  <c:v>-1.85063</c:v>
                </c:pt>
                <c:pt idx="918">
                  <c:v>-2.6609500000000001</c:v>
                </c:pt>
                <c:pt idx="919">
                  <c:v>-2.6631100000000001</c:v>
                </c:pt>
                <c:pt idx="920">
                  <c:v>-3.2686700000000002</c:v>
                </c:pt>
                <c:pt idx="921">
                  <c:v>-3.0714899999999998</c:v>
                </c:pt>
                <c:pt idx="922">
                  <c:v>-3.15944</c:v>
                </c:pt>
                <c:pt idx="923">
                  <c:v>-3.21685</c:v>
                </c:pt>
                <c:pt idx="924">
                  <c:v>-2.65306</c:v>
                </c:pt>
                <c:pt idx="925">
                  <c:v>-2.65639</c:v>
                </c:pt>
                <c:pt idx="926">
                  <c:v>-2.3473899999999999</c:v>
                </c:pt>
                <c:pt idx="927">
                  <c:v>-2.3370299999999999</c:v>
                </c:pt>
                <c:pt idx="928">
                  <c:v>-2.0257999999999998</c:v>
                </c:pt>
                <c:pt idx="929">
                  <c:v>-2.6525799999999999</c:v>
                </c:pt>
                <c:pt idx="930">
                  <c:v>-3.5140199999999999</c:v>
                </c:pt>
                <c:pt idx="931">
                  <c:v>-3.17306</c:v>
                </c:pt>
                <c:pt idx="932">
                  <c:v>-3.1348199999999999</c:v>
                </c:pt>
                <c:pt idx="933">
                  <c:v>-2.3495200000000001</c:v>
                </c:pt>
                <c:pt idx="934">
                  <c:v>-2.0756000000000001</c:v>
                </c:pt>
                <c:pt idx="935">
                  <c:v>-2.6434799999999998</c:v>
                </c:pt>
                <c:pt idx="936">
                  <c:v>-2.69807</c:v>
                </c:pt>
                <c:pt idx="937">
                  <c:v>-2.6971099999999999</c:v>
                </c:pt>
                <c:pt idx="938">
                  <c:v>-3.4814400000000001</c:v>
                </c:pt>
                <c:pt idx="939">
                  <c:v>-3.3532799999999998</c:v>
                </c:pt>
                <c:pt idx="940">
                  <c:v>-3.3315899999999998</c:v>
                </c:pt>
                <c:pt idx="941">
                  <c:v>-3.2543500000000001</c:v>
                </c:pt>
                <c:pt idx="942">
                  <c:v>-2.2712300000000001</c:v>
                </c:pt>
                <c:pt idx="943">
                  <c:v>-1.9485300000000001</c:v>
                </c:pt>
                <c:pt idx="944">
                  <c:v>-2.4580700000000002</c:v>
                </c:pt>
                <c:pt idx="945">
                  <c:v>-2.2237</c:v>
                </c:pt>
                <c:pt idx="946">
                  <c:v>-2.6263700000000001</c:v>
                </c:pt>
                <c:pt idx="947">
                  <c:v>-2.5851000000000002</c:v>
                </c:pt>
                <c:pt idx="948">
                  <c:v>-3.16465</c:v>
                </c:pt>
                <c:pt idx="949">
                  <c:v>-3.3838599999999999</c:v>
                </c:pt>
                <c:pt idx="950">
                  <c:v>-3.1257000000000001</c:v>
                </c:pt>
                <c:pt idx="951">
                  <c:v>-2.7905099999999998</c:v>
                </c:pt>
                <c:pt idx="952">
                  <c:v>-1.9757899999999999</c:v>
                </c:pt>
                <c:pt idx="953">
                  <c:v>-2.4490799999999999</c:v>
                </c:pt>
                <c:pt idx="954">
                  <c:v>-2.4058600000000001</c:v>
                </c:pt>
                <c:pt idx="955">
                  <c:v>-2.65496</c:v>
                </c:pt>
                <c:pt idx="956">
                  <c:v>-2.2719299999999998</c:v>
                </c:pt>
                <c:pt idx="957">
                  <c:v>-2.8449599999999999</c:v>
                </c:pt>
                <c:pt idx="958">
                  <c:v>-3.0611600000000001</c:v>
                </c:pt>
                <c:pt idx="959">
                  <c:v>-2.81372</c:v>
                </c:pt>
                <c:pt idx="960">
                  <c:v>-3.2269800000000002</c:v>
                </c:pt>
                <c:pt idx="961">
                  <c:v>-2.4937299999999998</c:v>
                </c:pt>
                <c:pt idx="962">
                  <c:v>-1.9529099999999999</c:v>
                </c:pt>
                <c:pt idx="963">
                  <c:v>-1.8585499999999999</c:v>
                </c:pt>
                <c:pt idx="964">
                  <c:v>-1.7458499999999999</c:v>
                </c:pt>
                <c:pt idx="965">
                  <c:v>-2.7444799999999998</c:v>
                </c:pt>
                <c:pt idx="966">
                  <c:v>-3.2262400000000002</c:v>
                </c:pt>
                <c:pt idx="967">
                  <c:v>-3.7123900000000001</c:v>
                </c:pt>
                <c:pt idx="968">
                  <c:v>-3.3725000000000001</c:v>
                </c:pt>
                <c:pt idx="969">
                  <c:v>-3.0402999999999998</c:v>
                </c:pt>
                <c:pt idx="970">
                  <c:v>-1.8685499999999999</c:v>
                </c:pt>
                <c:pt idx="971">
                  <c:v>-1.9824600000000001</c:v>
                </c:pt>
                <c:pt idx="972">
                  <c:v>-2.26437</c:v>
                </c:pt>
                <c:pt idx="973">
                  <c:v>-1.93289</c:v>
                </c:pt>
                <c:pt idx="974">
                  <c:v>-2.7197800000000001</c:v>
                </c:pt>
                <c:pt idx="975">
                  <c:v>-2.5928399999999998</c:v>
                </c:pt>
                <c:pt idx="976">
                  <c:v>-2.9350399999999999</c:v>
                </c:pt>
                <c:pt idx="977">
                  <c:v>-3.10242</c:v>
                </c:pt>
                <c:pt idx="978">
                  <c:v>-2.2494100000000001</c:v>
                </c:pt>
                <c:pt idx="979">
                  <c:v>-2.3875600000000001</c:v>
                </c:pt>
                <c:pt idx="980">
                  <c:v>-1.7729900000000001</c:v>
                </c:pt>
                <c:pt idx="981">
                  <c:v>-2.2783099999999998</c:v>
                </c:pt>
                <c:pt idx="982">
                  <c:v>-2.4252500000000001</c:v>
                </c:pt>
                <c:pt idx="983">
                  <c:v>-2.6768800000000001</c:v>
                </c:pt>
                <c:pt idx="984">
                  <c:v>-3.54196</c:v>
                </c:pt>
                <c:pt idx="985">
                  <c:v>-3.5911200000000001</c:v>
                </c:pt>
                <c:pt idx="986">
                  <c:v>-3.6953900000000002</c:v>
                </c:pt>
                <c:pt idx="987">
                  <c:v>-2.40605</c:v>
                </c:pt>
                <c:pt idx="988">
                  <c:v>-2.4605999999999999</c:v>
                </c:pt>
                <c:pt idx="989">
                  <c:v>-3.2837900000000002</c:v>
                </c:pt>
                <c:pt idx="990">
                  <c:v>-2.52901</c:v>
                </c:pt>
                <c:pt idx="991">
                  <c:v>-2.2643300000000002</c:v>
                </c:pt>
                <c:pt idx="992">
                  <c:v>-2.2812299999999999</c:v>
                </c:pt>
                <c:pt idx="993">
                  <c:v>-2.50739</c:v>
                </c:pt>
                <c:pt idx="994">
                  <c:v>-3.2751199999999998</c:v>
                </c:pt>
                <c:pt idx="995">
                  <c:v>-3.0655600000000001</c:v>
                </c:pt>
                <c:pt idx="996">
                  <c:v>-2.9024899999999998</c:v>
                </c:pt>
                <c:pt idx="997">
                  <c:v>-2.24498</c:v>
                </c:pt>
                <c:pt idx="998">
                  <c:v>-2.2588900000000001</c:v>
                </c:pt>
                <c:pt idx="999">
                  <c:v>-2.31664</c:v>
                </c:pt>
                <c:pt idx="1000">
                  <c:v>-2.5649600000000001</c:v>
                </c:pt>
                <c:pt idx="1001">
                  <c:v>-3.0095499999999999</c:v>
                </c:pt>
                <c:pt idx="1002">
                  <c:v>-3.0758299999999998</c:v>
                </c:pt>
                <c:pt idx="1003">
                  <c:v>-3.5125000000000002</c:v>
                </c:pt>
                <c:pt idx="1004">
                  <c:v>-2.8343099999999999</c:v>
                </c:pt>
                <c:pt idx="1005">
                  <c:v>-2.3714300000000001</c:v>
                </c:pt>
                <c:pt idx="1006">
                  <c:v>-2.70689</c:v>
                </c:pt>
                <c:pt idx="1007">
                  <c:v>-2.1598099999999998</c:v>
                </c:pt>
                <c:pt idx="1008">
                  <c:v>-2.2924600000000002</c:v>
                </c:pt>
                <c:pt idx="1009">
                  <c:v>-1.88534</c:v>
                </c:pt>
                <c:pt idx="1010">
                  <c:v>-2.5162200000000001</c:v>
                </c:pt>
                <c:pt idx="1011">
                  <c:v>-3.0655899999999998</c:v>
                </c:pt>
                <c:pt idx="1012">
                  <c:v>-3.6566800000000002</c:v>
                </c:pt>
                <c:pt idx="1013">
                  <c:v>-3.6585899999999998</c:v>
                </c:pt>
                <c:pt idx="1014">
                  <c:v>-3.2710900000000001</c:v>
                </c:pt>
                <c:pt idx="1015">
                  <c:v>-2.2629700000000001</c:v>
                </c:pt>
                <c:pt idx="1016">
                  <c:v>-2.2608899999999998</c:v>
                </c:pt>
                <c:pt idx="1017">
                  <c:v>-2.3284099999999999</c:v>
                </c:pt>
                <c:pt idx="1018">
                  <c:v>-2.1375799999999998</c:v>
                </c:pt>
                <c:pt idx="1019">
                  <c:v>-3.2808799999999998</c:v>
                </c:pt>
                <c:pt idx="1020">
                  <c:v>-3.23062</c:v>
                </c:pt>
                <c:pt idx="1021">
                  <c:v>-2.6966199999999998</c:v>
                </c:pt>
                <c:pt idx="1022">
                  <c:v>-2.7163900000000001</c:v>
                </c:pt>
                <c:pt idx="1023">
                  <c:v>-2.2004199999999998</c:v>
                </c:pt>
                <c:pt idx="1024">
                  <c:v>-2.45933</c:v>
                </c:pt>
                <c:pt idx="1025">
                  <c:v>-2.2622200000000001</c:v>
                </c:pt>
                <c:pt idx="1026">
                  <c:v>-2.1741899999999998</c:v>
                </c:pt>
                <c:pt idx="1027">
                  <c:v>-2.1493799999999998</c:v>
                </c:pt>
                <c:pt idx="1028">
                  <c:v>-2.6240100000000002</c:v>
                </c:pt>
                <c:pt idx="1029">
                  <c:v>-2.9494899999999999</c:v>
                </c:pt>
                <c:pt idx="1030">
                  <c:v>-3.7827199999999999</c:v>
                </c:pt>
                <c:pt idx="1031">
                  <c:v>-3.7836599999999998</c:v>
                </c:pt>
                <c:pt idx="1032">
                  <c:v>-2.7492299999999998</c:v>
                </c:pt>
                <c:pt idx="1033">
                  <c:v>-2.4241799999999998</c:v>
                </c:pt>
                <c:pt idx="1034">
                  <c:v>-2.1351900000000001</c:v>
                </c:pt>
                <c:pt idx="1035">
                  <c:v>-2.3949799999999999</c:v>
                </c:pt>
                <c:pt idx="1036">
                  <c:v>-2.8484600000000002</c:v>
                </c:pt>
                <c:pt idx="1037">
                  <c:v>-2.6435900000000001</c:v>
                </c:pt>
                <c:pt idx="1038">
                  <c:v>-3.2716400000000001</c:v>
                </c:pt>
                <c:pt idx="1039">
                  <c:v>-2.5167899999999999</c:v>
                </c:pt>
                <c:pt idx="1040">
                  <c:v>-2.1172900000000001</c:v>
                </c:pt>
                <c:pt idx="1041">
                  <c:v>-2.5186700000000002</c:v>
                </c:pt>
                <c:pt idx="1042">
                  <c:v>-2.2224599999999999</c:v>
                </c:pt>
                <c:pt idx="1043">
                  <c:v>-1.93404</c:v>
                </c:pt>
                <c:pt idx="1044">
                  <c:v>-2.1535799999999998</c:v>
                </c:pt>
                <c:pt idx="1045">
                  <c:v>-2.7626300000000001</c:v>
                </c:pt>
                <c:pt idx="1046">
                  <c:v>-3.34789</c:v>
                </c:pt>
                <c:pt idx="1047">
                  <c:v>-3.62121</c:v>
                </c:pt>
                <c:pt idx="1048">
                  <c:v>-2.9491100000000001</c:v>
                </c:pt>
                <c:pt idx="1049">
                  <c:v>-2.8229899999999999</c:v>
                </c:pt>
                <c:pt idx="1050">
                  <c:v>-2.4209299999999998</c:v>
                </c:pt>
                <c:pt idx="1051">
                  <c:v>-2.2415699999999998</c:v>
                </c:pt>
                <c:pt idx="1052">
                  <c:v>-1.9688600000000001</c:v>
                </c:pt>
                <c:pt idx="1053">
                  <c:v>-2.3228300000000002</c:v>
                </c:pt>
                <c:pt idx="1054">
                  <c:v>-2.7669600000000001</c:v>
                </c:pt>
                <c:pt idx="1055">
                  <c:v>-2.87792</c:v>
                </c:pt>
                <c:pt idx="1056">
                  <c:v>-3.0081699999999998</c:v>
                </c:pt>
                <c:pt idx="1057">
                  <c:v>-2.5676800000000002</c:v>
                </c:pt>
                <c:pt idx="1058">
                  <c:v>-2.5651600000000001</c:v>
                </c:pt>
                <c:pt idx="1059">
                  <c:v>-2.9138199999999999</c:v>
                </c:pt>
                <c:pt idx="1060">
                  <c:v>-2.3778600000000001</c:v>
                </c:pt>
                <c:pt idx="1061">
                  <c:v>-2.1485400000000001</c:v>
                </c:pt>
                <c:pt idx="1062">
                  <c:v>-1.9359900000000001</c:v>
                </c:pt>
                <c:pt idx="1063">
                  <c:v>-3.1013299999999999</c:v>
                </c:pt>
                <c:pt idx="1064">
                  <c:v>-3.2601499999999999</c:v>
                </c:pt>
                <c:pt idx="1065">
                  <c:v>-3.9310399999999999</c:v>
                </c:pt>
                <c:pt idx="1066">
                  <c:v>-3.3016700000000001</c:v>
                </c:pt>
                <c:pt idx="1067">
                  <c:v>-2.5118900000000002</c:v>
                </c:pt>
                <c:pt idx="1068">
                  <c:v>-1.9699599999999999</c:v>
                </c:pt>
                <c:pt idx="1069">
                  <c:v>-1.74312</c:v>
                </c:pt>
                <c:pt idx="1070">
                  <c:v>-2.5794899999999998</c:v>
                </c:pt>
                <c:pt idx="1071">
                  <c:v>-2.5098600000000002</c:v>
                </c:pt>
                <c:pt idx="1072">
                  <c:v>-2.61877</c:v>
                </c:pt>
                <c:pt idx="1073">
                  <c:v>-2.93194</c:v>
                </c:pt>
                <c:pt idx="1074">
                  <c:v>-3.2219500000000001</c:v>
                </c:pt>
                <c:pt idx="1075">
                  <c:v>-3.4483899999999998</c:v>
                </c:pt>
                <c:pt idx="1076">
                  <c:v>-2.9220600000000001</c:v>
                </c:pt>
                <c:pt idx="1077">
                  <c:v>-3.05789</c:v>
                </c:pt>
                <c:pt idx="1078">
                  <c:v>-2.8728699999999998</c:v>
                </c:pt>
                <c:pt idx="1079">
                  <c:v>-2.1028699999999998</c:v>
                </c:pt>
                <c:pt idx="1080">
                  <c:v>-2.3738700000000001</c:v>
                </c:pt>
                <c:pt idx="1081">
                  <c:v>-2.40266</c:v>
                </c:pt>
                <c:pt idx="1082">
                  <c:v>-3.5640700000000001</c:v>
                </c:pt>
                <c:pt idx="1083">
                  <c:v>-3.35459</c:v>
                </c:pt>
                <c:pt idx="1084">
                  <c:v>-2.6754099999999998</c:v>
                </c:pt>
                <c:pt idx="1085">
                  <c:v>-2.1040199999999998</c:v>
                </c:pt>
                <c:pt idx="1086">
                  <c:v>-2.1392899999999999</c:v>
                </c:pt>
                <c:pt idx="1087">
                  <c:v>-2.14141</c:v>
                </c:pt>
                <c:pt idx="1088">
                  <c:v>-1.9505300000000001</c:v>
                </c:pt>
                <c:pt idx="1089">
                  <c:v>-2.9484599999999999</c:v>
                </c:pt>
                <c:pt idx="1090">
                  <c:v>-3.8742800000000002</c:v>
                </c:pt>
                <c:pt idx="1091">
                  <c:v>-3.87018</c:v>
                </c:pt>
                <c:pt idx="1092">
                  <c:v>-3.77589</c:v>
                </c:pt>
                <c:pt idx="1093">
                  <c:v>-2.97262</c:v>
                </c:pt>
                <c:pt idx="1094">
                  <c:v>-2.5701000000000001</c:v>
                </c:pt>
                <c:pt idx="1095">
                  <c:v>-2.4733700000000001</c:v>
                </c:pt>
                <c:pt idx="1096">
                  <c:v>-1.8896299999999999</c:v>
                </c:pt>
                <c:pt idx="1097">
                  <c:v>-2.7900399999999999</c:v>
                </c:pt>
                <c:pt idx="1098">
                  <c:v>-2.3080400000000001</c:v>
                </c:pt>
                <c:pt idx="1099">
                  <c:v>-2.8933200000000001</c:v>
                </c:pt>
                <c:pt idx="1100">
                  <c:v>-3.2531599999999998</c:v>
                </c:pt>
                <c:pt idx="1101">
                  <c:v>-3.1738400000000002</c:v>
                </c:pt>
                <c:pt idx="1102">
                  <c:v>-2.93608</c:v>
                </c:pt>
                <c:pt idx="1103">
                  <c:v>-2.3563999999999998</c:v>
                </c:pt>
                <c:pt idx="1104">
                  <c:v>-1.81213</c:v>
                </c:pt>
                <c:pt idx="1105">
                  <c:v>-1.7718400000000001</c:v>
                </c:pt>
                <c:pt idx="1106">
                  <c:v>-2.2833999999999999</c:v>
                </c:pt>
                <c:pt idx="1107">
                  <c:v>-3.1941799999999998</c:v>
                </c:pt>
                <c:pt idx="1108">
                  <c:v>-3.9841199999999999</c:v>
                </c:pt>
                <c:pt idx="1109">
                  <c:v>-3.5640399999999999</c:v>
                </c:pt>
                <c:pt idx="1110">
                  <c:v>-3.1835300000000002</c:v>
                </c:pt>
                <c:pt idx="1111">
                  <c:v>-2.9017400000000002</c:v>
                </c:pt>
                <c:pt idx="1112">
                  <c:v>-2.15387</c:v>
                </c:pt>
                <c:pt idx="1113">
                  <c:v>-2.2971599999999999</c:v>
                </c:pt>
                <c:pt idx="1114">
                  <c:v>-2.3040799999999999</c:v>
                </c:pt>
                <c:pt idx="1115">
                  <c:v>-1.80385</c:v>
                </c:pt>
                <c:pt idx="1116">
                  <c:v>-2.8357999999999999</c:v>
                </c:pt>
                <c:pt idx="1117">
                  <c:v>-2.8173499999999998</c:v>
                </c:pt>
                <c:pt idx="1118">
                  <c:v>-3.2602199999999999</c:v>
                </c:pt>
                <c:pt idx="1119">
                  <c:v>-3.8391299999999999</c:v>
                </c:pt>
                <c:pt idx="1120">
                  <c:v>-3.3158500000000002</c:v>
                </c:pt>
                <c:pt idx="1121">
                  <c:v>-3.0052400000000001</c:v>
                </c:pt>
                <c:pt idx="1122">
                  <c:v>-2.10222</c:v>
                </c:pt>
                <c:pt idx="1123">
                  <c:v>-1.78026</c:v>
                </c:pt>
                <c:pt idx="1124">
                  <c:v>-2.4169399999999999</c:v>
                </c:pt>
                <c:pt idx="1125">
                  <c:v>-3.0031300000000001</c:v>
                </c:pt>
                <c:pt idx="1126">
                  <c:v>-2.75048</c:v>
                </c:pt>
                <c:pt idx="1127">
                  <c:v>-2.8696999999999999</c:v>
                </c:pt>
                <c:pt idx="1128">
                  <c:v>-2.8487200000000001</c:v>
                </c:pt>
                <c:pt idx="1129">
                  <c:v>-2.2406000000000001</c:v>
                </c:pt>
                <c:pt idx="1130">
                  <c:v>-2.2311399999999999</c:v>
                </c:pt>
                <c:pt idx="1131">
                  <c:v>-1.8072600000000001</c:v>
                </c:pt>
                <c:pt idx="1132">
                  <c:v>-1.9737800000000001</c:v>
                </c:pt>
                <c:pt idx="1133">
                  <c:v>-2.1871499999999999</c:v>
                </c:pt>
                <c:pt idx="1134">
                  <c:v>-2.6227800000000001</c:v>
                </c:pt>
                <c:pt idx="1135">
                  <c:v>-2.8589199999999999</c:v>
                </c:pt>
                <c:pt idx="1136">
                  <c:v>-3.37696</c:v>
                </c:pt>
                <c:pt idx="1137">
                  <c:v>-3.8245200000000001</c:v>
                </c:pt>
                <c:pt idx="1138">
                  <c:v>-3.2138200000000001</c:v>
                </c:pt>
                <c:pt idx="1139">
                  <c:v>-2.9140000000000001</c:v>
                </c:pt>
                <c:pt idx="1140">
                  <c:v>-1.7052700000000001</c:v>
                </c:pt>
                <c:pt idx="1141">
                  <c:v>-1.9057299999999999</c:v>
                </c:pt>
                <c:pt idx="1142">
                  <c:v>-2.6996600000000002</c:v>
                </c:pt>
                <c:pt idx="1143">
                  <c:v>-2.6353399999999998</c:v>
                </c:pt>
                <c:pt idx="1144">
                  <c:v>-3.5641799999999999</c:v>
                </c:pt>
                <c:pt idx="1145">
                  <c:v>-3.13896</c:v>
                </c:pt>
                <c:pt idx="1146">
                  <c:v>-2.8018800000000001</c:v>
                </c:pt>
                <c:pt idx="1147">
                  <c:v>-2.7136100000000001</c:v>
                </c:pt>
                <c:pt idx="1148">
                  <c:v>-2.10826</c:v>
                </c:pt>
                <c:pt idx="1149">
                  <c:v>-1.6788799999999999</c:v>
                </c:pt>
                <c:pt idx="1150">
                  <c:v>-2.2285599999999999</c:v>
                </c:pt>
                <c:pt idx="1151">
                  <c:v>-2.8244199999999999</c:v>
                </c:pt>
                <c:pt idx="1152">
                  <c:v>-3.5133299999999998</c:v>
                </c:pt>
                <c:pt idx="1153">
                  <c:v>-3.6593100000000001</c:v>
                </c:pt>
                <c:pt idx="1154">
                  <c:v>-3.67516</c:v>
                </c:pt>
                <c:pt idx="1155">
                  <c:v>-2.7787500000000001</c:v>
                </c:pt>
                <c:pt idx="1156">
                  <c:v>-2.7587100000000002</c:v>
                </c:pt>
                <c:pt idx="1157">
                  <c:v>-2.1930000000000001</c:v>
                </c:pt>
                <c:pt idx="1158">
                  <c:v>-2.4023500000000002</c:v>
                </c:pt>
                <c:pt idx="1159">
                  <c:v>-2.3216800000000002</c:v>
                </c:pt>
                <c:pt idx="1160">
                  <c:v>-3.2502399999999998</c:v>
                </c:pt>
                <c:pt idx="1161">
                  <c:v>-3.2639100000000001</c:v>
                </c:pt>
                <c:pt idx="1162">
                  <c:v>-3.25956</c:v>
                </c:pt>
                <c:pt idx="1163">
                  <c:v>-2.79575</c:v>
                </c:pt>
                <c:pt idx="1164">
                  <c:v>-4.08725</c:v>
                </c:pt>
                <c:pt idx="1165">
                  <c:v>-4.0498799999999999</c:v>
                </c:pt>
                <c:pt idx="1166">
                  <c:v>-4.1337099999999998</c:v>
                </c:pt>
                <c:pt idx="1167">
                  <c:v>-3.2031900000000002</c:v>
                </c:pt>
                <c:pt idx="1168">
                  <c:v>-2.5809600000000001</c:v>
                </c:pt>
                <c:pt idx="1169">
                  <c:v>-2.1783700000000001</c:v>
                </c:pt>
                <c:pt idx="1170">
                  <c:v>-2.3847900000000002</c:v>
                </c:pt>
                <c:pt idx="1171">
                  <c:v>-2.6874099999999999</c:v>
                </c:pt>
                <c:pt idx="1172">
                  <c:v>-2.9926900000000001</c:v>
                </c:pt>
                <c:pt idx="1173">
                  <c:v>-1.8912599999999999</c:v>
                </c:pt>
                <c:pt idx="1174">
                  <c:v>-1.9041600000000001</c:v>
                </c:pt>
                <c:pt idx="1175">
                  <c:v>-0.83096300000000001</c:v>
                </c:pt>
                <c:pt idx="1176">
                  <c:v>-1.34935</c:v>
                </c:pt>
                <c:pt idx="1177">
                  <c:v>-1.4744200000000001</c:v>
                </c:pt>
                <c:pt idx="1178">
                  <c:v>-2.0343599999999999</c:v>
                </c:pt>
                <c:pt idx="1179">
                  <c:v>-2.3161100000000001</c:v>
                </c:pt>
                <c:pt idx="1180">
                  <c:v>-2.4935999999999998</c:v>
                </c:pt>
                <c:pt idx="1181">
                  <c:v>-3.6260699999999999</c:v>
                </c:pt>
                <c:pt idx="1182">
                  <c:v>-3.7761300000000002</c:v>
                </c:pt>
                <c:pt idx="1183">
                  <c:v>-3.8466</c:v>
                </c:pt>
                <c:pt idx="1184">
                  <c:v>-2.9279199999999999</c:v>
                </c:pt>
                <c:pt idx="1185">
                  <c:v>-2.8420999999999998</c:v>
                </c:pt>
                <c:pt idx="1186">
                  <c:v>-2.8948900000000002</c:v>
                </c:pt>
                <c:pt idx="1187">
                  <c:v>-2.84036</c:v>
                </c:pt>
                <c:pt idx="1188">
                  <c:v>-3.0308099999999998</c:v>
                </c:pt>
                <c:pt idx="1189">
                  <c:v>-3.43221</c:v>
                </c:pt>
                <c:pt idx="1190">
                  <c:v>-3.18567</c:v>
                </c:pt>
                <c:pt idx="1191">
                  <c:v>-2.4180299999999999</c:v>
                </c:pt>
                <c:pt idx="1192">
                  <c:v>-1.7992600000000001</c:v>
                </c:pt>
                <c:pt idx="1193">
                  <c:v>-2.0948099999999998</c:v>
                </c:pt>
                <c:pt idx="1194">
                  <c:v>-1.60483</c:v>
                </c:pt>
                <c:pt idx="1195">
                  <c:v>-2.38869</c:v>
                </c:pt>
                <c:pt idx="1196">
                  <c:v>-2.77786</c:v>
                </c:pt>
                <c:pt idx="1197">
                  <c:v>-2.6267399999999999</c:v>
                </c:pt>
                <c:pt idx="1198">
                  <c:v>-2.8115000000000001</c:v>
                </c:pt>
                <c:pt idx="1199">
                  <c:v>-3.1037300000000001</c:v>
                </c:pt>
                <c:pt idx="1200">
                  <c:v>-2.7302300000000002</c:v>
                </c:pt>
                <c:pt idx="1201">
                  <c:v>-2.1073200000000001</c:v>
                </c:pt>
                <c:pt idx="1202">
                  <c:v>-1.9610799999999999</c:v>
                </c:pt>
                <c:pt idx="1203">
                  <c:v>-2.45418</c:v>
                </c:pt>
                <c:pt idx="1204">
                  <c:v>-2.8736199999999998</c:v>
                </c:pt>
                <c:pt idx="1205">
                  <c:v>-3.1877499999999999</c:v>
                </c:pt>
                <c:pt idx="1206">
                  <c:v>-3.7368399999999999</c:v>
                </c:pt>
                <c:pt idx="1207">
                  <c:v>-3.1069399999999998</c:v>
                </c:pt>
                <c:pt idx="1208">
                  <c:v>-2.2517900000000002</c:v>
                </c:pt>
                <c:pt idx="1209">
                  <c:v>-2.0595599999999998</c:v>
                </c:pt>
                <c:pt idx="1210">
                  <c:v>-2.2060399999999998</c:v>
                </c:pt>
                <c:pt idx="1211">
                  <c:v>-2.2695699999999999</c:v>
                </c:pt>
                <c:pt idx="1212">
                  <c:v>-2.25529</c:v>
                </c:pt>
                <c:pt idx="1213">
                  <c:v>-3.51973</c:v>
                </c:pt>
                <c:pt idx="1214">
                  <c:v>-2.93275</c:v>
                </c:pt>
                <c:pt idx="1215">
                  <c:v>-3.4028999999999998</c:v>
                </c:pt>
                <c:pt idx="1216">
                  <c:v>-3.5237400000000001</c:v>
                </c:pt>
                <c:pt idx="1217">
                  <c:v>-3.20255</c:v>
                </c:pt>
                <c:pt idx="1218">
                  <c:v>-2.17537</c:v>
                </c:pt>
                <c:pt idx="1219">
                  <c:v>-1.4875100000000001</c:v>
                </c:pt>
                <c:pt idx="1220">
                  <c:v>-2.1543399999999999</c:v>
                </c:pt>
                <c:pt idx="1221">
                  <c:v>-1.68184</c:v>
                </c:pt>
                <c:pt idx="1222">
                  <c:v>-3.2439499999999999</c:v>
                </c:pt>
                <c:pt idx="1223">
                  <c:v>-2.8622800000000002</c:v>
                </c:pt>
                <c:pt idx="1224">
                  <c:v>-3.1135799999999998</c:v>
                </c:pt>
                <c:pt idx="1225">
                  <c:v>-3.1876799999999998</c:v>
                </c:pt>
                <c:pt idx="1226">
                  <c:v>-2.8575300000000001</c:v>
                </c:pt>
                <c:pt idx="1227">
                  <c:v>-3.0731199999999999</c:v>
                </c:pt>
                <c:pt idx="1228">
                  <c:v>-2.6075599999999999</c:v>
                </c:pt>
                <c:pt idx="1229">
                  <c:v>-2.6980900000000001</c:v>
                </c:pt>
                <c:pt idx="1230">
                  <c:v>-3.0685099999999998</c:v>
                </c:pt>
                <c:pt idx="1231">
                  <c:v>-2.58508</c:v>
                </c:pt>
                <c:pt idx="1232">
                  <c:v>-3.4563999999999999</c:v>
                </c:pt>
                <c:pt idx="1233">
                  <c:v>-2.9762499999999998</c:v>
                </c:pt>
                <c:pt idx="1234">
                  <c:v>-3.4279700000000002</c:v>
                </c:pt>
                <c:pt idx="1235">
                  <c:v>-2.9483299999999999</c:v>
                </c:pt>
                <c:pt idx="1236">
                  <c:v>-2.1909999999999998</c:v>
                </c:pt>
                <c:pt idx="1237">
                  <c:v>-1.8976599999999999</c:v>
                </c:pt>
                <c:pt idx="1238">
                  <c:v>-2.1482800000000002</c:v>
                </c:pt>
                <c:pt idx="1239">
                  <c:v>-2.4939900000000002</c:v>
                </c:pt>
                <c:pt idx="1240">
                  <c:v>-2.6169899999999999</c:v>
                </c:pt>
                <c:pt idx="1241">
                  <c:v>-3.1956500000000001</c:v>
                </c:pt>
                <c:pt idx="1242">
                  <c:v>-3.6048900000000001</c:v>
                </c:pt>
                <c:pt idx="1243">
                  <c:v>-3.6864400000000002</c:v>
                </c:pt>
                <c:pt idx="1244">
                  <c:v>-3.3117999999999999</c:v>
                </c:pt>
                <c:pt idx="1245">
                  <c:v>-2.7035100000000001</c:v>
                </c:pt>
                <c:pt idx="1246">
                  <c:v>-2.6796500000000001</c:v>
                </c:pt>
                <c:pt idx="1247">
                  <c:v>-2.3932099999999998</c:v>
                </c:pt>
                <c:pt idx="1248">
                  <c:v>-2.2818299999999998</c:v>
                </c:pt>
                <c:pt idx="1249">
                  <c:v>-3.0460600000000002</c:v>
                </c:pt>
                <c:pt idx="1250">
                  <c:v>-2.9738500000000001</c:v>
                </c:pt>
                <c:pt idx="1251">
                  <c:v>-4.0894700000000004</c:v>
                </c:pt>
                <c:pt idx="1252">
                  <c:v>-3.7515000000000001</c:v>
                </c:pt>
                <c:pt idx="1253">
                  <c:v>-3.2963200000000001</c:v>
                </c:pt>
                <c:pt idx="1254">
                  <c:v>-2.19815</c:v>
                </c:pt>
                <c:pt idx="1255">
                  <c:v>-2.0198</c:v>
                </c:pt>
                <c:pt idx="1256">
                  <c:v>-2.1188600000000002</c:v>
                </c:pt>
                <c:pt idx="1257">
                  <c:v>-2.6671200000000002</c:v>
                </c:pt>
                <c:pt idx="1258">
                  <c:v>-3.1028799999999999</c:v>
                </c:pt>
                <c:pt idx="1259">
                  <c:v>-3.97051</c:v>
                </c:pt>
                <c:pt idx="1260">
                  <c:v>-3.7554500000000002</c:v>
                </c:pt>
                <c:pt idx="1261">
                  <c:v>-3.3430300000000002</c:v>
                </c:pt>
                <c:pt idx="1262">
                  <c:v>-2.7650600000000001</c:v>
                </c:pt>
                <c:pt idx="1263">
                  <c:v>-2.3307699999999998</c:v>
                </c:pt>
                <c:pt idx="1264">
                  <c:v>-2.35371</c:v>
                </c:pt>
                <c:pt idx="1265">
                  <c:v>-2.2999299999999998</c:v>
                </c:pt>
                <c:pt idx="1266">
                  <c:v>-3.3661699999999999</c:v>
                </c:pt>
                <c:pt idx="1267">
                  <c:v>-3.0960100000000002</c:v>
                </c:pt>
                <c:pt idx="1268">
                  <c:v>-2.92645</c:v>
                </c:pt>
                <c:pt idx="1269">
                  <c:v>-3.78674</c:v>
                </c:pt>
                <c:pt idx="1270">
                  <c:v>-3.1395400000000002</c:v>
                </c:pt>
                <c:pt idx="1271">
                  <c:v>-3.0144099999999998</c:v>
                </c:pt>
                <c:pt idx="1272">
                  <c:v>-2.5429200000000001</c:v>
                </c:pt>
                <c:pt idx="1273">
                  <c:v>-2.0337700000000001</c:v>
                </c:pt>
                <c:pt idx="1274">
                  <c:v>-2.30226</c:v>
                </c:pt>
                <c:pt idx="1275">
                  <c:v>-3.3769300000000002</c:v>
                </c:pt>
                <c:pt idx="1276">
                  <c:v>-3.7635000000000001</c:v>
                </c:pt>
                <c:pt idx="1277">
                  <c:v>-3.03146</c:v>
                </c:pt>
                <c:pt idx="1278">
                  <c:v>-3.1038000000000001</c:v>
                </c:pt>
                <c:pt idx="1279">
                  <c:v>-2.37073</c:v>
                </c:pt>
                <c:pt idx="1280">
                  <c:v>-2.6274199999999999</c:v>
                </c:pt>
                <c:pt idx="1281">
                  <c:v>-2.9921700000000002</c:v>
                </c:pt>
                <c:pt idx="1282">
                  <c:v>-2.2077200000000001</c:v>
                </c:pt>
                <c:pt idx="1283">
                  <c:v>-2.48482</c:v>
                </c:pt>
                <c:pt idx="1284">
                  <c:v>-2.3597600000000001</c:v>
                </c:pt>
                <c:pt idx="1285">
                  <c:v>-2.8342000000000001</c:v>
                </c:pt>
                <c:pt idx="1286">
                  <c:v>-3.5273500000000002</c:v>
                </c:pt>
                <c:pt idx="1287">
                  <c:v>-3.31121</c:v>
                </c:pt>
                <c:pt idx="1288">
                  <c:v>-3.4394399999999998</c:v>
                </c:pt>
                <c:pt idx="1289">
                  <c:v>-3.3307099999999998</c:v>
                </c:pt>
                <c:pt idx="1290">
                  <c:v>-2.8771300000000002</c:v>
                </c:pt>
                <c:pt idx="1291">
                  <c:v>-2.0909800000000001</c:v>
                </c:pt>
                <c:pt idx="1292">
                  <c:v>-2.4688699999999999</c:v>
                </c:pt>
                <c:pt idx="1293">
                  <c:v>-3.2989700000000002</c:v>
                </c:pt>
                <c:pt idx="1294">
                  <c:v>-3.80471</c:v>
                </c:pt>
                <c:pt idx="1295">
                  <c:v>-3.1859600000000001</c:v>
                </c:pt>
                <c:pt idx="1296">
                  <c:v>-3.1229800000000001</c:v>
                </c:pt>
                <c:pt idx="1297">
                  <c:v>-3.0811899999999999</c:v>
                </c:pt>
                <c:pt idx="1298">
                  <c:v>-2.4237799999999998</c:v>
                </c:pt>
                <c:pt idx="1299">
                  <c:v>-2.17903</c:v>
                </c:pt>
                <c:pt idx="1300">
                  <c:v>-2.48495</c:v>
                </c:pt>
                <c:pt idx="1301">
                  <c:v>-2.4188800000000001</c:v>
                </c:pt>
                <c:pt idx="1302">
                  <c:v>-3.0574300000000001</c:v>
                </c:pt>
                <c:pt idx="1303">
                  <c:v>-3.3611399999999998</c:v>
                </c:pt>
                <c:pt idx="1304">
                  <c:v>-3.9280300000000001</c:v>
                </c:pt>
                <c:pt idx="1305">
                  <c:v>-3.7800600000000002</c:v>
                </c:pt>
                <c:pt idx="1306">
                  <c:v>-4.0159700000000003</c:v>
                </c:pt>
                <c:pt idx="1307">
                  <c:v>-3.2423600000000001</c:v>
                </c:pt>
                <c:pt idx="1308">
                  <c:v>-2.20749</c:v>
                </c:pt>
                <c:pt idx="1309">
                  <c:v>-2.17448</c:v>
                </c:pt>
                <c:pt idx="1310">
                  <c:v>-2.39568</c:v>
                </c:pt>
                <c:pt idx="1311">
                  <c:v>-3.55281</c:v>
                </c:pt>
                <c:pt idx="1312">
                  <c:v>-3.2178100000000001</c:v>
                </c:pt>
                <c:pt idx="1313">
                  <c:v>-3.2761999999999998</c:v>
                </c:pt>
                <c:pt idx="1314">
                  <c:v>-3.3602300000000001</c:v>
                </c:pt>
                <c:pt idx="1315">
                  <c:v>-2.9256899999999999</c:v>
                </c:pt>
                <c:pt idx="1316">
                  <c:v>-2.6131899999999999</c:v>
                </c:pt>
                <c:pt idx="1317">
                  <c:v>-2.7467000000000001</c:v>
                </c:pt>
                <c:pt idx="1318">
                  <c:v>-2.7469399999999999</c:v>
                </c:pt>
                <c:pt idx="1319">
                  <c:v>-3.0145900000000001</c:v>
                </c:pt>
                <c:pt idx="1320">
                  <c:v>-3.8043499999999999</c:v>
                </c:pt>
                <c:pt idx="1321">
                  <c:v>-4.1218199999999996</c:v>
                </c:pt>
                <c:pt idx="1322">
                  <c:v>-3.9303400000000002</c:v>
                </c:pt>
                <c:pt idx="1323">
                  <c:v>-3.7517200000000002</c:v>
                </c:pt>
                <c:pt idx="1324">
                  <c:v>-2.6125799999999999</c:v>
                </c:pt>
                <c:pt idx="1325">
                  <c:v>-2.2440699999999998</c:v>
                </c:pt>
                <c:pt idx="1326">
                  <c:v>-1.66815</c:v>
                </c:pt>
                <c:pt idx="1327">
                  <c:v>-2.4616400000000001</c:v>
                </c:pt>
                <c:pt idx="1328">
                  <c:v>-2.1895899999999999</c:v>
                </c:pt>
                <c:pt idx="1329">
                  <c:v>-3.6811500000000001</c:v>
                </c:pt>
                <c:pt idx="1330">
                  <c:v>-3.5693800000000002</c:v>
                </c:pt>
                <c:pt idx="1331">
                  <c:v>-3.6331500000000001</c:v>
                </c:pt>
                <c:pt idx="1332">
                  <c:v>-3.8462299999999998</c:v>
                </c:pt>
                <c:pt idx="1333">
                  <c:v>-3.41892</c:v>
                </c:pt>
                <c:pt idx="1334">
                  <c:v>-3.4113500000000001</c:v>
                </c:pt>
                <c:pt idx="1335">
                  <c:v>-2.3416999999999999</c:v>
                </c:pt>
                <c:pt idx="1336">
                  <c:v>-2.7300300000000002</c:v>
                </c:pt>
                <c:pt idx="1337">
                  <c:v>-3.2682000000000002</c:v>
                </c:pt>
                <c:pt idx="1338">
                  <c:v>-3.57673</c:v>
                </c:pt>
                <c:pt idx="1339">
                  <c:v>-4.1043200000000004</c:v>
                </c:pt>
                <c:pt idx="1340">
                  <c:v>-3.6920199999999999</c:v>
                </c:pt>
                <c:pt idx="1341">
                  <c:v>-3.8838900000000001</c:v>
                </c:pt>
                <c:pt idx="1342">
                  <c:v>-2.9949400000000002</c:v>
                </c:pt>
                <c:pt idx="1343">
                  <c:v>-2.5370599999999999</c:v>
                </c:pt>
                <c:pt idx="1344">
                  <c:v>-3.1184099999999999</c:v>
                </c:pt>
                <c:pt idx="1345">
                  <c:v>-2.6596000000000002</c:v>
                </c:pt>
                <c:pt idx="1346">
                  <c:v>-3.19828</c:v>
                </c:pt>
                <c:pt idx="1347">
                  <c:v>-2.80043</c:v>
                </c:pt>
                <c:pt idx="1348">
                  <c:v>-2.8165800000000001</c:v>
                </c:pt>
                <c:pt idx="1349">
                  <c:v>-3.5427300000000002</c:v>
                </c:pt>
                <c:pt idx="1350">
                  <c:v>-3.6836700000000002</c:v>
                </c:pt>
                <c:pt idx="1351">
                  <c:v>-3.6979299999999999</c:v>
                </c:pt>
                <c:pt idx="1352">
                  <c:v>-2.8405800000000001</c:v>
                </c:pt>
                <c:pt idx="1353">
                  <c:v>-2.1179899999999998</c:v>
                </c:pt>
                <c:pt idx="1354">
                  <c:v>-2.2276400000000001</c:v>
                </c:pt>
                <c:pt idx="1355">
                  <c:v>-2.8158500000000002</c:v>
                </c:pt>
                <c:pt idx="1356">
                  <c:v>-2.9476599999999999</c:v>
                </c:pt>
                <c:pt idx="1357">
                  <c:v>-3.6820599999999999</c:v>
                </c:pt>
                <c:pt idx="1358">
                  <c:v>-3.4558</c:v>
                </c:pt>
                <c:pt idx="1359">
                  <c:v>-3.3294899999999998</c:v>
                </c:pt>
                <c:pt idx="1360">
                  <c:v>-2.8252700000000002</c:v>
                </c:pt>
                <c:pt idx="1361">
                  <c:v>-2.3721199999999998</c:v>
                </c:pt>
                <c:pt idx="1362">
                  <c:v>-2.32822</c:v>
                </c:pt>
                <c:pt idx="1363">
                  <c:v>-2.6445400000000001</c:v>
                </c:pt>
                <c:pt idx="1364">
                  <c:v>-3.3540700000000001</c:v>
                </c:pt>
                <c:pt idx="1365">
                  <c:v>-4.1876600000000002</c:v>
                </c:pt>
                <c:pt idx="1366">
                  <c:v>-3.61815</c:v>
                </c:pt>
                <c:pt idx="1367">
                  <c:v>-3.5356999999999998</c:v>
                </c:pt>
                <c:pt idx="1368">
                  <c:v>-2.7341099999999998</c:v>
                </c:pt>
                <c:pt idx="1369">
                  <c:v>-2.6307</c:v>
                </c:pt>
                <c:pt idx="1370">
                  <c:v>-2.6489099999999999</c:v>
                </c:pt>
                <c:pt idx="1371">
                  <c:v>-2.02006</c:v>
                </c:pt>
                <c:pt idx="1372">
                  <c:v>-3.09388</c:v>
                </c:pt>
                <c:pt idx="1373">
                  <c:v>-2.7939400000000001</c:v>
                </c:pt>
                <c:pt idx="1374">
                  <c:v>-3.5028600000000001</c:v>
                </c:pt>
                <c:pt idx="1375">
                  <c:v>-3.2449400000000002</c:v>
                </c:pt>
                <c:pt idx="1376">
                  <c:v>-2.8194499999999998</c:v>
                </c:pt>
                <c:pt idx="1377">
                  <c:v>-2.9661900000000001</c:v>
                </c:pt>
                <c:pt idx="1378">
                  <c:v>-2.6069499999999999</c:v>
                </c:pt>
                <c:pt idx="1379">
                  <c:v>-2.7157100000000001</c:v>
                </c:pt>
                <c:pt idx="1380">
                  <c:v>-2.7366299999999999</c:v>
                </c:pt>
                <c:pt idx="1381">
                  <c:v>-2.5014699999999999</c:v>
                </c:pt>
                <c:pt idx="1382">
                  <c:v>-3.2583000000000002</c:v>
                </c:pt>
                <c:pt idx="1383">
                  <c:v>-3.3403100000000001</c:v>
                </c:pt>
                <c:pt idx="1384">
                  <c:v>-3.8448899999999999</c:v>
                </c:pt>
                <c:pt idx="1385">
                  <c:v>-2.6462599999999998</c:v>
                </c:pt>
                <c:pt idx="1386">
                  <c:v>-2.6294900000000001</c:v>
                </c:pt>
                <c:pt idx="1387">
                  <c:v>-2.34972</c:v>
                </c:pt>
                <c:pt idx="1388">
                  <c:v>-2.4531999999999998</c:v>
                </c:pt>
                <c:pt idx="1389">
                  <c:v>-2.93818</c:v>
                </c:pt>
                <c:pt idx="1390">
                  <c:v>-3.1221399999999999</c:v>
                </c:pt>
                <c:pt idx="1391">
                  <c:v>-3.2341299999999999</c:v>
                </c:pt>
                <c:pt idx="1392">
                  <c:v>-3.57572</c:v>
                </c:pt>
                <c:pt idx="1393">
                  <c:v>-3.5056500000000002</c:v>
                </c:pt>
                <c:pt idx="1394">
                  <c:v>-3.1244999999999998</c:v>
                </c:pt>
                <c:pt idx="1395">
                  <c:v>-2.8219099999999999</c:v>
                </c:pt>
                <c:pt idx="1396">
                  <c:v>-2.5382799999999999</c:v>
                </c:pt>
                <c:pt idx="1397">
                  <c:v>-2.3586499999999999</c:v>
                </c:pt>
                <c:pt idx="1398">
                  <c:v>-2.6639300000000001</c:v>
                </c:pt>
                <c:pt idx="1399">
                  <c:v>-3.2252800000000001</c:v>
                </c:pt>
                <c:pt idx="1400">
                  <c:v>-3.8075899999999998</c:v>
                </c:pt>
                <c:pt idx="1401">
                  <c:v>-3.0918299999999999</c:v>
                </c:pt>
                <c:pt idx="1402">
                  <c:v>-2.8406799999999999</c:v>
                </c:pt>
                <c:pt idx="1403">
                  <c:v>-2.4592299999999998</c:v>
                </c:pt>
                <c:pt idx="1404">
                  <c:v>-2.3386900000000002</c:v>
                </c:pt>
                <c:pt idx="1405">
                  <c:v>-2.4362900000000001</c:v>
                </c:pt>
                <c:pt idx="1406">
                  <c:v>-2.0471300000000001</c:v>
                </c:pt>
                <c:pt idx="1407">
                  <c:v>-2.2543700000000002</c:v>
                </c:pt>
                <c:pt idx="1408">
                  <c:v>-3.0592700000000002</c:v>
                </c:pt>
                <c:pt idx="1409">
                  <c:v>-3.7449699999999999</c:v>
                </c:pt>
                <c:pt idx="1410">
                  <c:v>-4.3646599999999998</c:v>
                </c:pt>
                <c:pt idx="1411">
                  <c:v>-3.37663</c:v>
                </c:pt>
                <c:pt idx="1412">
                  <c:v>-2.9471099999999999</c:v>
                </c:pt>
                <c:pt idx="1413">
                  <c:v>-2.5016500000000002</c:v>
                </c:pt>
                <c:pt idx="1414">
                  <c:v>-2.1802100000000002</c:v>
                </c:pt>
                <c:pt idx="1415">
                  <c:v>-2.1730499999999999</c:v>
                </c:pt>
                <c:pt idx="1416">
                  <c:v>-2.2787299999999999</c:v>
                </c:pt>
                <c:pt idx="1417">
                  <c:v>-3.0821399999999999</c:v>
                </c:pt>
                <c:pt idx="1418">
                  <c:v>-4.0098399999999996</c:v>
                </c:pt>
                <c:pt idx="1419">
                  <c:v>-3.5508700000000002</c:v>
                </c:pt>
                <c:pt idx="1420">
                  <c:v>-3.1969599999999998</c:v>
                </c:pt>
                <c:pt idx="1421">
                  <c:v>-2.1729599999999998</c:v>
                </c:pt>
                <c:pt idx="1422">
                  <c:v>-2.1199499999999998</c:v>
                </c:pt>
                <c:pt idx="1423">
                  <c:v>-1.93927</c:v>
                </c:pt>
                <c:pt idx="1424">
                  <c:v>-2.7446299999999999</c:v>
                </c:pt>
                <c:pt idx="1425">
                  <c:v>-3.6835200000000001</c:v>
                </c:pt>
                <c:pt idx="1426">
                  <c:v>-3.92286</c:v>
                </c:pt>
                <c:pt idx="1427">
                  <c:v>-3.4035099999999998</c:v>
                </c:pt>
                <c:pt idx="1428">
                  <c:v>-3.6427</c:v>
                </c:pt>
                <c:pt idx="1429">
                  <c:v>-3.2438600000000002</c:v>
                </c:pt>
                <c:pt idx="1430">
                  <c:v>-2.73773</c:v>
                </c:pt>
                <c:pt idx="1431">
                  <c:v>-2.5709900000000001</c:v>
                </c:pt>
                <c:pt idx="1432">
                  <c:v>-2.4684300000000001</c:v>
                </c:pt>
                <c:pt idx="1433">
                  <c:v>-2.7685</c:v>
                </c:pt>
                <c:pt idx="1434">
                  <c:v>-2.2812899999999998</c:v>
                </c:pt>
                <c:pt idx="1435">
                  <c:v>-2.8367499999999999</c:v>
                </c:pt>
                <c:pt idx="1436">
                  <c:v>-3.2219799999999998</c:v>
                </c:pt>
                <c:pt idx="1437">
                  <c:v>-3.0829900000000001</c:v>
                </c:pt>
                <c:pt idx="1438">
                  <c:v>-3.0268899999999999</c:v>
                </c:pt>
                <c:pt idx="1439">
                  <c:v>-2.6509999999999998</c:v>
                </c:pt>
                <c:pt idx="1440">
                  <c:v>-2.41153</c:v>
                </c:pt>
                <c:pt idx="1441">
                  <c:v>-1.5411900000000001</c:v>
                </c:pt>
                <c:pt idx="1442">
                  <c:v>-2.2789199999999998</c:v>
                </c:pt>
                <c:pt idx="1443">
                  <c:v>-3.3292700000000002</c:v>
                </c:pt>
                <c:pt idx="1444">
                  <c:v>-2.7831399999999999</c:v>
                </c:pt>
                <c:pt idx="1445">
                  <c:v>-3.4424100000000002</c:v>
                </c:pt>
                <c:pt idx="1446">
                  <c:v>-2.8815599999999999</c:v>
                </c:pt>
                <c:pt idx="1447">
                  <c:v>-2.8686400000000001</c:v>
                </c:pt>
                <c:pt idx="1448">
                  <c:v>-2.7824</c:v>
                </c:pt>
                <c:pt idx="1449">
                  <c:v>-2.1583399999999999</c:v>
                </c:pt>
                <c:pt idx="1450">
                  <c:v>-2.4804599999999999</c:v>
                </c:pt>
                <c:pt idx="1451">
                  <c:v>-2.43079</c:v>
                </c:pt>
                <c:pt idx="1452">
                  <c:v>-2.70804</c:v>
                </c:pt>
                <c:pt idx="1453">
                  <c:v>-3.5210400000000002</c:v>
                </c:pt>
                <c:pt idx="1454">
                  <c:v>-3.59903</c:v>
                </c:pt>
                <c:pt idx="1455">
                  <c:v>-4.1463799999999997</c:v>
                </c:pt>
                <c:pt idx="1456">
                  <c:v>-2.83406</c:v>
                </c:pt>
                <c:pt idx="1457">
                  <c:v>-2.2610800000000002</c:v>
                </c:pt>
                <c:pt idx="1458">
                  <c:v>-1.58639</c:v>
                </c:pt>
                <c:pt idx="1459">
                  <c:v>-2.2902</c:v>
                </c:pt>
                <c:pt idx="1460">
                  <c:v>-2.7970000000000002</c:v>
                </c:pt>
                <c:pt idx="1461">
                  <c:v>-2.3767800000000001</c:v>
                </c:pt>
                <c:pt idx="1462">
                  <c:v>-2.8087900000000001</c:v>
                </c:pt>
                <c:pt idx="1463">
                  <c:v>-2.6139800000000002</c:v>
                </c:pt>
                <c:pt idx="1464">
                  <c:v>-2.9189099999999999</c:v>
                </c:pt>
                <c:pt idx="1465">
                  <c:v>-3.29325</c:v>
                </c:pt>
                <c:pt idx="1466">
                  <c:v>-2.8371599999999999</c:v>
                </c:pt>
                <c:pt idx="1467">
                  <c:v>-2.4407700000000001</c:v>
                </c:pt>
                <c:pt idx="1468">
                  <c:v>-2.1587499999999999</c:v>
                </c:pt>
                <c:pt idx="1469">
                  <c:v>-2.4547099999999999</c:v>
                </c:pt>
                <c:pt idx="1470">
                  <c:v>-3.33006</c:v>
                </c:pt>
                <c:pt idx="1471">
                  <c:v>-4.0158300000000002</c:v>
                </c:pt>
                <c:pt idx="1472">
                  <c:v>-3.95967</c:v>
                </c:pt>
                <c:pt idx="1473">
                  <c:v>-4.1678600000000001</c:v>
                </c:pt>
                <c:pt idx="1474">
                  <c:v>-3.3381699999999999</c:v>
                </c:pt>
                <c:pt idx="1475">
                  <c:v>-2.9517699999999998</c:v>
                </c:pt>
                <c:pt idx="1476">
                  <c:v>-2.8999899999999998</c:v>
                </c:pt>
                <c:pt idx="1477">
                  <c:v>-2.8159000000000001</c:v>
                </c:pt>
                <c:pt idx="1478">
                  <c:v>-3.3400500000000002</c:v>
                </c:pt>
                <c:pt idx="1479">
                  <c:v>-2.55206</c:v>
                </c:pt>
                <c:pt idx="1480">
                  <c:v>-3.2504900000000001</c:v>
                </c:pt>
                <c:pt idx="1481">
                  <c:v>-3.4055300000000002</c:v>
                </c:pt>
                <c:pt idx="1482">
                  <c:v>-3.1255600000000001</c:v>
                </c:pt>
                <c:pt idx="1483">
                  <c:v>-2.7095600000000002</c:v>
                </c:pt>
                <c:pt idx="1484">
                  <c:v>-2.0543100000000001</c:v>
                </c:pt>
                <c:pt idx="1485">
                  <c:v>-2.3136299999999999</c:v>
                </c:pt>
                <c:pt idx="1486">
                  <c:v>-2.4464800000000002</c:v>
                </c:pt>
                <c:pt idx="1487">
                  <c:v>-2.9713699999999998</c:v>
                </c:pt>
                <c:pt idx="1488">
                  <c:v>-3.4751099999999999</c:v>
                </c:pt>
                <c:pt idx="1489">
                  <c:v>-3.6575000000000002</c:v>
                </c:pt>
                <c:pt idx="1490">
                  <c:v>-3.6251699999999998</c:v>
                </c:pt>
                <c:pt idx="1491">
                  <c:v>-3.01681</c:v>
                </c:pt>
                <c:pt idx="1492">
                  <c:v>-2.8453200000000001</c:v>
                </c:pt>
                <c:pt idx="1493">
                  <c:v>-3.03409</c:v>
                </c:pt>
                <c:pt idx="1494">
                  <c:v>-2.7933300000000001</c:v>
                </c:pt>
                <c:pt idx="1495">
                  <c:v>-2.9711500000000002</c:v>
                </c:pt>
                <c:pt idx="1496">
                  <c:v>-2.7951800000000002</c:v>
                </c:pt>
                <c:pt idx="1497">
                  <c:v>-3.4061300000000001</c:v>
                </c:pt>
                <c:pt idx="1498">
                  <c:v>-3.6600999999999999</c:v>
                </c:pt>
                <c:pt idx="1499">
                  <c:v>-4.0053999999999998</c:v>
                </c:pt>
                <c:pt idx="1500">
                  <c:v>-3.4937800000000001</c:v>
                </c:pt>
                <c:pt idx="1501">
                  <c:v>-3.3224300000000002</c:v>
                </c:pt>
                <c:pt idx="1502">
                  <c:v>-2.5734599999999999</c:v>
                </c:pt>
                <c:pt idx="1503">
                  <c:v>-2.4411499999999999</c:v>
                </c:pt>
                <c:pt idx="1504">
                  <c:v>-2.8626100000000001</c:v>
                </c:pt>
                <c:pt idx="1505">
                  <c:v>-3.00203</c:v>
                </c:pt>
                <c:pt idx="1506">
                  <c:v>-3.5447600000000001</c:v>
                </c:pt>
                <c:pt idx="1507">
                  <c:v>-3.1360000000000001</c:v>
                </c:pt>
                <c:pt idx="1508">
                  <c:v>-3.613</c:v>
                </c:pt>
                <c:pt idx="1509">
                  <c:v>-3.1869399999999999</c:v>
                </c:pt>
                <c:pt idx="1510">
                  <c:v>-2.62209</c:v>
                </c:pt>
                <c:pt idx="1511">
                  <c:v>-2.7074099999999999</c:v>
                </c:pt>
                <c:pt idx="1512">
                  <c:v>-2.54122</c:v>
                </c:pt>
                <c:pt idx="1513">
                  <c:v>-2.7528100000000002</c:v>
                </c:pt>
                <c:pt idx="1514">
                  <c:v>-2.7769699999999999</c:v>
                </c:pt>
                <c:pt idx="1515">
                  <c:v>-3.58914</c:v>
                </c:pt>
                <c:pt idx="1516">
                  <c:v>-3.7596699999999998</c:v>
                </c:pt>
                <c:pt idx="1517">
                  <c:v>-4.0260899999999999</c:v>
                </c:pt>
                <c:pt idx="1518">
                  <c:v>-4.0465200000000001</c:v>
                </c:pt>
                <c:pt idx="1519">
                  <c:v>-2.7061000000000002</c:v>
                </c:pt>
                <c:pt idx="1520">
                  <c:v>-2.94713</c:v>
                </c:pt>
                <c:pt idx="1521">
                  <c:v>-2.9066200000000002</c:v>
                </c:pt>
                <c:pt idx="1522">
                  <c:v>-3.5132300000000001</c:v>
                </c:pt>
                <c:pt idx="1523">
                  <c:v>-2.92144</c:v>
                </c:pt>
                <c:pt idx="1524">
                  <c:v>-3.2542200000000001</c:v>
                </c:pt>
                <c:pt idx="1525">
                  <c:v>-3.5462600000000002</c:v>
                </c:pt>
                <c:pt idx="1526">
                  <c:v>-2.79338</c:v>
                </c:pt>
                <c:pt idx="1527">
                  <c:v>-2.9947300000000001</c:v>
                </c:pt>
                <c:pt idx="1528">
                  <c:v>-2.5751200000000001</c:v>
                </c:pt>
                <c:pt idx="1529">
                  <c:v>-2.8055300000000001</c:v>
                </c:pt>
                <c:pt idx="1530">
                  <c:v>-2.4877600000000002</c:v>
                </c:pt>
                <c:pt idx="1531">
                  <c:v>-2.7292399999999999</c:v>
                </c:pt>
                <c:pt idx="1532">
                  <c:v>-2.6696</c:v>
                </c:pt>
                <c:pt idx="1533">
                  <c:v>-3.19557</c:v>
                </c:pt>
                <c:pt idx="1534">
                  <c:v>-3.9186000000000001</c:v>
                </c:pt>
                <c:pt idx="1535">
                  <c:v>-4.2316200000000004</c:v>
                </c:pt>
                <c:pt idx="1536">
                  <c:v>-3.2168700000000001</c:v>
                </c:pt>
                <c:pt idx="1537">
                  <c:v>-2.54372</c:v>
                </c:pt>
                <c:pt idx="1538">
                  <c:v>-2.4095</c:v>
                </c:pt>
                <c:pt idx="1539">
                  <c:v>-2.5498400000000001</c:v>
                </c:pt>
                <c:pt idx="1540">
                  <c:v>-2.66533</c:v>
                </c:pt>
                <c:pt idx="1541">
                  <c:v>-3.1810700000000001</c:v>
                </c:pt>
                <c:pt idx="1542">
                  <c:v>-3.54901</c:v>
                </c:pt>
                <c:pt idx="1543">
                  <c:v>-3.5260199999999999</c:v>
                </c:pt>
                <c:pt idx="1544">
                  <c:v>-3.5168200000000001</c:v>
                </c:pt>
                <c:pt idx="1545">
                  <c:v>-3.0113400000000001</c:v>
                </c:pt>
                <c:pt idx="1546">
                  <c:v>-2.99397</c:v>
                </c:pt>
                <c:pt idx="1547">
                  <c:v>-2.61151</c:v>
                </c:pt>
                <c:pt idx="1548">
                  <c:v>-3.1994099999999999</c:v>
                </c:pt>
                <c:pt idx="1549">
                  <c:v>-3.24905</c:v>
                </c:pt>
                <c:pt idx="1550">
                  <c:v>-3.44841</c:v>
                </c:pt>
                <c:pt idx="1551">
                  <c:v>-4.2555699999999996</c:v>
                </c:pt>
                <c:pt idx="1552">
                  <c:v>-4.1236899999999999</c:v>
                </c:pt>
                <c:pt idx="1553">
                  <c:v>-4.0942999999999996</c:v>
                </c:pt>
                <c:pt idx="1554">
                  <c:v>-3.31297</c:v>
                </c:pt>
                <c:pt idx="1555">
                  <c:v>-2.3629699999999998</c:v>
                </c:pt>
                <c:pt idx="1556">
                  <c:v>-2.6383299999999998</c:v>
                </c:pt>
                <c:pt idx="1557">
                  <c:v>-2.3983300000000001</c:v>
                </c:pt>
                <c:pt idx="1558">
                  <c:v>-3.2565</c:v>
                </c:pt>
                <c:pt idx="1559">
                  <c:v>-3.0694699999999999</c:v>
                </c:pt>
                <c:pt idx="1560">
                  <c:v>-3.3436499999999998</c:v>
                </c:pt>
                <c:pt idx="1561">
                  <c:v>-3.72254</c:v>
                </c:pt>
                <c:pt idx="1562">
                  <c:v>-4.0387000000000004</c:v>
                </c:pt>
                <c:pt idx="1563">
                  <c:v>-4.5517000000000003</c:v>
                </c:pt>
                <c:pt idx="1564">
                  <c:v>-3.6605699999999999</c:v>
                </c:pt>
                <c:pt idx="1565">
                  <c:v>-3.61456</c:v>
                </c:pt>
                <c:pt idx="1566">
                  <c:v>-3.0816400000000002</c:v>
                </c:pt>
                <c:pt idx="1567">
                  <c:v>-3.1892299999999998</c:v>
                </c:pt>
                <c:pt idx="1568">
                  <c:v>-2.4452799999999999</c:v>
                </c:pt>
                <c:pt idx="1569">
                  <c:v>-3.6202000000000001</c:v>
                </c:pt>
                <c:pt idx="1570">
                  <c:v>-4.0586799999999998</c:v>
                </c:pt>
                <c:pt idx="1571">
                  <c:v>-3.4766499999999998</c:v>
                </c:pt>
                <c:pt idx="1572">
                  <c:v>-3.3138100000000001</c:v>
                </c:pt>
                <c:pt idx="1573">
                  <c:v>-2.6491400000000001</c:v>
                </c:pt>
                <c:pt idx="1574">
                  <c:v>-3.03444</c:v>
                </c:pt>
                <c:pt idx="1575">
                  <c:v>-2.8038699999999999</c:v>
                </c:pt>
                <c:pt idx="1576">
                  <c:v>-2.7450000000000001</c:v>
                </c:pt>
                <c:pt idx="1577">
                  <c:v>-3.32551</c:v>
                </c:pt>
                <c:pt idx="1578">
                  <c:v>-3.6726200000000002</c:v>
                </c:pt>
                <c:pt idx="1579">
                  <c:v>-3.6797200000000001</c:v>
                </c:pt>
                <c:pt idx="1580">
                  <c:v>-3.8672</c:v>
                </c:pt>
                <c:pt idx="1581">
                  <c:v>-4.0017300000000002</c:v>
                </c:pt>
                <c:pt idx="1582">
                  <c:v>-3.3716900000000001</c:v>
                </c:pt>
                <c:pt idx="1583">
                  <c:v>-3.11537</c:v>
                </c:pt>
                <c:pt idx="1584">
                  <c:v>-2.4239700000000002</c:v>
                </c:pt>
                <c:pt idx="1585">
                  <c:v>-2.6596700000000002</c:v>
                </c:pt>
                <c:pt idx="1586">
                  <c:v>-3.0721599999999998</c:v>
                </c:pt>
                <c:pt idx="1587">
                  <c:v>-4.0357099999999999</c:v>
                </c:pt>
                <c:pt idx="1588">
                  <c:v>-4.2792700000000004</c:v>
                </c:pt>
                <c:pt idx="1589">
                  <c:v>-3.9605600000000001</c:v>
                </c:pt>
                <c:pt idx="1590">
                  <c:v>-3.0316100000000001</c:v>
                </c:pt>
                <c:pt idx="1591">
                  <c:v>-2.8685100000000001</c:v>
                </c:pt>
                <c:pt idx="1592">
                  <c:v>-2.8982899999999998</c:v>
                </c:pt>
                <c:pt idx="1593">
                  <c:v>-3.2149399999999999</c:v>
                </c:pt>
                <c:pt idx="1594">
                  <c:v>-3.4124099999999999</c:v>
                </c:pt>
                <c:pt idx="1595">
                  <c:v>-3.6812299999999998</c:v>
                </c:pt>
                <c:pt idx="1596">
                  <c:v>-3.8437600000000001</c:v>
                </c:pt>
                <c:pt idx="1597">
                  <c:v>-3.86511</c:v>
                </c:pt>
                <c:pt idx="1598">
                  <c:v>-3.4992000000000001</c:v>
                </c:pt>
                <c:pt idx="1599">
                  <c:v>-3.65937</c:v>
                </c:pt>
                <c:pt idx="1600">
                  <c:v>-2.9978899999999999</c:v>
                </c:pt>
                <c:pt idx="1601">
                  <c:v>-2.37948</c:v>
                </c:pt>
                <c:pt idx="1602">
                  <c:v>-2.7716099999999999</c:v>
                </c:pt>
                <c:pt idx="1603">
                  <c:v>-2.6091199999999999</c:v>
                </c:pt>
                <c:pt idx="1604">
                  <c:v>-3.4559600000000001</c:v>
                </c:pt>
                <c:pt idx="1605">
                  <c:v>-4.2865599999999997</c:v>
                </c:pt>
                <c:pt idx="1606">
                  <c:v>-4.3748899999999997</c:v>
                </c:pt>
                <c:pt idx="1607">
                  <c:v>-4.3475799999999998</c:v>
                </c:pt>
                <c:pt idx="1608">
                  <c:v>-3.5638899999999998</c:v>
                </c:pt>
                <c:pt idx="1609">
                  <c:v>-4.8865400000000001</c:v>
                </c:pt>
                <c:pt idx="1610">
                  <c:v>-3.71102</c:v>
                </c:pt>
                <c:pt idx="1611">
                  <c:v>-4.0453799999999998</c:v>
                </c:pt>
                <c:pt idx="1612">
                  <c:v>-3.7201300000000002</c:v>
                </c:pt>
                <c:pt idx="1613">
                  <c:v>-2.46868</c:v>
                </c:pt>
                <c:pt idx="1614">
                  <c:v>-2.9569000000000001</c:v>
                </c:pt>
                <c:pt idx="1615">
                  <c:v>-2.9157799999999998</c:v>
                </c:pt>
                <c:pt idx="1616">
                  <c:v>-3.6757599999999999</c:v>
                </c:pt>
                <c:pt idx="1617">
                  <c:v>-2.9483000000000001</c:v>
                </c:pt>
                <c:pt idx="1618">
                  <c:v>-3.4201700000000002</c:v>
                </c:pt>
                <c:pt idx="1619">
                  <c:v>-2.2936200000000002</c:v>
                </c:pt>
                <c:pt idx="1620">
                  <c:v>-1.80043</c:v>
                </c:pt>
                <c:pt idx="1621">
                  <c:v>-1.9007499999999999</c:v>
                </c:pt>
                <c:pt idx="1622">
                  <c:v>-2.6562100000000002</c:v>
                </c:pt>
                <c:pt idx="1623">
                  <c:v>-3.55267</c:v>
                </c:pt>
                <c:pt idx="1624">
                  <c:v>-4.39757</c:v>
                </c:pt>
                <c:pt idx="1625">
                  <c:v>-4.00251</c:v>
                </c:pt>
                <c:pt idx="1626">
                  <c:v>-4.5412699999999999</c:v>
                </c:pt>
                <c:pt idx="1627">
                  <c:v>-3.2693500000000002</c:v>
                </c:pt>
                <c:pt idx="1628">
                  <c:v>-3.7275399999999999</c:v>
                </c:pt>
                <c:pt idx="1629">
                  <c:v>-3.5211399999999999</c:v>
                </c:pt>
                <c:pt idx="1630">
                  <c:v>-3.6913299999999998</c:v>
                </c:pt>
                <c:pt idx="1631">
                  <c:v>-3.2329400000000001</c:v>
                </c:pt>
                <c:pt idx="1632">
                  <c:v>-3.6440399999999999</c:v>
                </c:pt>
                <c:pt idx="1633">
                  <c:v>-4.4330100000000003</c:v>
                </c:pt>
                <c:pt idx="1634">
                  <c:v>-3.4654199999999999</c:v>
                </c:pt>
                <c:pt idx="1635">
                  <c:v>-3.4378500000000001</c:v>
                </c:pt>
                <c:pt idx="1636">
                  <c:v>-2.7422300000000002</c:v>
                </c:pt>
                <c:pt idx="1637">
                  <c:v>-2.1815199999999999</c:v>
                </c:pt>
                <c:pt idx="1638">
                  <c:v>-2.0051199999999998</c:v>
                </c:pt>
                <c:pt idx="1639">
                  <c:v>-2.5257700000000001</c:v>
                </c:pt>
                <c:pt idx="1640">
                  <c:v>-3.7947000000000002</c:v>
                </c:pt>
                <c:pt idx="1641">
                  <c:v>-3.9780600000000002</c:v>
                </c:pt>
                <c:pt idx="1642">
                  <c:v>-4.2818199999999997</c:v>
                </c:pt>
                <c:pt idx="1643">
                  <c:v>-4.0179900000000002</c:v>
                </c:pt>
                <c:pt idx="1644">
                  <c:v>-3.0099900000000002</c:v>
                </c:pt>
                <c:pt idx="1645">
                  <c:v>-2.9493800000000001</c:v>
                </c:pt>
                <c:pt idx="1646">
                  <c:v>-2.5986899999999999</c:v>
                </c:pt>
                <c:pt idx="1647">
                  <c:v>-2.8475199999999998</c:v>
                </c:pt>
                <c:pt idx="1648">
                  <c:v>-2.4727700000000001</c:v>
                </c:pt>
                <c:pt idx="1649">
                  <c:v>-2.6058599999999998</c:v>
                </c:pt>
                <c:pt idx="1650">
                  <c:v>-3.12704</c:v>
                </c:pt>
                <c:pt idx="1651">
                  <c:v>-4.1073700000000004</c:v>
                </c:pt>
                <c:pt idx="1652">
                  <c:v>-4.0133599999999996</c:v>
                </c:pt>
                <c:pt idx="1653">
                  <c:v>-3.7450600000000001</c:v>
                </c:pt>
                <c:pt idx="1654">
                  <c:v>-3.18824</c:v>
                </c:pt>
                <c:pt idx="1655">
                  <c:v>-2.7057500000000001</c:v>
                </c:pt>
                <c:pt idx="1656">
                  <c:v>-2.73611</c:v>
                </c:pt>
                <c:pt idx="1657">
                  <c:v>-3.6742400000000002</c:v>
                </c:pt>
                <c:pt idx="1658">
                  <c:v>-2.87961</c:v>
                </c:pt>
                <c:pt idx="1659">
                  <c:v>-3.7402600000000001</c:v>
                </c:pt>
                <c:pt idx="1660">
                  <c:v>-3.58067</c:v>
                </c:pt>
                <c:pt idx="1661">
                  <c:v>-3.47383</c:v>
                </c:pt>
                <c:pt idx="1662">
                  <c:v>-3.1081400000000001</c:v>
                </c:pt>
                <c:pt idx="1663">
                  <c:v>-2.3651800000000001</c:v>
                </c:pt>
                <c:pt idx="1664">
                  <c:v>-2.8181799999999999</c:v>
                </c:pt>
                <c:pt idx="1665">
                  <c:v>-2.90028</c:v>
                </c:pt>
                <c:pt idx="1666">
                  <c:v>-2.7986399999999998</c:v>
                </c:pt>
                <c:pt idx="1667">
                  <c:v>-2.3789400000000001</c:v>
                </c:pt>
                <c:pt idx="1668">
                  <c:v>-3.3889800000000001</c:v>
                </c:pt>
                <c:pt idx="1669">
                  <c:v>-3.9462999999999999</c:v>
                </c:pt>
                <c:pt idx="1670">
                  <c:v>-4.2617700000000003</c:v>
                </c:pt>
                <c:pt idx="1671">
                  <c:v>-4.0203499999999996</c:v>
                </c:pt>
                <c:pt idx="1672">
                  <c:v>-2.8134199999999998</c:v>
                </c:pt>
                <c:pt idx="1673">
                  <c:v>-2.9754</c:v>
                </c:pt>
                <c:pt idx="1674">
                  <c:v>-2.3372000000000002</c:v>
                </c:pt>
                <c:pt idx="1675">
                  <c:v>-3.0627800000000001</c:v>
                </c:pt>
                <c:pt idx="1676">
                  <c:v>-3.0318700000000001</c:v>
                </c:pt>
                <c:pt idx="1677">
                  <c:v>-3.3554499999999998</c:v>
                </c:pt>
                <c:pt idx="1678">
                  <c:v>-3.5544799999999999</c:v>
                </c:pt>
                <c:pt idx="1679">
                  <c:v>-2.7659500000000001</c:v>
                </c:pt>
                <c:pt idx="1680">
                  <c:v>-3.1846199999999998</c:v>
                </c:pt>
                <c:pt idx="1681">
                  <c:v>-2.9243899999999998</c:v>
                </c:pt>
                <c:pt idx="1682">
                  <c:v>-2.3064100000000001</c:v>
                </c:pt>
                <c:pt idx="1683">
                  <c:v>-2.1081500000000002</c:v>
                </c:pt>
                <c:pt idx="1684">
                  <c:v>-2.0755599999999998</c:v>
                </c:pt>
                <c:pt idx="1685">
                  <c:v>-2.7120299999999999</c:v>
                </c:pt>
                <c:pt idx="1686">
                  <c:v>-3.6275499999999998</c:v>
                </c:pt>
                <c:pt idx="1687">
                  <c:v>-4.5477499999999997</c:v>
                </c:pt>
                <c:pt idx="1688">
                  <c:v>-4.3518600000000003</c:v>
                </c:pt>
                <c:pt idx="1689">
                  <c:v>-2.81793</c:v>
                </c:pt>
                <c:pt idx="1690">
                  <c:v>-1.9747699999999999</c:v>
                </c:pt>
                <c:pt idx="1691">
                  <c:v>-1.93157</c:v>
                </c:pt>
                <c:pt idx="1692">
                  <c:v>-2.57281</c:v>
                </c:pt>
                <c:pt idx="1693">
                  <c:v>-2.2341799999999998</c:v>
                </c:pt>
                <c:pt idx="1694">
                  <c:v>-3.8149299999999999</c:v>
                </c:pt>
                <c:pt idx="1695">
                  <c:v>-3.4071199999999999</c:v>
                </c:pt>
                <c:pt idx="1696">
                  <c:v>-3.9249999999999998</c:v>
                </c:pt>
                <c:pt idx="1697">
                  <c:v>-3.4700600000000001</c:v>
                </c:pt>
                <c:pt idx="1698">
                  <c:v>-3.1432600000000002</c:v>
                </c:pt>
                <c:pt idx="1699">
                  <c:v>-2.7702300000000002</c:v>
                </c:pt>
                <c:pt idx="1700">
                  <c:v>-2.7458499999999999</c:v>
                </c:pt>
                <c:pt idx="1701">
                  <c:v>-2.80348</c:v>
                </c:pt>
                <c:pt idx="1702">
                  <c:v>-2.8015599999999998</c:v>
                </c:pt>
                <c:pt idx="1703">
                  <c:v>-3.0991</c:v>
                </c:pt>
                <c:pt idx="1704">
                  <c:v>-3.7322299999999999</c:v>
                </c:pt>
                <c:pt idx="1705">
                  <c:v>-4.16798</c:v>
                </c:pt>
                <c:pt idx="1706">
                  <c:v>-3.9474399999999998</c:v>
                </c:pt>
                <c:pt idx="1707">
                  <c:v>-2.9760300000000002</c:v>
                </c:pt>
                <c:pt idx="1708">
                  <c:v>-2.0876000000000001</c:v>
                </c:pt>
                <c:pt idx="1709">
                  <c:v>-2.3649399999999998</c:v>
                </c:pt>
                <c:pt idx="1710">
                  <c:v>-1.9663900000000001</c:v>
                </c:pt>
                <c:pt idx="1711">
                  <c:v>-1.8640600000000001</c:v>
                </c:pt>
                <c:pt idx="1712">
                  <c:v>-2.1280199999999998</c:v>
                </c:pt>
                <c:pt idx="1713">
                  <c:v>-2.4775700000000001</c:v>
                </c:pt>
                <c:pt idx="1714">
                  <c:v>-3.5850300000000002</c:v>
                </c:pt>
                <c:pt idx="1715">
                  <c:v>-3.7823699999999998</c:v>
                </c:pt>
                <c:pt idx="1716">
                  <c:v>-4.4562499999999998</c:v>
                </c:pt>
                <c:pt idx="1717">
                  <c:v>-4.5334199999999996</c:v>
                </c:pt>
                <c:pt idx="1718">
                  <c:v>-3.4635500000000001</c:v>
                </c:pt>
                <c:pt idx="1719">
                  <c:v>-2.6801599999999999</c:v>
                </c:pt>
                <c:pt idx="1720">
                  <c:v>-2.6644000000000001</c:v>
                </c:pt>
                <c:pt idx="1721">
                  <c:v>-2.0659900000000002</c:v>
                </c:pt>
                <c:pt idx="1722">
                  <c:v>-2.8464399999999999</c:v>
                </c:pt>
                <c:pt idx="1723">
                  <c:v>-3.30132</c:v>
                </c:pt>
                <c:pt idx="1724">
                  <c:v>-4.0798800000000002</c:v>
                </c:pt>
                <c:pt idx="1725">
                  <c:v>-3.6561499999999998</c:v>
                </c:pt>
                <c:pt idx="1726">
                  <c:v>-3.6426099999999999</c:v>
                </c:pt>
                <c:pt idx="1727">
                  <c:v>-3.0571600000000001</c:v>
                </c:pt>
                <c:pt idx="1728">
                  <c:v>-2.7529300000000001</c:v>
                </c:pt>
                <c:pt idx="1729">
                  <c:v>-2.44638</c:v>
                </c:pt>
                <c:pt idx="1730">
                  <c:v>-2.5463499999999999</c:v>
                </c:pt>
                <c:pt idx="1731">
                  <c:v>-3.3981300000000001</c:v>
                </c:pt>
                <c:pt idx="1732">
                  <c:v>-3.3364500000000001</c:v>
                </c:pt>
                <c:pt idx="1733">
                  <c:v>-3.9474399999999998</c:v>
                </c:pt>
                <c:pt idx="1734">
                  <c:v>-4.3548299999999998</c:v>
                </c:pt>
                <c:pt idx="1735">
                  <c:v>-4.5664100000000003</c:v>
                </c:pt>
                <c:pt idx="1736">
                  <c:v>-3.5220799999999999</c:v>
                </c:pt>
                <c:pt idx="1737">
                  <c:v>-2.41873</c:v>
                </c:pt>
                <c:pt idx="1738">
                  <c:v>-2.1019000000000001</c:v>
                </c:pt>
                <c:pt idx="1739">
                  <c:v>-1.86534</c:v>
                </c:pt>
                <c:pt idx="1740">
                  <c:v>-2.5285500000000001</c:v>
                </c:pt>
                <c:pt idx="1741">
                  <c:v>-3.2020499999999998</c:v>
                </c:pt>
                <c:pt idx="1742">
                  <c:v>-4.0057200000000002</c:v>
                </c:pt>
                <c:pt idx="1743">
                  <c:v>-4.0993199999999996</c:v>
                </c:pt>
                <c:pt idx="1744">
                  <c:v>-3.53234</c:v>
                </c:pt>
                <c:pt idx="1745">
                  <c:v>-3.0235500000000002</c:v>
                </c:pt>
                <c:pt idx="1746">
                  <c:v>-2.6352500000000001</c:v>
                </c:pt>
                <c:pt idx="1747">
                  <c:v>-3.28742</c:v>
                </c:pt>
                <c:pt idx="1748">
                  <c:v>-3.10737</c:v>
                </c:pt>
                <c:pt idx="1749">
                  <c:v>-3.8239299999999998</c:v>
                </c:pt>
                <c:pt idx="1750">
                  <c:v>-3.6821600000000001</c:v>
                </c:pt>
                <c:pt idx="1751">
                  <c:v>-4.3435499999999996</c:v>
                </c:pt>
                <c:pt idx="1752">
                  <c:v>-4.7618900000000002</c:v>
                </c:pt>
                <c:pt idx="1753">
                  <c:v>-4.2212800000000001</c:v>
                </c:pt>
                <c:pt idx="1754">
                  <c:v>-2.9722900000000001</c:v>
                </c:pt>
                <c:pt idx="1755">
                  <c:v>-2.54467</c:v>
                </c:pt>
                <c:pt idx="1756">
                  <c:v>-2.3262999999999998</c:v>
                </c:pt>
                <c:pt idx="1757">
                  <c:v>-2.5131299999999999</c:v>
                </c:pt>
                <c:pt idx="1758">
                  <c:v>-2.8373499999999998</c:v>
                </c:pt>
                <c:pt idx="1759">
                  <c:v>-3.3811599999999999</c:v>
                </c:pt>
                <c:pt idx="1760">
                  <c:v>-4.11782</c:v>
                </c:pt>
                <c:pt idx="1761">
                  <c:v>-4.3761999999999999</c:v>
                </c:pt>
                <c:pt idx="1762">
                  <c:v>-4.2308899999999996</c:v>
                </c:pt>
                <c:pt idx="1763">
                  <c:v>-3.5859000000000001</c:v>
                </c:pt>
                <c:pt idx="1764">
                  <c:v>-3.2852299999999999</c:v>
                </c:pt>
                <c:pt idx="1765">
                  <c:v>-3.2736399999999999</c:v>
                </c:pt>
                <c:pt idx="1766">
                  <c:v>-2.87039</c:v>
                </c:pt>
                <c:pt idx="1767">
                  <c:v>-2.5907399999999998</c:v>
                </c:pt>
                <c:pt idx="1768">
                  <c:v>-3.5105400000000002</c:v>
                </c:pt>
                <c:pt idx="1769">
                  <c:v>-4.3190299999999997</c:v>
                </c:pt>
                <c:pt idx="1770">
                  <c:v>-4.3997900000000003</c:v>
                </c:pt>
                <c:pt idx="1771">
                  <c:v>-4.2592299999999996</c:v>
                </c:pt>
                <c:pt idx="1772">
                  <c:v>-3.3222499999999999</c:v>
                </c:pt>
                <c:pt idx="1773">
                  <c:v>-2.5778099999999999</c:v>
                </c:pt>
                <c:pt idx="1774">
                  <c:v>-2.8480500000000002</c:v>
                </c:pt>
                <c:pt idx="1775">
                  <c:v>-3.1660499999999998</c:v>
                </c:pt>
                <c:pt idx="1776">
                  <c:v>-3.5756800000000002</c:v>
                </c:pt>
                <c:pt idx="1777">
                  <c:v>-3.8430399999999998</c:v>
                </c:pt>
                <c:pt idx="1778">
                  <c:v>-4.3767800000000001</c:v>
                </c:pt>
                <c:pt idx="1779">
                  <c:v>-4.5249499999999996</c:v>
                </c:pt>
                <c:pt idx="1780">
                  <c:v>-4.5537900000000002</c:v>
                </c:pt>
                <c:pt idx="1781">
                  <c:v>-3.4195500000000001</c:v>
                </c:pt>
                <c:pt idx="1782">
                  <c:v>-3.26336</c:v>
                </c:pt>
                <c:pt idx="1783">
                  <c:v>-2.7868200000000001</c:v>
                </c:pt>
                <c:pt idx="1784">
                  <c:v>-2.08419</c:v>
                </c:pt>
                <c:pt idx="1785">
                  <c:v>-3.1317300000000001</c:v>
                </c:pt>
                <c:pt idx="1786">
                  <c:v>-3.0007799999999998</c:v>
                </c:pt>
                <c:pt idx="1787">
                  <c:v>-3.6957900000000001</c:v>
                </c:pt>
                <c:pt idx="1788">
                  <c:v>-3.2442799999999998</c:v>
                </c:pt>
                <c:pt idx="1789">
                  <c:v>-3.6869499999999999</c:v>
                </c:pt>
                <c:pt idx="1790">
                  <c:v>-2.9009900000000002</c:v>
                </c:pt>
                <c:pt idx="1791">
                  <c:v>-3.59476</c:v>
                </c:pt>
                <c:pt idx="1792">
                  <c:v>-3.1873</c:v>
                </c:pt>
                <c:pt idx="1793">
                  <c:v>-3.3733200000000001</c:v>
                </c:pt>
                <c:pt idx="1794">
                  <c:v>-4.0681000000000003</c:v>
                </c:pt>
                <c:pt idx="1795">
                  <c:v>-4.3147399999999996</c:v>
                </c:pt>
                <c:pt idx="1796">
                  <c:v>-4.8559900000000003</c:v>
                </c:pt>
                <c:pt idx="1797">
                  <c:v>-3.8249599999999999</c:v>
                </c:pt>
                <c:pt idx="1798">
                  <c:v>-3.7105000000000001</c:v>
                </c:pt>
                <c:pt idx="1799">
                  <c:v>-3.30749</c:v>
                </c:pt>
                <c:pt idx="1800">
                  <c:v>-2.8636699999999999</c:v>
                </c:pt>
                <c:pt idx="1801">
                  <c:v>-2.4432399999999999</c:v>
                </c:pt>
                <c:pt idx="1802">
                  <c:v>-2.9381900000000001</c:v>
                </c:pt>
                <c:pt idx="1803">
                  <c:v>-3.7974999999999999</c:v>
                </c:pt>
                <c:pt idx="1804">
                  <c:v>-4.4163300000000003</c:v>
                </c:pt>
                <c:pt idx="1805">
                  <c:v>-4.4710599999999996</c:v>
                </c:pt>
                <c:pt idx="1806">
                  <c:v>-3.5085099999999998</c:v>
                </c:pt>
                <c:pt idx="1807">
                  <c:v>-3.1537199999999999</c:v>
                </c:pt>
                <c:pt idx="1808">
                  <c:v>-3.3024100000000001</c:v>
                </c:pt>
                <c:pt idx="1809">
                  <c:v>-2.90293</c:v>
                </c:pt>
                <c:pt idx="1810">
                  <c:v>-3.45262</c:v>
                </c:pt>
                <c:pt idx="1811">
                  <c:v>-3.1857000000000002</c:v>
                </c:pt>
                <c:pt idx="1812">
                  <c:v>-3.5883799999999999</c:v>
                </c:pt>
                <c:pt idx="1813">
                  <c:v>-3.9207100000000001</c:v>
                </c:pt>
                <c:pt idx="1814">
                  <c:v>-4.4107000000000003</c:v>
                </c:pt>
                <c:pt idx="1815">
                  <c:v>-3.41838</c:v>
                </c:pt>
                <c:pt idx="1816">
                  <c:v>-3.5606499999999999</c:v>
                </c:pt>
                <c:pt idx="1817">
                  <c:v>-2.9038200000000001</c:v>
                </c:pt>
                <c:pt idx="1818">
                  <c:v>-2.8951600000000002</c:v>
                </c:pt>
                <c:pt idx="1819">
                  <c:v>-2.54494</c:v>
                </c:pt>
                <c:pt idx="1820">
                  <c:v>-3.5149599999999999</c:v>
                </c:pt>
                <c:pt idx="1821">
                  <c:v>-3.2618</c:v>
                </c:pt>
                <c:pt idx="1822">
                  <c:v>-4.0922400000000003</c:v>
                </c:pt>
                <c:pt idx="1823">
                  <c:v>-3.9195500000000001</c:v>
                </c:pt>
                <c:pt idx="1824">
                  <c:v>-3.4993799999999999</c:v>
                </c:pt>
                <c:pt idx="1825">
                  <c:v>-3.1307100000000001</c:v>
                </c:pt>
                <c:pt idx="1826">
                  <c:v>-3.15341</c:v>
                </c:pt>
                <c:pt idx="1827">
                  <c:v>-3.1418300000000001</c:v>
                </c:pt>
                <c:pt idx="1828">
                  <c:v>-2.9011</c:v>
                </c:pt>
                <c:pt idx="1829">
                  <c:v>-2.1034999999999999</c:v>
                </c:pt>
                <c:pt idx="1830">
                  <c:v>-2.7399100000000001</c:v>
                </c:pt>
                <c:pt idx="1831">
                  <c:v>-3.6534800000000001</c:v>
                </c:pt>
                <c:pt idx="1832">
                  <c:v>-3.9731299999999998</c:v>
                </c:pt>
                <c:pt idx="1833">
                  <c:v>-3.77034</c:v>
                </c:pt>
                <c:pt idx="1834">
                  <c:v>-3.3744000000000001</c:v>
                </c:pt>
                <c:pt idx="1835">
                  <c:v>-2.33107</c:v>
                </c:pt>
                <c:pt idx="1836">
                  <c:v>-2.601</c:v>
                </c:pt>
                <c:pt idx="1837">
                  <c:v>-2.4729399999999999</c:v>
                </c:pt>
                <c:pt idx="1838">
                  <c:v>-3.1679599999999999</c:v>
                </c:pt>
                <c:pt idx="1839">
                  <c:v>-4.5457700000000001</c:v>
                </c:pt>
                <c:pt idx="1840">
                  <c:v>-4.7180900000000001</c:v>
                </c:pt>
                <c:pt idx="1841">
                  <c:v>-4.6459900000000003</c:v>
                </c:pt>
                <c:pt idx="1842">
                  <c:v>-3.9639199999999999</c:v>
                </c:pt>
                <c:pt idx="1843">
                  <c:v>-3.1960199999999999</c:v>
                </c:pt>
                <c:pt idx="1844">
                  <c:v>-2.0043899999999999</c:v>
                </c:pt>
                <c:pt idx="1845">
                  <c:v>-1.5359700000000001</c:v>
                </c:pt>
                <c:pt idx="1846">
                  <c:v>-2.0975600000000001</c:v>
                </c:pt>
                <c:pt idx="1847">
                  <c:v>-2.7160299999999999</c:v>
                </c:pt>
                <c:pt idx="1848">
                  <c:v>-3.6364700000000001</c:v>
                </c:pt>
                <c:pt idx="1849">
                  <c:v>-4.4328399999999997</c:v>
                </c:pt>
                <c:pt idx="1850">
                  <c:v>-3.6052300000000002</c:v>
                </c:pt>
                <c:pt idx="1851">
                  <c:v>-3.2008800000000002</c:v>
                </c:pt>
                <c:pt idx="1852">
                  <c:v>-3.1387800000000001</c:v>
                </c:pt>
                <c:pt idx="1853">
                  <c:v>-2.5426500000000001</c:v>
                </c:pt>
                <c:pt idx="1854">
                  <c:v>-2.69068</c:v>
                </c:pt>
                <c:pt idx="1855">
                  <c:v>-2.8291200000000001</c:v>
                </c:pt>
                <c:pt idx="1856">
                  <c:v>-3.2860999999999998</c:v>
                </c:pt>
                <c:pt idx="1857">
                  <c:v>-3.8858999999999999</c:v>
                </c:pt>
                <c:pt idx="1858">
                  <c:v>-4.0683100000000003</c:v>
                </c:pt>
                <c:pt idx="1859">
                  <c:v>-3.7854399999999999</c:v>
                </c:pt>
                <c:pt idx="1860">
                  <c:v>-3.5475300000000001</c:v>
                </c:pt>
                <c:pt idx="1861">
                  <c:v>-2.6200100000000002</c:v>
                </c:pt>
                <c:pt idx="1862">
                  <c:v>-3.0649600000000001</c:v>
                </c:pt>
                <c:pt idx="1863">
                  <c:v>-2.1494900000000001</c:v>
                </c:pt>
                <c:pt idx="1864">
                  <c:v>-2.8948399999999999</c:v>
                </c:pt>
                <c:pt idx="1865">
                  <c:v>-3.23665</c:v>
                </c:pt>
                <c:pt idx="1866">
                  <c:v>-3.6711</c:v>
                </c:pt>
                <c:pt idx="1867">
                  <c:v>-4.0779500000000004</c:v>
                </c:pt>
                <c:pt idx="1868">
                  <c:v>-3.4395500000000001</c:v>
                </c:pt>
                <c:pt idx="1869">
                  <c:v>-3.5711200000000001</c:v>
                </c:pt>
                <c:pt idx="1870">
                  <c:v>-3.7591999999999999</c:v>
                </c:pt>
                <c:pt idx="1871">
                  <c:v>-2.7434500000000002</c:v>
                </c:pt>
                <c:pt idx="1872">
                  <c:v>-2.34409</c:v>
                </c:pt>
                <c:pt idx="1873">
                  <c:v>-2.4859900000000001</c:v>
                </c:pt>
                <c:pt idx="1874">
                  <c:v>-2.4357899999999999</c:v>
                </c:pt>
                <c:pt idx="1875">
                  <c:v>-3.0338400000000001</c:v>
                </c:pt>
                <c:pt idx="1876">
                  <c:v>-3.3527499999999999</c:v>
                </c:pt>
                <c:pt idx="1877">
                  <c:v>-3.93526</c:v>
                </c:pt>
                <c:pt idx="1878">
                  <c:v>-3.1464799999999999</c:v>
                </c:pt>
                <c:pt idx="1879">
                  <c:v>-2.98603</c:v>
                </c:pt>
                <c:pt idx="1880">
                  <c:v>-2.2825299999999999</c:v>
                </c:pt>
                <c:pt idx="1881">
                  <c:v>-2.51858</c:v>
                </c:pt>
                <c:pt idx="1882">
                  <c:v>-2.3284099999999999</c:v>
                </c:pt>
                <c:pt idx="1883">
                  <c:v>-3.5979700000000001</c:v>
                </c:pt>
                <c:pt idx="1884">
                  <c:v>-4.0685099999999998</c:v>
                </c:pt>
                <c:pt idx="1885">
                  <c:v>-3.5576599999999998</c:v>
                </c:pt>
                <c:pt idx="1886">
                  <c:v>-4.21387</c:v>
                </c:pt>
                <c:pt idx="1887">
                  <c:v>-2.9870100000000002</c:v>
                </c:pt>
                <c:pt idx="1888">
                  <c:v>-3.13219</c:v>
                </c:pt>
                <c:pt idx="1889">
                  <c:v>-1.9922599999999999</c:v>
                </c:pt>
                <c:pt idx="1890">
                  <c:v>-1.71966</c:v>
                </c:pt>
                <c:pt idx="1891">
                  <c:v>-2.4885199999999998</c:v>
                </c:pt>
                <c:pt idx="1892">
                  <c:v>-2.7542</c:v>
                </c:pt>
                <c:pt idx="1893">
                  <c:v>-3.1328900000000002</c:v>
                </c:pt>
                <c:pt idx="1894">
                  <c:v>-3.1245400000000001</c:v>
                </c:pt>
                <c:pt idx="1895">
                  <c:v>-3.77799</c:v>
                </c:pt>
                <c:pt idx="1896">
                  <c:v>-2.3874300000000002</c:v>
                </c:pt>
                <c:pt idx="1897">
                  <c:v>-2.1428699999999998</c:v>
                </c:pt>
                <c:pt idx="1898">
                  <c:v>-2.10059</c:v>
                </c:pt>
                <c:pt idx="1899">
                  <c:v>-2.2894399999999999</c:v>
                </c:pt>
                <c:pt idx="1900">
                  <c:v>-2.9838800000000001</c:v>
                </c:pt>
                <c:pt idx="1901">
                  <c:v>-3.6610499999999999</c:v>
                </c:pt>
                <c:pt idx="1902">
                  <c:v>-3.9874200000000002</c:v>
                </c:pt>
                <c:pt idx="1903">
                  <c:v>-4.18283</c:v>
                </c:pt>
                <c:pt idx="1904">
                  <c:v>-3.39534</c:v>
                </c:pt>
                <c:pt idx="1905">
                  <c:v>-2.6442000000000001</c:v>
                </c:pt>
                <c:pt idx="1906">
                  <c:v>-2.1007899999999999</c:v>
                </c:pt>
                <c:pt idx="1907">
                  <c:v>-2.46732</c:v>
                </c:pt>
                <c:pt idx="1908">
                  <c:v>-2.6211099999999998</c:v>
                </c:pt>
                <c:pt idx="1909">
                  <c:v>-2.6763699999999999</c:v>
                </c:pt>
                <c:pt idx="1910">
                  <c:v>-3.3341599999999998</c:v>
                </c:pt>
                <c:pt idx="1911">
                  <c:v>-3.4047800000000001</c:v>
                </c:pt>
                <c:pt idx="1912">
                  <c:v>-3.0562399999999998</c:v>
                </c:pt>
                <c:pt idx="1913">
                  <c:v>-2.4833099999999999</c:v>
                </c:pt>
                <c:pt idx="1914">
                  <c:v>-2.5932300000000001</c:v>
                </c:pt>
                <c:pt idx="1915">
                  <c:v>-2.6524299999999998</c:v>
                </c:pt>
                <c:pt idx="1916">
                  <c:v>-2.35555</c:v>
                </c:pt>
                <c:pt idx="1917">
                  <c:v>-2.4296099999999998</c:v>
                </c:pt>
                <c:pt idx="1918">
                  <c:v>-2.15863</c:v>
                </c:pt>
                <c:pt idx="1919">
                  <c:v>-3.0736400000000001</c:v>
                </c:pt>
                <c:pt idx="1920">
                  <c:v>-3.1179199999999998</c:v>
                </c:pt>
                <c:pt idx="1921">
                  <c:v>-3.8191700000000002</c:v>
                </c:pt>
                <c:pt idx="1922">
                  <c:v>-3.1854300000000002</c:v>
                </c:pt>
                <c:pt idx="1923">
                  <c:v>-1.9368099999999999</c:v>
                </c:pt>
                <c:pt idx="1924">
                  <c:v>-2.0474700000000001</c:v>
                </c:pt>
                <c:pt idx="1925">
                  <c:v>-1.6869700000000001</c:v>
                </c:pt>
                <c:pt idx="1926">
                  <c:v>-2.31603</c:v>
                </c:pt>
                <c:pt idx="1927">
                  <c:v>-2.9067099999999999</c:v>
                </c:pt>
                <c:pt idx="1928">
                  <c:v>-3.8846699999999998</c:v>
                </c:pt>
                <c:pt idx="1929">
                  <c:v>-3.9696099999999999</c:v>
                </c:pt>
                <c:pt idx="1930">
                  <c:v>-3.8243200000000002</c:v>
                </c:pt>
                <c:pt idx="1931">
                  <c:v>-2.8813200000000001</c:v>
                </c:pt>
                <c:pt idx="1932">
                  <c:v>-2.3108399999999998</c:v>
                </c:pt>
                <c:pt idx="1933">
                  <c:v>-2.9433500000000001</c:v>
                </c:pt>
                <c:pt idx="1934">
                  <c:v>-2.4359600000000001</c:v>
                </c:pt>
                <c:pt idx="1935">
                  <c:v>-2.6631300000000002</c:v>
                </c:pt>
                <c:pt idx="1936">
                  <c:v>-1.7996099999999999</c:v>
                </c:pt>
                <c:pt idx="1937">
                  <c:v>-2.8811900000000001</c:v>
                </c:pt>
                <c:pt idx="1938">
                  <c:v>-3.0644200000000001</c:v>
                </c:pt>
                <c:pt idx="1939">
                  <c:v>-3.9370400000000001</c:v>
                </c:pt>
                <c:pt idx="1940">
                  <c:v>-3.3513600000000001</c:v>
                </c:pt>
                <c:pt idx="1941">
                  <c:v>-2.53118</c:v>
                </c:pt>
                <c:pt idx="1942">
                  <c:v>-1.8582099999999999</c:v>
                </c:pt>
                <c:pt idx="1943">
                  <c:v>-1.6591</c:v>
                </c:pt>
                <c:pt idx="1944">
                  <c:v>-2.8239000000000001</c:v>
                </c:pt>
                <c:pt idx="1945">
                  <c:v>-3.3734600000000001</c:v>
                </c:pt>
                <c:pt idx="1946">
                  <c:v>-4.2561499999999999</c:v>
                </c:pt>
                <c:pt idx="1947">
                  <c:v>-4.4844999999999997</c:v>
                </c:pt>
                <c:pt idx="1948">
                  <c:v>-3.7855699999999999</c:v>
                </c:pt>
                <c:pt idx="1949">
                  <c:v>-3.34674</c:v>
                </c:pt>
                <c:pt idx="1950">
                  <c:v>-2.3827199999999999</c:v>
                </c:pt>
                <c:pt idx="1951">
                  <c:v>-2.2852199999999998</c:v>
                </c:pt>
                <c:pt idx="1952">
                  <c:v>-2.36713</c:v>
                </c:pt>
                <c:pt idx="1953">
                  <c:v>-2.71163</c:v>
                </c:pt>
                <c:pt idx="1954">
                  <c:v>-2.7694399999999999</c:v>
                </c:pt>
                <c:pt idx="1955">
                  <c:v>-3.5586099999999998</c:v>
                </c:pt>
                <c:pt idx="1956">
                  <c:v>-3.5780599999999998</c:v>
                </c:pt>
                <c:pt idx="1957">
                  <c:v>-2.7880400000000001</c:v>
                </c:pt>
                <c:pt idx="1958">
                  <c:v>-2.4283100000000002</c:v>
                </c:pt>
                <c:pt idx="1959">
                  <c:v>-1.9630399999999999</c:v>
                </c:pt>
                <c:pt idx="1960">
                  <c:v>-2.7124799999999998</c:v>
                </c:pt>
                <c:pt idx="1961">
                  <c:v>-2.8166600000000002</c:v>
                </c:pt>
                <c:pt idx="1962">
                  <c:v>-3.3636900000000001</c:v>
                </c:pt>
                <c:pt idx="1963">
                  <c:v>-3.4615499999999999</c:v>
                </c:pt>
                <c:pt idx="1964">
                  <c:v>-3.8333300000000001</c:v>
                </c:pt>
                <c:pt idx="1965">
                  <c:v>-3.8227099999999998</c:v>
                </c:pt>
                <c:pt idx="1966">
                  <c:v>-3.0474999999999999</c:v>
                </c:pt>
                <c:pt idx="1967">
                  <c:v>-2.4357199999999999</c:v>
                </c:pt>
                <c:pt idx="1968">
                  <c:v>-2.9866899999999998</c:v>
                </c:pt>
                <c:pt idx="1969">
                  <c:v>-2.3423699999999998</c:v>
                </c:pt>
                <c:pt idx="1970">
                  <c:v>-2.1022799999999999</c:v>
                </c:pt>
                <c:pt idx="1971">
                  <c:v>-2.2393299999999998</c:v>
                </c:pt>
                <c:pt idx="1972">
                  <c:v>-3.7556799999999999</c:v>
                </c:pt>
                <c:pt idx="1973">
                  <c:v>-3.7959700000000001</c:v>
                </c:pt>
                <c:pt idx="1974">
                  <c:v>-3.9476900000000001</c:v>
                </c:pt>
                <c:pt idx="1975">
                  <c:v>-3.1276199999999998</c:v>
                </c:pt>
                <c:pt idx="1976">
                  <c:v>-2.4345500000000002</c:v>
                </c:pt>
                <c:pt idx="1977">
                  <c:v>-2.6110899999999999</c:v>
                </c:pt>
                <c:pt idx="1978">
                  <c:v>-1.8928100000000001</c:v>
                </c:pt>
                <c:pt idx="1979">
                  <c:v>-2.8136000000000001</c:v>
                </c:pt>
                <c:pt idx="1980">
                  <c:v>-2.50806</c:v>
                </c:pt>
                <c:pt idx="1981">
                  <c:v>-3.4519199999999999</c:v>
                </c:pt>
                <c:pt idx="1982">
                  <c:v>-3.35209</c:v>
                </c:pt>
                <c:pt idx="1983">
                  <c:v>-3.3386100000000001</c:v>
                </c:pt>
                <c:pt idx="1984">
                  <c:v>-3.1164499999999999</c:v>
                </c:pt>
                <c:pt idx="1985">
                  <c:v>-2.76322</c:v>
                </c:pt>
                <c:pt idx="1986">
                  <c:v>-2.4687600000000001</c:v>
                </c:pt>
                <c:pt idx="1987">
                  <c:v>-1.7023299999999999</c:v>
                </c:pt>
                <c:pt idx="1988">
                  <c:v>-2.0347900000000001</c:v>
                </c:pt>
                <c:pt idx="1989">
                  <c:v>-2.87757</c:v>
                </c:pt>
                <c:pt idx="1990">
                  <c:v>-3.7225600000000001</c:v>
                </c:pt>
                <c:pt idx="1991">
                  <c:v>-4.1456</c:v>
                </c:pt>
                <c:pt idx="1992">
                  <c:v>-4.0154699999999997</c:v>
                </c:pt>
                <c:pt idx="1993">
                  <c:v>-3.1318700000000002</c:v>
                </c:pt>
                <c:pt idx="1994">
                  <c:v>-2.1893099999999999</c:v>
                </c:pt>
                <c:pt idx="1995">
                  <c:v>-2.96746</c:v>
                </c:pt>
                <c:pt idx="1996">
                  <c:v>-3.1094300000000001</c:v>
                </c:pt>
                <c:pt idx="1997">
                  <c:v>-2.3650500000000001</c:v>
                </c:pt>
                <c:pt idx="1998">
                  <c:v>-2.3826900000000002</c:v>
                </c:pt>
                <c:pt idx="1999">
                  <c:v>-2.9003100000000002</c:v>
                </c:pt>
                <c:pt idx="2000">
                  <c:v>-2.9386000000000001</c:v>
                </c:pt>
                <c:pt idx="2001">
                  <c:v>-3.3002899999999999</c:v>
                </c:pt>
                <c:pt idx="2002">
                  <c:v>-2.82755</c:v>
                </c:pt>
                <c:pt idx="2003">
                  <c:v>-2.4460199999999999</c:v>
                </c:pt>
                <c:pt idx="2004">
                  <c:v>-2.0316999999999998</c:v>
                </c:pt>
                <c:pt idx="2005">
                  <c:v>-1.70814</c:v>
                </c:pt>
                <c:pt idx="2006">
                  <c:v>-1.8755299999999999</c:v>
                </c:pt>
                <c:pt idx="2007">
                  <c:v>-2.6720299999999999</c:v>
                </c:pt>
                <c:pt idx="2008">
                  <c:v>-3.6082800000000002</c:v>
                </c:pt>
                <c:pt idx="2009">
                  <c:v>-3.2178499999999999</c:v>
                </c:pt>
                <c:pt idx="2010">
                  <c:v>-3.5707599999999999</c:v>
                </c:pt>
                <c:pt idx="2011">
                  <c:v>-3.2417899999999999</c:v>
                </c:pt>
                <c:pt idx="2012">
                  <c:v>-2.6521499999999998</c:v>
                </c:pt>
                <c:pt idx="2013">
                  <c:v>-1.8001</c:v>
                </c:pt>
                <c:pt idx="2014">
                  <c:v>-1.5651299999999999</c:v>
                </c:pt>
                <c:pt idx="2015">
                  <c:v>-1.9951399999999999</c:v>
                </c:pt>
                <c:pt idx="2016">
                  <c:v>-3.0384600000000002</c:v>
                </c:pt>
                <c:pt idx="2017">
                  <c:v>-3.7113700000000001</c:v>
                </c:pt>
                <c:pt idx="2018">
                  <c:v>-3.17055</c:v>
                </c:pt>
                <c:pt idx="2019">
                  <c:v>-3.0455299999999998</c:v>
                </c:pt>
                <c:pt idx="2020">
                  <c:v>-2.3197399999999999</c:v>
                </c:pt>
                <c:pt idx="2021">
                  <c:v>-2.2092100000000001</c:v>
                </c:pt>
                <c:pt idx="2022">
                  <c:v>-1.81748</c:v>
                </c:pt>
                <c:pt idx="2023">
                  <c:v>-2.1562899999999998</c:v>
                </c:pt>
                <c:pt idx="2024">
                  <c:v>-2.5293199999999998</c:v>
                </c:pt>
                <c:pt idx="2025">
                  <c:v>-2.94956</c:v>
                </c:pt>
                <c:pt idx="2026">
                  <c:v>-3.5043500000000001</c:v>
                </c:pt>
                <c:pt idx="2027">
                  <c:v>-3.0082</c:v>
                </c:pt>
                <c:pt idx="2028">
                  <c:v>-2.7840500000000001</c:v>
                </c:pt>
                <c:pt idx="2029">
                  <c:v>-1.84999</c:v>
                </c:pt>
                <c:pt idx="2030">
                  <c:v>-1.8291599999999999</c:v>
                </c:pt>
                <c:pt idx="2031">
                  <c:v>-1.6963299999999999</c:v>
                </c:pt>
                <c:pt idx="2032">
                  <c:v>-1.55308</c:v>
                </c:pt>
                <c:pt idx="2033">
                  <c:v>-2.04244</c:v>
                </c:pt>
                <c:pt idx="2034">
                  <c:v>-3.0025499999999998</c:v>
                </c:pt>
                <c:pt idx="2035">
                  <c:v>-3.8674900000000001</c:v>
                </c:pt>
                <c:pt idx="2036">
                  <c:v>-3.6250300000000002</c:v>
                </c:pt>
                <c:pt idx="2037">
                  <c:v>-4.7330100000000002</c:v>
                </c:pt>
                <c:pt idx="2038">
                  <c:v>-4.5546600000000002</c:v>
                </c:pt>
                <c:pt idx="2039">
                  <c:v>-3.80437</c:v>
                </c:pt>
                <c:pt idx="2040">
                  <c:v>-3.0682999999999998</c:v>
                </c:pt>
                <c:pt idx="2041">
                  <c:v>-1.7747900000000001</c:v>
                </c:pt>
                <c:pt idx="2042">
                  <c:v>-1.27888</c:v>
                </c:pt>
                <c:pt idx="2043">
                  <c:v>-2.05254</c:v>
                </c:pt>
                <c:pt idx="2044">
                  <c:v>-1.89388</c:v>
                </c:pt>
                <c:pt idx="2045">
                  <c:v>-2.2800099999999999</c:v>
                </c:pt>
                <c:pt idx="2046">
                  <c:v>-2.4784199999999998</c:v>
                </c:pt>
                <c:pt idx="2047">
                  <c:v>-1.86561</c:v>
                </c:pt>
                <c:pt idx="2048">
                  <c:v>-1.2623</c:v>
                </c:pt>
                <c:pt idx="2049">
                  <c:v>-1.0174300000000001</c:v>
                </c:pt>
                <c:pt idx="2050">
                  <c:v>-1.30057</c:v>
                </c:pt>
                <c:pt idx="2051">
                  <c:v>-1.2425600000000001</c:v>
                </c:pt>
                <c:pt idx="2052">
                  <c:v>-1.62483</c:v>
                </c:pt>
                <c:pt idx="2053">
                  <c:v>-2.4418500000000001</c:v>
                </c:pt>
                <c:pt idx="2054">
                  <c:v>-3.2042899999999999</c:v>
                </c:pt>
                <c:pt idx="2055">
                  <c:v>-3.6736900000000001</c:v>
                </c:pt>
                <c:pt idx="2056">
                  <c:v>-3.9681099999999998</c:v>
                </c:pt>
                <c:pt idx="2057">
                  <c:v>-3.5564800000000001</c:v>
                </c:pt>
                <c:pt idx="2058">
                  <c:v>-3.0073300000000001</c:v>
                </c:pt>
                <c:pt idx="2059">
                  <c:v>-2.52772</c:v>
                </c:pt>
                <c:pt idx="2060">
                  <c:v>-1.8922699999999999</c:v>
                </c:pt>
                <c:pt idx="2061">
                  <c:v>-2.41161</c:v>
                </c:pt>
                <c:pt idx="2062">
                  <c:v>-3.2142400000000002</c:v>
                </c:pt>
                <c:pt idx="2063">
                  <c:v>-2.8395199999999998</c:v>
                </c:pt>
                <c:pt idx="2064">
                  <c:v>-2.5201500000000001</c:v>
                </c:pt>
                <c:pt idx="2065">
                  <c:v>-2.10426</c:v>
                </c:pt>
                <c:pt idx="2066">
                  <c:v>-2.0513699999999999</c:v>
                </c:pt>
                <c:pt idx="2067">
                  <c:v>-1.79152</c:v>
                </c:pt>
                <c:pt idx="2068">
                  <c:v>-2.6097100000000002</c:v>
                </c:pt>
                <c:pt idx="2069">
                  <c:v>-2.7138800000000001</c:v>
                </c:pt>
                <c:pt idx="2070">
                  <c:v>-2.3064499999999999</c:v>
                </c:pt>
                <c:pt idx="2071">
                  <c:v>-2.1951700000000001</c:v>
                </c:pt>
                <c:pt idx="2072">
                  <c:v>-2.1048499999999999</c:v>
                </c:pt>
                <c:pt idx="2073">
                  <c:v>-2.8077000000000001</c:v>
                </c:pt>
                <c:pt idx="2074">
                  <c:v>-1.80488</c:v>
                </c:pt>
                <c:pt idx="2075">
                  <c:v>-2.0359699999999998</c:v>
                </c:pt>
                <c:pt idx="2076">
                  <c:v>-2.2233399999999999</c:v>
                </c:pt>
                <c:pt idx="2077">
                  <c:v>-2.34456</c:v>
                </c:pt>
                <c:pt idx="2078">
                  <c:v>-2.7780999999999998</c:v>
                </c:pt>
                <c:pt idx="2079">
                  <c:v>-2.8657699999999999</c:v>
                </c:pt>
                <c:pt idx="2080">
                  <c:v>-2.7528000000000001</c:v>
                </c:pt>
                <c:pt idx="2081">
                  <c:v>-2.3791199999999999</c:v>
                </c:pt>
                <c:pt idx="2082">
                  <c:v>-2.0922499999999999</c:v>
                </c:pt>
                <c:pt idx="2083">
                  <c:v>-2.0702699999999998</c:v>
                </c:pt>
                <c:pt idx="2084">
                  <c:v>-1.7864</c:v>
                </c:pt>
                <c:pt idx="2085">
                  <c:v>-2.6962799999999998</c:v>
                </c:pt>
                <c:pt idx="2086">
                  <c:v>-2.7942</c:v>
                </c:pt>
                <c:pt idx="2087">
                  <c:v>-3.27807</c:v>
                </c:pt>
                <c:pt idx="2088">
                  <c:v>-2.2507000000000001</c:v>
                </c:pt>
                <c:pt idx="2089">
                  <c:v>-2.3123999999999998</c:v>
                </c:pt>
                <c:pt idx="2090">
                  <c:v>-2.64228</c:v>
                </c:pt>
                <c:pt idx="2091">
                  <c:v>-1.5052399999999999</c:v>
                </c:pt>
                <c:pt idx="2092">
                  <c:v>-1.8183499999999999</c:v>
                </c:pt>
                <c:pt idx="2093">
                  <c:v>-1.0928100000000001</c:v>
                </c:pt>
                <c:pt idx="2094">
                  <c:v>-1.13893</c:v>
                </c:pt>
                <c:pt idx="2095">
                  <c:v>-1.53189</c:v>
                </c:pt>
                <c:pt idx="2096">
                  <c:v>-2.8915199999999999</c:v>
                </c:pt>
                <c:pt idx="2097">
                  <c:v>-3.3101799999999999</c:v>
                </c:pt>
                <c:pt idx="2098">
                  <c:v>-3.5490699999999999</c:v>
                </c:pt>
                <c:pt idx="2099">
                  <c:v>-3.0804100000000001</c:v>
                </c:pt>
                <c:pt idx="2100">
                  <c:v>-2.2094900000000002</c:v>
                </c:pt>
                <c:pt idx="2101">
                  <c:v>-1.92781</c:v>
                </c:pt>
                <c:pt idx="2102">
                  <c:v>-1.7036</c:v>
                </c:pt>
                <c:pt idx="2103">
                  <c:v>-2.1335899999999999</c:v>
                </c:pt>
                <c:pt idx="2104">
                  <c:v>-2.6888800000000002</c:v>
                </c:pt>
                <c:pt idx="2105">
                  <c:v>-2.91262</c:v>
                </c:pt>
                <c:pt idx="2106">
                  <c:v>-2.74343</c:v>
                </c:pt>
                <c:pt idx="2107">
                  <c:v>-2.5585200000000001</c:v>
                </c:pt>
                <c:pt idx="2108">
                  <c:v>-2.8628399999999998</c:v>
                </c:pt>
                <c:pt idx="2109">
                  <c:v>-2.8504499999999999</c:v>
                </c:pt>
                <c:pt idx="2110">
                  <c:v>-1.3639399999999999</c:v>
                </c:pt>
                <c:pt idx="2111">
                  <c:v>-1.5525800000000001</c:v>
                </c:pt>
                <c:pt idx="2112">
                  <c:v>-1.46309</c:v>
                </c:pt>
                <c:pt idx="2113">
                  <c:v>-1.67113</c:v>
                </c:pt>
                <c:pt idx="2114">
                  <c:v>-2.7856700000000001</c:v>
                </c:pt>
                <c:pt idx="2115">
                  <c:v>-3.4898899999999999</c:v>
                </c:pt>
                <c:pt idx="2116">
                  <c:v>-3.52014</c:v>
                </c:pt>
                <c:pt idx="2117">
                  <c:v>-3.2702300000000002</c:v>
                </c:pt>
                <c:pt idx="2118">
                  <c:v>-2.5215700000000001</c:v>
                </c:pt>
                <c:pt idx="2119">
                  <c:v>-1.4676</c:v>
                </c:pt>
                <c:pt idx="2120">
                  <c:v>-1.2513799999999999</c:v>
                </c:pt>
                <c:pt idx="2121">
                  <c:v>-1.62988</c:v>
                </c:pt>
                <c:pt idx="2122">
                  <c:v>-2.99783</c:v>
                </c:pt>
                <c:pt idx="2123">
                  <c:v>-3.0048900000000001</c:v>
                </c:pt>
                <c:pt idx="2124">
                  <c:v>-3.2775699999999999</c:v>
                </c:pt>
                <c:pt idx="2125">
                  <c:v>-3.65123</c:v>
                </c:pt>
                <c:pt idx="2126">
                  <c:v>-3.1478600000000001</c:v>
                </c:pt>
                <c:pt idx="2127">
                  <c:v>-2.9298799999999998</c:v>
                </c:pt>
                <c:pt idx="2128">
                  <c:v>-2.32315</c:v>
                </c:pt>
                <c:pt idx="2129">
                  <c:v>-1.62707</c:v>
                </c:pt>
                <c:pt idx="2130">
                  <c:v>-2.6989999999999998</c:v>
                </c:pt>
                <c:pt idx="2131">
                  <c:v>-2.8525499999999999</c:v>
                </c:pt>
                <c:pt idx="2132">
                  <c:v>-3.5074399999999999</c:v>
                </c:pt>
                <c:pt idx="2133">
                  <c:v>-3.0447500000000001</c:v>
                </c:pt>
                <c:pt idx="2134">
                  <c:v>-2.9721600000000001</c:v>
                </c:pt>
                <c:pt idx="2135">
                  <c:v>-2.4953400000000001</c:v>
                </c:pt>
                <c:pt idx="2136">
                  <c:v>-2.0566399999999998</c:v>
                </c:pt>
                <c:pt idx="2137">
                  <c:v>-1.65252</c:v>
                </c:pt>
                <c:pt idx="2138">
                  <c:v>-1.4137299999999999</c:v>
                </c:pt>
                <c:pt idx="2139">
                  <c:v>-2.2467299999999999</c:v>
                </c:pt>
                <c:pt idx="2140">
                  <c:v>-2.0850599999999999</c:v>
                </c:pt>
                <c:pt idx="2141">
                  <c:v>-2.1166200000000002</c:v>
                </c:pt>
                <c:pt idx="2142">
                  <c:v>-2.7669600000000001</c:v>
                </c:pt>
                <c:pt idx="2143">
                  <c:v>-3.65645</c:v>
                </c:pt>
                <c:pt idx="2144">
                  <c:v>-3.1669399999999999</c:v>
                </c:pt>
                <c:pt idx="2145">
                  <c:v>-2.83901</c:v>
                </c:pt>
                <c:pt idx="2146">
                  <c:v>-1.97699</c:v>
                </c:pt>
                <c:pt idx="2147">
                  <c:v>-2.1796099999999998</c:v>
                </c:pt>
                <c:pt idx="2148">
                  <c:v>-2.3908299999999998</c:v>
                </c:pt>
                <c:pt idx="2149">
                  <c:v>-2.6995399999999998</c:v>
                </c:pt>
                <c:pt idx="2150">
                  <c:v>-2.1010800000000001</c:v>
                </c:pt>
                <c:pt idx="2151">
                  <c:v>-2.8743500000000002</c:v>
                </c:pt>
                <c:pt idx="2152">
                  <c:v>-2.62677</c:v>
                </c:pt>
                <c:pt idx="2153">
                  <c:v>-2.2559800000000001</c:v>
                </c:pt>
                <c:pt idx="2154">
                  <c:v>-2.4650099999999999</c:v>
                </c:pt>
                <c:pt idx="2155">
                  <c:v>-1.63161</c:v>
                </c:pt>
                <c:pt idx="2156">
                  <c:v>-1.50875</c:v>
                </c:pt>
                <c:pt idx="2157">
                  <c:v>-1.2759799999999999</c:v>
                </c:pt>
                <c:pt idx="2158">
                  <c:v>-1.8839699999999999</c:v>
                </c:pt>
                <c:pt idx="2159">
                  <c:v>-2.9121000000000001</c:v>
                </c:pt>
                <c:pt idx="2160">
                  <c:v>-3.0866899999999999</c:v>
                </c:pt>
                <c:pt idx="2161">
                  <c:v>-3.9594</c:v>
                </c:pt>
                <c:pt idx="2162">
                  <c:v>-2.8423699999999998</c:v>
                </c:pt>
                <c:pt idx="2163">
                  <c:v>-2.9737300000000002</c:v>
                </c:pt>
                <c:pt idx="2164">
                  <c:v>-1.2363299999999999</c:v>
                </c:pt>
                <c:pt idx="2165">
                  <c:v>-0.73073699999999997</c:v>
                </c:pt>
                <c:pt idx="2166">
                  <c:v>-1.3957599999999999</c:v>
                </c:pt>
                <c:pt idx="2167">
                  <c:v>-2.4090099999999999</c:v>
                </c:pt>
                <c:pt idx="2168">
                  <c:v>-3.2078500000000001</c:v>
                </c:pt>
                <c:pt idx="2169">
                  <c:v>-3.1280100000000002</c:v>
                </c:pt>
                <c:pt idx="2170">
                  <c:v>-2.5780599999999998</c:v>
                </c:pt>
                <c:pt idx="2171">
                  <c:v>-2.28295</c:v>
                </c:pt>
                <c:pt idx="2172">
                  <c:v>-2.1998500000000001</c:v>
                </c:pt>
                <c:pt idx="2173">
                  <c:v>-1.77125</c:v>
                </c:pt>
                <c:pt idx="2174">
                  <c:v>-2.1884999999999999</c:v>
                </c:pt>
                <c:pt idx="2175">
                  <c:v>-2.18411</c:v>
                </c:pt>
                <c:pt idx="2176">
                  <c:v>-2.6502599999999998</c:v>
                </c:pt>
                <c:pt idx="2177">
                  <c:v>-2.8423099999999999</c:v>
                </c:pt>
                <c:pt idx="2178">
                  <c:v>-3.0742400000000001</c:v>
                </c:pt>
                <c:pt idx="2179">
                  <c:v>-3.1902200000000001</c:v>
                </c:pt>
                <c:pt idx="2180">
                  <c:v>-2.1964800000000002</c:v>
                </c:pt>
                <c:pt idx="2181">
                  <c:v>-2.2224499999999998</c:v>
                </c:pt>
                <c:pt idx="2182">
                  <c:v>-1.70818</c:v>
                </c:pt>
                <c:pt idx="2183">
                  <c:v>-1.95712</c:v>
                </c:pt>
                <c:pt idx="2184">
                  <c:v>-1.3364499999999999</c:v>
                </c:pt>
                <c:pt idx="2185">
                  <c:v>-2.2522799999999998</c:v>
                </c:pt>
                <c:pt idx="2186">
                  <c:v>-2.7902399999999998</c:v>
                </c:pt>
                <c:pt idx="2187">
                  <c:v>-2.6914500000000001</c:v>
                </c:pt>
                <c:pt idx="2188">
                  <c:v>-2.8642599999999998</c:v>
                </c:pt>
                <c:pt idx="2189">
                  <c:v>-2.3892000000000002</c:v>
                </c:pt>
                <c:pt idx="2190">
                  <c:v>-2.3520599999999998</c:v>
                </c:pt>
                <c:pt idx="2191">
                  <c:v>-2.53491</c:v>
                </c:pt>
                <c:pt idx="2192">
                  <c:v>-2.0045600000000001</c:v>
                </c:pt>
                <c:pt idx="2193">
                  <c:v>-2.2953299999999999</c:v>
                </c:pt>
                <c:pt idx="2194">
                  <c:v>-2.3939499999999998</c:v>
                </c:pt>
                <c:pt idx="2195">
                  <c:v>-2.8879100000000002</c:v>
                </c:pt>
                <c:pt idx="2196">
                  <c:v>-2.2504599999999999</c:v>
                </c:pt>
                <c:pt idx="2197">
                  <c:v>-2.45452</c:v>
                </c:pt>
                <c:pt idx="2198">
                  <c:v>-3.0287899999999999</c:v>
                </c:pt>
                <c:pt idx="2199">
                  <c:v>-2.6235599999999999</c:v>
                </c:pt>
                <c:pt idx="2200">
                  <c:v>-2.02298</c:v>
                </c:pt>
                <c:pt idx="2201">
                  <c:v>-1.4692400000000001</c:v>
                </c:pt>
                <c:pt idx="2202">
                  <c:v>-2.1731699999999998</c:v>
                </c:pt>
                <c:pt idx="2203">
                  <c:v>-2.44157</c:v>
                </c:pt>
                <c:pt idx="2204">
                  <c:v>-3.1740599999999999</c:v>
                </c:pt>
                <c:pt idx="2205">
                  <c:v>-3.4945200000000001</c:v>
                </c:pt>
                <c:pt idx="2206">
                  <c:v>-2.8850899999999999</c:v>
                </c:pt>
                <c:pt idx="2207">
                  <c:v>-3.1013099999999998</c:v>
                </c:pt>
                <c:pt idx="2208">
                  <c:v>-2.0632100000000002</c:v>
                </c:pt>
                <c:pt idx="2209">
                  <c:v>-2.5505399999999998</c:v>
                </c:pt>
                <c:pt idx="2210">
                  <c:v>-1.3590199999999999</c:v>
                </c:pt>
                <c:pt idx="2211">
                  <c:v>-1.6575500000000001</c:v>
                </c:pt>
                <c:pt idx="2212">
                  <c:v>-2.7606799999999998</c:v>
                </c:pt>
                <c:pt idx="2213">
                  <c:v>-2.6984499999999998</c:v>
                </c:pt>
                <c:pt idx="2214">
                  <c:v>-2.8145899999999999</c:v>
                </c:pt>
                <c:pt idx="2215">
                  <c:v>-3.4848300000000001</c:v>
                </c:pt>
                <c:pt idx="2216">
                  <c:v>-2.8286799999999999</c:v>
                </c:pt>
                <c:pt idx="2217">
                  <c:v>-1.9164000000000001</c:v>
                </c:pt>
                <c:pt idx="2218">
                  <c:v>-1.6531400000000001</c:v>
                </c:pt>
                <c:pt idx="2219">
                  <c:v>-1.6759299999999999</c:v>
                </c:pt>
                <c:pt idx="2220">
                  <c:v>-2.0649099999999998</c:v>
                </c:pt>
                <c:pt idx="2221">
                  <c:v>-3.1401400000000002</c:v>
                </c:pt>
                <c:pt idx="2222">
                  <c:v>-3.6208300000000002</c:v>
                </c:pt>
                <c:pt idx="2223">
                  <c:v>-3.8578600000000001</c:v>
                </c:pt>
                <c:pt idx="2224">
                  <c:v>-2.5659999999999998</c:v>
                </c:pt>
                <c:pt idx="2225">
                  <c:v>-2.7400199999999999</c:v>
                </c:pt>
                <c:pt idx="2226">
                  <c:v>-2.5571600000000001</c:v>
                </c:pt>
                <c:pt idx="2227">
                  <c:v>-2.08066</c:v>
                </c:pt>
                <c:pt idx="2228">
                  <c:v>-1.48848</c:v>
                </c:pt>
                <c:pt idx="2229">
                  <c:v>-1.93964</c:v>
                </c:pt>
                <c:pt idx="2230">
                  <c:v>-2.0369299999999999</c:v>
                </c:pt>
                <c:pt idx="2231">
                  <c:v>-2.52311</c:v>
                </c:pt>
                <c:pt idx="2232">
                  <c:v>-2.7023199999999998</c:v>
                </c:pt>
                <c:pt idx="2233">
                  <c:v>-2.63273</c:v>
                </c:pt>
                <c:pt idx="2234">
                  <c:v>-2.2425299999999999</c:v>
                </c:pt>
                <c:pt idx="2235">
                  <c:v>-1.8301499999999999</c:v>
                </c:pt>
                <c:pt idx="2236">
                  <c:v>-1.8391200000000001</c:v>
                </c:pt>
                <c:pt idx="2237">
                  <c:v>-2.3858899999999998</c:v>
                </c:pt>
                <c:pt idx="2238">
                  <c:v>-2.8505199999999999</c:v>
                </c:pt>
                <c:pt idx="2239">
                  <c:v>-2.7058499999999999</c:v>
                </c:pt>
                <c:pt idx="2240">
                  <c:v>-3.6093299999999999</c:v>
                </c:pt>
                <c:pt idx="2241">
                  <c:v>-2.7637</c:v>
                </c:pt>
                <c:pt idx="2242">
                  <c:v>-2.8269099999999998</c:v>
                </c:pt>
                <c:pt idx="2243">
                  <c:v>-3.1835399999999998</c:v>
                </c:pt>
                <c:pt idx="2244">
                  <c:v>-2.0272100000000002</c:v>
                </c:pt>
                <c:pt idx="2245">
                  <c:v>-1.9228700000000001</c:v>
                </c:pt>
                <c:pt idx="2246">
                  <c:v>-1.3570899999999999</c:v>
                </c:pt>
                <c:pt idx="2247">
                  <c:v>-2.1168300000000002</c:v>
                </c:pt>
                <c:pt idx="2248">
                  <c:v>-2.1258499999999998</c:v>
                </c:pt>
                <c:pt idx="2249">
                  <c:v>-2.8468900000000001</c:v>
                </c:pt>
                <c:pt idx="2250">
                  <c:v>-3.1436899999999999</c:v>
                </c:pt>
                <c:pt idx="2251">
                  <c:v>-2.92069</c:v>
                </c:pt>
                <c:pt idx="2252">
                  <c:v>-2.48122</c:v>
                </c:pt>
                <c:pt idx="2253">
                  <c:v>-2.1295799999999998</c:v>
                </c:pt>
                <c:pt idx="2254">
                  <c:v>-2.16473</c:v>
                </c:pt>
                <c:pt idx="2255">
                  <c:v>-2.0512800000000002</c:v>
                </c:pt>
                <c:pt idx="2256">
                  <c:v>-2.6039400000000001</c:v>
                </c:pt>
                <c:pt idx="2257">
                  <c:v>-2.9785699999999999</c:v>
                </c:pt>
                <c:pt idx="2258">
                  <c:v>-2.5034800000000001</c:v>
                </c:pt>
                <c:pt idx="2259">
                  <c:v>-2.9372699999999998</c:v>
                </c:pt>
                <c:pt idx="2260">
                  <c:v>-2.3736899999999999</c:v>
                </c:pt>
                <c:pt idx="2261">
                  <c:v>-2.91825</c:v>
                </c:pt>
                <c:pt idx="2262">
                  <c:v>-2.55294</c:v>
                </c:pt>
                <c:pt idx="2263">
                  <c:v>-1.4419500000000001</c:v>
                </c:pt>
                <c:pt idx="2264">
                  <c:v>-2.2246999999999999</c:v>
                </c:pt>
                <c:pt idx="2265">
                  <c:v>-2.0339399999999999</c:v>
                </c:pt>
                <c:pt idx="2266">
                  <c:v>-3.04738</c:v>
                </c:pt>
                <c:pt idx="2267">
                  <c:v>-3.1023200000000002</c:v>
                </c:pt>
                <c:pt idx="2268">
                  <c:v>-2.94882</c:v>
                </c:pt>
                <c:pt idx="2269">
                  <c:v>-3.2589100000000002</c:v>
                </c:pt>
                <c:pt idx="2270">
                  <c:v>-2.7495099999999999</c:v>
                </c:pt>
                <c:pt idx="2271">
                  <c:v>-2.0063399999999998</c:v>
                </c:pt>
                <c:pt idx="2272">
                  <c:v>-1.6944900000000001</c:v>
                </c:pt>
                <c:pt idx="2273">
                  <c:v>-2.07369</c:v>
                </c:pt>
                <c:pt idx="2274">
                  <c:v>-1.8401700000000001</c:v>
                </c:pt>
                <c:pt idx="2275">
                  <c:v>-2.7509899999999998</c:v>
                </c:pt>
                <c:pt idx="2276">
                  <c:v>-2.6817199999999999</c:v>
                </c:pt>
                <c:pt idx="2277">
                  <c:v>-2.3781400000000001</c:v>
                </c:pt>
                <c:pt idx="2278">
                  <c:v>-3.2036600000000002</c:v>
                </c:pt>
                <c:pt idx="2279">
                  <c:v>-2.8224900000000002</c:v>
                </c:pt>
                <c:pt idx="2280">
                  <c:v>-2.3173400000000002</c:v>
                </c:pt>
                <c:pt idx="2281">
                  <c:v>-1.73021</c:v>
                </c:pt>
                <c:pt idx="2282">
                  <c:v>-1.69584</c:v>
                </c:pt>
                <c:pt idx="2283">
                  <c:v>-2.5702199999999999</c:v>
                </c:pt>
                <c:pt idx="2284">
                  <c:v>-3.0685699999999998</c:v>
                </c:pt>
                <c:pt idx="2285">
                  <c:v>-3.4797500000000001</c:v>
                </c:pt>
                <c:pt idx="2286">
                  <c:v>-3.5413399999999999</c:v>
                </c:pt>
                <c:pt idx="2287">
                  <c:v>-3.1163400000000001</c:v>
                </c:pt>
                <c:pt idx="2288">
                  <c:v>-2.6710500000000001</c:v>
                </c:pt>
                <c:pt idx="2289">
                  <c:v>-1.50302</c:v>
                </c:pt>
                <c:pt idx="2290">
                  <c:v>-1.7480800000000001</c:v>
                </c:pt>
                <c:pt idx="2291">
                  <c:v>-1.9364600000000001</c:v>
                </c:pt>
                <c:pt idx="2292">
                  <c:v>-2.1063200000000002</c:v>
                </c:pt>
                <c:pt idx="2293">
                  <c:v>-1.91117</c:v>
                </c:pt>
                <c:pt idx="2294">
                  <c:v>-2.6194199999999999</c:v>
                </c:pt>
                <c:pt idx="2295">
                  <c:v>-3.3407399999999998</c:v>
                </c:pt>
                <c:pt idx="2296">
                  <c:v>-2.83128</c:v>
                </c:pt>
                <c:pt idx="2297">
                  <c:v>-3.1203400000000001</c:v>
                </c:pt>
                <c:pt idx="2298">
                  <c:v>-2.1521699999999999</c:v>
                </c:pt>
                <c:pt idx="2299">
                  <c:v>-1.8740600000000001</c:v>
                </c:pt>
                <c:pt idx="2300">
                  <c:v>-1.46444</c:v>
                </c:pt>
                <c:pt idx="2301">
                  <c:v>-2.3761199999999998</c:v>
                </c:pt>
                <c:pt idx="2302">
                  <c:v>-2.9380999999999999</c:v>
                </c:pt>
                <c:pt idx="2303">
                  <c:v>-2.67435</c:v>
                </c:pt>
                <c:pt idx="2304">
                  <c:v>-3.17143</c:v>
                </c:pt>
                <c:pt idx="2305">
                  <c:v>-2.5964200000000002</c:v>
                </c:pt>
                <c:pt idx="2306">
                  <c:v>-2.8035999999999999</c:v>
                </c:pt>
                <c:pt idx="2307">
                  <c:v>-2.1406900000000002</c:v>
                </c:pt>
                <c:pt idx="2308">
                  <c:v>-1.70411</c:v>
                </c:pt>
                <c:pt idx="2309">
                  <c:v>-2.2477200000000002</c:v>
                </c:pt>
                <c:pt idx="2310">
                  <c:v>-1.79762</c:v>
                </c:pt>
                <c:pt idx="2311">
                  <c:v>-1.73593</c:v>
                </c:pt>
                <c:pt idx="2312">
                  <c:v>-2.42381</c:v>
                </c:pt>
                <c:pt idx="2313">
                  <c:v>-3.0380600000000002</c:v>
                </c:pt>
                <c:pt idx="2314">
                  <c:v>-3.1587399999999999</c:v>
                </c:pt>
                <c:pt idx="2315">
                  <c:v>-2.7501799999999998</c:v>
                </c:pt>
                <c:pt idx="2316">
                  <c:v>-2.1427</c:v>
                </c:pt>
                <c:pt idx="2317">
                  <c:v>-1.53111</c:v>
                </c:pt>
                <c:pt idx="2318">
                  <c:v>-1.6957599999999999</c:v>
                </c:pt>
                <c:pt idx="2319">
                  <c:v>-2.4314</c:v>
                </c:pt>
                <c:pt idx="2320">
                  <c:v>-1.7111000000000001</c:v>
                </c:pt>
                <c:pt idx="2321">
                  <c:v>-2.9629099999999999</c:v>
                </c:pt>
                <c:pt idx="2322">
                  <c:v>-2.3485299999999998</c:v>
                </c:pt>
                <c:pt idx="2323">
                  <c:v>-2.4489399999999999</c:v>
                </c:pt>
                <c:pt idx="2324">
                  <c:v>-3.0590799999999998</c:v>
                </c:pt>
                <c:pt idx="2325">
                  <c:v>-2.0762</c:v>
                </c:pt>
                <c:pt idx="2326">
                  <c:v>-2.0687700000000002</c:v>
                </c:pt>
                <c:pt idx="2327">
                  <c:v>-1.41045</c:v>
                </c:pt>
                <c:pt idx="2328">
                  <c:v>-1.95919</c:v>
                </c:pt>
                <c:pt idx="2329">
                  <c:v>-2.6443500000000002</c:v>
                </c:pt>
                <c:pt idx="2330">
                  <c:v>-3.18852</c:v>
                </c:pt>
                <c:pt idx="2331">
                  <c:v>-3.7019000000000002</c:v>
                </c:pt>
                <c:pt idx="2332">
                  <c:v>-3.1354000000000002</c:v>
                </c:pt>
                <c:pt idx="2333">
                  <c:v>-2.984</c:v>
                </c:pt>
                <c:pt idx="2334">
                  <c:v>-1.4611400000000001</c:v>
                </c:pt>
                <c:pt idx="2335">
                  <c:v>-1.59572</c:v>
                </c:pt>
                <c:pt idx="2336">
                  <c:v>-1.2631600000000001</c:v>
                </c:pt>
                <c:pt idx="2337">
                  <c:v>-1.8349599999999999</c:v>
                </c:pt>
                <c:pt idx="2338">
                  <c:v>-2.5303800000000001</c:v>
                </c:pt>
                <c:pt idx="2339">
                  <c:v>-3.1485099999999999</c:v>
                </c:pt>
                <c:pt idx="2340">
                  <c:v>-2.9004099999999999</c:v>
                </c:pt>
                <c:pt idx="2341">
                  <c:v>-2.7378800000000001</c:v>
                </c:pt>
                <c:pt idx="2342">
                  <c:v>-2.1968999999999999</c:v>
                </c:pt>
                <c:pt idx="2343">
                  <c:v>-2.3405499999999999</c:v>
                </c:pt>
                <c:pt idx="2344">
                  <c:v>-1.85564</c:v>
                </c:pt>
                <c:pt idx="2345">
                  <c:v>-2.0178099999999999</c:v>
                </c:pt>
                <c:pt idx="2346">
                  <c:v>-2.93634</c:v>
                </c:pt>
                <c:pt idx="2347">
                  <c:v>-3.63639</c:v>
                </c:pt>
                <c:pt idx="2348">
                  <c:v>-3.6803699999999999</c:v>
                </c:pt>
                <c:pt idx="2349">
                  <c:v>-3.3045599999999999</c:v>
                </c:pt>
                <c:pt idx="2350">
                  <c:v>-2.2606199999999999</c:v>
                </c:pt>
                <c:pt idx="2351">
                  <c:v>-1.7890999999999999</c:v>
                </c:pt>
                <c:pt idx="2352">
                  <c:v>-1.1452599999999999</c:v>
                </c:pt>
                <c:pt idx="2353">
                  <c:v>-2.1716000000000002</c:v>
                </c:pt>
                <c:pt idx="2354">
                  <c:v>-2.2914699999999999</c:v>
                </c:pt>
                <c:pt idx="2355">
                  <c:v>-2.6012900000000001</c:v>
                </c:pt>
                <c:pt idx="2356">
                  <c:v>-2.4426600000000001</c:v>
                </c:pt>
                <c:pt idx="2357">
                  <c:v>-2.5460799999999999</c:v>
                </c:pt>
                <c:pt idx="2358">
                  <c:v>-3.2609400000000002</c:v>
                </c:pt>
                <c:pt idx="2359">
                  <c:v>-2.9637600000000002</c:v>
                </c:pt>
                <c:pt idx="2360">
                  <c:v>-2.44441</c:v>
                </c:pt>
                <c:pt idx="2361">
                  <c:v>-1.84108</c:v>
                </c:pt>
                <c:pt idx="2362">
                  <c:v>-1.7887999999999999</c:v>
                </c:pt>
                <c:pt idx="2363">
                  <c:v>-2.5025300000000001</c:v>
                </c:pt>
                <c:pt idx="2364">
                  <c:v>-2.5006400000000002</c:v>
                </c:pt>
                <c:pt idx="2365">
                  <c:v>-2.7993299999999999</c:v>
                </c:pt>
                <c:pt idx="2366">
                  <c:v>-2.8761700000000001</c:v>
                </c:pt>
                <c:pt idx="2367">
                  <c:v>-2.6925699999999999</c:v>
                </c:pt>
                <c:pt idx="2368">
                  <c:v>-2.2281599999999999</c:v>
                </c:pt>
                <c:pt idx="2369">
                  <c:v>-2.1749299999999998</c:v>
                </c:pt>
                <c:pt idx="2370">
                  <c:v>-1.89184</c:v>
                </c:pt>
                <c:pt idx="2371">
                  <c:v>-1.9584900000000001</c:v>
                </c:pt>
                <c:pt idx="2372">
                  <c:v>-2.1433599999999999</c:v>
                </c:pt>
                <c:pt idx="2373">
                  <c:v>-1.91357</c:v>
                </c:pt>
                <c:pt idx="2374">
                  <c:v>-2.9524400000000002</c:v>
                </c:pt>
                <c:pt idx="2375">
                  <c:v>-3.3206899999999999</c:v>
                </c:pt>
                <c:pt idx="2376">
                  <c:v>-3.5661</c:v>
                </c:pt>
                <c:pt idx="2377">
                  <c:v>-3.0944099999999999</c:v>
                </c:pt>
                <c:pt idx="2378">
                  <c:v>-2.0874600000000001</c:v>
                </c:pt>
                <c:pt idx="2379">
                  <c:v>-1.44662</c:v>
                </c:pt>
                <c:pt idx="2380">
                  <c:v>-1.78745</c:v>
                </c:pt>
                <c:pt idx="2381">
                  <c:v>-2.16092</c:v>
                </c:pt>
                <c:pt idx="2382">
                  <c:v>-2.3848799999999999</c:v>
                </c:pt>
                <c:pt idx="2383">
                  <c:v>-3.0692400000000002</c:v>
                </c:pt>
                <c:pt idx="2384">
                  <c:v>-3.1433499999999999</c:v>
                </c:pt>
                <c:pt idx="2385">
                  <c:v>-2.6859700000000002</c:v>
                </c:pt>
                <c:pt idx="2386">
                  <c:v>-2.41248</c:v>
                </c:pt>
                <c:pt idx="2387">
                  <c:v>-1.75467</c:v>
                </c:pt>
                <c:pt idx="2388">
                  <c:v>-2.1892399999999999</c:v>
                </c:pt>
                <c:pt idx="2389">
                  <c:v>-2.1100599999999998</c:v>
                </c:pt>
                <c:pt idx="2390">
                  <c:v>-1.69831</c:v>
                </c:pt>
                <c:pt idx="2391">
                  <c:v>-3.0823700000000001</c:v>
                </c:pt>
                <c:pt idx="2392">
                  <c:v>-3.4776899999999999</c:v>
                </c:pt>
                <c:pt idx="2393">
                  <c:v>-2.7675100000000001</c:v>
                </c:pt>
                <c:pt idx="2394">
                  <c:v>-2.9572099999999999</c:v>
                </c:pt>
                <c:pt idx="2395">
                  <c:v>-3.0196100000000001</c:v>
                </c:pt>
                <c:pt idx="2396">
                  <c:v>-2.4755400000000001</c:v>
                </c:pt>
                <c:pt idx="2397">
                  <c:v>-1.7997700000000001</c:v>
                </c:pt>
                <c:pt idx="2398">
                  <c:v>-1.97143</c:v>
                </c:pt>
                <c:pt idx="2399">
                  <c:v>-1.88236</c:v>
                </c:pt>
                <c:pt idx="2400">
                  <c:v>-2.1539199999999998</c:v>
                </c:pt>
                <c:pt idx="2401">
                  <c:v>-2.8969999999999998</c:v>
                </c:pt>
                <c:pt idx="2402">
                  <c:v>-3.4827400000000002</c:v>
                </c:pt>
                <c:pt idx="2403">
                  <c:v>-2.6279300000000001</c:v>
                </c:pt>
                <c:pt idx="2404">
                  <c:v>-2.4885799999999998</c:v>
                </c:pt>
                <c:pt idx="2405">
                  <c:v>-1.6294299999999999</c:v>
                </c:pt>
                <c:pt idx="2406">
                  <c:v>-2.2413699999999999</c:v>
                </c:pt>
                <c:pt idx="2407">
                  <c:v>-2.1650800000000001</c:v>
                </c:pt>
                <c:pt idx="2408">
                  <c:v>-2.8154699999999999</c:v>
                </c:pt>
                <c:pt idx="2409">
                  <c:v>-2.8928699999999998</c:v>
                </c:pt>
                <c:pt idx="2410">
                  <c:v>-3.3566799999999999</c:v>
                </c:pt>
                <c:pt idx="2411">
                  <c:v>-2.2411699999999999</c:v>
                </c:pt>
                <c:pt idx="2412">
                  <c:v>-2.16547</c:v>
                </c:pt>
                <c:pt idx="2413">
                  <c:v>-1.7480199999999999</c:v>
                </c:pt>
                <c:pt idx="2414">
                  <c:v>-2.5312899999999998</c:v>
                </c:pt>
                <c:pt idx="2415">
                  <c:v>-2.2994599999999998</c:v>
                </c:pt>
                <c:pt idx="2416">
                  <c:v>-1.7782899999999999</c:v>
                </c:pt>
                <c:pt idx="2417">
                  <c:v>-2.3653300000000002</c:v>
                </c:pt>
                <c:pt idx="2418">
                  <c:v>-2.7952499999999998</c:v>
                </c:pt>
                <c:pt idx="2419">
                  <c:v>-3.6856499999999999</c:v>
                </c:pt>
                <c:pt idx="2420">
                  <c:v>-3.9288500000000002</c:v>
                </c:pt>
                <c:pt idx="2421">
                  <c:v>-3.7161900000000001</c:v>
                </c:pt>
                <c:pt idx="2422">
                  <c:v>-3.1976900000000001</c:v>
                </c:pt>
                <c:pt idx="2423">
                  <c:v>-2.4427699999999999</c:v>
                </c:pt>
                <c:pt idx="2424">
                  <c:v>-2.2187199999999998</c:v>
                </c:pt>
                <c:pt idx="2425">
                  <c:v>-1.7198500000000001</c:v>
                </c:pt>
                <c:pt idx="2426">
                  <c:v>-2.4562400000000002</c:v>
                </c:pt>
                <c:pt idx="2427">
                  <c:v>-3.4264899999999998</c:v>
                </c:pt>
                <c:pt idx="2428">
                  <c:v>-3.85364</c:v>
                </c:pt>
                <c:pt idx="2429">
                  <c:v>-3.4442400000000002</c:v>
                </c:pt>
                <c:pt idx="2430">
                  <c:v>-2.4482200000000001</c:v>
                </c:pt>
                <c:pt idx="2431">
                  <c:v>-2.4292099999999999</c:v>
                </c:pt>
                <c:pt idx="2432">
                  <c:v>-2.2460100000000001</c:v>
                </c:pt>
                <c:pt idx="2433">
                  <c:v>-1.9220999999999999</c:v>
                </c:pt>
                <c:pt idx="2434">
                  <c:v>-1.9830000000000001</c:v>
                </c:pt>
                <c:pt idx="2435">
                  <c:v>-2.0152399999999999</c:v>
                </c:pt>
                <c:pt idx="2436">
                  <c:v>-2.9803899999999999</c:v>
                </c:pt>
                <c:pt idx="2437">
                  <c:v>-3.4499499999999999</c:v>
                </c:pt>
                <c:pt idx="2438">
                  <c:v>-3.95824</c:v>
                </c:pt>
                <c:pt idx="2439">
                  <c:v>-3.3072400000000002</c:v>
                </c:pt>
                <c:pt idx="2440">
                  <c:v>-2.4942000000000002</c:v>
                </c:pt>
                <c:pt idx="2441">
                  <c:v>-1.91761</c:v>
                </c:pt>
                <c:pt idx="2442">
                  <c:v>-1.9391</c:v>
                </c:pt>
                <c:pt idx="2443">
                  <c:v>-2.3408500000000001</c:v>
                </c:pt>
                <c:pt idx="2444">
                  <c:v>-2.5888200000000001</c:v>
                </c:pt>
                <c:pt idx="2445">
                  <c:v>-2.3388399999999998</c:v>
                </c:pt>
                <c:pt idx="2446">
                  <c:v>-3.2692999999999999</c:v>
                </c:pt>
                <c:pt idx="2447">
                  <c:v>-2.9761600000000001</c:v>
                </c:pt>
                <c:pt idx="2448">
                  <c:v>-2.66628</c:v>
                </c:pt>
                <c:pt idx="2449">
                  <c:v>-1.9085000000000001</c:v>
                </c:pt>
                <c:pt idx="2450">
                  <c:v>-2.0269200000000001</c:v>
                </c:pt>
                <c:pt idx="2451">
                  <c:v>-1.4940800000000001</c:v>
                </c:pt>
                <c:pt idx="2452">
                  <c:v>-2.3218899999999998</c:v>
                </c:pt>
                <c:pt idx="2453">
                  <c:v>-3.2194199999999999</c:v>
                </c:pt>
                <c:pt idx="2454">
                  <c:v>-3.4760900000000001</c:v>
                </c:pt>
                <c:pt idx="2455">
                  <c:v>-3.00509</c:v>
                </c:pt>
                <c:pt idx="2456">
                  <c:v>-2.6999300000000002</c:v>
                </c:pt>
                <c:pt idx="2457">
                  <c:v>-2.21143</c:v>
                </c:pt>
                <c:pt idx="2458">
                  <c:v>-1.29267</c:v>
                </c:pt>
                <c:pt idx="2459">
                  <c:v>-2.05775</c:v>
                </c:pt>
                <c:pt idx="2460">
                  <c:v>-1.95086</c:v>
                </c:pt>
                <c:pt idx="2461">
                  <c:v>-2.8336700000000001</c:v>
                </c:pt>
                <c:pt idx="2462">
                  <c:v>-2.7610600000000001</c:v>
                </c:pt>
                <c:pt idx="2463">
                  <c:v>-2.8431099999999998</c:v>
                </c:pt>
                <c:pt idx="2464">
                  <c:v>-3.3474400000000002</c:v>
                </c:pt>
                <c:pt idx="2465">
                  <c:v>-2.6452800000000001</c:v>
                </c:pt>
                <c:pt idx="2466">
                  <c:v>-2.3372999999999999</c:v>
                </c:pt>
                <c:pt idx="2467">
                  <c:v>-2.48516</c:v>
                </c:pt>
                <c:pt idx="2468">
                  <c:v>-1.5988199999999999</c:v>
                </c:pt>
                <c:pt idx="2469">
                  <c:v>-2.7372999999999998</c:v>
                </c:pt>
                <c:pt idx="2470">
                  <c:v>-3.1025999999999998</c:v>
                </c:pt>
                <c:pt idx="2471">
                  <c:v>-2.5380199999999999</c:v>
                </c:pt>
                <c:pt idx="2472">
                  <c:v>-2.4160300000000001</c:v>
                </c:pt>
                <c:pt idx="2473">
                  <c:v>-2.6593900000000001</c:v>
                </c:pt>
                <c:pt idx="2474">
                  <c:v>-2.23759</c:v>
                </c:pt>
                <c:pt idx="2475">
                  <c:v>-1.74071</c:v>
                </c:pt>
                <c:pt idx="2476">
                  <c:v>-1.7044999999999999</c:v>
                </c:pt>
                <c:pt idx="2477">
                  <c:v>-1.9330499999999999</c:v>
                </c:pt>
                <c:pt idx="2478">
                  <c:v>-1.6396999999999999</c:v>
                </c:pt>
                <c:pt idx="2479">
                  <c:v>-2.7315999999999998</c:v>
                </c:pt>
                <c:pt idx="2480">
                  <c:v>-3.2762500000000001</c:v>
                </c:pt>
                <c:pt idx="2481">
                  <c:v>-3.3170500000000001</c:v>
                </c:pt>
                <c:pt idx="2482">
                  <c:v>-3.4704700000000002</c:v>
                </c:pt>
                <c:pt idx="2483">
                  <c:v>-2.7479100000000001</c:v>
                </c:pt>
                <c:pt idx="2484">
                  <c:v>-3.2699699999999998</c:v>
                </c:pt>
                <c:pt idx="2485">
                  <c:v>-2.3126000000000002</c:v>
                </c:pt>
                <c:pt idx="2486">
                  <c:v>-2.24065</c:v>
                </c:pt>
                <c:pt idx="2487">
                  <c:v>-2.84537</c:v>
                </c:pt>
                <c:pt idx="2488">
                  <c:v>-2.3744900000000002</c:v>
                </c:pt>
                <c:pt idx="2489">
                  <c:v>-2.4497</c:v>
                </c:pt>
                <c:pt idx="2490">
                  <c:v>-2.6451799999999999</c:v>
                </c:pt>
                <c:pt idx="2491">
                  <c:v>-1.97818</c:v>
                </c:pt>
                <c:pt idx="2492">
                  <c:v>-1.9716499999999999</c:v>
                </c:pt>
                <c:pt idx="2493">
                  <c:v>-1.7312399999999999</c:v>
                </c:pt>
                <c:pt idx="2494">
                  <c:v>-1.5337400000000001</c:v>
                </c:pt>
                <c:pt idx="2495">
                  <c:v>-1.5861000000000001</c:v>
                </c:pt>
                <c:pt idx="2496">
                  <c:v>-1.53356</c:v>
                </c:pt>
                <c:pt idx="2497">
                  <c:v>-2.5442999999999998</c:v>
                </c:pt>
                <c:pt idx="2498">
                  <c:v>-2.87296</c:v>
                </c:pt>
                <c:pt idx="2499">
                  <c:v>-3.6175700000000002</c:v>
                </c:pt>
                <c:pt idx="2500">
                  <c:v>-3.4499499999999999</c:v>
                </c:pt>
                <c:pt idx="2501">
                  <c:v>-3.14255</c:v>
                </c:pt>
                <c:pt idx="2502">
                  <c:v>-2.4695</c:v>
                </c:pt>
                <c:pt idx="2503">
                  <c:v>-2.52834</c:v>
                </c:pt>
                <c:pt idx="2504">
                  <c:v>-2.43465</c:v>
                </c:pt>
                <c:pt idx="2505">
                  <c:v>-2.2886799999999998</c:v>
                </c:pt>
                <c:pt idx="2506">
                  <c:v>-2.5426500000000001</c:v>
                </c:pt>
                <c:pt idx="2507">
                  <c:v>-2.7743899999999999</c:v>
                </c:pt>
                <c:pt idx="2508">
                  <c:v>-2.9239199999999999</c:v>
                </c:pt>
                <c:pt idx="2509">
                  <c:v>-2.7687499999999998</c:v>
                </c:pt>
                <c:pt idx="2510">
                  <c:v>-3.0033799999999999</c:v>
                </c:pt>
                <c:pt idx="2511">
                  <c:v>-2.6124100000000001</c:v>
                </c:pt>
                <c:pt idx="2512">
                  <c:v>-1.73271</c:v>
                </c:pt>
                <c:pt idx="2513">
                  <c:v>-1.6484700000000001</c:v>
                </c:pt>
                <c:pt idx="2514">
                  <c:v>-1.7367300000000001</c:v>
                </c:pt>
                <c:pt idx="2515">
                  <c:v>-2.3366099999999999</c:v>
                </c:pt>
                <c:pt idx="2516">
                  <c:v>-2.8425600000000002</c:v>
                </c:pt>
                <c:pt idx="2517">
                  <c:v>-2.81006</c:v>
                </c:pt>
                <c:pt idx="2518">
                  <c:v>-2.5741299999999998</c:v>
                </c:pt>
                <c:pt idx="2519">
                  <c:v>-2.4612599999999998</c:v>
                </c:pt>
                <c:pt idx="2520">
                  <c:v>-1.82643</c:v>
                </c:pt>
                <c:pt idx="2521">
                  <c:v>-1.60025</c:v>
                </c:pt>
                <c:pt idx="2522">
                  <c:v>-2.0160100000000001</c:v>
                </c:pt>
                <c:pt idx="2523">
                  <c:v>-2.1804700000000001</c:v>
                </c:pt>
                <c:pt idx="2524">
                  <c:v>-2.1670600000000002</c:v>
                </c:pt>
                <c:pt idx="2525">
                  <c:v>-2.9832000000000001</c:v>
                </c:pt>
                <c:pt idx="2526">
                  <c:v>-2.9741300000000002</c:v>
                </c:pt>
                <c:pt idx="2527">
                  <c:v>-2.5920100000000001</c:v>
                </c:pt>
                <c:pt idx="2528">
                  <c:v>-2.9104800000000002</c:v>
                </c:pt>
                <c:pt idx="2529">
                  <c:v>-2.8246099999999998</c:v>
                </c:pt>
                <c:pt idx="2530">
                  <c:v>-2.7810800000000002</c:v>
                </c:pt>
                <c:pt idx="2531">
                  <c:v>-2.3744700000000001</c:v>
                </c:pt>
                <c:pt idx="2532">
                  <c:v>-1.9539200000000001</c:v>
                </c:pt>
                <c:pt idx="2533">
                  <c:v>-2.4522599999999999</c:v>
                </c:pt>
                <c:pt idx="2534">
                  <c:v>-2.5473499999999998</c:v>
                </c:pt>
                <c:pt idx="2535">
                  <c:v>-2.97275</c:v>
                </c:pt>
                <c:pt idx="2536">
                  <c:v>-2.9147699999999999</c:v>
                </c:pt>
                <c:pt idx="2537">
                  <c:v>-2.1119599999999998</c:v>
                </c:pt>
                <c:pt idx="2538">
                  <c:v>-2.0428799999999998</c:v>
                </c:pt>
                <c:pt idx="2539">
                  <c:v>-1.2881899999999999</c:v>
                </c:pt>
                <c:pt idx="2540">
                  <c:v>-2.31704</c:v>
                </c:pt>
                <c:pt idx="2541">
                  <c:v>-2.0744600000000002</c:v>
                </c:pt>
                <c:pt idx="2542">
                  <c:v>-3.0730400000000002</c:v>
                </c:pt>
                <c:pt idx="2543">
                  <c:v>-3.0657399999999999</c:v>
                </c:pt>
                <c:pt idx="2544">
                  <c:v>-2.5045700000000002</c:v>
                </c:pt>
                <c:pt idx="2545">
                  <c:v>-2.4317299999999999</c:v>
                </c:pt>
                <c:pt idx="2546">
                  <c:v>-2.62175</c:v>
                </c:pt>
                <c:pt idx="2547">
                  <c:v>-2.6041799999999999</c:v>
                </c:pt>
                <c:pt idx="2548">
                  <c:v>-1.7181900000000001</c:v>
                </c:pt>
                <c:pt idx="2549">
                  <c:v>-1.8884799999999999</c:v>
                </c:pt>
                <c:pt idx="2550">
                  <c:v>-1.92058</c:v>
                </c:pt>
                <c:pt idx="2551">
                  <c:v>-2.2822900000000002</c:v>
                </c:pt>
                <c:pt idx="2552">
                  <c:v>-3.3346900000000002</c:v>
                </c:pt>
                <c:pt idx="2553">
                  <c:v>-2.9281600000000001</c:v>
                </c:pt>
                <c:pt idx="2554">
                  <c:v>-2.25237</c:v>
                </c:pt>
                <c:pt idx="2555">
                  <c:v>-1.73064</c:v>
                </c:pt>
                <c:pt idx="2556">
                  <c:v>-1.7472000000000001</c:v>
                </c:pt>
                <c:pt idx="2557">
                  <c:v>-2.40394</c:v>
                </c:pt>
                <c:pt idx="2558">
                  <c:v>-2.3100999999999998</c:v>
                </c:pt>
                <c:pt idx="2559">
                  <c:v>-3.3331400000000002</c:v>
                </c:pt>
                <c:pt idx="2560">
                  <c:v>-2.69184</c:v>
                </c:pt>
                <c:pt idx="2561">
                  <c:v>-3.1488800000000001</c:v>
                </c:pt>
                <c:pt idx="2562">
                  <c:v>-3.3068300000000002</c:v>
                </c:pt>
                <c:pt idx="2563">
                  <c:v>-2.7143600000000001</c:v>
                </c:pt>
                <c:pt idx="2564">
                  <c:v>-1.9109100000000001</c:v>
                </c:pt>
                <c:pt idx="2565">
                  <c:v>-1.28067</c:v>
                </c:pt>
                <c:pt idx="2566">
                  <c:v>-1.59026</c:v>
                </c:pt>
                <c:pt idx="2567">
                  <c:v>-2.16574</c:v>
                </c:pt>
                <c:pt idx="2568">
                  <c:v>-2.4645899999999998</c:v>
                </c:pt>
                <c:pt idx="2569">
                  <c:v>-2.58867</c:v>
                </c:pt>
                <c:pt idx="2570">
                  <c:v>-3.0488900000000001</c:v>
                </c:pt>
                <c:pt idx="2571">
                  <c:v>-2.70756</c:v>
                </c:pt>
                <c:pt idx="2572">
                  <c:v>-2.5851899999999999</c:v>
                </c:pt>
                <c:pt idx="2573">
                  <c:v>-2.9073500000000001</c:v>
                </c:pt>
                <c:pt idx="2574">
                  <c:v>-2.4312299999999998</c:v>
                </c:pt>
                <c:pt idx="2575">
                  <c:v>-2.2408899999999998</c:v>
                </c:pt>
                <c:pt idx="2576">
                  <c:v>-2.1412900000000001</c:v>
                </c:pt>
                <c:pt idx="2577">
                  <c:v>-1.75709</c:v>
                </c:pt>
                <c:pt idx="2578">
                  <c:v>-2.7688899999999999</c:v>
                </c:pt>
                <c:pt idx="2579">
                  <c:v>-2.8603999999999998</c:v>
                </c:pt>
                <c:pt idx="2580">
                  <c:v>-3.5144600000000001</c:v>
                </c:pt>
                <c:pt idx="2581">
                  <c:v>-2.6110199999999999</c:v>
                </c:pt>
                <c:pt idx="2582">
                  <c:v>-2.3452199999999999</c:v>
                </c:pt>
                <c:pt idx="2583">
                  <c:v>-1.3463700000000001</c:v>
                </c:pt>
                <c:pt idx="2584">
                  <c:v>-1.73333</c:v>
                </c:pt>
                <c:pt idx="2585">
                  <c:v>-2.01187</c:v>
                </c:pt>
                <c:pt idx="2586">
                  <c:v>-3.0397099999999999</c:v>
                </c:pt>
                <c:pt idx="2587">
                  <c:v>-3.17258</c:v>
                </c:pt>
                <c:pt idx="2588">
                  <c:v>-3.41405</c:v>
                </c:pt>
                <c:pt idx="2589">
                  <c:v>-2.9988800000000002</c:v>
                </c:pt>
                <c:pt idx="2590">
                  <c:v>-2.7257199999999999</c:v>
                </c:pt>
                <c:pt idx="2591">
                  <c:v>-2.59259</c:v>
                </c:pt>
                <c:pt idx="2592">
                  <c:v>-1.5297799999999999</c:v>
                </c:pt>
                <c:pt idx="2593">
                  <c:v>-2.0111400000000001</c:v>
                </c:pt>
                <c:pt idx="2594">
                  <c:v>-2.1565099999999999</c:v>
                </c:pt>
                <c:pt idx="2595">
                  <c:v>-2.05802</c:v>
                </c:pt>
                <c:pt idx="2596">
                  <c:v>-2.22465</c:v>
                </c:pt>
                <c:pt idx="2597">
                  <c:v>-2.66153</c:v>
                </c:pt>
                <c:pt idx="2598">
                  <c:v>-2.7009699999999999</c:v>
                </c:pt>
                <c:pt idx="2599">
                  <c:v>-2.7628499999999998</c:v>
                </c:pt>
                <c:pt idx="2600">
                  <c:v>-2.23441</c:v>
                </c:pt>
                <c:pt idx="2601">
                  <c:v>-1.4168099999999999</c:v>
                </c:pt>
                <c:pt idx="2602">
                  <c:v>-1.5964400000000001</c:v>
                </c:pt>
                <c:pt idx="2603">
                  <c:v>-2.1285099999999999</c:v>
                </c:pt>
                <c:pt idx="2604">
                  <c:v>-3.3897499999999998</c:v>
                </c:pt>
                <c:pt idx="2605">
                  <c:v>-3.4576199999999999</c:v>
                </c:pt>
                <c:pt idx="2606">
                  <c:v>-3.0825</c:v>
                </c:pt>
                <c:pt idx="2607">
                  <c:v>-2.8168099999999998</c:v>
                </c:pt>
                <c:pt idx="2608">
                  <c:v>-2.6937899999999999</c:v>
                </c:pt>
                <c:pt idx="2609">
                  <c:v>-2.11721</c:v>
                </c:pt>
                <c:pt idx="2610">
                  <c:v>-1.7098500000000001</c:v>
                </c:pt>
                <c:pt idx="2611">
                  <c:v>-1.8512200000000001</c:v>
                </c:pt>
                <c:pt idx="2612">
                  <c:v>-2.1535500000000001</c:v>
                </c:pt>
                <c:pt idx="2613">
                  <c:v>-2.58331</c:v>
                </c:pt>
                <c:pt idx="2614">
                  <c:v>-3.3956499999999998</c:v>
                </c:pt>
                <c:pt idx="2615">
                  <c:v>-3.3112699999999999</c:v>
                </c:pt>
                <c:pt idx="2616">
                  <c:v>-2.5472399999999999</c:v>
                </c:pt>
                <c:pt idx="2617">
                  <c:v>-2.46516</c:v>
                </c:pt>
                <c:pt idx="2618">
                  <c:v>-1.3365899999999999</c:v>
                </c:pt>
                <c:pt idx="2619">
                  <c:v>-2.3097400000000001</c:v>
                </c:pt>
                <c:pt idx="2620">
                  <c:v>-2.8439899999999998</c:v>
                </c:pt>
                <c:pt idx="2621">
                  <c:v>-3.5047199999999998</c:v>
                </c:pt>
                <c:pt idx="2622">
                  <c:v>-2.56481</c:v>
                </c:pt>
                <c:pt idx="2623">
                  <c:v>-2.86036</c:v>
                </c:pt>
                <c:pt idx="2624">
                  <c:v>-3.2273499999999999</c:v>
                </c:pt>
                <c:pt idx="2625">
                  <c:v>-2.4007800000000001</c:v>
                </c:pt>
                <c:pt idx="2626">
                  <c:v>-2.1214300000000001</c:v>
                </c:pt>
                <c:pt idx="2627">
                  <c:v>-1.96594</c:v>
                </c:pt>
                <c:pt idx="2628">
                  <c:v>-1.78746</c:v>
                </c:pt>
                <c:pt idx="2629">
                  <c:v>-1.8225499999999999</c:v>
                </c:pt>
                <c:pt idx="2630">
                  <c:v>-2.24952</c:v>
                </c:pt>
                <c:pt idx="2631">
                  <c:v>-2.7001499999999998</c:v>
                </c:pt>
                <c:pt idx="2632">
                  <c:v>-3.0240800000000001</c:v>
                </c:pt>
                <c:pt idx="2633">
                  <c:v>-3.5718899999999998</c:v>
                </c:pt>
                <c:pt idx="2634">
                  <c:v>-2.6004200000000002</c:v>
                </c:pt>
                <c:pt idx="2635">
                  <c:v>-2.2936899999999998</c:v>
                </c:pt>
                <c:pt idx="2636">
                  <c:v>-1.2665500000000001</c:v>
                </c:pt>
                <c:pt idx="2637">
                  <c:v>-1.9525600000000001</c:v>
                </c:pt>
                <c:pt idx="2638">
                  <c:v>-2.5493199999999998</c:v>
                </c:pt>
                <c:pt idx="2639">
                  <c:v>-2.4916100000000001</c:v>
                </c:pt>
                <c:pt idx="2640">
                  <c:v>-3.2069200000000002</c:v>
                </c:pt>
                <c:pt idx="2641">
                  <c:v>-2.4567299999999999</c:v>
                </c:pt>
                <c:pt idx="2642">
                  <c:v>-2.4332199999999999</c:v>
                </c:pt>
                <c:pt idx="2643">
                  <c:v>-2.3999100000000002</c:v>
                </c:pt>
                <c:pt idx="2644">
                  <c:v>-2.1822900000000001</c:v>
                </c:pt>
                <c:pt idx="2645">
                  <c:v>-1.7781800000000001</c:v>
                </c:pt>
                <c:pt idx="2646">
                  <c:v>-1.94709</c:v>
                </c:pt>
                <c:pt idx="2647">
                  <c:v>-1.8507199999999999</c:v>
                </c:pt>
                <c:pt idx="2648">
                  <c:v>-2.83467</c:v>
                </c:pt>
                <c:pt idx="2649">
                  <c:v>-3.7248100000000002</c:v>
                </c:pt>
                <c:pt idx="2650">
                  <c:v>-3.7266499999999998</c:v>
                </c:pt>
                <c:pt idx="2651">
                  <c:v>-3.1372900000000001</c:v>
                </c:pt>
                <c:pt idx="2652">
                  <c:v>-2.4338099999999998</c:v>
                </c:pt>
                <c:pt idx="2653">
                  <c:v>-1.60293</c:v>
                </c:pt>
                <c:pt idx="2654">
                  <c:v>-1.62669</c:v>
                </c:pt>
                <c:pt idx="2655">
                  <c:v>-2.3507099999999999</c:v>
                </c:pt>
                <c:pt idx="2656">
                  <c:v>-2.5626699999999998</c:v>
                </c:pt>
                <c:pt idx="2657">
                  <c:v>-2.9360300000000001</c:v>
                </c:pt>
                <c:pt idx="2658">
                  <c:v>-2.5899700000000001</c:v>
                </c:pt>
                <c:pt idx="2659">
                  <c:v>-3.3281499999999999</c:v>
                </c:pt>
                <c:pt idx="2660">
                  <c:v>-3.1050599999999999</c:v>
                </c:pt>
                <c:pt idx="2661">
                  <c:v>-2.32422</c:v>
                </c:pt>
                <c:pt idx="2662">
                  <c:v>-2.3399100000000002</c:v>
                </c:pt>
                <c:pt idx="2663">
                  <c:v>-1.91591</c:v>
                </c:pt>
                <c:pt idx="2664">
                  <c:v>-2.1673300000000002</c:v>
                </c:pt>
                <c:pt idx="2665">
                  <c:v>-2.30735</c:v>
                </c:pt>
                <c:pt idx="2666">
                  <c:v>-3.0982799999999999</c:v>
                </c:pt>
                <c:pt idx="2667">
                  <c:v>-3.3339400000000001</c:v>
                </c:pt>
                <c:pt idx="2668">
                  <c:v>-3.2582300000000002</c:v>
                </c:pt>
                <c:pt idx="2669">
                  <c:v>-3.1124100000000001</c:v>
                </c:pt>
                <c:pt idx="2670">
                  <c:v>-1.81125</c:v>
                </c:pt>
                <c:pt idx="2671">
                  <c:v>-1.6158300000000001</c:v>
                </c:pt>
                <c:pt idx="2672">
                  <c:v>-1.4147000000000001</c:v>
                </c:pt>
                <c:pt idx="2673">
                  <c:v>-2.27685</c:v>
                </c:pt>
                <c:pt idx="2674">
                  <c:v>-1.9534400000000001</c:v>
                </c:pt>
                <c:pt idx="2675">
                  <c:v>-1.85236</c:v>
                </c:pt>
                <c:pt idx="2676">
                  <c:v>-2.9902500000000001</c:v>
                </c:pt>
                <c:pt idx="2677">
                  <c:v>-2.5268600000000001</c:v>
                </c:pt>
                <c:pt idx="2678">
                  <c:v>-2.8885399999999999</c:v>
                </c:pt>
                <c:pt idx="2679">
                  <c:v>-2.47024</c:v>
                </c:pt>
                <c:pt idx="2680">
                  <c:v>-1.4294800000000001</c:v>
                </c:pt>
                <c:pt idx="2681">
                  <c:v>-1.97031</c:v>
                </c:pt>
                <c:pt idx="2682">
                  <c:v>-2.2639200000000002</c:v>
                </c:pt>
                <c:pt idx="2683">
                  <c:v>-2.9355099999999998</c:v>
                </c:pt>
                <c:pt idx="2684">
                  <c:v>-2.9544000000000001</c:v>
                </c:pt>
                <c:pt idx="2685">
                  <c:v>-3.3136100000000002</c:v>
                </c:pt>
                <c:pt idx="2686">
                  <c:v>-2.8096899999999998</c:v>
                </c:pt>
                <c:pt idx="2687">
                  <c:v>-2.5973299999999999</c:v>
                </c:pt>
                <c:pt idx="2688">
                  <c:v>-2.0415399999999999</c:v>
                </c:pt>
                <c:pt idx="2689">
                  <c:v>-1.6831199999999999</c:v>
                </c:pt>
                <c:pt idx="2690">
                  <c:v>-1.9464999999999999</c:v>
                </c:pt>
                <c:pt idx="2691">
                  <c:v>-2.11903</c:v>
                </c:pt>
                <c:pt idx="2692">
                  <c:v>-2.6219700000000001</c:v>
                </c:pt>
                <c:pt idx="2693">
                  <c:v>-2.78762</c:v>
                </c:pt>
                <c:pt idx="2694">
                  <c:v>-2.8732899999999999</c:v>
                </c:pt>
                <c:pt idx="2695">
                  <c:v>-3.7389899999999998</c:v>
                </c:pt>
                <c:pt idx="2696">
                  <c:v>-3.1577500000000001</c:v>
                </c:pt>
                <c:pt idx="2697">
                  <c:v>-2.8042600000000002</c:v>
                </c:pt>
                <c:pt idx="2698">
                  <c:v>-1.9630000000000001</c:v>
                </c:pt>
                <c:pt idx="2699">
                  <c:v>-1.5686500000000001</c:v>
                </c:pt>
                <c:pt idx="2700">
                  <c:v>-1.8035300000000001</c:v>
                </c:pt>
                <c:pt idx="2701">
                  <c:v>-2.7823899999999999</c:v>
                </c:pt>
                <c:pt idx="2702">
                  <c:v>-2.81114</c:v>
                </c:pt>
                <c:pt idx="2703">
                  <c:v>-2.89588</c:v>
                </c:pt>
                <c:pt idx="2704">
                  <c:v>-3.6258400000000002</c:v>
                </c:pt>
                <c:pt idx="2705">
                  <c:v>-2.2783699999999998</c:v>
                </c:pt>
                <c:pt idx="2706">
                  <c:v>-1.8536900000000001</c:v>
                </c:pt>
                <c:pt idx="2707">
                  <c:v>-1.85809</c:v>
                </c:pt>
                <c:pt idx="2708">
                  <c:v>-2.25265</c:v>
                </c:pt>
                <c:pt idx="2709">
                  <c:v>-2.6417099999999998</c:v>
                </c:pt>
                <c:pt idx="2710">
                  <c:v>-2.4523799999999998</c:v>
                </c:pt>
                <c:pt idx="2711">
                  <c:v>-3.01545</c:v>
                </c:pt>
                <c:pt idx="2712">
                  <c:v>-3.45871</c:v>
                </c:pt>
                <c:pt idx="2713">
                  <c:v>-3.24831</c:v>
                </c:pt>
                <c:pt idx="2714">
                  <c:v>-3.2209500000000002</c:v>
                </c:pt>
                <c:pt idx="2715">
                  <c:v>-1.6817599999999999</c:v>
                </c:pt>
                <c:pt idx="2716">
                  <c:v>-1.82826</c:v>
                </c:pt>
                <c:pt idx="2717">
                  <c:v>-1.2564500000000001</c:v>
                </c:pt>
                <c:pt idx="2718">
                  <c:v>-1.36171</c:v>
                </c:pt>
                <c:pt idx="2719">
                  <c:v>-1.9005399999999999</c:v>
                </c:pt>
                <c:pt idx="2720">
                  <c:v>-3.21529</c:v>
                </c:pt>
                <c:pt idx="2721">
                  <c:v>-3.06603</c:v>
                </c:pt>
                <c:pt idx="2722">
                  <c:v>-3.1725599999999998</c:v>
                </c:pt>
                <c:pt idx="2723">
                  <c:v>-2.4098600000000001</c:v>
                </c:pt>
                <c:pt idx="2724">
                  <c:v>-1.9863999999999999</c:v>
                </c:pt>
                <c:pt idx="2725">
                  <c:v>-1.87582</c:v>
                </c:pt>
                <c:pt idx="2726">
                  <c:v>-2.0906400000000001</c:v>
                </c:pt>
                <c:pt idx="2727">
                  <c:v>-2.6943600000000001</c:v>
                </c:pt>
                <c:pt idx="2728">
                  <c:v>-2.9292899999999999</c:v>
                </c:pt>
                <c:pt idx="2729">
                  <c:v>-2.7355800000000001</c:v>
                </c:pt>
                <c:pt idx="2730">
                  <c:v>-2.82531</c:v>
                </c:pt>
                <c:pt idx="2731">
                  <c:v>-2.8047499999999999</c:v>
                </c:pt>
                <c:pt idx="2732">
                  <c:v>-3.0260199999999999</c:v>
                </c:pt>
                <c:pt idx="2733">
                  <c:v>-1.91188</c:v>
                </c:pt>
                <c:pt idx="2734">
                  <c:v>-1.9130100000000001</c:v>
                </c:pt>
                <c:pt idx="2735">
                  <c:v>-1.4596800000000001</c:v>
                </c:pt>
                <c:pt idx="2736">
                  <c:v>-1.47295</c:v>
                </c:pt>
                <c:pt idx="2737">
                  <c:v>-2.50501</c:v>
                </c:pt>
                <c:pt idx="2738">
                  <c:v>-2.8992599999999999</c:v>
                </c:pt>
                <c:pt idx="2739">
                  <c:v>-3.2581199999999999</c:v>
                </c:pt>
                <c:pt idx="2740">
                  <c:v>-2.6597</c:v>
                </c:pt>
                <c:pt idx="2741">
                  <c:v>-2.84016</c:v>
                </c:pt>
                <c:pt idx="2742">
                  <c:v>-2.2445499999999998</c:v>
                </c:pt>
                <c:pt idx="2743">
                  <c:v>-2.2680500000000001</c:v>
                </c:pt>
                <c:pt idx="2744">
                  <c:v>-2.2778900000000002</c:v>
                </c:pt>
                <c:pt idx="2745">
                  <c:v>-2.4563600000000001</c:v>
                </c:pt>
                <c:pt idx="2746">
                  <c:v>-2.91031</c:v>
                </c:pt>
                <c:pt idx="2747">
                  <c:v>-2.8626399999999999</c:v>
                </c:pt>
                <c:pt idx="2748">
                  <c:v>-2.8615400000000002</c:v>
                </c:pt>
                <c:pt idx="2749">
                  <c:v>-2.2757000000000001</c:v>
                </c:pt>
                <c:pt idx="2750">
                  <c:v>-2.8085399999999998</c:v>
                </c:pt>
                <c:pt idx="2751">
                  <c:v>-2.59341</c:v>
                </c:pt>
                <c:pt idx="2752">
                  <c:v>-2.9014199999999999</c:v>
                </c:pt>
                <c:pt idx="2753">
                  <c:v>-2.1246399999999999</c:v>
                </c:pt>
                <c:pt idx="2754">
                  <c:v>-1.78461</c:v>
                </c:pt>
                <c:pt idx="2755">
                  <c:v>-2.50041</c:v>
                </c:pt>
                <c:pt idx="2756">
                  <c:v>-2.8204099999999999</c:v>
                </c:pt>
                <c:pt idx="2757">
                  <c:v>-3.8778899999999998</c:v>
                </c:pt>
                <c:pt idx="2758">
                  <c:v>-2.9057200000000001</c:v>
                </c:pt>
                <c:pt idx="2759">
                  <c:v>-2.7642600000000002</c:v>
                </c:pt>
                <c:pt idx="2760">
                  <c:v>-2.6450800000000001</c:v>
                </c:pt>
                <c:pt idx="2761">
                  <c:v>-1.3730599999999999</c:v>
                </c:pt>
                <c:pt idx="2762">
                  <c:v>-1.74028</c:v>
                </c:pt>
                <c:pt idx="2763">
                  <c:v>-2.13558</c:v>
                </c:pt>
                <c:pt idx="2764">
                  <c:v>-3.27569</c:v>
                </c:pt>
                <c:pt idx="2765">
                  <c:v>-2.4792700000000001</c:v>
                </c:pt>
                <c:pt idx="2766">
                  <c:v>-2.5793400000000002</c:v>
                </c:pt>
                <c:pt idx="2767">
                  <c:v>-3.20499</c:v>
                </c:pt>
                <c:pt idx="2768">
                  <c:v>-2.8119000000000001</c:v>
                </c:pt>
                <c:pt idx="2769">
                  <c:v>-2.3996499999999998</c:v>
                </c:pt>
                <c:pt idx="2770">
                  <c:v>-2.1279300000000001</c:v>
                </c:pt>
                <c:pt idx="2771">
                  <c:v>-2.2019500000000001</c:v>
                </c:pt>
                <c:pt idx="2772">
                  <c:v>-3.0047700000000002</c:v>
                </c:pt>
                <c:pt idx="2773">
                  <c:v>-3.6876099999999998</c:v>
                </c:pt>
                <c:pt idx="2774">
                  <c:v>-3.1428199999999999</c:v>
                </c:pt>
                <c:pt idx="2775">
                  <c:v>-3.1476600000000001</c:v>
                </c:pt>
                <c:pt idx="2776">
                  <c:v>-3.2488999999999999</c:v>
                </c:pt>
                <c:pt idx="2777">
                  <c:v>-2.5961099999999999</c:v>
                </c:pt>
                <c:pt idx="2778">
                  <c:v>-1.71539</c:v>
                </c:pt>
                <c:pt idx="2779">
                  <c:v>-1.86063</c:v>
                </c:pt>
                <c:pt idx="2780">
                  <c:v>-2.42191</c:v>
                </c:pt>
                <c:pt idx="2781">
                  <c:v>-2.2248000000000001</c:v>
                </c:pt>
                <c:pt idx="2782">
                  <c:v>-2.57246</c:v>
                </c:pt>
                <c:pt idx="2783">
                  <c:v>-3.55002</c:v>
                </c:pt>
                <c:pt idx="2784">
                  <c:v>-3.1529500000000001</c:v>
                </c:pt>
                <c:pt idx="2785">
                  <c:v>-2.9085299999999998</c:v>
                </c:pt>
                <c:pt idx="2786">
                  <c:v>-2.2492399999999999</c:v>
                </c:pt>
                <c:pt idx="2787">
                  <c:v>-1.9515499999999999</c:v>
                </c:pt>
                <c:pt idx="2788">
                  <c:v>-1.8560099999999999</c:v>
                </c:pt>
                <c:pt idx="2789">
                  <c:v>-2.9883099999999998</c:v>
                </c:pt>
                <c:pt idx="2790">
                  <c:v>-3.22546</c:v>
                </c:pt>
                <c:pt idx="2791">
                  <c:v>-3.7001200000000001</c:v>
                </c:pt>
                <c:pt idx="2792">
                  <c:v>-3.3124199999999999</c:v>
                </c:pt>
                <c:pt idx="2793">
                  <c:v>-2.9132199999999999</c:v>
                </c:pt>
                <c:pt idx="2794">
                  <c:v>-2.0831200000000001</c:v>
                </c:pt>
                <c:pt idx="2795">
                  <c:v>-1.7080200000000001</c:v>
                </c:pt>
                <c:pt idx="2796">
                  <c:v>-2.2716699999999999</c:v>
                </c:pt>
                <c:pt idx="2797">
                  <c:v>-2.2828400000000002</c:v>
                </c:pt>
                <c:pt idx="2798">
                  <c:v>-2.4853100000000001</c:v>
                </c:pt>
                <c:pt idx="2799">
                  <c:v>-2.5128599999999999</c:v>
                </c:pt>
                <c:pt idx="2800">
                  <c:v>-3.0072000000000001</c:v>
                </c:pt>
                <c:pt idx="2801">
                  <c:v>-3.2051699999999999</c:v>
                </c:pt>
                <c:pt idx="2802">
                  <c:v>-3.0054099999999999</c:v>
                </c:pt>
                <c:pt idx="2803">
                  <c:v>-2.9108299999999998</c:v>
                </c:pt>
                <c:pt idx="2804">
                  <c:v>-2.9281100000000002</c:v>
                </c:pt>
                <c:pt idx="2805">
                  <c:v>-1.8680300000000001</c:v>
                </c:pt>
                <c:pt idx="2806">
                  <c:v>-2.0498400000000001</c:v>
                </c:pt>
                <c:pt idx="2807">
                  <c:v>-2.1219899999999998</c:v>
                </c:pt>
                <c:pt idx="2808">
                  <c:v>-2.8829500000000001</c:v>
                </c:pt>
                <c:pt idx="2809">
                  <c:v>-2.91859</c:v>
                </c:pt>
                <c:pt idx="2810">
                  <c:v>-2.4337200000000001</c:v>
                </c:pt>
                <c:pt idx="2811">
                  <c:v>-2.6930100000000001</c:v>
                </c:pt>
                <c:pt idx="2812">
                  <c:v>-2.4053200000000001</c:v>
                </c:pt>
                <c:pt idx="2813">
                  <c:v>-2.8241299999999998</c:v>
                </c:pt>
                <c:pt idx="2814">
                  <c:v>-1.9286700000000001</c:v>
                </c:pt>
                <c:pt idx="2815">
                  <c:v>-2.1009099999999998</c:v>
                </c:pt>
                <c:pt idx="2816">
                  <c:v>-1.2392300000000001</c:v>
                </c:pt>
                <c:pt idx="2817">
                  <c:v>-1.6203700000000001</c:v>
                </c:pt>
                <c:pt idx="2818">
                  <c:v>-0.92119600000000001</c:v>
                </c:pt>
                <c:pt idx="2819">
                  <c:v>0.12542600000000001</c:v>
                </c:pt>
                <c:pt idx="2820">
                  <c:v>-0.429871</c:v>
                </c:pt>
                <c:pt idx="2821">
                  <c:v>3.6310699999999998</c:v>
                </c:pt>
                <c:pt idx="2822">
                  <c:v>7.5063000000000004</c:v>
                </c:pt>
                <c:pt idx="2823">
                  <c:v>11.8866</c:v>
                </c:pt>
                <c:pt idx="2824">
                  <c:v>12.726900000000001</c:v>
                </c:pt>
                <c:pt idx="2825">
                  <c:v>13.6851</c:v>
                </c:pt>
                <c:pt idx="2826">
                  <c:v>13.7348</c:v>
                </c:pt>
                <c:pt idx="2827">
                  <c:v>14.5197</c:v>
                </c:pt>
                <c:pt idx="2828">
                  <c:v>15.3041</c:v>
                </c:pt>
                <c:pt idx="2829">
                  <c:v>15.903700000000001</c:v>
                </c:pt>
                <c:pt idx="2830">
                  <c:v>15.9339</c:v>
                </c:pt>
                <c:pt idx="2831">
                  <c:v>17.082899999999999</c:v>
                </c:pt>
                <c:pt idx="2832">
                  <c:v>0.84975599999999996</c:v>
                </c:pt>
                <c:pt idx="2833">
                  <c:v>0.79128399999999999</c:v>
                </c:pt>
                <c:pt idx="2834">
                  <c:v>0.98044500000000001</c:v>
                </c:pt>
                <c:pt idx="2835">
                  <c:v>0.96688600000000002</c:v>
                </c:pt>
                <c:pt idx="2836">
                  <c:v>1.0856300000000001</c:v>
                </c:pt>
                <c:pt idx="2837">
                  <c:v>0.88467300000000004</c:v>
                </c:pt>
                <c:pt idx="2838">
                  <c:v>1.2352300000000001</c:v>
                </c:pt>
                <c:pt idx="2839">
                  <c:v>1.71302</c:v>
                </c:pt>
                <c:pt idx="2840">
                  <c:v>2.0872099999999998</c:v>
                </c:pt>
                <c:pt idx="2841">
                  <c:v>2.5754999999999999</c:v>
                </c:pt>
                <c:pt idx="2842">
                  <c:v>3.7555900000000002</c:v>
                </c:pt>
                <c:pt idx="2843">
                  <c:v>5.9727499999999996</c:v>
                </c:pt>
                <c:pt idx="2844">
                  <c:v>7.3292599999999997</c:v>
                </c:pt>
                <c:pt idx="2845">
                  <c:v>8.6013900000000003</c:v>
                </c:pt>
                <c:pt idx="2846">
                  <c:v>10.043100000000001</c:v>
                </c:pt>
                <c:pt idx="2847">
                  <c:v>12.782999999999999</c:v>
                </c:pt>
                <c:pt idx="2848">
                  <c:v>14.5801</c:v>
                </c:pt>
                <c:pt idx="2849">
                  <c:v>15.9132</c:v>
                </c:pt>
                <c:pt idx="2850">
                  <c:v>17.005400000000002</c:v>
                </c:pt>
                <c:pt idx="2851">
                  <c:v>17.723600000000001</c:v>
                </c:pt>
                <c:pt idx="2852">
                  <c:v>18.712900000000001</c:v>
                </c:pt>
                <c:pt idx="2853">
                  <c:v>17.864699999999999</c:v>
                </c:pt>
                <c:pt idx="2854">
                  <c:v>18.472799999999999</c:v>
                </c:pt>
                <c:pt idx="2855">
                  <c:v>17.496200000000002</c:v>
                </c:pt>
                <c:pt idx="2856">
                  <c:v>17.493500000000001</c:v>
                </c:pt>
                <c:pt idx="2857">
                  <c:v>18.125299999999999</c:v>
                </c:pt>
                <c:pt idx="2858">
                  <c:v>17.4359</c:v>
                </c:pt>
                <c:pt idx="2859">
                  <c:v>17.822399999999998</c:v>
                </c:pt>
                <c:pt idx="2860">
                  <c:v>17.259599999999999</c:v>
                </c:pt>
                <c:pt idx="2861">
                  <c:v>17.272400000000001</c:v>
                </c:pt>
                <c:pt idx="2862">
                  <c:v>16.9436</c:v>
                </c:pt>
                <c:pt idx="2863">
                  <c:v>16.665099999999999</c:v>
                </c:pt>
                <c:pt idx="2864">
                  <c:v>14.4954</c:v>
                </c:pt>
                <c:pt idx="2865">
                  <c:v>14.021000000000001</c:v>
                </c:pt>
                <c:pt idx="2866">
                  <c:v>12.831799999999999</c:v>
                </c:pt>
                <c:pt idx="2867">
                  <c:v>11.6783</c:v>
                </c:pt>
                <c:pt idx="2868">
                  <c:v>9.8480299999999996</c:v>
                </c:pt>
                <c:pt idx="2869">
                  <c:v>7.4916200000000002</c:v>
                </c:pt>
                <c:pt idx="2870">
                  <c:v>6.8809500000000003</c:v>
                </c:pt>
                <c:pt idx="2871">
                  <c:v>5.9207900000000002</c:v>
                </c:pt>
                <c:pt idx="2872">
                  <c:v>4.9887800000000002</c:v>
                </c:pt>
                <c:pt idx="2873">
                  <c:v>2.7072500000000002</c:v>
                </c:pt>
                <c:pt idx="2874">
                  <c:v>1.8915200000000001</c:v>
                </c:pt>
                <c:pt idx="2875">
                  <c:v>1.5808599999999999</c:v>
                </c:pt>
                <c:pt idx="2876">
                  <c:v>1.4785900000000001</c:v>
                </c:pt>
                <c:pt idx="2877">
                  <c:v>1.9064000000000001</c:v>
                </c:pt>
                <c:pt idx="2878">
                  <c:v>1.3036399999999999</c:v>
                </c:pt>
                <c:pt idx="2879">
                  <c:v>1.0566599999999999</c:v>
                </c:pt>
                <c:pt idx="2880">
                  <c:v>2.0116000000000001</c:v>
                </c:pt>
                <c:pt idx="2881">
                  <c:v>2.4777100000000001</c:v>
                </c:pt>
                <c:pt idx="2882">
                  <c:v>3.4218500000000001</c:v>
                </c:pt>
                <c:pt idx="2883">
                  <c:v>3.3928799999999999</c:v>
                </c:pt>
                <c:pt idx="2884">
                  <c:v>2.43587</c:v>
                </c:pt>
                <c:pt idx="2885">
                  <c:v>2.0567799999999998</c:v>
                </c:pt>
                <c:pt idx="2886">
                  <c:v>2.2261700000000002</c:v>
                </c:pt>
                <c:pt idx="2887">
                  <c:v>2.4394399999999998</c:v>
                </c:pt>
                <c:pt idx="2888">
                  <c:v>2.8952100000000001</c:v>
                </c:pt>
                <c:pt idx="2889">
                  <c:v>3.3858199999999998</c:v>
                </c:pt>
                <c:pt idx="2890">
                  <c:v>2.8894199999999999</c:v>
                </c:pt>
                <c:pt idx="2891">
                  <c:v>3.2598799999999999</c:v>
                </c:pt>
                <c:pt idx="2892">
                  <c:v>3.6443400000000001</c:v>
                </c:pt>
                <c:pt idx="2893">
                  <c:v>3.4587300000000001</c:v>
                </c:pt>
                <c:pt idx="2894">
                  <c:v>3.05653</c:v>
                </c:pt>
                <c:pt idx="2895">
                  <c:v>2.3742700000000001</c:v>
                </c:pt>
                <c:pt idx="2896">
                  <c:v>1.9907699999999999</c:v>
                </c:pt>
                <c:pt idx="2897">
                  <c:v>2.0590600000000001</c:v>
                </c:pt>
                <c:pt idx="2898">
                  <c:v>1.88364</c:v>
                </c:pt>
                <c:pt idx="2899">
                  <c:v>2.9020000000000001</c:v>
                </c:pt>
                <c:pt idx="2900">
                  <c:v>2.6881499999999998</c:v>
                </c:pt>
                <c:pt idx="2901">
                  <c:v>2.4661300000000002</c:v>
                </c:pt>
                <c:pt idx="2902">
                  <c:v>2.5224299999999999</c:v>
                </c:pt>
                <c:pt idx="2903">
                  <c:v>2.3670399999999998</c:v>
                </c:pt>
                <c:pt idx="2904">
                  <c:v>2.4586100000000002</c:v>
                </c:pt>
                <c:pt idx="2905">
                  <c:v>2.5323899999999999</c:v>
                </c:pt>
                <c:pt idx="2906">
                  <c:v>2.65767</c:v>
                </c:pt>
                <c:pt idx="2907">
                  <c:v>2.43296</c:v>
                </c:pt>
                <c:pt idx="2908">
                  <c:v>2.5663100000000001</c:v>
                </c:pt>
                <c:pt idx="2909">
                  <c:v>2.8898700000000002</c:v>
                </c:pt>
                <c:pt idx="2910">
                  <c:v>2.91418</c:v>
                </c:pt>
                <c:pt idx="2911">
                  <c:v>2.9762400000000002</c:v>
                </c:pt>
                <c:pt idx="2912">
                  <c:v>2.3837299999999999</c:v>
                </c:pt>
                <c:pt idx="2913">
                  <c:v>3.2158600000000002</c:v>
                </c:pt>
                <c:pt idx="2914">
                  <c:v>2.48943</c:v>
                </c:pt>
                <c:pt idx="2915">
                  <c:v>2.3375900000000001</c:v>
                </c:pt>
                <c:pt idx="2916">
                  <c:v>2.8213499999999998</c:v>
                </c:pt>
                <c:pt idx="2917">
                  <c:v>2.8494899999999999</c:v>
                </c:pt>
                <c:pt idx="2918">
                  <c:v>2.7932000000000001</c:v>
                </c:pt>
                <c:pt idx="2919">
                  <c:v>2.5007100000000002</c:v>
                </c:pt>
                <c:pt idx="2920">
                  <c:v>2.2256999999999998</c:v>
                </c:pt>
                <c:pt idx="2921">
                  <c:v>2.9163700000000001</c:v>
                </c:pt>
                <c:pt idx="2922">
                  <c:v>2.5619399999999999</c:v>
                </c:pt>
                <c:pt idx="2923">
                  <c:v>2.6864499999999998</c:v>
                </c:pt>
                <c:pt idx="2924">
                  <c:v>2.91791</c:v>
                </c:pt>
                <c:pt idx="2925">
                  <c:v>3.19354</c:v>
                </c:pt>
                <c:pt idx="2926">
                  <c:v>2.1992500000000001</c:v>
                </c:pt>
                <c:pt idx="2927">
                  <c:v>2.8294000000000001</c:v>
                </c:pt>
                <c:pt idx="2928">
                  <c:v>2.9886300000000001</c:v>
                </c:pt>
                <c:pt idx="2929">
                  <c:v>2.7476400000000001</c:v>
                </c:pt>
                <c:pt idx="2930">
                  <c:v>2.12785</c:v>
                </c:pt>
                <c:pt idx="2931">
                  <c:v>2.6452900000000001</c:v>
                </c:pt>
                <c:pt idx="2932">
                  <c:v>2.4727000000000001</c:v>
                </c:pt>
                <c:pt idx="2933">
                  <c:v>2.1158899999999998</c:v>
                </c:pt>
                <c:pt idx="2934">
                  <c:v>2.88123</c:v>
                </c:pt>
                <c:pt idx="2935">
                  <c:v>3.0044499999999998</c:v>
                </c:pt>
                <c:pt idx="2936">
                  <c:v>2.7199</c:v>
                </c:pt>
                <c:pt idx="2937">
                  <c:v>2.4846599999999999</c:v>
                </c:pt>
                <c:pt idx="2938">
                  <c:v>2.4594999999999998</c:v>
                </c:pt>
                <c:pt idx="2939">
                  <c:v>2.7395399999999999</c:v>
                </c:pt>
                <c:pt idx="2940">
                  <c:v>1.9827699999999999</c:v>
                </c:pt>
                <c:pt idx="2941">
                  <c:v>2.0411000000000001</c:v>
                </c:pt>
                <c:pt idx="2942">
                  <c:v>2.2270400000000001</c:v>
                </c:pt>
                <c:pt idx="2943">
                  <c:v>3.1648100000000001</c:v>
                </c:pt>
                <c:pt idx="2944">
                  <c:v>3.0584600000000002</c:v>
                </c:pt>
                <c:pt idx="2945">
                  <c:v>2.4727299999999999</c:v>
                </c:pt>
                <c:pt idx="2946">
                  <c:v>3.0554600000000001</c:v>
                </c:pt>
                <c:pt idx="2947">
                  <c:v>2.32728</c:v>
                </c:pt>
                <c:pt idx="2948">
                  <c:v>2.2662</c:v>
                </c:pt>
                <c:pt idx="2949">
                  <c:v>2.4735900000000002</c:v>
                </c:pt>
                <c:pt idx="2950">
                  <c:v>2.4252899999999999</c:v>
                </c:pt>
                <c:pt idx="2951">
                  <c:v>2.77149</c:v>
                </c:pt>
                <c:pt idx="2952">
                  <c:v>2.6044800000000001</c:v>
                </c:pt>
                <c:pt idx="2953">
                  <c:v>3.0373299999999999</c:v>
                </c:pt>
                <c:pt idx="2954">
                  <c:v>3.30721</c:v>
                </c:pt>
                <c:pt idx="2955">
                  <c:v>2.6210599999999999</c:v>
                </c:pt>
                <c:pt idx="2956">
                  <c:v>2.83311</c:v>
                </c:pt>
                <c:pt idx="2957">
                  <c:v>2.2446999999999999</c:v>
                </c:pt>
                <c:pt idx="2958">
                  <c:v>2.4035700000000002</c:v>
                </c:pt>
                <c:pt idx="2959">
                  <c:v>2.24329</c:v>
                </c:pt>
                <c:pt idx="2960">
                  <c:v>2.9198300000000001</c:v>
                </c:pt>
                <c:pt idx="2961">
                  <c:v>3.5858300000000001</c:v>
                </c:pt>
                <c:pt idx="2962">
                  <c:v>3.55002</c:v>
                </c:pt>
                <c:pt idx="2963">
                  <c:v>2.9074200000000001</c:v>
                </c:pt>
                <c:pt idx="2964">
                  <c:v>2.9259499999999998</c:v>
                </c:pt>
                <c:pt idx="2965">
                  <c:v>3.09476</c:v>
                </c:pt>
                <c:pt idx="2966">
                  <c:v>2.6796199999999999</c:v>
                </c:pt>
                <c:pt idx="2967">
                  <c:v>2.9153600000000002</c:v>
                </c:pt>
                <c:pt idx="2968">
                  <c:v>2.2975099999999999</c:v>
                </c:pt>
                <c:pt idx="2969">
                  <c:v>2.4556399999999998</c:v>
                </c:pt>
                <c:pt idx="2970">
                  <c:v>2.4254799999999999</c:v>
                </c:pt>
                <c:pt idx="2971">
                  <c:v>2.8630499999999999</c:v>
                </c:pt>
                <c:pt idx="2972">
                  <c:v>2.7383000000000002</c:v>
                </c:pt>
                <c:pt idx="2973">
                  <c:v>2.6647599999999998</c:v>
                </c:pt>
                <c:pt idx="2974">
                  <c:v>2.92828</c:v>
                </c:pt>
                <c:pt idx="2975">
                  <c:v>2.8066399999999998</c:v>
                </c:pt>
                <c:pt idx="2976">
                  <c:v>2.27704</c:v>
                </c:pt>
                <c:pt idx="2977">
                  <c:v>3.0461999999999998</c:v>
                </c:pt>
                <c:pt idx="2978">
                  <c:v>2.4636</c:v>
                </c:pt>
                <c:pt idx="2979">
                  <c:v>2.7846000000000002</c:v>
                </c:pt>
                <c:pt idx="2980">
                  <c:v>2.6230500000000001</c:v>
                </c:pt>
                <c:pt idx="2981">
                  <c:v>1.9268000000000001</c:v>
                </c:pt>
                <c:pt idx="2982">
                  <c:v>2.27074</c:v>
                </c:pt>
                <c:pt idx="2983">
                  <c:v>2.6783600000000001</c:v>
                </c:pt>
                <c:pt idx="2984">
                  <c:v>2.9917899999999999</c:v>
                </c:pt>
                <c:pt idx="2985">
                  <c:v>2.6208200000000001</c:v>
                </c:pt>
                <c:pt idx="2986">
                  <c:v>2.7332399999999999</c:v>
                </c:pt>
                <c:pt idx="2987">
                  <c:v>2.1569600000000002</c:v>
                </c:pt>
                <c:pt idx="2988">
                  <c:v>2.7468400000000002</c:v>
                </c:pt>
                <c:pt idx="2989">
                  <c:v>3.07633</c:v>
                </c:pt>
                <c:pt idx="2990">
                  <c:v>2.9407899999999998</c:v>
                </c:pt>
                <c:pt idx="2991">
                  <c:v>3.3353100000000002</c:v>
                </c:pt>
                <c:pt idx="2992">
                  <c:v>2.9041199999999998</c:v>
                </c:pt>
                <c:pt idx="2993">
                  <c:v>2.3420200000000002</c:v>
                </c:pt>
                <c:pt idx="2994">
                  <c:v>2.0789</c:v>
                </c:pt>
                <c:pt idx="2995">
                  <c:v>2.0828899999999999</c:v>
                </c:pt>
                <c:pt idx="2996">
                  <c:v>2.5346500000000001</c:v>
                </c:pt>
                <c:pt idx="2997">
                  <c:v>2.6467000000000001</c:v>
                </c:pt>
                <c:pt idx="2998">
                  <c:v>2.4335900000000001</c:v>
                </c:pt>
                <c:pt idx="2999">
                  <c:v>2.5702199999999999</c:v>
                </c:pt>
                <c:pt idx="3000">
                  <c:v>3.20146</c:v>
                </c:pt>
                <c:pt idx="3001">
                  <c:v>2.65863</c:v>
                </c:pt>
                <c:pt idx="3002">
                  <c:v>2.7447499999999998</c:v>
                </c:pt>
                <c:pt idx="3003">
                  <c:v>1.76213</c:v>
                </c:pt>
                <c:pt idx="3004">
                  <c:v>2.4772400000000001</c:v>
                </c:pt>
                <c:pt idx="3005">
                  <c:v>2.4156</c:v>
                </c:pt>
                <c:pt idx="3006">
                  <c:v>3.2098900000000001</c:v>
                </c:pt>
                <c:pt idx="3007">
                  <c:v>3.1158299999999999</c:v>
                </c:pt>
                <c:pt idx="3008">
                  <c:v>2.8598499999999998</c:v>
                </c:pt>
                <c:pt idx="3009">
                  <c:v>2.83507</c:v>
                </c:pt>
                <c:pt idx="3010">
                  <c:v>2.4763000000000002</c:v>
                </c:pt>
                <c:pt idx="3011">
                  <c:v>3.0558399999999999</c:v>
                </c:pt>
                <c:pt idx="3012">
                  <c:v>2.99939</c:v>
                </c:pt>
                <c:pt idx="3013">
                  <c:v>3.5767099999999998</c:v>
                </c:pt>
                <c:pt idx="3014">
                  <c:v>2.9375100000000001</c:v>
                </c:pt>
                <c:pt idx="3015">
                  <c:v>2.75901</c:v>
                </c:pt>
                <c:pt idx="3016">
                  <c:v>2.4433199999999999</c:v>
                </c:pt>
                <c:pt idx="3017">
                  <c:v>2.0932900000000001</c:v>
                </c:pt>
                <c:pt idx="3018">
                  <c:v>2.9102999999999999</c:v>
                </c:pt>
                <c:pt idx="3019">
                  <c:v>3.0766300000000002</c:v>
                </c:pt>
                <c:pt idx="3020">
                  <c:v>2.5594299999999999</c:v>
                </c:pt>
                <c:pt idx="3021">
                  <c:v>1.6187499999999999</c:v>
                </c:pt>
                <c:pt idx="3022">
                  <c:v>2.3057799999999999</c:v>
                </c:pt>
                <c:pt idx="3023">
                  <c:v>2.66167</c:v>
                </c:pt>
                <c:pt idx="3024">
                  <c:v>2.7235299999999998</c:v>
                </c:pt>
                <c:pt idx="3025">
                  <c:v>2.83914</c:v>
                </c:pt>
                <c:pt idx="3026">
                  <c:v>2.3263500000000001</c:v>
                </c:pt>
                <c:pt idx="3027">
                  <c:v>2.2890600000000001</c:v>
                </c:pt>
                <c:pt idx="3028">
                  <c:v>2.59931</c:v>
                </c:pt>
                <c:pt idx="3029">
                  <c:v>2.4409399999999999</c:v>
                </c:pt>
                <c:pt idx="3030">
                  <c:v>3.15489</c:v>
                </c:pt>
                <c:pt idx="3031">
                  <c:v>2.71401</c:v>
                </c:pt>
                <c:pt idx="3032">
                  <c:v>2.4816799999999999</c:v>
                </c:pt>
                <c:pt idx="3033">
                  <c:v>3.0121000000000002</c:v>
                </c:pt>
                <c:pt idx="3034">
                  <c:v>2.5228799999999998</c:v>
                </c:pt>
                <c:pt idx="3035">
                  <c:v>3.5888100000000001</c:v>
                </c:pt>
                <c:pt idx="3036">
                  <c:v>2.92719</c:v>
                </c:pt>
                <c:pt idx="3037">
                  <c:v>3.44068</c:v>
                </c:pt>
                <c:pt idx="3038">
                  <c:v>2.5248400000000002</c:v>
                </c:pt>
                <c:pt idx="3039">
                  <c:v>2.67049</c:v>
                </c:pt>
                <c:pt idx="3040">
                  <c:v>2.8073899999999998</c:v>
                </c:pt>
                <c:pt idx="3041">
                  <c:v>2.7943099999999998</c:v>
                </c:pt>
                <c:pt idx="3042">
                  <c:v>3.3379799999999999</c:v>
                </c:pt>
                <c:pt idx="3043">
                  <c:v>3.05389</c:v>
                </c:pt>
                <c:pt idx="3044">
                  <c:v>2.47837</c:v>
                </c:pt>
                <c:pt idx="3045">
                  <c:v>2.1054300000000001</c:v>
                </c:pt>
                <c:pt idx="3046">
                  <c:v>2.4735399999999998</c:v>
                </c:pt>
                <c:pt idx="3047">
                  <c:v>2.7278199999999999</c:v>
                </c:pt>
                <c:pt idx="3048">
                  <c:v>2.2983500000000001</c:v>
                </c:pt>
                <c:pt idx="3049">
                  <c:v>2.5367999999999999</c:v>
                </c:pt>
                <c:pt idx="3050">
                  <c:v>3.0303900000000001</c:v>
                </c:pt>
                <c:pt idx="3051">
                  <c:v>2.8697499999999998</c:v>
                </c:pt>
                <c:pt idx="3052">
                  <c:v>3.1713300000000002</c:v>
                </c:pt>
                <c:pt idx="3053">
                  <c:v>2.56202</c:v>
                </c:pt>
                <c:pt idx="3054">
                  <c:v>2.7433700000000001</c:v>
                </c:pt>
                <c:pt idx="3055">
                  <c:v>2.9436900000000001</c:v>
                </c:pt>
                <c:pt idx="3056">
                  <c:v>2.7371300000000001</c:v>
                </c:pt>
                <c:pt idx="3057">
                  <c:v>3.35317</c:v>
                </c:pt>
                <c:pt idx="3058">
                  <c:v>2.9083399999999999</c:v>
                </c:pt>
                <c:pt idx="3059">
                  <c:v>2.9458299999999999</c:v>
                </c:pt>
                <c:pt idx="3060">
                  <c:v>2.4408300000000001</c:v>
                </c:pt>
                <c:pt idx="3061">
                  <c:v>2.8305199999999999</c:v>
                </c:pt>
                <c:pt idx="3062">
                  <c:v>2.87243</c:v>
                </c:pt>
                <c:pt idx="3063">
                  <c:v>2.1324200000000002</c:v>
                </c:pt>
                <c:pt idx="3064">
                  <c:v>2.4415399999999998</c:v>
                </c:pt>
                <c:pt idx="3065">
                  <c:v>1.9385600000000001</c:v>
                </c:pt>
                <c:pt idx="3066">
                  <c:v>2.67048</c:v>
                </c:pt>
                <c:pt idx="3067">
                  <c:v>3.1726100000000002</c:v>
                </c:pt>
                <c:pt idx="3068">
                  <c:v>3.0055399999999999</c:v>
                </c:pt>
                <c:pt idx="3069">
                  <c:v>2.9596200000000001</c:v>
                </c:pt>
                <c:pt idx="3070">
                  <c:v>2.39154</c:v>
                </c:pt>
                <c:pt idx="3071">
                  <c:v>2.5205700000000002</c:v>
                </c:pt>
                <c:pt idx="3072">
                  <c:v>2.8218000000000001</c:v>
                </c:pt>
                <c:pt idx="3073">
                  <c:v>2.6882100000000002</c:v>
                </c:pt>
                <c:pt idx="3074">
                  <c:v>2.79122</c:v>
                </c:pt>
                <c:pt idx="3075">
                  <c:v>1.8424199999999999</c:v>
                </c:pt>
                <c:pt idx="3076">
                  <c:v>2.3716900000000001</c:v>
                </c:pt>
                <c:pt idx="3077">
                  <c:v>2.2518099999999999</c:v>
                </c:pt>
                <c:pt idx="3078">
                  <c:v>2.9991300000000001</c:v>
                </c:pt>
                <c:pt idx="3079">
                  <c:v>2.8588</c:v>
                </c:pt>
                <c:pt idx="3080">
                  <c:v>2.8471000000000002</c:v>
                </c:pt>
                <c:pt idx="3081">
                  <c:v>2.3088500000000001</c:v>
                </c:pt>
                <c:pt idx="3082">
                  <c:v>2.2267100000000002</c:v>
                </c:pt>
                <c:pt idx="3083">
                  <c:v>2.77582</c:v>
                </c:pt>
                <c:pt idx="3084">
                  <c:v>2.4971999999999999</c:v>
                </c:pt>
                <c:pt idx="3085">
                  <c:v>3.11395</c:v>
                </c:pt>
                <c:pt idx="3086">
                  <c:v>2.88951</c:v>
                </c:pt>
                <c:pt idx="3087">
                  <c:v>2.9371</c:v>
                </c:pt>
                <c:pt idx="3088">
                  <c:v>2.4809999999999999</c:v>
                </c:pt>
                <c:pt idx="3089">
                  <c:v>2.85927</c:v>
                </c:pt>
                <c:pt idx="3090">
                  <c:v>3.1070500000000001</c:v>
                </c:pt>
                <c:pt idx="3091">
                  <c:v>3.0172500000000002</c:v>
                </c:pt>
                <c:pt idx="3092">
                  <c:v>2.9496500000000001</c:v>
                </c:pt>
                <c:pt idx="3093">
                  <c:v>2.4305599999999998</c:v>
                </c:pt>
                <c:pt idx="3094">
                  <c:v>2.9021300000000001</c:v>
                </c:pt>
                <c:pt idx="3095">
                  <c:v>2.34877</c:v>
                </c:pt>
                <c:pt idx="3096">
                  <c:v>3.3359299999999998</c:v>
                </c:pt>
                <c:pt idx="3097">
                  <c:v>3.27515</c:v>
                </c:pt>
                <c:pt idx="3098">
                  <c:v>3.1290900000000001</c:v>
                </c:pt>
                <c:pt idx="3099">
                  <c:v>3.0567899999999999</c:v>
                </c:pt>
                <c:pt idx="3100">
                  <c:v>2.1910599999999998</c:v>
                </c:pt>
                <c:pt idx="3101">
                  <c:v>2.4358900000000001</c:v>
                </c:pt>
                <c:pt idx="3102">
                  <c:v>2.7600899999999999</c:v>
                </c:pt>
                <c:pt idx="3103">
                  <c:v>3.36625</c:v>
                </c:pt>
                <c:pt idx="3104">
                  <c:v>2.9316300000000002</c:v>
                </c:pt>
                <c:pt idx="3105">
                  <c:v>3.28118</c:v>
                </c:pt>
                <c:pt idx="3106">
                  <c:v>2.9670700000000001</c:v>
                </c:pt>
                <c:pt idx="3107">
                  <c:v>2.5308999999999999</c:v>
                </c:pt>
                <c:pt idx="3108">
                  <c:v>2.5322100000000001</c:v>
                </c:pt>
                <c:pt idx="3109">
                  <c:v>2.7267000000000001</c:v>
                </c:pt>
                <c:pt idx="3110">
                  <c:v>1.86452</c:v>
                </c:pt>
                <c:pt idx="3111">
                  <c:v>2.5732300000000001</c:v>
                </c:pt>
                <c:pt idx="3112">
                  <c:v>2.84056</c:v>
                </c:pt>
                <c:pt idx="3113">
                  <c:v>3.2869199999999998</c:v>
                </c:pt>
                <c:pt idx="3114">
                  <c:v>2.6459199999999998</c:v>
                </c:pt>
                <c:pt idx="3115">
                  <c:v>2.5970399999999998</c:v>
                </c:pt>
                <c:pt idx="3116">
                  <c:v>2.9415800000000001</c:v>
                </c:pt>
                <c:pt idx="3117">
                  <c:v>3.0399500000000002</c:v>
                </c:pt>
                <c:pt idx="3118">
                  <c:v>3.1539999999999999</c:v>
                </c:pt>
                <c:pt idx="3119">
                  <c:v>2.5599099999999999</c:v>
                </c:pt>
                <c:pt idx="3120">
                  <c:v>2.47567</c:v>
                </c:pt>
                <c:pt idx="3121">
                  <c:v>2.3144200000000001</c:v>
                </c:pt>
                <c:pt idx="3122">
                  <c:v>3.0417900000000002</c:v>
                </c:pt>
                <c:pt idx="3123">
                  <c:v>3.3038400000000001</c:v>
                </c:pt>
                <c:pt idx="3124">
                  <c:v>2.7886099999999998</c:v>
                </c:pt>
                <c:pt idx="3125">
                  <c:v>3.1810299999999998</c:v>
                </c:pt>
                <c:pt idx="3126">
                  <c:v>2.9032200000000001</c:v>
                </c:pt>
                <c:pt idx="3127">
                  <c:v>2.2251099999999999</c:v>
                </c:pt>
                <c:pt idx="3128">
                  <c:v>3.2061700000000002</c:v>
                </c:pt>
                <c:pt idx="3129">
                  <c:v>3.3467899999999999</c:v>
                </c:pt>
                <c:pt idx="3130">
                  <c:v>3.38429</c:v>
                </c:pt>
                <c:pt idx="3131">
                  <c:v>2.65815</c:v>
                </c:pt>
                <c:pt idx="3132">
                  <c:v>2.6779500000000001</c:v>
                </c:pt>
                <c:pt idx="3133">
                  <c:v>2.78363</c:v>
                </c:pt>
                <c:pt idx="3134">
                  <c:v>2.3892699999999998</c:v>
                </c:pt>
                <c:pt idx="3135">
                  <c:v>2.7590300000000001</c:v>
                </c:pt>
                <c:pt idx="3136">
                  <c:v>2.2982300000000002</c:v>
                </c:pt>
                <c:pt idx="3137">
                  <c:v>2.3756699999999999</c:v>
                </c:pt>
                <c:pt idx="3138">
                  <c:v>2.1499299999999999</c:v>
                </c:pt>
                <c:pt idx="3139">
                  <c:v>2.75807</c:v>
                </c:pt>
                <c:pt idx="3140">
                  <c:v>3.29521</c:v>
                </c:pt>
                <c:pt idx="3141">
                  <c:v>2.64324</c:v>
                </c:pt>
                <c:pt idx="3142">
                  <c:v>3.2667999999999999</c:v>
                </c:pt>
                <c:pt idx="3143">
                  <c:v>2.8739599999999998</c:v>
                </c:pt>
                <c:pt idx="3144">
                  <c:v>2.7027100000000002</c:v>
                </c:pt>
                <c:pt idx="3145">
                  <c:v>2.3010600000000001</c:v>
                </c:pt>
                <c:pt idx="3146">
                  <c:v>2.92157</c:v>
                </c:pt>
                <c:pt idx="3147">
                  <c:v>3.4788000000000001</c:v>
                </c:pt>
                <c:pt idx="3148">
                  <c:v>3.1120899999999998</c:v>
                </c:pt>
                <c:pt idx="3149">
                  <c:v>2.6059299999999999</c:v>
                </c:pt>
                <c:pt idx="3150">
                  <c:v>2.6064099999999999</c:v>
                </c:pt>
                <c:pt idx="3151">
                  <c:v>2.6268500000000001</c:v>
                </c:pt>
                <c:pt idx="3152">
                  <c:v>2.9946700000000002</c:v>
                </c:pt>
                <c:pt idx="3153">
                  <c:v>2.9405100000000002</c:v>
                </c:pt>
                <c:pt idx="3154">
                  <c:v>2.7106599999999998</c:v>
                </c:pt>
                <c:pt idx="3155">
                  <c:v>1.6496299999999999</c:v>
                </c:pt>
                <c:pt idx="3156">
                  <c:v>2.5261800000000001</c:v>
                </c:pt>
                <c:pt idx="3157">
                  <c:v>2.6218300000000001</c:v>
                </c:pt>
                <c:pt idx="3158">
                  <c:v>2.5245899999999999</c:v>
                </c:pt>
                <c:pt idx="3159">
                  <c:v>2.9691700000000001</c:v>
                </c:pt>
                <c:pt idx="3160">
                  <c:v>3.0104700000000002</c:v>
                </c:pt>
                <c:pt idx="3161">
                  <c:v>2.7277999999999998</c:v>
                </c:pt>
                <c:pt idx="3162">
                  <c:v>2.6141299999999998</c:v>
                </c:pt>
                <c:pt idx="3163">
                  <c:v>2.4408599999999998</c:v>
                </c:pt>
                <c:pt idx="3164">
                  <c:v>2.53999</c:v>
                </c:pt>
                <c:pt idx="3165">
                  <c:v>2.6879499999999998</c:v>
                </c:pt>
                <c:pt idx="3166">
                  <c:v>3.4593799999999999</c:v>
                </c:pt>
                <c:pt idx="3167">
                  <c:v>3.1720899999999999</c:v>
                </c:pt>
                <c:pt idx="3168">
                  <c:v>3.4194100000000001</c:v>
                </c:pt>
                <c:pt idx="3169">
                  <c:v>2.89961</c:v>
                </c:pt>
                <c:pt idx="3170">
                  <c:v>2.0261100000000001</c:v>
                </c:pt>
                <c:pt idx="3171">
                  <c:v>2.2162799999999998</c:v>
                </c:pt>
                <c:pt idx="3172">
                  <c:v>2.77217</c:v>
                </c:pt>
                <c:pt idx="3173">
                  <c:v>3.0186299999999999</c:v>
                </c:pt>
                <c:pt idx="3174">
                  <c:v>2.6842899999999998</c:v>
                </c:pt>
                <c:pt idx="3175">
                  <c:v>3.1753999999999998</c:v>
                </c:pt>
                <c:pt idx="3176">
                  <c:v>2.70085</c:v>
                </c:pt>
                <c:pt idx="3177">
                  <c:v>2.7709199999999998</c:v>
                </c:pt>
                <c:pt idx="3178">
                  <c:v>2.9967299999999999</c:v>
                </c:pt>
                <c:pt idx="3179">
                  <c:v>2.81419</c:v>
                </c:pt>
                <c:pt idx="3180">
                  <c:v>2.6272600000000002</c:v>
                </c:pt>
                <c:pt idx="3181">
                  <c:v>2.2501600000000002</c:v>
                </c:pt>
                <c:pt idx="3182">
                  <c:v>2.1117300000000001</c:v>
                </c:pt>
                <c:pt idx="3183">
                  <c:v>3.0411899999999998</c:v>
                </c:pt>
                <c:pt idx="3184">
                  <c:v>2.6987700000000001</c:v>
                </c:pt>
                <c:pt idx="3185">
                  <c:v>3.1323799999999999</c:v>
                </c:pt>
                <c:pt idx="3186">
                  <c:v>2.8536100000000002</c:v>
                </c:pt>
                <c:pt idx="3187">
                  <c:v>2.5047600000000001</c:v>
                </c:pt>
                <c:pt idx="3188">
                  <c:v>2.2315800000000001</c:v>
                </c:pt>
                <c:pt idx="3189">
                  <c:v>2.70303</c:v>
                </c:pt>
                <c:pt idx="3190">
                  <c:v>3.4184000000000001</c:v>
                </c:pt>
                <c:pt idx="3191">
                  <c:v>3.03626</c:v>
                </c:pt>
                <c:pt idx="3192">
                  <c:v>2.93221</c:v>
                </c:pt>
                <c:pt idx="3193">
                  <c:v>2.3113999999999999</c:v>
                </c:pt>
                <c:pt idx="3194">
                  <c:v>3.1301399999999999</c:v>
                </c:pt>
                <c:pt idx="3195">
                  <c:v>2.7582800000000001</c:v>
                </c:pt>
                <c:pt idx="3196">
                  <c:v>3.3688799999999999</c:v>
                </c:pt>
                <c:pt idx="3197">
                  <c:v>2.9275500000000001</c:v>
                </c:pt>
                <c:pt idx="3198">
                  <c:v>2.4373100000000001</c:v>
                </c:pt>
                <c:pt idx="3199">
                  <c:v>3.4251</c:v>
                </c:pt>
                <c:pt idx="3200">
                  <c:v>3.7116500000000001</c:v>
                </c:pt>
                <c:pt idx="3201">
                  <c:v>3.2362799999999998</c:v>
                </c:pt>
                <c:pt idx="3202">
                  <c:v>2.9944099999999998</c:v>
                </c:pt>
                <c:pt idx="3203">
                  <c:v>3.1581299999999999</c:v>
                </c:pt>
                <c:pt idx="3204">
                  <c:v>2.6858300000000002</c:v>
                </c:pt>
                <c:pt idx="3205">
                  <c:v>2.0907399999999998</c:v>
                </c:pt>
                <c:pt idx="3206">
                  <c:v>2.7768899999999999</c:v>
                </c:pt>
                <c:pt idx="3207">
                  <c:v>2.9445999999999999</c:v>
                </c:pt>
                <c:pt idx="3208">
                  <c:v>2.8329800000000001</c:v>
                </c:pt>
                <c:pt idx="3209">
                  <c:v>2.59721</c:v>
                </c:pt>
                <c:pt idx="3210">
                  <c:v>2.2134200000000002</c:v>
                </c:pt>
                <c:pt idx="3211">
                  <c:v>2.0097800000000001</c:v>
                </c:pt>
                <c:pt idx="3212">
                  <c:v>2.0545800000000001</c:v>
                </c:pt>
                <c:pt idx="3213">
                  <c:v>2.78369</c:v>
                </c:pt>
                <c:pt idx="3214">
                  <c:v>2.4590900000000002</c:v>
                </c:pt>
                <c:pt idx="3215">
                  <c:v>2.62704</c:v>
                </c:pt>
                <c:pt idx="3216">
                  <c:v>2.2838099999999999</c:v>
                </c:pt>
                <c:pt idx="3217">
                  <c:v>2.3693599999999999</c:v>
                </c:pt>
                <c:pt idx="3218">
                  <c:v>3.137</c:v>
                </c:pt>
                <c:pt idx="3219">
                  <c:v>3.3188800000000001</c:v>
                </c:pt>
                <c:pt idx="3220">
                  <c:v>3.90652</c:v>
                </c:pt>
                <c:pt idx="3221">
                  <c:v>3.9302600000000001</c:v>
                </c:pt>
                <c:pt idx="3222">
                  <c:v>3.1785100000000002</c:v>
                </c:pt>
                <c:pt idx="3223">
                  <c:v>2.3620800000000002</c:v>
                </c:pt>
                <c:pt idx="3224">
                  <c:v>2.2763200000000001</c:v>
                </c:pt>
                <c:pt idx="3225">
                  <c:v>2.7830300000000001</c:v>
                </c:pt>
                <c:pt idx="3226">
                  <c:v>2.50549</c:v>
                </c:pt>
                <c:pt idx="3227">
                  <c:v>3.43554</c:v>
                </c:pt>
                <c:pt idx="3228">
                  <c:v>2.5725899999999999</c:v>
                </c:pt>
                <c:pt idx="3229">
                  <c:v>2.22723</c:v>
                </c:pt>
                <c:pt idx="3230">
                  <c:v>2.0710000000000002</c:v>
                </c:pt>
                <c:pt idx="3231">
                  <c:v>2.6905800000000002</c:v>
                </c:pt>
                <c:pt idx="3232">
                  <c:v>2.9661400000000002</c:v>
                </c:pt>
                <c:pt idx="3233">
                  <c:v>2.22078</c:v>
                </c:pt>
                <c:pt idx="3234">
                  <c:v>2.3191700000000002</c:v>
                </c:pt>
                <c:pt idx="3235">
                  <c:v>2.5442100000000001</c:v>
                </c:pt>
                <c:pt idx="3236">
                  <c:v>3.3760599999999998</c:v>
                </c:pt>
                <c:pt idx="3237">
                  <c:v>3.36843</c:v>
                </c:pt>
                <c:pt idx="3238">
                  <c:v>3.02678</c:v>
                </c:pt>
                <c:pt idx="3239">
                  <c:v>3.1831100000000001</c:v>
                </c:pt>
                <c:pt idx="3240">
                  <c:v>2.57551</c:v>
                </c:pt>
                <c:pt idx="3241">
                  <c:v>2.38653</c:v>
                </c:pt>
                <c:pt idx="3242">
                  <c:v>2.2137799999999999</c:v>
                </c:pt>
                <c:pt idx="3243">
                  <c:v>2.64574</c:v>
                </c:pt>
                <c:pt idx="3244">
                  <c:v>2.71713</c:v>
                </c:pt>
                <c:pt idx="3245">
                  <c:v>2.2425000000000002</c:v>
                </c:pt>
                <c:pt idx="3246">
                  <c:v>2.5889899999999999</c:v>
                </c:pt>
                <c:pt idx="3247">
                  <c:v>1.9757</c:v>
                </c:pt>
                <c:pt idx="3248">
                  <c:v>2.8022399999999998</c:v>
                </c:pt>
                <c:pt idx="3249">
                  <c:v>3.1507200000000002</c:v>
                </c:pt>
                <c:pt idx="3250">
                  <c:v>2.5941800000000002</c:v>
                </c:pt>
                <c:pt idx="3251">
                  <c:v>2.7353999999999998</c:v>
                </c:pt>
                <c:pt idx="3252">
                  <c:v>2.9144800000000002</c:v>
                </c:pt>
                <c:pt idx="3253">
                  <c:v>3.1198299999999999</c:v>
                </c:pt>
                <c:pt idx="3254">
                  <c:v>2.88646</c:v>
                </c:pt>
                <c:pt idx="3255">
                  <c:v>3.2736800000000001</c:v>
                </c:pt>
                <c:pt idx="3256">
                  <c:v>3.3699400000000002</c:v>
                </c:pt>
                <c:pt idx="3257">
                  <c:v>2.8890600000000002</c:v>
                </c:pt>
                <c:pt idx="3258">
                  <c:v>2.9605299999999999</c:v>
                </c:pt>
                <c:pt idx="3259">
                  <c:v>2.4834299999999998</c:v>
                </c:pt>
                <c:pt idx="3260">
                  <c:v>3.0334099999999999</c:v>
                </c:pt>
                <c:pt idx="3261">
                  <c:v>3.0175800000000002</c:v>
                </c:pt>
                <c:pt idx="3262">
                  <c:v>2.4882900000000001</c:v>
                </c:pt>
                <c:pt idx="3263">
                  <c:v>2.7662599999999999</c:v>
                </c:pt>
                <c:pt idx="3264">
                  <c:v>2.16797</c:v>
                </c:pt>
                <c:pt idx="3265">
                  <c:v>3.1066699999999998</c:v>
                </c:pt>
                <c:pt idx="3266">
                  <c:v>3.05091</c:v>
                </c:pt>
                <c:pt idx="3267">
                  <c:v>3.2423299999999999</c:v>
                </c:pt>
                <c:pt idx="3268">
                  <c:v>2.92713</c:v>
                </c:pt>
                <c:pt idx="3269">
                  <c:v>2.8641700000000001</c:v>
                </c:pt>
                <c:pt idx="3270">
                  <c:v>2.2691699999999999</c:v>
                </c:pt>
                <c:pt idx="3271">
                  <c:v>2.4776400000000001</c:v>
                </c:pt>
                <c:pt idx="3272">
                  <c:v>3.21896</c:v>
                </c:pt>
                <c:pt idx="3273">
                  <c:v>2.49905</c:v>
                </c:pt>
                <c:pt idx="3274">
                  <c:v>3.3438400000000001</c:v>
                </c:pt>
                <c:pt idx="3275">
                  <c:v>3.6238800000000002</c:v>
                </c:pt>
                <c:pt idx="3276">
                  <c:v>3.0952199999999999</c:v>
                </c:pt>
                <c:pt idx="3277">
                  <c:v>2.5535899999999998</c:v>
                </c:pt>
                <c:pt idx="3278">
                  <c:v>2.5687500000000001</c:v>
                </c:pt>
                <c:pt idx="3279">
                  <c:v>2.5686499999999999</c:v>
                </c:pt>
                <c:pt idx="3280">
                  <c:v>3.0793400000000002</c:v>
                </c:pt>
                <c:pt idx="3281">
                  <c:v>3.4407899999999998</c:v>
                </c:pt>
                <c:pt idx="3282">
                  <c:v>3.8149999999999999</c:v>
                </c:pt>
                <c:pt idx="3283">
                  <c:v>2.7984499999999999</c:v>
                </c:pt>
                <c:pt idx="3284">
                  <c:v>2.75319</c:v>
                </c:pt>
                <c:pt idx="3285">
                  <c:v>2.6317200000000001</c:v>
                </c:pt>
                <c:pt idx="3286">
                  <c:v>2.7132999999999998</c:v>
                </c:pt>
                <c:pt idx="3287">
                  <c:v>2.9731999999999998</c:v>
                </c:pt>
                <c:pt idx="3288">
                  <c:v>2.7721100000000001</c:v>
                </c:pt>
                <c:pt idx="3289">
                  <c:v>2.4190999999999998</c:v>
                </c:pt>
                <c:pt idx="3290">
                  <c:v>2.1231399999999998</c:v>
                </c:pt>
                <c:pt idx="3291">
                  <c:v>2.7972700000000001</c:v>
                </c:pt>
                <c:pt idx="3292">
                  <c:v>3.0626199999999999</c:v>
                </c:pt>
                <c:pt idx="3293">
                  <c:v>2.5495299999999999</c:v>
                </c:pt>
                <c:pt idx="3294">
                  <c:v>2.9161999999999999</c:v>
                </c:pt>
                <c:pt idx="3295">
                  <c:v>2.68546</c:v>
                </c:pt>
                <c:pt idx="3296">
                  <c:v>3.2549000000000001</c:v>
                </c:pt>
                <c:pt idx="3297">
                  <c:v>3.1107900000000002</c:v>
                </c:pt>
                <c:pt idx="3298">
                  <c:v>2.2389000000000001</c:v>
                </c:pt>
                <c:pt idx="3299">
                  <c:v>2.2434599999999998</c:v>
                </c:pt>
                <c:pt idx="3300">
                  <c:v>2.7734700000000001</c:v>
                </c:pt>
                <c:pt idx="3301">
                  <c:v>2.6837499999999999</c:v>
                </c:pt>
                <c:pt idx="3302">
                  <c:v>2.7552699999999999</c:v>
                </c:pt>
                <c:pt idx="3303">
                  <c:v>2.8909799999999999</c:v>
                </c:pt>
                <c:pt idx="3304">
                  <c:v>2.5671900000000001</c:v>
                </c:pt>
                <c:pt idx="3305">
                  <c:v>2.6992699999999998</c:v>
                </c:pt>
                <c:pt idx="3306">
                  <c:v>1.7744599999999999</c:v>
                </c:pt>
                <c:pt idx="3307">
                  <c:v>1.94503</c:v>
                </c:pt>
                <c:pt idx="3308">
                  <c:v>2.4553199999999999</c:v>
                </c:pt>
                <c:pt idx="3309">
                  <c:v>2.9013499999999999</c:v>
                </c:pt>
                <c:pt idx="3310">
                  <c:v>3.30213</c:v>
                </c:pt>
                <c:pt idx="3311">
                  <c:v>3.1807699999999999</c:v>
                </c:pt>
                <c:pt idx="3312">
                  <c:v>3.1583899999999998</c:v>
                </c:pt>
                <c:pt idx="3313">
                  <c:v>2.3923399999999999</c:v>
                </c:pt>
                <c:pt idx="3314">
                  <c:v>2.47037</c:v>
                </c:pt>
                <c:pt idx="3315">
                  <c:v>2.9521500000000001</c:v>
                </c:pt>
                <c:pt idx="3316">
                  <c:v>2.4527000000000001</c:v>
                </c:pt>
                <c:pt idx="3317">
                  <c:v>2.77583</c:v>
                </c:pt>
                <c:pt idx="3318">
                  <c:v>2.8291200000000001</c:v>
                </c:pt>
                <c:pt idx="3319">
                  <c:v>2.4168799999999999</c:v>
                </c:pt>
                <c:pt idx="3320">
                  <c:v>2.70655</c:v>
                </c:pt>
                <c:pt idx="3321">
                  <c:v>2.56976</c:v>
                </c:pt>
                <c:pt idx="3322">
                  <c:v>3.0302500000000001</c:v>
                </c:pt>
                <c:pt idx="3323">
                  <c:v>2.6539100000000002</c:v>
                </c:pt>
                <c:pt idx="3324">
                  <c:v>2.6817000000000002</c:v>
                </c:pt>
                <c:pt idx="3325">
                  <c:v>2.5342799999999999</c:v>
                </c:pt>
                <c:pt idx="3326">
                  <c:v>2.8243499999999999</c:v>
                </c:pt>
                <c:pt idx="3327">
                  <c:v>3.7412800000000002</c:v>
                </c:pt>
                <c:pt idx="3328">
                  <c:v>2.99648</c:v>
                </c:pt>
                <c:pt idx="3329">
                  <c:v>3.19984</c:v>
                </c:pt>
                <c:pt idx="3330">
                  <c:v>2.6915499999999999</c:v>
                </c:pt>
                <c:pt idx="3331">
                  <c:v>2.6254200000000001</c:v>
                </c:pt>
                <c:pt idx="3332">
                  <c:v>3.1250300000000002</c:v>
                </c:pt>
                <c:pt idx="3333">
                  <c:v>2.8163900000000002</c:v>
                </c:pt>
                <c:pt idx="3334">
                  <c:v>3.1168300000000002</c:v>
                </c:pt>
                <c:pt idx="3335">
                  <c:v>1.9770700000000001</c:v>
                </c:pt>
                <c:pt idx="3336">
                  <c:v>2.6808800000000002</c:v>
                </c:pt>
                <c:pt idx="3337">
                  <c:v>2.39059</c:v>
                </c:pt>
                <c:pt idx="3338">
                  <c:v>2.2704599999999999</c:v>
                </c:pt>
                <c:pt idx="3339">
                  <c:v>2.9980600000000002</c:v>
                </c:pt>
                <c:pt idx="3340">
                  <c:v>3.59449</c:v>
                </c:pt>
                <c:pt idx="3341">
                  <c:v>3.1583800000000002</c:v>
                </c:pt>
                <c:pt idx="3342">
                  <c:v>2.3165800000000001</c:v>
                </c:pt>
                <c:pt idx="3343">
                  <c:v>3.0368900000000001</c:v>
                </c:pt>
                <c:pt idx="3344">
                  <c:v>2.64276</c:v>
                </c:pt>
                <c:pt idx="3345">
                  <c:v>3.2934299999999999</c:v>
                </c:pt>
                <c:pt idx="3346">
                  <c:v>3.5437099999999999</c:v>
                </c:pt>
                <c:pt idx="3347">
                  <c:v>2.8813300000000002</c:v>
                </c:pt>
                <c:pt idx="3348">
                  <c:v>3.08297</c:v>
                </c:pt>
                <c:pt idx="3349">
                  <c:v>2.4988100000000002</c:v>
                </c:pt>
                <c:pt idx="3350">
                  <c:v>3.0474199999999998</c:v>
                </c:pt>
                <c:pt idx="3351">
                  <c:v>2.5845799999999999</c:v>
                </c:pt>
                <c:pt idx="3352">
                  <c:v>3.0904699999999998</c:v>
                </c:pt>
                <c:pt idx="3353">
                  <c:v>2.9904099999999998</c:v>
                </c:pt>
                <c:pt idx="3354">
                  <c:v>3.02996</c:v>
                </c:pt>
                <c:pt idx="3355">
                  <c:v>2.9106200000000002</c:v>
                </c:pt>
                <c:pt idx="3356">
                  <c:v>2.4487299999999999</c:v>
                </c:pt>
                <c:pt idx="3357">
                  <c:v>3.3330500000000001</c:v>
                </c:pt>
                <c:pt idx="3358">
                  <c:v>3.0087799999999998</c:v>
                </c:pt>
                <c:pt idx="3359">
                  <c:v>2.51857</c:v>
                </c:pt>
                <c:pt idx="3360">
                  <c:v>2.3293699999999999</c:v>
                </c:pt>
                <c:pt idx="3361">
                  <c:v>2.5110999999999999</c:v>
                </c:pt>
                <c:pt idx="3362">
                  <c:v>2.2774200000000002</c:v>
                </c:pt>
                <c:pt idx="3363">
                  <c:v>2.5634700000000001</c:v>
                </c:pt>
                <c:pt idx="3364">
                  <c:v>2.7066300000000001</c:v>
                </c:pt>
                <c:pt idx="3365">
                  <c:v>2.9803700000000002</c:v>
                </c:pt>
                <c:pt idx="3366">
                  <c:v>2.8708800000000001</c:v>
                </c:pt>
                <c:pt idx="3367">
                  <c:v>2.7098900000000001</c:v>
                </c:pt>
                <c:pt idx="3368">
                  <c:v>2.1012599999999999</c:v>
                </c:pt>
                <c:pt idx="3369">
                  <c:v>2.3043300000000002</c:v>
                </c:pt>
                <c:pt idx="3370">
                  <c:v>2.9245299999999999</c:v>
                </c:pt>
                <c:pt idx="3371">
                  <c:v>2.9231799999999999</c:v>
                </c:pt>
                <c:pt idx="3372">
                  <c:v>3.3377599999999998</c:v>
                </c:pt>
                <c:pt idx="3373">
                  <c:v>2.9561899999999999</c:v>
                </c:pt>
                <c:pt idx="3374">
                  <c:v>3.0401699999999998</c:v>
                </c:pt>
                <c:pt idx="3375">
                  <c:v>2.6700200000000001</c:v>
                </c:pt>
                <c:pt idx="3376">
                  <c:v>2.74133</c:v>
                </c:pt>
                <c:pt idx="3377">
                  <c:v>2.7688799999999998</c:v>
                </c:pt>
                <c:pt idx="3378">
                  <c:v>2.6670699999999998</c:v>
                </c:pt>
                <c:pt idx="3379">
                  <c:v>2.8357800000000002</c:v>
                </c:pt>
                <c:pt idx="3380">
                  <c:v>2.3567800000000001</c:v>
                </c:pt>
                <c:pt idx="3381">
                  <c:v>2.7322500000000001</c:v>
                </c:pt>
                <c:pt idx="3382">
                  <c:v>3.2833100000000002</c:v>
                </c:pt>
                <c:pt idx="3383">
                  <c:v>2.8736700000000002</c:v>
                </c:pt>
                <c:pt idx="3384">
                  <c:v>2.7327300000000001</c:v>
                </c:pt>
                <c:pt idx="3385">
                  <c:v>2.2986300000000002</c:v>
                </c:pt>
                <c:pt idx="3386">
                  <c:v>2.5999300000000001</c:v>
                </c:pt>
                <c:pt idx="3387">
                  <c:v>2.4413900000000002</c:v>
                </c:pt>
                <c:pt idx="3388">
                  <c:v>2.8794200000000001</c:v>
                </c:pt>
                <c:pt idx="3389">
                  <c:v>2.7395999999999998</c:v>
                </c:pt>
                <c:pt idx="3390">
                  <c:v>2.72288</c:v>
                </c:pt>
                <c:pt idx="3391">
                  <c:v>2.5473599999999998</c:v>
                </c:pt>
                <c:pt idx="3392">
                  <c:v>2.4557500000000001</c:v>
                </c:pt>
                <c:pt idx="3393">
                  <c:v>2.1845400000000001</c:v>
                </c:pt>
                <c:pt idx="3394">
                  <c:v>3.1459299999999999</c:v>
                </c:pt>
                <c:pt idx="3395">
                  <c:v>2.5964100000000001</c:v>
                </c:pt>
                <c:pt idx="3396">
                  <c:v>2.6095899999999999</c:v>
                </c:pt>
                <c:pt idx="3397">
                  <c:v>3.5549900000000001</c:v>
                </c:pt>
                <c:pt idx="3398">
                  <c:v>2.93093</c:v>
                </c:pt>
                <c:pt idx="3399">
                  <c:v>2.1553200000000001</c:v>
                </c:pt>
                <c:pt idx="3400">
                  <c:v>3.4804200000000001</c:v>
                </c:pt>
                <c:pt idx="3401">
                  <c:v>2.98861</c:v>
                </c:pt>
                <c:pt idx="3402">
                  <c:v>2.9316399999999998</c:v>
                </c:pt>
                <c:pt idx="3403">
                  <c:v>2.5809099999999998</c:v>
                </c:pt>
                <c:pt idx="3404">
                  <c:v>2.5228999999999999</c:v>
                </c:pt>
                <c:pt idx="3405">
                  <c:v>2.21421</c:v>
                </c:pt>
                <c:pt idx="3406">
                  <c:v>2.44984</c:v>
                </c:pt>
                <c:pt idx="3407">
                  <c:v>3.2053799999999999</c:v>
                </c:pt>
                <c:pt idx="3408">
                  <c:v>2.4686300000000001</c:v>
                </c:pt>
                <c:pt idx="3409">
                  <c:v>2.5022600000000002</c:v>
                </c:pt>
                <c:pt idx="3410">
                  <c:v>2.0083000000000002</c:v>
                </c:pt>
                <c:pt idx="3411">
                  <c:v>2.6327799999999999</c:v>
                </c:pt>
                <c:pt idx="3412">
                  <c:v>2.9063300000000001</c:v>
                </c:pt>
                <c:pt idx="3413">
                  <c:v>2.39777</c:v>
                </c:pt>
                <c:pt idx="3414">
                  <c:v>2.5968100000000001</c:v>
                </c:pt>
                <c:pt idx="3415">
                  <c:v>2.1103700000000001</c:v>
                </c:pt>
                <c:pt idx="3416">
                  <c:v>2.2867000000000002</c:v>
                </c:pt>
                <c:pt idx="3417">
                  <c:v>2.5684300000000002</c:v>
                </c:pt>
                <c:pt idx="3418">
                  <c:v>2.81724</c:v>
                </c:pt>
                <c:pt idx="3419">
                  <c:v>3.0375700000000001</c:v>
                </c:pt>
                <c:pt idx="3420">
                  <c:v>2.4984899999999999</c:v>
                </c:pt>
                <c:pt idx="3421">
                  <c:v>2.8002500000000001</c:v>
                </c:pt>
                <c:pt idx="3422">
                  <c:v>3.0251800000000002</c:v>
                </c:pt>
                <c:pt idx="3423">
                  <c:v>2.35554</c:v>
                </c:pt>
                <c:pt idx="3424">
                  <c:v>2.9676200000000001</c:v>
                </c:pt>
                <c:pt idx="3425">
                  <c:v>2.3978199999999998</c:v>
                </c:pt>
                <c:pt idx="3426">
                  <c:v>3.3744999999999998</c:v>
                </c:pt>
                <c:pt idx="3427">
                  <c:v>3.0514299999999999</c:v>
                </c:pt>
                <c:pt idx="3428">
                  <c:v>2.7508300000000001</c:v>
                </c:pt>
                <c:pt idx="3429">
                  <c:v>2.51023</c:v>
                </c:pt>
                <c:pt idx="3430">
                  <c:v>2.7772199999999998</c:v>
                </c:pt>
                <c:pt idx="3431">
                  <c:v>2.3634900000000001</c:v>
                </c:pt>
                <c:pt idx="3432">
                  <c:v>2.0123600000000001</c:v>
                </c:pt>
                <c:pt idx="3433">
                  <c:v>3.1676600000000001</c:v>
                </c:pt>
                <c:pt idx="3434">
                  <c:v>3.1646399999999999</c:v>
                </c:pt>
                <c:pt idx="3435">
                  <c:v>2.6566299999999998</c:v>
                </c:pt>
                <c:pt idx="3436">
                  <c:v>3.1947399999999999</c:v>
                </c:pt>
                <c:pt idx="3437">
                  <c:v>2.7530100000000002</c:v>
                </c:pt>
                <c:pt idx="3438">
                  <c:v>2.5356200000000002</c:v>
                </c:pt>
                <c:pt idx="3439">
                  <c:v>2.3931800000000001</c:v>
                </c:pt>
                <c:pt idx="3440">
                  <c:v>2.1806199999999998</c:v>
                </c:pt>
                <c:pt idx="3441">
                  <c:v>2.5487099999999998</c:v>
                </c:pt>
                <c:pt idx="3442">
                  <c:v>2.82186</c:v>
                </c:pt>
                <c:pt idx="3443">
                  <c:v>3.1434199999999999</c:v>
                </c:pt>
                <c:pt idx="3444">
                  <c:v>3.1003699999999998</c:v>
                </c:pt>
                <c:pt idx="3445">
                  <c:v>2.9646499999999998</c:v>
                </c:pt>
                <c:pt idx="3446">
                  <c:v>2.5813299999999999</c:v>
                </c:pt>
                <c:pt idx="3447">
                  <c:v>2.49824</c:v>
                </c:pt>
                <c:pt idx="3448">
                  <c:v>1.98786</c:v>
                </c:pt>
                <c:pt idx="3449">
                  <c:v>2.21665</c:v>
                </c:pt>
                <c:pt idx="3450">
                  <c:v>2.9909300000000001</c:v>
                </c:pt>
                <c:pt idx="3451">
                  <c:v>3.0411999999999999</c:v>
                </c:pt>
                <c:pt idx="3452">
                  <c:v>2.8172199999999998</c:v>
                </c:pt>
                <c:pt idx="3453">
                  <c:v>2.6408800000000001</c:v>
                </c:pt>
                <c:pt idx="3454">
                  <c:v>2.3121399999999999</c:v>
                </c:pt>
                <c:pt idx="3455">
                  <c:v>2.2981600000000002</c:v>
                </c:pt>
                <c:pt idx="3456">
                  <c:v>2.3622299999999998</c:v>
                </c:pt>
                <c:pt idx="3457">
                  <c:v>2.2164100000000002</c:v>
                </c:pt>
                <c:pt idx="3458">
                  <c:v>2.0373800000000002</c:v>
                </c:pt>
                <c:pt idx="3459">
                  <c:v>2.5733799999999998</c:v>
                </c:pt>
                <c:pt idx="3460">
                  <c:v>1.82229</c:v>
                </c:pt>
                <c:pt idx="3461">
                  <c:v>2.5433699999999999</c:v>
                </c:pt>
                <c:pt idx="3462">
                  <c:v>2.9660500000000001</c:v>
                </c:pt>
                <c:pt idx="3463">
                  <c:v>2.6446399999999999</c:v>
                </c:pt>
                <c:pt idx="3464">
                  <c:v>2.90232</c:v>
                </c:pt>
                <c:pt idx="3465">
                  <c:v>2.7321599999999999</c:v>
                </c:pt>
                <c:pt idx="3466">
                  <c:v>2.3367300000000002</c:v>
                </c:pt>
                <c:pt idx="3467">
                  <c:v>2.5099</c:v>
                </c:pt>
                <c:pt idx="3468">
                  <c:v>2.2876599999999998</c:v>
                </c:pt>
                <c:pt idx="3469">
                  <c:v>2.7115399999999998</c:v>
                </c:pt>
                <c:pt idx="3470">
                  <c:v>2.12452</c:v>
                </c:pt>
                <c:pt idx="3471">
                  <c:v>2.6404000000000001</c:v>
                </c:pt>
                <c:pt idx="3472">
                  <c:v>2.43859</c:v>
                </c:pt>
                <c:pt idx="3473">
                  <c:v>2.4799799999999999</c:v>
                </c:pt>
                <c:pt idx="3474">
                  <c:v>3.14357</c:v>
                </c:pt>
                <c:pt idx="3475">
                  <c:v>2.6994699999999998</c:v>
                </c:pt>
                <c:pt idx="3476">
                  <c:v>2.4956299999999998</c:v>
                </c:pt>
                <c:pt idx="3477">
                  <c:v>1.8511</c:v>
                </c:pt>
                <c:pt idx="3478">
                  <c:v>2.8183500000000001</c:v>
                </c:pt>
                <c:pt idx="3479">
                  <c:v>3.0415899999999998</c:v>
                </c:pt>
                <c:pt idx="3480">
                  <c:v>3.1042800000000002</c:v>
                </c:pt>
                <c:pt idx="3481">
                  <c:v>2.66995</c:v>
                </c:pt>
                <c:pt idx="3482">
                  <c:v>2.6084299999999998</c:v>
                </c:pt>
                <c:pt idx="3483">
                  <c:v>2.8607999999999998</c:v>
                </c:pt>
                <c:pt idx="3484">
                  <c:v>2.58439</c:v>
                </c:pt>
                <c:pt idx="3485">
                  <c:v>2.8196099999999999</c:v>
                </c:pt>
                <c:pt idx="3486">
                  <c:v>2.6396500000000001</c:v>
                </c:pt>
                <c:pt idx="3487">
                  <c:v>2.6392799999999998</c:v>
                </c:pt>
                <c:pt idx="3488">
                  <c:v>2.3227099999999998</c:v>
                </c:pt>
                <c:pt idx="3489">
                  <c:v>2.4619499999999999</c:v>
                </c:pt>
                <c:pt idx="3490">
                  <c:v>2.5222500000000001</c:v>
                </c:pt>
                <c:pt idx="3491">
                  <c:v>2.6061100000000001</c:v>
                </c:pt>
                <c:pt idx="3492">
                  <c:v>2.8150599999999999</c:v>
                </c:pt>
                <c:pt idx="3493">
                  <c:v>2.5793400000000002</c:v>
                </c:pt>
                <c:pt idx="3494">
                  <c:v>2.1093000000000002</c:v>
                </c:pt>
                <c:pt idx="3495">
                  <c:v>2.1275599999999999</c:v>
                </c:pt>
                <c:pt idx="3496">
                  <c:v>2.3690000000000002</c:v>
                </c:pt>
                <c:pt idx="3497">
                  <c:v>2.7923200000000001</c:v>
                </c:pt>
                <c:pt idx="3498">
                  <c:v>2.2835899999999998</c:v>
                </c:pt>
                <c:pt idx="3499">
                  <c:v>2.7177199999999999</c:v>
                </c:pt>
                <c:pt idx="3500">
                  <c:v>2.3322600000000002</c:v>
                </c:pt>
                <c:pt idx="3501">
                  <c:v>2.08439</c:v>
                </c:pt>
                <c:pt idx="3502">
                  <c:v>3.0430000000000001</c:v>
                </c:pt>
                <c:pt idx="3503">
                  <c:v>2.8661599999999998</c:v>
                </c:pt>
                <c:pt idx="3504">
                  <c:v>2.8444099999999999</c:v>
                </c:pt>
                <c:pt idx="3505">
                  <c:v>2.2876599999999998</c:v>
                </c:pt>
                <c:pt idx="3506">
                  <c:v>2.6604199999999998</c:v>
                </c:pt>
                <c:pt idx="3507">
                  <c:v>2.7272799999999999</c:v>
                </c:pt>
                <c:pt idx="3508">
                  <c:v>2.7854700000000001</c:v>
                </c:pt>
                <c:pt idx="3509">
                  <c:v>2.9591599999999998</c:v>
                </c:pt>
                <c:pt idx="3510">
                  <c:v>3.0619200000000002</c:v>
                </c:pt>
                <c:pt idx="3511">
                  <c:v>2.9126599999999998</c:v>
                </c:pt>
                <c:pt idx="3512">
                  <c:v>2.27101</c:v>
                </c:pt>
                <c:pt idx="3513">
                  <c:v>2.2736700000000001</c:v>
                </c:pt>
                <c:pt idx="3514">
                  <c:v>2.5467200000000001</c:v>
                </c:pt>
                <c:pt idx="3515">
                  <c:v>2.81229</c:v>
                </c:pt>
                <c:pt idx="3516">
                  <c:v>2.9405999999999999</c:v>
                </c:pt>
                <c:pt idx="3517">
                  <c:v>3.1959200000000001</c:v>
                </c:pt>
                <c:pt idx="3518">
                  <c:v>2.2007400000000001</c:v>
                </c:pt>
                <c:pt idx="3519">
                  <c:v>2.0462600000000002</c:v>
                </c:pt>
                <c:pt idx="3520">
                  <c:v>2.2642500000000001</c:v>
                </c:pt>
                <c:pt idx="3521">
                  <c:v>2.6789399999999999</c:v>
                </c:pt>
                <c:pt idx="3522">
                  <c:v>2.5440200000000002</c:v>
                </c:pt>
                <c:pt idx="3523">
                  <c:v>2.7248299999999999</c:v>
                </c:pt>
                <c:pt idx="3524">
                  <c:v>2.7281900000000001</c:v>
                </c:pt>
                <c:pt idx="3525">
                  <c:v>2.6441499999999998</c:v>
                </c:pt>
                <c:pt idx="3526">
                  <c:v>3.00203</c:v>
                </c:pt>
                <c:pt idx="3527">
                  <c:v>3.4704299999999999</c:v>
                </c:pt>
                <c:pt idx="3528">
                  <c:v>2.7665600000000001</c:v>
                </c:pt>
                <c:pt idx="3529">
                  <c:v>2.0209800000000002</c:v>
                </c:pt>
                <c:pt idx="3530">
                  <c:v>2.1526299999999998</c:v>
                </c:pt>
                <c:pt idx="3531">
                  <c:v>2.5550799999999998</c:v>
                </c:pt>
                <c:pt idx="3532">
                  <c:v>3.26844</c:v>
                </c:pt>
                <c:pt idx="3533">
                  <c:v>3.3098399999999999</c:v>
                </c:pt>
                <c:pt idx="3534">
                  <c:v>2.2038000000000002</c:v>
                </c:pt>
                <c:pt idx="3535">
                  <c:v>2.3205800000000001</c:v>
                </c:pt>
                <c:pt idx="3536">
                  <c:v>1.7804599999999999</c:v>
                </c:pt>
                <c:pt idx="3537">
                  <c:v>2.5188999999999999</c:v>
                </c:pt>
                <c:pt idx="3538">
                  <c:v>2.3593600000000001</c:v>
                </c:pt>
                <c:pt idx="3539">
                  <c:v>2.3991600000000002</c:v>
                </c:pt>
                <c:pt idx="3540">
                  <c:v>2.0210499999999998</c:v>
                </c:pt>
                <c:pt idx="3541">
                  <c:v>2.20242</c:v>
                </c:pt>
                <c:pt idx="3542">
                  <c:v>2.7946800000000001</c:v>
                </c:pt>
                <c:pt idx="3543">
                  <c:v>2.4301499999999998</c:v>
                </c:pt>
                <c:pt idx="3544">
                  <c:v>2.7879100000000001</c:v>
                </c:pt>
                <c:pt idx="3545">
                  <c:v>2.3544999999999998</c:v>
                </c:pt>
                <c:pt idx="3546">
                  <c:v>2.3207800000000001</c:v>
                </c:pt>
                <c:pt idx="3547">
                  <c:v>2.16154</c:v>
                </c:pt>
                <c:pt idx="3548">
                  <c:v>2.4700299999999999</c:v>
                </c:pt>
                <c:pt idx="3549">
                  <c:v>2.8914800000000001</c:v>
                </c:pt>
                <c:pt idx="3550">
                  <c:v>2.63002</c:v>
                </c:pt>
                <c:pt idx="3551">
                  <c:v>3.1132300000000002</c:v>
                </c:pt>
                <c:pt idx="3552">
                  <c:v>2.82091</c:v>
                </c:pt>
                <c:pt idx="3553">
                  <c:v>1.9217900000000001</c:v>
                </c:pt>
                <c:pt idx="3554">
                  <c:v>2.9215499999999999</c:v>
                </c:pt>
                <c:pt idx="3555">
                  <c:v>2.8780299999999999</c:v>
                </c:pt>
                <c:pt idx="3556">
                  <c:v>2.9607199999999998</c:v>
                </c:pt>
                <c:pt idx="3557">
                  <c:v>2.3940299999999999</c:v>
                </c:pt>
                <c:pt idx="3558">
                  <c:v>2.2272799999999999</c:v>
                </c:pt>
                <c:pt idx="3559">
                  <c:v>2.4886699999999999</c:v>
                </c:pt>
                <c:pt idx="3560">
                  <c:v>2.3265600000000002</c:v>
                </c:pt>
                <c:pt idx="3561">
                  <c:v>2.6330399999999998</c:v>
                </c:pt>
                <c:pt idx="3562">
                  <c:v>3.16316</c:v>
                </c:pt>
                <c:pt idx="3563">
                  <c:v>2.6092499999999998</c:v>
                </c:pt>
                <c:pt idx="3564">
                  <c:v>2.1619999999999999</c:v>
                </c:pt>
                <c:pt idx="3565">
                  <c:v>2.1976100000000001</c:v>
                </c:pt>
                <c:pt idx="3566">
                  <c:v>2.2346499999999998</c:v>
                </c:pt>
                <c:pt idx="3567">
                  <c:v>2.2647699999999999</c:v>
                </c:pt>
                <c:pt idx="3568">
                  <c:v>2.67706</c:v>
                </c:pt>
                <c:pt idx="3569">
                  <c:v>3.1391300000000002</c:v>
                </c:pt>
                <c:pt idx="3570">
                  <c:v>2.9044400000000001</c:v>
                </c:pt>
                <c:pt idx="3571">
                  <c:v>2.0651099999999998</c:v>
                </c:pt>
                <c:pt idx="3572">
                  <c:v>2.0512999999999999</c:v>
                </c:pt>
                <c:pt idx="3573">
                  <c:v>2.7665799999999998</c:v>
                </c:pt>
                <c:pt idx="3574">
                  <c:v>3.1154000000000002</c:v>
                </c:pt>
                <c:pt idx="3575">
                  <c:v>2.3726699999999998</c:v>
                </c:pt>
                <c:pt idx="3576">
                  <c:v>3.2411099999999999</c:v>
                </c:pt>
                <c:pt idx="3577">
                  <c:v>2.8986200000000002</c:v>
                </c:pt>
                <c:pt idx="3578">
                  <c:v>2.0954999999999999</c:v>
                </c:pt>
                <c:pt idx="3579">
                  <c:v>2.94001</c:v>
                </c:pt>
                <c:pt idx="3580">
                  <c:v>2.7759399999999999</c:v>
                </c:pt>
                <c:pt idx="3581">
                  <c:v>2.82992</c:v>
                </c:pt>
                <c:pt idx="3582">
                  <c:v>2.2751999999999999</c:v>
                </c:pt>
                <c:pt idx="3583">
                  <c:v>2.5042200000000001</c:v>
                </c:pt>
                <c:pt idx="3584">
                  <c:v>2.5440999999999998</c:v>
                </c:pt>
                <c:pt idx="3585">
                  <c:v>2.6736499999999999</c:v>
                </c:pt>
                <c:pt idx="3586">
                  <c:v>2.89377</c:v>
                </c:pt>
                <c:pt idx="3587">
                  <c:v>2.9954800000000001</c:v>
                </c:pt>
                <c:pt idx="3588">
                  <c:v>2.9166400000000001</c:v>
                </c:pt>
                <c:pt idx="3589">
                  <c:v>2.3293900000000001</c:v>
                </c:pt>
                <c:pt idx="3590">
                  <c:v>2.4456500000000001</c:v>
                </c:pt>
                <c:pt idx="3591">
                  <c:v>2.6845400000000001</c:v>
                </c:pt>
                <c:pt idx="3592">
                  <c:v>2.5089600000000001</c:v>
                </c:pt>
                <c:pt idx="3593">
                  <c:v>2.8304200000000002</c:v>
                </c:pt>
                <c:pt idx="3594">
                  <c:v>2.5277400000000001</c:v>
                </c:pt>
                <c:pt idx="3595">
                  <c:v>2.5295800000000002</c:v>
                </c:pt>
                <c:pt idx="3596">
                  <c:v>2.2786599999999999</c:v>
                </c:pt>
                <c:pt idx="3597">
                  <c:v>2.9114</c:v>
                </c:pt>
                <c:pt idx="3598">
                  <c:v>3.1787800000000002</c:v>
                </c:pt>
                <c:pt idx="3599">
                  <c:v>2.2055699999999998</c:v>
                </c:pt>
                <c:pt idx="3600">
                  <c:v>2.0707399999999998</c:v>
                </c:pt>
                <c:pt idx="3601">
                  <c:v>2.35175</c:v>
                </c:pt>
                <c:pt idx="3602">
                  <c:v>2.25149</c:v>
                </c:pt>
                <c:pt idx="3603">
                  <c:v>3.0402999999999998</c:v>
                </c:pt>
                <c:pt idx="3604">
                  <c:v>3.32925</c:v>
                </c:pt>
                <c:pt idx="3605">
                  <c:v>3.1924399999999999</c:v>
                </c:pt>
                <c:pt idx="3606">
                  <c:v>2.7782900000000001</c:v>
                </c:pt>
                <c:pt idx="3607">
                  <c:v>2.6143100000000001</c:v>
                </c:pt>
                <c:pt idx="3608">
                  <c:v>2.5118399999999999</c:v>
                </c:pt>
                <c:pt idx="3609">
                  <c:v>2.7089599999999998</c:v>
                </c:pt>
                <c:pt idx="3610">
                  <c:v>2.1378499999999998</c:v>
                </c:pt>
                <c:pt idx="3611">
                  <c:v>2.1700200000000001</c:v>
                </c:pt>
                <c:pt idx="3612">
                  <c:v>2.5434899999999998</c:v>
                </c:pt>
                <c:pt idx="3613">
                  <c:v>2.0718200000000002</c:v>
                </c:pt>
                <c:pt idx="3614">
                  <c:v>2.8987699999999998</c:v>
                </c:pt>
                <c:pt idx="3615">
                  <c:v>3.0241400000000001</c:v>
                </c:pt>
                <c:pt idx="3616">
                  <c:v>2.8203399999999998</c:v>
                </c:pt>
                <c:pt idx="3617">
                  <c:v>2.5555599999999998</c:v>
                </c:pt>
                <c:pt idx="3618">
                  <c:v>2.2885</c:v>
                </c:pt>
                <c:pt idx="3619">
                  <c:v>2.4564599999999999</c:v>
                </c:pt>
                <c:pt idx="3620">
                  <c:v>2.2810199999999998</c:v>
                </c:pt>
                <c:pt idx="3621">
                  <c:v>3.0296799999999999</c:v>
                </c:pt>
                <c:pt idx="3622">
                  <c:v>3.0781299999999998</c:v>
                </c:pt>
                <c:pt idx="3623">
                  <c:v>3.1873300000000002</c:v>
                </c:pt>
                <c:pt idx="3624">
                  <c:v>2.15889</c:v>
                </c:pt>
                <c:pt idx="3625">
                  <c:v>2.5504699999999998</c:v>
                </c:pt>
                <c:pt idx="3626">
                  <c:v>2.9037500000000001</c:v>
                </c:pt>
                <c:pt idx="3627">
                  <c:v>2.5211999999999999</c:v>
                </c:pt>
                <c:pt idx="3628">
                  <c:v>4.7710499999999998</c:v>
                </c:pt>
                <c:pt idx="3629">
                  <c:v>4.0258700000000003</c:v>
                </c:pt>
                <c:pt idx="3630">
                  <c:v>3.2447300000000001</c:v>
                </c:pt>
                <c:pt idx="3631">
                  <c:v>3.2891699999999999</c:v>
                </c:pt>
                <c:pt idx="3632">
                  <c:v>2.3718400000000002</c:v>
                </c:pt>
                <c:pt idx="3633">
                  <c:v>1.8917999999999999</c:v>
                </c:pt>
                <c:pt idx="3634">
                  <c:v>2.0231300000000001</c:v>
                </c:pt>
                <c:pt idx="3635">
                  <c:v>1.86564</c:v>
                </c:pt>
                <c:pt idx="3636">
                  <c:v>1.95343</c:v>
                </c:pt>
                <c:pt idx="3637">
                  <c:v>2.22241</c:v>
                </c:pt>
                <c:pt idx="3638">
                  <c:v>1.8632500000000001</c:v>
                </c:pt>
                <c:pt idx="3639">
                  <c:v>1.9957800000000001</c:v>
                </c:pt>
                <c:pt idx="3640">
                  <c:v>1.78203</c:v>
                </c:pt>
                <c:pt idx="3641">
                  <c:v>1.7340500000000001</c:v>
                </c:pt>
                <c:pt idx="3642">
                  <c:v>2.5952199999999999</c:v>
                </c:pt>
                <c:pt idx="3643">
                  <c:v>2.4450799999999999</c:v>
                </c:pt>
                <c:pt idx="3644">
                  <c:v>2.8734999999999999</c:v>
                </c:pt>
                <c:pt idx="3645">
                  <c:v>3.0419499999999999</c:v>
                </c:pt>
                <c:pt idx="3646">
                  <c:v>2.57741</c:v>
                </c:pt>
                <c:pt idx="3647">
                  <c:v>2.76667</c:v>
                </c:pt>
                <c:pt idx="3648">
                  <c:v>4.0123100000000003</c:v>
                </c:pt>
                <c:pt idx="3649">
                  <c:v>4.2441500000000003</c:v>
                </c:pt>
                <c:pt idx="3650">
                  <c:v>3.73706</c:v>
                </c:pt>
                <c:pt idx="3651">
                  <c:v>3.11876</c:v>
                </c:pt>
                <c:pt idx="3652">
                  <c:v>2.6475300000000002</c:v>
                </c:pt>
                <c:pt idx="3653">
                  <c:v>2.3046600000000002</c:v>
                </c:pt>
                <c:pt idx="3654">
                  <c:v>2.6561599999999999</c:v>
                </c:pt>
                <c:pt idx="3655">
                  <c:v>2.6634899999999999</c:v>
                </c:pt>
                <c:pt idx="3656">
                  <c:v>2.66656</c:v>
                </c:pt>
                <c:pt idx="3657">
                  <c:v>2.2260800000000001</c:v>
                </c:pt>
                <c:pt idx="3658">
                  <c:v>2.5524499999999999</c:v>
                </c:pt>
                <c:pt idx="3659">
                  <c:v>2.9944000000000002</c:v>
                </c:pt>
                <c:pt idx="3660">
                  <c:v>2.60744</c:v>
                </c:pt>
                <c:pt idx="3661">
                  <c:v>3.1613699999999998</c:v>
                </c:pt>
                <c:pt idx="3662">
                  <c:v>3.1139299999999999</c:v>
                </c:pt>
                <c:pt idx="3663">
                  <c:v>2.6800199999999998</c:v>
                </c:pt>
                <c:pt idx="3664">
                  <c:v>2.0702099999999999</c:v>
                </c:pt>
                <c:pt idx="3665">
                  <c:v>3.9016799999999998</c:v>
                </c:pt>
                <c:pt idx="3666">
                  <c:v>3.1522899999999998</c:v>
                </c:pt>
                <c:pt idx="3667">
                  <c:v>3.65212</c:v>
                </c:pt>
                <c:pt idx="3668">
                  <c:v>3.61077</c:v>
                </c:pt>
                <c:pt idx="3669">
                  <c:v>2.8283299999999998</c:v>
                </c:pt>
                <c:pt idx="3670">
                  <c:v>2.9716100000000001</c:v>
                </c:pt>
                <c:pt idx="3671">
                  <c:v>2.6581399999999999</c:v>
                </c:pt>
                <c:pt idx="3672">
                  <c:v>3.2127599999999998</c:v>
                </c:pt>
                <c:pt idx="3673">
                  <c:v>3.0075500000000002</c:v>
                </c:pt>
                <c:pt idx="3674">
                  <c:v>3.3111000000000002</c:v>
                </c:pt>
                <c:pt idx="3675">
                  <c:v>2.1481499999999998</c:v>
                </c:pt>
                <c:pt idx="3676">
                  <c:v>2.5335999999999999</c:v>
                </c:pt>
                <c:pt idx="3677">
                  <c:v>2.3348200000000001</c:v>
                </c:pt>
                <c:pt idx="3678">
                  <c:v>2.5322</c:v>
                </c:pt>
                <c:pt idx="3679">
                  <c:v>3.27244</c:v>
                </c:pt>
                <c:pt idx="3680">
                  <c:v>3.05484</c:v>
                </c:pt>
                <c:pt idx="3681">
                  <c:v>2.2861400000000001</c:v>
                </c:pt>
                <c:pt idx="3682">
                  <c:v>2.66757</c:v>
                </c:pt>
                <c:pt idx="3683">
                  <c:v>2.4884200000000001</c:v>
                </c:pt>
                <c:pt idx="3684">
                  <c:v>3.24281</c:v>
                </c:pt>
                <c:pt idx="3685">
                  <c:v>3.4153500000000001</c:v>
                </c:pt>
                <c:pt idx="3686">
                  <c:v>3.4537100000000001</c:v>
                </c:pt>
                <c:pt idx="3687">
                  <c:v>2.9324499999999998</c:v>
                </c:pt>
                <c:pt idx="3688">
                  <c:v>2.7153900000000002</c:v>
                </c:pt>
                <c:pt idx="3689">
                  <c:v>3.2891400000000002</c:v>
                </c:pt>
                <c:pt idx="3690">
                  <c:v>2.5807699999999998</c:v>
                </c:pt>
                <c:pt idx="3691">
                  <c:v>2.6863100000000002</c:v>
                </c:pt>
                <c:pt idx="3692">
                  <c:v>3.0782799999999999</c:v>
                </c:pt>
                <c:pt idx="3693">
                  <c:v>2.9972300000000001</c:v>
                </c:pt>
                <c:pt idx="3694">
                  <c:v>3.1424799999999999</c:v>
                </c:pt>
                <c:pt idx="3695">
                  <c:v>3.5394299999999999</c:v>
                </c:pt>
                <c:pt idx="3696">
                  <c:v>3.0012699999999999</c:v>
                </c:pt>
                <c:pt idx="3697">
                  <c:v>2.7706599999999999</c:v>
                </c:pt>
                <c:pt idx="3698">
                  <c:v>2.36145</c:v>
                </c:pt>
                <c:pt idx="3699">
                  <c:v>2.4378199999999999</c:v>
                </c:pt>
                <c:pt idx="3700">
                  <c:v>2.5327899999999999</c:v>
                </c:pt>
                <c:pt idx="3701">
                  <c:v>3.20763</c:v>
                </c:pt>
                <c:pt idx="3702">
                  <c:v>3.2979599999999998</c:v>
                </c:pt>
                <c:pt idx="3703">
                  <c:v>3.29433</c:v>
                </c:pt>
                <c:pt idx="3704">
                  <c:v>2.5665800000000001</c:v>
                </c:pt>
                <c:pt idx="3705">
                  <c:v>2.26756</c:v>
                </c:pt>
                <c:pt idx="3706">
                  <c:v>2.7669000000000001</c:v>
                </c:pt>
                <c:pt idx="3707">
                  <c:v>2.5462799999999999</c:v>
                </c:pt>
                <c:pt idx="3708">
                  <c:v>3.8333300000000001</c:v>
                </c:pt>
                <c:pt idx="3709">
                  <c:v>3.7218499999999999</c:v>
                </c:pt>
                <c:pt idx="3710">
                  <c:v>3.0821200000000002</c:v>
                </c:pt>
                <c:pt idx="3711">
                  <c:v>2.9350200000000002</c:v>
                </c:pt>
                <c:pt idx="3712">
                  <c:v>2.83866</c:v>
                </c:pt>
                <c:pt idx="3713">
                  <c:v>3.0693700000000002</c:v>
                </c:pt>
                <c:pt idx="3714">
                  <c:v>2.7029100000000001</c:v>
                </c:pt>
                <c:pt idx="3715">
                  <c:v>2.72248</c:v>
                </c:pt>
                <c:pt idx="3716">
                  <c:v>2.56209</c:v>
                </c:pt>
                <c:pt idx="3717">
                  <c:v>2.4939900000000002</c:v>
                </c:pt>
                <c:pt idx="3718">
                  <c:v>2.7380800000000001</c:v>
                </c:pt>
                <c:pt idx="3719">
                  <c:v>2.4813399999999999</c:v>
                </c:pt>
                <c:pt idx="3720">
                  <c:v>2.95689</c:v>
                </c:pt>
                <c:pt idx="3721">
                  <c:v>2.94156</c:v>
                </c:pt>
                <c:pt idx="3722">
                  <c:v>2.9375399999999998</c:v>
                </c:pt>
                <c:pt idx="3723">
                  <c:v>2.67543</c:v>
                </c:pt>
                <c:pt idx="3724">
                  <c:v>2.8818999999999999</c:v>
                </c:pt>
                <c:pt idx="3725">
                  <c:v>3.2311299999999998</c:v>
                </c:pt>
                <c:pt idx="3726">
                  <c:v>3.1519200000000001</c:v>
                </c:pt>
                <c:pt idx="3727">
                  <c:v>3.6344400000000001</c:v>
                </c:pt>
                <c:pt idx="3728">
                  <c:v>3.0491299999999999</c:v>
                </c:pt>
                <c:pt idx="3729">
                  <c:v>2.89784</c:v>
                </c:pt>
                <c:pt idx="3730">
                  <c:v>2.85521</c:v>
                </c:pt>
                <c:pt idx="3731">
                  <c:v>3.3545199999999999</c:v>
                </c:pt>
                <c:pt idx="3732">
                  <c:v>3.2930000000000001</c:v>
                </c:pt>
                <c:pt idx="3733">
                  <c:v>2.5288900000000001</c:v>
                </c:pt>
                <c:pt idx="3734">
                  <c:v>2.22811</c:v>
                </c:pt>
                <c:pt idx="3735">
                  <c:v>2.18269</c:v>
                </c:pt>
                <c:pt idx="3736">
                  <c:v>2.2690600000000001</c:v>
                </c:pt>
                <c:pt idx="3737">
                  <c:v>3.2659199999999999</c:v>
                </c:pt>
                <c:pt idx="3738">
                  <c:v>2.99607</c:v>
                </c:pt>
                <c:pt idx="3739">
                  <c:v>3.4342800000000002</c:v>
                </c:pt>
                <c:pt idx="3740">
                  <c:v>2.6726000000000001</c:v>
                </c:pt>
                <c:pt idx="3741">
                  <c:v>3.3071299999999999</c:v>
                </c:pt>
                <c:pt idx="3742">
                  <c:v>3.28783</c:v>
                </c:pt>
                <c:pt idx="3743">
                  <c:v>2.8315899999999998</c:v>
                </c:pt>
                <c:pt idx="3744">
                  <c:v>3.2054200000000002</c:v>
                </c:pt>
                <c:pt idx="3745">
                  <c:v>2.5362</c:v>
                </c:pt>
                <c:pt idx="3746">
                  <c:v>3.05125</c:v>
                </c:pt>
                <c:pt idx="3747">
                  <c:v>2.76654</c:v>
                </c:pt>
                <c:pt idx="3748">
                  <c:v>3.7032600000000002</c:v>
                </c:pt>
                <c:pt idx="3749">
                  <c:v>3.3988100000000001</c:v>
                </c:pt>
                <c:pt idx="3750">
                  <c:v>2.37534</c:v>
                </c:pt>
                <c:pt idx="3751">
                  <c:v>2.5367899999999999</c:v>
                </c:pt>
                <c:pt idx="3752">
                  <c:v>2.5727799999999998</c:v>
                </c:pt>
                <c:pt idx="3753">
                  <c:v>3.12785</c:v>
                </c:pt>
                <c:pt idx="3754">
                  <c:v>3.9790999999999999</c:v>
                </c:pt>
                <c:pt idx="3755">
                  <c:v>3.2973499999999998</c:v>
                </c:pt>
                <c:pt idx="3756">
                  <c:v>3.5628700000000002</c:v>
                </c:pt>
                <c:pt idx="3757">
                  <c:v>2.7772299999999999</c:v>
                </c:pt>
                <c:pt idx="3758">
                  <c:v>2.7522799999999998</c:v>
                </c:pt>
                <c:pt idx="3759">
                  <c:v>2.7090000000000001</c:v>
                </c:pt>
                <c:pt idx="3760">
                  <c:v>3.14655</c:v>
                </c:pt>
                <c:pt idx="3761">
                  <c:v>2.8512300000000002</c:v>
                </c:pt>
                <c:pt idx="3762">
                  <c:v>2.3101400000000001</c:v>
                </c:pt>
                <c:pt idx="3763">
                  <c:v>2.6259100000000002</c:v>
                </c:pt>
                <c:pt idx="3764">
                  <c:v>2.8294299999999999</c:v>
                </c:pt>
                <c:pt idx="3765">
                  <c:v>2.9363100000000002</c:v>
                </c:pt>
                <c:pt idx="3766">
                  <c:v>3.0344899999999999</c:v>
                </c:pt>
                <c:pt idx="3767">
                  <c:v>3.2791800000000002</c:v>
                </c:pt>
                <c:pt idx="3768">
                  <c:v>2.7786300000000002</c:v>
                </c:pt>
                <c:pt idx="3769">
                  <c:v>2.8486699999999998</c:v>
                </c:pt>
                <c:pt idx="3770">
                  <c:v>2.9831400000000001</c:v>
                </c:pt>
                <c:pt idx="3771">
                  <c:v>2.94848</c:v>
                </c:pt>
                <c:pt idx="3772">
                  <c:v>3.6957599999999999</c:v>
                </c:pt>
                <c:pt idx="3773">
                  <c:v>3.46895</c:v>
                </c:pt>
                <c:pt idx="3774">
                  <c:v>4.0321999999999996</c:v>
                </c:pt>
                <c:pt idx="3775">
                  <c:v>3.36904</c:v>
                </c:pt>
                <c:pt idx="3776">
                  <c:v>3.25176</c:v>
                </c:pt>
                <c:pt idx="3777">
                  <c:v>3.6738400000000002</c:v>
                </c:pt>
                <c:pt idx="3778">
                  <c:v>2.7971900000000001</c:v>
                </c:pt>
                <c:pt idx="3779">
                  <c:v>2.8042500000000001</c:v>
                </c:pt>
                <c:pt idx="3780">
                  <c:v>2.7584900000000001</c:v>
                </c:pt>
                <c:pt idx="3781">
                  <c:v>1.77973</c:v>
                </c:pt>
                <c:pt idx="3782">
                  <c:v>3.3489499999999999</c:v>
                </c:pt>
                <c:pt idx="3783">
                  <c:v>3.28173</c:v>
                </c:pt>
                <c:pt idx="3784">
                  <c:v>3.5417299999999998</c:v>
                </c:pt>
                <c:pt idx="3785">
                  <c:v>2.7003699999999999</c:v>
                </c:pt>
                <c:pt idx="3786">
                  <c:v>2.71922</c:v>
                </c:pt>
                <c:pt idx="3787">
                  <c:v>2.6687500000000002</c:v>
                </c:pt>
                <c:pt idx="3788">
                  <c:v>2.8033199999999998</c:v>
                </c:pt>
                <c:pt idx="3789">
                  <c:v>2.8446199999999999</c:v>
                </c:pt>
                <c:pt idx="3790">
                  <c:v>3.2241</c:v>
                </c:pt>
                <c:pt idx="3791">
                  <c:v>3.2339199999999999</c:v>
                </c:pt>
                <c:pt idx="3792">
                  <c:v>3.14744</c:v>
                </c:pt>
                <c:pt idx="3793">
                  <c:v>3.5214300000000001</c:v>
                </c:pt>
                <c:pt idx="3794">
                  <c:v>3.8296999999999999</c:v>
                </c:pt>
                <c:pt idx="3795">
                  <c:v>3.0840299999999998</c:v>
                </c:pt>
                <c:pt idx="3796">
                  <c:v>3.5218799999999999</c:v>
                </c:pt>
                <c:pt idx="3797">
                  <c:v>2.8052199999999998</c:v>
                </c:pt>
                <c:pt idx="3798">
                  <c:v>3.3707799999999999</c:v>
                </c:pt>
                <c:pt idx="3799">
                  <c:v>2.8404600000000002</c:v>
                </c:pt>
                <c:pt idx="3800">
                  <c:v>3.62601</c:v>
                </c:pt>
                <c:pt idx="3801">
                  <c:v>4.27773</c:v>
                </c:pt>
                <c:pt idx="3802">
                  <c:v>3.6559300000000001</c:v>
                </c:pt>
                <c:pt idx="3803">
                  <c:v>3.4386899999999998</c:v>
                </c:pt>
                <c:pt idx="3804">
                  <c:v>2.9772500000000002</c:v>
                </c:pt>
                <c:pt idx="3805">
                  <c:v>2.42422</c:v>
                </c:pt>
                <c:pt idx="3806">
                  <c:v>2.47587</c:v>
                </c:pt>
                <c:pt idx="3807">
                  <c:v>3.2130100000000001</c:v>
                </c:pt>
                <c:pt idx="3808">
                  <c:v>3.2377500000000001</c:v>
                </c:pt>
                <c:pt idx="3809">
                  <c:v>2.39683</c:v>
                </c:pt>
                <c:pt idx="3810">
                  <c:v>2.9119700000000002</c:v>
                </c:pt>
                <c:pt idx="3811">
                  <c:v>3.0501499999999999</c:v>
                </c:pt>
                <c:pt idx="3812">
                  <c:v>2.8936999999999999</c:v>
                </c:pt>
                <c:pt idx="3813">
                  <c:v>2.9707499999999998</c:v>
                </c:pt>
                <c:pt idx="3814">
                  <c:v>3.3553999999999999</c:v>
                </c:pt>
                <c:pt idx="3815">
                  <c:v>3.0781700000000001</c:v>
                </c:pt>
                <c:pt idx="3816">
                  <c:v>2.5251899999999998</c:v>
                </c:pt>
                <c:pt idx="3817">
                  <c:v>3.6518700000000002</c:v>
                </c:pt>
                <c:pt idx="3818">
                  <c:v>3.8041499999999999</c:v>
                </c:pt>
                <c:pt idx="3819">
                  <c:v>4.0895299999999999</c:v>
                </c:pt>
                <c:pt idx="3820">
                  <c:v>3.90245</c:v>
                </c:pt>
                <c:pt idx="3821">
                  <c:v>3.3761899999999998</c:v>
                </c:pt>
                <c:pt idx="3822">
                  <c:v>3.5129299999999999</c:v>
                </c:pt>
                <c:pt idx="3823">
                  <c:v>3.4227099999999999</c:v>
                </c:pt>
                <c:pt idx="3824">
                  <c:v>3.7308500000000002</c:v>
                </c:pt>
                <c:pt idx="3825">
                  <c:v>3.1900400000000002</c:v>
                </c:pt>
                <c:pt idx="3826">
                  <c:v>3.6432699999999998</c:v>
                </c:pt>
                <c:pt idx="3827">
                  <c:v>3.0480399999999999</c:v>
                </c:pt>
                <c:pt idx="3828">
                  <c:v>3.48691</c:v>
                </c:pt>
                <c:pt idx="3829">
                  <c:v>3.7957900000000002</c:v>
                </c:pt>
                <c:pt idx="3830">
                  <c:v>3.2682000000000002</c:v>
                </c:pt>
                <c:pt idx="3831">
                  <c:v>3.3146200000000001</c:v>
                </c:pt>
                <c:pt idx="3832">
                  <c:v>3.3472900000000001</c:v>
                </c:pt>
                <c:pt idx="3833">
                  <c:v>2.7856700000000001</c:v>
                </c:pt>
                <c:pt idx="3834">
                  <c:v>2.69285</c:v>
                </c:pt>
                <c:pt idx="3835">
                  <c:v>3.6295199999999999</c:v>
                </c:pt>
                <c:pt idx="3836">
                  <c:v>3.7008999999999999</c:v>
                </c:pt>
                <c:pt idx="3837">
                  <c:v>3.6952099999999999</c:v>
                </c:pt>
                <c:pt idx="3838">
                  <c:v>4.0931699999999998</c:v>
                </c:pt>
                <c:pt idx="3839">
                  <c:v>3.60792</c:v>
                </c:pt>
                <c:pt idx="3840">
                  <c:v>3.45574</c:v>
                </c:pt>
                <c:pt idx="3841">
                  <c:v>3.9508800000000002</c:v>
                </c:pt>
                <c:pt idx="3842">
                  <c:v>3.2144699999999999</c:v>
                </c:pt>
                <c:pt idx="3843">
                  <c:v>3.3656199999999998</c:v>
                </c:pt>
                <c:pt idx="3844">
                  <c:v>3.4752700000000001</c:v>
                </c:pt>
                <c:pt idx="3845">
                  <c:v>3.7296800000000001</c:v>
                </c:pt>
                <c:pt idx="3846">
                  <c:v>4.09009</c:v>
                </c:pt>
                <c:pt idx="3847">
                  <c:v>3.6693099999999998</c:v>
                </c:pt>
                <c:pt idx="3848">
                  <c:v>4.0224399999999996</c:v>
                </c:pt>
                <c:pt idx="3849">
                  <c:v>4.0215100000000001</c:v>
                </c:pt>
                <c:pt idx="3850">
                  <c:v>3.5539000000000001</c:v>
                </c:pt>
                <c:pt idx="3851">
                  <c:v>3.2461899999999999</c:v>
                </c:pt>
                <c:pt idx="3852">
                  <c:v>3.1461199999999998</c:v>
                </c:pt>
                <c:pt idx="3853">
                  <c:v>3.6289199999999999</c:v>
                </c:pt>
                <c:pt idx="3854">
                  <c:v>3.49091</c:v>
                </c:pt>
                <c:pt idx="3855">
                  <c:v>3.79854</c:v>
                </c:pt>
                <c:pt idx="3856">
                  <c:v>3.2417099999999999</c:v>
                </c:pt>
                <c:pt idx="3857">
                  <c:v>3.1389800000000001</c:v>
                </c:pt>
                <c:pt idx="3858">
                  <c:v>2.9324599999999998</c:v>
                </c:pt>
                <c:pt idx="3859">
                  <c:v>3.60107</c:v>
                </c:pt>
                <c:pt idx="3860">
                  <c:v>3.7919999999999998</c:v>
                </c:pt>
                <c:pt idx="3861">
                  <c:v>2.8822899999999998</c:v>
                </c:pt>
                <c:pt idx="3862">
                  <c:v>3.11273</c:v>
                </c:pt>
                <c:pt idx="3863">
                  <c:v>3.9564599999999999</c:v>
                </c:pt>
                <c:pt idx="3864">
                  <c:v>3.7443</c:v>
                </c:pt>
                <c:pt idx="3865">
                  <c:v>4.4911700000000003</c:v>
                </c:pt>
                <c:pt idx="3866">
                  <c:v>3.12357</c:v>
                </c:pt>
                <c:pt idx="3867">
                  <c:v>3.70926</c:v>
                </c:pt>
                <c:pt idx="3868">
                  <c:v>3.19069</c:v>
                </c:pt>
                <c:pt idx="3869">
                  <c:v>3.1195200000000001</c:v>
                </c:pt>
                <c:pt idx="3870">
                  <c:v>3.0343900000000001</c:v>
                </c:pt>
                <c:pt idx="3871">
                  <c:v>4.0795599999999999</c:v>
                </c:pt>
                <c:pt idx="3872">
                  <c:v>3.62473</c:v>
                </c:pt>
                <c:pt idx="3873">
                  <c:v>3.5118499999999999</c:v>
                </c:pt>
                <c:pt idx="3874">
                  <c:v>3.2238099999999998</c:v>
                </c:pt>
                <c:pt idx="3875">
                  <c:v>2.9200400000000002</c:v>
                </c:pt>
                <c:pt idx="3876">
                  <c:v>3.7309199999999998</c:v>
                </c:pt>
                <c:pt idx="3877">
                  <c:v>3.37351</c:v>
                </c:pt>
                <c:pt idx="3878">
                  <c:v>2.9523299999999999</c:v>
                </c:pt>
                <c:pt idx="3879">
                  <c:v>2.6465000000000001</c:v>
                </c:pt>
                <c:pt idx="3880">
                  <c:v>3.1058300000000001</c:v>
                </c:pt>
                <c:pt idx="3881">
                  <c:v>4.2139600000000002</c:v>
                </c:pt>
                <c:pt idx="3882">
                  <c:v>3.5357699999999999</c:v>
                </c:pt>
                <c:pt idx="3883">
                  <c:v>4.2800599999999998</c:v>
                </c:pt>
                <c:pt idx="3884">
                  <c:v>3.74939</c:v>
                </c:pt>
                <c:pt idx="3885">
                  <c:v>3.1994600000000002</c:v>
                </c:pt>
                <c:pt idx="3886">
                  <c:v>2.8357700000000001</c:v>
                </c:pt>
                <c:pt idx="3887">
                  <c:v>3.0447000000000002</c:v>
                </c:pt>
                <c:pt idx="3888">
                  <c:v>3.61456</c:v>
                </c:pt>
                <c:pt idx="3889">
                  <c:v>3.6679599999999999</c:v>
                </c:pt>
                <c:pt idx="3890">
                  <c:v>3.62378</c:v>
                </c:pt>
                <c:pt idx="3891">
                  <c:v>3.3290099999999998</c:v>
                </c:pt>
                <c:pt idx="3892">
                  <c:v>3.0769199999999999</c:v>
                </c:pt>
                <c:pt idx="3893">
                  <c:v>3.5614499999999998</c:v>
                </c:pt>
                <c:pt idx="3894">
                  <c:v>3.8571399999999998</c:v>
                </c:pt>
                <c:pt idx="3895">
                  <c:v>3.8298299999999998</c:v>
                </c:pt>
                <c:pt idx="3896">
                  <c:v>2.84964</c:v>
                </c:pt>
                <c:pt idx="3897">
                  <c:v>2.70377</c:v>
                </c:pt>
                <c:pt idx="3898">
                  <c:v>2.7763399999999998</c:v>
                </c:pt>
                <c:pt idx="3899">
                  <c:v>2.98325</c:v>
                </c:pt>
                <c:pt idx="3900">
                  <c:v>3.7000299999999999</c:v>
                </c:pt>
                <c:pt idx="3901">
                  <c:v>3.09978</c:v>
                </c:pt>
                <c:pt idx="3902">
                  <c:v>3.5020899999999999</c:v>
                </c:pt>
                <c:pt idx="3903">
                  <c:v>2.6638199999999999</c:v>
                </c:pt>
                <c:pt idx="3904">
                  <c:v>3.0870500000000001</c:v>
                </c:pt>
                <c:pt idx="3905">
                  <c:v>3.3290000000000002</c:v>
                </c:pt>
                <c:pt idx="3906">
                  <c:v>3.2025800000000002</c:v>
                </c:pt>
                <c:pt idx="3907">
                  <c:v>3.4358200000000001</c:v>
                </c:pt>
                <c:pt idx="3908">
                  <c:v>3.46611</c:v>
                </c:pt>
                <c:pt idx="3909">
                  <c:v>2.6600999999999999</c:v>
                </c:pt>
                <c:pt idx="3910">
                  <c:v>3.0754000000000001</c:v>
                </c:pt>
                <c:pt idx="3911">
                  <c:v>3.08006</c:v>
                </c:pt>
                <c:pt idx="3912">
                  <c:v>2.9796</c:v>
                </c:pt>
                <c:pt idx="3913">
                  <c:v>2.9649899999999998</c:v>
                </c:pt>
                <c:pt idx="3914">
                  <c:v>2.3373599999999999</c:v>
                </c:pt>
                <c:pt idx="3915">
                  <c:v>3.0840200000000002</c:v>
                </c:pt>
                <c:pt idx="3916">
                  <c:v>3.4556399999999998</c:v>
                </c:pt>
                <c:pt idx="3917">
                  <c:v>2.7463299999999999</c:v>
                </c:pt>
                <c:pt idx="3918">
                  <c:v>3.1614300000000002</c:v>
                </c:pt>
                <c:pt idx="3919">
                  <c:v>2.351</c:v>
                </c:pt>
                <c:pt idx="3920">
                  <c:v>2.8330299999999999</c:v>
                </c:pt>
                <c:pt idx="3921">
                  <c:v>3.1368200000000002</c:v>
                </c:pt>
                <c:pt idx="3922">
                  <c:v>2.60989</c:v>
                </c:pt>
                <c:pt idx="3923">
                  <c:v>2.9693399999999999</c:v>
                </c:pt>
                <c:pt idx="3924">
                  <c:v>3.0480200000000002</c:v>
                </c:pt>
                <c:pt idx="3925">
                  <c:v>3.2456900000000002</c:v>
                </c:pt>
                <c:pt idx="3926">
                  <c:v>3.1915100000000001</c:v>
                </c:pt>
                <c:pt idx="3927">
                  <c:v>3.01715</c:v>
                </c:pt>
                <c:pt idx="3928">
                  <c:v>3.0073699999999999</c:v>
                </c:pt>
                <c:pt idx="3929">
                  <c:v>3.0703900000000002</c:v>
                </c:pt>
                <c:pt idx="3930">
                  <c:v>2.8040799999999999</c:v>
                </c:pt>
                <c:pt idx="3931">
                  <c:v>2.2221299999999999</c:v>
                </c:pt>
                <c:pt idx="3932">
                  <c:v>3.11083</c:v>
                </c:pt>
                <c:pt idx="3933">
                  <c:v>2.8289399999999998</c:v>
                </c:pt>
                <c:pt idx="3934">
                  <c:v>3.4188999999999998</c:v>
                </c:pt>
                <c:pt idx="3935">
                  <c:v>3.2477299999999998</c:v>
                </c:pt>
                <c:pt idx="3936">
                  <c:v>2.0632100000000002</c:v>
                </c:pt>
                <c:pt idx="3937">
                  <c:v>1.97028</c:v>
                </c:pt>
                <c:pt idx="3938">
                  <c:v>2.6634799999999998</c:v>
                </c:pt>
                <c:pt idx="3939">
                  <c:v>2.67963</c:v>
                </c:pt>
                <c:pt idx="3940">
                  <c:v>2.6734300000000002</c:v>
                </c:pt>
                <c:pt idx="3941">
                  <c:v>2.8873799999999998</c:v>
                </c:pt>
                <c:pt idx="3942">
                  <c:v>3.0820099999999999</c:v>
                </c:pt>
                <c:pt idx="3943">
                  <c:v>2.3401000000000001</c:v>
                </c:pt>
                <c:pt idx="3944">
                  <c:v>2.3742700000000001</c:v>
                </c:pt>
                <c:pt idx="3945">
                  <c:v>2.7212100000000001</c:v>
                </c:pt>
                <c:pt idx="3946">
                  <c:v>2.8789600000000002</c:v>
                </c:pt>
                <c:pt idx="3947">
                  <c:v>2.7055799999999999</c:v>
                </c:pt>
                <c:pt idx="3948">
                  <c:v>2.47878</c:v>
                </c:pt>
                <c:pt idx="3949">
                  <c:v>2.2563599999999999</c:v>
                </c:pt>
                <c:pt idx="3950">
                  <c:v>1.8843399999999999</c:v>
                </c:pt>
                <c:pt idx="3951">
                  <c:v>2.9484300000000001</c:v>
                </c:pt>
                <c:pt idx="3952">
                  <c:v>3.1054400000000002</c:v>
                </c:pt>
                <c:pt idx="3953">
                  <c:v>3.1730499999999999</c:v>
                </c:pt>
                <c:pt idx="3954">
                  <c:v>2.54372</c:v>
                </c:pt>
                <c:pt idx="3955">
                  <c:v>2.94495</c:v>
                </c:pt>
                <c:pt idx="3956">
                  <c:v>2.9190200000000002</c:v>
                </c:pt>
                <c:pt idx="3957">
                  <c:v>2.7208299999999999</c:v>
                </c:pt>
                <c:pt idx="3958">
                  <c:v>2.5459800000000001</c:v>
                </c:pt>
                <c:pt idx="3959">
                  <c:v>2.1303899999999998</c:v>
                </c:pt>
                <c:pt idx="3960">
                  <c:v>3.0717599999999998</c:v>
                </c:pt>
                <c:pt idx="3961">
                  <c:v>2.2989799999999998</c:v>
                </c:pt>
                <c:pt idx="3962">
                  <c:v>3.3849999999999998</c:v>
                </c:pt>
                <c:pt idx="3963">
                  <c:v>3.2712599999999998</c:v>
                </c:pt>
                <c:pt idx="3964">
                  <c:v>2.5743</c:v>
                </c:pt>
                <c:pt idx="3965">
                  <c:v>2.86755</c:v>
                </c:pt>
                <c:pt idx="3966">
                  <c:v>2.4805299999999999</c:v>
                </c:pt>
                <c:pt idx="3967">
                  <c:v>2.2375799999999999</c:v>
                </c:pt>
                <c:pt idx="3968">
                  <c:v>2.6760899999999999</c:v>
                </c:pt>
                <c:pt idx="3969">
                  <c:v>2.51416</c:v>
                </c:pt>
                <c:pt idx="3970">
                  <c:v>3.1898499999999999</c:v>
                </c:pt>
                <c:pt idx="3971">
                  <c:v>3.8354499999999998</c:v>
                </c:pt>
                <c:pt idx="3972">
                  <c:v>3.4970500000000002</c:v>
                </c:pt>
                <c:pt idx="3973">
                  <c:v>3.06101</c:v>
                </c:pt>
                <c:pt idx="3974">
                  <c:v>2.2381700000000002</c:v>
                </c:pt>
                <c:pt idx="3975">
                  <c:v>2.5664600000000002</c:v>
                </c:pt>
                <c:pt idx="3976">
                  <c:v>2.5124399999999998</c:v>
                </c:pt>
                <c:pt idx="3977">
                  <c:v>3.5413199999999998</c:v>
                </c:pt>
                <c:pt idx="3978">
                  <c:v>2.79738</c:v>
                </c:pt>
                <c:pt idx="3979">
                  <c:v>2.3315800000000002</c:v>
                </c:pt>
                <c:pt idx="3980">
                  <c:v>2.3637199999999998</c:v>
                </c:pt>
                <c:pt idx="3981">
                  <c:v>2.6277300000000001</c:v>
                </c:pt>
                <c:pt idx="3982">
                  <c:v>2.3349899999999999</c:v>
                </c:pt>
                <c:pt idx="3983">
                  <c:v>2.8759899999999998</c:v>
                </c:pt>
                <c:pt idx="3984">
                  <c:v>2.5979800000000002</c:v>
                </c:pt>
                <c:pt idx="3985">
                  <c:v>2.8584800000000001</c:v>
                </c:pt>
                <c:pt idx="3986">
                  <c:v>1.9799599999999999</c:v>
                </c:pt>
                <c:pt idx="3987">
                  <c:v>2.1762800000000002</c:v>
                </c:pt>
                <c:pt idx="3988">
                  <c:v>2.62921</c:v>
                </c:pt>
                <c:pt idx="3989">
                  <c:v>3.17984</c:v>
                </c:pt>
                <c:pt idx="3990">
                  <c:v>2.8185600000000002</c:v>
                </c:pt>
                <c:pt idx="3991">
                  <c:v>3.3639100000000002</c:v>
                </c:pt>
                <c:pt idx="3992">
                  <c:v>2.68119</c:v>
                </c:pt>
                <c:pt idx="3993">
                  <c:v>2.7021600000000001</c:v>
                </c:pt>
                <c:pt idx="3994">
                  <c:v>3.0058199999999999</c:v>
                </c:pt>
                <c:pt idx="3995">
                  <c:v>3.0701399999999999</c:v>
                </c:pt>
                <c:pt idx="3996">
                  <c:v>3.4003899999999998</c:v>
                </c:pt>
                <c:pt idx="3997">
                  <c:v>2.8440599999999998</c:v>
                </c:pt>
                <c:pt idx="3998">
                  <c:v>3.7044700000000002</c:v>
                </c:pt>
                <c:pt idx="3999">
                  <c:v>3.5159799999999999</c:v>
                </c:pt>
                <c:pt idx="4000">
                  <c:v>2.87256</c:v>
                </c:pt>
                <c:pt idx="4001">
                  <c:v>2.7519</c:v>
                </c:pt>
                <c:pt idx="4002">
                  <c:v>2.0989100000000001</c:v>
                </c:pt>
                <c:pt idx="4003">
                  <c:v>2.6385700000000001</c:v>
                </c:pt>
                <c:pt idx="4004">
                  <c:v>1.7299800000000001</c:v>
                </c:pt>
                <c:pt idx="4005">
                  <c:v>2.78424</c:v>
                </c:pt>
                <c:pt idx="4006">
                  <c:v>3.2684600000000001</c:v>
                </c:pt>
                <c:pt idx="4007">
                  <c:v>3.1194600000000001</c:v>
                </c:pt>
                <c:pt idx="4008">
                  <c:v>3.4750399999999999</c:v>
                </c:pt>
                <c:pt idx="4009">
                  <c:v>2.1490800000000001</c:v>
                </c:pt>
                <c:pt idx="4010">
                  <c:v>1.9840599999999999</c:v>
                </c:pt>
                <c:pt idx="4011">
                  <c:v>1.6827799999999999</c:v>
                </c:pt>
                <c:pt idx="4012">
                  <c:v>2.6232600000000001</c:v>
                </c:pt>
                <c:pt idx="4013">
                  <c:v>2.8709199999999999</c:v>
                </c:pt>
                <c:pt idx="4014">
                  <c:v>2.8161</c:v>
                </c:pt>
                <c:pt idx="4015">
                  <c:v>3.0558999999999998</c:v>
                </c:pt>
                <c:pt idx="4016">
                  <c:v>3.2258499999999999</c:v>
                </c:pt>
                <c:pt idx="4017">
                  <c:v>3.3894299999999999</c:v>
                </c:pt>
                <c:pt idx="4018">
                  <c:v>3.7667999999999999</c:v>
                </c:pt>
                <c:pt idx="4019">
                  <c:v>3.04372</c:v>
                </c:pt>
                <c:pt idx="4020">
                  <c:v>2.60094</c:v>
                </c:pt>
                <c:pt idx="4021">
                  <c:v>2.67109</c:v>
                </c:pt>
                <c:pt idx="4022">
                  <c:v>2.6944400000000002</c:v>
                </c:pt>
                <c:pt idx="4023">
                  <c:v>3.2472799999999999</c:v>
                </c:pt>
                <c:pt idx="4024">
                  <c:v>2.2570700000000001</c:v>
                </c:pt>
                <c:pt idx="4025">
                  <c:v>2.5437799999999999</c:v>
                </c:pt>
                <c:pt idx="4026">
                  <c:v>2.0310800000000002</c:v>
                </c:pt>
                <c:pt idx="4027">
                  <c:v>2.6323300000000001</c:v>
                </c:pt>
                <c:pt idx="4028">
                  <c:v>2.7543700000000002</c:v>
                </c:pt>
                <c:pt idx="4029">
                  <c:v>2.7689499999999998</c:v>
                </c:pt>
                <c:pt idx="4030">
                  <c:v>1.9837800000000001</c:v>
                </c:pt>
                <c:pt idx="4031">
                  <c:v>2.97892</c:v>
                </c:pt>
                <c:pt idx="4032">
                  <c:v>2.6065</c:v>
                </c:pt>
                <c:pt idx="4033">
                  <c:v>2.5742400000000001</c:v>
                </c:pt>
                <c:pt idx="4034">
                  <c:v>2.9892400000000001</c:v>
                </c:pt>
                <c:pt idx="4035">
                  <c:v>2.7866399999999998</c:v>
                </c:pt>
                <c:pt idx="4036">
                  <c:v>2.8315100000000002</c:v>
                </c:pt>
                <c:pt idx="4037">
                  <c:v>3.2386900000000001</c:v>
                </c:pt>
                <c:pt idx="4038">
                  <c:v>2.95336</c:v>
                </c:pt>
                <c:pt idx="4039">
                  <c:v>3.0013800000000002</c:v>
                </c:pt>
                <c:pt idx="4040">
                  <c:v>2.6260300000000001</c:v>
                </c:pt>
                <c:pt idx="4041">
                  <c:v>2.6013600000000001</c:v>
                </c:pt>
                <c:pt idx="4042">
                  <c:v>2.4960100000000001</c:v>
                </c:pt>
                <c:pt idx="4043">
                  <c:v>2.9571800000000001</c:v>
                </c:pt>
                <c:pt idx="4044">
                  <c:v>2.8928699999999998</c:v>
                </c:pt>
                <c:pt idx="4045">
                  <c:v>2.24275</c:v>
                </c:pt>
                <c:pt idx="4046">
                  <c:v>2.2498900000000002</c:v>
                </c:pt>
                <c:pt idx="4047">
                  <c:v>2.4555199999999999</c:v>
                </c:pt>
                <c:pt idx="4048">
                  <c:v>2.9132600000000002</c:v>
                </c:pt>
                <c:pt idx="4049">
                  <c:v>2.6086999999999998</c:v>
                </c:pt>
                <c:pt idx="4050">
                  <c:v>3.14947</c:v>
                </c:pt>
                <c:pt idx="4051">
                  <c:v>2.6320999999999999</c:v>
                </c:pt>
                <c:pt idx="4052">
                  <c:v>2.8243100000000001</c:v>
                </c:pt>
                <c:pt idx="4053">
                  <c:v>3.2944300000000002</c:v>
                </c:pt>
                <c:pt idx="4054">
                  <c:v>2.99519</c:v>
                </c:pt>
                <c:pt idx="4055">
                  <c:v>3.34056</c:v>
                </c:pt>
                <c:pt idx="4056">
                  <c:v>2.4298500000000001</c:v>
                </c:pt>
                <c:pt idx="4057">
                  <c:v>2.5850399999999998</c:v>
                </c:pt>
                <c:pt idx="4058">
                  <c:v>2.6127500000000001</c:v>
                </c:pt>
                <c:pt idx="4059">
                  <c:v>2.45309</c:v>
                </c:pt>
                <c:pt idx="4060">
                  <c:v>3.3550599999999999</c:v>
                </c:pt>
                <c:pt idx="4061">
                  <c:v>2.9858899999999999</c:v>
                </c:pt>
                <c:pt idx="4062">
                  <c:v>2.54759</c:v>
                </c:pt>
                <c:pt idx="4063">
                  <c:v>2.68445</c:v>
                </c:pt>
                <c:pt idx="4064">
                  <c:v>2.69875</c:v>
                </c:pt>
                <c:pt idx="4065">
                  <c:v>3.3235199999999998</c:v>
                </c:pt>
                <c:pt idx="4066">
                  <c:v>3.49444</c:v>
                </c:pt>
                <c:pt idx="4067">
                  <c:v>3.39236</c:v>
                </c:pt>
                <c:pt idx="4068">
                  <c:v>2.9008400000000001</c:v>
                </c:pt>
                <c:pt idx="4069">
                  <c:v>2.7303299999999999</c:v>
                </c:pt>
                <c:pt idx="4070">
                  <c:v>3.00136</c:v>
                </c:pt>
                <c:pt idx="4071">
                  <c:v>3.2002700000000002</c:v>
                </c:pt>
                <c:pt idx="4072">
                  <c:v>3.1927099999999999</c:v>
                </c:pt>
                <c:pt idx="4073">
                  <c:v>2.3610799999999998</c:v>
                </c:pt>
                <c:pt idx="4074">
                  <c:v>2.6722999999999999</c:v>
                </c:pt>
                <c:pt idx="4075">
                  <c:v>3.14107</c:v>
                </c:pt>
                <c:pt idx="4076">
                  <c:v>3.4645600000000001</c:v>
                </c:pt>
                <c:pt idx="4077">
                  <c:v>3.3362099999999999</c:v>
                </c:pt>
                <c:pt idx="4078">
                  <c:v>2.5624500000000001</c:v>
                </c:pt>
                <c:pt idx="4079">
                  <c:v>2.78356</c:v>
                </c:pt>
                <c:pt idx="4080">
                  <c:v>2.56759</c:v>
                </c:pt>
                <c:pt idx="4081">
                  <c:v>3.11429</c:v>
                </c:pt>
                <c:pt idx="4082">
                  <c:v>3.0815100000000002</c:v>
                </c:pt>
                <c:pt idx="4083">
                  <c:v>2.6644600000000001</c:v>
                </c:pt>
                <c:pt idx="4084">
                  <c:v>2.49322</c:v>
                </c:pt>
                <c:pt idx="4085">
                  <c:v>2.5086599999999999</c:v>
                </c:pt>
                <c:pt idx="4086">
                  <c:v>3.2051099999999999</c:v>
                </c:pt>
                <c:pt idx="4087">
                  <c:v>2.9379400000000002</c:v>
                </c:pt>
                <c:pt idx="4088">
                  <c:v>2.7534900000000002</c:v>
                </c:pt>
                <c:pt idx="4089">
                  <c:v>2.3406099999999999</c:v>
                </c:pt>
                <c:pt idx="4090">
                  <c:v>2.3548900000000001</c:v>
                </c:pt>
                <c:pt idx="4091">
                  <c:v>2.5564200000000001</c:v>
                </c:pt>
                <c:pt idx="4092">
                  <c:v>2.73177</c:v>
                </c:pt>
                <c:pt idx="4093">
                  <c:v>3.3706800000000001</c:v>
                </c:pt>
                <c:pt idx="4094">
                  <c:v>3.1004700000000001</c:v>
                </c:pt>
                <c:pt idx="4095">
                  <c:v>2.5957699999999999</c:v>
                </c:pt>
                <c:pt idx="4096">
                  <c:v>2.6743399999999999</c:v>
                </c:pt>
                <c:pt idx="4097">
                  <c:v>2.6115300000000001</c:v>
                </c:pt>
                <c:pt idx="4098">
                  <c:v>2.68655</c:v>
                </c:pt>
                <c:pt idx="4099">
                  <c:v>2.7057600000000002</c:v>
                </c:pt>
                <c:pt idx="4100">
                  <c:v>2.3713099999999998</c:v>
                </c:pt>
                <c:pt idx="4101">
                  <c:v>2.2359399999999998</c:v>
                </c:pt>
                <c:pt idx="4102">
                  <c:v>2.15551</c:v>
                </c:pt>
                <c:pt idx="4103">
                  <c:v>3.07124</c:v>
                </c:pt>
                <c:pt idx="4104">
                  <c:v>2.9270399999999999</c:v>
                </c:pt>
                <c:pt idx="4105">
                  <c:v>3.1069399999999998</c:v>
                </c:pt>
                <c:pt idx="4106">
                  <c:v>2.1944499999999998</c:v>
                </c:pt>
                <c:pt idx="4107">
                  <c:v>2.4163100000000002</c:v>
                </c:pt>
                <c:pt idx="4108">
                  <c:v>2.9374699999999998</c:v>
                </c:pt>
                <c:pt idx="4109">
                  <c:v>2.5597099999999999</c:v>
                </c:pt>
                <c:pt idx="4110">
                  <c:v>3.7358199999999999</c:v>
                </c:pt>
                <c:pt idx="4111">
                  <c:v>2.95017</c:v>
                </c:pt>
                <c:pt idx="4112">
                  <c:v>2.7569300000000001</c:v>
                </c:pt>
                <c:pt idx="4113">
                  <c:v>2.97587</c:v>
                </c:pt>
                <c:pt idx="4114">
                  <c:v>2.6815799999999999</c:v>
                </c:pt>
                <c:pt idx="4115">
                  <c:v>3.2012999999999998</c:v>
                </c:pt>
                <c:pt idx="4116">
                  <c:v>2.4175300000000002</c:v>
                </c:pt>
                <c:pt idx="4117">
                  <c:v>2.2715000000000001</c:v>
                </c:pt>
                <c:pt idx="4118">
                  <c:v>2.4991599999999998</c:v>
                </c:pt>
                <c:pt idx="4119">
                  <c:v>2.08962</c:v>
                </c:pt>
                <c:pt idx="4120">
                  <c:v>2.8360300000000001</c:v>
                </c:pt>
                <c:pt idx="4121">
                  <c:v>2.7486199999999998</c:v>
                </c:pt>
                <c:pt idx="4122">
                  <c:v>2.9791099999999999</c:v>
                </c:pt>
                <c:pt idx="4123">
                  <c:v>2.4035899999999999</c:v>
                </c:pt>
                <c:pt idx="4124">
                  <c:v>2.7052399999999999</c:v>
                </c:pt>
                <c:pt idx="4125">
                  <c:v>2.1824699999999999</c:v>
                </c:pt>
                <c:pt idx="4126">
                  <c:v>2.5657299999999998</c:v>
                </c:pt>
                <c:pt idx="4127">
                  <c:v>2.8831600000000002</c:v>
                </c:pt>
                <c:pt idx="4128">
                  <c:v>2.6580499999999998</c:v>
                </c:pt>
                <c:pt idx="4129">
                  <c:v>2.8788</c:v>
                </c:pt>
                <c:pt idx="4130">
                  <c:v>3.1554199999999999</c:v>
                </c:pt>
                <c:pt idx="4131">
                  <c:v>2.8077100000000002</c:v>
                </c:pt>
                <c:pt idx="4132">
                  <c:v>2.8872200000000001</c:v>
                </c:pt>
                <c:pt idx="4133">
                  <c:v>2.16527</c:v>
                </c:pt>
                <c:pt idx="4134">
                  <c:v>1.88035</c:v>
                </c:pt>
                <c:pt idx="4135">
                  <c:v>2.1968899999999998</c:v>
                </c:pt>
                <c:pt idx="4136">
                  <c:v>2.9049</c:v>
                </c:pt>
                <c:pt idx="4137">
                  <c:v>3.1393</c:v>
                </c:pt>
                <c:pt idx="4138">
                  <c:v>2.3151799999999998</c:v>
                </c:pt>
                <c:pt idx="4139">
                  <c:v>2.5097800000000001</c:v>
                </c:pt>
                <c:pt idx="4140">
                  <c:v>2.6932499999999999</c:v>
                </c:pt>
                <c:pt idx="4141">
                  <c:v>2.84903</c:v>
                </c:pt>
                <c:pt idx="4142">
                  <c:v>2.22567</c:v>
                </c:pt>
                <c:pt idx="4143">
                  <c:v>2.9981100000000001</c:v>
                </c:pt>
                <c:pt idx="4144">
                  <c:v>2.13395</c:v>
                </c:pt>
                <c:pt idx="4145">
                  <c:v>2.2984599999999999</c:v>
                </c:pt>
                <c:pt idx="4146">
                  <c:v>3.0310299999999999</c:v>
                </c:pt>
                <c:pt idx="4147">
                  <c:v>2.7701199999999999</c:v>
                </c:pt>
                <c:pt idx="4148">
                  <c:v>3.6520999999999999</c:v>
                </c:pt>
                <c:pt idx="4149">
                  <c:v>2.6795900000000001</c:v>
                </c:pt>
                <c:pt idx="4150">
                  <c:v>2.5040100000000001</c:v>
                </c:pt>
                <c:pt idx="4151">
                  <c:v>2.3277800000000002</c:v>
                </c:pt>
                <c:pt idx="4152">
                  <c:v>2.4949599999999998</c:v>
                </c:pt>
                <c:pt idx="4153">
                  <c:v>2.9098000000000002</c:v>
                </c:pt>
                <c:pt idx="4154">
                  <c:v>3.32891</c:v>
                </c:pt>
                <c:pt idx="4155">
                  <c:v>3.5478499999999999</c:v>
                </c:pt>
                <c:pt idx="4156">
                  <c:v>2.7895099999999999</c:v>
                </c:pt>
                <c:pt idx="4157">
                  <c:v>2.72384</c:v>
                </c:pt>
                <c:pt idx="4158">
                  <c:v>2.8489800000000001</c:v>
                </c:pt>
                <c:pt idx="4159">
                  <c:v>2.4005999999999998</c:v>
                </c:pt>
                <c:pt idx="4160">
                  <c:v>2.67184</c:v>
                </c:pt>
                <c:pt idx="4161">
                  <c:v>2.4391400000000001</c:v>
                </c:pt>
                <c:pt idx="4162">
                  <c:v>1.3939299999999999</c:v>
                </c:pt>
                <c:pt idx="4163">
                  <c:v>1.5064900000000001</c:v>
                </c:pt>
                <c:pt idx="4164">
                  <c:v>2.50943</c:v>
                </c:pt>
                <c:pt idx="4165">
                  <c:v>2.68052</c:v>
                </c:pt>
                <c:pt idx="4166">
                  <c:v>2.2858499999999999</c:v>
                </c:pt>
                <c:pt idx="4167">
                  <c:v>2.5812200000000001</c:v>
                </c:pt>
                <c:pt idx="4168">
                  <c:v>2.4333200000000001</c:v>
                </c:pt>
                <c:pt idx="4169">
                  <c:v>2.2894700000000001</c:v>
                </c:pt>
                <c:pt idx="4170">
                  <c:v>2.7705700000000002</c:v>
                </c:pt>
                <c:pt idx="4171">
                  <c:v>2.35704</c:v>
                </c:pt>
                <c:pt idx="4172">
                  <c:v>2.6698499999999998</c:v>
                </c:pt>
                <c:pt idx="4173">
                  <c:v>2.6801499999999998</c:v>
                </c:pt>
                <c:pt idx="4174">
                  <c:v>2.5503</c:v>
                </c:pt>
                <c:pt idx="4175">
                  <c:v>2.4226299999999998</c:v>
                </c:pt>
                <c:pt idx="4176">
                  <c:v>3.2671700000000001</c:v>
                </c:pt>
                <c:pt idx="4177">
                  <c:v>2.9697900000000002</c:v>
                </c:pt>
                <c:pt idx="4178">
                  <c:v>2.82877</c:v>
                </c:pt>
                <c:pt idx="4179">
                  <c:v>2.0258799999999999</c:v>
                </c:pt>
                <c:pt idx="4180">
                  <c:v>1.7350300000000001</c:v>
                </c:pt>
                <c:pt idx="4181">
                  <c:v>2.5237699999999998</c:v>
                </c:pt>
                <c:pt idx="4182">
                  <c:v>2.5156999999999998</c:v>
                </c:pt>
                <c:pt idx="4183">
                  <c:v>2.7986300000000002</c:v>
                </c:pt>
                <c:pt idx="4184">
                  <c:v>2.8115100000000002</c:v>
                </c:pt>
                <c:pt idx="4185">
                  <c:v>2.7992499999999998</c:v>
                </c:pt>
                <c:pt idx="4186">
                  <c:v>2.621</c:v>
                </c:pt>
                <c:pt idx="4187">
                  <c:v>2.38897</c:v>
                </c:pt>
                <c:pt idx="4188">
                  <c:v>2.47031</c:v>
                </c:pt>
                <c:pt idx="4189">
                  <c:v>2.0934900000000001</c:v>
                </c:pt>
                <c:pt idx="4190">
                  <c:v>2.3625799999999999</c:v>
                </c:pt>
                <c:pt idx="4191">
                  <c:v>2.3639999999999999</c:v>
                </c:pt>
                <c:pt idx="4192">
                  <c:v>2.4582000000000002</c:v>
                </c:pt>
                <c:pt idx="4193">
                  <c:v>2.6556000000000002</c:v>
                </c:pt>
                <c:pt idx="4194">
                  <c:v>2.4624799999999998</c:v>
                </c:pt>
                <c:pt idx="4195">
                  <c:v>2.6922999999999999</c:v>
                </c:pt>
                <c:pt idx="4196">
                  <c:v>1.6757500000000001</c:v>
                </c:pt>
                <c:pt idx="4197">
                  <c:v>2.2997999999999998</c:v>
                </c:pt>
                <c:pt idx="4198">
                  <c:v>2.4602499999999998</c:v>
                </c:pt>
                <c:pt idx="4199">
                  <c:v>3.6576599999999999</c:v>
                </c:pt>
                <c:pt idx="4200">
                  <c:v>2.88557</c:v>
                </c:pt>
                <c:pt idx="4201">
                  <c:v>1.83338</c:v>
                </c:pt>
                <c:pt idx="4202">
                  <c:v>2.1629</c:v>
                </c:pt>
                <c:pt idx="4203">
                  <c:v>2.04494</c:v>
                </c:pt>
                <c:pt idx="4204">
                  <c:v>2.5569199999999999</c:v>
                </c:pt>
                <c:pt idx="4205">
                  <c:v>2.3448600000000002</c:v>
                </c:pt>
                <c:pt idx="4206">
                  <c:v>2.5089000000000001</c:v>
                </c:pt>
                <c:pt idx="4207">
                  <c:v>2.0071300000000001</c:v>
                </c:pt>
                <c:pt idx="4208">
                  <c:v>2.2284999999999999</c:v>
                </c:pt>
                <c:pt idx="4209">
                  <c:v>1.99898</c:v>
                </c:pt>
                <c:pt idx="4210">
                  <c:v>1.7684299999999999</c:v>
                </c:pt>
                <c:pt idx="4211">
                  <c:v>2.6657999999999999</c:v>
                </c:pt>
                <c:pt idx="4212">
                  <c:v>2.4733000000000001</c:v>
                </c:pt>
                <c:pt idx="4213">
                  <c:v>1.8411599999999999</c:v>
                </c:pt>
                <c:pt idx="4214">
                  <c:v>2.7895599999999998</c:v>
                </c:pt>
                <c:pt idx="4215">
                  <c:v>2.4140199999999998</c:v>
                </c:pt>
                <c:pt idx="4216">
                  <c:v>2.68059</c:v>
                </c:pt>
                <c:pt idx="4217">
                  <c:v>2.3998900000000001</c:v>
                </c:pt>
                <c:pt idx="4218">
                  <c:v>2.2471000000000001</c:v>
                </c:pt>
                <c:pt idx="4219">
                  <c:v>2.3639399999999999</c:v>
                </c:pt>
                <c:pt idx="4220">
                  <c:v>2.6526999999999998</c:v>
                </c:pt>
                <c:pt idx="4221">
                  <c:v>2.7125699999999999</c:v>
                </c:pt>
                <c:pt idx="4222">
                  <c:v>2.5982500000000002</c:v>
                </c:pt>
                <c:pt idx="4223">
                  <c:v>2.7189999999999999</c:v>
                </c:pt>
                <c:pt idx="4224">
                  <c:v>1.93272</c:v>
                </c:pt>
                <c:pt idx="4225">
                  <c:v>2.34368</c:v>
                </c:pt>
                <c:pt idx="4226">
                  <c:v>2.1885400000000002</c:v>
                </c:pt>
                <c:pt idx="4227">
                  <c:v>2.1855000000000002</c:v>
                </c:pt>
                <c:pt idx="4228">
                  <c:v>2.6774300000000002</c:v>
                </c:pt>
                <c:pt idx="4229">
                  <c:v>2.8950399999999998</c:v>
                </c:pt>
                <c:pt idx="4230">
                  <c:v>2.91615</c:v>
                </c:pt>
                <c:pt idx="4231">
                  <c:v>2.0058199999999999</c:v>
                </c:pt>
                <c:pt idx="4232">
                  <c:v>2.01586</c:v>
                </c:pt>
                <c:pt idx="4233">
                  <c:v>2.10073</c:v>
                </c:pt>
                <c:pt idx="4234">
                  <c:v>2.5095100000000001</c:v>
                </c:pt>
                <c:pt idx="4235">
                  <c:v>2.6501000000000001</c:v>
                </c:pt>
                <c:pt idx="4236">
                  <c:v>2.70817</c:v>
                </c:pt>
                <c:pt idx="4237">
                  <c:v>2.3931900000000002</c:v>
                </c:pt>
                <c:pt idx="4238">
                  <c:v>2.4723299999999999</c:v>
                </c:pt>
                <c:pt idx="4239">
                  <c:v>2.9344999999999999</c:v>
                </c:pt>
                <c:pt idx="4240">
                  <c:v>2.4553400000000001</c:v>
                </c:pt>
                <c:pt idx="4241">
                  <c:v>2.4232900000000002</c:v>
                </c:pt>
                <c:pt idx="4242">
                  <c:v>2.1697199999999999</c:v>
                </c:pt>
                <c:pt idx="4243">
                  <c:v>2.9008500000000002</c:v>
                </c:pt>
                <c:pt idx="4244">
                  <c:v>2.7608199999999998</c:v>
                </c:pt>
                <c:pt idx="4245">
                  <c:v>3.1162100000000001</c:v>
                </c:pt>
                <c:pt idx="4246">
                  <c:v>3.2934000000000001</c:v>
                </c:pt>
                <c:pt idx="4247">
                  <c:v>2.5434100000000002</c:v>
                </c:pt>
                <c:pt idx="4248">
                  <c:v>2.1214499999999998</c:v>
                </c:pt>
                <c:pt idx="4249">
                  <c:v>2.4467599999999998</c:v>
                </c:pt>
                <c:pt idx="4250">
                  <c:v>1.6591199999999999</c:v>
                </c:pt>
                <c:pt idx="4251">
                  <c:v>2.3661400000000001</c:v>
                </c:pt>
                <c:pt idx="4252">
                  <c:v>2.1848900000000002</c:v>
                </c:pt>
                <c:pt idx="4253">
                  <c:v>2.75203</c:v>
                </c:pt>
                <c:pt idx="4254">
                  <c:v>2.16269</c:v>
                </c:pt>
                <c:pt idx="4255">
                  <c:v>1.69041</c:v>
                </c:pt>
                <c:pt idx="4256">
                  <c:v>2.4202300000000001</c:v>
                </c:pt>
                <c:pt idx="4257">
                  <c:v>2.5653600000000001</c:v>
                </c:pt>
                <c:pt idx="4258">
                  <c:v>2.0341</c:v>
                </c:pt>
                <c:pt idx="4259">
                  <c:v>2.0646499999999999</c:v>
                </c:pt>
                <c:pt idx="4260">
                  <c:v>1.91753</c:v>
                </c:pt>
                <c:pt idx="4261">
                  <c:v>2.6669800000000001</c:v>
                </c:pt>
                <c:pt idx="4262">
                  <c:v>2.4088799999999999</c:v>
                </c:pt>
                <c:pt idx="4263">
                  <c:v>2.9697300000000002</c:v>
                </c:pt>
                <c:pt idx="4264">
                  <c:v>2.4823</c:v>
                </c:pt>
                <c:pt idx="4265">
                  <c:v>2.58955</c:v>
                </c:pt>
                <c:pt idx="4266">
                  <c:v>1.9472400000000001</c:v>
                </c:pt>
                <c:pt idx="4267">
                  <c:v>1.8034300000000001</c:v>
                </c:pt>
                <c:pt idx="4268">
                  <c:v>2.4333</c:v>
                </c:pt>
                <c:pt idx="4269">
                  <c:v>1.76858</c:v>
                </c:pt>
                <c:pt idx="4270">
                  <c:v>2.5503900000000002</c:v>
                </c:pt>
                <c:pt idx="4271">
                  <c:v>2.49187</c:v>
                </c:pt>
                <c:pt idx="4272">
                  <c:v>1.72729</c:v>
                </c:pt>
                <c:pt idx="4273">
                  <c:v>1.8071600000000001</c:v>
                </c:pt>
                <c:pt idx="4274">
                  <c:v>2.3981599999999998</c:v>
                </c:pt>
                <c:pt idx="4275">
                  <c:v>2.5481199999999999</c:v>
                </c:pt>
                <c:pt idx="4276">
                  <c:v>1.7015400000000001</c:v>
                </c:pt>
                <c:pt idx="4277">
                  <c:v>2.2584900000000001</c:v>
                </c:pt>
                <c:pt idx="4278">
                  <c:v>1.7324200000000001</c:v>
                </c:pt>
                <c:pt idx="4279">
                  <c:v>2.3404199999999999</c:v>
                </c:pt>
                <c:pt idx="4280">
                  <c:v>2.8274699999999999</c:v>
                </c:pt>
                <c:pt idx="4281">
                  <c:v>2.6709100000000001</c:v>
                </c:pt>
                <c:pt idx="4282">
                  <c:v>3.0388600000000001</c:v>
                </c:pt>
                <c:pt idx="4283">
                  <c:v>1.9252400000000001</c:v>
                </c:pt>
                <c:pt idx="4284">
                  <c:v>2.47505</c:v>
                </c:pt>
                <c:pt idx="4285">
                  <c:v>2.36951</c:v>
                </c:pt>
                <c:pt idx="4286">
                  <c:v>2.1312500000000001</c:v>
                </c:pt>
                <c:pt idx="4287">
                  <c:v>2.3904899999999998</c:v>
                </c:pt>
                <c:pt idx="4288">
                  <c:v>2.28701</c:v>
                </c:pt>
                <c:pt idx="4289">
                  <c:v>2.2332299999999998</c:v>
                </c:pt>
                <c:pt idx="4290">
                  <c:v>2.43282</c:v>
                </c:pt>
                <c:pt idx="4291">
                  <c:v>2.9699900000000001</c:v>
                </c:pt>
                <c:pt idx="4292">
                  <c:v>2.82429</c:v>
                </c:pt>
                <c:pt idx="4293">
                  <c:v>2.5207700000000002</c:v>
                </c:pt>
                <c:pt idx="4294">
                  <c:v>2.2217600000000002</c:v>
                </c:pt>
                <c:pt idx="4295">
                  <c:v>1.9663999999999999</c:v>
                </c:pt>
                <c:pt idx="4296">
                  <c:v>2.2168999999999999</c:v>
                </c:pt>
                <c:pt idx="4297">
                  <c:v>2.3103099999999999</c:v>
                </c:pt>
                <c:pt idx="4298">
                  <c:v>2.7904900000000001</c:v>
                </c:pt>
                <c:pt idx="4299">
                  <c:v>2.4359500000000001</c:v>
                </c:pt>
                <c:pt idx="4300">
                  <c:v>1.7636400000000001</c:v>
                </c:pt>
                <c:pt idx="4301">
                  <c:v>1.9195</c:v>
                </c:pt>
                <c:pt idx="4302">
                  <c:v>2.0736699999999999</c:v>
                </c:pt>
                <c:pt idx="4303">
                  <c:v>1.95723</c:v>
                </c:pt>
                <c:pt idx="4304">
                  <c:v>2.0417200000000002</c:v>
                </c:pt>
                <c:pt idx="4305">
                  <c:v>2.2451400000000001</c:v>
                </c:pt>
                <c:pt idx="4306">
                  <c:v>2.6672099999999999</c:v>
                </c:pt>
                <c:pt idx="4307">
                  <c:v>3.0826099999999999</c:v>
                </c:pt>
                <c:pt idx="4308">
                  <c:v>2.3895200000000001</c:v>
                </c:pt>
                <c:pt idx="4309">
                  <c:v>2.4586899999999998</c:v>
                </c:pt>
                <c:pt idx="4310">
                  <c:v>3.1345800000000001</c:v>
                </c:pt>
                <c:pt idx="4311">
                  <c:v>2.5207999999999999</c:v>
                </c:pt>
                <c:pt idx="4312">
                  <c:v>2.5105499999999998</c:v>
                </c:pt>
                <c:pt idx="4313">
                  <c:v>1.7878799999999999</c:v>
                </c:pt>
                <c:pt idx="4314">
                  <c:v>1.9433499999999999</c:v>
                </c:pt>
                <c:pt idx="4315">
                  <c:v>1.9535800000000001</c:v>
                </c:pt>
                <c:pt idx="4316">
                  <c:v>2.8151600000000001</c:v>
                </c:pt>
                <c:pt idx="4317">
                  <c:v>2.7919999999999998</c:v>
                </c:pt>
                <c:pt idx="4318">
                  <c:v>2.0303100000000001</c:v>
                </c:pt>
                <c:pt idx="4319">
                  <c:v>2.6732200000000002</c:v>
                </c:pt>
                <c:pt idx="4320">
                  <c:v>2.6200600000000001</c:v>
                </c:pt>
                <c:pt idx="4321">
                  <c:v>1.96715</c:v>
                </c:pt>
                <c:pt idx="4322">
                  <c:v>1.73628</c:v>
                </c:pt>
                <c:pt idx="4323">
                  <c:v>2.44076</c:v>
                </c:pt>
                <c:pt idx="4324">
                  <c:v>2.7216100000000001</c:v>
                </c:pt>
                <c:pt idx="4325">
                  <c:v>2.2362199999999999</c:v>
                </c:pt>
                <c:pt idx="4326">
                  <c:v>2.5600200000000002</c:v>
                </c:pt>
                <c:pt idx="4327">
                  <c:v>2.4519099999999998</c:v>
                </c:pt>
                <c:pt idx="4328">
                  <c:v>2.83595</c:v>
                </c:pt>
                <c:pt idx="4329">
                  <c:v>2.6550699999999998</c:v>
                </c:pt>
                <c:pt idx="4330">
                  <c:v>1.9043099999999999</c:v>
                </c:pt>
                <c:pt idx="4331">
                  <c:v>2.2259099999999998</c:v>
                </c:pt>
                <c:pt idx="4332">
                  <c:v>1.4162300000000001</c:v>
                </c:pt>
                <c:pt idx="4333">
                  <c:v>2.9094600000000002</c:v>
                </c:pt>
                <c:pt idx="4334">
                  <c:v>2.8198699999999999</c:v>
                </c:pt>
                <c:pt idx="4335">
                  <c:v>2.6417700000000002</c:v>
                </c:pt>
                <c:pt idx="4336">
                  <c:v>2.4599700000000002</c:v>
                </c:pt>
                <c:pt idx="4337">
                  <c:v>1.87785</c:v>
                </c:pt>
                <c:pt idx="4338">
                  <c:v>2.1528200000000002</c:v>
                </c:pt>
                <c:pt idx="4339">
                  <c:v>1.9969600000000001</c:v>
                </c:pt>
                <c:pt idx="4340">
                  <c:v>2.7218300000000002</c:v>
                </c:pt>
                <c:pt idx="4341">
                  <c:v>2.04847</c:v>
                </c:pt>
                <c:pt idx="4342">
                  <c:v>1.6544399999999999</c:v>
                </c:pt>
                <c:pt idx="4343">
                  <c:v>1.8925700000000001</c:v>
                </c:pt>
                <c:pt idx="4344">
                  <c:v>2.3618100000000002</c:v>
                </c:pt>
                <c:pt idx="4345">
                  <c:v>2.4134000000000002</c:v>
                </c:pt>
                <c:pt idx="4346">
                  <c:v>2.3536199999999998</c:v>
                </c:pt>
                <c:pt idx="4347">
                  <c:v>2.65707</c:v>
                </c:pt>
                <c:pt idx="4348">
                  <c:v>1.8938900000000001</c:v>
                </c:pt>
                <c:pt idx="4349">
                  <c:v>2.1710799999999999</c:v>
                </c:pt>
                <c:pt idx="4350">
                  <c:v>1.61592</c:v>
                </c:pt>
                <c:pt idx="4351">
                  <c:v>2.0330900000000001</c:v>
                </c:pt>
                <c:pt idx="4352">
                  <c:v>3.0365099999999998</c:v>
                </c:pt>
                <c:pt idx="4353">
                  <c:v>2.6986500000000002</c:v>
                </c:pt>
                <c:pt idx="4354">
                  <c:v>3.0225300000000002</c:v>
                </c:pt>
                <c:pt idx="4355">
                  <c:v>2.4925799999999998</c:v>
                </c:pt>
                <c:pt idx="4356">
                  <c:v>2.0722800000000001</c:v>
                </c:pt>
                <c:pt idx="4357">
                  <c:v>1.8570500000000001</c:v>
                </c:pt>
                <c:pt idx="4358">
                  <c:v>2.1314000000000002</c:v>
                </c:pt>
                <c:pt idx="4359">
                  <c:v>1.8201799999999999</c:v>
                </c:pt>
                <c:pt idx="4360">
                  <c:v>1.8104499999999999</c:v>
                </c:pt>
                <c:pt idx="4361">
                  <c:v>2.3455900000000001</c:v>
                </c:pt>
                <c:pt idx="4362">
                  <c:v>2.3731599999999999</c:v>
                </c:pt>
                <c:pt idx="4363">
                  <c:v>2.4596200000000001</c:v>
                </c:pt>
                <c:pt idx="4364">
                  <c:v>2.5520700000000001</c:v>
                </c:pt>
                <c:pt idx="4365">
                  <c:v>2.4069199999999999</c:v>
                </c:pt>
                <c:pt idx="4366">
                  <c:v>2.10236</c:v>
                </c:pt>
                <c:pt idx="4367">
                  <c:v>1.589</c:v>
                </c:pt>
                <c:pt idx="4368">
                  <c:v>2.2099000000000002</c:v>
                </c:pt>
                <c:pt idx="4369">
                  <c:v>2.4193600000000002</c:v>
                </c:pt>
                <c:pt idx="4370">
                  <c:v>2.6898399999999998</c:v>
                </c:pt>
                <c:pt idx="4371">
                  <c:v>2.3532799999999998</c:v>
                </c:pt>
                <c:pt idx="4372">
                  <c:v>2.4585599999999999</c:v>
                </c:pt>
                <c:pt idx="4373">
                  <c:v>2.5005600000000001</c:v>
                </c:pt>
                <c:pt idx="4374">
                  <c:v>2.4767700000000001</c:v>
                </c:pt>
                <c:pt idx="4375">
                  <c:v>2.4830100000000002</c:v>
                </c:pt>
                <c:pt idx="4376">
                  <c:v>2.7680699999999998</c:v>
                </c:pt>
                <c:pt idx="4377">
                  <c:v>1.9126700000000001</c:v>
                </c:pt>
                <c:pt idx="4378">
                  <c:v>2.8507099999999999</c:v>
                </c:pt>
                <c:pt idx="4379">
                  <c:v>2.6148799999999999</c:v>
                </c:pt>
                <c:pt idx="4380">
                  <c:v>2.17191</c:v>
                </c:pt>
                <c:pt idx="4381">
                  <c:v>2.5688599999999999</c:v>
                </c:pt>
                <c:pt idx="4382">
                  <c:v>2.0737199999999998</c:v>
                </c:pt>
                <c:pt idx="4383">
                  <c:v>2.3459400000000001</c:v>
                </c:pt>
                <c:pt idx="4384">
                  <c:v>1.77704</c:v>
                </c:pt>
                <c:pt idx="4385">
                  <c:v>2.3492099999999998</c:v>
                </c:pt>
                <c:pt idx="4386">
                  <c:v>2.6685500000000002</c:v>
                </c:pt>
                <c:pt idx="4387">
                  <c:v>2.38273</c:v>
                </c:pt>
                <c:pt idx="4388">
                  <c:v>2.1318000000000001</c:v>
                </c:pt>
                <c:pt idx="4389">
                  <c:v>1.90923</c:v>
                </c:pt>
                <c:pt idx="4390">
                  <c:v>2.1894800000000001</c:v>
                </c:pt>
                <c:pt idx="4391">
                  <c:v>2.4321199999999998</c:v>
                </c:pt>
                <c:pt idx="4392">
                  <c:v>2.88944</c:v>
                </c:pt>
                <c:pt idx="4393">
                  <c:v>2.1246700000000001</c:v>
                </c:pt>
                <c:pt idx="4394">
                  <c:v>1.69821</c:v>
                </c:pt>
                <c:pt idx="4395">
                  <c:v>1.73752</c:v>
                </c:pt>
                <c:pt idx="4396">
                  <c:v>2.2848700000000002</c:v>
                </c:pt>
                <c:pt idx="4397">
                  <c:v>2.40517</c:v>
                </c:pt>
                <c:pt idx="4398">
                  <c:v>2.7812999999999999</c:v>
                </c:pt>
                <c:pt idx="4399">
                  <c:v>3.5118999999999998</c:v>
                </c:pt>
                <c:pt idx="4400">
                  <c:v>2.8810799999999999</c:v>
                </c:pt>
                <c:pt idx="4401">
                  <c:v>2.5731700000000002</c:v>
                </c:pt>
                <c:pt idx="4402">
                  <c:v>1.65585</c:v>
                </c:pt>
                <c:pt idx="4403">
                  <c:v>2.2528000000000001</c:v>
                </c:pt>
                <c:pt idx="4404">
                  <c:v>2.0905200000000002</c:v>
                </c:pt>
                <c:pt idx="4405">
                  <c:v>2.2345299999999999</c:v>
                </c:pt>
                <c:pt idx="4406">
                  <c:v>2.7391999999999999</c:v>
                </c:pt>
                <c:pt idx="4407">
                  <c:v>2.1009000000000002</c:v>
                </c:pt>
                <c:pt idx="4408">
                  <c:v>2.1053500000000001</c:v>
                </c:pt>
                <c:pt idx="4409">
                  <c:v>2.59796</c:v>
                </c:pt>
                <c:pt idx="4410">
                  <c:v>2.32795</c:v>
                </c:pt>
                <c:pt idx="4411">
                  <c:v>2.4266299999999998</c:v>
                </c:pt>
                <c:pt idx="4412">
                  <c:v>1.88259</c:v>
                </c:pt>
                <c:pt idx="4413">
                  <c:v>1.97244</c:v>
                </c:pt>
                <c:pt idx="4414">
                  <c:v>1.8892800000000001</c:v>
                </c:pt>
                <c:pt idx="4415">
                  <c:v>2.1306799999999999</c:v>
                </c:pt>
                <c:pt idx="4416">
                  <c:v>3.0998600000000001</c:v>
                </c:pt>
                <c:pt idx="4417">
                  <c:v>2.6273300000000002</c:v>
                </c:pt>
                <c:pt idx="4418">
                  <c:v>2.55918</c:v>
                </c:pt>
                <c:pt idx="4419">
                  <c:v>2.2711399999999999</c:v>
                </c:pt>
                <c:pt idx="4420">
                  <c:v>2.1224599999999998</c:v>
                </c:pt>
                <c:pt idx="4421">
                  <c:v>2.6423299999999998</c:v>
                </c:pt>
                <c:pt idx="4422">
                  <c:v>2.1484999999999999</c:v>
                </c:pt>
                <c:pt idx="4423">
                  <c:v>3.0918299999999999</c:v>
                </c:pt>
                <c:pt idx="4424">
                  <c:v>2.3516300000000001</c:v>
                </c:pt>
                <c:pt idx="4425">
                  <c:v>1.63964</c:v>
                </c:pt>
                <c:pt idx="4426">
                  <c:v>2.5023599999999999</c:v>
                </c:pt>
                <c:pt idx="4427">
                  <c:v>2.58169</c:v>
                </c:pt>
                <c:pt idx="4428">
                  <c:v>2.6743700000000001</c:v>
                </c:pt>
                <c:pt idx="4429">
                  <c:v>1.84497</c:v>
                </c:pt>
                <c:pt idx="4430">
                  <c:v>1.98373</c:v>
                </c:pt>
                <c:pt idx="4431">
                  <c:v>2.0081000000000002</c:v>
                </c:pt>
                <c:pt idx="4432">
                  <c:v>2.0388799999999998</c:v>
                </c:pt>
                <c:pt idx="4433">
                  <c:v>2.2785600000000001</c:v>
                </c:pt>
                <c:pt idx="4434">
                  <c:v>2.3597700000000001</c:v>
                </c:pt>
                <c:pt idx="4435">
                  <c:v>2.14072</c:v>
                </c:pt>
                <c:pt idx="4436">
                  <c:v>2.18384</c:v>
                </c:pt>
                <c:pt idx="4437">
                  <c:v>2.1540599999999999</c:v>
                </c:pt>
                <c:pt idx="4438">
                  <c:v>1.5797699999999999</c:v>
                </c:pt>
                <c:pt idx="4439">
                  <c:v>2.3189700000000002</c:v>
                </c:pt>
                <c:pt idx="4440">
                  <c:v>2.0821200000000002</c:v>
                </c:pt>
                <c:pt idx="4441">
                  <c:v>2.2147399999999999</c:v>
                </c:pt>
                <c:pt idx="4442">
                  <c:v>2.5136699999999998</c:v>
                </c:pt>
                <c:pt idx="4443">
                  <c:v>1.8701700000000001</c:v>
                </c:pt>
                <c:pt idx="4444">
                  <c:v>2.4541900000000001</c:v>
                </c:pt>
                <c:pt idx="4445">
                  <c:v>2.4369100000000001</c:v>
                </c:pt>
                <c:pt idx="4446">
                  <c:v>2.8870399999999998</c:v>
                </c:pt>
                <c:pt idx="4447">
                  <c:v>2.2955199999999998</c:v>
                </c:pt>
                <c:pt idx="4448">
                  <c:v>1.8924000000000001</c:v>
                </c:pt>
                <c:pt idx="4449">
                  <c:v>2.10243</c:v>
                </c:pt>
                <c:pt idx="4450">
                  <c:v>2.5494699999999999</c:v>
                </c:pt>
                <c:pt idx="4451">
                  <c:v>2.69252</c:v>
                </c:pt>
                <c:pt idx="4452">
                  <c:v>2.2566099999999998</c:v>
                </c:pt>
                <c:pt idx="4453">
                  <c:v>1.9710399999999999</c:v>
                </c:pt>
                <c:pt idx="4454">
                  <c:v>1.83314</c:v>
                </c:pt>
                <c:pt idx="4455">
                  <c:v>2.0211999999999999</c:v>
                </c:pt>
                <c:pt idx="4456">
                  <c:v>1.9016</c:v>
                </c:pt>
                <c:pt idx="4457">
                  <c:v>2.0059800000000001</c:v>
                </c:pt>
                <c:pt idx="4458">
                  <c:v>2.0992500000000001</c:v>
                </c:pt>
                <c:pt idx="4459">
                  <c:v>2.19251</c:v>
                </c:pt>
                <c:pt idx="4460">
                  <c:v>2.8440699999999999</c:v>
                </c:pt>
                <c:pt idx="4461">
                  <c:v>2.8077200000000002</c:v>
                </c:pt>
                <c:pt idx="4462">
                  <c:v>2.1428099999999999</c:v>
                </c:pt>
                <c:pt idx="4463">
                  <c:v>2.2438400000000001</c:v>
                </c:pt>
                <c:pt idx="4464">
                  <c:v>2.5335299999999998</c:v>
                </c:pt>
                <c:pt idx="4465">
                  <c:v>1.60823</c:v>
                </c:pt>
                <c:pt idx="4466">
                  <c:v>2.3268499999999999</c:v>
                </c:pt>
                <c:pt idx="4467">
                  <c:v>3.5109400000000002</c:v>
                </c:pt>
                <c:pt idx="4468">
                  <c:v>2.7820999999999998</c:v>
                </c:pt>
                <c:pt idx="4469">
                  <c:v>2.8188200000000001</c:v>
                </c:pt>
                <c:pt idx="4470">
                  <c:v>2.1484700000000001</c:v>
                </c:pt>
                <c:pt idx="4471">
                  <c:v>2.0203600000000002</c:v>
                </c:pt>
                <c:pt idx="4472">
                  <c:v>2.1137100000000002</c:v>
                </c:pt>
                <c:pt idx="4473">
                  <c:v>1.8969800000000001</c:v>
                </c:pt>
                <c:pt idx="4474">
                  <c:v>2.2913700000000001</c:v>
                </c:pt>
                <c:pt idx="4475">
                  <c:v>2.22302</c:v>
                </c:pt>
                <c:pt idx="4476">
                  <c:v>2.0452599999999999</c:v>
                </c:pt>
                <c:pt idx="4477">
                  <c:v>1.8044500000000001</c:v>
                </c:pt>
                <c:pt idx="4478">
                  <c:v>2.2208600000000001</c:v>
                </c:pt>
                <c:pt idx="4479">
                  <c:v>2.2310300000000001</c:v>
                </c:pt>
                <c:pt idx="4480">
                  <c:v>2.43641</c:v>
                </c:pt>
                <c:pt idx="4481">
                  <c:v>2.2220599999999999</c:v>
                </c:pt>
                <c:pt idx="4482">
                  <c:v>1.5319</c:v>
                </c:pt>
                <c:pt idx="4483">
                  <c:v>1.95258</c:v>
                </c:pt>
                <c:pt idx="4484">
                  <c:v>2.61666</c:v>
                </c:pt>
                <c:pt idx="4485">
                  <c:v>2.6907299999999998</c:v>
                </c:pt>
                <c:pt idx="4486">
                  <c:v>2.71055</c:v>
                </c:pt>
                <c:pt idx="4487">
                  <c:v>2.0924900000000002</c:v>
                </c:pt>
                <c:pt idx="4488">
                  <c:v>2.4706100000000002</c:v>
                </c:pt>
                <c:pt idx="4489">
                  <c:v>2.5586700000000002</c:v>
                </c:pt>
                <c:pt idx="4490">
                  <c:v>2.5562900000000002</c:v>
                </c:pt>
                <c:pt idx="4491">
                  <c:v>2.4563000000000001</c:v>
                </c:pt>
                <c:pt idx="4492">
                  <c:v>2.2947600000000001</c:v>
                </c:pt>
                <c:pt idx="4493">
                  <c:v>2.3671600000000002</c:v>
                </c:pt>
                <c:pt idx="4494">
                  <c:v>2.0012500000000002</c:v>
                </c:pt>
                <c:pt idx="4495">
                  <c:v>2.4471799999999999</c:v>
                </c:pt>
                <c:pt idx="4496">
                  <c:v>2.8894700000000002</c:v>
                </c:pt>
                <c:pt idx="4497">
                  <c:v>2.3262999999999998</c:v>
                </c:pt>
                <c:pt idx="4498">
                  <c:v>2.7320500000000001</c:v>
                </c:pt>
                <c:pt idx="4499">
                  <c:v>2.19889</c:v>
                </c:pt>
                <c:pt idx="4500">
                  <c:v>1.76014</c:v>
                </c:pt>
                <c:pt idx="4501">
                  <c:v>1.30606</c:v>
                </c:pt>
                <c:pt idx="4502">
                  <c:v>2.1130399999999998</c:v>
                </c:pt>
                <c:pt idx="4503">
                  <c:v>2.3222999999999998</c:v>
                </c:pt>
                <c:pt idx="4504">
                  <c:v>1.6360600000000001</c:v>
                </c:pt>
                <c:pt idx="4505">
                  <c:v>2.1966800000000002</c:v>
                </c:pt>
                <c:pt idx="4506">
                  <c:v>2.6698599999999999</c:v>
                </c:pt>
                <c:pt idx="4507">
                  <c:v>2.6400100000000002</c:v>
                </c:pt>
                <c:pt idx="4508">
                  <c:v>2.4965199999999999</c:v>
                </c:pt>
                <c:pt idx="4509">
                  <c:v>1.89744</c:v>
                </c:pt>
                <c:pt idx="4510">
                  <c:v>1.7384200000000001</c:v>
                </c:pt>
                <c:pt idx="4511">
                  <c:v>1.6874400000000001</c:v>
                </c:pt>
                <c:pt idx="4512">
                  <c:v>2.8643000000000001</c:v>
                </c:pt>
                <c:pt idx="4513">
                  <c:v>2.3452500000000001</c:v>
                </c:pt>
                <c:pt idx="4514">
                  <c:v>2.4729899999999998</c:v>
                </c:pt>
                <c:pt idx="4515">
                  <c:v>2.1769099999999999</c:v>
                </c:pt>
                <c:pt idx="4516">
                  <c:v>2.50122</c:v>
                </c:pt>
                <c:pt idx="4517">
                  <c:v>2.0524300000000002</c:v>
                </c:pt>
                <c:pt idx="4518">
                  <c:v>3.5927600000000002</c:v>
                </c:pt>
                <c:pt idx="4519">
                  <c:v>2.90808</c:v>
                </c:pt>
                <c:pt idx="4520">
                  <c:v>3.4270900000000002</c:v>
                </c:pt>
                <c:pt idx="4521">
                  <c:v>2.8865400000000001</c:v>
                </c:pt>
                <c:pt idx="4522">
                  <c:v>2.1894900000000002</c:v>
                </c:pt>
                <c:pt idx="4523">
                  <c:v>1.90594</c:v>
                </c:pt>
                <c:pt idx="4524">
                  <c:v>1.02678</c:v>
                </c:pt>
                <c:pt idx="4525">
                  <c:v>1.27925</c:v>
                </c:pt>
                <c:pt idx="4526">
                  <c:v>1.3265400000000001</c:v>
                </c:pt>
                <c:pt idx="4527">
                  <c:v>1.9814799999999999</c:v>
                </c:pt>
                <c:pt idx="4528">
                  <c:v>1.6401300000000001</c:v>
                </c:pt>
                <c:pt idx="4529">
                  <c:v>2.0870799999999998</c:v>
                </c:pt>
                <c:pt idx="4530">
                  <c:v>1.0303500000000001</c:v>
                </c:pt>
                <c:pt idx="4531">
                  <c:v>1.6433</c:v>
                </c:pt>
                <c:pt idx="4532">
                  <c:v>1.4815400000000001</c:v>
                </c:pt>
                <c:pt idx="4533">
                  <c:v>1.48488</c:v>
                </c:pt>
                <c:pt idx="4534">
                  <c:v>2.0609600000000001</c:v>
                </c:pt>
                <c:pt idx="4535">
                  <c:v>2.3381699999999999</c:v>
                </c:pt>
                <c:pt idx="4536">
                  <c:v>2.1654300000000002</c:v>
                </c:pt>
                <c:pt idx="4537">
                  <c:v>2.5450900000000001</c:v>
                </c:pt>
                <c:pt idx="4538">
                  <c:v>3.2021899999999999</c:v>
                </c:pt>
                <c:pt idx="4539">
                  <c:v>3.75543</c:v>
                </c:pt>
                <c:pt idx="4540">
                  <c:v>2.9931000000000001</c:v>
                </c:pt>
                <c:pt idx="4541">
                  <c:v>2.69733</c:v>
                </c:pt>
                <c:pt idx="4542">
                  <c:v>2.1482899999999998</c:v>
                </c:pt>
                <c:pt idx="4543">
                  <c:v>2.2934399999999999</c:v>
                </c:pt>
                <c:pt idx="4544">
                  <c:v>2.0720299999999998</c:v>
                </c:pt>
                <c:pt idx="4545">
                  <c:v>1.9646999999999999</c:v>
                </c:pt>
                <c:pt idx="4546">
                  <c:v>2.0394199999999998</c:v>
                </c:pt>
                <c:pt idx="4547">
                  <c:v>1.3763399999999999</c:v>
                </c:pt>
                <c:pt idx="4548">
                  <c:v>2.13802</c:v>
                </c:pt>
                <c:pt idx="4549">
                  <c:v>1.9825200000000001</c:v>
                </c:pt>
                <c:pt idx="4550">
                  <c:v>2.16174</c:v>
                </c:pt>
                <c:pt idx="4551">
                  <c:v>2.37758</c:v>
                </c:pt>
                <c:pt idx="4552">
                  <c:v>2.7516799999999999</c:v>
                </c:pt>
                <c:pt idx="4553">
                  <c:v>2.5651700000000002</c:v>
                </c:pt>
                <c:pt idx="4554">
                  <c:v>1.63801</c:v>
                </c:pt>
                <c:pt idx="4555">
                  <c:v>1.8421099999999999</c:v>
                </c:pt>
                <c:pt idx="4556">
                  <c:v>2.2734100000000002</c:v>
                </c:pt>
                <c:pt idx="4557">
                  <c:v>2.4074300000000002</c:v>
                </c:pt>
                <c:pt idx="4558">
                  <c:v>2.7268699999999999</c:v>
                </c:pt>
                <c:pt idx="4559">
                  <c:v>2.39316</c:v>
                </c:pt>
                <c:pt idx="4560">
                  <c:v>2.5910099999999998</c:v>
                </c:pt>
                <c:pt idx="4561">
                  <c:v>2.85928</c:v>
                </c:pt>
                <c:pt idx="4562">
                  <c:v>2.4938500000000001</c:v>
                </c:pt>
                <c:pt idx="4563">
                  <c:v>2.6156199999999998</c:v>
                </c:pt>
                <c:pt idx="4564">
                  <c:v>1.6265400000000001</c:v>
                </c:pt>
                <c:pt idx="4565">
                  <c:v>2.0840900000000002</c:v>
                </c:pt>
                <c:pt idx="4566">
                  <c:v>2.9648099999999999</c:v>
                </c:pt>
                <c:pt idx="4567">
                  <c:v>2.3484099999999999</c:v>
                </c:pt>
                <c:pt idx="4568">
                  <c:v>2.73075</c:v>
                </c:pt>
                <c:pt idx="4569">
                  <c:v>2.27041</c:v>
                </c:pt>
                <c:pt idx="4570">
                  <c:v>2.5184700000000002</c:v>
                </c:pt>
                <c:pt idx="4571">
                  <c:v>2.4092199999999999</c:v>
                </c:pt>
                <c:pt idx="4572">
                  <c:v>2.1254400000000002</c:v>
                </c:pt>
                <c:pt idx="4573">
                  <c:v>1.78443</c:v>
                </c:pt>
                <c:pt idx="4574">
                  <c:v>1.97163</c:v>
                </c:pt>
                <c:pt idx="4575">
                  <c:v>1.8759999999999999</c:v>
                </c:pt>
                <c:pt idx="4576">
                  <c:v>2.1577000000000002</c:v>
                </c:pt>
                <c:pt idx="4577">
                  <c:v>2.6604800000000002</c:v>
                </c:pt>
                <c:pt idx="4578">
                  <c:v>2.5931299999999999</c:v>
                </c:pt>
                <c:pt idx="4579">
                  <c:v>2.4192399999999998</c:v>
                </c:pt>
                <c:pt idx="4580">
                  <c:v>1.6182799999999999</c:v>
                </c:pt>
                <c:pt idx="4581">
                  <c:v>2.1274099999999998</c:v>
                </c:pt>
                <c:pt idx="4582">
                  <c:v>2.6414399999999998</c:v>
                </c:pt>
                <c:pt idx="4583">
                  <c:v>2.6950099999999999</c:v>
                </c:pt>
                <c:pt idx="4584">
                  <c:v>2.4217399999999998</c:v>
                </c:pt>
                <c:pt idx="4585">
                  <c:v>2.3445200000000002</c:v>
                </c:pt>
                <c:pt idx="4586">
                  <c:v>2.5474700000000001</c:v>
                </c:pt>
                <c:pt idx="4587">
                  <c:v>1.7901899999999999</c:v>
                </c:pt>
                <c:pt idx="4588">
                  <c:v>2.2841200000000002</c:v>
                </c:pt>
                <c:pt idx="4589">
                  <c:v>1.6575</c:v>
                </c:pt>
                <c:pt idx="4590">
                  <c:v>1.7615700000000001</c:v>
                </c:pt>
                <c:pt idx="4591">
                  <c:v>2.03993</c:v>
                </c:pt>
                <c:pt idx="4592">
                  <c:v>2.2252399999999999</c:v>
                </c:pt>
                <c:pt idx="4593">
                  <c:v>2.5383200000000001</c:v>
                </c:pt>
                <c:pt idx="4594">
                  <c:v>2.2661799999999999</c:v>
                </c:pt>
                <c:pt idx="4595">
                  <c:v>2.5450200000000001</c:v>
                </c:pt>
                <c:pt idx="4596">
                  <c:v>1.5149699999999999</c:v>
                </c:pt>
                <c:pt idx="4597">
                  <c:v>1.97146</c:v>
                </c:pt>
                <c:pt idx="4598">
                  <c:v>2.7675700000000001</c:v>
                </c:pt>
                <c:pt idx="4599">
                  <c:v>2.1874400000000001</c:v>
                </c:pt>
                <c:pt idx="4600">
                  <c:v>2.3859699999999999</c:v>
                </c:pt>
                <c:pt idx="4601">
                  <c:v>2.2764000000000002</c:v>
                </c:pt>
                <c:pt idx="4602">
                  <c:v>1.86656</c:v>
                </c:pt>
                <c:pt idx="4603">
                  <c:v>2.26044</c:v>
                </c:pt>
                <c:pt idx="4604">
                  <c:v>2.38924</c:v>
                </c:pt>
                <c:pt idx="4605">
                  <c:v>2.5851000000000002</c:v>
                </c:pt>
                <c:pt idx="4606">
                  <c:v>2.6249400000000001</c:v>
                </c:pt>
                <c:pt idx="4607">
                  <c:v>2.0873699999999999</c:v>
                </c:pt>
                <c:pt idx="4608">
                  <c:v>2.1600700000000002</c:v>
                </c:pt>
                <c:pt idx="4609">
                  <c:v>2.0208300000000001</c:v>
                </c:pt>
                <c:pt idx="4610">
                  <c:v>1.64052</c:v>
                </c:pt>
                <c:pt idx="4611">
                  <c:v>2.75135</c:v>
                </c:pt>
                <c:pt idx="4612">
                  <c:v>2.4279199999999999</c:v>
                </c:pt>
                <c:pt idx="4613">
                  <c:v>1.7554799999999999</c:v>
                </c:pt>
                <c:pt idx="4614">
                  <c:v>2.3238799999999999</c:v>
                </c:pt>
                <c:pt idx="4615">
                  <c:v>1.7602800000000001</c:v>
                </c:pt>
                <c:pt idx="4616">
                  <c:v>2.1468500000000001</c:v>
                </c:pt>
                <c:pt idx="4617">
                  <c:v>2.5279500000000001</c:v>
                </c:pt>
                <c:pt idx="4618">
                  <c:v>2.95932</c:v>
                </c:pt>
                <c:pt idx="4619">
                  <c:v>2.2352799999999999</c:v>
                </c:pt>
                <c:pt idx="4620">
                  <c:v>1.9271199999999999</c:v>
                </c:pt>
                <c:pt idx="4621">
                  <c:v>2.51647</c:v>
                </c:pt>
                <c:pt idx="4622">
                  <c:v>2.0159500000000001</c:v>
                </c:pt>
                <c:pt idx="4623">
                  <c:v>2.16492</c:v>
                </c:pt>
                <c:pt idx="4624">
                  <c:v>1.7386900000000001</c:v>
                </c:pt>
                <c:pt idx="4625">
                  <c:v>1.9808600000000001</c:v>
                </c:pt>
                <c:pt idx="4626">
                  <c:v>2.0299700000000001</c:v>
                </c:pt>
                <c:pt idx="4627">
                  <c:v>2.1043799999999999</c:v>
                </c:pt>
                <c:pt idx="4628">
                  <c:v>2.8902700000000001</c:v>
                </c:pt>
                <c:pt idx="4629">
                  <c:v>2.7434400000000001</c:v>
                </c:pt>
                <c:pt idx="4630">
                  <c:v>2.1566100000000001</c:v>
                </c:pt>
                <c:pt idx="4631">
                  <c:v>2.1764000000000001</c:v>
                </c:pt>
                <c:pt idx="4632">
                  <c:v>1.98058</c:v>
                </c:pt>
                <c:pt idx="4633">
                  <c:v>2.3490500000000001</c:v>
                </c:pt>
                <c:pt idx="4634">
                  <c:v>2.67767</c:v>
                </c:pt>
                <c:pt idx="4635">
                  <c:v>2.8250899999999999</c:v>
                </c:pt>
                <c:pt idx="4636">
                  <c:v>2.3031000000000001</c:v>
                </c:pt>
                <c:pt idx="4637">
                  <c:v>1.8184499999999999</c:v>
                </c:pt>
                <c:pt idx="4638">
                  <c:v>2.1463700000000001</c:v>
                </c:pt>
                <c:pt idx="4639">
                  <c:v>2.5385599999999999</c:v>
                </c:pt>
                <c:pt idx="4640">
                  <c:v>2.60223</c:v>
                </c:pt>
                <c:pt idx="4641">
                  <c:v>2.6336499999999998</c:v>
                </c:pt>
                <c:pt idx="4642">
                  <c:v>2.3740100000000002</c:v>
                </c:pt>
                <c:pt idx="4643">
                  <c:v>1.10948</c:v>
                </c:pt>
                <c:pt idx="4644">
                  <c:v>1.95208</c:v>
                </c:pt>
                <c:pt idx="4645">
                  <c:v>2.95167</c:v>
                </c:pt>
                <c:pt idx="4646">
                  <c:v>2.8045900000000001</c:v>
                </c:pt>
                <c:pt idx="4647">
                  <c:v>2.6915399999999998</c:v>
                </c:pt>
                <c:pt idx="4648">
                  <c:v>2.58785</c:v>
                </c:pt>
                <c:pt idx="4649">
                  <c:v>2.1688800000000001</c:v>
                </c:pt>
                <c:pt idx="4650">
                  <c:v>2.6891600000000002</c:v>
                </c:pt>
                <c:pt idx="4651">
                  <c:v>2.5371700000000001</c:v>
                </c:pt>
                <c:pt idx="4652">
                  <c:v>2.9073099999999998</c:v>
                </c:pt>
                <c:pt idx="4653">
                  <c:v>2.7015199999999999</c:v>
                </c:pt>
                <c:pt idx="4654">
                  <c:v>2.4444400000000002</c:v>
                </c:pt>
                <c:pt idx="4655">
                  <c:v>1.57239</c:v>
                </c:pt>
                <c:pt idx="4656">
                  <c:v>2.6513900000000001</c:v>
                </c:pt>
                <c:pt idx="4657">
                  <c:v>2.71061</c:v>
                </c:pt>
                <c:pt idx="4658">
                  <c:v>2.5707300000000002</c:v>
                </c:pt>
                <c:pt idx="4659">
                  <c:v>3.0261800000000001</c:v>
                </c:pt>
                <c:pt idx="4660">
                  <c:v>2.69842</c:v>
                </c:pt>
                <c:pt idx="4661">
                  <c:v>2.50766</c:v>
                </c:pt>
                <c:pt idx="4662">
                  <c:v>1.84358</c:v>
                </c:pt>
                <c:pt idx="4663">
                  <c:v>2.6316999999999999</c:v>
                </c:pt>
                <c:pt idx="4664">
                  <c:v>2.5377100000000001</c:v>
                </c:pt>
                <c:pt idx="4665">
                  <c:v>2.3900100000000002</c:v>
                </c:pt>
                <c:pt idx="4666">
                  <c:v>2.3168500000000001</c:v>
                </c:pt>
                <c:pt idx="4667">
                  <c:v>1.7121200000000001</c:v>
                </c:pt>
                <c:pt idx="4668">
                  <c:v>2.3348499999999999</c:v>
                </c:pt>
                <c:pt idx="4669">
                  <c:v>2.9539</c:v>
                </c:pt>
                <c:pt idx="4670">
                  <c:v>2.57443</c:v>
                </c:pt>
                <c:pt idx="4671">
                  <c:v>2.2702800000000001</c:v>
                </c:pt>
                <c:pt idx="4672">
                  <c:v>1.75675</c:v>
                </c:pt>
                <c:pt idx="4673">
                  <c:v>2.1779999999999999</c:v>
                </c:pt>
                <c:pt idx="4674">
                  <c:v>2.1684600000000001</c:v>
                </c:pt>
                <c:pt idx="4675">
                  <c:v>2.4811399999999999</c:v>
                </c:pt>
                <c:pt idx="4676">
                  <c:v>1.9956400000000001</c:v>
                </c:pt>
                <c:pt idx="4677">
                  <c:v>1.95821</c:v>
                </c:pt>
                <c:pt idx="4678">
                  <c:v>1.8948199999999999</c:v>
                </c:pt>
                <c:pt idx="4679">
                  <c:v>1.7967500000000001</c:v>
                </c:pt>
                <c:pt idx="4680">
                  <c:v>1.8289299999999999</c:v>
                </c:pt>
                <c:pt idx="4681">
                  <c:v>2.2153399999999999</c:v>
                </c:pt>
                <c:pt idx="4682">
                  <c:v>2.4872999999999998</c:v>
                </c:pt>
                <c:pt idx="4683">
                  <c:v>2.3529</c:v>
                </c:pt>
                <c:pt idx="4684">
                  <c:v>2.0021</c:v>
                </c:pt>
                <c:pt idx="4685">
                  <c:v>2.4418600000000001</c:v>
                </c:pt>
                <c:pt idx="4686">
                  <c:v>2.2779600000000002</c:v>
                </c:pt>
                <c:pt idx="4687">
                  <c:v>2.0497200000000002</c:v>
                </c:pt>
                <c:pt idx="4688">
                  <c:v>2.03328</c:v>
                </c:pt>
                <c:pt idx="4689">
                  <c:v>2.6979000000000002</c:v>
                </c:pt>
                <c:pt idx="4690">
                  <c:v>2.5026700000000002</c:v>
                </c:pt>
                <c:pt idx="4691">
                  <c:v>2.6756600000000001</c:v>
                </c:pt>
                <c:pt idx="4692">
                  <c:v>2.3361299999999998</c:v>
                </c:pt>
                <c:pt idx="4693">
                  <c:v>1.9485699999999999</c:v>
                </c:pt>
                <c:pt idx="4694">
                  <c:v>2.60277</c:v>
                </c:pt>
                <c:pt idx="4695">
                  <c:v>1.9108099999999999</c:v>
                </c:pt>
                <c:pt idx="4696">
                  <c:v>2.34944</c:v>
                </c:pt>
                <c:pt idx="4697">
                  <c:v>2.23393</c:v>
                </c:pt>
                <c:pt idx="4698">
                  <c:v>2.7414700000000001</c:v>
                </c:pt>
                <c:pt idx="4699">
                  <c:v>1.9383999999999999</c:v>
                </c:pt>
                <c:pt idx="4700">
                  <c:v>1.9069799999999999</c:v>
                </c:pt>
                <c:pt idx="4701">
                  <c:v>2.16004</c:v>
                </c:pt>
                <c:pt idx="4702">
                  <c:v>1.9355199999999999</c:v>
                </c:pt>
                <c:pt idx="4703">
                  <c:v>2.5001799999999998</c:v>
                </c:pt>
                <c:pt idx="4704">
                  <c:v>2.29149</c:v>
                </c:pt>
                <c:pt idx="4705">
                  <c:v>1.3188899999999999</c:v>
                </c:pt>
                <c:pt idx="4706">
                  <c:v>1.8969100000000001</c:v>
                </c:pt>
                <c:pt idx="4707">
                  <c:v>2.6446299999999998</c:v>
                </c:pt>
                <c:pt idx="4708">
                  <c:v>2.4695900000000002</c:v>
                </c:pt>
                <c:pt idx="4709">
                  <c:v>2.7326899999999998</c:v>
                </c:pt>
                <c:pt idx="4710">
                  <c:v>2.0823800000000001</c:v>
                </c:pt>
                <c:pt idx="4711">
                  <c:v>2.1560800000000002</c:v>
                </c:pt>
                <c:pt idx="4712">
                  <c:v>1.9998</c:v>
                </c:pt>
                <c:pt idx="4713">
                  <c:v>2.9687999999999999</c:v>
                </c:pt>
                <c:pt idx="4714">
                  <c:v>2.6143000000000001</c:v>
                </c:pt>
                <c:pt idx="4715">
                  <c:v>2.476</c:v>
                </c:pt>
                <c:pt idx="4716">
                  <c:v>1.9851799999999999</c:v>
                </c:pt>
                <c:pt idx="4717">
                  <c:v>2.59057</c:v>
                </c:pt>
                <c:pt idx="4718">
                  <c:v>2.46028</c:v>
                </c:pt>
                <c:pt idx="4719">
                  <c:v>1.8658600000000001</c:v>
                </c:pt>
                <c:pt idx="4720">
                  <c:v>2.9120400000000002</c:v>
                </c:pt>
                <c:pt idx="4721">
                  <c:v>2.3282799999999999</c:v>
                </c:pt>
                <c:pt idx="4722">
                  <c:v>2.3482500000000002</c:v>
                </c:pt>
                <c:pt idx="4723">
                  <c:v>1.88317</c:v>
                </c:pt>
                <c:pt idx="4724">
                  <c:v>1.8869800000000001</c:v>
                </c:pt>
                <c:pt idx="4725">
                  <c:v>2.6654599999999999</c:v>
                </c:pt>
                <c:pt idx="4726">
                  <c:v>2.2895799999999999</c:v>
                </c:pt>
                <c:pt idx="4727">
                  <c:v>2.6764600000000001</c:v>
                </c:pt>
                <c:pt idx="4728">
                  <c:v>1.86544</c:v>
                </c:pt>
                <c:pt idx="4729">
                  <c:v>2.4009200000000002</c:v>
                </c:pt>
                <c:pt idx="4730">
                  <c:v>1.73912</c:v>
                </c:pt>
                <c:pt idx="4731">
                  <c:v>2.4573399999999999</c:v>
                </c:pt>
                <c:pt idx="4732">
                  <c:v>2.56568</c:v>
                </c:pt>
                <c:pt idx="4733">
                  <c:v>2.5034700000000001</c:v>
                </c:pt>
                <c:pt idx="4734">
                  <c:v>2.41168</c:v>
                </c:pt>
                <c:pt idx="4735">
                  <c:v>2.6307499999999999</c:v>
                </c:pt>
                <c:pt idx="4736">
                  <c:v>2.87738</c:v>
                </c:pt>
                <c:pt idx="4737">
                  <c:v>2.26309</c:v>
                </c:pt>
                <c:pt idx="4738">
                  <c:v>2.1733500000000001</c:v>
                </c:pt>
                <c:pt idx="4739">
                  <c:v>2.3260299999999998</c:v>
                </c:pt>
                <c:pt idx="4740">
                  <c:v>2.3651900000000001</c:v>
                </c:pt>
                <c:pt idx="4741">
                  <c:v>2.5649000000000002</c:v>
                </c:pt>
                <c:pt idx="4742">
                  <c:v>2.4675699999999998</c:v>
                </c:pt>
                <c:pt idx="4743">
                  <c:v>2.1390500000000001</c:v>
                </c:pt>
                <c:pt idx="4744">
                  <c:v>2.6605400000000001</c:v>
                </c:pt>
                <c:pt idx="4745">
                  <c:v>1.62348</c:v>
                </c:pt>
                <c:pt idx="4746">
                  <c:v>2.3457300000000001</c:v>
                </c:pt>
                <c:pt idx="4747">
                  <c:v>2.5107499999999998</c:v>
                </c:pt>
                <c:pt idx="4748">
                  <c:v>1.74851</c:v>
                </c:pt>
                <c:pt idx="4749">
                  <c:v>2.4142399999999999</c:v>
                </c:pt>
                <c:pt idx="4750">
                  <c:v>2.2812199999999998</c:v>
                </c:pt>
                <c:pt idx="4751">
                  <c:v>2.6923699999999999</c:v>
                </c:pt>
                <c:pt idx="4752">
                  <c:v>2.7020400000000002</c:v>
                </c:pt>
                <c:pt idx="4753">
                  <c:v>2.06989</c:v>
                </c:pt>
                <c:pt idx="4754">
                  <c:v>2.2120000000000002</c:v>
                </c:pt>
                <c:pt idx="4755">
                  <c:v>1.7865</c:v>
                </c:pt>
                <c:pt idx="4756">
                  <c:v>2.35832</c:v>
                </c:pt>
                <c:pt idx="4757">
                  <c:v>2.79027</c:v>
                </c:pt>
                <c:pt idx="4758">
                  <c:v>2.4281799999999998</c:v>
                </c:pt>
                <c:pt idx="4759">
                  <c:v>2.1524299999999998</c:v>
                </c:pt>
                <c:pt idx="4760">
                  <c:v>2.1515900000000001</c:v>
                </c:pt>
                <c:pt idx="4761">
                  <c:v>1.9045799999999999</c:v>
                </c:pt>
                <c:pt idx="4762">
                  <c:v>1.7208399999999999</c:v>
                </c:pt>
                <c:pt idx="4763">
                  <c:v>2.6522000000000001</c:v>
                </c:pt>
                <c:pt idx="4764">
                  <c:v>2.7178200000000001</c:v>
                </c:pt>
                <c:pt idx="4765">
                  <c:v>1.55138</c:v>
                </c:pt>
                <c:pt idx="4766">
                  <c:v>2.4104800000000002</c:v>
                </c:pt>
                <c:pt idx="4767">
                  <c:v>2.1997200000000001</c:v>
                </c:pt>
                <c:pt idx="4768">
                  <c:v>2.54616</c:v>
                </c:pt>
                <c:pt idx="4769">
                  <c:v>2.2154600000000002</c:v>
                </c:pt>
                <c:pt idx="4770">
                  <c:v>2.20852</c:v>
                </c:pt>
                <c:pt idx="4771">
                  <c:v>2.1511300000000002</c:v>
                </c:pt>
                <c:pt idx="4772">
                  <c:v>2.2008100000000002</c:v>
                </c:pt>
                <c:pt idx="4773">
                  <c:v>2.6850999999999998</c:v>
                </c:pt>
                <c:pt idx="4774">
                  <c:v>2.5252599999999998</c:v>
                </c:pt>
                <c:pt idx="4775">
                  <c:v>2.5792000000000002</c:v>
                </c:pt>
                <c:pt idx="4776">
                  <c:v>2.0478299999999998</c:v>
                </c:pt>
                <c:pt idx="4777">
                  <c:v>2.0013800000000002</c:v>
                </c:pt>
                <c:pt idx="4778">
                  <c:v>1.8343100000000001</c:v>
                </c:pt>
                <c:pt idx="4779">
                  <c:v>2.1242399999999999</c:v>
                </c:pt>
                <c:pt idx="4780">
                  <c:v>2.5612400000000002</c:v>
                </c:pt>
                <c:pt idx="4781">
                  <c:v>2.3850899999999999</c:v>
                </c:pt>
                <c:pt idx="4782">
                  <c:v>2.6127099999999999</c:v>
                </c:pt>
                <c:pt idx="4783">
                  <c:v>2.4655100000000001</c:v>
                </c:pt>
                <c:pt idx="4784">
                  <c:v>2.1035200000000001</c:v>
                </c:pt>
                <c:pt idx="4785">
                  <c:v>2.3240799999999999</c:v>
                </c:pt>
                <c:pt idx="4786">
                  <c:v>2.2671800000000002</c:v>
                </c:pt>
                <c:pt idx="4787">
                  <c:v>2.2703099999999998</c:v>
                </c:pt>
                <c:pt idx="4788">
                  <c:v>1.9030800000000001</c:v>
                </c:pt>
                <c:pt idx="4789">
                  <c:v>2.2905899999999999</c:v>
                </c:pt>
                <c:pt idx="4790">
                  <c:v>2.45452</c:v>
                </c:pt>
                <c:pt idx="4791">
                  <c:v>1.9419500000000001</c:v>
                </c:pt>
                <c:pt idx="4792">
                  <c:v>2.2137199999999999</c:v>
                </c:pt>
                <c:pt idx="4793">
                  <c:v>1.97593</c:v>
                </c:pt>
                <c:pt idx="4794">
                  <c:v>1.9358500000000001</c:v>
                </c:pt>
                <c:pt idx="4795">
                  <c:v>1.9119699999999999</c:v>
                </c:pt>
                <c:pt idx="4796">
                  <c:v>2.8516699999999999</c:v>
                </c:pt>
                <c:pt idx="4797">
                  <c:v>2.7294100000000001</c:v>
                </c:pt>
                <c:pt idx="4798">
                  <c:v>2.1543000000000001</c:v>
                </c:pt>
                <c:pt idx="4799">
                  <c:v>2.09504</c:v>
                </c:pt>
                <c:pt idx="4800">
                  <c:v>2.2309999999999999</c:v>
                </c:pt>
                <c:pt idx="4801">
                  <c:v>2.8681700000000001</c:v>
                </c:pt>
                <c:pt idx="4802">
                  <c:v>2.41465</c:v>
                </c:pt>
                <c:pt idx="4803">
                  <c:v>2.0183499999999999</c:v>
                </c:pt>
                <c:pt idx="4804">
                  <c:v>2.0273300000000001</c:v>
                </c:pt>
                <c:pt idx="4805">
                  <c:v>2.1671999999999998</c:v>
                </c:pt>
                <c:pt idx="4806">
                  <c:v>2.4167800000000002</c:v>
                </c:pt>
                <c:pt idx="4807">
                  <c:v>2.49186</c:v>
                </c:pt>
                <c:pt idx="4808">
                  <c:v>2.6016400000000002</c:v>
                </c:pt>
                <c:pt idx="4809">
                  <c:v>2.1379899999999998</c:v>
                </c:pt>
                <c:pt idx="4810">
                  <c:v>2.3259300000000001</c:v>
                </c:pt>
                <c:pt idx="4811">
                  <c:v>2.1449799999999999</c:v>
                </c:pt>
                <c:pt idx="4812">
                  <c:v>2.4301499999999998</c:v>
                </c:pt>
                <c:pt idx="4813">
                  <c:v>2.73522</c:v>
                </c:pt>
                <c:pt idx="4814">
                  <c:v>2.50807</c:v>
                </c:pt>
                <c:pt idx="4815">
                  <c:v>2.04196</c:v>
                </c:pt>
                <c:pt idx="4816">
                  <c:v>2.2234799999999999</c:v>
                </c:pt>
                <c:pt idx="4817">
                  <c:v>2.5153099999999999</c:v>
                </c:pt>
                <c:pt idx="4818">
                  <c:v>2.3018100000000001</c:v>
                </c:pt>
                <c:pt idx="4819">
                  <c:v>2.35446</c:v>
                </c:pt>
                <c:pt idx="4820">
                  <c:v>1.94699</c:v>
                </c:pt>
                <c:pt idx="4821">
                  <c:v>2.01437</c:v>
                </c:pt>
                <c:pt idx="4822">
                  <c:v>1.7232099999999999</c:v>
                </c:pt>
                <c:pt idx="4823">
                  <c:v>2.0156999999999998</c:v>
                </c:pt>
                <c:pt idx="4824">
                  <c:v>2.6258900000000001</c:v>
                </c:pt>
                <c:pt idx="4825">
                  <c:v>2.4560300000000002</c:v>
                </c:pt>
                <c:pt idx="4826">
                  <c:v>1.9446699999999999</c:v>
                </c:pt>
                <c:pt idx="4827">
                  <c:v>2.3259099999999999</c:v>
                </c:pt>
                <c:pt idx="4828">
                  <c:v>2.1268899999999999</c:v>
                </c:pt>
                <c:pt idx="4829">
                  <c:v>2.6336499999999998</c:v>
                </c:pt>
                <c:pt idx="4830">
                  <c:v>2.4023099999999999</c:v>
                </c:pt>
                <c:pt idx="4831">
                  <c:v>2.5266500000000001</c:v>
                </c:pt>
                <c:pt idx="4832">
                  <c:v>2.61388</c:v>
                </c:pt>
                <c:pt idx="4833">
                  <c:v>2.0847799999999999</c:v>
                </c:pt>
                <c:pt idx="4834">
                  <c:v>2.0702400000000001</c:v>
                </c:pt>
                <c:pt idx="4835">
                  <c:v>1.6745300000000001</c:v>
                </c:pt>
                <c:pt idx="4836">
                  <c:v>2.1902499999999998</c:v>
                </c:pt>
                <c:pt idx="4837">
                  <c:v>2.75664</c:v>
                </c:pt>
                <c:pt idx="4838">
                  <c:v>2.1368</c:v>
                </c:pt>
                <c:pt idx="4839">
                  <c:v>1.7819100000000001</c:v>
                </c:pt>
                <c:pt idx="4840">
                  <c:v>1.7121599999999999</c:v>
                </c:pt>
                <c:pt idx="4841">
                  <c:v>2.34728</c:v>
                </c:pt>
                <c:pt idx="4842">
                  <c:v>2.8265500000000001</c:v>
                </c:pt>
                <c:pt idx="4843">
                  <c:v>3.0265200000000001</c:v>
                </c:pt>
                <c:pt idx="4844">
                  <c:v>2.5522</c:v>
                </c:pt>
                <c:pt idx="4845">
                  <c:v>2.4099300000000001</c:v>
                </c:pt>
                <c:pt idx="4846">
                  <c:v>2.33352</c:v>
                </c:pt>
                <c:pt idx="4847">
                  <c:v>1.9140600000000001</c:v>
                </c:pt>
                <c:pt idx="4848">
                  <c:v>2.0762399999999999</c:v>
                </c:pt>
                <c:pt idx="4849">
                  <c:v>2.73339</c:v>
                </c:pt>
                <c:pt idx="4850">
                  <c:v>2.1520700000000001</c:v>
                </c:pt>
                <c:pt idx="4851">
                  <c:v>2.4411999999999998</c:v>
                </c:pt>
                <c:pt idx="4852">
                  <c:v>2.2661500000000001</c:v>
                </c:pt>
                <c:pt idx="4853">
                  <c:v>2.2692100000000002</c:v>
                </c:pt>
                <c:pt idx="4854">
                  <c:v>2.3198400000000001</c:v>
                </c:pt>
                <c:pt idx="4855">
                  <c:v>1.76081</c:v>
                </c:pt>
                <c:pt idx="4856">
                  <c:v>2.3344200000000002</c:v>
                </c:pt>
                <c:pt idx="4857">
                  <c:v>2.4681299999999999</c:v>
                </c:pt>
                <c:pt idx="4858">
                  <c:v>2.7496399999999999</c:v>
                </c:pt>
                <c:pt idx="4859">
                  <c:v>2.6012200000000001</c:v>
                </c:pt>
                <c:pt idx="4860">
                  <c:v>2.2221799999999998</c:v>
                </c:pt>
                <c:pt idx="4861">
                  <c:v>2.5656599999999998</c:v>
                </c:pt>
                <c:pt idx="4862">
                  <c:v>2.1823100000000002</c:v>
                </c:pt>
                <c:pt idx="4863">
                  <c:v>2.85867</c:v>
                </c:pt>
                <c:pt idx="4864">
                  <c:v>2.2283400000000002</c:v>
                </c:pt>
                <c:pt idx="4865">
                  <c:v>1.8782000000000001</c:v>
                </c:pt>
                <c:pt idx="4866">
                  <c:v>2.42042</c:v>
                </c:pt>
                <c:pt idx="4867">
                  <c:v>2.7648999999999999</c:v>
                </c:pt>
                <c:pt idx="4868">
                  <c:v>2.6316199999999998</c:v>
                </c:pt>
                <c:pt idx="4869">
                  <c:v>2.0434000000000001</c:v>
                </c:pt>
                <c:pt idx="4870">
                  <c:v>2.3721899999999998</c:v>
                </c:pt>
                <c:pt idx="4871">
                  <c:v>2.3605399999999999</c:v>
                </c:pt>
                <c:pt idx="4872">
                  <c:v>1.8412599999999999</c:v>
                </c:pt>
                <c:pt idx="4873">
                  <c:v>3.0802299999999998</c:v>
                </c:pt>
                <c:pt idx="4874">
                  <c:v>2.9368699999999999</c:v>
                </c:pt>
                <c:pt idx="4875">
                  <c:v>2.8535499999999998</c:v>
                </c:pt>
                <c:pt idx="4876">
                  <c:v>2.4547699999999999</c:v>
                </c:pt>
                <c:pt idx="4877">
                  <c:v>2.5036499999999999</c:v>
                </c:pt>
                <c:pt idx="4878">
                  <c:v>2.6105</c:v>
                </c:pt>
                <c:pt idx="4879">
                  <c:v>2.5651799999999998</c:v>
                </c:pt>
                <c:pt idx="4880">
                  <c:v>2.6385800000000001</c:v>
                </c:pt>
                <c:pt idx="4881">
                  <c:v>1.96994</c:v>
                </c:pt>
                <c:pt idx="4882">
                  <c:v>1.7834099999999999</c:v>
                </c:pt>
                <c:pt idx="4883">
                  <c:v>1.0242</c:v>
                </c:pt>
                <c:pt idx="4884">
                  <c:v>2.14323</c:v>
                </c:pt>
                <c:pt idx="4885">
                  <c:v>2.3901599999999998</c:v>
                </c:pt>
                <c:pt idx="4886">
                  <c:v>2.6825600000000001</c:v>
                </c:pt>
                <c:pt idx="4887">
                  <c:v>2.6551100000000001</c:v>
                </c:pt>
                <c:pt idx="4888">
                  <c:v>2.21225</c:v>
                </c:pt>
                <c:pt idx="4889">
                  <c:v>2.2297799999999999</c:v>
                </c:pt>
                <c:pt idx="4890">
                  <c:v>2.0724399999999998</c:v>
                </c:pt>
                <c:pt idx="4891">
                  <c:v>2.3794599999999999</c:v>
                </c:pt>
                <c:pt idx="4892">
                  <c:v>2.2092700000000001</c:v>
                </c:pt>
                <c:pt idx="4893">
                  <c:v>2.3237800000000002</c:v>
                </c:pt>
                <c:pt idx="4894">
                  <c:v>2.00434</c:v>
                </c:pt>
                <c:pt idx="4895">
                  <c:v>1.9426399999999999</c:v>
                </c:pt>
                <c:pt idx="4896">
                  <c:v>2.46041</c:v>
                </c:pt>
                <c:pt idx="4897">
                  <c:v>2.649</c:v>
                </c:pt>
                <c:pt idx="4898">
                  <c:v>2.6777099999999998</c:v>
                </c:pt>
                <c:pt idx="4899">
                  <c:v>2.32409</c:v>
                </c:pt>
                <c:pt idx="4900">
                  <c:v>1.29959</c:v>
                </c:pt>
                <c:pt idx="4901">
                  <c:v>2.1255899999999999</c:v>
                </c:pt>
                <c:pt idx="4902">
                  <c:v>2.0190399999999999</c:v>
                </c:pt>
                <c:pt idx="4903">
                  <c:v>2.6580300000000001</c:v>
                </c:pt>
                <c:pt idx="4904">
                  <c:v>2.3168299999999999</c:v>
                </c:pt>
                <c:pt idx="4905">
                  <c:v>2.6839300000000001</c:v>
                </c:pt>
                <c:pt idx="4906">
                  <c:v>2.27338</c:v>
                </c:pt>
                <c:pt idx="4907">
                  <c:v>2.3416700000000001</c:v>
                </c:pt>
                <c:pt idx="4908">
                  <c:v>2.5970499999999999</c:v>
                </c:pt>
                <c:pt idx="4909">
                  <c:v>2.4691999999999998</c:v>
                </c:pt>
                <c:pt idx="4910">
                  <c:v>2.5277500000000002</c:v>
                </c:pt>
                <c:pt idx="4911">
                  <c:v>2.13192</c:v>
                </c:pt>
                <c:pt idx="4912">
                  <c:v>1.9240600000000001</c:v>
                </c:pt>
                <c:pt idx="4913">
                  <c:v>2.5413800000000002</c:v>
                </c:pt>
                <c:pt idx="4914">
                  <c:v>2.1813600000000002</c:v>
                </c:pt>
                <c:pt idx="4915">
                  <c:v>2.52</c:v>
                </c:pt>
                <c:pt idx="4916">
                  <c:v>2.5871400000000002</c:v>
                </c:pt>
                <c:pt idx="4917">
                  <c:v>1.5371300000000001</c:v>
                </c:pt>
                <c:pt idx="4918">
                  <c:v>1.54098</c:v>
                </c:pt>
                <c:pt idx="4919">
                  <c:v>2.1476099999999998</c:v>
                </c:pt>
                <c:pt idx="4920">
                  <c:v>2.7904300000000002</c:v>
                </c:pt>
                <c:pt idx="4921">
                  <c:v>2.5104199999999999</c:v>
                </c:pt>
                <c:pt idx="4922">
                  <c:v>2.4735499999999999</c:v>
                </c:pt>
                <c:pt idx="4923">
                  <c:v>2.2496100000000001</c:v>
                </c:pt>
                <c:pt idx="4924">
                  <c:v>1.8518300000000001</c:v>
                </c:pt>
                <c:pt idx="4925">
                  <c:v>2.42259</c:v>
                </c:pt>
                <c:pt idx="4926">
                  <c:v>2.27136</c:v>
                </c:pt>
                <c:pt idx="4927">
                  <c:v>2.53017</c:v>
                </c:pt>
                <c:pt idx="4928">
                  <c:v>1.88384</c:v>
                </c:pt>
                <c:pt idx="4929">
                  <c:v>1.82195</c:v>
                </c:pt>
                <c:pt idx="4930">
                  <c:v>2.0814699999999999</c:v>
                </c:pt>
                <c:pt idx="4931">
                  <c:v>2.0146000000000002</c:v>
                </c:pt>
                <c:pt idx="4932">
                  <c:v>2.37548</c:v>
                </c:pt>
                <c:pt idx="4933">
                  <c:v>2.4009399999999999</c:v>
                </c:pt>
                <c:pt idx="4934">
                  <c:v>3.07091</c:v>
                </c:pt>
                <c:pt idx="4935">
                  <c:v>2.4970699999999999</c:v>
                </c:pt>
                <c:pt idx="4936">
                  <c:v>2.3378899999999998</c:v>
                </c:pt>
                <c:pt idx="4937">
                  <c:v>2.2439800000000001</c:v>
                </c:pt>
                <c:pt idx="4938">
                  <c:v>1.8103100000000001</c:v>
                </c:pt>
                <c:pt idx="4939">
                  <c:v>2.1468099999999999</c:v>
                </c:pt>
                <c:pt idx="4940">
                  <c:v>2.2196099999999999</c:v>
                </c:pt>
                <c:pt idx="4941">
                  <c:v>2.5589400000000002</c:v>
                </c:pt>
                <c:pt idx="4942">
                  <c:v>2.3740100000000002</c:v>
                </c:pt>
                <c:pt idx="4943">
                  <c:v>2.9370599999999998</c:v>
                </c:pt>
                <c:pt idx="4944">
                  <c:v>2.1450800000000001</c:v>
                </c:pt>
                <c:pt idx="4945">
                  <c:v>2.4327899999999998</c:v>
                </c:pt>
                <c:pt idx="4946">
                  <c:v>3.68519</c:v>
                </c:pt>
                <c:pt idx="4947">
                  <c:v>3.6822699999999999</c:v>
                </c:pt>
                <c:pt idx="4948">
                  <c:v>4.02949</c:v>
                </c:pt>
                <c:pt idx="4949">
                  <c:v>3.0204499999999999</c:v>
                </c:pt>
                <c:pt idx="4950">
                  <c:v>2.0392100000000002</c:v>
                </c:pt>
                <c:pt idx="4951">
                  <c:v>1.54366</c:v>
                </c:pt>
                <c:pt idx="4952">
                  <c:v>1.6078300000000001</c:v>
                </c:pt>
                <c:pt idx="4953">
                  <c:v>2.1739199999999999</c:v>
                </c:pt>
                <c:pt idx="4954">
                  <c:v>1.66974</c:v>
                </c:pt>
                <c:pt idx="4955">
                  <c:v>1.91964</c:v>
                </c:pt>
                <c:pt idx="4956">
                  <c:v>1.13408</c:v>
                </c:pt>
                <c:pt idx="4957">
                  <c:v>1.2180500000000001</c:v>
                </c:pt>
                <c:pt idx="4958">
                  <c:v>1.6215299999999999</c:v>
                </c:pt>
                <c:pt idx="4959">
                  <c:v>1.5141199999999999</c:v>
                </c:pt>
                <c:pt idx="4960">
                  <c:v>1.6440399999999999</c:v>
                </c:pt>
                <c:pt idx="4961">
                  <c:v>1.09751</c:v>
                </c:pt>
                <c:pt idx="4962">
                  <c:v>1.8343799999999999</c:v>
                </c:pt>
                <c:pt idx="4963">
                  <c:v>2.4174699999999998</c:v>
                </c:pt>
                <c:pt idx="4964">
                  <c:v>2.7355399999999999</c:v>
                </c:pt>
                <c:pt idx="4965">
                  <c:v>3.3578899999999998</c:v>
                </c:pt>
                <c:pt idx="4966">
                  <c:v>3.2180599999999999</c:v>
                </c:pt>
                <c:pt idx="4967">
                  <c:v>3.27481</c:v>
                </c:pt>
                <c:pt idx="4968">
                  <c:v>2.9748999999999999</c:v>
                </c:pt>
                <c:pt idx="4969">
                  <c:v>2.8232699999999999</c:v>
                </c:pt>
                <c:pt idx="4970">
                  <c:v>2.7154400000000001</c:v>
                </c:pt>
                <c:pt idx="4971">
                  <c:v>2.4788899999999998</c:v>
                </c:pt>
                <c:pt idx="4972">
                  <c:v>1.8515900000000001</c:v>
                </c:pt>
                <c:pt idx="4973">
                  <c:v>1.8274900000000001</c:v>
                </c:pt>
                <c:pt idx="4974">
                  <c:v>1.9895099999999999</c:v>
                </c:pt>
                <c:pt idx="4975">
                  <c:v>1.55298</c:v>
                </c:pt>
                <c:pt idx="4976">
                  <c:v>2.56263</c:v>
                </c:pt>
                <c:pt idx="4977">
                  <c:v>2.2000500000000001</c:v>
                </c:pt>
                <c:pt idx="4978">
                  <c:v>2.3679800000000002</c:v>
                </c:pt>
                <c:pt idx="4979">
                  <c:v>1.8038099999999999</c:v>
                </c:pt>
                <c:pt idx="4980">
                  <c:v>1.7814399999999999</c:v>
                </c:pt>
                <c:pt idx="4981">
                  <c:v>2.2355900000000002</c:v>
                </c:pt>
                <c:pt idx="4982">
                  <c:v>1.7317499999999999</c:v>
                </c:pt>
                <c:pt idx="4983">
                  <c:v>2.2023899999999998</c:v>
                </c:pt>
                <c:pt idx="4984">
                  <c:v>2.3161999999999998</c:v>
                </c:pt>
                <c:pt idx="4985">
                  <c:v>2.20459</c:v>
                </c:pt>
                <c:pt idx="4986">
                  <c:v>2.4313899999999999</c:v>
                </c:pt>
                <c:pt idx="4987">
                  <c:v>2.3652099999999998</c:v>
                </c:pt>
                <c:pt idx="4988">
                  <c:v>2.6383000000000001</c:v>
                </c:pt>
                <c:pt idx="4989">
                  <c:v>2.4300600000000001</c:v>
                </c:pt>
                <c:pt idx="4990">
                  <c:v>2.1897700000000002</c:v>
                </c:pt>
                <c:pt idx="4991">
                  <c:v>2.10833</c:v>
                </c:pt>
                <c:pt idx="4992">
                  <c:v>1.6430899999999999</c:v>
                </c:pt>
                <c:pt idx="4993">
                  <c:v>1.7156199999999999</c:v>
                </c:pt>
                <c:pt idx="4994">
                  <c:v>1.7729699999999999</c:v>
                </c:pt>
                <c:pt idx="4995">
                  <c:v>2.4308399999999999</c:v>
                </c:pt>
                <c:pt idx="4996">
                  <c:v>2.0965199999999999</c:v>
                </c:pt>
                <c:pt idx="4997">
                  <c:v>2.5288300000000001</c:v>
                </c:pt>
                <c:pt idx="4998">
                  <c:v>2.66587</c:v>
                </c:pt>
                <c:pt idx="4999">
                  <c:v>1.61073</c:v>
                </c:pt>
                <c:pt idx="5000">
                  <c:v>1.8869</c:v>
                </c:pt>
                <c:pt idx="5001">
                  <c:v>1.5512900000000001</c:v>
                </c:pt>
                <c:pt idx="5002">
                  <c:v>2.2608700000000002</c:v>
                </c:pt>
                <c:pt idx="5003">
                  <c:v>2.50943</c:v>
                </c:pt>
                <c:pt idx="5004">
                  <c:v>1.8727100000000001</c:v>
                </c:pt>
                <c:pt idx="5005">
                  <c:v>1.9349499999999999</c:v>
                </c:pt>
                <c:pt idx="5006">
                  <c:v>2.1051600000000001</c:v>
                </c:pt>
                <c:pt idx="5007">
                  <c:v>1.92424</c:v>
                </c:pt>
                <c:pt idx="5008">
                  <c:v>2.5857399999999999</c:v>
                </c:pt>
                <c:pt idx="5009">
                  <c:v>2.6995800000000001</c:v>
                </c:pt>
                <c:pt idx="5010">
                  <c:v>2.8543699999999999</c:v>
                </c:pt>
                <c:pt idx="5011">
                  <c:v>2.3429700000000002</c:v>
                </c:pt>
                <c:pt idx="5012">
                  <c:v>1.9732400000000001</c:v>
                </c:pt>
                <c:pt idx="5013">
                  <c:v>2.0928900000000001</c:v>
                </c:pt>
                <c:pt idx="5014">
                  <c:v>2.65517</c:v>
                </c:pt>
                <c:pt idx="5015">
                  <c:v>2.55253</c:v>
                </c:pt>
                <c:pt idx="5016">
                  <c:v>2.0406399999999998</c:v>
                </c:pt>
                <c:pt idx="5017">
                  <c:v>2.2061500000000001</c:v>
                </c:pt>
                <c:pt idx="5018">
                  <c:v>1.5973999999999999</c:v>
                </c:pt>
                <c:pt idx="5019">
                  <c:v>2.0225300000000002</c:v>
                </c:pt>
                <c:pt idx="5020">
                  <c:v>2.7057000000000002</c:v>
                </c:pt>
                <c:pt idx="5021">
                  <c:v>2.5970900000000001</c:v>
                </c:pt>
                <c:pt idx="5022">
                  <c:v>2.47688</c:v>
                </c:pt>
                <c:pt idx="5023">
                  <c:v>2.4649200000000002</c:v>
                </c:pt>
                <c:pt idx="5024">
                  <c:v>2.3519199999999998</c:v>
                </c:pt>
                <c:pt idx="5025">
                  <c:v>1.7371000000000001</c:v>
                </c:pt>
                <c:pt idx="5026">
                  <c:v>2.5825</c:v>
                </c:pt>
                <c:pt idx="5027">
                  <c:v>2.3713899999999999</c:v>
                </c:pt>
                <c:pt idx="5028">
                  <c:v>2.13273</c:v>
                </c:pt>
                <c:pt idx="5029">
                  <c:v>2.6057800000000002</c:v>
                </c:pt>
                <c:pt idx="5030">
                  <c:v>2.2348599999999998</c:v>
                </c:pt>
                <c:pt idx="5031">
                  <c:v>2.2550699999999999</c:v>
                </c:pt>
                <c:pt idx="5032">
                  <c:v>2.6755599999999999</c:v>
                </c:pt>
                <c:pt idx="5033">
                  <c:v>1.8626499999999999</c:v>
                </c:pt>
                <c:pt idx="5034">
                  <c:v>2.3436300000000001</c:v>
                </c:pt>
                <c:pt idx="5035">
                  <c:v>1.0520700000000001</c:v>
                </c:pt>
                <c:pt idx="5036">
                  <c:v>2.2280700000000002</c:v>
                </c:pt>
                <c:pt idx="5037">
                  <c:v>2.0585800000000001</c:v>
                </c:pt>
                <c:pt idx="5038">
                  <c:v>2.6244200000000002</c:v>
                </c:pt>
                <c:pt idx="5039">
                  <c:v>2.1527400000000001</c:v>
                </c:pt>
                <c:pt idx="5040">
                  <c:v>2.1139100000000002</c:v>
                </c:pt>
                <c:pt idx="5041">
                  <c:v>2.19631</c:v>
                </c:pt>
                <c:pt idx="5042">
                  <c:v>2.3521399999999999</c:v>
                </c:pt>
                <c:pt idx="5043">
                  <c:v>2.4750800000000002</c:v>
                </c:pt>
                <c:pt idx="5044">
                  <c:v>1.84745</c:v>
                </c:pt>
                <c:pt idx="5045">
                  <c:v>2.2895300000000001</c:v>
                </c:pt>
                <c:pt idx="5046">
                  <c:v>1.80661</c:v>
                </c:pt>
                <c:pt idx="5047">
                  <c:v>2.4767399999999999</c:v>
                </c:pt>
                <c:pt idx="5048">
                  <c:v>2.8077999999999999</c:v>
                </c:pt>
                <c:pt idx="5049">
                  <c:v>2.3465799999999999</c:v>
                </c:pt>
                <c:pt idx="5050">
                  <c:v>3.21434</c:v>
                </c:pt>
                <c:pt idx="5051">
                  <c:v>2.4594</c:v>
                </c:pt>
                <c:pt idx="5052">
                  <c:v>2.5167799999999998</c:v>
                </c:pt>
                <c:pt idx="5053">
                  <c:v>1.6692499999999999</c:v>
                </c:pt>
                <c:pt idx="5054">
                  <c:v>2.2682199999999999</c:v>
                </c:pt>
                <c:pt idx="5055">
                  <c:v>2.31012</c:v>
                </c:pt>
                <c:pt idx="5056">
                  <c:v>2.8528699999999998</c:v>
                </c:pt>
                <c:pt idx="5057">
                  <c:v>2.8279800000000002</c:v>
                </c:pt>
                <c:pt idx="5058">
                  <c:v>2.0678100000000001</c:v>
                </c:pt>
                <c:pt idx="5059">
                  <c:v>2.14473</c:v>
                </c:pt>
                <c:pt idx="5060">
                  <c:v>2.6046499999999999</c:v>
                </c:pt>
                <c:pt idx="5061">
                  <c:v>2.2004199999999998</c:v>
                </c:pt>
                <c:pt idx="5062">
                  <c:v>2.4859</c:v>
                </c:pt>
                <c:pt idx="5063">
                  <c:v>1.79078</c:v>
                </c:pt>
                <c:pt idx="5064">
                  <c:v>2.1107800000000001</c:v>
                </c:pt>
                <c:pt idx="5065">
                  <c:v>2.5296699999999999</c:v>
                </c:pt>
                <c:pt idx="5066">
                  <c:v>2.4131</c:v>
                </c:pt>
                <c:pt idx="5067">
                  <c:v>2.3522599999999998</c:v>
                </c:pt>
                <c:pt idx="5068">
                  <c:v>2.7202700000000002</c:v>
                </c:pt>
                <c:pt idx="5069">
                  <c:v>2.14676</c:v>
                </c:pt>
                <c:pt idx="5070">
                  <c:v>1.5178400000000001</c:v>
                </c:pt>
                <c:pt idx="5071">
                  <c:v>2.5968499999999999</c:v>
                </c:pt>
                <c:pt idx="5072">
                  <c:v>2.1478999999999999</c:v>
                </c:pt>
                <c:pt idx="5073">
                  <c:v>2.54941</c:v>
                </c:pt>
                <c:pt idx="5074">
                  <c:v>2.4503699999999999</c:v>
                </c:pt>
                <c:pt idx="5075">
                  <c:v>2.0955699999999999</c:v>
                </c:pt>
                <c:pt idx="5076">
                  <c:v>2.0965600000000002</c:v>
                </c:pt>
                <c:pt idx="5077">
                  <c:v>1.93791</c:v>
                </c:pt>
                <c:pt idx="5078">
                  <c:v>2.9469400000000001</c:v>
                </c:pt>
                <c:pt idx="5079">
                  <c:v>2.1210100000000001</c:v>
                </c:pt>
                <c:pt idx="5080">
                  <c:v>2.4077500000000001</c:v>
                </c:pt>
                <c:pt idx="5081">
                  <c:v>1.63361</c:v>
                </c:pt>
                <c:pt idx="5082">
                  <c:v>1.7362599999999999</c:v>
                </c:pt>
                <c:pt idx="5083">
                  <c:v>2.1679200000000001</c:v>
                </c:pt>
                <c:pt idx="5084">
                  <c:v>2.1773699999999998</c:v>
                </c:pt>
                <c:pt idx="5085">
                  <c:v>2.3404600000000002</c:v>
                </c:pt>
                <c:pt idx="5086">
                  <c:v>2.2944499999999999</c:v>
                </c:pt>
                <c:pt idx="5087">
                  <c:v>1.4029100000000001</c:v>
                </c:pt>
                <c:pt idx="5088">
                  <c:v>2.4436800000000001</c:v>
                </c:pt>
                <c:pt idx="5089">
                  <c:v>1.8686700000000001</c:v>
                </c:pt>
                <c:pt idx="5090">
                  <c:v>2.46529</c:v>
                </c:pt>
                <c:pt idx="5091">
                  <c:v>2.4938199999999999</c:v>
                </c:pt>
                <c:pt idx="5092">
                  <c:v>2.6827899999999998</c:v>
                </c:pt>
                <c:pt idx="5093">
                  <c:v>2.4948100000000002</c:v>
                </c:pt>
                <c:pt idx="5094">
                  <c:v>2.02867</c:v>
                </c:pt>
                <c:pt idx="5095">
                  <c:v>2.7974199999999998</c:v>
                </c:pt>
                <c:pt idx="5096">
                  <c:v>2.19556</c:v>
                </c:pt>
                <c:pt idx="5097">
                  <c:v>2.3694299999999999</c:v>
                </c:pt>
                <c:pt idx="5098">
                  <c:v>1.6455299999999999</c:v>
                </c:pt>
                <c:pt idx="5099">
                  <c:v>2.0922499999999999</c:v>
                </c:pt>
                <c:pt idx="5100">
                  <c:v>2.2159800000000001</c:v>
                </c:pt>
                <c:pt idx="5101">
                  <c:v>2.0555400000000001</c:v>
                </c:pt>
                <c:pt idx="5102">
                  <c:v>3.08012</c:v>
                </c:pt>
                <c:pt idx="5103">
                  <c:v>2.7589600000000001</c:v>
                </c:pt>
                <c:pt idx="5104">
                  <c:v>2.2164899999999998</c:v>
                </c:pt>
                <c:pt idx="5105">
                  <c:v>1.9313199999999999</c:v>
                </c:pt>
                <c:pt idx="5106">
                  <c:v>2.1287600000000002</c:v>
                </c:pt>
                <c:pt idx="5107">
                  <c:v>2.3888799999999999</c:v>
                </c:pt>
                <c:pt idx="5108">
                  <c:v>2.1349900000000002</c:v>
                </c:pt>
                <c:pt idx="5109">
                  <c:v>2.38774</c:v>
                </c:pt>
                <c:pt idx="5110">
                  <c:v>2.1797499999999999</c:v>
                </c:pt>
                <c:pt idx="5111">
                  <c:v>2.5290599999999999</c:v>
                </c:pt>
                <c:pt idx="5112">
                  <c:v>1.5060500000000001</c:v>
                </c:pt>
                <c:pt idx="5113">
                  <c:v>2.7359399999999998</c:v>
                </c:pt>
                <c:pt idx="5114">
                  <c:v>2.7970700000000002</c:v>
                </c:pt>
                <c:pt idx="5115">
                  <c:v>2.3275800000000002</c:v>
                </c:pt>
                <c:pt idx="5116">
                  <c:v>2.0044</c:v>
                </c:pt>
                <c:pt idx="5117">
                  <c:v>2.0917300000000001</c:v>
                </c:pt>
                <c:pt idx="5118">
                  <c:v>2.0818400000000001</c:v>
                </c:pt>
                <c:pt idx="5119">
                  <c:v>2.47261</c:v>
                </c:pt>
                <c:pt idx="5120">
                  <c:v>2.62636</c:v>
                </c:pt>
                <c:pt idx="5121">
                  <c:v>2.4132799999999999</c:v>
                </c:pt>
                <c:pt idx="5122">
                  <c:v>2.1258400000000002</c:v>
                </c:pt>
                <c:pt idx="5123">
                  <c:v>1.9726900000000001</c:v>
                </c:pt>
                <c:pt idx="5124">
                  <c:v>1.93283</c:v>
                </c:pt>
                <c:pt idx="5125">
                  <c:v>2.10921</c:v>
                </c:pt>
                <c:pt idx="5126">
                  <c:v>2.2941099999999999</c:v>
                </c:pt>
                <c:pt idx="5127">
                  <c:v>2.5249799999999998</c:v>
                </c:pt>
                <c:pt idx="5128">
                  <c:v>2.2130200000000002</c:v>
                </c:pt>
                <c:pt idx="5129">
                  <c:v>1.58558</c:v>
                </c:pt>
                <c:pt idx="5130">
                  <c:v>2.2335699999999998</c:v>
                </c:pt>
                <c:pt idx="5131">
                  <c:v>2.8982100000000002</c:v>
                </c:pt>
                <c:pt idx="5132">
                  <c:v>2.72207</c:v>
                </c:pt>
                <c:pt idx="5133">
                  <c:v>2.2540499999999999</c:v>
                </c:pt>
                <c:pt idx="5134">
                  <c:v>1.82179</c:v>
                </c:pt>
                <c:pt idx="5135">
                  <c:v>1.9188099999999999</c:v>
                </c:pt>
                <c:pt idx="5136">
                  <c:v>2.1640999999999999</c:v>
                </c:pt>
                <c:pt idx="5137">
                  <c:v>2.37202</c:v>
                </c:pt>
                <c:pt idx="5138">
                  <c:v>2.60711</c:v>
                </c:pt>
                <c:pt idx="5139">
                  <c:v>2.3163100000000001</c:v>
                </c:pt>
                <c:pt idx="5140">
                  <c:v>2.1323400000000001</c:v>
                </c:pt>
                <c:pt idx="5141">
                  <c:v>2.3370600000000001</c:v>
                </c:pt>
                <c:pt idx="5142">
                  <c:v>2.5914899999999998</c:v>
                </c:pt>
                <c:pt idx="5143">
                  <c:v>2.31216</c:v>
                </c:pt>
                <c:pt idx="5144">
                  <c:v>2.2086399999999999</c:v>
                </c:pt>
                <c:pt idx="5145">
                  <c:v>2.1657500000000001</c:v>
                </c:pt>
                <c:pt idx="5146">
                  <c:v>1.6182399999999999</c:v>
                </c:pt>
                <c:pt idx="5147">
                  <c:v>2.5959300000000001</c:v>
                </c:pt>
                <c:pt idx="5148">
                  <c:v>2.8666900000000002</c:v>
                </c:pt>
                <c:pt idx="5149">
                  <c:v>2.83744</c:v>
                </c:pt>
                <c:pt idx="5150">
                  <c:v>1.9553499999999999</c:v>
                </c:pt>
                <c:pt idx="5151">
                  <c:v>2.0823900000000002</c:v>
                </c:pt>
                <c:pt idx="5152">
                  <c:v>1.8565700000000001</c:v>
                </c:pt>
                <c:pt idx="5153">
                  <c:v>2.0205299999999999</c:v>
                </c:pt>
                <c:pt idx="5154">
                  <c:v>2.3716699999999999</c:v>
                </c:pt>
                <c:pt idx="5155">
                  <c:v>2.65991</c:v>
                </c:pt>
                <c:pt idx="5156">
                  <c:v>2.5727600000000002</c:v>
                </c:pt>
                <c:pt idx="5157">
                  <c:v>2.1725500000000002</c:v>
                </c:pt>
                <c:pt idx="5158">
                  <c:v>2.7170399999999999</c:v>
                </c:pt>
                <c:pt idx="5159">
                  <c:v>1.8982000000000001</c:v>
                </c:pt>
                <c:pt idx="5160">
                  <c:v>1.9638100000000001</c:v>
                </c:pt>
                <c:pt idx="5161">
                  <c:v>2.2801900000000002</c:v>
                </c:pt>
                <c:pt idx="5162">
                  <c:v>1.9936400000000001</c:v>
                </c:pt>
                <c:pt idx="5163">
                  <c:v>2.3023099999999999</c:v>
                </c:pt>
                <c:pt idx="5164">
                  <c:v>1.9072100000000001</c:v>
                </c:pt>
                <c:pt idx="5165">
                  <c:v>2.9090799999999999</c:v>
                </c:pt>
                <c:pt idx="5166">
                  <c:v>2.9897200000000002</c:v>
                </c:pt>
                <c:pt idx="5167">
                  <c:v>2.1610200000000002</c:v>
                </c:pt>
                <c:pt idx="5168">
                  <c:v>2.2797700000000001</c:v>
                </c:pt>
                <c:pt idx="5169">
                  <c:v>1.7658700000000001</c:v>
                </c:pt>
                <c:pt idx="5170">
                  <c:v>1.96523</c:v>
                </c:pt>
                <c:pt idx="5171">
                  <c:v>2.35297</c:v>
                </c:pt>
                <c:pt idx="5172">
                  <c:v>2.6646399999999999</c:v>
                </c:pt>
                <c:pt idx="5173">
                  <c:v>2.8592599999999999</c:v>
                </c:pt>
                <c:pt idx="5174">
                  <c:v>1.5343500000000001</c:v>
                </c:pt>
                <c:pt idx="5175">
                  <c:v>2.2267100000000002</c:v>
                </c:pt>
                <c:pt idx="5176">
                  <c:v>2.1472500000000001</c:v>
                </c:pt>
                <c:pt idx="5177">
                  <c:v>2.3944100000000001</c:v>
                </c:pt>
                <c:pt idx="5178">
                  <c:v>2.74112</c:v>
                </c:pt>
                <c:pt idx="5179">
                  <c:v>1.8593299999999999</c:v>
                </c:pt>
                <c:pt idx="5180">
                  <c:v>2.42747</c:v>
                </c:pt>
                <c:pt idx="5181">
                  <c:v>1.4761500000000001</c:v>
                </c:pt>
                <c:pt idx="5182">
                  <c:v>2.3974700000000002</c:v>
                </c:pt>
                <c:pt idx="5183">
                  <c:v>2.5228299999999999</c:v>
                </c:pt>
                <c:pt idx="5184">
                  <c:v>2.5994600000000001</c:v>
                </c:pt>
                <c:pt idx="5185">
                  <c:v>2.7217500000000001</c:v>
                </c:pt>
                <c:pt idx="5186">
                  <c:v>2.01451</c:v>
                </c:pt>
                <c:pt idx="5187">
                  <c:v>2.0332699999999999</c:v>
                </c:pt>
                <c:pt idx="5188">
                  <c:v>2.56982</c:v>
                </c:pt>
                <c:pt idx="5189">
                  <c:v>2.6243699999999999</c:v>
                </c:pt>
                <c:pt idx="5190">
                  <c:v>2.3391600000000001</c:v>
                </c:pt>
                <c:pt idx="5191">
                  <c:v>1.7562</c:v>
                </c:pt>
                <c:pt idx="5192">
                  <c:v>2.25353</c:v>
                </c:pt>
                <c:pt idx="5193">
                  <c:v>2.61259</c:v>
                </c:pt>
                <c:pt idx="5194">
                  <c:v>2.7907000000000002</c:v>
                </c:pt>
                <c:pt idx="5195">
                  <c:v>2.6030099999999998</c:v>
                </c:pt>
                <c:pt idx="5196">
                  <c:v>2.4875400000000001</c:v>
                </c:pt>
                <c:pt idx="5197">
                  <c:v>2.28647</c:v>
                </c:pt>
                <c:pt idx="5198">
                  <c:v>1.8188200000000001</c:v>
                </c:pt>
                <c:pt idx="5199">
                  <c:v>2.0561199999999999</c:v>
                </c:pt>
                <c:pt idx="5200">
                  <c:v>2.4754399999999999</c:v>
                </c:pt>
                <c:pt idx="5201">
                  <c:v>2.5523199999999999</c:v>
                </c:pt>
                <c:pt idx="5202">
                  <c:v>2.4318499999999998</c:v>
                </c:pt>
                <c:pt idx="5203">
                  <c:v>2.6092</c:v>
                </c:pt>
                <c:pt idx="5204">
                  <c:v>2.3936600000000001</c:v>
                </c:pt>
                <c:pt idx="5205">
                  <c:v>1.8224800000000001</c:v>
                </c:pt>
                <c:pt idx="5206">
                  <c:v>1.6012599999999999</c:v>
                </c:pt>
                <c:pt idx="5207">
                  <c:v>1.9549000000000001</c:v>
                </c:pt>
                <c:pt idx="5208">
                  <c:v>2.5464699999999998</c:v>
                </c:pt>
                <c:pt idx="5209">
                  <c:v>2.21597</c:v>
                </c:pt>
                <c:pt idx="5210">
                  <c:v>2.2839900000000002</c:v>
                </c:pt>
                <c:pt idx="5211">
                  <c:v>2.0311900000000001</c:v>
                </c:pt>
                <c:pt idx="5212">
                  <c:v>2.1772800000000001</c:v>
                </c:pt>
                <c:pt idx="5213">
                  <c:v>2.2055500000000001</c:v>
                </c:pt>
                <c:pt idx="5214">
                  <c:v>2.3008299999999999</c:v>
                </c:pt>
                <c:pt idx="5215">
                  <c:v>2.5906899999999999</c:v>
                </c:pt>
                <c:pt idx="5216">
                  <c:v>2.0122800000000001</c:v>
                </c:pt>
                <c:pt idx="5217">
                  <c:v>2.3256999999999999</c:v>
                </c:pt>
                <c:pt idx="5218">
                  <c:v>2.28077</c:v>
                </c:pt>
                <c:pt idx="5219">
                  <c:v>2.7046299999999999</c:v>
                </c:pt>
                <c:pt idx="5220">
                  <c:v>2.5914299999999999</c:v>
                </c:pt>
                <c:pt idx="5221">
                  <c:v>2.5358100000000001</c:v>
                </c:pt>
                <c:pt idx="5222">
                  <c:v>2.3766699999999998</c:v>
                </c:pt>
                <c:pt idx="5223">
                  <c:v>1.7627699999999999</c:v>
                </c:pt>
                <c:pt idx="5224">
                  <c:v>2.5633900000000001</c:v>
                </c:pt>
                <c:pt idx="5225">
                  <c:v>2.28599</c:v>
                </c:pt>
                <c:pt idx="5226">
                  <c:v>2.7647200000000001</c:v>
                </c:pt>
                <c:pt idx="5227">
                  <c:v>2.3903500000000002</c:v>
                </c:pt>
                <c:pt idx="5228">
                  <c:v>1.7774799999999999</c:v>
                </c:pt>
                <c:pt idx="5229">
                  <c:v>1.9239900000000001</c:v>
                </c:pt>
                <c:pt idx="5230">
                  <c:v>2.4074200000000001</c:v>
                </c:pt>
                <c:pt idx="5231">
                  <c:v>2.7008000000000001</c:v>
                </c:pt>
                <c:pt idx="5232">
                  <c:v>2.5195500000000002</c:v>
                </c:pt>
                <c:pt idx="5233">
                  <c:v>2.2881</c:v>
                </c:pt>
                <c:pt idx="5234">
                  <c:v>1.4126799999999999</c:v>
                </c:pt>
                <c:pt idx="5235">
                  <c:v>2.3273199999999998</c:v>
                </c:pt>
                <c:pt idx="5236">
                  <c:v>1.9848300000000001</c:v>
                </c:pt>
                <c:pt idx="5237">
                  <c:v>2.0050699999999999</c:v>
                </c:pt>
                <c:pt idx="5238">
                  <c:v>2.9122499999999998</c:v>
                </c:pt>
                <c:pt idx="5239">
                  <c:v>2.4650599999999998</c:v>
                </c:pt>
                <c:pt idx="5240">
                  <c:v>1.7387900000000001</c:v>
                </c:pt>
                <c:pt idx="5241">
                  <c:v>1.4964200000000001</c:v>
                </c:pt>
                <c:pt idx="5242">
                  <c:v>2.3361700000000001</c:v>
                </c:pt>
                <c:pt idx="5243">
                  <c:v>2.5721699999999998</c:v>
                </c:pt>
                <c:pt idx="5244">
                  <c:v>1.91275</c:v>
                </c:pt>
                <c:pt idx="5245">
                  <c:v>2.50536</c:v>
                </c:pt>
                <c:pt idx="5246">
                  <c:v>2.1831</c:v>
                </c:pt>
                <c:pt idx="5247">
                  <c:v>2.2619600000000002</c:v>
                </c:pt>
                <c:pt idx="5248">
                  <c:v>2.6277499999999998</c:v>
                </c:pt>
                <c:pt idx="5249">
                  <c:v>2.2178100000000001</c:v>
                </c:pt>
                <c:pt idx="5250">
                  <c:v>2.5213399999999999</c:v>
                </c:pt>
                <c:pt idx="5251">
                  <c:v>1.6605399999999999</c:v>
                </c:pt>
                <c:pt idx="5252">
                  <c:v>2.33053</c:v>
                </c:pt>
                <c:pt idx="5253">
                  <c:v>2.0334400000000001</c:v>
                </c:pt>
                <c:pt idx="5254">
                  <c:v>2.2425799999999998</c:v>
                </c:pt>
                <c:pt idx="5255">
                  <c:v>2.2810000000000001</c:v>
                </c:pt>
                <c:pt idx="5256">
                  <c:v>2.6187299999999998</c:v>
                </c:pt>
                <c:pt idx="5257">
                  <c:v>2.6851099999999999</c:v>
                </c:pt>
                <c:pt idx="5258">
                  <c:v>1.99427</c:v>
                </c:pt>
                <c:pt idx="5259">
                  <c:v>1.78481</c:v>
                </c:pt>
                <c:pt idx="5260">
                  <c:v>2.0848399999999998</c:v>
                </c:pt>
                <c:pt idx="5261">
                  <c:v>2.2027800000000002</c:v>
                </c:pt>
                <c:pt idx="5262">
                  <c:v>2.4180700000000002</c:v>
                </c:pt>
                <c:pt idx="5263">
                  <c:v>2.3947099999999999</c:v>
                </c:pt>
                <c:pt idx="5264">
                  <c:v>2.2751000000000001</c:v>
                </c:pt>
                <c:pt idx="5265">
                  <c:v>1.9347300000000001</c:v>
                </c:pt>
                <c:pt idx="5266">
                  <c:v>2.50291</c:v>
                </c:pt>
                <c:pt idx="5267">
                  <c:v>2.35277</c:v>
                </c:pt>
                <c:pt idx="5268">
                  <c:v>2.1312500000000001</c:v>
                </c:pt>
                <c:pt idx="5269">
                  <c:v>1.9920800000000001</c:v>
                </c:pt>
                <c:pt idx="5270">
                  <c:v>2.3700600000000001</c:v>
                </c:pt>
                <c:pt idx="5271">
                  <c:v>2.1132900000000001</c:v>
                </c:pt>
                <c:pt idx="5272">
                  <c:v>3.1316899999999999</c:v>
                </c:pt>
                <c:pt idx="5273">
                  <c:v>2.4607000000000001</c:v>
                </c:pt>
                <c:pt idx="5274">
                  <c:v>2.2498399999999998</c:v>
                </c:pt>
                <c:pt idx="5275">
                  <c:v>2.0171299999999999</c:v>
                </c:pt>
                <c:pt idx="5276">
                  <c:v>1.7883599999999999</c:v>
                </c:pt>
                <c:pt idx="5277">
                  <c:v>2.04034</c:v>
                </c:pt>
                <c:pt idx="5278">
                  <c:v>2.12608</c:v>
                </c:pt>
                <c:pt idx="5279">
                  <c:v>2.5584899999999999</c:v>
                </c:pt>
                <c:pt idx="5280">
                  <c:v>2.1718099999999998</c:v>
                </c:pt>
                <c:pt idx="5281">
                  <c:v>2.0342699999999998</c:v>
                </c:pt>
                <c:pt idx="5282">
                  <c:v>2.5988799999999999</c:v>
                </c:pt>
                <c:pt idx="5283">
                  <c:v>2.6012</c:v>
                </c:pt>
                <c:pt idx="5284">
                  <c:v>2.4168400000000001</c:v>
                </c:pt>
                <c:pt idx="5285">
                  <c:v>1.9708399999999999</c:v>
                </c:pt>
                <c:pt idx="5286">
                  <c:v>1.9240299999999999</c:v>
                </c:pt>
                <c:pt idx="5287">
                  <c:v>2.1869900000000002</c:v>
                </c:pt>
                <c:pt idx="5288">
                  <c:v>2.2227800000000002</c:v>
                </c:pt>
                <c:pt idx="5289">
                  <c:v>2.60263</c:v>
                </c:pt>
                <c:pt idx="5290">
                  <c:v>2.3040500000000002</c:v>
                </c:pt>
                <c:pt idx="5291">
                  <c:v>2.5972400000000002</c:v>
                </c:pt>
                <c:pt idx="5292">
                  <c:v>1.8047500000000001</c:v>
                </c:pt>
                <c:pt idx="5293">
                  <c:v>2.2028799999999999</c:v>
                </c:pt>
                <c:pt idx="5294">
                  <c:v>2.57193</c:v>
                </c:pt>
                <c:pt idx="5295">
                  <c:v>2.2669100000000002</c:v>
                </c:pt>
                <c:pt idx="5296">
                  <c:v>2.9346100000000002</c:v>
                </c:pt>
                <c:pt idx="5297">
                  <c:v>2.1293899999999999</c:v>
                </c:pt>
                <c:pt idx="5298">
                  <c:v>1.69143</c:v>
                </c:pt>
                <c:pt idx="5299">
                  <c:v>1.49657</c:v>
                </c:pt>
                <c:pt idx="5300">
                  <c:v>2.2638799999999999</c:v>
                </c:pt>
                <c:pt idx="5301">
                  <c:v>2.5762499999999999</c:v>
                </c:pt>
                <c:pt idx="5302">
                  <c:v>2.1509100000000001</c:v>
                </c:pt>
                <c:pt idx="5303">
                  <c:v>2.2749700000000002</c:v>
                </c:pt>
                <c:pt idx="5304">
                  <c:v>1.92649</c:v>
                </c:pt>
                <c:pt idx="5305">
                  <c:v>1.8841000000000001</c:v>
                </c:pt>
                <c:pt idx="5306">
                  <c:v>2.4339200000000001</c:v>
                </c:pt>
                <c:pt idx="5307">
                  <c:v>2.5465200000000001</c:v>
                </c:pt>
                <c:pt idx="5308">
                  <c:v>2.16133</c:v>
                </c:pt>
                <c:pt idx="5309">
                  <c:v>1.87131</c:v>
                </c:pt>
                <c:pt idx="5310">
                  <c:v>1.8965099999999999</c:v>
                </c:pt>
                <c:pt idx="5311">
                  <c:v>2.1046900000000002</c:v>
                </c:pt>
                <c:pt idx="5312">
                  <c:v>1.9671000000000001</c:v>
                </c:pt>
                <c:pt idx="5313">
                  <c:v>2.25597</c:v>
                </c:pt>
                <c:pt idx="5314">
                  <c:v>2.22166</c:v>
                </c:pt>
                <c:pt idx="5315">
                  <c:v>2.2239499999999999</c:v>
                </c:pt>
                <c:pt idx="5316">
                  <c:v>1.48777</c:v>
                </c:pt>
                <c:pt idx="5317">
                  <c:v>1.6118399999999999</c:v>
                </c:pt>
                <c:pt idx="5318">
                  <c:v>2.0844499999999999</c:v>
                </c:pt>
                <c:pt idx="5319">
                  <c:v>2.7827799999999998</c:v>
                </c:pt>
                <c:pt idx="5320">
                  <c:v>2.3129900000000001</c:v>
                </c:pt>
                <c:pt idx="5321">
                  <c:v>1.9311799999999999</c:v>
                </c:pt>
                <c:pt idx="5322">
                  <c:v>1.9053800000000001</c:v>
                </c:pt>
                <c:pt idx="5323">
                  <c:v>1.96654</c:v>
                </c:pt>
                <c:pt idx="5324">
                  <c:v>1.8962600000000001</c:v>
                </c:pt>
                <c:pt idx="5325">
                  <c:v>1.72492</c:v>
                </c:pt>
                <c:pt idx="5326">
                  <c:v>2.4540700000000002</c:v>
                </c:pt>
                <c:pt idx="5327">
                  <c:v>2.73848</c:v>
                </c:pt>
                <c:pt idx="5328">
                  <c:v>2.1478899999999999</c:v>
                </c:pt>
                <c:pt idx="5329">
                  <c:v>2.39852</c:v>
                </c:pt>
                <c:pt idx="5330">
                  <c:v>1.9341900000000001</c:v>
                </c:pt>
                <c:pt idx="5331">
                  <c:v>1.6129899999999999</c:v>
                </c:pt>
                <c:pt idx="5332">
                  <c:v>2.7084600000000001</c:v>
                </c:pt>
                <c:pt idx="5333">
                  <c:v>3.05565</c:v>
                </c:pt>
                <c:pt idx="5334">
                  <c:v>2.9271099999999999</c:v>
                </c:pt>
                <c:pt idx="5335">
                  <c:v>2.3561700000000001</c:v>
                </c:pt>
                <c:pt idx="5336">
                  <c:v>2.0524</c:v>
                </c:pt>
                <c:pt idx="5337">
                  <c:v>2.3770799999999999</c:v>
                </c:pt>
                <c:pt idx="5338">
                  <c:v>2.3108599999999999</c:v>
                </c:pt>
                <c:pt idx="5339">
                  <c:v>2.5560700000000001</c:v>
                </c:pt>
                <c:pt idx="5340">
                  <c:v>1.69096</c:v>
                </c:pt>
                <c:pt idx="5341">
                  <c:v>1.6627700000000001</c:v>
                </c:pt>
                <c:pt idx="5342">
                  <c:v>1.5852900000000001</c:v>
                </c:pt>
                <c:pt idx="5343">
                  <c:v>2.3288899999999999</c:v>
                </c:pt>
                <c:pt idx="5344">
                  <c:v>2.7515299999999998</c:v>
                </c:pt>
                <c:pt idx="5345">
                  <c:v>2.0869900000000001</c:v>
                </c:pt>
                <c:pt idx="5346">
                  <c:v>2.6546400000000001</c:v>
                </c:pt>
                <c:pt idx="5347">
                  <c:v>2.0685799999999999</c:v>
                </c:pt>
                <c:pt idx="5348">
                  <c:v>2.0274299999999998</c:v>
                </c:pt>
                <c:pt idx="5349">
                  <c:v>2.68282</c:v>
                </c:pt>
                <c:pt idx="5350">
                  <c:v>2.4120200000000001</c:v>
                </c:pt>
                <c:pt idx="5351">
                  <c:v>2.9872200000000002</c:v>
                </c:pt>
                <c:pt idx="5352">
                  <c:v>2.1985399999999999</c:v>
                </c:pt>
                <c:pt idx="5353">
                  <c:v>2.3872800000000001</c:v>
                </c:pt>
                <c:pt idx="5354">
                  <c:v>1.84493</c:v>
                </c:pt>
                <c:pt idx="5355">
                  <c:v>2.5712199999999998</c:v>
                </c:pt>
                <c:pt idx="5356">
                  <c:v>2.60812</c:v>
                </c:pt>
                <c:pt idx="5357">
                  <c:v>2.1601300000000001</c:v>
                </c:pt>
                <c:pt idx="5358">
                  <c:v>2.54129</c:v>
                </c:pt>
                <c:pt idx="5359">
                  <c:v>1.4027799999999999</c:v>
                </c:pt>
                <c:pt idx="5360">
                  <c:v>2.49457</c:v>
                </c:pt>
                <c:pt idx="5361">
                  <c:v>2.6192700000000002</c:v>
                </c:pt>
                <c:pt idx="5362">
                  <c:v>2.6338599999999999</c:v>
                </c:pt>
                <c:pt idx="5363">
                  <c:v>2.8035000000000001</c:v>
                </c:pt>
                <c:pt idx="5364">
                  <c:v>2.2564600000000001</c:v>
                </c:pt>
                <c:pt idx="5365">
                  <c:v>2.09931</c:v>
                </c:pt>
                <c:pt idx="5366">
                  <c:v>2.0419399999999999</c:v>
                </c:pt>
                <c:pt idx="5367">
                  <c:v>2.42997</c:v>
                </c:pt>
                <c:pt idx="5368">
                  <c:v>2.33908</c:v>
                </c:pt>
                <c:pt idx="5369">
                  <c:v>1.9745299999999999</c:v>
                </c:pt>
                <c:pt idx="5370">
                  <c:v>2.0801099999999999</c:v>
                </c:pt>
                <c:pt idx="5371">
                  <c:v>1.8947700000000001</c:v>
                </c:pt>
                <c:pt idx="5372">
                  <c:v>2.3795000000000002</c:v>
                </c:pt>
                <c:pt idx="5373">
                  <c:v>2.9362499999999998</c:v>
                </c:pt>
                <c:pt idx="5374">
                  <c:v>2.3750200000000001</c:v>
                </c:pt>
                <c:pt idx="5375">
                  <c:v>2.4556499999999999</c:v>
                </c:pt>
                <c:pt idx="5376">
                  <c:v>1.61825</c:v>
                </c:pt>
                <c:pt idx="5377">
                  <c:v>1.6441300000000001</c:v>
                </c:pt>
                <c:pt idx="5378">
                  <c:v>2.1644999999999999</c:v>
                </c:pt>
                <c:pt idx="5379">
                  <c:v>2.3142499999999999</c:v>
                </c:pt>
                <c:pt idx="5380">
                  <c:v>2.7399399999999998</c:v>
                </c:pt>
                <c:pt idx="5381">
                  <c:v>2.11564</c:v>
                </c:pt>
                <c:pt idx="5382">
                  <c:v>2.3941499999999998</c:v>
                </c:pt>
                <c:pt idx="5383">
                  <c:v>2.1900599999999999</c:v>
                </c:pt>
                <c:pt idx="5384">
                  <c:v>1.74756</c:v>
                </c:pt>
                <c:pt idx="5385">
                  <c:v>2.1024699999999998</c:v>
                </c:pt>
                <c:pt idx="5386">
                  <c:v>2.0174799999999999</c:v>
                </c:pt>
                <c:pt idx="5387">
                  <c:v>2.6192799999999998</c:v>
                </c:pt>
                <c:pt idx="5388">
                  <c:v>2.1835100000000001</c:v>
                </c:pt>
                <c:pt idx="5389">
                  <c:v>2.48874</c:v>
                </c:pt>
                <c:pt idx="5390">
                  <c:v>2.11354</c:v>
                </c:pt>
                <c:pt idx="5391">
                  <c:v>1.6233299999999999</c:v>
                </c:pt>
                <c:pt idx="5392">
                  <c:v>1.40602</c:v>
                </c:pt>
                <c:pt idx="5393">
                  <c:v>2.46922</c:v>
                </c:pt>
                <c:pt idx="5394">
                  <c:v>3.3652899999999999</c:v>
                </c:pt>
                <c:pt idx="5395">
                  <c:v>2.44584</c:v>
                </c:pt>
                <c:pt idx="5396">
                  <c:v>2.4722499999999998</c:v>
                </c:pt>
                <c:pt idx="5397">
                  <c:v>2.0320800000000001</c:v>
                </c:pt>
                <c:pt idx="5398">
                  <c:v>2.2019899999999999</c:v>
                </c:pt>
                <c:pt idx="5399">
                  <c:v>2.5384699999999998</c:v>
                </c:pt>
                <c:pt idx="5400">
                  <c:v>2.1892800000000001</c:v>
                </c:pt>
                <c:pt idx="5401">
                  <c:v>1.99908</c:v>
                </c:pt>
                <c:pt idx="5402">
                  <c:v>1.45059</c:v>
                </c:pt>
                <c:pt idx="5403">
                  <c:v>1.80044</c:v>
                </c:pt>
                <c:pt idx="5404">
                  <c:v>1.9709399999999999</c:v>
                </c:pt>
                <c:pt idx="5405">
                  <c:v>1.8339300000000001</c:v>
                </c:pt>
                <c:pt idx="5406">
                  <c:v>1.9354</c:v>
                </c:pt>
                <c:pt idx="5407">
                  <c:v>1.86215</c:v>
                </c:pt>
                <c:pt idx="5408">
                  <c:v>2.3055599999999998</c:v>
                </c:pt>
                <c:pt idx="5409">
                  <c:v>1.77616</c:v>
                </c:pt>
                <c:pt idx="5410">
                  <c:v>2.4754200000000002</c:v>
                </c:pt>
                <c:pt idx="5411">
                  <c:v>2.6519599999999999</c:v>
                </c:pt>
                <c:pt idx="5412">
                  <c:v>2.3120599999999998</c:v>
                </c:pt>
                <c:pt idx="5413">
                  <c:v>2.7043699999999999</c:v>
                </c:pt>
                <c:pt idx="5414">
                  <c:v>2.1237900000000001</c:v>
                </c:pt>
                <c:pt idx="5415">
                  <c:v>2.3308399999999998</c:v>
                </c:pt>
                <c:pt idx="5416">
                  <c:v>2.47342</c:v>
                </c:pt>
                <c:pt idx="5417">
                  <c:v>2.9061599999999999</c:v>
                </c:pt>
                <c:pt idx="5418">
                  <c:v>2.0678200000000002</c:v>
                </c:pt>
                <c:pt idx="5419">
                  <c:v>2.2141500000000001</c:v>
                </c:pt>
                <c:pt idx="5420">
                  <c:v>1.45421</c:v>
                </c:pt>
                <c:pt idx="5421">
                  <c:v>1.90273</c:v>
                </c:pt>
                <c:pt idx="5422">
                  <c:v>2.1434600000000001</c:v>
                </c:pt>
                <c:pt idx="5423">
                  <c:v>2.2802500000000001</c:v>
                </c:pt>
                <c:pt idx="5424">
                  <c:v>2.7072400000000001</c:v>
                </c:pt>
                <c:pt idx="5425">
                  <c:v>2.4885000000000002</c:v>
                </c:pt>
                <c:pt idx="5426">
                  <c:v>2.6326700000000001</c:v>
                </c:pt>
                <c:pt idx="5427">
                  <c:v>2.0609799999999998</c:v>
                </c:pt>
                <c:pt idx="5428">
                  <c:v>2.3112300000000001</c:v>
                </c:pt>
                <c:pt idx="5429">
                  <c:v>2.6560000000000001</c:v>
                </c:pt>
                <c:pt idx="5430">
                  <c:v>2.44381</c:v>
                </c:pt>
                <c:pt idx="5431">
                  <c:v>2.5118900000000002</c:v>
                </c:pt>
                <c:pt idx="5432">
                  <c:v>1.9212199999999999</c:v>
                </c:pt>
                <c:pt idx="5433">
                  <c:v>2.4685299999999999</c:v>
                </c:pt>
                <c:pt idx="5434">
                  <c:v>2.6932800000000001</c:v>
                </c:pt>
                <c:pt idx="5435">
                  <c:v>1.85236</c:v>
                </c:pt>
                <c:pt idx="5436">
                  <c:v>2.0288300000000001</c:v>
                </c:pt>
                <c:pt idx="5437">
                  <c:v>2.5607799999999998</c:v>
                </c:pt>
                <c:pt idx="5438">
                  <c:v>2.44279</c:v>
                </c:pt>
                <c:pt idx="5439">
                  <c:v>2.7806799999999998</c:v>
                </c:pt>
                <c:pt idx="5440">
                  <c:v>2.8450500000000001</c:v>
                </c:pt>
                <c:pt idx="5441">
                  <c:v>2.4865300000000001</c:v>
                </c:pt>
                <c:pt idx="5442">
                  <c:v>2.3486400000000001</c:v>
                </c:pt>
                <c:pt idx="5443">
                  <c:v>2.1779799999999998</c:v>
                </c:pt>
                <c:pt idx="5444">
                  <c:v>2.3278300000000001</c:v>
                </c:pt>
                <c:pt idx="5445">
                  <c:v>2.2978800000000001</c:v>
                </c:pt>
                <c:pt idx="5446">
                  <c:v>2.36836</c:v>
                </c:pt>
                <c:pt idx="5447">
                  <c:v>2.1937199999999999</c:v>
                </c:pt>
                <c:pt idx="5448">
                  <c:v>2.0805400000000001</c:v>
                </c:pt>
                <c:pt idx="5449">
                  <c:v>2.2971699999999999</c:v>
                </c:pt>
                <c:pt idx="5450">
                  <c:v>1.6854100000000001</c:v>
                </c:pt>
                <c:pt idx="5451">
                  <c:v>2.5176500000000002</c:v>
                </c:pt>
                <c:pt idx="5452">
                  <c:v>2.6795</c:v>
                </c:pt>
                <c:pt idx="5453">
                  <c:v>2.8926099999999999</c:v>
                </c:pt>
                <c:pt idx="5454">
                  <c:v>2.0083700000000002</c:v>
                </c:pt>
                <c:pt idx="5455">
                  <c:v>2.2546200000000001</c:v>
                </c:pt>
                <c:pt idx="5456">
                  <c:v>2.1556000000000002</c:v>
                </c:pt>
                <c:pt idx="5457">
                  <c:v>2.52719</c:v>
                </c:pt>
                <c:pt idx="5458">
                  <c:v>2.6286100000000001</c:v>
                </c:pt>
                <c:pt idx="5459">
                  <c:v>2.5219900000000002</c:v>
                </c:pt>
                <c:pt idx="5460">
                  <c:v>2.4992800000000002</c:v>
                </c:pt>
                <c:pt idx="5461">
                  <c:v>2.7723499999999999</c:v>
                </c:pt>
                <c:pt idx="5462">
                  <c:v>2.4561999999999999</c:v>
                </c:pt>
                <c:pt idx="5463">
                  <c:v>2.3981400000000002</c:v>
                </c:pt>
                <c:pt idx="5464">
                  <c:v>2.4580500000000001</c:v>
                </c:pt>
                <c:pt idx="5465">
                  <c:v>1.78251</c:v>
                </c:pt>
                <c:pt idx="5466">
                  <c:v>2.4742999999999999</c:v>
                </c:pt>
                <c:pt idx="5467">
                  <c:v>1.71469</c:v>
                </c:pt>
                <c:pt idx="5468">
                  <c:v>2.7538999999999998</c:v>
                </c:pt>
                <c:pt idx="5469">
                  <c:v>2.96021</c:v>
                </c:pt>
                <c:pt idx="5470">
                  <c:v>2.9595099999999999</c:v>
                </c:pt>
                <c:pt idx="5471">
                  <c:v>2.48387</c:v>
                </c:pt>
                <c:pt idx="5472">
                  <c:v>1.9295</c:v>
                </c:pt>
                <c:pt idx="5473">
                  <c:v>2.1560800000000002</c:v>
                </c:pt>
                <c:pt idx="5474">
                  <c:v>2.1408999999999998</c:v>
                </c:pt>
                <c:pt idx="5475">
                  <c:v>2.7343600000000001</c:v>
                </c:pt>
                <c:pt idx="5476">
                  <c:v>2.3376999999999999</c:v>
                </c:pt>
                <c:pt idx="5477">
                  <c:v>2.8948</c:v>
                </c:pt>
                <c:pt idx="5478">
                  <c:v>2.3629199999999999</c:v>
                </c:pt>
                <c:pt idx="5479">
                  <c:v>2.41317</c:v>
                </c:pt>
                <c:pt idx="5480">
                  <c:v>2.0682499999999999</c:v>
                </c:pt>
                <c:pt idx="5481">
                  <c:v>1.9666600000000001</c:v>
                </c:pt>
                <c:pt idx="5482">
                  <c:v>2.4313400000000001</c:v>
                </c:pt>
                <c:pt idx="5483">
                  <c:v>2.19062</c:v>
                </c:pt>
                <c:pt idx="5484">
                  <c:v>2.3721000000000001</c:v>
                </c:pt>
                <c:pt idx="5485">
                  <c:v>2.1866400000000001</c:v>
                </c:pt>
                <c:pt idx="5486">
                  <c:v>2.1598600000000001</c:v>
                </c:pt>
                <c:pt idx="5487">
                  <c:v>2.1005199999999999</c:v>
                </c:pt>
                <c:pt idx="5488">
                  <c:v>1.82301</c:v>
                </c:pt>
                <c:pt idx="5489">
                  <c:v>2.3170299999999999</c:v>
                </c:pt>
                <c:pt idx="5490">
                  <c:v>2.0903700000000001</c:v>
                </c:pt>
                <c:pt idx="5491">
                  <c:v>2.5265499999999999</c:v>
                </c:pt>
                <c:pt idx="5492">
                  <c:v>2.06406</c:v>
                </c:pt>
                <c:pt idx="5493">
                  <c:v>1.6362300000000001</c:v>
                </c:pt>
                <c:pt idx="5494">
                  <c:v>2.23942</c:v>
                </c:pt>
                <c:pt idx="5495">
                  <c:v>2.3012999999999999</c:v>
                </c:pt>
                <c:pt idx="5496">
                  <c:v>2.4216899999999999</c:v>
                </c:pt>
                <c:pt idx="5497">
                  <c:v>2.2312500000000002</c:v>
                </c:pt>
                <c:pt idx="5498">
                  <c:v>2.10121</c:v>
                </c:pt>
                <c:pt idx="5499">
                  <c:v>2.3498299999999999</c:v>
                </c:pt>
                <c:pt idx="5500">
                  <c:v>1.92455</c:v>
                </c:pt>
                <c:pt idx="5501">
                  <c:v>2.8528500000000001</c:v>
                </c:pt>
                <c:pt idx="5502">
                  <c:v>2.9139499999999998</c:v>
                </c:pt>
                <c:pt idx="5503">
                  <c:v>2.8568199999999999</c:v>
                </c:pt>
                <c:pt idx="5504">
                  <c:v>2.6700300000000001</c:v>
                </c:pt>
                <c:pt idx="5505">
                  <c:v>2.3472400000000002</c:v>
                </c:pt>
                <c:pt idx="5506">
                  <c:v>1.9416100000000001</c:v>
                </c:pt>
                <c:pt idx="5507">
                  <c:v>2.0505900000000001</c:v>
                </c:pt>
                <c:pt idx="5508">
                  <c:v>2.11389</c:v>
                </c:pt>
                <c:pt idx="5509">
                  <c:v>2.5940099999999999</c:v>
                </c:pt>
                <c:pt idx="5510">
                  <c:v>2.69598</c:v>
                </c:pt>
                <c:pt idx="5511">
                  <c:v>1.7213000000000001</c:v>
                </c:pt>
                <c:pt idx="5512">
                  <c:v>1.9019699999999999</c:v>
                </c:pt>
                <c:pt idx="5513">
                  <c:v>2.9798200000000001</c:v>
                </c:pt>
                <c:pt idx="5514">
                  <c:v>2.76553</c:v>
                </c:pt>
                <c:pt idx="5515">
                  <c:v>2.59754</c:v>
                </c:pt>
                <c:pt idx="5516">
                  <c:v>3.0416400000000001</c:v>
                </c:pt>
                <c:pt idx="5517">
                  <c:v>2.4312100000000001</c:v>
                </c:pt>
                <c:pt idx="5518">
                  <c:v>1.98166</c:v>
                </c:pt>
                <c:pt idx="5519">
                  <c:v>2.1874099999999999</c:v>
                </c:pt>
                <c:pt idx="5520">
                  <c:v>2.6273399999999998</c:v>
                </c:pt>
                <c:pt idx="5521">
                  <c:v>2.90374</c:v>
                </c:pt>
                <c:pt idx="5522">
                  <c:v>2.3698700000000001</c:v>
                </c:pt>
                <c:pt idx="5523">
                  <c:v>2.24411</c:v>
                </c:pt>
                <c:pt idx="5524">
                  <c:v>1.9885699999999999</c:v>
                </c:pt>
                <c:pt idx="5525">
                  <c:v>1.83036</c:v>
                </c:pt>
                <c:pt idx="5526">
                  <c:v>2.59579</c:v>
                </c:pt>
                <c:pt idx="5527">
                  <c:v>2.4683700000000002</c:v>
                </c:pt>
                <c:pt idx="5528">
                  <c:v>2.4418199999999999</c:v>
                </c:pt>
                <c:pt idx="5529">
                  <c:v>2.0059499999999999</c:v>
                </c:pt>
                <c:pt idx="5530">
                  <c:v>2.5219499999999999</c:v>
                </c:pt>
                <c:pt idx="5531">
                  <c:v>2.5899100000000002</c:v>
                </c:pt>
                <c:pt idx="5532">
                  <c:v>2.68893</c:v>
                </c:pt>
                <c:pt idx="5533">
                  <c:v>2.6383200000000002</c:v>
                </c:pt>
                <c:pt idx="5534">
                  <c:v>2.3274400000000002</c:v>
                </c:pt>
                <c:pt idx="5535">
                  <c:v>2.3582399999999999</c:v>
                </c:pt>
                <c:pt idx="5536">
                  <c:v>1.77891</c:v>
                </c:pt>
                <c:pt idx="5537">
                  <c:v>2.2202999999999999</c:v>
                </c:pt>
                <c:pt idx="5538">
                  <c:v>2.7938499999999999</c:v>
                </c:pt>
                <c:pt idx="5539">
                  <c:v>2.9239199999999999</c:v>
                </c:pt>
                <c:pt idx="5540">
                  <c:v>2.8374799999999998</c:v>
                </c:pt>
                <c:pt idx="5541">
                  <c:v>2.3807</c:v>
                </c:pt>
                <c:pt idx="5542">
                  <c:v>2.6015100000000002</c:v>
                </c:pt>
                <c:pt idx="5543">
                  <c:v>2.4999099999999999</c:v>
                </c:pt>
                <c:pt idx="5544">
                  <c:v>1.7505900000000001</c:v>
                </c:pt>
                <c:pt idx="5545">
                  <c:v>2.0898500000000002</c:v>
                </c:pt>
                <c:pt idx="5546">
                  <c:v>1.9911799999999999</c:v>
                </c:pt>
                <c:pt idx="5547">
                  <c:v>2.4193799999999999</c:v>
                </c:pt>
                <c:pt idx="5548">
                  <c:v>2.57246</c:v>
                </c:pt>
                <c:pt idx="5549">
                  <c:v>3.0693000000000001</c:v>
                </c:pt>
                <c:pt idx="5550">
                  <c:v>2.1885400000000002</c:v>
                </c:pt>
                <c:pt idx="5551">
                  <c:v>2.2298</c:v>
                </c:pt>
                <c:pt idx="5552">
                  <c:v>1.84307</c:v>
                </c:pt>
                <c:pt idx="5553">
                  <c:v>1.9806299999999999</c:v>
                </c:pt>
                <c:pt idx="5554">
                  <c:v>2.7137500000000001</c:v>
                </c:pt>
                <c:pt idx="5555">
                  <c:v>1.83314</c:v>
                </c:pt>
                <c:pt idx="5556">
                  <c:v>2.35921</c:v>
                </c:pt>
                <c:pt idx="5557">
                  <c:v>2.44625</c:v>
                </c:pt>
                <c:pt idx="5558">
                  <c:v>1.9155500000000001</c:v>
                </c:pt>
                <c:pt idx="5559">
                  <c:v>2.8901699999999999</c:v>
                </c:pt>
                <c:pt idx="5560">
                  <c:v>2.6575199999999999</c:v>
                </c:pt>
                <c:pt idx="5561">
                  <c:v>2.80796</c:v>
                </c:pt>
                <c:pt idx="5562">
                  <c:v>2.3298999999999999</c:v>
                </c:pt>
                <c:pt idx="5563">
                  <c:v>2.1981000000000002</c:v>
                </c:pt>
                <c:pt idx="5564">
                  <c:v>1.85741</c:v>
                </c:pt>
                <c:pt idx="5565">
                  <c:v>2.3658399999999999</c:v>
                </c:pt>
                <c:pt idx="5566">
                  <c:v>2.7438799999999999</c:v>
                </c:pt>
                <c:pt idx="5567">
                  <c:v>2.35453</c:v>
                </c:pt>
                <c:pt idx="5568">
                  <c:v>2.34267</c:v>
                </c:pt>
                <c:pt idx="5569">
                  <c:v>1.7360800000000001</c:v>
                </c:pt>
                <c:pt idx="5570">
                  <c:v>2.4942700000000002</c:v>
                </c:pt>
                <c:pt idx="5571">
                  <c:v>2.2444199999999999</c:v>
                </c:pt>
                <c:pt idx="5572">
                  <c:v>2.5229900000000001</c:v>
                </c:pt>
                <c:pt idx="5573">
                  <c:v>2.2784599999999999</c:v>
                </c:pt>
                <c:pt idx="5574">
                  <c:v>2.3117800000000002</c:v>
                </c:pt>
                <c:pt idx="5575">
                  <c:v>2.1183399999999999</c:v>
                </c:pt>
                <c:pt idx="5576">
                  <c:v>2.08318</c:v>
                </c:pt>
                <c:pt idx="5577">
                  <c:v>2.73211</c:v>
                </c:pt>
                <c:pt idx="5578">
                  <c:v>2.4933000000000001</c:v>
                </c:pt>
                <c:pt idx="5579">
                  <c:v>1.8740000000000001</c:v>
                </c:pt>
                <c:pt idx="5580">
                  <c:v>2.1908300000000001</c:v>
                </c:pt>
                <c:pt idx="5581">
                  <c:v>2.0879599999999998</c:v>
                </c:pt>
                <c:pt idx="5582">
                  <c:v>2.3903599999999998</c:v>
                </c:pt>
                <c:pt idx="5583">
                  <c:v>2.5523699999999998</c:v>
                </c:pt>
                <c:pt idx="5584">
                  <c:v>2.57124</c:v>
                </c:pt>
                <c:pt idx="5585">
                  <c:v>2.4282400000000002</c:v>
                </c:pt>
                <c:pt idx="5586">
                  <c:v>1.59779</c:v>
                </c:pt>
                <c:pt idx="5587">
                  <c:v>2.3247300000000002</c:v>
                </c:pt>
                <c:pt idx="5588">
                  <c:v>2.0394299999999999</c:v>
                </c:pt>
                <c:pt idx="5589">
                  <c:v>2.5497700000000001</c:v>
                </c:pt>
                <c:pt idx="5590">
                  <c:v>2.2675399999999999</c:v>
                </c:pt>
                <c:pt idx="5591">
                  <c:v>2.4585599999999999</c:v>
                </c:pt>
                <c:pt idx="5592">
                  <c:v>2.4960399999999998</c:v>
                </c:pt>
                <c:pt idx="5593">
                  <c:v>2.5815100000000002</c:v>
                </c:pt>
                <c:pt idx="5594">
                  <c:v>2.6597400000000002</c:v>
                </c:pt>
                <c:pt idx="5595">
                  <c:v>2.4179200000000001</c:v>
                </c:pt>
                <c:pt idx="5596">
                  <c:v>2.3568500000000001</c:v>
                </c:pt>
                <c:pt idx="5597">
                  <c:v>1.8973500000000001</c:v>
                </c:pt>
                <c:pt idx="5598">
                  <c:v>2.1776499999999999</c:v>
                </c:pt>
                <c:pt idx="5599">
                  <c:v>2.5889600000000002</c:v>
                </c:pt>
                <c:pt idx="5600">
                  <c:v>2.2626499999999998</c:v>
                </c:pt>
                <c:pt idx="5601">
                  <c:v>3.1436899999999999</c:v>
                </c:pt>
                <c:pt idx="5602">
                  <c:v>2.46529</c:v>
                </c:pt>
                <c:pt idx="5603">
                  <c:v>1.88425</c:v>
                </c:pt>
                <c:pt idx="5604">
                  <c:v>2.2863000000000002</c:v>
                </c:pt>
                <c:pt idx="5605">
                  <c:v>2.3052100000000002</c:v>
                </c:pt>
                <c:pt idx="5606">
                  <c:v>2.7289599999999998</c:v>
                </c:pt>
                <c:pt idx="5607">
                  <c:v>2.20119</c:v>
                </c:pt>
                <c:pt idx="5608">
                  <c:v>2.9098700000000002</c:v>
                </c:pt>
                <c:pt idx="5609">
                  <c:v>2.2975099999999999</c:v>
                </c:pt>
                <c:pt idx="5610">
                  <c:v>2.1023800000000001</c:v>
                </c:pt>
                <c:pt idx="5611">
                  <c:v>2.6506400000000001</c:v>
                </c:pt>
                <c:pt idx="5612">
                  <c:v>2.61395</c:v>
                </c:pt>
                <c:pt idx="5613">
                  <c:v>2.71116</c:v>
                </c:pt>
                <c:pt idx="5614">
                  <c:v>2.2620200000000001</c:v>
                </c:pt>
                <c:pt idx="5615">
                  <c:v>2.2035300000000002</c:v>
                </c:pt>
                <c:pt idx="5616">
                  <c:v>2.1356799999999998</c:v>
                </c:pt>
                <c:pt idx="5617">
                  <c:v>2.08609</c:v>
                </c:pt>
                <c:pt idx="5618">
                  <c:v>2.7791299999999999</c:v>
                </c:pt>
                <c:pt idx="5619">
                  <c:v>2.6911100000000001</c:v>
                </c:pt>
                <c:pt idx="5620">
                  <c:v>1.9065300000000001</c:v>
                </c:pt>
                <c:pt idx="5621">
                  <c:v>1.8888799999999999</c:v>
                </c:pt>
                <c:pt idx="5622">
                  <c:v>2.6530100000000001</c:v>
                </c:pt>
                <c:pt idx="5623">
                  <c:v>2.7688799999999998</c:v>
                </c:pt>
                <c:pt idx="5624">
                  <c:v>2.36084</c:v>
                </c:pt>
                <c:pt idx="5625">
                  <c:v>2.3558400000000002</c:v>
                </c:pt>
                <c:pt idx="5626">
                  <c:v>2.1315900000000001</c:v>
                </c:pt>
                <c:pt idx="5627">
                  <c:v>2.2969300000000001</c:v>
                </c:pt>
                <c:pt idx="5628">
                  <c:v>2.87975</c:v>
                </c:pt>
                <c:pt idx="5629">
                  <c:v>2.8157700000000001</c:v>
                </c:pt>
                <c:pt idx="5630">
                  <c:v>2.4373999999999998</c:v>
                </c:pt>
                <c:pt idx="5631">
                  <c:v>1.7682599999999999</c:v>
                </c:pt>
                <c:pt idx="5632">
                  <c:v>2.3193800000000002</c:v>
                </c:pt>
                <c:pt idx="5633">
                  <c:v>2.2623700000000002</c:v>
                </c:pt>
                <c:pt idx="5634">
                  <c:v>1.8740699999999999</c:v>
                </c:pt>
                <c:pt idx="5635">
                  <c:v>2.39473</c:v>
                </c:pt>
                <c:pt idx="5636">
                  <c:v>2.4050099999999999</c:v>
                </c:pt>
                <c:pt idx="5637">
                  <c:v>2.5902599999999998</c:v>
                </c:pt>
                <c:pt idx="5638">
                  <c:v>1.8499099999999999</c:v>
                </c:pt>
                <c:pt idx="5639">
                  <c:v>2.63612</c:v>
                </c:pt>
                <c:pt idx="5640">
                  <c:v>2.6295199999999999</c:v>
                </c:pt>
                <c:pt idx="5641">
                  <c:v>2.1946599999999998</c:v>
                </c:pt>
                <c:pt idx="5642">
                  <c:v>2.37731</c:v>
                </c:pt>
                <c:pt idx="5643">
                  <c:v>1.9968699999999999</c:v>
                </c:pt>
                <c:pt idx="5644">
                  <c:v>2.0102699999999998</c:v>
                </c:pt>
                <c:pt idx="5645">
                  <c:v>2.1654200000000001</c:v>
                </c:pt>
                <c:pt idx="5646">
                  <c:v>3.1298599999999999</c:v>
                </c:pt>
                <c:pt idx="5647">
                  <c:v>3.0619999999999998</c:v>
                </c:pt>
                <c:pt idx="5648">
                  <c:v>2.1157300000000001</c:v>
                </c:pt>
                <c:pt idx="5649">
                  <c:v>2.0350799999999998</c:v>
                </c:pt>
                <c:pt idx="5650">
                  <c:v>2.0799099999999999</c:v>
                </c:pt>
                <c:pt idx="5651">
                  <c:v>2.17517</c:v>
                </c:pt>
                <c:pt idx="5652">
                  <c:v>2.0267900000000001</c:v>
                </c:pt>
                <c:pt idx="5653">
                  <c:v>2.00386</c:v>
                </c:pt>
                <c:pt idx="5654">
                  <c:v>2.09836</c:v>
                </c:pt>
                <c:pt idx="5655">
                  <c:v>2.1813799999999999</c:v>
                </c:pt>
                <c:pt idx="5656">
                  <c:v>2.7339099999999998</c:v>
                </c:pt>
                <c:pt idx="5657">
                  <c:v>2.6414399999999998</c:v>
                </c:pt>
                <c:pt idx="5658">
                  <c:v>1.8137300000000001</c:v>
                </c:pt>
                <c:pt idx="5659">
                  <c:v>0.36329699999999998</c:v>
                </c:pt>
                <c:pt idx="5660">
                  <c:v>0.57469400000000004</c:v>
                </c:pt>
                <c:pt idx="5661">
                  <c:v>1.28427E-2</c:v>
                </c:pt>
                <c:pt idx="5662">
                  <c:v>-6.0202200000000001</c:v>
                </c:pt>
                <c:pt idx="5663">
                  <c:v>-11.964700000000001</c:v>
                </c:pt>
                <c:pt idx="5664">
                  <c:v>-12.8926</c:v>
                </c:pt>
                <c:pt idx="5665">
                  <c:v>-13.963100000000001</c:v>
                </c:pt>
                <c:pt idx="5666">
                  <c:v>-13.446099999999999</c:v>
                </c:pt>
                <c:pt idx="5667">
                  <c:v>-13.554500000000001</c:v>
                </c:pt>
                <c:pt idx="5668">
                  <c:v>-13.997299999999999</c:v>
                </c:pt>
                <c:pt idx="5669">
                  <c:v>-15.3666</c:v>
                </c:pt>
                <c:pt idx="5670">
                  <c:v>-16.514099999999999</c:v>
                </c:pt>
                <c:pt idx="5671">
                  <c:v>-17.678599999999999</c:v>
                </c:pt>
                <c:pt idx="5672">
                  <c:v>-16.869700000000002</c:v>
                </c:pt>
                <c:pt idx="5673">
                  <c:v>-15.288399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EBF-45F5-B38B-91221AE47C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2062069279"/>
      </c:lineChart>
      <c:valAx>
        <c:axId val="2062069279"/>
        <c:scaling>
          <c:orientation val="minMax"/>
        </c:scaling>
        <c:delete val="0"/>
        <c:axPos val="l"/>
        <c:majorGridlines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1"/>
        <c:axPos val="b"/>
        <c:numFmt formatCode="General" sourceLinked="0"/>
        <c:majorTickMark val="cross"/>
        <c:minorTickMark val="cross"/>
        <c:tickLblPos val="nextTo"/>
        <c:crossAx val="2062069279"/>
        <c:crosses val="autoZero"/>
        <c:auto val="1"/>
        <c:lblAlgn val="ctr"/>
        <c:lblOffset val="100"/>
        <c:noMultiLvlLbl val="1"/>
      </c:catAx>
    </c:plotArea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Data!$A$1</c:f>
          <c:strCache>
            <c:ptCount val="1"/>
            <c:pt idx="0">
              <c:v>Outliers in the two directions</c:v>
            </c:pt>
          </c:strCache>
        </c:strRef>
      </c:tx>
      <c:overlay val="1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Biggest Outlier Forward</c:v>
                </c:pt>
              </c:strCache>
            </c:strRef>
          </c:tx>
          <c:spPr>
            <a:solidFill>
              <a:srgbClr val="1F77B4"/>
            </a:solidFill>
          </c:spPr>
          <c:invertIfNegative val="1"/>
          <c:cat>
            <c:strRef>
              <c:extLst>
                <c:ext xmlns:c15="http://schemas.microsoft.com/office/drawing/2012/chart" uri="{02D57815-91ED-43cb-92C2-25804820EDAC}">
                  <c15:fullRef>
                    <c15:sqref>Data!$A$3:$A$31</c15:sqref>
                  </c15:fullRef>
                </c:ext>
              </c:extLst>
              <c:f>(Data!$A$3,Data!$A$31)</c:f>
              <c:strCache>
                <c:ptCount val="2"/>
                <c:pt idx="0">
                  <c:v>2022-09-20 00:00</c:v>
                </c:pt>
                <c:pt idx="1">
                  <c:v>2022-09-27 00:00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Data!$B$3:$B$31</c15:sqref>
                  </c15:fullRef>
                </c:ext>
              </c:extLst>
              <c:f>(Data!$B$3,Data!$B$31)</c:f>
              <c:numCache>
                <c:formatCode>General</c:formatCode>
                <c:ptCount val="2"/>
                <c:pt idx="0">
                  <c:v>1.3833375254302218</c:v>
                </c:pt>
                <c:pt idx="1">
                  <c:v>0.9189494468557456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78AF-4D06-9593-7A71FDF2CB4B}"/>
            </c:ext>
          </c:extLst>
        </c:ser>
        <c:ser>
          <c:idx val="1"/>
          <c:order val="1"/>
          <c:tx>
            <c:strRef>
              <c:f>Data!$C$2</c:f>
              <c:strCache>
                <c:ptCount val="1"/>
                <c:pt idx="0">
                  <c:v>Biggest Outlier Backward</c:v>
                </c:pt>
              </c:strCache>
            </c:strRef>
          </c:tx>
          <c:spPr>
            <a:solidFill>
              <a:srgbClr val="AEC7E8"/>
            </a:solidFill>
          </c:spPr>
          <c:invertIfNegative val="1"/>
          <c:cat>
            <c:strRef>
              <c:extLst>
                <c:ext xmlns:c15="http://schemas.microsoft.com/office/drawing/2012/chart" uri="{02D57815-91ED-43cb-92C2-25804820EDAC}">
                  <c15:fullRef>
                    <c15:sqref>Data!$A$3:$A$31</c15:sqref>
                  </c15:fullRef>
                </c:ext>
              </c:extLst>
              <c:f>(Data!$A$3,Data!$A$31)</c:f>
              <c:strCache>
                <c:ptCount val="2"/>
                <c:pt idx="0">
                  <c:v>2022-09-20 00:00</c:v>
                </c:pt>
                <c:pt idx="1">
                  <c:v>2022-09-27 00:00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Data!$C$3:$C$31</c15:sqref>
                  </c15:fullRef>
                </c:ext>
              </c:extLst>
              <c:f>(Data!$C$3,Data!$C$31)</c:f>
              <c:numCache>
                <c:formatCode>General</c:formatCode>
                <c:ptCount val="2"/>
                <c:pt idx="0">
                  <c:v>1.4190373327694457</c:v>
                </c:pt>
                <c:pt idx="1">
                  <c:v>1.283344499462092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78AF-4D06-9593-7A71FDF2CB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"/>
        <c:axId val="2025913231"/>
      </c:barChart>
      <c:valAx>
        <c:axId val="2025913231"/>
        <c:scaling>
          <c:orientation val="minMax"/>
        </c:scaling>
        <c:delete val="0"/>
        <c:axPos val="l"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0"/>
        <c:axPos val="b"/>
        <c:numFmt formatCode="General" sourceLinked="0"/>
        <c:majorTickMark val="cross"/>
        <c:minorTickMark val="cross"/>
        <c:tickLblPos val="nextTo"/>
        <c:crossAx val="2025913231"/>
        <c:crosses val="autoZero"/>
        <c:auto val="1"/>
        <c:lblAlgn val="ctr"/>
        <c:lblOffset val="100"/>
        <c:noMultiLvlLbl val="1"/>
      </c:catAx>
    </c:plotArea>
    <c:legend>
      <c:legendPos val="r"/>
      <c:overlay val="0"/>
    </c:legend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Data!$A$1</c:f>
          <c:strCache>
            <c:ptCount val="1"/>
            <c:pt idx="0">
              <c:v>Track Length Measurements</c:v>
            </c:pt>
          </c:strCache>
        </c:strRef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Torque</c:v>
                </c:pt>
              </c:strCache>
            </c:strRef>
          </c:tx>
          <c:spPr>
            <a:ln w="1270" cap="rnd" cmpd="sng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Data!$A$3:$A$10002</c:f>
              <c:strCache>
                <c:ptCount val="10000"/>
                <c:pt idx="0">
                  <c:v>0.009-0.016</c:v>
                </c:pt>
                <c:pt idx="1">
                  <c:v>0.016-0.023</c:v>
                </c:pt>
                <c:pt idx="2">
                  <c:v>0.023-0.030</c:v>
                </c:pt>
                <c:pt idx="3">
                  <c:v>0.030-0.037</c:v>
                </c:pt>
                <c:pt idx="4">
                  <c:v>0.037-0.044</c:v>
                </c:pt>
                <c:pt idx="5">
                  <c:v>0.044-0.051</c:v>
                </c:pt>
                <c:pt idx="6">
                  <c:v>0.051-0.058</c:v>
                </c:pt>
                <c:pt idx="7">
                  <c:v>0.058-0.065</c:v>
                </c:pt>
                <c:pt idx="8">
                  <c:v>0.065-0.072</c:v>
                </c:pt>
                <c:pt idx="9">
                  <c:v>0.072-0.079</c:v>
                </c:pt>
                <c:pt idx="10">
                  <c:v>0.079-0.086</c:v>
                </c:pt>
                <c:pt idx="11">
                  <c:v>0.086-0.093</c:v>
                </c:pt>
                <c:pt idx="12">
                  <c:v>0.093-0.100</c:v>
                </c:pt>
                <c:pt idx="13">
                  <c:v>0.100-0.107</c:v>
                </c:pt>
                <c:pt idx="14">
                  <c:v>0.107-0.114</c:v>
                </c:pt>
                <c:pt idx="15">
                  <c:v>0.114-0.122</c:v>
                </c:pt>
                <c:pt idx="16">
                  <c:v>0.122-0.129</c:v>
                </c:pt>
                <c:pt idx="17">
                  <c:v>0.129-0.136</c:v>
                </c:pt>
                <c:pt idx="18">
                  <c:v>0.136-0.143</c:v>
                </c:pt>
                <c:pt idx="19">
                  <c:v>0.143-0.150</c:v>
                </c:pt>
                <c:pt idx="20">
                  <c:v>0.150-0.157</c:v>
                </c:pt>
                <c:pt idx="21">
                  <c:v>0.157-0.164</c:v>
                </c:pt>
                <c:pt idx="22">
                  <c:v>0.164-0.171</c:v>
                </c:pt>
                <c:pt idx="23">
                  <c:v>0.171-0.178</c:v>
                </c:pt>
                <c:pt idx="24">
                  <c:v>0.178-0.185</c:v>
                </c:pt>
                <c:pt idx="25">
                  <c:v>0.185-0.192</c:v>
                </c:pt>
                <c:pt idx="26">
                  <c:v>0.192-0.199</c:v>
                </c:pt>
                <c:pt idx="27">
                  <c:v>0.199-0.206</c:v>
                </c:pt>
                <c:pt idx="28">
                  <c:v>0.206-0.213</c:v>
                </c:pt>
                <c:pt idx="29">
                  <c:v>0.213-0.220</c:v>
                </c:pt>
                <c:pt idx="30">
                  <c:v>0.220-0.227</c:v>
                </c:pt>
                <c:pt idx="31">
                  <c:v>0.227-0.234</c:v>
                </c:pt>
                <c:pt idx="32">
                  <c:v>0.234-0.241</c:v>
                </c:pt>
                <c:pt idx="33">
                  <c:v>0.241-0.248</c:v>
                </c:pt>
                <c:pt idx="34">
                  <c:v>0.248-0.255</c:v>
                </c:pt>
                <c:pt idx="35">
                  <c:v>0.255-0.262</c:v>
                </c:pt>
                <c:pt idx="36">
                  <c:v>0.262-0.269</c:v>
                </c:pt>
                <c:pt idx="37">
                  <c:v>0.269-0.276</c:v>
                </c:pt>
                <c:pt idx="38">
                  <c:v>0.276-0.283</c:v>
                </c:pt>
                <c:pt idx="39">
                  <c:v>0.283-0.290</c:v>
                </c:pt>
                <c:pt idx="40">
                  <c:v>0.290-0.297</c:v>
                </c:pt>
                <c:pt idx="41">
                  <c:v>0.297-0.304</c:v>
                </c:pt>
                <c:pt idx="42">
                  <c:v>0.304-0.311</c:v>
                </c:pt>
                <c:pt idx="43">
                  <c:v>0.311-0.318</c:v>
                </c:pt>
                <c:pt idx="44">
                  <c:v>0.318-0.325</c:v>
                </c:pt>
                <c:pt idx="45">
                  <c:v>0.325-0.332</c:v>
                </c:pt>
                <c:pt idx="46">
                  <c:v>0.332-0.340</c:v>
                </c:pt>
                <c:pt idx="47">
                  <c:v>0.340-0.347</c:v>
                </c:pt>
                <c:pt idx="48">
                  <c:v>0.347-0.354</c:v>
                </c:pt>
                <c:pt idx="49">
                  <c:v>0.354-0.361</c:v>
                </c:pt>
                <c:pt idx="50">
                  <c:v>0.361-0.368</c:v>
                </c:pt>
                <c:pt idx="51">
                  <c:v>0.368-0.375</c:v>
                </c:pt>
                <c:pt idx="52">
                  <c:v>0.375-0.382</c:v>
                </c:pt>
                <c:pt idx="53">
                  <c:v>0.382-0.389</c:v>
                </c:pt>
                <c:pt idx="54">
                  <c:v>0.389-0.396</c:v>
                </c:pt>
                <c:pt idx="55">
                  <c:v>0.396-0.403</c:v>
                </c:pt>
                <c:pt idx="56">
                  <c:v>0.403-0.410</c:v>
                </c:pt>
                <c:pt idx="57">
                  <c:v>0.410-0.417</c:v>
                </c:pt>
                <c:pt idx="58">
                  <c:v>0.417-0.424</c:v>
                </c:pt>
                <c:pt idx="59">
                  <c:v>0.424-0.431</c:v>
                </c:pt>
                <c:pt idx="60">
                  <c:v>0.431-0.438</c:v>
                </c:pt>
                <c:pt idx="61">
                  <c:v>0.438-0.445</c:v>
                </c:pt>
                <c:pt idx="62">
                  <c:v>0.445-0.452</c:v>
                </c:pt>
                <c:pt idx="63">
                  <c:v>0.452-0.459</c:v>
                </c:pt>
                <c:pt idx="64">
                  <c:v>0.459-0.466</c:v>
                </c:pt>
                <c:pt idx="65">
                  <c:v>0.466-0.473</c:v>
                </c:pt>
                <c:pt idx="66">
                  <c:v>0.473-0.480</c:v>
                </c:pt>
                <c:pt idx="67">
                  <c:v>0.480-0.487</c:v>
                </c:pt>
                <c:pt idx="68">
                  <c:v>0.487-0.494</c:v>
                </c:pt>
                <c:pt idx="69">
                  <c:v>0.494-0.501</c:v>
                </c:pt>
                <c:pt idx="70">
                  <c:v>0.501-0.508</c:v>
                </c:pt>
                <c:pt idx="71">
                  <c:v>0.508-0.515</c:v>
                </c:pt>
                <c:pt idx="72">
                  <c:v>0.515-0.522</c:v>
                </c:pt>
                <c:pt idx="73">
                  <c:v>0.522-0.529</c:v>
                </c:pt>
                <c:pt idx="74">
                  <c:v>0.529-0.536</c:v>
                </c:pt>
                <c:pt idx="75">
                  <c:v>0.536-0.543</c:v>
                </c:pt>
                <c:pt idx="76">
                  <c:v>0.543-0.550</c:v>
                </c:pt>
                <c:pt idx="77">
                  <c:v>0.550-0.558</c:v>
                </c:pt>
                <c:pt idx="78">
                  <c:v>0.558-0.565</c:v>
                </c:pt>
                <c:pt idx="79">
                  <c:v>0.565-0.572</c:v>
                </c:pt>
                <c:pt idx="80">
                  <c:v>0.572-0.579</c:v>
                </c:pt>
                <c:pt idx="81">
                  <c:v>0.579-0.586</c:v>
                </c:pt>
                <c:pt idx="82">
                  <c:v>0.586-0.593</c:v>
                </c:pt>
                <c:pt idx="83">
                  <c:v>0.593-0.600</c:v>
                </c:pt>
                <c:pt idx="84">
                  <c:v>0.600-0.607</c:v>
                </c:pt>
                <c:pt idx="85">
                  <c:v>0.607-0.614</c:v>
                </c:pt>
                <c:pt idx="86">
                  <c:v>0.614-0.621</c:v>
                </c:pt>
                <c:pt idx="87">
                  <c:v>0.621-0.628</c:v>
                </c:pt>
                <c:pt idx="88">
                  <c:v>0.628-0.635</c:v>
                </c:pt>
                <c:pt idx="89">
                  <c:v>0.635-0.642</c:v>
                </c:pt>
                <c:pt idx="90">
                  <c:v>0.642-0.649</c:v>
                </c:pt>
                <c:pt idx="91">
                  <c:v>0.649-0.656</c:v>
                </c:pt>
                <c:pt idx="92">
                  <c:v>0.656-0.663</c:v>
                </c:pt>
                <c:pt idx="93">
                  <c:v>0.663-0.670</c:v>
                </c:pt>
                <c:pt idx="94">
                  <c:v>0.670-0.677</c:v>
                </c:pt>
                <c:pt idx="95">
                  <c:v>0.677-0.684</c:v>
                </c:pt>
                <c:pt idx="96">
                  <c:v>0.684-0.691</c:v>
                </c:pt>
                <c:pt idx="97">
                  <c:v>0.691-0.698</c:v>
                </c:pt>
                <c:pt idx="98">
                  <c:v>0.698-0.705</c:v>
                </c:pt>
                <c:pt idx="99">
                  <c:v>0.705-0.712</c:v>
                </c:pt>
                <c:pt idx="100">
                  <c:v>0.712-0.719</c:v>
                </c:pt>
                <c:pt idx="101">
                  <c:v>0.719-0.726</c:v>
                </c:pt>
                <c:pt idx="102">
                  <c:v>0.726-0.733</c:v>
                </c:pt>
                <c:pt idx="103">
                  <c:v>0.733-0.740</c:v>
                </c:pt>
                <c:pt idx="104">
                  <c:v>0.740-0.747</c:v>
                </c:pt>
                <c:pt idx="105">
                  <c:v>0.747-0.754</c:v>
                </c:pt>
                <c:pt idx="106">
                  <c:v>0.754-0.761</c:v>
                </c:pt>
                <c:pt idx="107">
                  <c:v>0.761-0.768</c:v>
                </c:pt>
                <c:pt idx="108">
                  <c:v>0.768-0.776</c:v>
                </c:pt>
                <c:pt idx="109">
                  <c:v>0.776-0.783</c:v>
                </c:pt>
                <c:pt idx="110">
                  <c:v>0.783-0.790</c:v>
                </c:pt>
                <c:pt idx="111">
                  <c:v>0.790-0.797</c:v>
                </c:pt>
                <c:pt idx="112">
                  <c:v>0.797-0.804</c:v>
                </c:pt>
                <c:pt idx="113">
                  <c:v>0.804-0.811</c:v>
                </c:pt>
                <c:pt idx="114">
                  <c:v>0.811-0.818</c:v>
                </c:pt>
                <c:pt idx="115">
                  <c:v>0.818-0.825</c:v>
                </c:pt>
                <c:pt idx="116">
                  <c:v>0.825-0.832</c:v>
                </c:pt>
                <c:pt idx="117">
                  <c:v>0.832-0.839</c:v>
                </c:pt>
                <c:pt idx="118">
                  <c:v>0.839-0.846</c:v>
                </c:pt>
                <c:pt idx="119">
                  <c:v>0.846-0.853</c:v>
                </c:pt>
                <c:pt idx="120">
                  <c:v>0.853-0.860</c:v>
                </c:pt>
                <c:pt idx="121">
                  <c:v>0.860-0.867</c:v>
                </c:pt>
                <c:pt idx="122">
                  <c:v>0.867-0.874</c:v>
                </c:pt>
                <c:pt idx="123">
                  <c:v>0.874-0.881</c:v>
                </c:pt>
                <c:pt idx="124">
                  <c:v>0.881-0.888</c:v>
                </c:pt>
                <c:pt idx="125">
                  <c:v>0.888-0.895</c:v>
                </c:pt>
                <c:pt idx="126">
                  <c:v>0.895-0.902</c:v>
                </c:pt>
                <c:pt idx="127">
                  <c:v>0.902-0.909</c:v>
                </c:pt>
                <c:pt idx="128">
                  <c:v>0.909-0.916</c:v>
                </c:pt>
                <c:pt idx="129">
                  <c:v>0.916-0.923</c:v>
                </c:pt>
                <c:pt idx="130">
                  <c:v>0.923-0.930</c:v>
                </c:pt>
                <c:pt idx="131">
                  <c:v>0.930-0.937</c:v>
                </c:pt>
                <c:pt idx="132">
                  <c:v>0.937-0.944</c:v>
                </c:pt>
                <c:pt idx="133">
                  <c:v>0.944-0.951</c:v>
                </c:pt>
                <c:pt idx="134">
                  <c:v>0.951-0.958</c:v>
                </c:pt>
                <c:pt idx="135">
                  <c:v>0.958-0.965</c:v>
                </c:pt>
                <c:pt idx="136">
                  <c:v>0.965-0.972</c:v>
                </c:pt>
                <c:pt idx="137">
                  <c:v>0.972-0.979</c:v>
                </c:pt>
                <c:pt idx="138">
                  <c:v>0.979-0.986</c:v>
                </c:pt>
                <c:pt idx="139">
                  <c:v>0.986-0.994</c:v>
                </c:pt>
                <c:pt idx="140">
                  <c:v>0.994-1.001</c:v>
                </c:pt>
                <c:pt idx="141">
                  <c:v>1.001-1.008</c:v>
                </c:pt>
                <c:pt idx="142">
                  <c:v>1.008-1.015</c:v>
                </c:pt>
                <c:pt idx="143">
                  <c:v>1.015-1.022</c:v>
                </c:pt>
                <c:pt idx="144">
                  <c:v>1.022-1.029</c:v>
                </c:pt>
                <c:pt idx="145">
                  <c:v>1.029-1.036</c:v>
                </c:pt>
                <c:pt idx="146">
                  <c:v>1.036-1.043</c:v>
                </c:pt>
                <c:pt idx="147">
                  <c:v>1.043-1.050</c:v>
                </c:pt>
                <c:pt idx="148">
                  <c:v>1.050-1.057</c:v>
                </c:pt>
                <c:pt idx="149">
                  <c:v>1.057-1.064</c:v>
                </c:pt>
                <c:pt idx="150">
                  <c:v>1.064-1.071</c:v>
                </c:pt>
                <c:pt idx="151">
                  <c:v>1.071-1.078</c:v>
                </c:pt>
                <c:pt idx="152">
                  <c:v>1.078-1.085</c:v>
                </c:pt>
                <c:pt idx="153">
                  <c:v>1.085-1.092</c:v>
                </c:pt>
                <c:pt idx="154">
                  <c:v>1.092-1.099</c:v>
                </c:pt>
                <c:pt idx="155">
                  <c:v>1.099-1.106</c:v>
                </c:pt>
                <c:pt idx="156">
                  <c:v>1.106-1.113</c:v>
                </c:pt>
                <c:pt idx="157">
                  <c:v>1.113-1.120</c:v>
                </c:pt>
                <c:pt idx="158">
                  <c:v>1.120-1.127</c:v>
                </c:pt>
                <c:pt idx="159">
                  <c:v>1.127-1.134</c:v>
                </c:pt>
                <c:pt idx="160">
                  <c:v>1.134-1.141</c:v>
                </c:pt>
                <c:pt idx="161">
                  <c:v>1.141-1.148</c:v>
                </c:pt>
                <c:pt idx="162">
                  <c:v>1.148-1.155</c:v>
                </c:pt>
                <c:pt idx="163">
                  <c:v>1.155-1.162</c:v>
                </c:pt>
                <c:pt idx="164">
                  <c:v>1.162-1.169</c:v>
                </c:pt>
                <c:pt idx="165">
                  <c:v>1.169-1.176</c:v>
                </c:pt>
                <c:pt idx="166">
                  <c:v>1.176-1.183</c:v>
                </c:pt>
                <c:pt idx="167">
                  <c:v>1.183-1.190</c:v>
                </c:pt>
                <c:pt idx="168">
                  <c:v>1.190-1.197</c:v>
                </c:pt>
                <c:pt idx="169">
                  <c:v>1.197-1.204</c:v>
                </c:pt>
                <c:pt idx="170">
                  <c:v>1.204-1.212</c:v>
                </c:pt>
                <c:pt idx="171">
                  <c:v>1.212-1.219</c:v>
                </c:pt>
                <c:pt idx="172">
                  <c:v>1.219-1.226</c:v>
                </c:pt>
                <c:pt idx="173">
                  <c:v>1.226-1.233</c:v>
                </c:pt>
                <c:pt idx="174">
                  <c:v>1.233-1.240</c:v>
                </c:pt>
                <c:pt idx="175">
                  <c:v>1.240-1.247</c:v>
                </c:pt>
                <c:pt idx="176">
                  <c:v>1.247-1.254</c:v>
                </c:pt>
                <c:pt idx="177">
                  <c:v>1.254-1.261</c:v>
                </c:pt>
                <c:pt idx="178">
                  <c:v>1.261-1.268</c:v>
                </c:pt>
                <c:pt idx="179">
                  <c:v>1.268-1.275</c:v>
                </c:pt>
                <c:pt idx="180">
                  <c:v>1.275-1.282</c:v>
                </c:pt>
                <c:pt idx="181">
                  <c:v>1.282-1.289</c:v>
                </c:pt>
                <c:pt idx="182">
                  <c:v>1.289-1.296</c:v>
                </c:pt>
                <c:pt idx="183">
                  <c:v>1.296-1.303</c:v>
                </c:pt>
                <c:pt idx="184">
                  <c:v>1.303-1.310</c:v>
                </c:pt>
                <c:pt idx="185">
                  <c:v>1.310-1.317</c:v>
                </c:pt>
                <c:pt idx="186">
                  <c:v>1.317-1.324</c:v>
                </c:pt>
                <c:pt idx="187">
                  <c:v>1.324-1.331</c:v>
                </c:pt>
                <c:pt idx="188">
                  <c:v>1.331-1.338</c:v>
                </c:pt>
                <c:pt idx="189">
                  <c:v>1.338-1.345</c:v>
                </c:pt>
                <c:pt idx="190">
                  <c:v>1.345-1.352</c:v>
                </c:pt>
                <c:pt idx="191">
                  <c:v>1.352-1.359</c:v>
                </c:pt>
                <c:pt idx="192">
                  <c:v>1.359-1.366</c:v>
                </c:pt>
                <c:pt idx="193">
                  <c:v>1.366-1.373</c:v>
                </c:pt>
                <c:pt idx="194">
                  <c:v>1.373-1.380</c:v>
                </c:pt>
                <c:pt idx="195">
                  <c:v>1.380-1.387</c:v>
                </c:pt>
                <c:pt idx="196">
                  <c:v>1.387-1.394</c:v>
                </c:pt>
                <c:pt idx="197">
                  <c:v>1.394-1.401</c:v>
                </c:pt>
                <c:pt idx="198">
                  <c:v>1.401-1.408</c:v>
                </c:pt>
                <c:pt idx="199">
                  <c:v>1.408-1.415</c:v>
                </c:pt>
                <c:pt idx="200">
                  <c:v>1.415-1.422</c:v>
                </c:pt>
                <c:pt idx="201">
                  <c:v>1.422-1.430</c:v>
                </c:pt>
                <c:pt idx="202">
                  <c:v>1.430-1.437</c:v>
                </c:pt>
                <c:pt idx="203">
                  <c:v>1.437-1.444</c:v>
                </c:pt>
                <c:pt idx="204">
                  <c:v>1.444-1.451</c:v>
                </c:pt>
                <c:pt idx="205">
                  <c:v>1.451-1.458</c:v>
                </c:pt>
                <c:pt idx="206">
                  <c:v>1.458-1.465</c:v>
                </c:pt>
                <c:pt idx="207">
                  <c:v>1.465-1.472</c:v>
                </c:pt>
                <c:pt idx="208">
                  <c:v>1.472-1.479</c:v>
                </c:pt>
                <c:pt idx="209">
                  <c:v>1.479-1.486</c:v>
                </c:pt>
                <c:pt idx="210">
                  <c:v>1.486-1.493</c:v>
                </c:pt>
                <c:pt idx="211">
                  <c:v>1.493-1.500</c:v>
                </c:pt>
                <c:pt idx="212">
                  <c:v>1.500-1.507</c:v>
                </c:pt>
                <c:pt idx="213">
                  <c:v>1.507-1.514</c:v>
                </c:pt>
                <c:pt idx="214">
                  <c:v>1.514-1.521</c:v>
                </c:pt>
                <c:pt idx="215">
                  <c:v>1.521-1.528</c:v>
                </c:pt>
                <c:pt idx="216">
                  <c:v>1.528-1.535</c:v>
                </c:pt>
                <c:pt idx="217">
                  <c:v>1.535-1.542</c:v>
                </c:pt>
                <c:pt idx="218">
                  <c:v>1.542-1.549</c:v>
                </c:pt>
                <c:pt idx="219">
                  <c:v>1.549-1.556</c:v>
                </c:pt>
                <c:pt idx="220">
                  <c:v>1.556-1.563</c:v>
                </c:pt>
                <c:pt idx="221">
                  <c:v>1.563-1.570</c:v>
                </c:pt>
                <c:pt idx="222">
                  <c:v>1.570-1.577</c:v>
                </c:pt>
                <c:pt idx="223">
                  <c:v>1.577-1.584</c:v>
                </c:pt>
                <c:pt idx="224">
                  <c:v>1.584-1.591</c:v>
                </c:pt>
                <c:pt idx="225">
                  <c:v>1.591-1.598</c:v>
                </c:pt>
                <c:pt idx="226">
                  <c:v>1.598-1.605</c:v>
                </c:pt>
                <c:pt idx="227">
                  <c:v>1.605-1.612</c:v>
                </c:pt>
                <c:pt idx="228">
                  <c:v>1.612-1.619</c:v>
                </c:pt>
                <c:pt idx="229">
                  <c:v>1.619-1.626</c:v>
                </c:pt>
                <c:pt idx="230">
                  <c:v>1.626-1.633</c:v>
                </c:pt>
                <c:pt idx="231">
                  <c:v>1.633-1.640</c:v>
                </c:pt>
                <c:pt idx="232">
                  <c:v>1.640-1.648</c:v>
                </c:pt>
                <c:pt idx="233">
                  <c:v>1.648-1.655</c:v>
                </c:pt>
                <c:pt idx="234">
                  <c:v>1.655-1.662</c:v>
                </c:pt>
                <c:pt idx="235">
                  <c:v>1.662-1.669</c:v>
                </c:pt>
                <c:pt idx="236">
                  <c:v>1.669-1.676</c:v>
                </c:pt>
                <c:pt idx="237">
                  <c:v>1.676-1.683</c:v>
                </c:pt>
                <c:pt idx="238">
                  <c:v>1.683-1.690</c:v>
                </c:pt>
                <c:pt idx="239">
                  <c:v>1.690-1.697</c:v>
                </c:pt>
                <c:pt idx="240">
                  <c:v>1.697-1.704</c:v>
                </c:pt>
                <c:pt idx="241">
                  <c:v>1.704-1.711</c:v>
                </c:pt>
                <c:pt idx="242">
                  <c:v>1.711-1.718</c:v>
                </c:pt>
                <c:pt idx="243">
                  <c:v>1.718-1.725</c:v>
                </c:pt>
                <c:pt idx="244">
                  <c:v>1.725-1.732</c:v>
                </c:pt>
                <c:pt idx="245">
                  <c:v>1.732-1.739</c:v>
                </c:pt>
                <c:pt idx="246">
                  <c:v>1.739-1.746</c:v>
                </c:pt>
                <c:pt idx="247">
                  <c:v>1.746-1.753</c:v>
                </c:pt>
                <c:pt idx="248">
                  <c:v>1.753-1.760</c:v>
                </c:pt>
                <c:pt idx="249">
                  <c:v>1.760-1.767</c:v>
                </c:pt>
                <c:pt idx="250">
                  <c:v>1.767-1.774</c:v>
                </c:pt>
                <c:pt idx="251">
                  <c:v>1.774-1.781</c:v>
                </c:pt>
                <c:pt idx="252">
                  <c:v>1.781-1.788</c:v>
                </c:pt>
                <c:pt idx="253">
                  <c:v>1.788-1.795</c:v>
                </c:pt>
                <c:pt idx="254">
                  <c:v>1.795-1.802</c:v>
                </c:pt>
                <c:pt idx="255">
                  <c:v>1.802-1.809</c:v>
                </c:pt>
                <c:pt idx="256">
                  <c:v>1.809-1.816</c:v>
                </c:pt>
                <c:pt idx="257">
                  <c:v>1.816-1.823</c:v>
                </c:pt>
                <c:pt idx="258">
                  <c:v>1.823-1.830</c:v>
                </c:pt>
                <c:pt idx="259">
                  <c:v>1.830-1.837</c:v>
                </c:pt>
                <c:pt idx="260">
                  <c:v>1.837-1.844</c:v>
                </c:pt>
                <c:pt idx="261">
                  <c:v>1.844-1.851</c:v>
                </c:pt>
                <c:pt idx="262">
                  <c:v>1.851-1.858</c:v>
                </c:pt>
                <c:pt idx="263">
                  <c:v>1.858-1.866</c:v>
                </c:pt>
                <c:pt idx="264">
                  <c:v>1.866-1.873</c:v>
                </c:pt>
                <c:pt idx="265">
                  <c:v>1.873-1.880</c:v>
                </c:pt>
                <c:pt idx="266">
                  <c:v>1.880-1.887</c:v>
                </c:pt>
                <c:pt idx="267">
                  <c:v>1.887-1.894</c:v>
                </c:pt>
                <c:pt idx="268">
                  <c:v>1.894-1.901</c:v>
                </c:pt>
                <c:pt idx="269">
                  <c:v>1.901-1.908</c:v>
                </c:pt>
                <c:pt idx="270">
                  <c:v>1.908-1.915</c:v>
                </c:pt>
                <c:pt idx="271">
                  <c:v>1.915-1.922</c:v>
                </c:pt>
                <c:pt idx="272">
                  <c:v>1.922-1.929</c:v>
                </c:pt>
                <c:pt idx="273">
                  <c:v>1.929-1.936</c:v>
                </c:pt>
                <c:pt idx="274">
                  <c:v>1.936-1.943</c:v>
                </c:pt>
                <c:pt idx="275">
                  <c:v>1.943-1.950</c:v>
                </c:pt>
                <c:pt idx="276">
                  <c:v>1.950-1.957</c:v>
                </c:pt>
                <c:pt idx="277">
                  <c:v>1.957-1.964</c:v>
                </c:pt>
                <c:pt idx="278">
                  <c:v>1.964-1.971</c:v>
                </c:pt>
                <c:pt idx="279">
                  <c:v>1.971-1.978</c:v>
                </c:pt>
                <c:pt idx="280">
                  <c:v>1.978-1.985</c:v>
                </c:pt>
                <c:pt idx="281">
                  <c:v>1.985-1.992</c:v>
                </c:pt>
                <c:pt idx="282">
                  <c:v>1.992-1.999</c:v>
                </c:pt>
                <c:pt idx="283">
                  <c:v>1.999-2.006</c:v>
                </c:pt>
                <c:pt idx="284">
                  <c:v>2.006-2.013</c:v>
                </c:pt>
                <c:pt idx="285">
                  <c:v>2.013-2.020</c:v>
                </c:pt>
                <c:pt idx="286">
                  <c:v>2.020-2.027</c:v>
                </c:pt>
                <c:pt idx="287">
                  <c:v>2.027-2.034</c:v>
                </c:pt>
                <c:pt idx="288">
                  <c:v>2.034-2.041</c:v>
                </c:pt>
                <c:pt idx="289">
                  <c:v>2.041-2.048</c:v>
                </c:pt>
                <c:pt idx="290">
                  <c:v>2.048-2.055</c:v>
                </c:pt>
                <c:pt idx="291">
                  <c:v>2.055-2.062</c:v>
                </c:pt>
                <c:pt idx="292">
                  <c:v>2.062-2.069</c:v>
                </c:pt>
                <c:pt idx="293">
                  <c:v>2.069-2.076</c:v>
                </c:pt>
                <c:pt idx="294">
                  <c:v>2.076-2.083</c:v>
                </c:pt>
                <c:pt idx="295">
                  <c:v>2.083-2.091</c:v>
                </c:pt>
                <c:pt idx="296">
                  <c:v>2.091-2.098</c:v>
                </c:pt>
                <c:pt idx="297">
                  <c:v>2.098-2.105</c:v>
                </c:pt>
                <c:pt idx="298">
                  <c:v>2.105-2.112</c:v>
                </c:pt>
                <c:pt idx="299">
                  <c:v>2.112-2.119</c:v>
                </c:pt>
                <c:pt idx="300">
                  <c:v>2.119-2.126</c:v>
                </c:pt>
                <c:pt idx="301">
                  <c:v>2.126-2.133</c:v>
                </c:pt>
                <c:pt idx="302">
                  <c:v>2.133-2.140</c:v>
                </c:pt>
                <c:pt idx="303">
                  <c:v>2.140-2.147</c:v>
                </c:pt>
                <c:pt idx="304">
                  <c:v>2.147-2.154</c:v>
                </c:pt>
                <c:pt idx="305">
                  <c:v>2.154-2.161</c:v>
                </c:pt>
                <c:pt idx="306">
                  <c:v>2.161-2.168</c:v>
                </c:pt>
                <c:pt idx="307">
                  <c:v>2.168-2.175</c:v>
                </c:pt>
                <c:pt idx="308">
                  <c:v>2.175-2.182</c:v>
                </c:pt>
                <c:pt idx="309">
                  <c:v>2.182-2.189</c:v>
                </c:pt>
                <c:pt idx="310">
                  <c:v>2.189-2.196</c:v>
                </c:pt>
                <c:pt idx="311">
                  <c:v>2.196-2.203</c:v>
                </c:pt>
                <c:pt idx="312">
                  <c:v>2.203-2.210</c:v>
                </c:pt>
                <c:pt idx="313">
                  <c:v>2.210-2.217</c:v>
                </c:pt>
                <c:pt idx="314">
                  <c:v>2.217-2.224</c:v>
                </c:pt>
                <c:pt idx="315">
                  <c:v>2.224-2.231</c:v>
                </c:pt>
                <c:pt idx="316">
                  <c:v>2.231-2.238</c:v>
                </c:pt>
                <c:pt idx="317">
                  <c:v>2.238-2.245</c:v>
                </c:pt>
                <c:pt idx="318">
                  <c:v>2.245-2.252</c:v>
                </c:pt>
                <c:pt idx="319">
                  <c:v>2.252-2.259</c:v>
                </c:pt>
                <c:pt idx="320">
                  <c:v>2.259-2.266</c:v>
                </c:pt>
                <c:pt idx="321">
                  <c:v>2.266-2.273</c:v>
                </c:pt>
                <c:pt idx="322">
                  <c:v>2.273-2.280</c:v>
                </c:pt>
                <c:pt idx="323">
                  <c:v>2.280-2.287</c:v>
                </c:pt>
                <c:pt idx="324">
                  <c:v>2.287-2.294</c:v>
                </c:pt>
                <c:pt idx="325">
                  <c:v>2.294-2.301</c:v>
                </c:pt>
                <c:pt idx="326">
                  <c:v>2.301-2.309</c:v>
                </c:pt>
                <c:pt idx="327">
                  <c:v>2.309-2.316</c:v>
                </c:pt>
                <c:pt idx="328">
                  <c:v>2.316-2.323</c:v>
                </c:pt>
                <c:pt idx="329">
                  <c:v>2.323-2.330</c:v>
                </c:pt>
                <c:pt idx="330">
                  <c:v>2.330-2.337</c:v>
                </c:pt>
                <c:pt idx="331">
                  <c:v>2.337-2.344</c:v>
                </c:pt>
                <c:pt idx="332">
                  <c:v>2.344-2.351</c:v>
                </c:pt>
                <c:pt idx="333">
                  <c:v>2.351-2.358</c:v>
                </c:pt>
                <c:pt idx="334">
                  <c:v>2.358-2.365</c:v>
                </c:pt>
                <c:pt idx="335">
                  <c:v>2.365-2.372</c:v>
                </c:pt>
                <c:pt idx="336">
                  <c:v>2.372-2.379</c:v>
                </c:pt>
                <c:pt idx="337">
                  <c:v>2.379-2.386</c:v>
                </c:pt>
                <c:pt idx="338">
                  <c:v>2.386-2.393</c:v>
                </c:pt>
                <c:pt idx="339">
                  <c:v>2.393-2.400</c:v>
                </c:pt>
                <c:pt idx="340">
                  <c:v>2.400-2.407</c:v>
                </c:pt>
                <c:pt idx="341">
                  <c:v>2.407-2.414</c:v>
                </c:pt>
                <c:pt idx="342">
                  <c:v>2.414-2.421</c:v>
                </c:pt>
                <c:pt idx="343">
                  <c:v>2.421-2.428</c:v>
                </c:pt>
                <c:pt idx="344">
                  <c:v>2.428-2.435</c:v>
                </c:pt>
                <c:pt idx="345">
                  <c:v>2.435-2.442</c:v>
                </c:pt>
                <c:pt idx="346">
                  <c:v>2.442-2.449</c:v>
                </c:pt>
                <c:pt idx="347">
                  <c:v>2.449-2.456</c:v>
                </c:pt>
                <c:pt idx="348">
                  <c:v>2.456-2.463</c:v>
                </c:pt>
                <c:pt idx="349">
                  <c:v>2.463-2.470</c:v>
                </c:pt>
                <c:pt idx="350">
                  <c:v>2.470-2.477</c:v>
                </c:pt>
                <c:pt idx="351">
                  <c:v>2.477-2.484</c:v>
                </c:pt>
                <c:pt idx="352">
                  <c:v>2.484-2.491</c:v>
                </c:pt>
                <c:pt idx="353">
                  <c:v>2.491-2.498</c:v>
                </c:pt>
                <c:pt idx="354">
                  <c:v>2.498-2.505</c:v>
                </c:pt>
                <c:pt idx="355">
                  <c:v>2.505-2.512</c:v>
                </c:pt>
                <c:pt idx="356">
                  <c:v>2.512-2.519</c:v>
                </c:pt>
                <c:pt idx="357">
                  <c:v>2.519-2.527</c:v>
                </c:pt>
                <c:pt idx="358">
                  <c:v>2.527-2.534</c:v>
                </c:pt>
                <c:pt idx="359">
                  <c:v>2.534-2.541</c:v>
                </c:pt>
                <c:pt idx="360">
                  <c:v>2.541-2.548</c:v>
                </c:pt>
                <c:pt idx="361">
                  <c:v>2.548-2.555</c:v>
                </c:pt>
                <c:pt idx="362">
                  <c:v>2.555-2.562</c:v>
                </c:pt>
                <c:pt idx="363">
                  <c:v>2.562-2.569</c:v>
                </c:pt>
                <c:pt idx="364">
                  <c:v>2.569-2.576</c:v>
                </c:pt>
                <c:pt idx="365">
                  <c:v>2.576-2.583</c:v>
                </c:pt>
                <c:pt idx="366">
                  <c:v>2.583-2.590</c:v>
                </c:pt>
                <c:pt idx="367">
                  <c:v>2.590-2.597</c:v>
                </c:pt>
                <c:pt idx="368">
                  <c:v>2.597-2.604</c:v>
                </c:pt>
                <c:pt idx="369">
                  <c:v>2.604-2.611</c:v>
                </c:pt>
                <c:pt idx="370">
                  <c:v>2.611-2.618</c:v>
                </c:pt>
                <c:pt idx="371">
                  <c:v>2.618-2.625</c:v>
                </c:pt>
                <c:pt idx="372">
                  <c:v>2.625-2.632</c:v>
                </c:pt>
                <c:pt idx="373">
                  <c:v>2.632-2.639</c:v>
                </c:pt>
                <c:pt idx="374">
                  <c:v>2.639-2.646</c:v>
                </c:pt>
                <c:pt idx="375">
                  <c:v>2.646-2.653</c:v>
                </c:pt>
                <c:pt idx="376">
                  <c:v>2.653-2.660</c:v>
                </c:pt>
                <c:pt idx="377">
                  <c:v>2.660-2.667</c:v>
                </c:pt>
                <c:pt idx="378">
                  <c:v>2.667-2.674</c:v>
                </c:pt>
                <c:pt idx="379">
                  <c:v>2.674-2.681</c:v>
                </c:pt>
                <c:pt idx="380">
                  <c:v>2.681-2.688</c:v>
                </c:pt>
                <c:pt idx="381">
                  <c:v>2.688-2.695</c:v>
                </c:pt>
                <c:pt idx="382">
                  <c:v>2.695-2.702</c:v>
                </c:pt>
                <c:pt idx="383">
                  <c:v>2.702-2.709</c:v>
                </c:pt>
                <c:pt idx="384">
                  <c:v>2.709-2.716</c:v>
                </c:pt>
                <c:pt idx="385">
                  <c:v>2.716-2.723</c:v>
                </c:pt>
                <c:pt idx="386">
                  <c:v>2.723-2.730</c:v>
                </c:pt>
                <c:pt idx="387">
                  <c:v>2.730-2.737</c:v>
                </c:pt>
                <c:pt idx="388">
                  <c:v>2.737-2.745</c:v>
                </c:pt>
                <c:pt idx="389">
                  <c:v>2.745-2.752</c:v>
                </c:pt>
                <c:pt idx="390">
                  <c:v>2.752-2.759</c:v>
                </c:pt>
                <c:pt idx="391">
                  <c:v>2.759-2.766</c:v>
                </c:pt>
                <c:pt idx="392">
                  <c:v>2.766-2.773</c:v>
                </c:pt>
                <c:pt idx="393">
                  <c:v>2.773-2.780</c:v>
                </c:pt>
                <c:pt idx="394">
                  <c:v>2.780-2.787</c:v>
                </c:pt>
                <c:pt idx="395">
                  <c:v>2.787-2.794</c:v>
                </c:pt>
                <c:pt idx="396">
                  <c:v>2.794-2.801</c:v>
                </c:pt>
                <c:pt idx="397">
                  <c:v>2.801-2.808</c:v>
                </c:pt>
                <c:pt idx="398">
                  <c:v>2.808-2.815</c:v>
                </c:pt>
                <c:pt idx="399">
                  <c:v>2.815-2.822</c:v>
                </c:pt>
                <c:pt idx="400">
                  <c:v>2.822-2.829</c:v>
                </c:pt>
                <c:pt idx="401">
                  <c:v>2.829-2.836</c:v>
                </c:pt>
                <c:pt idx="402">
                  <c:v>2.836-2.843</c:v>
                </c:pt>
                <c:pt idx="403">
                  <c:v>2.843-2.850</c:v>
                </c:pt>
                <c:pt idx="404">
                  <c:v>2.850-2.857</c:v>
                </c:pt>
                <c:pt idx="405">
                  <c:v>2.857-2.864</c:v>
                </c:pt>
                <c:pt idx="406">
                  <c:v>2.864-2.871</c:v>
                </c:pt>
                <c:pt idx="407">
                  <c:v>2.871-2.878</c:v>
                </c:pt>
                <c:pt idx="408">
                  <c:v>2.878-2.885</c:v>
                </c:pt>
                <c:pt idx="409">
                  <c:v>2.885-2.892</c:v>
                </c:pt>
                <c:pt idx="410">
                  <c:v>2.892-2.899</c:v>
                </c:pt>
                <c:pt idx="411">
                  <c:v>2.899-2.906</c:v>
                </c:pt>
                <c:pt idx="412">
                  <c:v>2.906-2.913</c:v>
                </c:pt>
                <c:pt idx="413">
                  <c:v>2.913-2.920</c:v>
                </c:pt>
                <c:pt idx="414">
                  <c:v>2.920-2.927</c:v>
                </c:pt>
                <c:pt idx="415">
                  <c:v>2.927-2.934</c:v>
                </c:pt>
                <c:pt idx="416">
                  <c:v>2.934-2.941</c:v>
                </c:pt>
                <c:pt idx="417">
                  <c:v>2.941-2.948</c:v>
                </c:pt>
                <c:pt idx="418">
                  <c:v>2.948-2.955</c:v>
                </c:pt>
                <c:pt idx="419">
                  <c:v>2.955-2.963</c:v>
                </c:pt>
                <c:pt idx="420">
                  <c:v>2.963-2.970</c:v>
                </c:pt>
                <c:pt idx="421">
                  <c:v>2.970-2.977</c:v>
                </c:pt>
                <c:pt idx="422">
                  <c:v>2.977-2.984</c:v>
                </c:pt>
                <c:pt idx="423">
                  <c:v>2.984-2.991</c:v>
                </c:pt>
                <c:pt idx="424">
                  <c:v>2.991-2.998</c:v>
                </c:pt>
                <c:pt idx="425">
                  <c:v>2.998-3.005</c:v>
                </c:pt>
                <c:pt idx="426">
                  <c:v>3.005-3.012</c:v>
                </c:pt>
                <c:pt idx="427">
                  <c:v>3.012-3.019</c:v>
                </c:pt>
                <c:pt idx="428">
                  <c:v>3.019-3.026</c:v>
                </c:pt>
                <c:pt idx="429">
                  <c:v>3.026-3.033</c:v>
                </c:pt>
                <c:pt idx="430">
                  <c:v>3.033-3.040</c:v>
                </c:pt>
                <c:pt idx="431">
                  <c:v>3.040-3.047</c:v>
                </c:pt>
                <c:pt idx="432">
                  <c:v>3.047-3.054</c:v>
                </c:pt>
                <c:pt idx="433">
                  <c:v>3.054-3.061</c:v>
                </c:pt>
                <c:pt idx="434">
                  <c:v>3.061-3.068</c:v>
                </c:pt>
                <c:pt idx="435">
                  <c:v>3.068-3.075</c:v>
                </c:pt>
                <c:pt idx="436">
                  <c:v>3.075-3.082</c:v>
                </c:pt>
                <c:pt idx="437">
                  <c:v>3.082-3.089</c:v>
                </c:pt>
                <c:pt idx="438">
                  <c:v>3.089-3.096</c:v>
                </c:pt>
                <c:pt idx="439">
                  <c:v>3.096-3.103</c:v>
                </c:pt>
                <c:pt idx="440">
                  <c:v>3.103-3.110</c:v>
                </c:pt>
                <c:pt idx="441">
                  <c:v>3.110-3.117</c:v>
                </c:pt>
                <c:pt idx="442">
                  <c:v>3.117-3.124</c:v>
                </c:pt>
                <c:pt idx="443">
                  <c:v>3.124-3.131</c:v>
                </c:pt>
                <c:pt idx="444">
                  <c:v>3.131-3.138</c:v>
                </c:pt>
                <c:pt idx="445">
                  <c:v>3.138-3.145</c:v>
                </c:pt>
                <c:pt idx="446">
                  <c:v>3.145-3.152</c:v>
                </c:pt>
                <c:pt idx="447">
                  <c:v>3.152-3.159</c:v>
                </c:pt>
                <c:pt idx="448">
                  <c:v>3.159-3.166</c:v>
                </c:pt>
                <c:pt idx="449">
                  <c:v>3.166-3.173</c:v>
                </c:pt>
                <c:pt idx="450">
                  <c:v>3.173-3.181</c:v>
                </c:pt>
                <c:pt idx="451">
                  <c:v>3.181-3.188</c:v>
                </c:pt>
                <c:pt idx="452">
                  <c:v>3.188-3.195</c:v>
                </c:pt>
                <c:pt idx="453">
                  <c:v>3.195-3.202</c:v>
                </c:pt>
                <c:pt idx="454">
                  <c:v>3.202-3.209</c:v>
                </c:pt>
                <c:pt idx="455">
                  <c:v>3.209-3.216</c:v>
                </c:pt>
                <c:pt idx="456">
                  <c:v>3.216-3.223</c:v>
                </c:pt>
                <c:pt idx="457">
                  <c:v>3.223-3.230</c:v>
                </c:pt>
                <c:pt idx="458">
                  <c:v>3.230-3.237</c:v>
                </c:pt>
                <c:pt idx="459">
                  <c:v>3.237-3.244</c:v>
                </c:pt>
                <c:pt idx="460">
                  <c:v>3.244-3.251</c:v>
                </c:pt>
                <c:pt idx="461">
                  <c:v>3.251-3.258</c:v>
                </c:pt>
                <c:pt idx="462">
                  <c:v>3.258-3.265</c:v>
                </c:pt>
                <c:pt idx="463">
                  <c:v>3.265-3.272</c:v>
                </c:pt>
                <c:pt idx="464">
                  <c:v>3.272-3.279</c:v>
                </c:pt>
                <c:pt idx="465">
                  <c:v>3.279-3.286</c:v>
                </c:pt>
                <c:pt idx="466">
                  <c:v>3.286-3.293</c:v>
                </c:pt>
                <c:pt idx="467">
                  <c:v>3.293-3.300</c:v>
                </c:pt>
                <c:pt idx="468">
                  <c:v>3.300-3.307</c:v>
                </c:pt>
                <c:pt idx="469">
                  <c:v>3.307-3.314</c:v>
                </c:pt>
                <c:pt idx="470">
                  <c:v>3.314-3.321</c:v>
                </c:pt>
                <c:pt idx="471">
                  <c:v>3.321-3.328</c:v>
                </c:pt>
                <c:pt idx="472">
                  <c:v>3.328-3.335</c:v>
                </c:pt>
                <c:pt idx="473">
                  <c:v>3.335-3.342</c:v>
                </c:pt>
                <c:pt idx="474">
                  <c:v>3.342-3.349</c:v>
                </c:pt>
                <c:pt idx="475">
                  <c:v>3.349-3.356</c:v>
                </c:pt>
                <c:pt idx="476">
                  <c:v>3.356-3.363</c:v>
                </c:pt>
                <c:pt idx="477">
                  <c:v>3.363-3.370</c:v>
                </c:pt>
                <c:pt idx="478">
                  <c:v>3.370-3.377</c:v>
                </c:pt>
                <c:pt idx="479">
                  <c:v>3.377-3.384</c:v>
                </c:pt>
                <c:pt idx="480">
                  <c:v>3.384-3.391</c:v>
                </c:pt>
                <c:pt idx="481">
                  <c:v>3.391-3.399</c:v>
                </c:pt>
                <c:pt idx="482">
                  <c:v>3.399-3.406</c:v>
                </c:pt>
                <c:pt idx="483">
                  <c:v>3.406-3.413</c:v>
                </c:pt>
                <c:pt idx="484">
                  <c:v>3.413-3.420</c:v>
                </c:pt>
                <c:pt idx="485">
                  <c:v>3.420-3.427</c:v>
                </c:pt>
                <c:pt idx="486">
                  <c:v>3.427-3.434</c:v>
                </c:pt>
                <c:pt idx="487">
                  <c:v>3.434-3.441</c:v>
                </c:pt>
                <c:pt idx="488">
                  <c:v>3.441-3.448</c:v>
                </c:pt>
                <c:pt idx="489">
                  <c:v>3.448-3.455</c:v>
                </c:pt>
                <c:pt idx="490">
                  <c:v>3.455-3.462</c:v>
                </c:pt>
                <c:pt idx="491">
                  <c:v>3.462-3.469</c:v>
                </c:pt>
                <c:pt idx="492">
                  <c:v>3.469-3.476</c:v>
                </c:pt>
                <c:pt idx="493">
                  <c:v>3.476-3.483</c:v>
                </c:pt>
                <c:pt idx="494">
                  <c:v>3.483-3.490</c:v>
                </c:pt>
                <c:pt idx="495">
                  <c:v>3.490-3.497</c:v>
                </c:pt>
                <c:pt idx="496">
                  <c:v>3.497-3.504</c:v>
                </c:pt>
                <c:pt idx="497">
                  <c:v>3.504-3.511</c:v>
                </c:pt>
                <c:pt idx="498">
                  <c:v>3.511-3.518</c:v>
                </c:pt>
                <c:pt idx="499">
                  <c:v>3.518-3.525</c:v>
                </c:pt>
                <c:pt idx="500">
                  <c:v>3.525-3.532</c:v>
                </c:pt>
                <c:pt idx="501">
                  <c:v>3.532-3.539</c:v>
                </c:pt>
                <c:pt idx="502">
                  <c:v>3.539-3.546</c:v>
                </c:pt>
                <c:pt idx="503">
                  <c:v>3.546-3.553</c:v>
                </c:pt>
                <c:pt idx="504">
                  <c:v>3.553-3.560</c:v>
                </c:pt>
                <c:pt idx="505">
                  <c:v>3.560-3.567</c:v>
                </c:pt>
                <c:pt idx="506">
                  <c:v>3.567-3.574</c:v>
                </c:pt>
                <c:pt idx="507">
                  <c:v>3.574-3.581</c:v>
                </c:pt>
                <c:pt idx="508">
                  <c:v>3.581-3.588</c:v>
                </c:pt>
                <c:pt idx="509">
                  <c:v>3.588-3.595</c:v>
                </c:pt>
                <c:pt idx="510">
                  <c:v>3.595-3.602</c:v>
                </c:pt>
                <c:pt idx="511">
                  <c:v>3.602-3.609</c:v>
                </c:pt>
                <c:pt idx="512">
                  <c:v>3.609-3.617</c:v>
                </c:pt>
                <c:pt idx="513">
                  <c:v>3.617-3.624</c:v>
                </c:pt>
                <c:pt idx="514">
                  <c:v>3.624-3.631</c:v>
                </c:pt>
                <c:pt idx="515">
                  <c:v>3.631-3.638</c:v>
                </c:pt>
                <c:pt idx="516">
                  <c:v>3.638-3.645</c:v>
                </c:pt>
                <c:pt idx="517">
                  <c:v>3.645-3.652</c:v>
                </c:pt>
                <c:pt idx="518">
                  <c:v>3.652-3.659</c:v>
                </c:pt>
                <c:pt idx="519">
                  <c:v>3.659-3.666</c:v>
                </c:pt>
                <c:pt idx="520">
                  <c:v>3.666-3.673</c:v>
                </c:pt>
                <c:pt idx="521">
                  <c:v>3.673-3.680</c:v>
                </c:pt>
                <c:pt idx="522">
                  <c:v>3.680-3.687</c:v>
                </c:pt>
                <c:pt idx="523">
                  <c:v>3.687-3.694</c:v>
                </c:pt>
                <c:pt idx="524">
                  <c:v>3.694-3.701</c:v>
                </c:pt>
                <c:pt idx="525">
                  <c:v>3.701-3.708</c:v>
                </c:pt>
                <c:pt idx="526">
                  <c:v>3.708-3.715</c:v>
                </c:pt>
                <c:pt idx="527">
                  <c:v>3.715-3.722</c:v>
                </c:pt>
                <c:pt idx="528">
                  <c:v>3.722-3.729</c:v>
                </c:pt>
                <c:pt idx="529">
                  <c:v>3.729-3.736</c:v>
                </c:pt>
                <c:pt idx="530">
                  <c:v>3.736-3.743</c:v>
                </c:pt>
                <c:pt idx="531">
                  <c:v>3.743-3.750</c:v>
                </c:pt>
                <c:pt idx="532">
                  <c:v>3.750-3.757</c:v>
                </c:pt>
                <c:pt idx="533">
                  <c:v>3.757-3.764</c:v>
                </c:pt>
                <c:pt idx="534">
                  <c:v>3.764-3.771</c:v>
                </c:pt>
                <c:pt idx="535">
                  <c:v>3.771-3.778</c:v>
                </c:pt>
                <c:pt idx="536">
                  <c:v>3.778-3.785</c:v>
                </c:pt>
                <c:pt idx="537">
                  <c:v>3.785-3.792</c:v>
                </c:pt>
                <c:pt idx="538">
                  <c:v>3.792-3.799</c:v>
                </c:pt>
                <c:pt idx="539">
                  <c:v>3.799-3.806</c:v>
                </c:pt>
                <c:pt idx="540">
                  <c:v>3.806-3.813</c:v>
                </c:pt>
                <c:pt idx="541">
                  <c:v>3.813-3.820</c:v>
                </c:pt>
                <c:pt idx="542">
                  <c:v>3.820-3.827</c:v>
                </c:pt>
                <c:pt idx="543">
                  <c:v>3.827-3.835</c:v>
                </c:pt>
                <c:pt idx="544">
                  <c:v>3.835-3.842</c:v>
                </c:pt>
                <c:pt idx="545">
                  <c:v>3.842-3.849</c:v>
                </c:pt>
                <c:pt idx="546">
                  <c:v>3.849-3.856</c:v>
                </c:pt>
                <c:pt idx="547">
                  <c:v>3.856-3.863</c:v>
                </c:pt>
                <c:pt idx="548">
                  <c:v>3.863-3.870</c:v>
                </c:pt>
                <c:pt idx="549">
                  <c:v>3.870-3.877</c:v>
                </c:pt>
                <c:pt idx="550">
                  <c:v>3.877-3.884</c:v>
                </c:pt>
                <c:pt idx="551">
                  <c:v>3.884-3.891</c:v>
                </c:pt>
                <c:pt idx="552">
                  <c:v>3.891-3.898</c:v>
                </c:pt>
                <c:pt idx="553">
                  <c:v>3.898-3.905</c:v>
                </c:pt>
                <c:pt idx="554">
                  <c:v>3.905-3.912</c:v>
                </c:pt>
                <c:pt idx="555">
                  <c:v>3.912-3.919</c:v>
                </c:pt>
                <c:pt idx="556">
                  <c:v>3.919-3.926</c:v>
                </c:pt>
                <c:pt idx="557">
                  <c:v>3.926-3.933</c:v>
                </c:pt>
                <c:pt idx="558">
                  <c:v>3.933-3.940</c:v>
                </c:pt>
                <c:pt idx="559">
                  <c:v>3.940-3.947</c:v>
                </c:pt>
                <c:pt idx="560">
                  <c:v>3.947-3.954</c:v>
                </c:pt>
                <c:pt idx="561">
                  <c:v>3.954-3.961</c:v>
                </c:pt>
                <c:pt idx="562">
                  <c:v>3.961-3.968</c:v>
                </c:pt>
                <c:pt idx="563">
                  <c:v>3.968-3.975</c:v>
                </c:pt>
                <c:pt idx="564">
                  <c:v>3.975-3.982</c:v>
                </c:pt>
                <c:pt idx="565">
                  <c:v>3.982-3.989</c:v>
                </c:pt>
                <c:pt idx="566">
                  <c:v>3.989-3.996</c:v>
                </c:pt>
                <c:pt idx="567">
                  <c:v>3.996-4.003</c:v>
                </c:pt>
                <c:pt idx="568">
                  <c:v>4.003-4.010</c:v>
                </c:pt>
                <c:pt idx="569">
                  <c:v>4.010-4.017</c:v>
                </c:pt>
                <c:pt idx="570">
                  <c:v>4.017-4.024</c:v>
                </c:pt>
                <c:pt idx="571">
                  <c:v>4.024-4.031</c:v>
                </c:pt>
                <c:pt idx="572">
                  <c:v>4.031-4.038</c:v>
                </c:pt>
                <c:pt idx="573">
                  <c:v>4.038-4.045</c:v>
                </c:pt>
                <c:pt idx="574">
                  <c:v>4.045-4.053</c:v>
                </c:pt>
                <c:pt idx="575">
                  <c:v>4.053-4.060</c:v>
                </c:pt>
                <c:pt idx="576">
                  <c:v>4.060-4.067</c:v>
                </c:pt>
                <c:pt idx="577">
                  <c:v>4.067-4.074</c:v>
                </c:pt>
                <c:pt idx="578">
                  <c:v>4.074-4.081</c:v>
                </c:pt>
                <c:pt idx="579">
                  <c:v>4.081-4.088</c:v>
                </c:pt>
                <c:pt idx="580">
                  <c:v>4.088-4.095</c:v>
                </c:pt>
                <c:pt idx="581">
                  <c:v>4.095-4.102</c:v>
                </c:pt>
                <c:pt idx="582">
                  <c:v>4.102-4.109</c:v>
                </c:pt>
                <c:pt idx="583">
                  <c:v>4.109-4.116</c:v>
                </c:pt>
                <c:pt idx="584">
                  <c:v>4.116-4.123</c:v>
                </c:pt>
                <c:pt idx="585">
                  <c:v>4.123-4.130</c:v>
                </c:pt>
                <c:pt idx="586">
                  <c:v>4.130-4.137</c:v>
                </c:pt>
                <c:pt idx="587">
                  <c:v>4.137-4.144</c:v>
                </c:pt>
                <c:pt idx="588">
                  <c:v>4.144-4.151</c:v>
                </c:pt>
                <c:pt idx="589">
                  <c:v>4.151-4.158</c:v>
                </c:pt>
                <c:pt idx="590">
                  <c:v>4.158-4.165</c:v>
                </c:pt>
                <c:pt idx="591">
                  <c:v>4.165-4.172</c:v>
                </c:pt>
                <c:pt idx="592">
                  <c:v>4.172-4.179</c:v>
                </c:pt>
                <c:pt idx="593">
                  <c:v>4.179-4.186</c:v>
                </c:pt>
                <c:pt idx="594">
                  <c:v>4.186-4.193</c:v>
                </c:pt>
                <c:pt idx="595">
                  <c:v>4.193-4.200</c:v>
                </c:pt>
                <c:pt idx="596">
                  <c:v>4.200-4.207</c:v>
                </c:pt>
                <c:pt idx="597">
                  <c:v>4.207-4.214</c:v>
                </c:pt>
                <c:pt idx="598">
                  <c:v>4.214-4.221</c:v>
                </c:pt>
                <c:pt idx="599">
                  <c:v>4.221-4.228</c:v>
                </c:pt>
                <c:pt idx="600">
                  <c:v>4.228-4.235</c:v>
                </c:pt>
                <c:pt idx="601">
                  <c:v>4.235-4.242</c:v>
                </c:pt>
                <c:pt idx="602">
                  <c:v>4.242-4.249</c:v>
                </c:pt>
                <c:pt idx="603">
                  <c:v>4.249-4.256</c:v>
                </c:pt>
                <c:pt idx="604">
                  <c:v>4.256-4.263</c:v>
                </c:pt>
                <c:pt idx="605">
                  <c:v>4.263-4.271</c:v>
                </c:pt>
                <c:pt idx="606">
                  <c:v>4.271-4.278</c:v>
                </c:pt>
                <c:pt idx="607">
                  <c:v>4.278-4.285</c:v>
                </c:pt>
                <c:pt idx="608">
                  <c:v>4.285-4.292</c:v>
                </c:pt>
                <c:pt idx="609">
                  <c:v>4.292-4.299</c:v>
                </c:pt>
                <c:pt idx="610">
                  <c:v>4.299-4.306</c:v>
                </c:pt>
                <c:pt idx="611">
                  <c:v>4.306-4.313</c:v>
                </c:pt>
                <c:pt idx="612">
                  <c:v>4.313-4.320</c:v>
                </c:pt>
                <c:pt idx="613">
                  <c:v>4.320-4.327</c:v>
                </c:pt>
                <c:pt idx="614">
                  <c:v>4.327-4.334</c:v>
                </c:pt>
                <c:pt idx="615">
                  <c:v>4.334-4.341</c:v>
                </c:pt>
                <c:pt idx="616">
                  <c:v>4.341-4.348</c:v>
                </c:pt>
                <c:pt idx="617">
                  <c:v>4.348-4.355</c:v>
                </c:pt>
                <c:pt idx="618">
                  <c:v>4.355-4.362</c:v>
                </c:pt>
                <c:pt idx="619">
                  <c:v>4.362-4.369</c:v>
                </c:pt>
                <c:pt idx="620">
                  <c:v>4.369-4.376</c:v>
                </c:pt>
                <c:pt idx="621">
                  <c:v>4.376-4.383</c:v>
                </c:pt>
                <c:pt idx="622">
                  <c:v>4.383-4.390</c:v>
                </c:pt>
                <c:pt idx="623">
                  <c:v>4.390-4.397</c:v>
                </c:pt>
                <c:pt idx="624">
                  <c:v>4.397-4.404</c:v>
                </c:pt>
                <c:pt idx="625">
                  <c:v>4.404-4.411</c:v>
                </c:pt>
                <c:pt idx="626">
                  <c:v>4.411-4.418</c:v>
                </c:pt>
                <c:pt idx="627">
                  <c:v>4.418-4.425</c:v>
                </c:pt>
                <c:pt idx="628">
                  <c:v>4.425-4.432</c:v>
                </c:pt>
                <c:pt idx="629">
                  <c:v>4.432-4.439</c:v>
                </c:pt>
                <c:pt idx="630">
                  <c:v>4.439-4.446</c:v>
                </c:pt>
                <c:pt idx="631">
                  <c:v>4.446-4.453</c:v>
                </c:pt>
                <c:pt idx="632">
                  <c:v>4.453-4.460</c:v>
                </c:pt>
                <c:pt idx="633">
                  <c:v>4.460-4.467</c:v>
                </c:pt>
                <c:pt idx="634">
                  <c:v>4.467-4.474</c:v>
                </c:pt>
                <c:pt idx="635">
                  <c:v>4.474-4.481</c:v>
                </c:pt>
                <c:pt idx="636">
                  <c:v>4.481-4.489</c:v>
                </c:pt>
                <c:pt idx="637">
                  <c:v>4.489-4.496</c:v>
                </c:pt>
                <c:pt idx="638">
                  <c:v>4.496-4.503</c:v>
                </c:pt>
                <c:pt idx="639">
                  <c:v>4.503-4.510</c:v>
                </c:pt>
                <c:pt idx="640">
                  <c:v>4.510-4.517</c:v>
                </c:pt>
                <c:pt idx="641">
                  <c:v>4.517-4.524</c:v>
                </c:pt>
                <c:pt idx="642">
                  <c:v>4.524-4.531</c:v>
                </c:pt>
                <c:pt idx="643">
                  <c:v>4.531-4.538</c:v>
                </c:pt>
                <c:pt idx="644">
                  <c:v>4.538-4.545</c:v>
                </c:pt>
                <c:pt idx="645">
                  <c:v>4.545-4.552</c:v>
                </c:pt>
                <c:pt idx="646">
                  <c:v>4.552-4.559</c:v>
                </c:pt>
                <c:pt idx="647">
                  <c:v>4.559-4.566</c:v>
                </c:pt>
                <c:pt idx="648">
                  <c:v>4.566-4.573</c:v>
                </c:pt>
                <c:pt idx="649">
                  <c:v>4.573-4.580</c:v>
                </c:pt>
                <c:pt idx="650">
                  <c:v>4.580-4.587</c:v>
                </c:pt>
                <c:pt idx="651">
                  <c:v>4.587-4.594</c:v>
                </c:pt>
                <c:pt idx="652">
                  <c:v>4.594-4.601</c:v>
                </c:pt>
                <c:pt idx="653">
                  <c:v>4.601-4.608</c:v>
                </c:pt>
                <c:pt idx="654">
                  <c:v>4.608-4.615</c:v>
                </c:pt>
                <c:pt idx="655">
                  <c:v>4.615-4.622</c:v>
                </c:pt>
                <c:pt idx="656">
                  <c:v>4.622-4.629</c:v>
                </c:pt>
                <c:pt idx="657">
                  <c:v>4.629-4.636</c:v>
                </c:pt>
                <c:pt idx="658">
                  <c:v>4.636-4.643</c:v>
                </c:pt>
                <c:pt idx="659">
                  <c:v>4.643-4.650</c:v>
                </c:pt>
                <c:pt idx="660">
                  <c:v>4.650-4.657</c:v>
                </c:pt>
                <c:pt idx="661">
                  <c:v>4.657-4.664</c:v>
                </c:pt>
                <c:pt idx="662">
                  <c:v>4.664-4.671</c:v>
                </c:pt>
                <c:pt idx="663">
                  <c:v>4.671-4.678</c:v>
                </c:pt>
                <c:pt idx="664">
                  <c:v>4.678-4.685</c:v>
                </c:pt>
                <c:pt idx="665">
                  <c:v>4.685-4.692</c:v>
                </c:pt>
                <c:pt idx="666">
                  <c:v>4.692-4.699</c:v>
                </c:pt>
                <c:pt idx="667">
                  <c:v>4.699-4.707</c:v>
                </c:pt>
                <c:pt idx="668">
                  <c:v>4.707-4.714</c:v>
                </c:pt>
                <c:pt idx="669">
                  <c:v>4.714-4.721</c:v>
                </c:pt>
                <c:pt idx="670">
                  <c:v>4.721-4.728</c:v>
                </c:pt>
                <c:pt idx="671">
                  <c:v>4.728-4.735</c:v>
                </c:pt>
                <c:pt idx="672">
                  <c:v>4.735-4.742</c:v>
                </c:pt>
                <c:pt idx="673">
                  <c:v>4.742-4.749</c:v>
                </c:pt>
                <c:pt idx="674">
                  <c:v>4.749-4.756</c:v>
                </c:pt>
                <c:pt idx="675">
                  <c:v>4.756-4.763</c:v>
                </c:pt>
                <c:pt idx="676">
                  <c:v>4.763-4.770</c:v>
                </c:pt>
                <c:pt idx="677">
                  <c:v>4.770-4.777</c:v>
                </c:pt>
                <c:pt idx="678">
                  <c:v>4.777-4.784</c:v>
                </c:pt>
                <c:pt idx="679">
                  <c:v>4.784-4.791</c:v>
                </c:pt>
                <c:pt idx="680">
                  <c:v>4.791-4.798</c:v>
                </c:pt>
                <c:pt idx="681">
                  <c:v>4.798-4.805</c:v>
                </c:pt>
                <c:pt idx="682">
                  <c:v>4.805-4.812</c:v>
                </c:pt>
                <c:pt idx="683">
                  <c:v>4.812-4.819</c:v>
                </c:pt>
                <c:pt idx="684">
                  <c:v>4.819-4.826</c:v>
                </c:pt>
                <c:pt idx="685">
                  <c:v>4.826-4.833</c:v>
                </c:pt>
                <c:pt idx="686">
                  <c:v>4.833-4.840</c:v>
                </c:pt>
                <c:pt idx="687">
                  <c:v>4.840-4.847</c:v>
                </c:pt>
                <c:pt idx="688">
                  <c:v>4.847-4.854</c:v>
                </c:pt>
                <c:pt idx="689">
                  <c:v>4.854-4.861</c:v>
                </c:pt>
                <c:pt idx="690">
                  <c:v>4.861-4.868</c:v>
                </c:pt>
                <c:pt idx="691">
                  <c:v>4.868-4.875</c:v>
                </c:pt>
                <c:pt idx="692">
                  <c:v>4.875-4.882</c:v>
                </c:pt>
                <c:pt idx="693">
                  <c:v>4.882-4.889</c:v>
                </c:pt>
                <c:pt idx="694">
                  <c:v>4.889-4.896</c:v>
                </c:pt>
                <c:pt idx="695">
                  <c:v>4.896-4.903</c:v>
                </c:pt>
                <c:pt idx="696">
                  <c:v>4.903-4.910</c:v>
                </c:pt>
                <c:pt idx="697">
                  <c:v>4.910-4.917</c:v>
                </c:pt>
                <c:pt idx="698">
                  <c:v>4.917-4.925</c:v>
                </c:pt>
                <c:pt idx="699">
                  <c:v>4.925-4.932</c:v>
                </c:pt>
                <c:pt idx="700">
                  <c:v>4.932-4.939</c:v>
                </c:pt>
                <c:pt idx="701">
                  <c:v>4.939-4.946</c:v>
                </c:pt>
                <c:pt idx="702">
                  <c:v>4.946-4.953</c:v>
                </c:pt>
                <c:pt idx="703">
                  <c:v>4.953-4.960</c:v>
                </c:pt>
                <c:pt idx="704">
                  <c:v>4.960-4.967</c:v>
                </c:pt>
                <c:pt idx="705">
                  <c:v>4.967-4.974</c:v>
                </c:pt>
                <c:pt idx="706">
                  <c:v>4.974-4.981</c:v>
                </c:pt>
                <c:pt idx="707">
                  <c:v>4.981-4.988</c:v>
                </c:pt>
                <c:pt idx="708">
                  <c:v>4.988-4.995</c:v>
                </c:pt>
                <c:pt idx="709">
                  <c:v>4.995-5.002</c:v>
                </c:pt>
                <c:pt idx="710">
                  <c:v>5.002-5.009</c:v>
                </c:pt>
                <c:pt idx="711">
                  <c:v>5.009-5.016</c:v>
                </c:pt>
                <c:pt idx="712">
                  <c:v>5.016-5.023</c:v>
                </c:pt>
                <c:pt idx="713">
                  <c:v>5.023-5.030</c:v>
                </c:pt>
                <c:pt idx="714">
                  <c:v>5.030-5.037</c:v>
                </c:pt>
                <c:pt idx="715">
                  <c:v>5.037-5.044</c:v>
                </c:pt>
                <c:pt idx="716">
                  <c:v>5.044-5.051</c:v>
                </c:pt>
                <c:pt idx="717">
                  <c:v>5.051-5.058</c:v>
                </c:pt>
                <c:pt idx="718">
                  <c:v>5.058-5.065</c:v>
                </c:pt>
                <c:pt idx="719">
                  <c:v>5.065-5.072</c:v>
                </c:pt>
                <c:pt idx="720">
                  <c:v>5.072-5.079</c:v>
                </c:pt>
                <c:pt idx="721">
                  <c:v>5.079-5.086</c:v>
                </c:pt>
                <c:pt idx="722">
                  <c:v>5.086-5.093</c:v>
                </c:pt>
                <c:pt idx="723">
                  <c:v>5.093-5.100</c:v>
                </c:pt>
                <c:pt idx="724">
                  <c:v>5.100-5.107</c:v>
                </c:pt>
                <c:pt idx="725">
                  <c:v>5.107-5.114</c:v>
                </c:pt>
                <c:pt idx="726">
                  <c:v>5.114-5.121</c:v>
                </c:pt>
                <c:pt idx="727">
                  <c:v>5.121-5.128</c:v>
                </c:pt>
                <c:pt idx="728">
                  <c:v>5.128-5.135</c:v>
                </c:pt>
                <c:pt idx="729">
                  <c:v>5.135-5.143</c:v>
                </c:pt>
                <c:pt idx="730">
                  <c:v>5.143-5.150</c:v>
                </c:pt>
                <c:pt idx="731">
                  <c:v>5.150-5.157</c:v>
                </c:pt>
                <c:pt idx="732">
                  <c:v>5.157-5.164</c:v>
                </c:pt>
                <c:pt idx="733">
                  <c:v>5.164-5.171</c:v>
                </c:pt>
                <c:pt idx="734">
                  <c:v>5.171-5.178</c:v>
                </c:pt>
                <c:pt idx="735">
                  <c:v>5.178-5.185</c:v>
                </c:pt>
                <c:pt idx="736">
                  <c:v>5.185-5.192</c:v>
                </c:pt>
                <c:pt idx="737">
                  <c:v>5.192-5.199</c:v>
                </c:pt>
                <c:pt idx="738">
                  <c:v>5.199-5.206</c:v>
                </c:pt>
                <c:pt idx="739">
                  <c:v>5.206-5.213</c:v>
                </c:pt>
                <c:pt idx="740">
                  <c:v>5.213-5.220</c:v>
                </c:pt>
                <c:pt idx="741">
                  <c:v>5.220-5.227</c:v>
                </c:pt>
                <c:pt idx="742">
                  <c:v>5.227-5.234</c:v>
                </c:pt>
                <c:pt idx="743">
                  <c:v>5.234-5.241</c:v>
                </c:pt>
                <c:pt idx="744">
                  <c:v>5.241-5.248</c:v>
                </c:pt>
                <c:pt idx="745">
                  <c:v>5.248-5.255</c:v>
                </c:pt>
                <c:pt idx="746">
                  <c:v>5.255-5.262</c:v>
                </c:pt>
                <c:pt idx="747">
                  <c:v>5.262-5.269</c:v>
                </c:pt>
                <c:pt idx="748">
                  <c:v>5.269-5.276</c:v>
                </c:pt>
                <c:pt idx="749">
                  <c:v>5.276-5.283</c:v>
                </c:pt>
                <c:pt idx="750">
                  <c:v>5.283-5.290</c:v>
                </c:pt>
                <c:pt idx="751">
                  <c:v>5.290-5.297</c:v>
                </c:pt>
                <c:pt idx="752">
                  <c:v>5.297-5.304</c:v>
                </c:pt>
                <c:pt idx="753">
                  <c:v>5.304-5.311</c:v>
                </c:pt>
                <c:pt idx="754">
                  <c:v>5.311-5.318</c:v>
                </c:pt>
                <c:pt idx="755">
                  <c:v>5.318-5.325</c:v>
                </c:pt>
                <c:pt idx="756">
                  <c:v>5.325-5.332</c:v>
                </c:pt>
                <c:pt idx="757">
                  <c:v>5.332-5.339</c:v>
                </c:pt>
                <c:pt idx="758">
                  <c:v>5.339-5.346</c:v>
                </c:pt>
                <c:pt idx="759">
                  <c:v>5.346-5.353</c:v>
                </c:pt>
                <c:pt idx="760">
                  <c:v>5.353-5.361</c:v>
                </c:pt>
                <c:pt idx="761">
                  <c:v>5.361-5.368</c:v>
                </c:pt>
                <c:pt idx="762">
                  <c:v>5.368-5.375</c:v>
                </c:pt>
                <c:pt idx="763">
                  <c:v>5.375-5.382</c:v>
                </c:pt>
                <c:pt idx="764">
                  <c:v>5.382-5.389</c:v>
                </c:pt>
                <c:pt idx="765">
                  <c:v>5.389-5.396</c:v>
                </c:pt>
                <c:pt idx="766">
                  <c:v>5.396-5.403</c:v>
                </c:pt>
                <c:pt idx="767">
                  <c:v>5.403-5.410</c:v>
                </c:pt>
                <c:pt idx="768">
                  <c:v>5.410-5.417</c:v>
                </c:pt>
                <c:pt idx="769">
                  <c:v>5.417-5.424</c:v>
                </c:pt>
                <c:pt idx="770">
                  <c:v>5.424-5.431</c:v>
                </c:pt>
                <c:pt idx="771">
                  <c:v>5.431-5.438</c:v>
                </c:pt>
                <c:pt idx="772">
                  <c:v>5.438-5.445</c:v>
                </c:pt>
                <c:pt idx="773">
                  <c:v>5.445-5.452</c:v>
                </c:pt>
                <c:pt idx="774">
                  <c:v>5.452-5.459</c:v>
                </c:pt>
                <c:pt idx="775">
                  <c:v>5.459-5.466</c:v>
                </c:pt>
                <c:pt idx="776">
                  <c:v>5.466-5.473</c:v>
                </c:pt>
                <c:pt idx="777">
                  <c:v>5.473-5.480</c:v>
                </c:pt>
                <c:pt idx="778">
                  <c:v>5.480-5.487</c:v>
                </c:pt>
                <c:pt idx="779">
                  <c:v>5.487-5.494</c:v>
                </c:pt>
                <c:pt idx="780">
                  <c:v>5.494-5.501</c:v>
                </c:pt>
                <c:pt idx="781">
                  <c:v>5.501-5.508</c:v>
                </c:pt>
                <c:pt idx="782">
                  <c:v>5.508-5.515</c:v>
                </c:pt>
                <c:pt idx="783">
                  <c:v>5.515-5.522</c:v>
                </c:pt>
                <c:pt idx="784">
                  <c:v>5.522-5.529</c:v>
                </c:pt>
                <c:pt idx="785">
                  <c:v>5.529-5.536</c:v>
                </c:pt>
                <c:pt idx="786">
                  <c:v>5.536-5.543</c:v>
                </c:pt>
                <c:pt idx="787">
                  <c:v>5.543-5.550</c:v>
                </c:pt>
                <c:pt idx="788">
                  <c:v>5.550-5.557</c:v>
                </c:pt>
                <c:pt idx="789">
                  <c:v>5.557-5.564</c:v>
                </c:pt>
                <c:pt idx="790">
                  <c:v>5.564-5.571</c:v>
                </c:pt>
                <c:pt idx="791">
                  <c:v>5.571-5.579</c:v>
                </c:pt>
                <c:pt idx="792">
                  <c:v>5.579-5.586</c:v>
                </c:pt>
                <c:pt idx="793">
                  <c:v>5.586-5.593</c:v>
                </c:pt>
                <c:pt idx="794">
                  <c:v>5.593-5.600</c:v>
                </c:pt>
                <c:pt idx="795">
                  <c:v>5.600-5.607</c:v>
                </c:pt>
                <c:pt idx="796">
                  <c:v>5.607-5.614</c:v>
                </c:pt>
                <c:pt idx="797">
                  <c:v>5.614-5.621</c:v>
                </c:pt>
                <c:pt idx="798">
                  <c:v>5.621-5.628</c:v>
                </c:pt>
                <c:pt idx="799">
                  <c:v>5.628-5.635</c:v>
                </c:pt>
                <c:pt idx="800">
                  <c:v>5.635-5.642</c:v>
                </c:pt>
                <c:pt idx="801">
                  <c:v>5.642-5.649</c:v>
                </c:pt>
                <c:pt idx="802">
                  <c:v>5.649-5.656</c:v>
                </c:pt>
                <c:pt idx="803">
                  <c:v>5.656-5.663</c:v>
                </c:pt>
                <c:pt idx="804">
                  <c:v>5.663-5.670</c:v>
                </c:pt>
                <c:pt idx="805">
                  <c:v>5.670-5.677</c:v>
                </c:pt>
                <c:pt idx="806">
                  <c:v>5.677-5.684</c:v>
                </c:pt>
                <c:pt idx="807">
                  <c:v>5.684-5.691</c:v>
                </c:pt>
                <c:pt idx="808">
                  <c:v>5.691-5.698</c:v>
                </c:pt>
                <c:pt idx="809">
                  <c:v>5.698-5.705</c:v>
                </c:pt>
                <c:pt idx="810">
                  <c:v>5.705-5.712</c:v>
                </c:pt>
                <c:pt idx="811">
                  <c:v>5.712-5.719</c:v>
                </c:pt>
                <c:pt idx="812">
                  <c:v>5.719-5.726</c:v>
                </c:pt>
                <c:pt idx="813">
                  <c:v>5.726-5.733</c:v>
                </c:pt>
                <c:pt idx="814">
                  <c:v>5.733-5.740</c:v>
                </c:pt>
                <c:pt idx="815">
                  <c:v>5.740-5.747</c:v>
                </c:pt>
                <c:pt idx="816">
                  <c:v>5.747-5.754</c:v>
                </c:pt>
                <c:pt idx="817">
                  <c:v>5.754-5.761</c:v>
                </c:pt>
                <c:pt idx="818">
                  <c:v>5.761-5.768</c:v>
                </c:pt>
                <c:pt idx="819">
                  <c:v>5.768-5.775</c:v>
                </c:pt>
                <c:pt idx="820">
                  <c:v>5.775-5.782</c:v>
                </c:pt>
                <c:pt idx="821">
                  <c:v>5.782-5.789</c:v>
                </c:pt>
                <c:pt idx="822">
                  <c:v>5.789-5.797</c:v>
                </c:pt>
                <c:pt idx="823">
                  <c:v>5.797-5.804</c:v>
                </c:pt>
                <c:pt idx="824">
                  <c:v>5.804-5.811</c:v>
                </c:pt>
                <c:pt idx="825">
                  <c:v>5.811-5.818</c:v>
                </c:pt>
                <c:pt idx="826">
                  <c:v>5.818-5.825</c:v>
                </c:pt>
                <c:pt idx="827">
                  <c:v>5.825-5.832</c:v>
                </c:pt>
                <c:pt idx="828">
                  <c:v>5.832-5.839</c:v>
                </c:pt>
                <c:pt idx="829">
                  <c:v>5.839-5.846</c:v>
                </c:pt>
                <c:pt idx="830">
                  <c:v>5.846-5.853</c:v>
                </c:pt>
                <c:pt idx="831">
                  <c:v>5.853-5.860</c:v>
                </c:pt>
                <c:pt idx="832">
                  <c:v>5.860-5.867</c:v>
                </c:pt>
                <c:pt idx="833">
                  <c:v>5.867-5.874</c:v>
                </c:pt>
                <c:pt idx="834">
                  <c:v>5.874-5.881</c:v>
                </c:pt>
                <c:pt idx="835">
                  <c:v>5.881-5.888</c:v>
                </c:pt>
                <c:pt idx="836">
                  <c:v>5.888-5.895</c:v>
                </c:pt>
                <c:pt idx="837">
                  <c:v>5.895-5.902</c:v>
                </c:pt>
                <c:pt idx="838">
                  <c:v>5.902-5.909</c:v>
                </c:pt>
                <c:pt idx="839">
                  <c:v>5.909-5.916</c:v>
                </c:pt>
                <c:pt idx="840">
                  <c:v>5.916-5.923</c:v>
                </c:pt>
                <c:pt idx="841">
                  <c:v>5.923-5.930</c:v>
                </c:pt>
                <c:pt idx="842">
                  <c:v>5.930-5.937</c:v>
                </c:pt>
                <c:pt idx="843">
                  <c:v>5.937-5.944</c:v>
                </c:pt>
                <c:pt idx="844">
                  <c:v>5.944-5.951</c:v>
                </c:pt>
                <c:pt idx="845">
                  <c:v>5.951-5.958</c:v>
                </c:pt>
                <c:pt idx="846">
                  <c:v>5.958-5.965</c:v>
                </c:pt>
                <c:pt idx="847">
                  <c:v>5.965-5.972</c:v>
                </c:pt>
                <c:pt idx="848">
                  <c:v>5.972-5.979</c:v>
                </c:pt>
                <c:pt idx="849">
                  <c:v>5.979-5.986</c:v>
                </c:pt>
                <c:pt idx="850">
                  <c:v>5.986-5.993</c:v>
                </c:pt>
                <c:pt idx="851">
                  <c:v>5.993-6.000</c:v>
                </c:pt>
                <c:pt idx="852">
                  <c:v>6.000-6.007</c:v>
                </c:pt>
                <c:pt idx="853">
                  <c:v>6.007-6.014</c:v>
                </c:pt>
                <c:pt idx="854">
                  <c:v>6.014-6.022</c:v>
                </c:pt>
                <c:pt idx="855">
                  <c:v>6.022-6.029</c:v>
                </c:pt>
                <c:pt idx="856">
                  <c:v>6.029-6.036</c:v>
                </c:pt>
                <c:pt idx="857">
                  <c:v>6.036-6.043</c:v>
                </c:pt>
                <c:pt idx="858">
                  <c:v>6.043-6.050</c:v>
                </c:pt>
                <c:pt idx="859">
                  <c:v>6.050-6.057</c:v>
                </c:pt>
                <c:pt idx="860">
                  <c:v>6.057-6.064</c:v>
                </c:pt>
                <c:pt idx="861">
                  <c:v>6.064-6.071</c:v>
                </c:pt>
                <c:pt idx="862">
                  <c:v>6.071-6.078</c:v>
                </c:pt>
                <c:pt idx="863">
                  <c:v>6.078-6.085</c:v>
                </c:pt>
                <c:pt idx="864">
                  <c:v>6.085-6.092</c:v>
                </c:pt>
                <c:pt idx="865">
                  <c:v>6.092-6.099</c:v>
                </c:pt>
                <c:pt idx="866">
                  <c:v>6.099-6.106</c:v>
                </c:pt>
                <c:pt idx="867">
                  <c:v>6.106-6.113</c:v>
                </c:pt>
                <c:pt idx="868">
                  <c:v>6.113-6.120</c:v>
                </c:pt>
                <c:pt idx="869">
                  <c:v>6.120-6.127</c:v>
                </c:pt>
                <c:pt idx="870">
                  <c:v>6.127-6.134</c:v>
                </c:pt>
                <c:pt idx="871">
                  <c:v>6.134-6.141</c:v>
                </c:pt>
                <c:pt idx="872">
                  <c:v>6.141-6.148</c:v>
                </c:pt>
                <c:pt idx="873">
                  <c:v>6.148-6.155</c:v>
                </c:pt>
                <c:pt idx="874">
                  <c:v>6.155-6.162</c:v>
                </c:pt>
                <c:pt idx="875">
                  <c:v>6.162-6.169</c:v>
                </c:pt>
                <c:pt idx="876">
                  <c:v>6.169-6.176</c:v>
                </c:pt>
                <c:pt idx="877">
                  <c:v>6.176-6.183</c:v>
                </c:pt>
                <c:pt idx="878">
                  <c:v>6.183-6.190</c:v>
                </c:pt>
                <c:pt idx="879">
                  <c:v>6.190-6.197</c:v>
                </c:pt>
                <c:pt idx="880">
                  <c:v>6.197-6.204</c:v>
                </c:pt>
                <c:pt idx="881">
                  <c:v>6.204-6.211</c:v>
                </c:pt>
                <c:pt idx="882">
                  <c:v>6.211-6.218</c:v>
                </c:pt>
                <c:pt idx="883">
                  <c:v>6.218-6.225</c:v>
                </c:pt>
                <c:pt idx="884">
                  <c:v>6.225-6.232</c:v>
                </c:pt>
                <c:pt idx="885">
                  <c:v>6.232-6.240</c:v>
                </c:pt>
                <c:pt idx="886">
                  <c:v>6.240-6.247</c:v>
                </c:pt>
                <c:pt idx="887">
                  <c:v>6.247-6.254</c:v>
                </c:pt>
                <c:pt idx="888">
                  <c:v>6.254-6.261</c:v>
                </c:pt>
                <c:pt idx="889">
                  <c:v>6.261-6.268</c:v>
                </c:pt>
                <c:pt idx="890">
                  <c:v>6.268-6.275</c:v>
                </c:pt>
                <c:pt idx="891">
                  <c:v>6.275-6.282</c:v>
                </c:pt>
                <c:pt idx="892">
                  <c:v>6.282-6.289</c:v>
                </c:pt>
                <c:pt idx="893">
                  <c:v>6.289-6.296</c:v>
                </c:pt>
                <c:pt idx="894">
                  <c:v>6.296-6.303</c:v>
                </c:pt>
                <c:pt idx="895">
                  <c:v>6.303-6.310</c:v>
                </c:pt>
                <c:pt idx="896">
                  <c:v>6.310-6.317</c:v>
                </c:pt>
                <c:pt idx="897">
                  <c:v>6.317-6.324</c:v>
                </c:pt>
                <c:pt idx="898">
                  <c:v>6.324-6.331</c:v>
                </c:pt>
                <c:pt idx="899">
                  <c:v>6.331-6.338</c:v>
                </c:pt>
                <c:pt idx="900">
                  <c:v>6.338-6.345</c:v>
                </c:pt>
                <c:pt idx="901">
                  <c:v>6.345-6.352</c:v>
                </c:pt>
                <c:pt idx="902">
                  <c:v>6.352-6.359</c:v>
                </c:pt>
                <c:pt idx="903">
                  <c:v>6.359-6.366</c:v>
                </c:pt>
                <c:pt idx="904">
                  <c:v>6.366-6.373</c:v>
                </c:pt>
                <c:pt idx="905">
                  <c:v>6.373-6.380</c:v>
                </c:pt>
                <c:pt idx="906">
                  <c:v>6.380-6.387</c:v>
                </c:pt>
                <c:pt idx="907">
                  <c:v>6.387-6.394</c:v>
                </c:pt>
                <c:pt idx="908">
                  <c:v>6.394-6.401</c:v>
                </c:pt>
                <c:pt idx="909">
                  <c:v>6.401-6.408</c:v>
                </c:pt>
                <c:pt idx="910">
                  <c:v>6.408-6.415</c:v>
                </c:pt>
                <c:pt idx="911">
                  <c:v>6.415-6.422</c:v>
                </c:pt>
                <c:pt idx="912">
                  <c:v>6.422-6.429</c:v>
                </c:pt>
                <c:pt idx="913">
                  <c:v>6.429-6.436</c:v>
                </c:pt>
                <c:pt idx="914">
                  <c:v>6.436-6.443</c:v>
                </c:pt>
                <c:pt idx="915">
                  <c:v>6.443-6.450</c:v>
                </c:pt>
                <c:pt idx="916">
                  <c:v>6.450-6.458</c:v>
                </c:pt>
                <c:pt idx="917">
                  <c:v>6.458-6.465</c:v>
                </c:pt>
                <c:pt idx="918">
                  <c:v>6.465-6.472</c:v>
                </c:pt>
                <c:pt idx="919">
                  <c:v>6.472-6.479</c:v>
                </c:pt>
                <c:pt idx="920">
                  <c:v>6.479-6.486</c:v>
                </c:pt>
                <c:pt idx="921">
                  <c:v>6.486-6.493</c:v>
                </c:pt>
                <c:pt idx="922">
                  <c:v>6.493-6.500</c:v>
                </c:pt>
                <c:pt idx="923">
                  <c:v>6.500-6.507</c:v>
                </c:pt>
                <c:pt idx="924">
                  <c:v>6.507-6.514</c:v>
                </c:pt>
                <c:pt idx="925">
                  <c:v>6.514-6.521</c:v>
                </c:pt>
                <c:pt idx="926">
                  <c:v>6.521-6.528</c:v>
                </c:pt>
                <c:pt idx="927">
                  <c:v>6.528-6.535</c:v>
                </c:pt>
                <c:pt idx="928">
                  <c:v>6.535-6.542</c:v>
                </c:pt>
                <c:pt idx="929">
                  <c:v>6.542-6.549</c:v>
                </c:pt>
                <c:pt idx="930">
                  <c:v>6.549-6.556</c:v>
                </c:pt>
                <c:pt idx="931">
                  <c:v>6.556-6.563</c:v>
                </c:pt>
                <c:pt idx="932">
                  <c:v>6.563-6.570</c:v>
                </c:pt>
                <c:pt idx="933">
                  <c:v>6.570-6.577</c:v>
                </c:pt>
                <c:pt idx="934">
                  <c:v>6.577-6.584</c:v>
                </c:pt>
                <c:pt idx="935">
                  <c:v>6.584-6.591</c:v>
                </c:pt>
                <c:pt idx="936">
                  <c:v>6.591-6.598</c:v>
                </c:pt>
                <c:pt idx="937">
                  <c:v>6.598-6.605</c:v>
                </c:pt>
                <c:pt idx="938">
                  <c:v>6.605-6.612</c:v>
                </c:pt>
                <c:pt idx="939">
                  <c:v>6.612-6.619</c:v>
                </c:pt>
                <c:pt idx="940">
                  <c:v>6.619-6.626</c:v>
                </c:pt>
                <c:pt idx="941">
                  <c:v>6.626-6.633</c:v>
                </c:pt>
                <c:pt idx="942">
                  <c:v>6.633-6.640</c:v>
                </c:pt>
                <c:pt idx="943">
                  <c:v>6.640-6.647</c:v>
                </c:pt>
                <c:pt idx="944">
                  <c:v>6.647-6.654</c:v>
                </c:pt>
                <c:pt idx="945">
                  <c:v>6.654-6.661</c:v>
                </c:pt>
                <c:pt idx="946">
                  <c:v>6.661-6.668</c:v>
                </c:pt>
                <c:pt idx="947">
                  <c:v>6.668-6.676</c:v>
                </c:pt>
                <c:pt idx="948">
                  <c:v>6.676-6.683</c:v>
                </c:pt>
                <c:pt idx="949">
                  <c:v>6.683-6.690</c:v>
                </c:pt>
                <c:pt idx="950">
                  <c:v>6.690-6.697</c:v>
                </c:pt>
                <c:pt idx="951">
                  <c:v>6.697-6.704</c:v>
                </c:pt>
                <c:pt idx="952">
                  <c:v>6.704-6.711</c:v>
                </c:pt>
                <c:pt idx="953">
                  <c:v>6.711-6.718</c:v>
                </c:pt>
                <c:pt idx="954">
                  <c:v>6.718-6.725</c:v>
                </c:pt>
                <c:pt idx="955">
                  <c:v>6.725-6.732</c:v>
                </c:pt>
                <c:pt idx="956">
                  <c:v>6.732-6.739</c:v>
                </c:pt>
                <c:pt idx="957">
                  <c:v>6.739-6.746</c:v>
                </c:pt>
                <c:pt idx="958">
                  <c:v>6.746-6.753</c:v>
                </c:pt>
                <c:pt idx="959">
                  <c:v>6.753-6.760</c:v>
                </c:pt>
                <c:pt idx="960">
                  <c:v>6.760-6.767</c:v>
                </c:pt>
                <c:pt idx="961">
                  <c:v>6.767-6.774</c:v>
                </c:pt>
                <c:pt idx="962">
                  <c:v>6.774-6.781</c:v>
                </c:pt>
                <c:pt idx="963">
                  <c:v>6.781-6.788</c:v>
                </c:pt>
                <c:pt idx="964">
                  <c:v>6.788-6.795</c:v>
                </c:pt>
                <c:pt idx="965">
                  <c:v>6.795-6.802</c:v>
                </c:pt>
                <c:pt idx="966">
                  <c:v>6.802-6.809</c:v>
                </c:pt>
                <c:pt idx="967">
                  <c:v>6.809-6.816</c:v>
                </c:pt>
                <c:pt idx="968">
                  <c:v>6.816-6.823</c:v>
                </c:pt>
                <c:pt idx="969">
                  <c:v>6.823-6.830</c:v>
                </c:pt>
                <c:pt idx="970">
                  <c:v>6.830-6.837</c:v>
                </c:pt>
                <c:pt idx="971">
                  <c:v>6.837-6.844</c:v>
                </c:pt>
                <c:pt idx="972">
                  <c:v>6.844-6.851</c:v>
                </c:pt>
                <c:pt idx="973">
                  <c:v>6.851-6.858</c:v>
                </c:pt>
                <c:pt idx="974">
                  <c:v>6.858-6.865</c:v>
                </c:pt>
                <c:pt idx="975">
                  <c:v>6.865-6.872</c:v>
                </c:pt>
                <c:pt idx="976">
                  <c:v>6.872-6.879</c:v>
                </c:pt>
                <c:pt idx="977">
                  <c:v>6.879-6.886</c:v>
                </c:pt>
                <c:pt idx="978">
                  <c:v>6.886-6.894</c:v>
                </c:pt>
                <c:pt idx="979">
                  <c:v>6.894-6.901</c:v>
                </c:pt>
                <c:pt idx="980">
                  <c:v>6.901-6.908</c:v>
                </c:pt>
                <c:pt idx="981">
                  <c:v>6.908-6.915</c:v>
                </c:pt>
                <c:pt idx="982">
                  <c:v>6.915-6.922</c:v>
                </c:pt>
                <c:pt idx="983">
                  <c:v>6.922-6.929</c:v>
                </c:pt>
                <c:pt idx="984">
                  <c:v>6.929-6.936</c:v>
                </c:pt>
                <c:pt idx="985">
                  <c:v>6.936-6.943</c:v>
                </c:pt>
                <c:pt idx="986">
                  <c:v>6.943-6.950</c:v>
                </c:pt>
                <c:pt idx="987">
                  <c:v>6.950-6.957</c:v>
                </c:pt>
                <c:pt idx="988">
                  <c:v>6.957-6.964</c:v>
                </c:pt>
                <c:pt idx="989">
                  <c:v>6.964-6.971</c:v>
                </c:pt>
                <c:pt idx="990">
                  <c:v>6.971-6.978</c:v>
                </c:pt>
                <c:pt idx="991">
                  <c:v>6.978-6.985</c:v>
                </c:pt>
                <c:pt idx="992">
                  <c:v>6.985-6.992</c:v>
                </c:pt>
                <c:pt idx="993">
                  <c:v>6.992-6.999</c:v>
                </c:pt>
                <c:pt idx="994">
                  <c:v>6.999-7.006</c:v>
                </c:pt>
                <c:pt idx="995">
                  <c:v>7.006-7.013</c:v>
                </c:pt>
                <c:pt idx="996">
                  <c:v>7.013-7.020</c:v>
                </c:pt>
                <c:pt idx="997">
                  <c:v>7.020-7.027</c:v>
                </c:pt>
                <c:pt idx="998">
                  <c:v>7.027-7.034</c:v>
                </c:pt>
                <c:pt idx="999">
                  <c:v>7.034-7.041</c:v>
                </c:pt>
                <c:pt idx="1000">
                  <c:v>7.041-7.048</c:v>
                </c:pt>
                <c:pt idx="1001">
                  <c:v>7.048-7.055</c:v>
                </c:pt>
                <c:pt idx="1002">
                  <c:v>7.055-7.062</c:v>
                </c:pt>
                <c:pt idx="1003">
                  <c:v>7.062-7.069</c:v>
                </c:pt>
                <c:pt idx="1004">
                  <c:v>7.069-7.076</c:v>
                </c:pt>
                <c:pt idx="1005">
                  <c:v>7.076-7.083</c:v>
                </c:pt>
                <c:pt idx="1006">
                  <c:v>7.083-7.090</c:v>
                </c:pt>
                <c:pt idx="1007">
                  <c:v>7.090-7.097</c:v>
                </c:pt>
                <c:pt idx="1008">
                  <c:v>7.097-7.104</c:v>
                </c:pt>
                <c:pt idx="1009">
                  <c:v>7.104-7.112</c:v>
                </c:pt>
                <c:pt idx="1010">
                  <c:v>7.112-7.119</c:v>
                </c:pt>
                <c:pt idx="1011">
                  <c:v>7.119-7.126</c:v>
                </c:pt>
                <c:pt idx="1012">
                  <c:v>7.126-7.133</c:v>
                </c:pt>
                <c:pt idx="1013">
                  <c:v>7.133-7.140</c:v>
                </c:pt>
                <c:pt idx="1014">
                  <c:v>7.140-7.147</c:v>
                </c:pt>
                <c:pt idx="1015">
                  <c:v>7.147-7.154</c:v>
                </c:pt>
                <c:pt idx="1016">
                  <c:v>7.154-7.161</c:v>
                </c:pt>
                <c:pt idx="1017">
                  <c:v>7.161-7.168</c:v>
                </c:pt>
                <c:pt idx="1018">
                  <c:v>7.168-7.175</c:v>
                </c:pt>
                <c:pt idx="1019">
                  <c:v>7.175-7.182</c:v>
                </c:pt>
                <c:pt idx="1020">
                  <c:v>7.182-7.189</c:v>
                </c:pt>
                <c:pt idx="1021">
                  <c:v>7.189-7.196</c:v>
                </c:pt>
                <c:pt idx="1022">
                  <c:v>7.196-7.203</c:v>
                </c:pt>
                <c:pt idx="1023">
                  <c:v>7.203-7.210</c:v>
                </c:pt>
                <c:pt idx="1024">
                  <c:v>7.210-7.217</c:v>
                </c:pt>
                <c:pt idx="1025">
                  <c:v>7.217-7.224</c:v>
                </c:pt>
                <c:pt idx="1026">
                  <c:v>7.224-7.231</c:v>
                </c:pt>
                <c:pt idx="1027">
                  <c:v>7.231-7.238</c:v>
                </c:pt>
                <c:pt idx="1028">
                  <c:v>7.238-7.245</c:v>
                </c:pt>
                <c:pt idx="1029">
                  <c:v>7.245-7.252</c:v>
                </c:pt>
                <c:pt idx="1030">
                  <c:v>7.252-7.259</c:v>
                </c:pt>
                <c:pt idx="1031">
                  <c:v>7.259-7.266</c:v>
                </c:pt>
                <c:pt idx="1032">
                  <c:v>7.266-7.273</c:v>
                </c:pt>
                <c:pt idx="1033">
                  <c:v>7.273-7.280</c:v>
                </c:pt>
                <c:pt idx="1034">
                  <c:v>7.280-7.287</c:v>
                </c:pt>
                <c:pt idx="1035">
                  <c:v>7.287-7.294</c:v>
                </c:pt>
                <c:pt idx="1036">
                  <c:v>7.294-7.301</c:v>
                </c:pt>
                <c:pt idx="1037">
                  <c:v>7.301-7.308</c:v>
                </c:pt>
                <c:pt idx="1038">
                  <c:v>7.308-7.315</c:v>
                </c:pt>
                <c:pt idx="1039">
                  <c:v>7.315-7.322</c:v>
                </c:pt>
                <c:pt idx="1040">
                  <c:v>7.322-7.330</c:v>
                </c:pt>
                <c:pt idx="1041">
                  <c:v>7.330-7.337</c:v>
                </c:pt>
                <c:pt idx="1042">
                  <c:v>7.337-7.344</c:v>
                </c:pt>
                <c:pt idx="1043">
                  <c:v>7.344-7.351</c:v>
                </c:pt>
                <c:pt idx="1044">
                  <c:v>7.351-7.358</c:v>
                </c:pt>
                <c:pt idx="1045">
                  <c:v>7.358-7.365</c:v>
                </c:pt>
                <c:pt idx="1046">
                  <c:v>7.365-7.372</c:v>
                </c:pt>
                <c:pt idx="1047">
                  <c:v>7.372-7.379</c:v>
                </c:pt>
                <c:pt idx="1048">
                  <c:v>7.379-7.386</c:v>
                </c:pt>
                <c:pt idx="1049">
                  <c:v>7.386-7.393</c:v>
                </c:pt>
                <c:pt idx="1050">
                  <c:v>7.393-7.400</c:v>
                </c:pt>
                <c:pt idx="1051">
                  <c:v>7.400-7.407</c:v>
                </c:pt>
                <c:pt idx="1052">
                  <c:v>7.407-7.414</c:v>
                </c:pt>
                <c:pt idx="1053">
                  <c:v>7.414-7.421</c:v>
                </c:pt>
                <c:pt idx="1054">
                  <c:v>7.421-7.428</c:v>
                </c:pt>
                <c:pt idx="1055">
                  <c:v>7.428-7.435</c:v>
                </c:pt>
                <c:pt idx="1056">
                  <c:v>7.435-7.442</c:v>
                </c:pt>
                <c:pt idx="1057">
                  <c:v>7.442-7.449</c:v>
                </c:pt>
                <c:pt idx="1058">
                  <c:v>7.449-7.456</c:v>
                </c:pt>
                <c:pt idx="1059">
                  <c:v>7.456-7.463</c:v>
                </c:pt>
                <c:pt idx="1060">
                  <c:v>7.463-7.470</c:v>
                </c:pt>
                <c:pt idx="1061">
                  <c:v>7.470-7.477</c:v>
                </c:pt>
                <c:pt idx="1062">
                  <c:v>7.477-7.484</c:v>
                </c:pt>
                <c:pt idx="1063">
                  <c:v>7.484-7.491</c:v>
                </c:pt>
                <c:pt idx="1064">
                  <c:v>7.491-7.498</c:v>
                </c:pt>
                <c:pt idx="1065">
                  <c:v>7.498-7.505</c:v>
                </c:pt>
                <c:pt idx="1066">
                  <c:v>7.505-7.512</c:v>
                </c:pt>
                <c:pt idx="1067">
                  <c:v>7.512-7.519</c:v>
                </c:pt>
                <c:pt idx="1068">
                  <c:v>7.519-7.526</c:v>
                </c:pt>
                <c:pt idx="1069">
                  <c:v>7.526-7.533</c:v>
                </c:pt>
                <c:pt idx="1070">
                  <c:v>7.533-7.540</c:v>
                </c:pt>
                <c:pt idx="1071">
                  <c:v>7.540-7.548</c:v>
                </c:pt>
                <c:pt idx="1072">
                  <c:v>7.548-7.555</c:v>
                </c:pt>
                <c:pt idx="1073">
                  <c:v>7.555-7.562</c:v>
                </c:pt>
                <c:pt idx="1074">
                  <c:v>7.562-7.569</c:v>
                </c:pt>
                <c:pt idx="1075">
                  <c:v>7.569-7.576</c:v>
                </c:pt>
                <c:pt idx="1076">
                  <c:v>7.576-7.583</c:v>
                </c:pt>
                <c:pt idx="1077">
                  <c:v>7.583-7.590</c:v>
                </c:pt>
                <c:pt idx="1078">
                  <c:v>7.590-7.597</c:v>
                </c:pt>
                <c:pt idx="1079">
                  <c:v>7.597-7.604</c:v>
                </c:pt>
                <c:pt idx="1080">
                  <c:v>7.604-7.611</c:v>
                </c:pt>
                <c:pt idx="1081">
                  <c:v>7.611-7.618</c:v>
                </c:pt>
                <c:pt idx="1082">
                  <c:v>7.618-7.625</c:v>
                </c:pt>
                <c:pt idx="1083">
                  <c:v>7.625-7.632</c:v>
                </c:pt>
                <c:pt idx="1084">
                  <c:v>7.632-7.639</c:v>
                </c:pt>
                <c:pt idx="1085">
                  <c:v>7.639-7.646</c:v>
                </c:pt>
                <c:pt idx="1086">
                  <c:v>7.646-7.653</c:v>
                </c:pt>
                <c:pt idx="1087">
                  <c:v>7.653-7.660</c:v>
                </c:pt>
                <c:pt idx="1088">
                  <c:v>7.660-7.667</c:v>
                </c:pt>
                <c:pt idx="1089">
                  <c:v>7.667-7.674</c:v>
                </c:pt>
                <c:pt idx="1090">
                  <c:v>7.674-7.681</c:v>
                </c:pt>
                <c:pt idx="1091">
                  <c:v>7.681-7.688</c:v>
                </c:pt>
                <c:pt idx="1092">
                  <c:v>7.688-7.695</c:v>
                </c:pt>
                <c:pt idx="1093">
                  <c:v>7.695-7.702</c:v>
                </c:pt>
                <c:pt idx="1094">
                  <c:v>7.702-7.709</c:v>
                </c:pt>
                <c:pt idx="1095">
                  <c:v>7.709-7.716</c:v>
                </c:pt>
                <c:pt idx="1096">
                  <c:v>7.716-7.723</c:v>
                </c:pt>
                <c:pt idx="1097">
                  <c:v>7.723-7.730</c:v>
                </c:pt>
                <c:pt idx="1098">
                  <c:v>7.730-7.737</c:v>
                </c:pt>
                <c:pt idx="1099">
                  <c:v>7.737-7.744</c:v>
                </c:pt>
                <c:pt idx="1100">
                  <c:v>7.744-7.751</c:v>
                </c:pt>
                <c:pt idx="1101">
                  <c:v>7.751-7.758</c:v>
                </c:pt>
                <c:pt idx="1102">
                  <c:v>7.758-7.766</c:v>
                </c:pt>
                <c:pt idx="1103">
                  <c:v>7.766-7.773</c:v>
                </c:pt>
                <c:pt idx="1104">
                  <c:v>7.773-7.780</c:v>
                </c:pt>
                <c:pt idx="1105">
                  <c:v>7.780-7.787</c:v>
                </c:pt>
                <c:pt idx="1106">
                  <c:v>7.787-7.794</c:v>
                </c:pt>
                <c:pt idx="1107">
                  <c:v>7.794-7.801</c:v>
                </c:pt>
                <c:pt idx="1108">
                  <c:v>7.801-7.808</c:v>
                </c:pt>
                <c:pt idx="1109">
                  <c:v>7.808-7.815</c:v>
                </c:pt>
                <c:pt idx="1110">
                  <c:v>7.815-7.822</c:v>
                </c:pt>
                <c:pt idx="1111">
                  <c:v>7.822-7.829</c:v>
                </c:pt>
                <c:pt idx="1112">
                  <c:v>7.829-7.836</c:v>
                </c:pt>
                <c:pt idx="1113">
                  <c:v>7.836-7.843</c:v>
                </c:pt>
                <c:pt idx="1114">
                  <c:v>7.843-7.850</c:v>
                </c:pt>
                <c:pt idx="1115">
                  <c:v>7.850-7.857</c:v>
                </c:pt>
                <c:pt idx="1116">
                  <c:v>7.857-7.864</c:v>
                </c:pt>
                <c:pt idx="1117">
                  <c:v>7.864-7.871</c:v>
                </c:pt>
                <c:pt idx="1118">
                  <c:v>7.871-7.878</c:v>
                </c:pt>
                <c:pt idx="1119">
                  <c:v>7.878-7.885</c:v>
                </c:pt>
                <c:pt idx="1120">
                  <c:v>7.885-7.892</c:v>
                </c:pt>
                <c:pt idx="1121">
                  <c:v>7.892-7.899</c:v>
                </c:pt>
                <c:pt idx="1122">
                  <c:v>7.899-7.906</c:v>
                </c:pt>
                <c:pt idx="1123">
                  <c:v>7.906-7.913</c:v>
                </c:pt>
                <c:pt idx="1124">
                  <c:v>7.913-7.920</c:v>
                </c:pt>
                <c:pt idx="1125">
                  <c:v>7.920-7.927</c:v>
                </c:pt>
                <c:pt idx="1126">
                  <c:v>7.927-7.934</c:v>
                </c:pt>
                <c:pt idx="1127">
                  <c:v>7.934-7.941</c:v>
                </c:pt>
                <c:pt idx="1128">
                  <c:v>7.941-7.948</c:v>
                </c:pt>
                <c:pt idx="1129">
                  <c:v>7.948-7.955</c:v>
                </c:pt>
                <c:pt idx="1130">
                  <c:v>7.955-7.962</c:v>
                </c:pt>
                <c:pt idx="1131">
                  <c:v>7.962-7.969</c:v>
                </c:pt>
                <c:pt idx="1132">
                  <c:v>7.969-7.976</c:v>
                </c:pt>
                <c:pt idx="1133">
                  <c:v>7.976-7.984</c:v>
                </c:pt>
                <c:pt idx="1134">
                  <c:v>7.984-7.991</c:v>
                </c:pt>
                <c:pt idx="1135">
                  <c:v>7.991-7.998</c:v>
                </c:pt>
                <c:pt idx="1136">
                  <c:v>7.998-8.005</c:v>
                </c:pt>
                <c:pt idx="1137">
                  <c:v>8.005-8.012</c:v>
                </c:pt>
                <c:pt idx="1138">
                  <c:v>8.012-8.019</c:v>
                </c:pt>
                <c:pt idx="1139">
                  <c:v>8.019-8.026</c:v>
                </c:pt>
                <c:pt idx="1140">
                  <c:v>8.026-8.033</c:v>
                </c:pt>
                <c:pt idx="1141">
                  <c:v>8.033-8.040</c:v>
                </c:pt>
                <c:pt idx="1142">
                  <c:v>8.040-8.047</c:v>
                </c:pt>
                <c:pt idx="1143">
                  <c:v>8.047-8.054</c:v>
                </c:pt>
                <c:pt idx="1144">
                  <c:v>8.054-8.061</c:v>
                </c:pt>
                <c:pt idx="1145">
                  <c:v>8.061-8.068</c:v>
                </c:pt>
                <c:pt idx="1146">
                  <c:v>8.068-8.075</c:v>
                </c:pt>
                <c:pt idx="1147">
                  <c:v>8.075-8.082</c:v>
                </c:pt>
                <c:pt idx="1148">
                  <c:v>8.082-8.089</c:v>
                </c:pt>
                <c:pt idx="1149">
                  <c:v>8.089-8.096</c:v>
                </c:pt>
                <c:pt idx="1150">
                  <c:v>8.096-8.103</c:v>
                </c:pt>
                <c:pt idx="1151">
                  <c:v>8.103-8.110</c:v>
                </c:pt>
                <c:pt idx="1152">
                  <c:v>8.110-8.117</c:v>
                </c:pt>
                <c:pt idx="1153">
                  <c:v>8.117-8.124</c:v>
                </c:pt>
                <c:pt idx="1154">
                  <c:v>8.124-8.131</c:v>
                </c:pt>
                <c:pt idx="1155">
                  <c:v>8.131-8.138</c:v>
                </c:pt>
                <c:pt idx="1156">
                  <c:v>8.138-8.145</c:v>
                </c:pt>
                <c:pt idx="1157">
                  <c:v>8.145-8.152</c:v>
                </c:pt>
                <c:pt idx="1158">
                  <c:v>8.152-8.159</c:v>
                </c:pt>
                <c:pt idx="1159">
                  <c:v>8.159-8.166</c:v>
                </c:pt>
                <c:pt idx="1160">
                  <c:v>8.166-8.173</c:v>
                </c:pt>
                <c:pt idx="1161">
                  <c:v>8.173-8.180</c:v>
                </c:pt>
                <c:pt idx="1162">
                  <c:v>8.180-8.187</c:v>
                </c:pt>
                <c:pt idx="1163">
                  <c:v>8.187-8.194</c:v>
                </c:pt>
                <c:pt idx="1164">
                  <c:v>8.194-8.202</c:v>
                </c:pt>
                <c:pt idx="1165">
                  <c:v>8.202-8.209</c:v>
                </c:pt>
                <c:pt idx="1166">
                  <c:v>8.209-8.216</c:v>
                </c:pt>
                <c:pt idx="1167">
                  <c:v>8.216-8.223</c:v>
                </c:pt>
                <c:pt idx="1168">
                  <c:v>8.223-8.230</c:v>
                </c:pt>
                <c:pt idx="1169">
                  <c:v>8.230-8.237</c:v>
                </c:pt>
                <c:pt idx="1170">
                  <c:v>8.237-8.244</c:v>
                </c:pt>
                <c:pt idx="1171">
                  <c:v>8.244-8.251</c:v>
                </c:pt>
                <c:pt idx="1172">
                  <c:v>8.251-8.258</c:v>
                </c:pt>
                <c:pt idx="1173">
                  <c:v>8.258-8.265</c:v>
                </c:pt>
                <c:pt idx="1174">
                  <c:v>8.265-8.272</c:v>
                </c:pt>
                <c:pt idx="1175">
                  <c:v>8.272-8.279</c:v>
                </c:pt>
                <c:pt idx="1176">
                  <c:v>8.279-8.286</c:v>
                </c:pt>
                <c:pt idx="1177">
                  <c:v>8.286-8.293</c:v>
                </c:pt>
                <c:pt idx="1178">
                  <c:v>8.293-8.300</c:v>
                </c:pt>
                <c:pt idx="1179">
                  <c:v>8.300-8.307</c:v>
                </c:pt>
                <c:pt idx="1180">
                  <c:v>8.307-8.314</c:v>
                </c:pt>
                <c:pt idx="1181">
                  <c:v>8.314-8.321</c:v>
                </c:pt>
                <c:pt idx="1182">
                  <c:v>8.321-8.328</c:v>
                </c:pt>
                <c:pt idx="1183">
                  <c:v>8.328-8.335</c:v>
                </c:pt>
                <c:pt idx="1184">
                  <c:v>8.335-8.342</c:v>
                </c:pt>
                <c:pt idx="1185">
                  <c:v>8.342-8.349</c:v>
                </c:pt>
                <c:pt idx="1186">
                  <c:v>8.349-8.356</c:v>
                </c:pt>
                <c:pt idx="1187">
                  <c:v>8.356-8.363</c:v>
                </c:pt>
                <c:pt idx="1188">
                  <c:v>8.363-8.370</c:v>
                </c:pt>
                <c:pt idx="1189">
                  <c:v>8.370-8.377</c:v>
                </c:pt>
                <c:pt idx="1190">
                  <c:v>8.377-8.384</c:v>
                </c:pt>
                <c:pt idx="1191">
                  <c:v>8.384-8.391</c:v>
                </c:pt>
                <c:pt idx="1192">
                  <c:v>8.391-8.398</c:v>
                </c:pt>
                <c:pt idx="1193">
                  <c:v>8.398-8.405</c:v>
                </c:pt>
                <c:pt idx="1194">
                  <c:v>8.405-8.412</c:v>
                </c:pt>
                <c:pt idx="1195">
                  <c:v>8.412-8.420</c:v>
                </c:pt>
                <c:pt idx="1196">
                  <c:v>8.420-8.427</c:v>
                </c:pt>
                <c:pt idx="1197">
                  <c:v>8.427-8.434</c:v>
                </c:pt>
                <c:pt idx="1198">
                  <c:v>8.434-8.441</c:v>
                </c:pt>
                <c:pt idx="1199">
                  <c:v>8.441-8.448</c:v>
                </c:pt>
                <c:pt idx="1200">
                  <c:v>8.448-8.455</c:v>
                </c:pt>
                <c:pt idx="1201">
                  <c:v>8.455-8.462</c:v>
                </c:pt>
                <c:pt idx="1202">
                  <c:v>8.462-8.469</c:v>
                </c:pt>
                <c:pt idx="1203">
                  <c:v>8.469-8.476</c:v>
                </c:pt>
                <c:pt idx="1204">
                  <c:v>8.476-8.483</c:v>
                </c:pt>
                <c:pt idx="1205">
                  <c:v>8.483-8.490</c:v>
                </c:pt>
                <c:pt idx="1206">
                  <c:v>8.490-8.497</c:v>
                </c:pt>
                <c:pt idx="1207">
                  <c:v>8.497-8.504</c:v>
                </c:pt>
                <c:pt idx="1208">
                  <c:v>8.504-8.511</c:v>
                </c:pt>
                <c:pt idx="1209">
                  <c:v>8.511-8.518</c:v>
                </c:pt>
                <c:pt idx="1210">
                  <c:v>8.518-8.525</c:v>
                </c:pt>
                <c:pt idx="1211">
                  <c:v>8.525-8.532</c:v>
                </c:pt>
                <c:pt idx="1212">
                  <c:v>8.532-8.539</c:v>
                </c:pt>
                <c:pt idx="1213">
                  <c:v>8.539-8.546</c:v>
                </c:pt>
                <c:pt idx="1214">
                  <c:v>8.546-8.553</c:v>
                </c:pt>
                <c:pt idx="1215">
                  <c:v>8.553-8.560</c:v>
                </c:pt>
                <c:pt idx="1216">
                  <c:v>8.560-8.567</c:v>
                </c:pt>
                <c:pt idx="1217">
                  <c:v>8.567-8.574</c:v>
                </c:pt>
                <c:pt idx="1218">
                  <c:v>8.574-8.581</c:v>
                </c:pt>
                <c:pt idx="1219">
                  <c:v>8.581-8.588</c:v>
                </c:pt>
                <c:pt idx="1220">
                  <c:v>8.588-8.595</c:v>
                </c:pt>
                <c:pt idx="1221">
                  <c:v>8.595-8.602</c:v>
                </c:pt>
                <c:pt idx="1222">
                  <c:v>8.602-8.609</c:v>
                </c:pt>
                <c:pt idx="1223">
                  <c:v>8.609-8.616</c:v>
                </c:pt>
                <c:pt idx="1224">
                  <c:v>8.616-8.623</c:v>
                </c:pt>
                <c:pt idx="1225">
                  <c:v>8.623-8.630</c:v>
                </c:pt>
                <c:pt idx="1226">
                  <c:v>8.630-8.638</c:v>
                </c:pt>
                <c:pt idx="1227">
                  <c:v>8.638-8.645</c:v>
                </c:pt>
                <c:pt idx="1228">
                  <c:v>8.645-8.652</c:v>
                </c:pt>
                <c:pt idx="1229">
                  <c:v>8.652-8.659</c:v>
                </c:pt>
                <c:pt idx="1230">
                  <c:v>8.659-8.666</c:v>
                </c:pt>
                <c:pt idx="1231">
                  <c:v>8.666-8.673</c:v>
                </c:pt>
                <c:pt idx="1232">
                  <c:v>8.673-8.680</c:v>
                </c:pt>
                <c:pt idx="1233">
                  <c:v>8.680-8.687</c:v>
                </c:pt>
                <c:pt idx="1234">
                  <c:v>8.687-8.694</c:v>
                </c:pt>
                <c:pt idx="1235">
                  <c:v>8.694-8.701</c:v>
                </c:pt>
                <c:pt idx="1236">
                  <c:v>8.701-8.708</c:v>
                </c:pt>
                <c:pt idx="1237">
                  <c:v>8.708-8.715</c:v>
                </c:pt>
                <c:pt idx="1238">
                  <c:v>8.715-8.722</c:v>
                </c:pt>
                <c:pt idx="1239">
                  <c:v>8.722-8.729</c:v>
                </c:pt>
                <c:pt idx="1240">
                  <c:v>8.729-8.736</c:v>
                </c:pt>
                <c:pt idx="1241">
                  <c:v>8.736-8.743</c:v>
                </c:pt>
                <c:pt idx="1242">
                  <c:v>8.743-8.750</c:v>
                </c:pt>
                <c:pt idx="1243">
                  <c:v>8.750-8.757</c:v>
                </c:pt>
                <c:pt idx="1244">
                  <c:v>8.757-8.764</c:v>
                </c:pt>
                <c:pt idx="1245">
                  <c:v>8.764-8.771</c:v>
                </c:pt>
                <c:pt idx="1246">
                  <c:v>8.771-8.778</c:v>
                </c:pt>
                <c:pt idx="1247">
                  <c:v>8.778-8.785</c:v>
                </c:pt>
                <c:pt idx="1248">
                  <c:v>8.785-8.792</c:v>
                </c:pt>
                <c:pt idx="1249">
                  <c:v>8.792-8.799</c:v>
                </c:pt>
                <c:pt idx="1250">
                  <c:v>8.799-8.806</c:v>
                </c:pt>
                <c:pt idx="1251">
                  <c:v>8.806-8.813</c:v>
                </c:pt>
                <c:pt idx="1252">
                  <c:v>8.813-8.820</c:v>
                </c:pt>
                <c:pt idx="1253">
                  <c:v>8.820-8.827</c:v>
                </c:pt>
                <c:pt idx="1254">
                  <c:v>8.827-8.834</c:v>
                </c:pt>
                <c:pt idx="1255">
                  <c:v>8.834-8.841</c:v>
                </c:pt>
                <c:pt idx="1256">
                  <c:v>8.841-8.848</c:v>
                </c:pt>
                <c:pt idx="1257">
                  <c:v>8.848-8.856</c:v>
                </c:pt>
                <c:pt idx="1258">
                  <c:v>8.856-8.863</c:v>
                </c:pt>
                <c:pt idx="1259">
                  <c:v>8.863-8.870</c:v>
                </c:pt>
                <c:pt idx="1260">
                  <c:v>8.870-8.877</c:v>
                </c:pt>
                <c:pt idx="1261">
                  <c:v>8.877-8.884</c:v>
                </c:pt>
                <c:pt idx="1262">
                  <c:v>8.884-8.891</c:v>
                </c:pt>
                <c:pt idx="1263">
                  <c:v>8.891-8.898</c:v>
                </c:pt>
                <c:pt idx="1264">
                  <c:v>8.898-8.905</c:v>
                </c:pt>
                <c:pt idx="1265">
                  <c:v>8.905-8.912</c:v>
                </c:pt>
                <c:pt idx="1266">
                  <c:v>8.912-8.919</c:v>
                </c:pt>
                <c:pt idx="1267">
                  <c:v>8.919-8.926</c:v>
                </c:pt>
                <c:pt idx="1268">
                  <c:v>8.926-8.933</c:v>
                </c:pt>
                <c:pt idx="1269">
                  <c:v>8.933-8.940</c:v>
                </c:pt>
                <c:pt idx="1270">
                  <c:v>8.940-8.947</c:v>
                </c:pt>
                <c:pt idx="1271">
                  <c:v>8.947-8.954</c:v>
                </c:pt>
                <c:pt idx="1272">
                  <c:v>8.954-8.961</c:v>
                </c:pt>
                <c:pt idx="1273">
                  <c:v>8.961-8.968</c:v>
                </c:pt>
                <c:pt idx="1274">
                  <c:v>8.968-8.975</c:v>
                </c:pt>
                <c:pt idx="1275">
                  <c:v>8.975-8.982</c:v>
                </c:pt>
                <c:pt idx="1276">
                  <c:v>8.982-8.989</c:v>
                </c:pt>
                <c:pt idx="1277">
                  <c:v>8.989-8.996</c:v>
                </c:pt>
                <c:pt idx="1278">
                  <c:v>8.996-9.003</c:v>
                </c:pt>
                <c:pt idx="1279">
                  <c:v>9.003-9.010</c:v>
                </c:pt>
                <c:pt idx="1280">
                  <c:v>9.010-9.017</c:v>
                </c:pt>
                <c:pt idx="1281">
                  <c:v>9.017-9.024</c:v>
                </c:pt>
                <c:pt idx="1282">
                  <c:v>9.024-9.031</c:v>
                </c:pt>
                <c:pt idx="1283">
                  <c:v>9.031-9.038</c:v>
                </c:pt>
                <c:pt idx="1284">
                  <c:v>9.038-9.045</c:v>
                </c:pt>
                <c:pt idx="1285">
                  <c:v>9.045-9.052</c:v>
                </c:pt>
                <c:pt idx="1286">
                  <c:v>9.052-9.059</c:v>
                </c:pt>
                <c:pt idx="1287">
                  <c:v>9.059-9.066</c:v>
                </c:pt>
                <c:pt idx="1288">
                  <c:v>9.066-9.074</c:v>
                </c:pt>
                <c:pt idx="1289">
                  <c:v>9.074-9.081</c:v>
                </c:pt>
                <c:pt idx="1290">
                  <c:v>9.081-9.088</c:v>
                </c:pt>
                <c:pt idx="1291">
                  <c:v>9.088-9.095</c:v>
                </c:pt>
                <c:pt idx="1292">
                  <c:v>9.095-9.102</c:v>
                </c:pt>
                <c:pt idx="1293">
                  <c:v>9.102-9.109</c:v>
                </c:pt>
                <c:pt idx="1294">
                  <c:v>9.109-9.116</c:v>
                </c:pt>
                <c:pt idx="1295">
                  <c:v>9.116-9.123</c:v>
                </c:pt>
                <c:pt idx="1296">
                  <c:v>9.123-9.130</c:v>
                </c:pt>
                <c:pt idx="1297">
                  <c:v>9.130-9.137</c:v>
                </c:pt>
                <c:pt idx="1298">
                  <c:v>9.137-9.144</c:v>
                </c:pt>
                <c:pt idx="1299">
                  <c:v>9.144-9.151</c:v>
                </c:pt>
                <c:pt idx="1300">
                  <c:v>9.151-9.158</c:v>
                </c:pt>
                <c:pt idx="1301">
                  <c:v>9.158-9.165</c:v>
                </c:pt>
                <c:pt idx="1302">
                  <c:v>9.165-9.172</c:v>
                </c:pt>
                <c:pt idx="1303">
                  <c:v>9.172-9.179</c:v>
                </c:pt>
                <c:pt idx="1304">
                  <c:v>9.179-9.186</c:v>
                </c:pt>
                <c:pt idx="1305">
                  <c:v>9.186-9.193</c:v>
                </c:pt>
                <c:pt idx="1306">
                  <c:v>9.193-9.200</c:v>
                </c:pt>
                <c:pt idx="1307">
                  <c:v>9.200-9.207</c:v>
                </c:pt>
                <c:pt idx="1308">
                  <c:v>9.207-9.214</c:v>
                </c:pt>
                <c:pt idx="1309">
                  <c:v>9.214-9.221</c:v>
                </c:pt>
                <c:pt idx="1310">
                  <c:v>9.221-9.228</c:v>
                </c:pt>
                <c:pt idx="1311">
                  <c:v>9.228-9.235</c:v>
                </c:pt>
                <c:pt idx="1312">
                  <c:v>9.235-9.242</c:v>
                </c:pt>
                <c:pt idx="1313">
                  <c:v>9.242-9.249</c:v>
                </c:pt>
                <c:pt idx="1314">
                  <c:v>9.249-9.256</c:v>
                </c:pt>
                <c:pt idx="1315">
                  <c:v>9.256-9.263</c:v>
                </c:pt>
                <c:pt idx="1316">
                  <c:v>9.263-9.270</c:v>
                </c:pt>
                <c:pt idx="1317">
                  <c:v>9.270-9.277</c:v>
                </c:pt>
                <c:pt idx="1318">
                  <c:v>9.277-9.284</c:v>
                </c:pt>
                <c:pt idx="1319">
                  <c:v>9.284-9.292</c:v>
                </c:pt>
                <c:pt idx="1320">
                  <c:v>9.292-9.299</c:v>
                </c:pt>
                <c:pt idx="1321">
                  <c:v>9.299-9.306</c:v>
                </c:pt>
                <c:pt idx="1322">
                  <c:v>9.306-9.313</c:v>
                </c:pt>
                <c:pt idx="1323">
                  <c:v>9.313-9.320</c:v>
                </c:pt>
                <c:pt idx="1324">
                  <c:v>9.320-9.327</c:v>
                </c:pt>
                <c:pt idx="1325">
                  <c:v>9.327-9.334</c:v>
                </c:pt>
                <c:pt idx="1326">
                  <c:v>9.334-9.341</c:v>
                </c:pt>
                <c:pt idx="1327">
                  <c:v>9.341-9.348</c:v>
                </c:pt>
                <c:pt idx="1328">
                  <c:v>9.348-9.355</c:v>
                </c:pt>
                <c:pt idx="1329">
                  <c:v>9.355-9.362</c:v>
                </c:pt>
                <c:pt idx="1330">
                  <c:v>9.362-9.369</c:v>
                </c:pt>
                <c:pt idx="1331">
                  <c:v>9.369-9.376</c:v>
                </c:pt>
                <c:pt idx="1332">
                  <c:v>9.376-9.383</c:v>
                </c:pt>
                <c:pt idx="1333">
                  <c:v>9.383-9.390</c:v>
                </c:pt>
                <c:pt idx="1334">
                  <c:v>9.390-9.397</c:v>
                </c:pt>
                <c:pt idx="1335">
                  <c:v>9.397-9.404</c:v>
                </c:pt>
                <c:pt idx="1336">
                  <c:v>9.404-9.411</c:v>
                </c:pt>
                <c:pt idx="1337">
                  <c:v>9.411-9.418</c:v>
                </c:pt>
                <c:pt idx="1338">
                  <c:v>9.418-9.425</c:v>
                </c:pt>
                <c:pt idx="1339">
                  <c:v>9.425-9.432</c:v>
                </c:pt>
                <c:pt idx="1340">
                  <c:v>9.432-9.439</c:v>
                </c:pt>
                <c:pt idx="1341">
                  <c:v>9.439-9.446</c:v>
                </c:pt>
                <c:pt idx="1342">
                  <c:v>9.446-9.453</c:v>
                </c:pt>
                <c:pt idx="1343">
                  <c:v>9.453-9.460</c:v>
                </c:pt>
                <c:pt idx="1344">
                  <c:v>9.460-9.467</c:v>
                </c:pt>
                <c:pt idx="1345">
                  <c:v>9.467-9.474</c:v>
                </c:pt>
                <c:pt idx="1346">
                  <c:v>9.474-9.481</c:v>
                </c:pt>
                <c:pt idx="1347">
                  <c:v>9.481-9.488</c:v>
                </c:pt>
                <c:pt idx="1348">
                  <c:v>9.488-9.495</c:v>
                </c:pt>
                <c:pt idx="1349">
                  <c:v>9.495-9.502</c:v>
                </c:pt>
                <c:pt idx="1350">
                  <c:v>9.502-9.510</c:v>
                </c:pt>
                <c:pt idx="1351">
                  <c:v>9.510-9.517</c:v>
                </c:pt>
                <c:pt idx="1352">
                  <c:v>9.517-9.524</c:v>
                </c:pt>
                <c:pt idx="1353">
                  <c:v>9.524-9.531</c:v>
                </c:pt>
                <c:pt idx="1354">
                  <c:v>9.531-9.538</c:v>
                </c:pt>
                <c:pt idx="1355">
                  <c:v>9.538-9.545</c:v>
                </c:pt>
                <c:pt idx="1356">
                  <c:v>9.545-9.552</c:v>
                </c:pt>
                <c:pt idx="1357">
                  <c:v>9.552-9.559</c:v>
                </c:pt>
                <c:pt idx="1358">
                  <c:v>9.559-9.566</c:v>
                </c:pt>
                <c:pt idx="1359">
                  <c:v>9.566-9.573</c:v>
                </c:pt>
                <c:pt idx="1360">
                  <c:v>9.573-9.580</c:v>
                </c:pt>
                <c:pt idx="1361">
                  <c:v>9.580-9.587</c:v>
                </c:pt>
                <c:pt idx="1362">
                  <c:v>9.587-9.594</c:v>
                </c:pt>
                <c:pt idx="1363">
                  <c:v>9.594-9.601</c:v>
                </c:pt>
                <c:pt idx="1364">
                  <c:v>9.601-9.608</c:v>
                </c:pt>
                <c:pt idx="1365">
                  <c:v>9.608-9.615</c:v>
                </c:pt>
                <c:pt idx="1366">
                  <c:v>9.615-9.622</c:v>
                </c:pt>
                <c:pt idx="1367">
                  <c:v>9.622-9.629</c:v>
                </c:pt>
                <c:pt idx="1368">
                  <c:v>9.629-9.636</c:v>
                </c:pt>
                <c:pt idx="1369">
                  <c:v>9.636-9.643</c:v>
                </c:pt>
                <c:pt idx="1370">
                  <c:v>9.643-9.650</c:v>
                </c:pt>
                <c:pt idx="1371">
                  <c:v>9.650-9.657</c:v>
                </c:pt>
                <c:pt idx="1372">
                  <c:v>9.657-9.664</c:v>
                </c:pt>
                <c:pt idx="1373">
                  <c:v>9.664-9.671</c:v>
                </c:pt>
                <c:pt idx="1374">
                  <c:v>9.671-9.678</c:v>
                </c:pt>
                <c:pt idx="1375">
                  <c:v>9.678-9.685</c:v>
                </c:pt>
                <c:pt idx="1376">
                  <c:v>9.685-9.692</c:v>
                </c:pt>
                <c:pt idx="1377">
                  <c:v>9.692-9.699</c:v>
                </c:pt>
                <c:pt idx="1378">
                  <c:v>9.699-9.706</c:v>
                </c:pt>
                <c:pt idx="1379">
                  <c:v>9.706-9.713</c:v>
                </c:pt>
                <c:pt idx="1380">
                  <c:v>9.713-9.720</c:v>
                </c:pt>
                <c:pt idx="1381">
                  <c:v>9.720-9.728</c:v>
                </c:pt>
                <c:pt idx="1382">
                  <c:v>9.728-9.735</c:v>
                </c:pt>
                <c:pt idx="1383">
                  <c:v>9.735-9.742</c:v>
                </c:pt>
                <c:pt idx="1384">
                  <c:v>9.742-9.749</c:v>
                </c:pt>
                <c:pt idx="1385">
                  <c:v>9.749-9.756</c:v>
                </c:pt>
                <c:pt idx="1386">
                  <c:v>9.756-9.763</c:v>
                </c:pt>
                <c:pt idx="1387">
                  <c:v>9.763-9.770</c:v>
                </c:pt>
                <c:pt idx="1388">
                  <c:v>9.770-9.777</c:v>
                </c:pt>
                <c:pt idx="1389">
                  <c:v>9.777-9.784</c:v>
                </c:pt>
                <c:pt idx="1390">
                  <c:v>9.784-9.791</c:v>
                </c:pt>
                <c:pt idx="1391">
                  <c:v>9.791-9.798</c:v>
                </c:pt>
                <c:pt idx="1392">
                  <c:v>9.798-9.805</c:v>
                </c:pt>
                <c:pt idx="1393">
                  <c:v>9.805-9.812</c:v>
                </c:pt>
                <c:pt idx="1394">
                  <c:v>9.812-9.819</c:v>
                </c:pt>
                <c:pt idx="1395">
                  <c:v>9.819-9.826</c:v>
                </c:pt>
                <c:pt idx="1396">
                  <c:v>9.826-9.833</c:v>
                </c:pt>
                <c:pt idx="1397">
                  <c:v>9.833-9.840</c:v>
                </c:pt>
                <c:pt idx="1398">
                  <c:v>9.840-9.847</c:v>
                </c:pt>
                <c:pt idx="1399">
                  <c:v>9.847-9.854</c:v>
                </c:pt>
                <c:pt idx="1400">
                  <c:v>9.854-9.861</c:v>
                </c:pt>
                <c:pt idx="1401">
                  <c:v>9.861-9.868</c:v>
                </c:pt>
                <c:pt idx="1402">
                  <c:v>9.868-9.875</c:v>
                </c:pt>
                <c:pt idx="1403">
                  <c:v>9.875-9.882</c:v>
                </c:pt>
                <c:pt idx="1404">
                  <c:v>9.882-9.889</c:v>
                </c:pt>
                <c:pt idx="1405">
                  <c:v>9.889-9.896</c:v>
                </c:pt>
                <c:pt idx="1406">
                  <c:v>9.896-9.903</c:v>
                </c:pt>
                <c:pt idx="1407">
                  <c:v>9.903-9.910</c:v>
                </c:pt>
                <c:pt idx="1408">
                  <c:v>9.910-9.917</c:v>
                </c:pt>
                <c:pt idx="1409">
                  <c:v>9.917-9.924</c:v>
                </c:pt>
                <c:pt idx="1410">
                  <c:v>9.924-9.931</c:v>
                </c:pt>
                <c:pt idx="1411">
                  <c:v>9.931-9.938</c:v>
                </c:pt>
                <c:pt idx="1412">
                  <c:v>9.938-9.945</c:v>
                </c:pt>
                <c:pt idx="1413">
                  <c:v>9.945-9.953</c:v>
                </c:pt>
                <c:pt idx="1414">
                  <c:v>9.953-9.960</c:v>
                </c:pt>
                <c:pt idx="1415">
                  <c:v>9.960-9.967</c:v>
                </c:pt>
                <c:pt idx="1416">
                  <c:v>9.967-9.974</c:v>
                </c:pt>
                <c:pt idx="1417">
                  <c:v>9.974-9.981</c:v>
                </c:pt>
                <c:pt idx="1418">
                  <c:v>9.981-9.988</c:v>
                </c:pt>
                <c:pt idx="1419">
                  <c:v>9.988-9.995</c:v>
                </c:pt>
                <c:pt idx="1420">
                  <c:v>9.995-10.002</c:v>
                </c:pt>
                <c:pt idx="1421">
                  <c:v>10.002-10.009</c:v>
                </c:pt>
                <c:pt idx="1422">
                  <c:v>10.009-10.016</c:v>
                </c:pt>
                <c:pt idx="1423">
                  <c:v>10.016-10.023</c:v>
                </c:pt>
                <c:pt idx="1424">
                  <c:v>10.023-10.030</c:v>
                </c:pt>
                <c:pt idx="1425">
                  <c:v>10.030-10.037</c:v>
                </c:pt>
                <c:pt idx="1426">
                  <c:v>10.037-10.044</c:v>
                </c:pt>
                <c:pt idx="1427">
                  <c:v>10.044-10.051</c:v>
                </c:pt>
                <c:pt idx="1428">
                  <c:v>10.051-10.058</c:v>
                </c:pt>
                <c:pt idx="1429">
                  <c:v>10.058-10.065</c:v>
                </c:pt>
                <c:pt idx="1430">
                  <c:v>10.065-10.072</c:v>
                </c:pt>
                <c:pt idx="1431">
                  <c:v>10.072-10.079</c:v>
                </c:pt>
                <c:pt idx="1432">
                  <c:v>10.079-10.086</c:v>
                </c:pt>
                <c:pt idx="1433">
                  <c:v>10.086-10.093</c:v>
                </c:pt>
                <c:pt idx="1434">
                  <c:v>10.093-10.100</c:v>
                </c:pt>
                <c:pt idx="1435">
                  <c:v>10.100-10.107</c:v>
                </c:pt>
                <c:pt idx="1436">
                  <c:v>10.107-10.114</c:v>
                </c:pt>
                <c:pt idx="1437">
                  <c:v>10.114-10.121</c:v>
                </c:pt>
                <c:pt idx="1438">
                  <c:v>10.121-10.128</c:v>
                </c:pt>
                <c:pt idx="1439">
                  <c:v>10.128-10.135</c:v>
                </c:pt>
                <c:pt idx="1440">
                  <c:v>10.135-10.142</c:v>
                </c:pt>
                <c:pt idx="1441">
                  <c:v>10.142-10.149</c:v>
                </c:pt>
                <c:pt idx="1442">
                  <c:v>10.149-10.156</c:v>
                </c:pt>
                <c:pt idx="1443">
                  <c:v>10.156-10.163</c:v>
                </c:pt>
                <c:pt idx="1444">
                  <c:v>10.163-10.171</c:v>
                </c:pt>
                <c:pt idx="1445">
                  <c:v>10.171-10.178</c:v>
                </c:pt>
                <c:pt idx="1446">
                  <c:v>10.178-10.185</c:v>
                </c:pt>
                <c:pt idx="1447">
                  <c:v>10.185-10.192</c:v>
                </c:pt>
                <c:pt idx="1448">
                  <c:v>10.192-10.199</c:v>
                </c:pt>
                <c:pt idx="1449">
                  <c:v>10.199-10.206</c:v>
                </c:pt>
                <c:pt idx="1450">
                  <c:v>10.206-10.213</c:v>
                </c:pt>
                <c:pt idx="1451">
                  <c:v>10.213-10.220</c:v>
                </c:pt>
                <c:pt idx="1452">
                  <c:v>10.220-10.227</c:v>
                </c:pt>
                <c:pt idx="1453">
                  <c:v>10.227-10.234</c:v>
                </c:pt>
                <c:pt idx="1454">
                  <c:v>10.234-10.241</c:v>
                </c:pt>
                <c:pt idx="1455">
                  <c:v>10.241-10.248</c:v>
                </c:pt>
                <c:pt idx="1456">
                  <c:v>10.248-10.255</c:v>
                </c:pt>
                <c:pt idx="1457">
                  <c:v>10.255-10.262</c:v>
                </c:pt>
                <c:pt idx="1458">
                  <c:v>10.262-10.269</c:v>
                </c:pt>
                <c:pt idx="1459">
                  <c:v>10.269-10.276</c:v>
                </c:pt>
                <c:pt idx="1460">
                  <c:v>10.276-10.283</c:v>
                </c:pt>
                <c:pt idx="1461">
                  <c:v>10.283-10.290</c:v>
                </c:pt>
                <c:pt idx="1462">
                  <c:v>10.290-10.297</c:v>
                </c:pt>
                <c:pt idx="1463">
                  <c:v>10.297-10.304</c:v>
                </c:pt>
                <c:pt idx="1464">
                  <c:v>10.304-10.311</c:v>
                </c:pt>
                <c:pt idx="1465">
                  <c:v>10.311-10.318</c:v>
                </c:pt>
                <c:pt idx="1466">
                  <c:v>10.318-10.325</c:v>
                </c:pt>
                <c:pt idx="1467">
                  <c:v>10.325-10.332</c:v>
                </c:pt>
                <c:pt idx="1468">
                  <c:v>10.332-10.339</c:v>
                </c:pt>
                <c:pt idx="1469">
                  <c:v>10.339-10.346</c:v>
                </c:pt>
                <c:pt idx="1470">
                  <c:v>10.346-10.353</c:v>
                </c:pt>
                <c:pt idx="1471">
                  <c:v>10.353-10.360</c:v>
                </c:pt>
                <c:pt idx="1472">
                  <c:v>10.360-10.367</c:v>
                </c:pt>
                <c:pt idx="1473">
                  <c:v>10.367-10.374</c:v>
                </c:pt>
                <c:pt idx="1474">
                  <c:v>10.374-10.381</c:v>
                </c:pt>
                <c:pt idx="1475">
                  <c:v>10.381-10.389</c:v>
                </c:pt>
                <c:pt idx="1476">
                  <c:v>10.389-10.396</c:v>
                </c:pt>
                <c:pt idx="1477">
                  <c:v>10.396-10.403</c:v>
                </c:pt>
                <c:pt idx="1478">
                  <c:v>10.403-10.410</c:v>
                </c:pt>
                <c:pt idx="1479">
                  <c:v>10.410-10.417</c:v>
                </c:pt>
                <c:pt idx="1480">
                  <c:v>10.417-10.424</c:v>
                </c:pt>
                <c:pt idx="1481">
                  <c:v>10.424-10.431</c:v>
                </c:pt>
                <c:pt idx="1482">
                  <c:v>10.431-10.438</c:v>
                </c:pt>
                <c:pt idx="1483">
                  <c:v>10.438-10.445</c:v>
                </c:pt>
                <c:pt idx="1484">
                  <c:v>10.445-10.452</c:v>
                </c:pt>
                <c:pt idx="1485">
                  <c:v>10.452-10.459</c:v>
                </c:pt>
                <c:pt idx="1486">
                  <c:v>10.459-10.466</c:v>
                </c:pt>
                <c:pt idx="1487">
                  <c:v>10.466-10.473</c:v>
                </c:pt>
                <c:pt idx="1488">
                  <c:v>10.473-10.480</c:v>
                </c:pt>
                <c:pt idx="1489">
                  <c:v>10.480-10.487</c:v>
                </c:pt>
                <c:pt idx="1490">
                  <c:v>10.487-10.494</c:v>
                </c:pt>
                <c:pt idx="1491">
                  <c:v>10.494-10.501</c:v>
                </c:pt>
                <c:pt idx="1492">
                  <c:v>10.501-10.508</c:v>
                </c:pt>
                <c:pt idx="1493">
                  <c:v>10.508-10.515</c:v>
                </c:pt>
                <c:pt idx="1494">
                  <c:v>10.515-10.522</c:v>
                </c:pt>
                <c:pt idx="1495">
                  <c:v>10.522-10.529</c:v>
                </c:pt>
                <c:pt idx="1496">
                  <c:v>10.529-10.536</c:v>
                </c:pt>
                <c:pt idx="1497">
                  <c:v>10.536-10.543</c:v>
                </c:pt>
                <c:pt idx="1498">
                  <c:v>10.543-10.550</c:v>
                </c:pt>
                <c:pt idx="1499">
                  <c:v>10.550-10.557</c:v>
                </c:pt>
                <c:pt idx="1500">
                  <c:v>10.557-10.564</c:v>
                </c:pt>
                <c:pt idx="1501">
                  <c:v>10.564-10.571</c:v>
                </c:pt>
                <c:pt idx="1502">
                  <c:v>10.571-10.578</c:v>
                </c:pt>
                <c:pt idx="1503">
                  <c:v>10.578-10.585</c:v>
                </c:pt>
                <c:pt idx="1504">
                  <c:v>10.585-10.592</c:v>
                </c:pt>
                <c:pt idx="1505">
                  <c:v>10.592-10.599</c:v>
                </c:pt>
                <c:pt idx="1506">
                  <c:v>10.599-10.607</c:v>
                </c:pt>
                <c:pt idx="1507">
                  <c:v>10.607-10.614</c:v>
                </c:pt>
                <c:pt idx="1508">
                  <c:v>10.614-10.621</c:v>
                </c:pt>
                <c:pt idx="1509">
                  <c:v>10.621-10.628</c:v>
                </c:pt>
                <c:pt idx="1510">
                  <c:v>10.628-10.635</c:v>
                </c:pt>
                <c:pt idx="1511">
                  <c:v>10.635-10.642</c:v>
                </c:pt>
                <c:pt idx="1512">
                  <c:v>10.642-10.649</c:v>
                </c:pt>
                <c:pt idx="1513">
                  <c:v>10.649-10.656</c:v>
                </c:pt>
                <c:pt idx="1514">
                  <c:v>10.656-10.663</c:v>
                </c:pt>
                <c:pt idx="1515">
                  <c:v>10.663-10.670</c:v>
                </c:pt>
                <c:pt idx="1516">
                  <c:v>10.670-10.677</c:v>
                </c:pt>
                <c:pt idx="1517">
                  <c:v>10.677-10.684</c:v>
                </c:pt>
                <c:pt idx="1518">
                  <c:v>10.684-10.691</c:v>
                </c:pt>
                <c:pt idx="1519">
                  <c:v>10.691-10.698</c:v>
                </c:pt>
                <c:pt idx="1520">
                  <c:v>10.698-10.705</c:v>
                </c:pt>
                <c:pt idx="1521">
                  <c:v>10.705-10.712</c:v>
                </c:pt>
                <c:pt idx="1522">
                  <c:v>10.712-10.719</c:v>
                </c:pt>
                <c:pt idx="1523">
                  <c:v>10.719-10.726</c:v>
                </c:pt>
                <c:pt idx="1524">
                  <c:v>10.726-10.733</c:v>
                </c:pt>
                <c:pt idx="1525">
                  <c:v>10.733-10.740</c:v>
                </c:pt>
                <c:pt idx="1526">
                  <c:v>10.740-10.747</c:v>
                </c:pt>
                <c:pt idx="1527">
                  <c:v>10.747-10.754</c:v>
                </c:pt>
                <c:pt idx="1528">
                  <c:v>10.754-10.761</c:v>
                </c:pt>
                <c:pt idx="1529">
                  <c:v>10.761-10.768</c:v>
                </c:pt>
                <c:pt idx="1530">
                  <c:v>10.768-10.775</c:v>
                </c:pt>
                <c:pt idx="1531">
                  <c:v>10.775-10.782</c:v>
                </c:pt>
                <c:pt idx="1532">
                  <c:v>10.782-10.789</c:v>
                </c:pt>
                <c:pt idx="1533">
                  <c:v>10.789-10.796</c:v>
                </c:pt>
                <c:pt idx="1534">
                  <c:v>10.796-10.803</c:v>
                </c:pt>
                <c:pt idx="1535">
                  <c:v>10.803-10.810</c:v>
                </c:pt>
                <c:pt idx="1536">
                  <c:v>10.810-10.817</c:v>
                </c:pt>
                <c:pt idx="1537">
                  <c:v>10.817-10.825</c:v>
                </c:pt>
                <c:pt idx="1538">
                  <c:v>10.825-10.832</c:v>
                </c:pt>
                <c:pt idx="1539">
                  <c:v>10.832-10.839</c:v>
                </c:pt>
                <c:pt idx="1540">
                  <c:v>10.839-10.846</c:v>
                </c:pt>
                <c:pt idx="1541">
                  <c:v>10.846-10.853</c:v>
                </c:pt>
                <c:pt idx="1542">
                  <c:v>10.853-10.860</c:v>
                </c:pt>
                <c:pt idx="1543">
                  <c:v>10.860-10.867</c:v>
                </c:pt>
                <c:pt idx="1544">
                  <c:v>10.867-10.874</c:v>
                </c:pt>
                <c:pt idx="1545">
                  <c:v>10.874-10.881</c:v>
                </c:pt>
                <c:pt idx="1546">
                  <c:v>10.881-10.888</c:v>
                </c:pt>
                <c:pt idx="1547">
                  <c:v>10.888-10.895</c:v>
                </c:pt>
                <c:pt idx="1548">
                  <c:v>10.895-10.902</c:v>
                </c:pt>
                <c:pt idx="1549">
                  <c:v>10.902-10.909</c:v>
                </c:pt>
                <c:pt idx="1550">
                  <c:v>10.909-10.916</c:v>
                </c:pt>
                <c:pt idx="1551">
                  <c:v>10.916-10.923</c:v>
                </c:pt>
                <c:pt idx="1552">
                  <c:v>10.923-10.930</c:v>
                </c:pt>
                <c:pt idx="1553">
                  <c:v>10.930-10.937</c:v>
                </c:pt>
                <c:pt idx="1554">
                  <c:v>10.937-10.944</c:v>
                </c:pt>
                <c:pt idx="1555">
                  <c:v>10.944-10.951</c:v>
                </c:pt>
                <c:pt idx="1556">
                  <c:v>10.951-10.958</c:v>
                </c:pt>
                <c:pt idx="1557">
                  <c:v>10.958-10.965</c:v>
                </c:pt>
                <c:pt idx="1558">
                  <c:v>10.965-10.972</c:v>
                </c:pt>
                <c:pt idx="1559">
                  <c:v>10.972-10.979</c:v>
                </c:pt>
                <c:pt idx="1560">
                  <c:v>10.979-10.986</c:v>
                </c:pt>
                <c:pt idx="1561">
                  <c:v>10.986-10.993</c:v>
                </c:pt>
                <c:pt idx="1562">
                  <c:v>10.993-11.000</c:v>
                </c:pt>
                <c:pt idx="1563">
                  <c:v>11.000-11.007</c:v>
                </c:pt>
                <c:pt idx="1564">
                  <c:v>11.007-11.014</c:v>
                </c:pt>
                <c:pt idx="1565">
                  <c:v>11.014-11.021</c:v>
                </c:pt>
                <c:pt idx="1566">
                  <c:v>11.021-11.028</c:v>
                </c:pt>
                <c:pt idx="1567">
                  <c:v>11.028-11.035</c:v>
                </c:pt>
                <c:pt idx="1568">
                  <c:v>11.035-11.043</c:v>
                </c:pt>
                <c:pt idx="1569">
                  <c:v>11.043-11.050</c:v>
                </c:pt>
                <c:pt idx="1570">
                  <c:v>11.050-11.057</c:v>
                </c:pt>
                <c:pt idx="1571">
                  <c:v>11.057-11.064</c:v>
                </c:pt>
                <c:pt idx="1572">
                  <c:v>11.064-11.071</c:v>
                </c:pt>
                <c:pt idx="1573">
                  <c:v>11.071-11.078</c:v>
                </c:pt>
                <c:pt idx="1574">
                  <c:v>11.078-11.085</c:v>
                </c:pt>
                <c:pt idx="1575">
                  <c:v>11.085-11.092</c:v>
                </c:pt>
                <c:pt idx="1576">
                  <c:v>11.092-11.099</c:v>
                </c:pt>
                <c:pt idx="1577">
                  <c:v>11.099-11.106</c:v>
                </c:pt>
                <c:pt idx="1578">
                  <c:v>11.106-11.113</c:v>
                </c:pt>
                <c:pt idx="1579">
                  <c:v>11.113-11.120</c:v>
                </c:pt>
                <c:pt idx="1580">
                  <c:v>11.120-11.127</c:v>
                </c:pt>
                <c:pt idx="1581">
                  <c:v>11.127-11.134</c:v>
                </c:pt>
                <c:pt idx="1582">
                  <c:v>11.134-11.141</c:v>
                </c:pt>
                <c:pt idx="1583">
                  <c:v>11.141-11.148</c:v>
                </c:pt>
                <c:pt idx="1584">
                  <c:v>11.148-11.155</c:v>
                </c:pt>
                <c:pt idx="1585">
                  <c:v>11.155-11.162</c:v>
                </c:pt>
                <c:pt idx="1586">
                  <c:v>11.162-11.169</c:v>
                </c:pt>
                <c:pt idx="1587">
                  <c:v>11.169-11.176</c:v>
                </c:pt>
                <c:pt idx="1588">
                  <c:v>11.176-11.183</c:v>
                </c:pt>
                <c:pt idx="1589">
                  <c:v>11.183-11.190</c:v>
                </c:pt>
                <c:pt idx="1590">
                  <c:v>11.190-11.197</c:v>
                </c:pt>
                <c:pt idx="1591">
                  <c:v>11.197-11.204</c:v>
                </c:pt>
                <c:pt idx="1592">
                  <c:v>11.204-11.211</c:v>
                </c:pt>
                <c:pt idx="1593">
                  <c:v>11.211-11.218</c:v>
                </c:pt>
                <c:pt idx="1594">
                  <c:v>11.218-11.225</c:v>
                </c:pt>
                <c:pt idx="1595">
                  <c:v>11.225-11.232</c:v>
                </c:pt>
                <c:pt idx="1596">
                  <c:v>11.232-11.239</c:v>
                </c:pt>
                <c:pt idx="1597">
                  <c:v>11.239-11.246</c:v>
                </c:pt>
                <c:pt idx="1598">
                  <c:v>11.246-11.253</c:v>
                </c:pt>
                <c:pt idx="1599">
                  <c:v>11.253-11.261</c:v>
                </c:pt>
                <c:pt idx="1600">
                  <c:v>11.261-11.268</c:v>
                </c:pt>
                <c:pt idx="1601">
                  <c:v>11.268-11.275</c:v>
                </c:pt>
                <c:pt idx="1602">
                  <c:v>11.275-11.282</c:v>
                </c:pt>
                <c:pt idx="1603">
                  <c:v>11.282-11.289</c:v>
                </c:pt>
                <c:pt idx="1604">
                  <c:v>11.289-11.296</c:v>
                </c:pt>
                <c:pt idx="1605">
                  <c:v>11.296-11.303</c:v>
                </c:pt>
                <c:pt idx="1606">
                  <c:v>11.303-11.310</c:v>
                </c:pt>
                <c:pt idx="1607">
                  <c:v>11.310-11.317</c:v>
                </c:pt>
                <c:pt idx="1608">
                  <c:v>11.317-11.324</c:v>
                </c:pt>
                <c:pt idx="1609">
                  <c:v>11.324-11.331</c:v>
                </c:pt>
                <c:pt idx="1610">
                  <c:v>11.331-11.338</c:v>
                </c:pt>
                <c:pt idx="1611">
                  <c:v>11.338-11.345</c:v>
                </c:pt>
                <c:pt idx="1612">
                  <c:v>11.345-11.352</c:v>
                </c:pt>
                <c:pt idx="1613">
                  <c:v>11.352-11.359</c:v>
                </c:pt>
                <c:pt idx="1614">
                  <c:v>11.359-11.366</c:v>
                </c:pt>
                <c:pt idx="1615">
                  <c:v>11.366-11.373</c:v>
                </c:pt>
                <c:pt idx="1616">
                  <c:v>11.373-11.380</c:v>
                </c:pt>
                <c:pt idx="1617">
                  <c:v>11.380-11.387</c:v>
                </c:pt>
                <c:pt idx="1618">
                  <c:v>11.387-11.394</c:v>
                </c:pt>
                <c:pt idx="1619">
                  <c:v>11.394-11.401</c:v>
                </c:pt>
                <c:pt idx="1620">
                  <c:v>11.401-11.408</c:v>
                </c:pt>
                <c:pt idx="1621">
                  <c:v>11.408-11.415</c:v>
                </c:pt>
                <c:pt idx="1622">
                  <c:v>11.415-11.422</c:v>
                </c:pt>
                <c:pt idx="1623">
                  <c:v>11.422-11.429</c:v>
                </c:pt>
                <c:pt idx="1624">
                  <c:v>11.429-11.436</c:v>
                </c:pt>
                <c:pt idx="1625">
                  <c:v>11.436-11.443</c:v>
                </c:pt>
                <c:pt idx="1626">
                  <c:v>11.443-11.450</c:v>
                </c:pt>
                <c:pt idx="1627">
                  <c:v>11.450-11.457</c:v>
                </c:pt>
                <c:pt idx="1628">
                  <c:v>11.457-11.464</c:v>
                </c:pt>
                <c:pt idx="1629">
                  <c:v>11.464-11.471</c:v>
                </c:pt>
                <c:pt idx="1630">
                  <c:v>11.471-11.479</c:v>
                </c:pt>
                <c:pt idx="1631">
                  <c:v>11.479-11.486</c:v>
                </c:pt>
                <c:pt idx="1632">
                  <c:v>11.486-11.493</c:v>
                </c:pt>
                <c:pt idx="1633">
                  <c:v>11.493-11.500</c:v>
                </c:pt>
                <c:pt idx="1634">
                  <c:v>11.500-11.507</c:v>
                </c:pt>
                <c:pt idx="1635">
                  <c:v>11.507-11.514</c:v>
                </c:pt>
                <c:pt idx="1636">
                  <c:v>11.514-11.521</c:v>
                </c:pt>
                <c:pt idx="1637">
                  <c:v>11.521-11.528</c:v>
                </c:pt>
                <c:pt idx="1638">
                  <c:v>11.528-11.535</c:v>
                </c:pt>
                <c:pt idx="1639">
                  <c:v>11.535-11.542</c:v>
                </c:pt>
                <c:pt idx="1640">
                  <c:v>11.542-11.549</c:v>
                </c:pt>
                <c:pt idx="1641">
                  <c:v>11.549-11.556</c:v>
                </c:pt>
                <c:pt idx="1642">
                  <c:v>11.556-11.563</c:v>
                </c:pt>
                <c:pt idx="1643">
                  <c:v>11.563-11.570</c:v>
                </c:pt>
                <c:pt idx="1644">
                  <c:v>11.570-11.577</c:v>
                </c:pt>
                <c:pt idx="1645">
                  <c:v>11.577-11.584</c:v>
                </c:pt>
                <c:pt idx="1646">
                  <c:v>11.584-11.591</c:v>
                </c:pt>
                <c:pt idx="1647">
                  <c:v>11.591-11.598</c:v>
                </c:pt>
                <c:pt idx="1648">
                  <c:v>11.598-11.605</c:v>
                </c:pt>
                <c:pt idx="1649">
                  <c:v>11.605-11.612</c:v>
                </c:pt>
                <c:pt idx="1650">
                  <c:v>11.612-11.619</c:v>
                </c:pt>
                <c:pt idx="1651">
                  <c:v>11.619-11.626</c:v>
                </c:pt>
                <c:pt idx="1652">
                  <c:v>11.626-11.633</c:v>
                </c:pt>
                <c:pt idx="1653">
                  <c:v>11.633-11.640</c:v>
                </c:pt>
                <c:pt idx="1654">
                  <c:v>11.640-11.647</c:v>
                </c:pt>
                <c:pt idx="1655">
                  <c:v>11.647-11.654</c:v>
                </c:pt>
                <c:pt idx="1656">
                  <c:v>11.654-11.661</c:v>
                </c:pt>
                <c:pt idx="1657">
                  <c:v>11.661-11.668</c:v>
                </c:pt>
                <c:pt idx="1658">
                  <c:v>11.668-11.675</c:v>
                </c:pt>
                <c:pt idx="1659">
                  <c:v>11.675-11.682</c:v>
                </c:pt>
                <c:pt idx="1660">
                  <c:v>11.682-11.689</c:v>
                </c:pt>
                <c:pt idx="1661">
                  <c:v>11.689-11.697</c:v>
                </c:pt>
                <c:pt idx="1662">
                  <c:v>11.697-11.704</c:v>
                </c:pt>
                <c:pt idx="1663">
                  <c:v>11.704-11.711</c:v>
                </c:pt>
                <c:pt idx="1664">
                  <c:v>11.711-11.718</c:v>
                </c:pt>
                <c:pt idx="1665">
                  <c:v>11.718-11.725</c:v>
                </c:pt>
                <c:pt idx="1666">
                  <c:v>11.725-11.732</c:v>
                </c:pt>
                <c:pt idx="1667">
                  <c:v>11.732-11.739</c:v>
                </c:pt>
                <c:pt idx="1668">
                  <c:v>11.739-11.746</c:v>
                </c:pt>
                <c:pt idx="1669">
                  <c:v>11.746-11.753</c:v>
                </c:pt>
                <c:pt idx="1670">
                  <c:v>11.753-11.760</c:v>
                </c:pt>
                <c:pt idx="1671">
                  <c:v>11.760-11.767</c:v>
                </c:pt>
                <c:pt idx="1672">
                  <c:v>11.767-11.774</c:v>
                </c:pt>
                <c:pt idx="1673">
                  <c:v>11.774-11.781</c:v>
                </c:pt>
                <c:pt idx="1674">
                  <c:v>11.781-11.788</c:v>
                </c:pt>
                <c:pt idx="1675">
                  <c:v>11.788-11.795</c:v>
                </c:pt>
                <c:pt idx="1676">
                  <c:v>11.795-11.802</c:v>
                </c:pt>
                <c:pt idx="1677">
                  <c:v>11.802-11.809</c:v>
                </c:pt>
                <c:pt idx="1678">
                  <c:v>11.809-11.816</c:v>
                </c:pt>
                <c:pt idx="1679">
                  <c:v>11.816-11.823</c:v>
                </c:pt>
                <c:pt idx="1680">
                  <c:v>11.823-11.830</c:v>
                </c:pt>
                <c:pt idx="1681">
                  <c:v>11.830-11.837</c:v>
                </c:pt>
                <c:pt idx="1682">
                  <c:v>11.837-11.844</c:v>
                </c:pt>
                <c:pt idx="1683">
                  <c:v>11.844-11.851</c:v>
                </c:pt>
                <c:pt idx="1684">
                  <c:v>11.851-11.858</c:v>
                </c:pt>
                <c:pt idx="1685">
                  <c:v>11.858-11.865</c:v>
                </c:pt>
                <c:pt idx="1686">
                  <c:v>11.865-11.872</c:v>
                </c:pt>
                <c:pt idx="1687">
                  <c:v>11.872-11.879</c:v>
                </c:pt>
                <c:pt idx="1688">
                  <c:v>11.879-11.886</c:v>
                </c:pt>
                <c:pt idx="1689">
                  <c:v>11.886-11.893</c:v>
                </c:pt>
                <c:pt idx="1690">
                  <c:v>11.893-11.900</c:v>
                </c:pt>
                <c:pt idx="1691">
                  <c:v>11.900-11.907</c:v>
                </c:pt>
                <c:pt idx="1692">
                  <c:v>11.907-11.915</c:v>
                </c:pt>
                <c:pt idx="1693">
                  <c:v>11.915-11.922</c:v>
                </c:pt>
                <c:pt idx="1694">
                  <c:v>11.922-11.929</c:v>
                </c:pt>
                <c:pt idx="1695">
                  <c:v>11.929-11.936</c:v>
                </c:pt>
                <c:pt idx="1696">
                  <c:v>11.936-11.943</c:v>
                </c:pt>
                <c:pt idx="1697">
                  <c:v>11.943-11.950</c:v>
                </c:pt>
                <c:pt idx="1698">
                  <c:v>11.950-11.957</c:v>
                </c:pt>
                <c:pt idx="1699">
                  <c:v>11.957-11.964</c:v>
                </c:pt>
                <c:pt idx="1700">
                  <c:v>11.964-11.971</c:v>
                </c:pt>
                <c:pt idx="1701">
                  <c:v>11.971-11.978</c:v>
                </c:pt>
                <c:pt idx="1702">
                  <c:v>11.978-11.985</c:v>
                </c:pt>
                <c:pt idx="1703">
                  <c:v>11.985-11.992</c:v>
                </c:pt>
                <c:pt idx="1704">
                  <c:v>11.992-11.999</c:v>
                </c:pt>
                <c:pt idx="1705">
                  <c:v>11.999-12.006</c:v>
                </c:pt>
                <c:pt idx="1706">
                  <c:v>12.006-12.013</c:v>
                </c:pt>
                <c:pt idx="1707">
                  <c:v>12.013-12.020</c:v>
                </c:pt>
                <c:pt idx="1708">
                  <c:v>12.020-12.027</c:v>
                </c:pt>
                <c:pt idx="1709">
                  <c:v>12.027-12.034</c:v>
                </c:pt>
                <c:pt idx="1710">
                  <c:v>12.034-12.041</c:v>
                </c:pt>
                <c:pt idx="1711">
                  <c:v>12.041-12.048</c:v>
                </c:pt>
                <c:pt idx="1712">
                  <c:v>12.048-12.055</c:v>
                </c:pt>
                <c:pt idx="1713">
                  <c:v>12.055-12.062</c:v>
                </c:pt>
                <c:pt idx="1714">
                  <c:v>12.062-12.069</c:v>
                </c:pt>
                <c:pt idx="1715">
                  <c:v>12.069-12.076</c:v>
                </c:pt>
                <c:pt idx="1716">
                  <c:v>12.076-12.083</c:v>
                </c:pt>
                <c:pt idx="1717">
                  <c:v>12.083-12.090</c:v>
                </c:pt>
                <c:pt idx="1718">
                  <c:v>12.090-12.097</c:v>
                </c:pt>
                <c:pt idx="1719">
                  <c:v>12.097-12.104</c:v>
                </c:pt>
                <c:pt idx="1720">
                  <c:v>12.104-12.111</c:v>
                </c:pt>
                <c:pt idx="1721">
                  <c:v>12.111-12.118</c:v>
                </c:pt>
                <c:pt idx="1722">
                  <c:v>12.118-12.125</c:v>
                </c:pt>
                <c:pt idx="1723">
                  <c:v>12.125-12.133</c:v>
                </c:pt>
                <c:pt idx="1724">
                  <c:v>12.133-12.140</c:v>
                </c:pt>
                <c:pt idx="1725">
                  <c:v>12.140-12.147</c:v>
                </c:pt>
                <c:pt idx="1726">
                  <c:v>12.147-12.154</c:v>
                </c:pt>
                <c:pt idx="1727">
                  <c:v>12.154-12.161</c:v>
                </c:pt>
                <c:pt idx="1728">
                  <c:v>12.161-12.168</c:v>
                </c:pt>
                <c:pt idx="1729">
                  <c:v>12.168-12.175</c:v>
                </c:pt>
                <c:pt idx="1730">
                  <c:v>12.175-12.182</c:v>
                </c:pt>
                <c:pt idx="1731">
                  <c:v>12.182-12.189</c:v>
                </c:pt>
                <c:pt idx="1732">
                  <c:v>12.189-12.196</c:v>
                </c:pt>
                <c:pt idx="1733">
                  <c:v>12.196-12.203</c:v>
                </c:pt>
                <c:pt idx="1734">
                  <c:v>12.203-12.210</c:v>
                </c:pt>
                <c:pt idx="1735">
                  <c:v>12.210-12.217</c:v>
                </c:pt>
                <c:pt idx="1736">
                  <c:v>12.217-12.224</c:v>
                </c:pt>
                <c:pt idx="1737">
                  <c:v>12.224-12.231</c:v>
                </c:pt>
                <c:pt idx="1738">
                  <c:v>12.231-12.238</c:v>
                </c:pt>
                <c:pt idx="1739">
                  <c:v>12.238-12.245</c:v>
                </c:pt>
                <c:pt idx="1740">
                  <c:v>12.245-12.252</c:v>
                </c:pt>
                <c:pt idx="1741">
                  <c:v>12.252-12.259</c:v>
                </c:pt>
                <c:pt idx="1742">
                  <c:v>12.259-12.266</c:v>
                </c:pt>
                <c:pt idx="1743">
                  <c:v>12.266-12.273</c:v>
                </c:pt>
                <c:pt idx="1744">
                  <c:v>12.273-12.280</c:v>
                </c:pt>
                <c:pt idx="1745">
                  <c:v>12.280-12.287</c:v>
                </c:pt>
                <c:pt idx="1746">
                  <c:v>12.287-12.294</c:v>
                </c:pt>
                <c:pt idx="1747">
                  <c:v>12.294-12.301</c:v>
                </c:pt>
                <c:pt idx="1748">
                  <c:v>12.301-12.308</c:v>
                </c:pt>
                <c:pt idx="1749">
                  <c:v>12.308-12.315</c:v>
                </c:pt>
                <c:pt idx="1750">
                  <c:v>12.315-12.322</c:v>
                </c:pt>
                <c:pt idx="1751">
                  <c:v>12.322-12.329</c:v>
                </c:pt>
                <c:pt idx="1752">
                  <c:v>12.329-12.336</c:v>
                </c:pt>
                <c:pt idx="1753">
                  <c:v>12.336-12.343</c:v>
                </c:pt>
                <c:pt idx="1754">
                  <c:v>12.343-12.351</c:v>
                </c:pt>
                <c:pt idx="1755">
                  <c:v>12.351-12.358</c:v>
                </c:pt>
                <c:pt idx="1756">
                  <c:v>12.358-12.365</c:v>
                </c:pt>
                <c:pt idx="1757">
                  <c:v>12.365-12.372</c:v>
                </c:pt>
                <c:pt idx="1758">
                  <c:v>12.372-12.379</c:v>
                </c:pt>
                <c:pt idx="1759">
                  <c:v>12.379-12.386</c:v>
                </c:pt>
                <c:pt idx="1760">
                  <c:v>12.386-12.393</c:v>
                </c:pt>
                <c:pt idx="1761">
                  <c:v>12.393-12.400</c:v>
                </c:pt>
                <c:pt idx="1762">
                  <c:v>12.400-12.407</c:v>
                </c:pt>
                <c:pt idx="1763">
                  <c:v>12.407-12.414</c:v>
                </c:pt>
                <c:pt idx="1764">
                  <c:v>12.414-12.421</c:v>
                </c:pt>
                <c:pt idx="1765">
                  <c:v>12.421-12.428</c:v>
                </c:pt>
                <c:pt idx="1766">
                  <c:v>12.428-12.435</c:v>
                </c:pt>
                <c:pt idx="1767">
                  <c:v>12.435-12.442</c:v>
                </c:pt>
                <c:pt idx="1768">
                  <c:v>12.442-12.449</c:v>
                </c:pt>
                <c:pt idx="1769">
                  <c:v>12.449-12.456</c:v>
                </c:pt>
                <c:pt idx="1770">
                  <c:v>12.456-12.463</c:v>
                </c:pt>
                <c:pt idx="1771">
                  <c:v>12.463-12.470</c:v>
                </c:pt>
                <c:pt idx="1772">
                  <c:v>12.470-12.477</c:v>
                </c:pt>
                <c:pt idx="1773">
                  <c:v>12.477-12.484</c:v>
                </c:pt>
                <c:pt idx="1774">
                  <c:v>12.484-12.491</c:v>
                </c:pt>
                <c:pt idx="1775">
                  <c:v>12.491-12.498</c:v>
                </c:pt>
                <c:pt idx="1776">
                  <c:v>12.498-12.505</c:v>
                </c:pt>
                <c:pt idx="1777">
                  <c:v>12.505-12.512</c:v>
                </c:pt>
                <c:pt idx="1778">
                  <c:v>12.512-12.519</c:v>
                </c:pt>
                <c:pt idx="1779">
                  <c:v>12.519-12.526</c:v>
                </c:pt>
                <c:pt idx="1780">
                  <c:v>12.526-12.533</c:v>
                </c:pt>
                <c:pt idx="1781">
                  <c:v>12.533-12.540</c:v>
                </c:pt>
                <c:pt idx="1782">
                  <c:v>12.540-12.547</c:v>
                </c:pt>
                <c:pt idx="1783">
                  <c:v>12.547-12.554</c:v>
                </c:pt>
                <c:pt idx="1784">
                  <c:v>12.554-12.561</c:v>
                </c:pt>
                <c:pt idx="1785">
                  <c:v>12.561-12.569</c:v>
                </c:pt>
                <c:pt idx="1786">
                  <c:v>12.569-12.576</c:v>
                </c:pt>
                <c:pt idx="1787">
                  <c:v>12.576-12.583</c:v>
                </c:pt>
                <c:pt idx="1788">
                  <c:v>12.583-12.590</c:v>
                </c:pt>
                <c:pt idx="1789">
                  <c:v>12.590-12.597</c:v>
                </c:pt>
                <c:pt idx="1790">
                  <c:v>12.597-12.604</c:v>
                </c:pt>
                <c:pt idx="1791">
                  <c:v>12.604-12.611</c:v>
                </c:pt>
                <c:pt idx="1792">
                  <c:v>12.611-12.618</c:v>
                </c:pt>
                <c:pt idx="1793">
                  <c:v>12.618-12.625</c:v>
                </c:pt>
                <c:pt idx="1794">
                  <c:v>12.625-12.632</c:v>
                </c:pt>
                <c:pt idx="1795">
                  <c:v>12.632-12.639</c:v>
                </c:pt>
                <c:pt idx="1796">
                  <c:v>12.639-12.646</c:v>
                </c:pt>
                <c:pt idx="1797">
                  <c:v>12.646-12.653</c:v>
                </c:pt>
                <c:pt idx="1798">
                  <c:v>12.653-12.660</c:v>
                </c:pt>
                <c:pt idx="1799">
                  <c:v>12.660-12.667</c:v>
                </c:pt>
                <c:pt idx="1800">
                  <c:v>12.667-12.674</c:v>
                </c:pt>
                <c:pt idx="1801">
                  <c:v>12.674-12.681</c:v>
                </c:pt>
                <c:pt idx="1802">
                  <c:v>12.681-12.688</c:v>
                </c:pt>
                <c:pt idx="1803">
                  <c:v>12.688-12.695</c:v>
                </c:pt>
                <c:pt idx="1804">
                  <c:v>12.695-12.702</c:v>
                </c:pt>
                <c:pt idx="1805">
                  <c:v>12.702-12.709</c:v>
                </c:pt>
                <c:pt idx="1806">
                  <c:v>12.709-12.716</c:v>
                </c:pt>
                <c:pt idx="1807">
                  <c:v>12.716-12.723</c:v>
                </c:pt>
                <c:pt idx="1808">
                  <c:v>12.723-12.730</c:v>
                </c:pt>
                <c:pt idx="1809">
                  <c:v>12.730-12.737</c:v>
                </c:pt>
                <c:pt idx="1810">
                  <c:v>12.737-12.744</c:v>
                </c:pt>
                <c:pt idx="1811">
                  <c:v>12.744-12.751</c:v>
                </c:pt>
                <c:pt idx="1812">
                  <c:v>12.751-12.758</c:v>
                </c:pt>
                <c:pt idx="1813">
                  <c:v>12.758-12.765</c:v>
                </c:pt>
                <c:pt idx="1814">
                  <c:v>12.765-12.772</c:v>
                </c:pt>
                <c:pt idx="1815">
                  <c:v>12.772-12.779</c:v>
                </c:pt>
                <c:pt idx="1816">
                  <c:v>12.779-12.787</c:v>
                </c:pt>
                <c:pt idx="1817">
                  <c:v>12.787-12.794</c:v>
                </c:pt>
                <c:pt idx="1818">
                  <c:v>12.794-12.801</c:v>
                </c:pt>
                <c:pt idx="1819">
                  <c:v>12.801-12.808</c:v>
                </c:pt>
                <c:pt idx="1820">
                  <c:v>12.808-12.815</c:v>
                </c:pt>
                <c:pt idx="1821">
                  <c:v>12.815-12.822</c:v>
                </c:pt>
                <c:pt idx="1822">
                  <c:v>12.822-12.829</c:v>
                </c:pt>
                <c:pt idx="1823">
                  <c:v>12.829-12.836</c:v>
                </c:pt>
                <c:pt idx="1824">
                  <c:v>12.836-12.843</c:v>
                </c:pt>
                <c:pt idx="1825">
                  <c:v>12.843-12.850</c:v>
                </c:pt>
                <c:pt idx="1826">
                  <c:v>12.850-12.857</c:v>
                </c:pt>
                <c:pt idx="1827">
                  <c:v>12.857-12.864</c:v>
                </c:pt>
                <c:pt idx="1828">
                  <c:v>12.864-12.871</c:v>
                </c:pt>
                <c:pt idx="1829">
                  <c:v>12.871-12.878</c:v>
                </c:pt>
                <c:pt idx="1830">
                  <c:v>12.878-12.885</c:v>
                </c:pt>
                <c:pt idx="1831">
                  <c:v>12.885-12.892</c:v>
                </c:pt>
                <c:pt idx="1832">
                  <c:v>12.892-12.899</c:v>
                </c:pt>
                <c:pt idx="1833">
                  <c:v>12.899-12.906</c:v>
                </c:pt>
                <c:pt idx="1834">
                  <c:v>12.906-12.913</c:v>
                </c:pt>
                <c:pt idx="1835">
                  <c:v>12.913-12.920</c:v>
                </c:pt>
                <c:pt idx="1836">
                  <c:v>12.920-12.927</c:v>
                </c:pt>
                <c:pt idx="1837">
                  <c:v>12.927-12.934</c:v>
                </c:pt>
                <c:pt idx="1838">
                  <c:v>12.934-12.941</c:v>
                </c:pt>
                <c:pt idx="1839">
                  <c:v>12.941-12.948</c:v>
                </c:pt>
                <c:pt idx="1840">
                  <c:v>12.948-12.955</c:v>
                </c:pt>
                <c:pt idx="1841">
                  <c:v>12.955-12.962</c:v>
                </c:pt>
                <c:pt idx="1842">
                  <c:v>12.962-12.969</c:v>
                </c:pt>
                <c:pt idx="1843">
                  <c:v>12.969-12.976</c:v>
                </c:pt>
                <c:pt idx="1844">
                  <c:v>12.976-12.983</c:v>
                </c:pt>
                <c:pt idx="1845">
                  <c:v>12.983-12.990</c:v>
                </c:pt>
                <c:pt idx="1846">
                  <c:v>12.990-12.997</c:v>
                </c:pt>
                <c:pt idx="1847">
                  <c:v>12.997-13.005</c:v>
                </c:pt>
                <c:pt idx="1848">
                  <c:v>13.005-13.012</c:v>
                </c:pt>
                <c:pt idx="1849">
                  <c:v>13.012-13.019</c:v>
                </c:pt>
                <c:pt idx="1850">
                  <c:v>13.019-13.026</c:v>
                </c:pt>
                <c:pt idx="1851">
                  <c:v>13.026-13.033</c:v>
                </c:pt>
                <c:pt idx="1852">
                  <c:v>13.033-13.040</c:v>
                </c:pt>
                <c:pt idx="1853">
                  <c:v>13.040-13.047</c:v>
                </c:pt>
                <c:pt idx="1854">
                  <c:v>13.047-13.054</c:v>
                </c:pt>
                <c:pt idx="1855">
                  <c:v>13.054-13.061</c:v>
                </c:pt>
                <c:pt idx="1856">
                  <c:v>13.061-13.068</c:v>
                </c:pt>
                <c:pt idx="1857">
                  <c:v>13.068-13.075</c:v>
                </c:pt>
                <c:pt idx="1858">
                  <c:v>13.075-13.082</c:v>
                </c:pt>
                <c:pt idx="1859">
                  <c:v>13.082-13.089</c:v>
                </c:pt>
                <c:pt idx="1860">
                  <c:v>13.089-13.096</c:v>
                </c:pt>
                <c:pt idx="1861">
                  <c:v>13.096-13.103</c:v>
                </c:pt>
                <c:pt idx="1862">
                  <c:v>13.103-13.110</c:v>
                </c:pt>
                <c:pt idx="1863">
                  <c:v>13.110-13.117</c:v>
                </c:pt>
                <c:pt idx="1864">
                  <c:v>13.117-13.124</c:v>
                </c:pt>
                <c:pt idx="1865">
                  <c:v>13.124-13.131</c:v>
                </c:pt>
                <c:pt idx="1866">
                  <c:v>13.131-13.138</c:v>
                </c:pt>
                <c:pt idx="1867">
                  <c:v>13.138-13.145</c:v>
                </c:pt>
                <c:pt idx="1868">
                  <c:v>13.145-13.152</c:v>
                </c:pt>
                <c:pt idx="1869">
                  <c:v>13.152-13.159</c:v>
                </c:pt>
                <c:pt idx="1870">
                  <c:v>13.159-13.166</c:v>
                </c:pt>
                <c:pt idx="1871">
                  <c:v>13.166-13.173</c:v>
                </c:pt>
                <c:pt idx="1872">
                  <c:v>13.173-13.180</c:v>
                </c:pt>
                <c:pt idx="1873">
                  <c:v>13.180-13.187</c:v>
                </c:pt>
                <c:pt idx="1874">
                  <c:v>13.187-13.194</c:v>
                </c:pt>
                <c:pt idx="1875">
                  <c:v>13.194-13.201</c:v>
                </c:pt>
                <c:pt idx="1876">
                  <c:v>13.201-13.208</c:v>
                </c:pt>
                <c:pt idx="1877">
                  <c:v>13.208-13.215</c:v>
                </c:pt>
                <c:pt idx="1878">
                  <c:v>13.215-13.223</c:v>
                </c:pt>
                <c:pt idx="1879">
                  <c:v>13.223-13.230</c:v>
                </c:pt>
                <c:pt idx="1880">
                  <c:v>13.230-13.237</c:v>
                </c:pt>
                <c:pt idx="1881">
                  <c:v>13.237-13.244</c:v>
                </c:pt>
                <c:pt idx="1882">
                  <c:v>13.244-13.251</c:v>
                </c:pt>
                <c:pt idx="1883">
                  <c:v>13.251-13.258</c:v>
                </c:pt>
                <c:pt idx="1884">
                  <c:v>13.258-13.265</c:v>
                </c:pt>
                <c:pt idx="1885">
                  <c:v>13.265-13.272</c:v>
                </c:pt>
                <c:pt idx="1886">
                  <c:v>13.272-13.279</c:v>
                </c:pt>
                <c:pt idx="1887">
                  <c:v>13.279-13.286</c:v>
                </c:pt>
                <c:pt idx="1888">
                  <c:v>13.286-13.293</c:v>
                </c:pt>
                <c:pt idx="1889">
                  <c:v>13.293-13.300</c:v>
                </c:pt>
                <c:pt idx="1890">
                  <c:v>13.300-13.307</c:v>
                </c:pt>
                <c:pt idx="1891">
                  <c:v>13.307-13.314</c:v>
                </c:pt>
                <c:pt idx="1892">
                  <c:v>13.314-13.321</c:v>
                </c:pt>
                <c:pt idx="1893">
                  <c:v>13.321-13.328</c:v>
                </c:pt>
                <c:pt idx="1894">
                  <c:v>13.328-13.335</c:v>
                </c:pt>
                <c:pt idx="1895">
                  <c:v>13.335-13.342</c:v>
                </c:pt>
                <c:pt idx="1896">
                  <c:v>13.342-13.349</c:v>
                </c:pt>
                <c:pt idx="1897">
                  <c:v>13.349-13.356</c:v>
                </c:pt>
                <c:pt idx="1898">
                  <c:v>13.356-13.363</c:v>
                </c:pt>
                <c:pt idx="1899">
                  <c:v>13.363-13.370</c:v>
                </c:pt>
                <c:pt idx="1900">
                  <c:v>13.370-13.377</c:v>
                </c:pt>
                <c:pt idx="1901">
                  <c:v>13.377-13.384</c:v>
                </c:pt>
                <c:pt idx="1902">
                  <c:v>13.384-13.391</c:v>
                </c:pt>
                <c:pt idx="1903">
                  <c:v>13.391-13.398</c:v>
                </c:pt>
                <c:pt idx="1904">
                  <c:v>13.398-13.405</c:v>
                </c:pt>
                <c:pt idx="1905">
                  <c:v>13.405-13.412</c:v>
                </c:pt>
                <c:pt idx="1906">
                  <c:v>13.412-13.419</c:v>
                </c:pt>
                <c:pt idx="1907">
                  <c:v>13.419-13.426</c:v>
                </c:pt>
                <c:pt idx="1908">
                  <c:v>13.426-13.433</c:v>
                </c:pt>
                <c:pt idx="1909">
                  <c:v>13.433-13.441</c:v>
                </c:pt>
                <c:pt idx="1910">
                  <c:v>13.441-13.448</c:v>
                </c:pt>
                <c:pt idx="1911">
                  <c:v>13.448-13.455</c:v>
                </c:pt>
                <c:pt idx="1912">
                  <c:v>13.455-13.462</c:v>
                </c:pt>
                <c:pt idx="1913">
                  <c:v>13.462-13.469</c:v>
                </c:pt>
                <c:pt idx="1914">
                  <c:v>13.469-13.476</c:v>
                </c:pt>
                <c:pt idx="1915">
                  <c:v>13.476-13.483</c:v>
                </c:pt>
                <c:pt idx="1916">
                  <c:v>13.483-13.490</c:v>
                </c:pt>
                <c:pt idx="1917">
                  <c:v>13.490-13.497</c:v>
                </c:pt>
                <c:pt idx="1918">
                  <c:v>13.497-13.504</c:v>
                </c:pt>
                <c:pt idx="1919">
                  <c:v>13.504-13.511</c:v>
                </c:pt>
                <c:pt idx="1920">
                  <c:v>13.511-13.518</c:v>
                </c:pt>
                <c:pt idx="1921">
                  <c:v>13.518-13.525</c:v>
                </c:pt>
                <c:pt idx="1922">
                  <c:v>13.525-13.532</c:v>
                </c:pt>
                <c:pt idx="1923">
                  <c:v>13.532-13.539</c:v>
                </c:pt>
                <c:pt idx="1924">
                  <c:v>13.539-13.546</c:v>
                </c:pt>
                <c:pt idx="1925">
                  <c:v>13.546-13.553</c:v>
                </c:pt>
                <c:pt idx="1926">
                  <c:v>13.553-13.560</c:v>
                </c:pt>
                <c:pt idx="1927">
                  <c:v>13.560-13.567</c:v>
                </c:pt>
                <c:pt idx="1928">
                  <c:v>13.567-13.574</c:v>
                </c:pt>
                <c:pt idx="1929">
                  <c:v>13.574-13.581</c:v>
                </c:pt>
                <c:pt idx="1930">
                  <c:v>13.581-13.588</c:v>
                </c:pt>
                <c:pt idx="1931">
                  <c:v>13.588-13.595</c:v>
                </c:pt>
                <c:pt idx="1932">
                  <c:v>13.595-13.602</c:v>
                </c:pt>
                <c:pt idx="1933">
                  <c:v>13.602-13.609</c:v>
                </c:pt>
                <c:pt idx="1934">
                  <c:v>13.609-13.616</c:v>
                </c:pt>
                <c:pt idx="1935">
                  <c:v>13.616-13.623</c:v>
                </c:pt>
                <c:pt idx="1936">
                  <c:v>13.623-13.630</c:v>
                </c:pt>
                <c:pt idx="1937">
                  <c:v>13.630-13.637</c:v>
                </c:pt>
                <c:pt idx="1938">
                  <c:v>13.637-13.644</c:v>
                </c:pt>
                <c:pt idx="1939">
                  <c:v>13.644-13.651</c:v>
                </c:pt>
                <c:pt idx="1940">
                  <c:v>13.651-13.659</c:v>
                </c:pt>
                <c:pt idx="1941">
                  <c:v>13.659-13.666</c:v>
                </c:pt>
                <c:pt idx="1942">
                  <c:v>13.666-13.673</c:v>
                </c:pt>
                <c:pt idx="1943">
                  <c:v>13.673-13.680</c:v>
                </c:pt>
                <c:pt idx="1944">
                  <c:v>13.680-13.687</c:v>
                </c:pt>
                <c:pt idx="1945">
                  <c:v>13.687-13.694</c:v>
                </c:pt>
                <c:pt idx="1946">
                  <c:v>13.694-13.701</c:v>
                </c:pt>
                <c:pt idx="1947">
                  <c:v>13.701-13.708</c:v>
                </c:pt>
                <c:pt idx="1948">
                  <c:v>13.708-13.715</c:v>
                </c:pt>
                <c:pt idx="1949">
                  <c:v>13.715-13.722</c:v>
                </c:pt>
                <c:pt idx="1950">
                  <c:v>13.722-13.729</c:v>
                </c:pt>
                <c:pt idx="1951">
                  <c:v>13.729-13.736</c:v>
                </c:pt>
                <c:pt idx="1952">
                  <c:v>13.736-13.743</c:v>
                </c:pt>
                <c:pt idx="1953">
                  <c:v>13.743-13.750</c:v>
                </c:pt>
                <c:pt idx="1954">
                  <c:v>13.750-13.757</c:v>
                </c:pt>
                <c:pt idx="1955">
                  <c:v>13.757-13.764</c:v>
                </c:pt>
                <c:pt idx="1956">
                  <c:v>13.764-13.771</c:v>
                </c:pt>
                <c:pt idx="1957">
                  <c:v>13.771-13.778</c:v>
                </c:pt>
                <c:pt idx="1958">
                  <c:v>13.778-13.785</c:v>
                </c:pt>
                <c:pt idx="1959">
                  <c:v>13.785-13.792</c:v>
                </c:pt>
                <c:pt idx="1960">
                  <c:v>13.792-13.799</c:v>
                </c:pt>
                <c:pt idx="1961">
                  <c:v>13.799-13.806</c:v>
                </c:pt>
                <c:pt idx="1962">
                  <c:v>13.806-13.813</c:v>
                </c:pt>
                <c:pt idx="1963">
                  <c:v>13.813-13.820</c:v>
                </c:pt>
                <c:pt idx="1964">
                  <c:v>13.820-13.827</c:v>
                </c:pt>
                <c:pt idx="1965">
                  <c:v>13.827-13.834</c:v>
                </c:pt>
                <c:pt idx="1966">
                  <c:v>13.834-13.841</c:v>
                </c:pt>
                <c:pt idx="1967">
                  <c:v>13.841-13.848</c:v>
                </c:pt>
                <c:pt idx="1968">
                  <c:v>13.848-13.855</c:v>
                </c:pt>
                <c:pt idx="1969">
                  <c:v>13.855-13.862</c:v>
                </c:pt>
                <c:pt idx="1970">
                  <c:v>13.862-13.869</c:v>
                </c:pt>
                <c:pt idx="1971">
                  <c:v>13.869-13.876</c:v>
                </c:pt>
                <c:pt idx="1972">
                  <c:v>13.876-13.884</c:v>
                </c:pt>
                <c:pt idx="1973">
                  <c:v>13.884-13.891</c:v>
                </c:pt>
                <c:pt idx="1974">
                  <c:v>13.891-13.898</c:v>
                </c:pt>
                <c:pt idx="1975">
                  <c:v>13.898-13.905</c:v>
                </c:pt>
                <c:pt idx="1976">
                  <c:v>13.905-13.912</c:v>
                </c:pt>
                <c:pt idx="1977">
                  <c:v>13.912-13.919</c:v>
                </c:pt>
                <c:pt idx="1978">
                  <c:v>13.919-13.926</c:v>
                </c:pt>
                <c:pt idx="1979">
                  <c:v>13.926-13.933</c:v>
                </c:pt>
                <c:pt idx="1980">
                  <c:v>13.933-13.940</c:v>
                </c:pt>
                <c:pt idx="1981">
                  <c:v>13.940-13.947</c:v>
                </c:pt>
                <c:pt idx="1982">
                  <c:v>13.947-13.954</c:v>
                </c:pt>
                <c:pt idx="1983">
                  <c:v>13.954-13.961</c:v>
                </c:pt>
                <c:pt idx="1984">
                  <c:v>13.961-13.968</c:v>
                </c:pt>
                <c:pt idx="1985">
                  <c:v>13.968-13.975</c:v>
                </c:pt>
                <c:pt idx="1986">
                  <c:v>13.975-13.982</c:v>
                </c:pt>
                <c:pt idx="1987">
                  <c:v>13.982-13.989</c:v>
                </c:pt>
                <c:pt idx="1988">
                  <c:v>13.989-13.996</c:v>
                </c:pt>
                <c:pt idx="1989">
                  <c:v>13.996-14.003</c:v>
                </c:pt>
                <c:pt idx="1990">
                  <c:v>14.003-14.010</c:v>
                </c:pt>
                <c:pt idx="1991">
                  <c:v>14.010-14.017</c:v>
                </c:pt>
                <c:pt idx="1992">
                  <c:v>14.017-14.024</c:v>
                </c:pt>
                <c:pt idx="1993">
                  <c:v>14.024-14.031</c:v>
                </c:pt>
                <c:pt idx="1994">
                  <c:v>14.031-14.038</c:v>
                </c:pt>
                <c:pt idx="1995">
                  <c:v>14.038-14.045</c:v>
                </c:pt>
                <c:pt idx="1996">
                  <c:v>14.045-14.052</c:v>
                </c:pt>
                <c:pt idx="1997">
                  <c:v>14.052-14.059</c:v>
                </c:pt>
                <c:pt idx="1998">
                  <c:v>14.059-14.066</c:v>
                </c:pt>
                <c:pt idx="1999">
                  <c:v>14.066-14.073</c:v>
                </c:pt>
                <c:pt idx="2000">
                  <c:v>14.073-14.080</c:v>
                </c:pt>
                <c:pt idx="2001">
                  <c:v>14.080-14.087</c:v>
                </c:pt>
                <c:pt idx="2002">
                  <c:v>14.087-14.094</c:v>
                </c:pt>
                <c:pt idx="2003">
                  <c:v>14.094-14.102</c:v>
                </c:pt>
                <c:pt idx="2004">
                  <c:v>14.102-14.109</c:v>
                </c:pt>
                <c:pt idx="2005">
                  <c:v>14.109-14.116</c:v>
                </c:pt>
                <c:pt idx="2006">
                  <c:v>14.116-14.123</c:v>
                </c:pt>
                <c:pt idx="2007">
                  <c:v>14.123-14.130</c:v>
                </c:pt>
                <c:pt idx="2008">
                  <c:v>14.130-14.137</c:v>
                </c:pt>
                <c:pt idx="2009">
                  <c:v>14.137-14.144</c:v>
                </c:pt>
                <c:pt idx="2010">
                  <c:v>14.144-14.151</c:v>
                </c:pt>
                <c:pt idx="2011">
                  <c:v>14.151-14.158</c:v>
                </c:pt>
                <c:pt idx="2012">
                  <c:v>14.158-14.165</c:v>
                </c:pt>
                <c:pt idx="2013">
                  <c:v>14.165-14.172</c:v>
                </c:pt>
                <c:pt idx="2014">
                  <c:v>14.172-14.179</c:v>
                </c:pt>
                <c:pt idx="2015">
                  <c:v>14.179-14.186</c:v>
                </c:pt>
                <c:pt idx="2016">
                  <c:v>14.186-14.193</c:v>
                </c:pt>
                <c:pt idx="2017">
                  <c:v>14.193-14.200</c:v>
                </c:pt>
                <c:pt idx="2018">
                  <c:v>14.200-14.207</c:v>
                </c:pt>
                <c:pt idx="2019">
                  <c:v>14.207-14.214</c:v>
                </c:pt>
                <c:pt idx="2020">
                  <c:v>14.214-14.221</c:v>
                </c:pt>
                <c:pt idx="2021">
                  <c:v>14.221-14.228</c:v>
                </c:pt>
                <c:pt idx="2022">
                  <c:v>14.228-14.235</c:v>
                </c:pt>
                <c:pt idx="2023">
                  <c:v>14.235-14.242</c:v>
                </c:pt>
                <c:pt idx="2024">
                  <c:v>14.242-14.249</c:v>
                </c:pt>
                <c:pt idx="2025">
                  <c:v>14.249-14.256</c:v>
                </c:pt>
                <c:pt idx="2026">
                  <c:v>14.256-14.263</c:v>
                </c:pt>
                <c:pt idx="2027">
                  <c:v>14.263-14.270</c:v>
                </c:pt>
                <c:pt idx="2028">
                  <c:v>14.270-14.277</c:v>
                </c:pt>
                <c:pt idx="2029">
                  <c:v>14.277-14.284</c:v>
                </c:pt>
                <c:pt idx="2030">
                  <c:v>14.284-14.291</c:v>
                </c:pt>
                <c:pt idx="2031">
                  <c:v>14.291-14.298</c:v>
                </c:pt>
                <c:pt idx="2032">
                  <c:v>14.298-14.305</c:v>
                </c:pt>
                <c:pt idx="2033">
                  <c:v>14.305-14.312</c:v>
                </c:pt>
                <c:pt idx="2034">
                  <c:v>14.312-14.320</c:v>
                </c:pt>
                <c:pt idx="2035">
                  <c:v>14.320-14.327</c:v>
                </c:pt>
                <c:pt idx="2036">
                  <c:v>14.327-14.334</c:v>
                </c:pt>
                <c:pt idx="2037">
                  <c:v>14.334-14.341</c:v>
                </c:pt>
                <c:pt idx="2038">
                  <c:v>14.341-14.348</c:v>
                </c:pt>
                <c:pt idx="2039">
                  <c:v>14.348-14.355</c:v>
                </c:pt>
                <c:pt idx="2040">
                  <c:v>14.355-14.362</c:v>
                </c:pt>
                <c:pt idx="2041">
                  <c:v>14.362-14.369</c:v>
                </c:pt>
                <c:pt idx="2042">
                  <c:v>14.369-14.376</c:v>
                </c:pt>
                <c:pt idx="2043">
                  <c:v>14.376-14.383</c:v>
                </c:pt>
                <c:pt idx="2044">
                  <c:v>14.383-14.390</c:v>
                </c:pt>
                <c:pt idx="2045">
                  <c:v>14.390-14.397</c:v>
                </c:pt>
                <c:pt idx="2046">
                  <c:v>14.397-14.404</c:v>
                </c:pt>
                <c:pt idx="2047">
                  <c:v>14.404-14.411</c:v>
                </c:pt>
                <c:pt idx="2048">
                  <c:v>14.411-14.418</c:v>
                </c:pt>
                <c:pt idx="2049">
                  <c:v>14.418-14.425</c:v>
                </c:pt>
                <c:pt idx="2050">
                  <c:v>14.425-14.432</c:v>
                </c:pt>
                <c:pt idx="2051">
                  <c:v>14.432-14.439</c:v>
                </c:pt>
                <c:pt idx="2052">
                  <c:v>14.439-14.446</c:v>
                </c:pt>
                <c:pt idx="2053">
                  <c:v>14.446-14.453</c:v>
                </c:pt>
                <c:pt idx="2054">
                  <c:v>14.453-14.460</c:v>
                </c:pt>
                <c:pt idx="2055">
                  <c:v>14.460-14.467</c:v>
                </c:pt>
                <c:pt idx="2056">
                  <c:v>14.467-14.474</c:v>
                </c:pt>
                <c:pt idx="2057">
                  <c:v>14.474-14.481</c:v>
                </c:pt>
                <c:pt idx="2058">
                  <c:v>14.481-14.488</c:v>
                </c:pt>
                <c:pt idx="2059">
                  <c:v>14.488-14.495</c:v>
                </c:pt>
                <c:pt idx="2060">
                  <c:v>14.495-14.502</c:v>
                </c:pt>
                <c:pt idx="2061">
                  <c:v>14.502-14.509</c:v>
                </c:pt>
                <c:pt idx="2062">
                  <c:v>14.509-14.516</c:v>
                </c:pt>
                <c:pt idx="2063">
                  <c:v>14.516-14.523</c:v>
                </c:pt>
                <c:pt idx="2064">
                  <c:v>14.523-14.530</c:v>
                </c:pt>
                <c:pt idx="2065">
                  <c:v>14.530-14.538</c:v>
                </c:pt>
                <c:pt idx="2066">
                  <c:v>14.538-14.545</c:v>
                </c:pt>
                <c:pt idx="2067">
                  <c:v>14.545-14.552</c:v>
                </c:pt>
                <c:pt idx="2068">
                  <c:v>14.552-14.559</c:v>
                </c:pt>
                <c:pt idx="2069">
                  <c:v>14.559-14.566</c:v>
                </c:pt>
                <c:pt idx="2070">
                  <c:v>14.566-14.573</c:v>
                </c:pt>
                <c:pt idx="2071">
                  <c:v>14.573-14.580</c:v>
                </c:pt>
                <c:pt idx="2072">
                  <c:v>14.580-14.587</c:v>
                </c:pt>
                <c:pt idx="2073">
                  <c:v>14.587-14.594</c:v>
                </c:pt>
                <c:pt idx="2074">
                  <c:v>14.594-14.601</c:v>
                </c:pt>
                <c:pt idx="2075">
                  <c:v>14.601-14.608</c:v>
                </c:pt>
                <c:pt idx="2076">
                  <c:v>14.608-14.615</c:v>
                </c:pt>
                <c:pt idx="2077">
                  <c:v>14.615-14.622</c:v>
                </c:pt>
                <c:pt idx="2078">
                  <c:v>14.622-14.629</c:v>
                </c:pt>
                <c:pt idx="2079">
                  <c:v>14.629-14.636</c:v>
                </c:pt>
                <c:pt idx="2080">
                  <c:v>14.636-14.643</c:v>
                </c:pt>
                <c:pt idx="2081">
                  <c:v>14.643-14.650</c:v>
                </c:pt>
                <c:pt idx="2082">
                  <c:v>14.650-14.657</c:v>
                </c:pt>
                <c:pt idx="2083">
                  <c:v>14.657-14.664</c:v>
                </c:pt>
                <c:pt idx="2084">
                  <c:v>14.664-14.671</c:v>
                </c:pt>
                <c:pt idx="2085">
                  <c:v>14.671-14.678</c:v>
                </c:pt>
                <c:pt idx="2086">
                  <c:v>14.678-14.685</c:v>
                </c:pt>
                <c:pt idx="2087">
                  <c:v>14.685-14.692</c:v>
                </c:pt>
                <c:pt idx="2088">
                  <c:v>14.692-14.699</c:v>
                </c:pt>
                <c:pt idx="2089">
                  <c:v>14.699-14.706</c:v>
                </c:pt>
                <c:pt idx="2090">
                  <c:v>14.706-14.713</c:v>
                </c:pt>
                <c:pt idx="2091">
                  <c:v>14.713-14.720</c:v>
                </c:pt>
                <c:pt idx="2092">
                  <c:v>14.720-14.727</c:v>
                </c:pt>
                <c:pt idx="2093">
                  <c:v>14.727-14.734</c:v>
                </c:pt>
                <c:pt idx="2094">
                  <c:v>14.734-14.741</c:v>
                </c:pt>
                <c:pt idx="2095">
                  <c:v>14.741-14.748</c:v>
                </c:pt>
                <c:pt idx="2096">
                  <c:v>14.748-14.756</c:v>
                </c:pt>
                <c:pt idx="2097">
                  <c:v>14.756-14.763</c:v>
                </c:pt>
                <c:pt idx="2098">
                  <c:v>14.763-14.770</c:v>
                </c:pt>
                <c:pt idx="2099">
                  <c:v>14.770-14.777</c:v>
                </c:pt>
                <c:pt idx="2100">
                  <c:v>14.777-14.784</c:v>
                </c:pt>
                <c:pt idx="2101">
                  <c:v>14.784-14.791</c:v>
                </c:pt>
                <c:pt idx="2102">
                  <c:v>14.791-14.798</c:v>
                </c:pt>
                <c:pt idx="2103">
                  <c:v>14.798-14.805</c:v>
                </c:pt>
                <c:pt idx="2104">
                  <c:v>14.805-14.812</c:v>
                </c:pt>
                <c:pt idx="2105">
                  <c:v>14.812-14.819</c:v>
                </c:pt>
                <c:pt idx="2106">
                  <c:v>14.819-14.826</c:v>
                </c:pt>
                <c:pt idx="2107">
                  <c:v>14.826-14.833</c:v>
                </c:pt>
                <c:pt idx="2108">
                  <c:v>14.833-14.840</c:v>
                </c:pt>
                <c:pt idx="2109">
                  <c:v>14.840-14.847</c:v>
                </c:pt>
                <c:pt idx="2110">
                  <c:v>14.847-14.854</c:v>
                </c:pt>
                <c:pt idx="2111">
                  <c:v>14.854-14.861</c:v>
                </c:pt>
                <c:pt idx="2112">
                  <c:v>14.861-14.868</c:v>
                </c:pt>
                <c:pt idx="2113">
                  <c:v>14.868-14.875</c:v>
                </c:pt>
                <c:pt idx="2114">
                  <c:v>14.875-14.882</c:v>
                </c:pt>
                <c:pt idx="2115">
                  <c:v>14.882-14.889</c:v>
                </c:pt>
                <c:pt idx="2116">
                  <c:v>14.889-14.896</c:v>
                </c:pt>
                <c:pt idx="2117">
                  <c:v>14.896-14.903</c:v>
                </c:pt>
                <c:pt idx="2118">
                  <c:v>14.903-14.910</c:v>
                </c:pt>
                <c:pt idx="2119">
                  <c:v>14.910-14.917</c:v>
                </c:pt>
                <c:pt idx="2120">
                  <c:v>14.917-14.924</c:v>
                </c:pt>
                <c:pt idx="2121">
                  <c:v>14.924-14.931</c:v>
                </c:pt>
                <c:pt idx="2122">
                  <c:v>14.931-14.938</c:v>
                </c:pt>
                <c:pt idx="2123">
                  <c:v>14.938-14.945</c:v>
                </c:pt>
                <c:pt idx="2124">
                  <c:v>14.945-14.952</c:v>
                </c:pt>
                <c:pt idx="2125">
                  <c:v>14.952-14.959</c:v>
                </c:pt>
                <c:pt idx="2126">
                  <c:v>14.959-14.966</c:v>
                </c:pt>
                <c:pt idx="2127">
                  <c:v>14.966-14.974</c:v>
                </c:pt>
                <c:pt idx="2128">
                  <c:v>14.974-14.981</c:v>
                </c:pt>
                <c:pt idx="2129">
                  <c:v>14.981-14.988</c:v>
                </c:pt>
                <c:pt idx="2130">
                  <c:v>14.988-14.995</c:v>
                </c:pt>
                <c:pt idx="2131">
                  <c:v>14.995-15.002</c:v>
                </c:pt>
                <c:pt idx="2132">
                  <c:v>15.002-15.009</c:v>
                </c:pt>
                <c:pt idx="2133">
                  <c:v>15.009-15.016</c:v>
                </c:pt>
                <c:pt idx="2134">
                  <c:v>15.016-15.023</c:v>
                </c:pt>
                <c:pt idx="2135">
                  <c:v>15.023-15.030</c:v>
                </c:pt>
                <c:pt idx="2136">
                  <c:v>15.030-15.037</c:v>
                </c:pt>
                <c:pt idx="2137">
                  <c:v>15.037-15.044</c:v>
                </c:pt>
                <c:pt idx="2138">
                  <c:v>15.044-15.051</c:v>
                </c:pt>
                <c:pt idx="2139">
                  <c:v>15.051-15.058</c:v>
                </c:pt>
                <c:pt idx="2140">
                  <c:v>15.058-15.065</c:v>
                </c:pt>
                <c:pt idx="2141">
                  <c:v>15.065-15.072</c:v>
                </c:pt>
                <c:pt idx="2142">
                  <c:v>15.072-15.079</c:v>
                </c:pt>
                <c:pt idx="2143">
                  <c:v>15.079-15.086</c:v>
                </c:pt>
                <c:pt idx="2144">
                  <c:v>15.086-15.093</c:v>
                </c:pt>
                <c:pt idx="2145">
                  <c:v>15.093-15.100</c:v>
                </c:pt>
                <c:pt idx="2146">
                  <c:v>15.100-15.107</c:v>
                </c:pt>
                <c:pt idx="2147">
                  <c:v>15.107-15.114</c:v>
                </c:pt>
                <c:pt idx="2148">
                  <c:v>15.114-15.121</c:v>
                </c:pt>
                <c:pt idx="2149">
                  <c:v>15.121-15.128</c:v>
                </c:pt>
                <c:pt idx="2150">
                  <c:v>15.128-15.135</c:v>
                </c:pt>
                <c:pt idx="2151">
                  <c:v>15.135-15.142</c:v>
                </c:pt>
                <c:pt idx="2152">
                  <c:v>15.142-15.149</c:v>
                </c:pt>
                <c:pt idx="2153">
                  <c:v>15.149-15.156</c:v>
                </c:pt>
                <c:pt idx="2154">
                  <c:v>15.156-15.163</c:v>
                </c:pt>
                <c:pt idx="2155">
                  <c:v>15.163-15.170</c:v>
                </c:pt>
                <c:pt idx="2156">
                  <c:v>15.170-15.177</c:v>
                </c:pt>
                <c:pt idx="2157">
                  <c:v>15.177-15.184</c:v>
                </c:pt>
                <c:pt idx="2158">
                  <c:v>15.184-15.192</c:v>
                </c:pt>
                <c:pt idx="2159">
                  <c:v>15.192-15.199</c:v>
                </c:pt>
                <c:pt idx="2160">
                  <c:v>15.199-15.206</c:v>
                </c:pt>
                <c:pt idx="2161">
                  <c:v>15.206-15.213</c:v>
                </c:pt>
                <c:pt idx="2162">
                  <c:v>15.213-15.220</c:v>
                </c:pt>
                <c:pt idx="2163">
                  <c:v>15.220-15.227</c:v>
                </c:pt>
                <c:pt idx="2164">
                  <c:v>15.227-15.234</c:v>
                </c:pt>
                <c:pt idx="2165">
                  <c:v>15.234-15.241</c:v>
                </c:pt>
                <c:pt idx="2166">
                  <c:v>15.241-15.248</c:v>
                </c:pt>
                <c:pt idx="2167">
                  <c:v>15.248-15.255</c:v>
                </c:pt>
                <c:pt idx="2168">
                  <c:v>15.255-15.262</c:v>
                </c:pt>
                <c:pt idx="2169">
                  <c:v>15.262-15.269</c:v>
                </c:pt>
                <c:pt idx="2170">
                  <c:v>15.269-15.276</c:v>
                </c:pt>
                <c:pt idx="2171">
                  <c:v>15.276-15.283</c:v>
                </c:pt>
                <c:pt idx="2172">
                  <c:v>15.283-15.290</c:v>
                </c:pt>
                <c:pt idx="2173">
                  <c:v>15.290-15.297</c:v>
                </c:pt>
                <c:pt idx="2174">
                  <c:v>15.297-15.304</c:v>
                </c:pt>
                <c:pt idx="2175">
                  <c:v>15.304-15.311</c:v>
                </c:pt>
                <c:pt idx="2176">
                  <c:v>15.311-15.318</c:v>
                </c:pt>
                <c:pt idx="2177">
                  <c:v>15.318-15.325</c:v>
                </c:pt>
                <c:pt idx="2178">
                  <c:v>15.325-15.332</c:v>
                </c:pt>
                <c:pt idx="2179">
                  <c:v>15.332-15.339</c:v>
                </c:pt>
                <c:pt idx="2180">
                  <c:v>15.339-15.346</c:v>
                </c:pt>
                <c:pt idx="2181">
                  <c:v>15.346-15.353</c:v>
                </c:pt>
                <c:pt idx="2182">
                  <c:v>15.353-15.360</c:v>
                </c:pt>
                <c:pt idx="2183">
                  <c:v>15.360-15.367</c:v>
                </c:pt>
                <c:pt idx="2184">
                  <c:v>15.367-15.374</c:v>
                </c:pt>
                <c:pt idx="2185">
                  <c:v>15.374-15.381</c:v>
                </c:pt>
                <c:pt idx="2186">
                  <c:v>15.381-15.388</c:v>
                </c:pt>
                <c:pt idx="2187">
                  <c:v>15.388-15.395</c:v>
                </c:pt>
                <c:pt idx="2188">
                  <c:v>15.395-15.402</c:v>
                </c:pt>
                <c:pt idx="2189">
                  <c:v>15.402-15.410</c:v>
                </c:pt>
                <c:pt idx="2190">
                  <c:v>15.410-15.417</c:v>
                </c:pt>
                <c:pt idx="2191">
                  <c:v>15.417-15.424</c:v>
                </c:pt>
                <c:pt idx="2192">
                  <c:v>15.424-15.431</c:v>
                </c:pt>
                <c:pt idx="2193">
                  <c:v>15.431-15.438</c:v>
                </c:pt>
                <c:pt idx="2194">
                  <c:v>15.438-15.445</c:v>
                </c:pt>
                <c:pt idx="2195">
                  <c:v>15.445-15.452</c:v>
                </c:pt>
                <c:pt idx="2196">
                  <c:v>15.452-15.459</c:v>
                </c:pt>
                <c:pt idx="2197">
                  <c:v>15.459-15.466</c:v>
                </c:pt>
                <c:pt idx="2198">
                  <c:v>15.466-15.473</c:v>
                </c:pt>
                <c:pt idx="2199">
                  <c:v>15.473-15.480</c:v>
                </c:pt>
                <c:pt idx="2200">
                  <c:v>15.480-15.487</c:v>
                </c:pt>
                <c:pt idx="2201">
                  <c:v>15.487-15.494</c:v>
                </c:pt>
                <c:pt idx="2202">
                  <c:v>15.494-15.501</c:v>
                </c:pt>
                <c:pt idx="2203">
                  <c:v>15.501-15.508</c:v>
                </c:pt>
                <c:pt idx="2204">
                  <c:v>15.508-15.515</c:v>
                </c:pt>
                <c:pt idx="2205">
                  <c:v>15.515-15.522</c:v>
                </c:pt>
                <c:pt idx="2206">
                  <c:v>15.522-15.529</c:v>
                </c:pt>
                <c:pt idx="2207">
                  <c:v>15.529-15.536</c:v>
                </c:pt>
                <c:pt idx="2208">
                  <c:v>15.536-15.543</c:v>
                </c:pt>
                <c:pt idx="2209">
                  <c:v>15.543-15.550</c:v>
                </c:pt>
                <c:pt idx="2210">
                  <c:v>15.550-15.557</c:v>
                </c:pt>
                <c:pt idx="2211">
                  <c:v>15.557-15.564</c:v>
                </c:pt>
                <c:pt idx="2212">
                  <c:v>15.564-15.571</c:v>
                </c:pt>
                <c:pt idx="2213">
                  <c:v>15.571-15.578</c:v>
                </c:pt>
                <c:pt idx="2214">
                  <c:v>15.578-15.585</c:v>
                </c:pt>
                <c:pt idx="2215">
                  <c:v>15.585-15.592</c:v>
                </c:pt>
                <c:pt idx="2216">
                  <c:v>15.592-15.599</c:v>
                </c:pt>
                <c:pt idx="2217">
                  <c:v>15.599-15.606</c:v>
                </c:pt>
                <c:pt idx="2218">
                  <c:v>15.606-15.613</c:v>
                </c:pt>
                <c:pt idx="2219">
                  <c:v>15.613-15.620</c:v>
                </c:pt>
                <c:pt idx="2220">
                  <c:v>15.620-15.628</c:v>
                </c:pt>
                <c:pt idx="2221">
                  <c:v>15.628-15.635</c:v>
                </c:pt>
                <c:pt idx="2222">
                  <c:v>15.635-15.642</c:v>
                </c:pt>
                <c:pt idx="2223">
                  <c:v>15.642-15.649</c:v>
                </c:pt>
                <c:pt idx="2224">
                  <c:v>15.649-15.656</c:v>
                </c:pt>
                <c:pt idx="2225">
                  <c:v>15.656-15.663</c:v>
                </c:pt>
                <c:pt idx="2226">
                  <c:v>15.663-15.670</c:v>
                </c:pt>
                <c:pt idx="2227">
                  <c:v>15.670-15.677</c:v>
                </c:pt>
                <c:pt idx="2228">
                  <c:v>15.677-15.684</c:v>
                </c:pt>
                <c:pt idx="2229">
                  <c:v>15.684-15.691</c:v>
                </c:pt>
                <c:pt idx="2230">
                  <c:v>15.691-15.698</c:v>
                </c:pt>
                <c:pt idx="2231">
                  <c:v>15.698-15.705</c:v>
                </c:pt>
                <c:pt idx="2232">
                  <c:v>15.705-15.712</c:v>
                </c:pt>
                <c:pt idx="2233">
                  <c:v>15.712-15.719</c:v>
                </c:pt>
                <c:pt idx="2234">
                  <c:v>15.719-15.726</c:v>
                </c:pt>
                <c:pt idx="2235">
                  <c:v>15.726-15.733</c:v>
                </c:pt>
                <c:pt idx="2236">
                  <c:v>15.733-15.740</c:v>
                </c:pt>
                <c:pt idx="2237">
                  <c:v>15.740-15.747</c:v>
                </c:pt>
                <c:pt idx="2238">
                  <c:v>15.747-15.754</c:v>
                </c:pt>
                <c:pt idx="2239">
                  <c:v>15.754-15.761</c:v>
                </c:pt>
                <c:pt idx="2240">
                  <c:v>15.761-15.768</c:v>
                </c:pt>
                <c:pt idx="2241">
                  <c:v>15.768-15.775</c:v>
                </c:pt>
                <c:pt idx="2242">
                  <c:v>15.775-15.782</c:v>
                </c:pt>
                <c:pt idx="2243">
                  <c:v>15.782-15.789</c:v>
                </c:pt>
                <c:pt idx="2244">
                  <c:v>15.789-15.796</c:v>
                </c:pt>
                <c:pt idx="2245">
                  <c:v>15.796-15.803</c:v>
                </c:pt>
                <c:pt idx="2246">
                  <c:v>15.803-15.810</c:v>
                </c:pt>
                <c:pt idx="2247">
                  <c:v>15.810-15.817</c:v>
                </c:pt>
                <c:pt idx="2248">
                  <c:v>15.817-15.824</c:v>
                </c:pt>
                <c:pt idx="2249">
                  <c:v>15.824-15.831</c:v>
                </c:pt>
                <c:pt idx="2250">
                  <c:v>15.831-15.838</c:v>
                </c:pt>
                <c:pt idx="2251">
                  <c:v>15.838-15.846</c:v>
                </c:pt>
                <c:pt idx="2252">
                  <c:v>15.846-15.853</c:v>
                </c:pt>
                <c:pt idx="2253">
                  <c:v>15.853-15.860</c:v>
                </c:pt>
                <c:pt idx="2254">
                  <c:v>15.860-15.867</c:v>
                </c:pt>
                <c:pt idx="2255">
                  <c:v>15.867-15.874</c:v>
                </c:pt>
                <c:pt idx="2256">
                  <c:v>15.874-15.881</c:v>
                </c:pt>
                <c:pt idx="2257">
                  <c:v>15.881-15.888</c:v>
                </c:pt>
                <c:pt idx="2258">
                  <c:v>15.888-15.895</c:v>
                </c:pt>
                <c:pt idx="2259">
                  <c:v>15.895-15.902</c:v>
                </c:pt>
                <c:pt idx="2260">
                  <c:v>15.902-15.909</c:v>
                </c:pt>
                <c:pt idx="2261">
                  <c:v>15.909-15.916</c:v>
                </c:pt>
                <c:pt idx="2262">
                  <c:v>15.916-15.923</c:v>
                </c:pt>
                <c:pt idx="2263">
                  <c:v>15.923-15.930</c:v>
                </c:pt>
                <c:pt idx="2264">
                  <c:v>15.930-15.937</c:v>
                </c:pt>
                <c:pt idx="2265">
                  <c:v>15.937-15.944</c:v>
                </c:pt>
                <c:pt idx="2266">
                  <c:v>15.944-15.951</c:v>
                </c:pt>
                <c:pt idx="2267">
                  <c:v>15.951-15.958</c:v>
                </c:pt>
                <c:pt idx="2268">
                  <c:v>15.958-15.965</c:v>
                </c:pt>
                <c:pt idx="2269">
                  <c:v>15.965-15.972</c:v>
                </c:pt>
                <c:pt idx="2270">
                  <c:v>15.972-15.979</c:v>
                </c:pt>
                <c:pt idx="2271">
                  <c:v>15.979-15.986</c:v>
                </c:pt>
                <c:pt idx="2272">
                  <c:v>15.986-15.993</c:v>
                </c:pt>
                <c:pt idx="2273">
                  <c:v>15.993-16.000</c:v>
                </c:pt>
                <c:pt idx="2274">
                  <c:v>16.000-16.007</c:v>
                </c:pt>
                <c:pt idx="2275">
                  <c:v>16.007-16.014</c:v>
                </c:pt>
                <c:pt idx="2276">
                  <c:v>16.014-16.021</c:v>
                </c:pt>
                <c:pt idx="2277">
                  <c:v>16.021-16.028</c:v>
                </c:pt>
                <c:pt idx="2278">
                  <c:v>16.028-16.035</c:v>
                </c:pt>
                <c:pt idx="2279">
                  <c:v>16.035-16.042</c:v>
                </c:pt>
                <c:pt idx="2280">
                  <c:v>16.042-16.049</c:v>
                </c:pt>
                <c:pt idx="2281">
                  <c:v>16.049-16.056</c:v>
                </c:pt>
                <c:pt idx="2282">
                  <c:v>16.056-16.064</c:v>
                </c:pt>
                <c:pt idx="2283">
                  <c:v>16.064-16.071</c:v>
                </c:pt>
                <c:pt idx="2284">
                  <c:v>16.071-16.078</c:v>
                </c:pt>
                <c:pt idx="2285">
                  <c:v>16.078-16.085</c:v>
                </c:pt>
                <c:pt idx="2286">
                  <c:v>16.085-16.092</c:v>
                </c:pt>
                <c:pt idx="2287">
                  <c:v>16.092-16.099</c:v>
                </c:pt>
                <c:pt idx="2288">
                  <c:v>16.099-16.106</c:v>
                </c:pt>
                <c:pt idx="2289">
                  <c:v>16.106-16.113</c:v>
                </c:pt>
                <c:pt idx="2290">
                  <c:v>16.113-16.120</c:v>
                </c:pt>
                <c:pt idx="2291">
                  <c:v>16.120-16.127</c:v>
                </c:pt>
                <c:pt idx="2292">
                  <c:v>16.127-16.134</c:v>
                </c:pt>
                <c:pt idx="2293">
                  <c:v>16.134-16.141</c:v>
                </c:pt>
                <c:pt idx="2294">
                  <c:v>16.141-16.148</c:v>
                </c:pt>
                <c:pt idx="2295">
                  <c:v>16.148-16.155</c:v>
                </c:pt>
                <c:pt idx="2296">
                  <c:v>16.155-16.162</c:v>
                </c:pt>
                <c:pt idx="2297">
                  <c:v>16.162-16.169</c:v>
                </c:pt>
                <c:pt idx="2298">
                  <c:v>16.169-16.176</c:v>
                </c:pt>
                <c:pt idx="2299">
                  <c:v>16.176-16.183</c:v>
                </c:pt>
                <c:pt idx="2300">
                  <c:v>16.183-16.190</c:v>
                </c:pt>
                <c:pt idx="2301">
                  <c:v>16.190-16.197</c:v>
                </c:pt>
                <c:pt idx="2302">
                  <c:v>16.197-16.204</c:v>
                </c:pt>
                <c:pt idx="2303">
                  <c:v>16.204-16.211</c:v>
                </c:pt>
                <c:pt idx="2304">
                  <c:v>16.211-16.218</c:v>
                </c:pt>
                <c:pt idx="2305">
                  <c:v>16.218-16.225</c:v>
                </c:pt>
                <c:pt idx="2306">
                  <c:v>16.225-16.232</c:v>
                </c:pt>
                <c:pt idx="2307">
                  <c:v>16.232-16.239</c:v>
                </c:pt>
                <c:pt idx="2308">
                  <c:v>16.239-16.246</c:v>
                </c:pt>
                <c:pt idx="2309">
                  <c:v>16.246-16.253</c:v>
                </c:pt>
                <c:pt idx="2310">
                  <c:v>16.253-16.260</c:v>
                </c:pt>
                <c:pt idx="2311">
                  <c:v>16.260-16.267</c:v>
                </c:pt>
                <c:pt idx="2312">
                  <c:v>16.267-16.274</c:v>
                </c:pt>
                <c:pt idx="2313">
                  <c:v>16.274-16.282</c:v>
                </c:pt>
                <c:pt idx="2314">
                  <c:v>16.282-16.289</c:v>
                </c:pt>
                <c:pt idx="2315">
                  <c:v>16.289-16.296</c:v>
                </c:pt>
                <c:pt idx="2316">
                  <c:v>16.296-16.303</c:v>
                </c:pt>
                <c:pt idx="2317">
                  <c:v>16.303-16.310</c:v>
                </c:pt>
                <c:pt idx="2318">
                  <c:v>16.310-16.317</c:v>
                </c:pt>
                <c:pt idx="2319">
                  <c:v>16.317-16.324</c:v>
                </c:pt>
                <c:pt idx="2320">
                  <c:v>16.324-16.331</c:v>
                </c:pt>
                <c:pt idx="2321">
                  <c:v>16.331-16.338</c:v>
                </c:pt>
                <c:pt idx="2322">
                  <c:v>16.338-16.345</c:v>
                </c:pt>
                <c:pt idx="2323">
                  <c:v>16.345-16.352</c:v>
                </c:pt>
                <c:pt idx="2324">
                  <c:v>16.352-16.359</c:v>
                </c:pt>
                <c:pt idx="2325">
                  <c:v>16.359-16.366</c:v>
                </c:pt>
                <c:pt idx="2326">
                  <c:v>16.366-16.373</c:v>
                </c:pt>
                <c:pt idx="2327">
                  <c:v>16.373-16.380</c:v>
                </c:pt>
                <c:pt idx="2328">
                  <c:v>16.380-16.387</c:v>
                </c:pt>
                <c:pt idx="2329">
                  <c:v>16.387-16.394</c:v>
                </c:pt>
                <c:pt idx="2330">
                  <c:v>16.394-16.401</c:v>
                </c:pt>
                <c:pt idx="2331">
                  <c:v>16.401-16.408</c:v>
                </c:pt>
                <c:pt idx="2332">
                  <c:v>16.408-16.415</c:v>
                </c:pt>
                <c:pt idx="2333">
                  <c:v>16.415-16.422</c:v>
                </c:pt>
                <c:pt idx="2334">
                  <c:v>16.422-16.429</c:v>
                </c:pt>
                <c:pt idx="2335">
                  <c:v>16.429-16.436</c:v>
                </c:pt>
                <c:pt idx="2336">
                  <c:v>16.436-16.443</c:v>
                </c:pt>
                <c:pt idx="2337">
                  <c:v>16.443-16.450</c:v>
                </c:pt>
                <c:pt idx="2338">
                  <c:v>16.450-16.457</c:v>
                </c:pt>
                <c:pt idx="2339">
                  <c:v>16.457-16.464</c:v>
                </c:pt>
                <c:pt idx="2340">
                  <c:v>16.464-16.471</c:v>
                </c:pt>
                <c:pt idx="2341">
                  <c:v>16.471-16.478</c:v>
                </c:pt>
                <c:pt idx="2342">
                  <c:v>16.478-16.485</c:v>
                </c:pt>
                <c:pt idx="2343">
                  <c:v>16.485-16.492</c:v>
                </c:pt>
                <c:pt idx="2344">
                  <c:v>16.492-16.500</c:v>
                </c:pt>
                <c:pt idx="2345">
                  <c:v>16.500-16.507</c:v>
                </c:pt>
                <c:pt idx="2346">
                  <c:v>16.507-16.514</c:v>
                </c:pt>
                <c:pt idx="2347">
                  <c:v>16.514-16.521</c:v>
                </c:pt>
                <c:pt idx="2348">
                  <c:v>16.521-16.528</c:v>
                </c:pt>
                <c:pt idx="2349">
                  <c:v>16.528-16.535</c:v>
                </c:pt>
                <c:pt idx="2350">
                  <c:v>16.535-16.542</c:v>
                </c:pt>
                <c:pt idx="2351">
                  <c:v>16.542-16.549</c:v>
                </c:pt>
                <c:pt idx="2352">
                  <c:v>16.549-16.556</c:v>
                </c:pt>
                <c:pt idx="2353">
                  <c:v>16.556-16.563</c:v>
                </c:pt>
                <c:pt idx="2354">
                  <c:v>16.563-16.570</c:v>
                </c:pt>
                <c:pt idx="2355">
                  <c:v>16.570-16.577</c:v>
                </c:pt>
                <c:pt idx="2356">
                  <c:v>16.577-16.584</c:v>
                </c:pt>
                <c:pt idx="2357">
                  <c:v>16.584-16.591</c:v>
                </c:pt>
                <c:pt idx="2358">
                  <c:v>16.591-16.598</c:v>
                </c:pt>
                <c:pt idx="2359">
                  <c:v>16.598-16.605</c:v>
                </c:pt>
                <c:pt idx="2360">
                  <c:v>16.605-16.612</c:v>
                </c:pt>
                <c:pt idx="2361">
                  <c:v>16.612-16.619</c:v>
                </c:pt>
                <c:pt idx="2362">
                  <c:v>16.619-16.626</c:v>
                </c:pt>
                <c:pt idx="2363">
                  <c:v>16.626-16.633</c:v>
                </c:pt>
                <c:pt idx="2364">
                  <c:v>16.633-16.640</c:v>
                </c:pt>
                <c:pt idx="2365">
                  <c:v>16.640-16.647</c:v>
                </c:pt>
                <c:pt idx="2366">
                  <c:v>16.647-16.654</c:v>
                </c:pt>
                <c:pt idx="2367">
                  <c:v>16.654-16.661</c:v>
                </c:pt>
                <c:pt idx="2368">
                  <c:v>16.661-16.668</c:v>
                </c:pt>
                <c:pt idx="2369">
                  <c:v>16.668-16.675</c:v>
                </c:pt>
                <c:pt idx="2370">
                  <c:v>16.675-16.682</c:v>
                </c:pt>
                <c:pt idx="2371">
                  <c:v>16.682-16.689</c:v>
                </c:pt>
                <c:pt idx="2372">
                  <c:v>16.689-16.696</c:v>
                </c:pt>
                <c:pt idx="2373">
                  <c:v>16.696-16.703</c:v>
                </c:pt>
                <c:pt idx="2374">
                  <c:v>16.703-16.710</c:v>
                </c:pt>
                <c:pt idx="2375">
                  <c:v>16.710-16.718</c:v>
                </c:pt>
                <c:pt idx="2376">
                  <c:v>16.718-16.725</c:v>
                </c:pt>
                <c:pt idx="2377">
                  <c:v>16.725-16.732</c:v>
                </c:pt>
                <c:pt idx="2378">
                  <c:v>16.732-16.739</c:v>
                </c:pt>
                <c:pt idx="2379">
                  <c:v>16.739-16.746</c:v>
                </c:pt>
                <c:pt idx="2380">
                  <c:v>16.746-16.753</c:v>
                </c:pt>
                <c:pt idx="2381">
                  <c:v>16.753-16.760</c:v>
                </c:pt>
                <c:pt idx="2382">
                  <c:v>16.760-16.767</c:v>
                </c:pt>
                <c:pt idx="2383">
                  <c:v>16.767-16.774</c:v>
                </c:pt>
                <c:pt idx="2384">
                  <c:v>16.774-16.781</c:v>
                </c:pt>
                <c:pt idx="2385">
                  <c:v>16.781-16.788</c:v>
                </c:pt>
                <c:pt idx="2386">
                  <c:v>16.788-16.795</c:v>
                </c:pt>
                <c:pt idx="2387">
                  <c:v>16.795-16.802</c:v>
                </c:pt>
                <c:pt idx="2388">
                  <c:v>16.802-16.809</c:v>
                </c:pt>
                <c:pt idx="2389">
                  <c:v>16.809-16.816</c:v>
                </c:pt>
                <c:pt idx="2390">
                  <c:v>16.816-16.823</c:v>
                </c:pt>
                <c:pt idx="2391">
                  <c:v>16.823-16.830</c:v>
                </c:pt>
                <c:pt idx="2392">
                  <c:v>16.830-16.837</c:v>
                </c:pt>
                <c:pt idx="2393">
                  <c:v>16.837-16.844</c:v>
                </c:pt>
                <c:pt idx="2394">
                  <c:v>16.844-16.851</c:v>
                </c:pt>
                <c:pt idx="2395">
                  <c:v>16.851-16.858</c:v>
                </c:pt>
                <c:pt idx="2396">
                  <c:v>16.858-16.865</c:v>
                </c:pt>
                <c:pt idx="2397">
                  <c:v>16.865-16.872</c:v>
                </c:pt>
                <c:pt idx="2398">
                  <c:v>16.872-16.879</c:v>
                </c:pt>
                <c:pt idx="2399">
                  <c:v>16.879-16.886</c:v>
                </c:pt>
                <c:pt idx="2400">
                  <c:v>16.886-16.893</c:v>
                </c:pt>
                <c:pt idx="2401">
                  <c:v>16.893-16.900</c:v>
                </c:pt>
                <c:pt idx="2402">
                  <c:v>16.900-16.907</c:v>
                </c:pt>
                <c:pt idx="2403">
                  <c:v>16.907-16.914</c:v>
                </c:pt>
                <c:pt idx="2404">
                  <c:v>16.914-16.921</c:v>
                </c:pt>
                <c:pt idx="2405">
                  <c:v>16.921-16.928</c:v>
                </c:pt>
                <c:pt idx="2406">
                  <c:v>16.928-16.936</c:v>
                </c:pt>
                <c:pt idx="2407">
                  <c:v>16.936-16.943</c:v>
                </c:pt>
                <c:pt idx="2408">
                  <c:v>16.943-16.950</c:v>
                </c:pt>
                <c:pt idx="2409">
                  <c:v>16.950-16.957</c:v>
                </c:pt>
                <c:pt idx="2410">
                  <c:v>16.957-16.964</c:v>
                </c:pt>
                <c:pt idx="2411">
                  <c:v>16.964-16.971</c:v>
                </c:pt>
                <c:pt idx="2412">
                  <c:v>16.971-16.978</c:v>
                </c:pt>
                <c:pt idx="2413">
                  <c:v>16.978-16.985</c:v>
                </c:pt>
                <c:pt idx="2414">
                  <c:v>16.985-16.992</c:v>
                </c:pt>
                <c:pt idx="2415">
                  <c:v>16.992-16.999</c:v>
                </c:pt>
                <c:pt idx="2416">
                  <c:v>16.999-17.006</c:v>
                </c:pt>
                <c:pt idx="2417">
                  <c:v>17.006-17.013</c:v>
                </c:pt>
                <c:pt idx="2418">
                  <c:v>17.013-17.020</c:v>
                </c:pt>
                <c:pt idx="2419">
                  <c:v>17.020-17.027</c:v>
                </c:pt>
                <c:pt idx="2420">
                  <c:v>17.027-17.034</c:v>
                </c:pt>
                <c:pt idx="2421">
                  <c:v>17.034-17.041</c:v>
                </c:pt>
                <c:pt idx="2422">
                  <c:v>17.041-17.048</c:v>
                </c:pt>
                <c:pt idx="2423">
                  <c:v>17.048-17.055</c:v>
                </c:pt>
                <c:pt idx="2424">
                  <c:v>17.055-17.062</c:v>
                </c:pt>
                <c:pt idx="2425">
                  <c:v>17.062-17.069</c:v>
                </c:pt>
                <c:pt idx="2426">
                  <c:v>17.069-17.076</c:v>
                </c:pt>
                <c:pt idx="2427">
                  <c:v>17.076-17.083</c:v>
                </c:pt>
                <c:pt idx="2428">
                  <c:v>17.083-17.090</c:v>
                </c:pt>
                <c:pt idx="2429">
                  <c:v>17.090-17.097</c:v>
                </c:pt>
                <c:pt idx="2430">
                  <c:v>17.097-17.104</c:v>
                </c:pt>
                <c:pt idx="2431">
                  <c:v>17.104-17.111</c:v>
                </c:pt>
                <c:pt idx="2432">
                  <c:v>17.111-17.118</c:v>
                </c:pt>
                <c:pt idx="2433">
                  <c:v>17.118-17.125</c:v>
                </c:pt>
                <c:pt idx="2434">
                  <c:v>17.125-17.132</c:v>
                </c:pt>
                <c:pt idx="2435">
                  <c:v>17.132-17.139</c:v>
                </c:pt>
                <c:pt idx="2436">
                  <c:v>17.139-17.146</c:v>
                </c:pt>
                <c:pt idx="2437">
                  <c:v>17.146-17.154</c:v>
                </c:pt>
                <c:pt idx="2438">
                  <c:v>17.154-17.161</c:v>
                </c:pt>
                <c:pt idx="2439">
                  <c:v>17.161-17.168</c:v>
                </c:pt>
                <c:pt idx="2440">
                  <c:v>17.168-17.175</c:v>
                </c:pt>
                <c:pt idx="2441">
                  <c:v>17.175-17.182</c:v>
                </c:pt>
                <c:pt idx="2442">
                  <c:v>17.182-17.189</c:v>
                </c:pt>
                <c:pt idx="2443">
                  <c:v>17.189-17.196</c:v>
                </c:pt>
                <c:pt idx="2444">
                  <c:v>17.196-17.203</c:v>
                </c:pt>
                <c:pt idx="2445">
                  <c:v>17.203-17.210</c:v>
                </c:pt>
                <c:pt idx="2446">
                  <c:v>17.210-17.217</c:v>
                </c:pt>
                <c:pt idx="2447">
                  <c:v>17.217-17.224</c:v>
                </c:pt>
                <c:pt idx="2448">
                  <c:v>17.224-17.231</c:v>
                </c:pt>
                <c:pt idx="2449">
                  <c:v>17.231-17.238</c:v>
                </c:pt>
                <c:pt idx="2450">
                  <c:v>17.238-17.245</c:v>
                </c:pt>
                <c:pt idx="2451">
                  <c:v>17.245-17.252</c:v>
                </c:pt>
                <c:pt idx="2452">
                  <c:v>17.252-17.259</c:v>
                </c:pt>
                <c:pt idx="2453">
                  <c:v>17.259-17.266</c:v>
                </c:pt>
                <c:pt idx="2454">
                  <c:v>17.266-17.273</c:v>
                </c:pt>
                <c:pt idx="2455">
                  <c:v>17.273-17.280</c:v>
                </c:pt>
                <c:pt idx="2456">
                  <c:v>17.280-17.287</c:v>
                </c:pt>
                <c:pt idx="2457">
                  <c:v>17.287-17.294</c:v>
                </c:pt>
                <c:pt idx="2458">
                  <c:v>17.294-17.301</c:v>
                </c:pt>
                <c:pt idx="2459">
                  <c:v>17.301-17.308</c:v>
                </c:pt>
                <c:pt idx="2460">
                  <c:v>17.308-17.315</c:v>
                </c:pt>
                <c:pt idx="2461">
                  <c:v>17.315-17.322</c:v>
                </c:pt>
                <c:pt idx="2462">
                  <c:v>17.322-17.329</c:v>
                </c:pt>
                <c:pt idx="2463">
                  <c:v>17.329-17.336</c:v>
                </c:pt>
                <c:pt idx="2464">
                  <c:v>17.336-17.343</c:v>
                </c:pt>
                <c:pt idx="2465">
                  <c:v>17.343-17.350</c:v>
                </c:pt>
                <c:pt idx="2466">
                  <c:v>17.350-17.357</c:v>
                </c:pt>
                <c:pt idx="2467">
                  <c:v>17.357-17.364</c:v>
                </c:pt>
                <c:pt idx="2468">
                  <c:v>17.364-17.372</c:v>
                </c:pt>
                <c:pt idx="2469">
                  <c:v>17.372-17.379</c:v>
                </c:pt>
                <c:pt idx="2470">
                  <c:v>17.379-17.386</c:v>
                </c:pt>
                <c:pt idx="2471">
                  <c:v>17.386-17.393</c:v>
                </c:pt>
                <c:pt idx="2472">
                  <c:v>17.393-17.400</c:v>
                </c:pt>
                <c:pt idx="2473">
                  <c:v>17.400-17.407</c:v>
                </c:pt>
                <c:pt idx="2474">
                  <c:v>17.407-17.414</c:v>
                </c:pt>
                <c:pt idx="2475">
                  <c:v>17.414-17.421</c:v>
                </c:pt>
                <c:pt idx="2476">
                  <c:v>17.421-17.428</c:v>
                </c:pt>
                <c:pt idx="2477">
                  <c:v>17.428-17.435</c:v>
                </c:pt>
                <c:pt idx="2478">
                  <c:v>17.435-17.442</c:v>
                </c:pt>
                <c:pt idx="2479">
                  <c:v>17.442-17.449</c:v>
                </c:pt>
                <c:pt idx="2480">
                  <c:v>17.449-17.456</c:v>
                </c:pt>
                <c:pt idx="2481">
                  <c:v>17.456-17.463</c:v>
                </c:pt>
                <c:pt idx="2482">
                  <c:v>17.463-17.470</c:v>
                </c:pt>
                <c:pt idx="2483">
                  <c:v>17.470-17.477</c:v>
                </c:pt>
                <c:pt idx="2484">
                  <c:v>17.477-17.484</c:v>
                </c:pt>
                <c:pt idx="2485">
                  <c:v>17.484-17.491</c:v>
                </c:pt>
                <c:pt idx="2486">
                  <c:v>17.491-17.498</c:v>
                </c:pt>
                <c:pt idx="2487">
                  <c:v>17.498-17.505</c:v>
                </c:pt>
                <c:pt idx="2488">
                  <c:v>17.505-17.512</c:v>
                </c:pt>
                <c:pt idx="2489">
                  <c:v>17.512-17.519</c:v>
                </c:pt>
                <c:pt idx="2490">
                  <c:v>17.519-17.526</c:v>
                </c:pt>
                <c:pt idx="2491">
                  <c:v>17.526-17.533</c:v>
                </c:pt>
                <c:pt idx="2492">
                  <c:v>17.533-17.540</c:v>
                </c:pt>
                <c:pt idx="2493">
                  <c:v>17.540-17.547</c:v>
                </c:pt>
                <c:pt idx="2494">
                  <c:v>17.547-17.554</c:v>
                </c:pt>
                <c:pt idx="2495">
                  <c:v>17.554-17.561</c:v>
                </c:pt>
                <c:pt idx="2496">
                  <c:v>17.561-17.568</c:v>
                </c:pt>
                <c:pt idx="2497">
                  <c:v>17.568-17.575</c:v>
                </c:pt>
                <c:pt idx="2498">
                  <c:v>17.575-17.582</c:v>
                </c:pt>
                <c:pt idx="2499">
                  <c:v>17.582-17.590</c:v>
                </c:pt>
                <c:pt idx="2500">
                  <c:v>17.590-17.597</c:v>
                </c:pt>
                <c:pt idx="2501">
                  <c:v>17.597-17.604</c:v>
                </c:pt>
                <c:pt idx="2502">
                  <c:v>17.604-17.611</c:v>
                </c:pt>
                <c:pt idx="2503">
                  <c:v>17.611-17.618</c:v>
                </c:pt>
                <c:pt idx="2504">
                  <c:v>17.618-17.625</c:v>
                </c:pt>
                <c:pt idx="2505">
                  <c:v>17.625-17.632</c:v>
                </c:pt>
                <c:pt idx="2506">
                  <c:v>17.632-17.639</c:v>
                </c:pt>
                <c:pt idx="2507">
                  <c:v>17.639-17.646</c:v>
                </c:pt>
                <c:pt idx="2508">
                  <c:v>17.646-17.653</c:v>
                </c:pt>
                <c:pt idx="2509">
                  <c:v>17.653-17.660</c:v>
                </c:pt>
                <c:pt idx="2510">
                  <c:v>17.660-17.667</c:v>
                </c:pt>
                <c:pt idx="2511">
                  <c:v>17.667-17.674</c:v>
                </c:pt>
                <c:pt idx="2512">
                  <c:v>17.674-17.681</c:v>
                </c:pt>
                <c:pt idx="2513">
                  <c:v>17.681-17.688</c:v>
                </c:pt>
                <c:pt idx="2514">
                  <c:v>17.688-17.695</c:v>
                </c:pt>
                <c:pt idx="2515">
                  <c:v>17.695-17.702</c:v>
                </c:pt>
                <c:pt idx="2516">
                  <c:v>17.702-17.709</c:v>
                </c:pt>
                <c:pt idx="2517">
                  <c:v>17.709-17.716</c:v>
                </c:pt>
                <c:pt idx="2518">
                  <c:v>17.716-17.723</c:v>
                </c:pt>
                <c:pt idx="2519">
                  <c:v>17.723-17.730</c:v>
                </c:pt>
                <c:pt idx="2520">
                  <c:v>17.730-17.737</c:v>
                </c:pt>
                <c:pt idx="2521">
                  <c:v>17.737-17.744</c:v>
                </c:pt>
                <c:pt idx="2522">
                  <c:v>17.744-17.751</c:v>
                </c:pt>
                <c:pt idx="2523">
                  <c:v>17.751-17.758</c:v>
                </c:pt>
                <c:pt idx="2524">
                  <c:v>17.758-17.765</c:v>
                </c:pt>
                <c:pt idx="2525">
                  <c:v>17.765-17.772</c:v>
                </c:pt>
                <c:pt idx="2526">
                  <c:v>17.772-17.779</c:v>
                </c:pt>
                <c:pt idx="2527">
                  <c:v>17.779-17.786</c:v>
                </c:pt>
                <c:pt idx="2528">
                  <c:v>17.786-17.793</c:v>
                </c:pt>
                <c:pt idx="2529">
                  <c:v>17.793-17.800</c:v>
                </c:pt>
                <c:pt idx="2530">
                  <c:v>17.800-17.807</c:v>
                </c:pt>
                <c:pt idx="2531">
                  <c:v>17.807-17.815</c:v>
                </c:pt>
                <c:pt idx="2532">
                  <c:v>17.815-17.822</c:v>
                </c:pt>
                <c:pt idx="2533">
                  <c:v>17.822-17.829</c:v>
                </c:pt>
                <c:pt idx="2534">
                  <c:v>17.829-17.836</c:v>
                </c:pt>
                <c:pt idx="2535">
                  <c:v>17.836-17.843</c:v>
                </c:pt>
                <c:pt idx="2536">
                  <c:v>17.843-17.850</c:v>
                </c:pt>
                <c:pt idx="2537">
                  <c:v>17.850-17.857</c:v>
                </c:pt>
                <c:pt idx="2538">
                  <c:v>17.857-17.864</c:v>
                </c:pt>
                <c:pt idx="2539">
                  <c:v>17.864-17.871</c:v>
                </c:pt>
                <c:pt idx="2540">
                  <c:v>17.871-17.878</c:v>
                </c:pt>
                <c:pt idx="2541">
                  <c:v>17.878-17.885</c:v>
                </c:pt>
                <c:pt idx="2542">
                  <c:v>17.885-17.892</c:v>
                </c:pt>
                <c:pt idx="2543">
                  <c:v>17.892-17.899</c:v>
                </c:pt>
                <c:pt idx="2544">
                  <c:v>17.899-17.906</c:v>
                </c:pt>
                <c:pt idx="2545">
                  <c:v>17.906-17.913</c:v>
                </c:pt>
                <c:pt idx="2546">
                  <c:v>17.913-17.920</c:v>
                </c:pt>
                <c:pt idx="2547">
                  <c:v>17.920-17.927</c:v>
                </c:pt>
                <c:pt idx="2548">
                  <c:v>17.927-17.934</c:v>
                </c:pt>
                <c:pt idx="2549">
                  <c:v>17.934-17.941</c:v>
                </c:pt>
                <c:pt idx="2550">
                  <c:v>17.941-17.948</c:v>
                </c:pt>
                <c:pt idx="2551">
                  <c:v>17.948-17.955</c:v>
                </c:pt>
                <c:pt idx="2552">
                  <c:v>17.955-17.962</c:v>
                </c:pt>
                <c:pt idx="2553">
                  <c:v>17.962-17.969</c:v>
                </c:pt>
                <c:pt idx="2554">
                  <c:v>17.969-17.976</c:v>
                </c:pt>
                <c:pt idx="2555">
                  <c:v>17.976-17.983</c:v>
                </c:pt>
                <c:pt idx="2556">
                  <c:v>17.983-17.990</c:v>
                </c:pt>
                <c:pt idx="2557">
                  <c:v>17.990-17.997</c:v>
                </c:pt>
                <c:pt idx="2558">
                  <c:v>17.997-18.004</c:v>
                </c:pt>
                <c:pt idx="2559">
                  <c:v>18.004-18.011</c:v>
                </c:pt>
                <c:pt idx="2560">
                  <c:v>18.011-18.018</c:v>
                </c:pt>
                <c:pt idx="2561">
                  <c:v>18.018-18.025</c:v>
                </c:pt>
                <c:pt idx="2562">
                  <c:v>18.025-18.033</c:v>
                </c:pt>
                <c:pt idx="2563">
                  <c:v>18.033-18.040</c:v>
                </c:pt>
                <c:pt idx="2564">
                  <c:v>18.040-18.047</c:v>
                </c:pt>
                <c:pt idx="2565">
                  <c:v>18.047-18.054</c:v>
                </c:pt>
                <c:pt idx="2566">
                  <c:v>18.054-18.061</c:v>
                </c:pt>
                <c:pt idx="2567">
                  <c:v>18.061-18.068</c:v>
                </c:pt>
                <c:pt idx="2568">
                  <c:v>18.068-18.075</c:v>
                </c:pt>
                <c:pt idx="2569">
                  <c:v>18.075-18.082</c:v>
                </c:pt>
                <c:pt idx="2570">
                  <c:v>18.082-18.089</c:v>
                </c:pt>
                <c:pt idx="2571">
                  <c:v>18.089-18.096</c:v>
                </c:pt>
                <c:pt idx="2572">
                  <c:v>18.096-18.103</c:v>
                </c:pt>
                <c:pt idx="2573">
                  <c:v>18.103-18.110</c:v>
                </c:pt>
                <c:pt idx="2574">
                  <c:v>18.110-18.117</c:v>
                </c:pt>
                <c:pt idx="2575">
                  <c:v>18.117-18.124</c:v>
                </c:pt>
                <c:pt idx="2576">
                  <c:v>18.124-18.131</c:v>
                </c:pt>
                <c:pt idx="2577">
                  <c:v>18.131-18.138</c:v>
                </c:pt>
                <c:pt idx="2578">
                  <c:v>18.138-18.145</c:v>
                </c:pt>
                <c:pt idx="2579">
                  <c:v>18.145-18.152</c:v>
                </c:pt>
                <c:pt idx="2580">
                  <c:v>18.152-18.159</c:v>
                </c:pt>
                <c:pt idx="2581">
                  <c:v>18.159-18.166</c:v>
                </c:pt>
                <c:pt idx="2582">
                  <c:v>18.166-18.173</c:v>
                </c:pt>
                <c:pt idx="2583">
                  <c:v>18.173-18.180</c:v>
                </c:pt>
                <c:pt idx="2584">
                  <c:v>18.180-18.187</c:v>
                </c:pt>
                <c:pt idx="2585">
                  <c:v>18.187-18.194</c:v>
                </c:pt>
                <c:pt idx="2586">
                  <c:v>18.194-18.201</c:v>
                </c:pt>
                <c:pt idx="2587">
                  <c:v>18.201-18.208</c:v>
                </c:pt>
                <c:pt idx="2588">
                  <c:v>18.208-18.215</c:v>
                </c:pt>
                <c:pt idx="2589">
                  <c:v>18.215-18.222</c:v>
                </c:pt>
                <c:pt idx="2590">
                  <c:v>18.222-18.229</c:v>
                </c:pt>
                <c:pt idx="2591">
                  <c:v>18.229-18.236</c:v>
                </c:pt>
                <c:pt idx="2592">
                  <c:v>18.236-18.243</c:v>
                </c:pt>
                <c:pt idx="2593">
                  <c:v>18.243-18.251</c:v>
                </c:pt>
                <c:pt idx="2594">
                  <c:v>18.251-18.258</c:v>
                </c:pt>
                <c:pt idx="2595">
                  <c:v>18.258-18.265</c:v>
                </c:pt>
                <c:pt idx="2596">
                  <c:v>18.265-18.272</c:v>
                </c:pt>
                <c:pt idx="2597">
                  <c:v>18.272-18.279</c:v>
                </c:pt>
                <c:pt idx="2598">
                  <c:v>18.279-18.286</c:v>
                </c:pt>
                <c:pt idx="2599">
                  <c:v>18.286-18.293</c:v>
                </c:pt>
                <c:pt idx="2600">
                  <c:v>18.293-18.300</c:v>
                </c:pt>
                <c:pt idx="2601">
                  <c:v>18.300-18.307</c:v>
                </c:pt>
                <c:pt idx="2602">
                  <c:v>18.307-18.314</c:v>
                </c:pt>
                <c:pt idx="2603">
                  <c:v>18.314-18.321</c:v>
                </c:pt>
                <c:pt idx="2604">
                  <c:v>18.321-18.328</c:v>
                </c:pt>
                <c:pt idx="2605">
                  <c:v>18.328-18.335</c:v>
                </c:pt>
                <c:pt idx="2606">
                  <c:v>18.335-18.342</c:v>
                </c:pt>
                <c:pt idx="2607">
                  <c:v>18.342-18.349</c:v>
                </c:pt>
                <c:pt idx="2608">
                  <c:v>18.349-18.356</c:v>
                </c:pt>
                <c:pt idx="2609">
                  <c:v>18.356-18.363</c:v>
                </c:pt>
                <c:pt idx="2610">
                  <c:v>18.363-18.370</c:v>
                </c:pt>
                <c:pt idx="2611">
                  <c:v>18.370-18.377</c:v>
                </c:pt>
                <c:pt idx="2612">
                  <c:v>18.377-18.384</c:v>
                </c:pt>
                <c:pt idx="2613">
                  <c:v>18.384-18.391</c:v>
                </c:pt>
                <c:pt idx="2614">
                  <c:v>18.391-18.398</c:v>
                </c:pt>
                <c:pt idx="2615">
                  <c:v>18.398-18.405</c:v>
                </c:pt>
                <c:pt idx="2616">
                  <c:v>18.405-18.412</c:v>
                </c:pt>
                <c:pt idx="2617">
                  <c:v>18.412-18.419</c:v>
                </c:pt>
                <c:pt idx="2618">
                  <c:v>18.419-18.426</c:v>
                </c:pt>
                <c:pt idx="2619">
                  <c:v>18.426-18.433</c:v>
                </c:pt>
                <c:pt idx="2620">
                  <c:v>18.433-18.440</c:v>
                </c:pt>
                <c:pt idx="2621">
                  <c:v>18.440-18.447</c:v>
                </c:pt>
                <c:pt idx="2622">
                  <c:v>18.447-18.454</c:v>
                </c:pt>
                <c:pt idx="2623">
                  <c:v>18.454-18.461</c:v>
                </c:pt>
                <c:pt idx="2624">
                  <c:v>18.461-18.469</c:v>
                </c:pt>
                <c:pt idx="2625">
                  <c:v>18.469-18.476</c:v>
                </c:pt>
                <c:pt idx="2626">
                  <c:v>18.476-18.483</c:v>
                </c:pt>
                <c:pt idx="2627">
                  <c:v>18.483-18.490</c:v>
                </c:pt>
                <c:pt idx="2628">
                  <c:v>18.490-18.497</c:v>
                </c:pt>
                <c:pt idx="2629">
                  <c:v>18.497-18.504</c:v>
                </c:pt>
                <c:pt idx="2630">
                  <c:v>18.504-18.511</c:v>
                </c:pt>
                <c:pt idx="2631">
                  <c:v>18.511-18.518</c:v>
                </c:pt>
                <c:pt idx="2632">
                  <c:v>18.518-18.525</c:v>
                </c:pt>
                <c:pt idx="2633">
                  <c:v>18.525-18.532</c:v>
                </c:pt>
                <c:pt idx="2634">
                  <c:v>18.532-18.539</c:v>
                </c:pt>
                <c:pt idx="2635">
                  <c:v>18.539-18.546</c:v>
                </c:pt>
                <c:pt idx="2636">
                  <c:v>18.546-18.553</c:v>
                </c:pt>
                <c:pt idx="2637">
                  <c:v>18.553-18.560</c:v>
                </c:pt>
                <c:pt idx="2638">
                  <c:v>18.560-18.567</c:v>
                </c:pt>
                <c:pt idx="2639">
                  <c:v>18.567-18.574</c:v>
                </c:pt>
                <c:pt idx="2640">
                  <c:v>18.574-18.581</c:v>
                </c:pt>
                <c:pt idx="2641">
                  <c:v>18.581-18.588</c:v>
                </c:pt>
                <c:pt idx="2642">
                  <c:v>18.588-18.595</c:v>
                </c:pt>
                <c:pt idx="2643">
                  <c:v>18.595-18.602</c:v>
                </c:pt>
                <c:pt idx="2644">
                  <c:v>18.602-18.609</c:v>
                </c:pt>
                <c:pt idx="2645">
                  <c:v>18.609-18.616</c:v>
                </c:pt>
                <c:pt idx="2646">
                  <c:v>18.616-18.623</c:v>
                </c:pt>
                <c:pt idx="2647">
                  <c:v>18.623-18.630</c:v>
                </c:pt>
                <c:pt idx="2648">
                  <c:v>18.630-18.637</c:v>
                </c:pt>
                <c:pt idx="2649">
                  <c:v>18.637-18.644</c:v>
                </c:pt>
                <c:pt idx="2650">
                  <c:v>18.644-18.651</c:v>
                </c:pt>
                <c:pt idx="2651">
                  <c:v>18.651-18.658</c:v>
                </c:pt>
                <c:pt idx="2652">
                  <c:v>18.658-18.665</c:v>
                </c:pt>
                <c:pt idx="2653">
                  <c:v>18.665-18.672</c:v>
                </c:pt>
                <c:pt idx="2654">
                  <c:v>18.672-18.679</c:v>
                </c:pt>
                <c:pt idx="2655">
                  <c:v>18.679-18.687</c:v>
                </c:pt>
                <c:pt idx="2656">
                  <c:v>18.687-18.694</c:v>
                </c:pt>
                <c:pt idx="2657">
                  <c:v>18.694-18.701</c:v>
                </c:pt>
                <c:pt idx="2658">
                  <c:v>18.701-18.708</c:v>
                </c:pt>
                <c:pt idx="2659">
                  <c:v>18.708-18.715</c:v>
                </c:pt>
                <c:pt idx="2660">
                  <c:v>18.715-18.722</c:v>
                </c:pt>
                <c:pt idx="2661">
                  <c:v>18.722-18.729</c:v>
                </c:pt>
                <c:pt idx="2662">
                  <c:v>18.729-18.736</c:v>
                </c:pt>
                <c:pt idx="2663">
                  <c:v>18.736-18.743</c:v>
                </c:pt>
                <c:pt idx="2664">
                  <c:v>18.743-18.750</c:v>
                </c:pt>
                <c:pt idx="2665">
                  <c:v>18.750-18.757</c:v>
                </c:pt>
                <c:pt idx="2666">
                  <c:v>18.757-18.764</c:v>
                </c:pt>
                <c:pt idx="2667">
                  <c:v>18.764-18.771</c:v>
                </c:pt>
                <c:pt idx="2668">
                  <c:v>18.771-18.778</c:v>
                </c:pt>
                <c:pt idx="2669">
                  <c:v>18.778-18.785</c:v>
                </c:pt>
                <c:pt idx="2670">
                  <c:v>18.785-18.792</c:v>
                </c:pt>
                <c:pt idx="2671">
                  <c:v>18.792-18.799</c:v>
                </c:pt>
                <c:pt idx="2672">
                  <c:v>18.799-18.806</c:v>
                </c:pt>
                <c:pt idx="2673">
                  <c:v>18.806-18.813</c:v>
                </c:pt>
                <c:pt idx="2674">
                  <c:v>18.813-18.820</c:v>
                </c:pt>
                <c:pt idx="2675">
                  <c:v>18.820-18.827</c:v>
                </c:pt>
                <c:pt idx="2676">
                  <c:v>18.827-18.834</c:v>
                </c:pt>
                <c:pt idx="2677">
                  <c:v>18.834-18.841</c:v>
                </c:pt>
                <c:pt idx="2678">
                  <c:v>18.841-18.848</c:v>
                </c:pt>
                <c:pt idx="2679">
                  <c:v>18.848-18.855</c:v>
                </c:pt>
                <c:pt idx="2680">
                  <c:v>18.855-18.862</c:v>
                </c:pt>
                <c:pt idx="2681">
                  <c:v>18.862-18.869</c:v>
                </c:pt>
                <c:pt idx="2682">
                  <c:v>18.869-18.876</c:v>
                </c:pt>
                <c:pt idx="2683">
                  <c:v>18.876-18.883</c:v>
                </c:pt>
                <c:pt idx="2684">
                  <c:v>18.883-18.890</c:v>
                </c:pt>
                <c:pt idx="2685">
                  <c:v>18.890-18.897</c:v>
                </c:pt>
                <c:pt idx="2686">
                  <c:v>18.897-18.905</c:v>
                </c:pt>
                <c:pt idx="2687">
                  <c:v>18.905-18.912</c:v>
                </c:pt>
                <c:pt idx="2688">
                  <c:v>18.912-18.919</c:v>
                </c:pt>
                <c:pt idx="2689">
                  <c:v>18.919-18.926</c:v>
                </c:pt>
                <c:pt idx="2690">
                  <c:v>18.926-18.933</c:v>
                </c:pt>
                <c:pt idx="2691">
                  <c:v>18.933-18.940</c:v>
                </c:pt>
                <c:pt idx="2692">
                  <c:v>18.940-18.947</c:v>
                </c:pt>
                <c:pt idx="2693">
                  <c:v>18.947-18.954</c:v>
                </c:pt>
                <c:pt idx="2694">
                  <c:v>18.954-18.961</c:v>
                </c:pt>
                <c:pt idx="2695">
                  <c:v>18.961-18.968</c:v>
                </c:pt>
                <c:pt idx="2696">
                  <c:v>18.968-18.975</c:v>
                </c:pt>
                <c:pt idx="2697">
                  <c:v>18.975-18.982</c:v>
                </c:pt>
                <c:pt idx="2698">
                  <c:v>18.982-18.989</c:v>
                </c:pt>
                <c:pt idx="2699">
                  <c:v>18.989-18.996</c:v>
                </c:pt>
                <c:pt idx="2700">
                  <c:v>18.996-19.003</c:v>
                </c:pt>
                <c:pt idx="2701">
                  <c:v>19.003-19.010</c:v>
                </c:pt>
                <c:pt idx="2702">
                  <c:v>19.010-19.017</c:v>
                </c:pt>
                <c:pt idx="2703">
                  <c:v>19.017-19.024</c:v>
                </c:pt>
                <c:pt idx="2704">
                  <c:v>19.024-19.031</c:v>
                </c:pt>
                <c:pt idx="2705">
                  <c:v>19.031-19.038</c:v>
                </c:pt>
                <c:pt idx="2706">
                  <c:v>19.038-19.045</c:v>
                </c:pt>
                <c:pt idx="2707">
                  <c:v>19.045-19.052</c:v>
                </c:pt>
                <c:pt idx="2708">
                  <c:v>19.052-19.059</c:v>
                </c:pt>
                <c:pt idx="2709">
                  <c:v>19.059-19.066</c:v>
                </c:pt>
                <c:pt idx="2710">
                  <c:v>19.066-19.073</c:v>
                </c:pt>
                <c:pt idx="2711">
                  <c:v>19.073-19.080</c:v>
                </c:pt>
                <c:pt idx="2712">
                  <c:v>19.080-19.087</c:v>
                </c:pt>
                <c:pt idx="2713">
                  <c:v>19.087-19.094</c:v>
                </c:pt>
                <c:pt idx="2714">
                  <c:v>19.094-19.101</c:v>
                </c:pt>
                <c:pt idx="2715">
                  <c:v>19.101-19.108</c:v>
                </c:pt>
                <c:pt idx="2716">
                  <c:v>19.108-19.115</c:v>
                </c:pt>
                <c:pt idx="2717">
                  <c:v>19.115-19.123</c:v>
                </c:pt>
                <c:pt idx="2718">
                  <c:v>19.123-19.130</c:v>
                </c:pt>
                <c:pt idx="2719">
                  <c:v>19.130-19.137</c:v>
                </c:pt>
                <c:pt idx="2720">
                  <c:v>19.137-19.144</c:v>
                </c:pt>
                <c:pt idx="2721">
                  <c:v>19.144-19.151</c:v>
                </c:pt>
                <c:pt idx="2722">
                  <c:v>19.151-19.158</c:v>
                </c:pt>
                <c:pt idx="2723">
                  <c:v>19.158-19.165</c:v>
                </c:pt>
                <c:pt idx="2724">
                  <c:v>19.165-19.172</c:v>
                </c:pt>
                <c:pt idx="2725">
                  <c:v>19.172-19.179</c:v>
                </c:pt>
                <c:pt idx="2726">
                  <c:v>19.179-19.186</c:v>
                </c:pt>
                <c:pt idx="2727">
                  <c:v>19.186-19.193</c:v>
                </c:pt>
                <c:pt idx="2728">
                  <c:v>19.193-19.200</c:v>
                </c:pt>
                <c:pt idx="2729">
                  <c:v>19.200-19.207</c:v>
                </c:pt>
                <c:pt idx="2730">
                  <c:v>19.207-19.214</c:v>
                </c:pt>
                <c:pt idx="2731">
                  <c:v>19.214-19.221</c:v>
                </c:pt>
                <c:pt idx="2732">
                  <c:v>19.221-19.228</c:v>
                </c:pt>
                <c:pt idx="2733">
                  <c:v>19.228-19.235</c:v>
                </c:pt>
                <c:pt idx="2734">
                  <c:v>19.235-19.242</c:v>
                </c:pt>
                <c:pt idx="2735">
                  <c:v>19.242-19.249</c:v>
                </c:pt>
                <c:pt idx="2736">
                  <c:v>19.249-19.256</c:v>
                </c:pt>
                <c:pt idx="2737">
                  <c:v>19.256-19.263</c:v>
                </c:pt>
                <c:pt idx="2738">
                  <c:v>19.263-19.270</c:v>
                </c:pt>
                <c:pt idx="2739">
                  <c:v>19.270-19.277</c:v>
                </c:pt>
                <c:pt idx="2740">
                  <c:v>19.277-19.284</c:v>
                </c:pt>
                <c:pt idx="2741">
                  <c:v>19.284-19.291</c:v>
                </c:pt>
                <c:pt idx="2742">
                  <c:v>19.291-19.298</c:v>
                </c:pt>
                <c:pt idx="2743">
                  <c:v>19.298-19.305</c:v>
                </c:pt>
                <c:pt idx="2744">
                  <c:v>19.305-19.312</c:v>
                </c:pt>
                <c:pt idx="2745">
                  <c:v>19.312-19.319</c:v>
                </c:pt>
                <c:pt idx="2746">
                  <c:v>19.319-19.326</c:v>
                </c:pt>
                <c:pt idx="2747">
                  <c:v>19.326-19.333</c:v>
                </c:pt>
                <c:pt idx="2748">
                  <c:v>19.333-19.341</c:v>
                </c:pt>
                <c:pt idx="2749">
                  <c:v>19.341-19.348</c:v>
                </c:pt>
                <c:pt idx="2750">
                  <c:v>19.348-19.355</c:v>
                </c:pt>
                <c:pt idx="2751">
                  <c:v>19.355-19.362</c:v>
                </c:pt>
                <c:pt idx="2752">
                  <c:v>19.362-19.369</c:v>
                </c:pt>
                <c:pt idx="2753">
                  <c:v>19.369-19.376</c:v>
                </c:pt>
                <c:pt idx="2754">
                  <c:v>19.376-19.383</c:v>
                </c:pt>
                <c:pt idx="2755">
                  <c:v>19.383-19.390</c:v>
                </c:pt>
                <c:pt idx="2756">
                  <c:v>19.390-19.397</c:v>
                </c:pt>
                <c:pt idx="2757">
                  <c:v>19.397-19.404</c:v>
                </c:pt>
                <c:pt idx="2758">
                  <c:v>19.404-19.411</c:v>
                </c:pt>
                <c:pt idx="2759">
                  <c:v>19.411-19.418</c:v>
                </c:pt>
                <c:pt idx="2760">
                  <c:v>19.418-19.425</c:v>
                </c:pt>
                <c:pt idx="2761">
                  <c:v>19.425-19.432</c:v>
                </c:pt>
                <c:pt idx="2762">
                  <c:v>19.432-19.439</c:v>
                </c:pt>
                <c:pt idx="2763">
                  <c:v>19.439-19.446</c:v>
                </c:pt>
                <c:pt idx="2764">
                  <c:v>19.446-19.453</c:v>
                </c:pt>
                <c:pt idx="2765">
                  <c:v>19.453-19.460</c:v>
                </c:pt>
                <c:pt idx="2766">
                  <c:v>19.460-19.467</c:v>
                </c:pt>
                <c:pt idx="2767">
                  <c:v>19.467-19.474</c:v>
                </c:pt>
                <c:pt idx="2768">
                  <c:v>19.474-19.481</c:v>
                </c:pt>
                <c:pt idx="2769">
                  <c:v>19.481-19.488</c:v>
                </c:pt>
                <c:pt idx="2770">
                  <c:v>19.488-19.495</c:v>
                </c:pt>
                <c:pt idx="2771">
                  <c:v>19.495-19.502</c:v>
                </c:pt>
                <c:pt idx="2772">
                  <c:v>19.502-19.509</c:v>
                </c:pt>
                <c:pt idx="2773">
                  <c:v>19.509-19.516</c:v>
                </c:pt>
                <c:pt idx="2774">
                  <c:v>19.516-19.523</c:v>
                </c:pt>
                <c:pt idx="2775">
                  <c:v>19.523-19.530</c:v>
                </c:pt>
                <c:pt idx="2776">
                  <c:v>19.530-19.537</c:v>
                </c:pt>
                <c:pt idx="2777">
                  <c:v>19.537-19.544</c:v>
                </c:pt>
                <c:pt idx="2778">
                  <c:v>19.544-19.551</c:v>
                </c:pt>
                <c:pt idx="2779">
                  <c:v>19.551-19.559</c:v>
                </c:pt>
                <c:pt idx="2780">
                  <c:v>19.559-19.566</c:v>
                </c:pt>
                <c:pt idx="2781">
                  <c:v>19.566-19.573</c:v>
                </c:pt>
                <c:pt idx="2782">
                  <c:v>19.573-19.580</c:v>
                </c:pt>
                <c:pt idx="2783">
                  <c:v>19.580-19.587</c:v>
                </c:pt>
                <c:pt idx="2784">
                  <c:v>19.587-19.594</c:v>
                </c:pt>
                <c:pt idx="2785">
                  <c:v>19.594-19.601</c:v>
                </c:pt>
                <c:pt idx="2786">
                  <c:v>19.601-19.608</c:v>
                </c:pt>
                <c:pt idx="2787">
                  <c:v>19.608-19.615</c:v>
                </c:pt>
                <c:pt idx="2788">
                  <c:v>19.615-19.622</c:v>
                </c:pt>
                <c:pt idx="2789">
                  <c:v>19.622-19.629</c:v>
                </c:pt>
                <c:pt idx="2790">
                  <c:v>19.629-19.636</c:v>
                </c:pt>
                <c:pt idx="2791">
                  <c:v>19.636-19.643</c:v>
                </c:pt>
                <c:pt idx="2792">
                  <c:v>19.643-19.650</c:v>
                </c:pt>
                <c:pt idx="2793">
                  <c:v>19.650-19.657</c:v>
                </c:pt>
                <c:pt idx="2794">
                  <c:v>19.657-19.664</c:v>
                </c:pt>
                <c:pt idx="2795">
                  <c:v>19.664-19.671</c:v>
                </c:pt>
                <c:pt idx="2796">
                  <c:v>19.671-19.678</c:v>
                </c:pt>
                <c:pt idx="2797">
                  <c:v>19.678-19.685</c:v>
                </c:pt>
                <c:pt idx="2798">
                  <c:v>19.685-19.692</c:v>
                </c:pt>
                <c:pt idx="2799">
                  <c:v>19.692-19.699</c:v>
                </c:pt>
                <c:pt idx="2800">
                  <c:v>19.699-19.706</c:v>
                </c:pt>
                <c:pt idx="2801">
                  <c:v>19.706-19.713</c:v>
                </c:pt>
                <c:pt idx="2802">
                  <c:v>19.713-19.720</c:v>
                </c:pt>
                <c:pt idx="2803">
                  <c:v>19.720-19.727</c:v>
                </c:pt>
                <c:pt idx="2804">
                  <c:v>19.727-19.734</c:v>
                </c:pt>
                <c:pt idx="2805">
                  <c:v>19.734-19.741</c:v>
                </c:pt>
                <c:pt idx="2806">
                  <c:v>19.741-19.748</c:v>
                </c:pt>
                <c:pt idx="2807">
                  <c:v>19.748-19.755</c:v>
                </c:pt>
                <c:pt idx="2808">
                  <c:v>19.755-19.762</c:v>
                </c:pt>
                <c:pt idx="2809">
                  <c:v>19.762-19.769</c:v>
                </c:pt>
                <c:pt idx="2810">
                  <c:v>19.769-19.777</c:v>
                </c:pt>
                <c:pt idx="2811">
                  <c:v>19.777-19.784</c:v>
                </c:pt>
                <c:pt idx="2812">
                  <c:v>19.784-19.791</c:v>
                </c:pt>
                <c:pt idx="2813">
                  <c:v>19.791-19.798</c:v>
                </c:pt>
                <c:pt idx="2814">
                  <c:v>19.798-19.805</c:v>
                </c:pt>
                <c:pt idx="2815">
                  <c:v>19.805-19.812</c:v>
                </c:pt>
                <c:pt idx="2816">
                  <c:v>19.812-19.819</c:v>
                </c:pt>
                <c:pt idx="2817">
                  <c:v>19.819-19.826</c:v>
                </c:pt>
                <c:pt idx="2818">
                  <c:v>19.826-19.833</c:v>
                </c:pt>
                <c:pt idx="2819">
                  <c:v>19.833-19.840</c:v>
                </c:pt>
                <c:pt idx="2820">
                  <c:v>19.840-19.847</c:v>
                </c:pt>
                <c:pt idx="2821">
                  <c:v>19.847-19.854</c:v>
                </c:pt>
                <c:pt idx="2822">
                  <c:v>19.854-19.861</c:v>
                </c:pt>
                <c:pt idx="2823">
                  <c:v>19.861-19.868</c:v>
                </c:pt>
                <c:pt idx="2824">
                  <c:v>19.868-19.875</c:v>
                </c:pt>
                <c:pt idx="2825">
                  <c:v>19.875-19.882</c:v>
                </c:pt>
                <c:pt idx="2826">
                  <c:v>19.882-19.889</c:v>
                </c:pt>
                <c:pt idx="2827">
                  <c:v>19.889-19.896</c:v>
                </c:pt>
                <c:pt idx="2828">
                  <c:v>19.896-19.903</c:v>
                </c:pt>
                <c:pt idx="2829">
                  <c:v>19.903-19.910</c:v>
                </c:pt>
                <c:pt idx="2830">
                  <c:v>19.910-19.917</c:v>
                </c:pt>
                <c:pt idx="2831">
                  <c:v>19.917-19.924</c:v>
                </c:pt>
                <c:pt idx="2832">
                  <c:v>19.924-19.931</c:v>
                </c:pt>
                <c:pt idx="2833">
                  <c:v>19.931-19.938</c:v>
                </c:pt>
                <c:pt idx="2834">
                  <c:v>19.938-19.945</c:v>
                </c:pt>
                <c:pt idx="2835">
                  <c:v>19.945-19.952</c:v>
                </c:pt>
                <c:pt idx="2836">
                  <c:v>19.952-19.959</c:v>
                </c:pt>
                <c:pt idx="2837">
                  <c:v>19.959-19.966</c:v>
                </c:pt>
                <c:pt idx="2838">
                  <c:v>19.966-19.973</c:v>
                </c:pt>
                <c:pt idx="2839">
                  <c:v>19.973-19.980</c:v>
                </c:pt>
                <c:pt idx="2840">
                  <c:v>19.980-19.987</c:v>
                </c:pt>
                <c:pt idx="2841">
                  <c:v>19.987-19.995</c:v>
                </c:pt>
                <c:pt idx="2842">
                  <c:v>19.995-20.002</c:v>
                </c:pt>
                <c:pt idx="2843">
                  <c:v>20.002-20.009</c:v>
                </c:pt>
                <c:pt idx="2844">
                  <c:v>20.009-20.016</c:v>
                </c:pt>
                <c:pt idx="2845">
                  <c:v>20.016-20.023</c:v>
                </c:pt>
                <c:pt idx="2846">
                  <c:v>20.023-20.030</c:v>
                </c:pt>
                <c:pt idx="2847">
                  <c:v>20.030-20.037</c:v>
                </c:pt>
                <c:pt idx="2848">
                  <c:v>20.037-20.044</c:v>
                </c:pt>
                <c:pt idx="2849">
                  <c:v>20.044-20.051</c:v>
                </c:pt>
                <c:pt idx="2850">
                  <c:v>20.051-20.058</c:v>
                </c:pt>
                <c:pt idx="2851">
                  <c:v>20.058-20.065</c:v>
                </c:pt>
                <c:pt idx="2852">
                  <c:v>20.065-20.072</c:v>
                </c:pt>
                <c:pt idx="2853">
                  <c:v>20.072-20.079</c:v>
                </c:pt>
                <c:pt idx="2854">
                  <c:v>20.079-20.086</c:v>
                </c:pt>
                <c:pt idx="2855">
                  <c:v>20.086-20.093</c:v>
                </c:pt>
                <c:pt idx="2856">
                  <c:v>20.093-20.100</c:v>
                </c:pt>
                <c:pt idx="2857">
                  <c:v>20.100-20.107</c:v>
                </c:pt>
                <c:pt idx="2858">
                  <c:v>20.107-20.114</c:v>
                </c:pt>
                <c:pt idx="2859">
                  <c:v>20.114-20.121</c:v>
                </c:pt>
                <c:pt idx="2860">
                  <c:v>20.121-20.128</c:v>
                </c:pt>
                <c:pt idx="2861">
                  <c:v>20.128-20.135</c:v>
                </c:pt>
                <c:pt idx="2862">
                  <c:v>20.135-20.142</c:v>
                </c:pt>
                <c:pt idx="2863">
                  <c:v>20.142-20.149</c:v>
                </c:pt>
                <c:pt idx="2864">
                  <c:v>20.149-20.156</c:v>
                </c:pt>
                <c:pt idx="2865">
                  <c:v>20.156-20.163</c:v>
                </c:pt>
                <c:pt idx="2866">
                  <c:v>20.163-20.170</c:v>
                </c:pt>
                <c:pt idx="2867">
                  <c:v>20.170-20.177</c:v>
                </c:pt>
                <c:pt idx="2868">
                  <c:v>20.177-20.184</c:v>
                </c:pt>
                <c:pt idx="2869">
                  <c:v>20.184-20.191</c:v>
                </c:pt>
                <c:pt idx="2870">
                  <c:v>20.191-20.198</c:v>
                </c:pt>
                <c:pt idx="2871">
                  <c:v>20.198-20.205</c:v>
                </c:pt>
                <c:pt idx="2872">
                  <c:v>20.205-20.213</c:v>
                </c:pt>
                <c:pt idx="2873">
                  <c:v>20.213-20.220</c:v>
                </c:pt>
                <c:pt idx="2874">
                  <c:v>20.220-20.227</c:v>
                </c:pt>
                <c:pt idx="2875">
                  <c:v>20.227-20.234</c:v>
                </c:pt>
                <c:pt idx="2876">
                  <c:v>20.234-20.241</c:v>
                </c:pt>
                <c:pt idx="2877">
                  <c:v>20.241-20.248</c:v>
                </c:pt>
                <c:pt idx="2878">
                  <c:v>20.248-20.255</c:v>
                </c:pt>
                <c:pt idx="2879">
                  <c:v>20.255-20.262</c:v>
                </c:pt>
                <c:pt idx="2880">
                  <c:v>20.262-20.269</c:v>
                </c:pt>
                <c:pt idx="2881">
                  <c:v>20.269-20.276</c:v>
                </c:pt>
                <c:pt idx="2882">
                  <c:v>20.276-20.283</c:v>
                </c:pt>
                <c:pt idx="2883">
                  <c:v>20.283-20.290</c:v>
                </c:pt>
                <c:pt idx="2884">
                  <c:v>20.290-20.297</c:v>
                </c:pt>
                <c:pt idx="2885">
                  <c:v>20.297-20.304</c:v>
                </c:pt>
                <c:pt idx="2886">
                  <c:v>20.304-20.311</c:v>
                </c:pt>
                <c:pt idx="2887">
                  <c:v>20.311-20.318</c:v>
                </c:pt>
                <c:pt idx="2888">
                  <c:v>20.318-20.325</c:v>
                </c:pt>
                <c:pt idx="2889">
                  <c:v>20.325-20.332</c:v>
                </c:pt>
                <c:pt idx="2890">
                  <c:v>20.332-20.339</c:v>
                </c:pt>
                <c:pt idx="2891">
                  <c:v>20.339-20.346</c:v>
                </c:pt>
                <c:pt idx="2892">
                  <c:v>20.346-20.353</c:v>
                </c:pt>
                <c:pt idx="2893">
                  <c:v>20.353-20.360</c:v>
                </c:pt>
                <c:pt idx="2894">
                  <c:v>20.360-20.367</c:v>
                </c:pt>
                <c:pt idx="2895">
                  <c:v>20.367-20.374</c:v>
                </c:pt>
                <c:pt idx="2896">
                  <c:v>20.374-20.381</c:v>
                </c:pt>
                <c:pt idx="2897">
                  <c:v>20.381-20.388</c:v>
                </c:pt>
                <c:pt idx="2898">
                  <c:v>20.388-20.395</c:v>
                </c:pt>
                <c:pt idx="2899">
                  <c:v>20.395-20.402</c:v>
                </c:pt>
                <c:pt idx="2900">
                  <c:v>20.402-20.409</c:v>
                </c:pt>
                <c:pt idx="2901">
                  <c:v>20.409-20.416</c:v>
                </c:pt>
                <c:pt idx="2902">
                  <c:v>20.416-20.423</c:v>
                </c:pt>
                <c:pt idx="2903">
                  <c:v>20.423-20.431</c:v>
                </c:pt>
                <c:pt idx="2904">
                  <c:v>20.431-20.438</c:v>
                </c:pt>
                <c:pt idx="2905">
                  <c:v>20.438-20.445</c:v>
                </c:pt>
                <c:pt idx="2906">
                  <c:v>20.445-20.452</c:v>
                </c:pt>
                <c:pt idx="2907">
                  <c:v>20.452-20.459</c:v>
                </c:pt>
                <c:pt idx="2908">
                  <c:v>20.459-20.466</c:v>
                </c:pt>
                <c:pt idx="2909">
                  <c:v>20.466-20.473</c:v>
                </c:pt>
                <c:pt idx="2910">
                  <c:v>20.473-20.480</c:v>
                </c:pt>
                <c:pt idx="2911">
                  <c:v>20.480-20.487</c:v>
                </c:pt>
                <c:pt idx="2912">
                  <c:v>20.487-20.494</c:v>
                </c:pt>
                <c:pt idx="2913">
                  <c:v>20.494-20.501</c:v>
                </c:pt>
                <c:pt idx="2914">
                  <c:v>20.501-20.508</c:v>
                </c:pt>
                <c:pt idx="2915">
                  <c:v>20.508-20.515</c:v>
                </c:pt>
                <c:pt idx="2916">
                  <c:v>20.515-20.522</c:v>
                </c:pt>
                <c:pt idx="2917">
                  <c:v>20.522-20.529</c:v>
                </c:pt>
                <c:pt idx="2918">
                  <c:v>20.529-20.536</c:v>
                </c:pt>
                <c:pt idx="2919">
                  <c:v>20.536-20.543</c:v>
                </c:pt>
                <c:pt idx="2920">
                  <c:v>20.543-20.550</c:v>
                </c:pt>
                <c:pt idx="2921">
                  <c:v>20.550-20.557</c:v>
                </c:pt>
                <c:pt idx="2922">
                  <c:v>20.557-20.564</c:v>
                </c:pt>
                <c:pt idx="2923">
                  <c:v>20.564-20.571</c:v>
                </c:pt>
                <c:pt idx="2924">
                  <c:v>20.571-20.578</c:v>
                </c:pt>
                <c:pt idx="2925">
                  <c:v>20.578-20.585</c:v>
                </c:pt>
                <c:pt idx="2926">
                  <c:v>20.585-20.592</c:v>
                </c:pt>
                <c:pt idx="2927">
                  <c:v>20.592-20.599</c:v>
                </c:pt>
                <c:pt idx="2928">
                  <c:v>20.599-20.606</c:v>
                </c:pt>
                <c:pt idx="2929">
                  <c:v>20.606-20.613</c:v>
                </c:pt>
                <c:pt idx="2930">
                  <c:v>20.613-20.620</c:v>
                </c:pt>
                <c:pt idx="2931">
                  <c:v>20.620-20.627</c:v>
                </c:pt>
                <c:pt idx="2932">
                  <c:v>20.627-20.634</c:v>
                </c:pt>
                <c:pt idx="2933">
                  <c:v>20.634-20.641</c:v>
                </c:pt>
                <c:pt idx="2934">
                  <c:v>20.641-20.649</c:v>
                </c:pt>
                <c:pt idx="2935">
                  <c:v>20.649-20.656</c:v>
                </c:pt>
                <c:pt idx="2936">
                  <c:v>20.656-20.663</c:v>
                </c:pt>
                <c:pt idx="2937">
                  <c:v>20.663-20.670</c:v>
                </c:pt>
                <c:pt idx="2938">
                  <c:v>20.670-20.677</c:v>
                </c:pt>
                <c:pt idx="2939">
                  <c:v>20.677-20.684</c:v>
                </c:pt>
                <c:pt idx="2940">
                  <c:v>20.684-20.691</c:v>
                </c:pt>
                <c:pt idx="2941">
                  <c:v>20.691-20.698</c:v>
                </c:pt>
                <c:pt idx="2942">
                  <c:v>20.698-20.705</c:v>
                </c:pt>
                <c:pt idx="2943">
                  <c:v>20.705-20.712</c:v>
                </c:pt>
                <c:pt idx="2944">
                  <c:v>20.712-20.719</c:v>
                </c:pt>
                <c:pt idx="2945">
                  <c:v>20.719-20.726</c:v>
                </c:pt>
                <c:pt idx="2946">
                  <c:v>20.726-20.733</c:v>
                </c:pt>
                <c:pt idx="2947">
                  <c:v>20.733-20.740</c:v>
                </c:pt>
                <c:pt idx="2948">
                  <c:v>20.740-20.747</c:v>
                </c:pt>
                <c:pt idx="2949">
                  <c:v>20.747-20.754</c:v>
                </c:pt>
                <c:pt idx="2950">
                  <c:v>20.754-20.761</c:v>
                </c:pt>
                <c:pt idx="2951">
                  <c:v>20.761-20.768</c:v>
                </c:pt>
                <c:pt idx="2952">
                  <c:v>20.768-20.775</c:v>
                </c:pt>
                <c:pt idx="2953">
                  <c:v>20.775-20.782</c:v>
                </c:pt>
                <c:pt idx="2954">
                  <c:v>20.782-20.789</c:v>
                </c:pt>
                <c:pt idx="2955">
                  <c:v>20.789-20.796</c:v>
                </c:pt>
                <c:pt idx="2956">
                  <c:v>20.796-20.803</c:v>
                </c:pt>
                <c:pt idx="2957">
                  <c:v>20.803-20.810</c:v>
                </c:pt>
                <c:pt idx="2958">
                  <c:v>20.810-20.817</c:v>
                </c:pt>
                <c:pt idx="2959">
                  <c:v>20.817-20.824</c:v>
                </c:pt>
                <c:pt idx="2960">
                  <c:v>20.824-20.831</c:v>
                </c:pt>
                <c:pt idx="2961">
                  <c:v>20.831-20.838</c:v>
                </c:pt>
                <c:pt idx="2962">
                  <c:v>20.838-20.845</c:v>
                </c:pt>
                <c:pt idx="2963">
                  <c:v>20.845-20.852</c:v>
                </c:pt>
                <c:pt idx="2964">
                  <c:v>20.852-20.859</c:v>
                </c:pt>
                <c:pt idx="2965">
                  <c:v>20.859-20.867</c:v>
                </c:pt>
                <c:pt idx="2966">
                  <c:v>20.867-20.874</c:v>
                </c:pt>
                <c:pt idx="2967">
                  <c:v>20.874-20.881</c:v>
                </c:pt>
                <c:pt idx="2968">
                  <c:v>20.881-20.888</c:v>
                </c:pt>
                <c:pt idx="2969">
                  <c:v>20.888-20.895</c:v>
                </c:pt>
                <c:pt idx="2970">
                  <c:v>20.895-20.902</c:v>
                </c:pt>
                <c:pt idx="2971">
                  <c:v>20.902-20.909</c:v>
                </c:pt>
                <c:pt idx="2972">
                  <c:v>20.909-20.916</c:v>
                </c:pt>
                <c:pt idx="2973">
                  <c:v>20.916-20.923</c:v>
                </c:pt>
                <c:pt idx="2974">
                  <c:v>20.923-20.930</c:v>
                </c:pt>
                <c:pt idx="2975">
                  <c:v>20.930-20.937</c:v>
                </c:pt>
                <c:pt idx="2976">
                  <c:v>20.937-20.944</c:v>
                </c:pt>
                <c:pt idx="2977">
                  <c:v>20.944-20.951</c:v>
                </c:pt>
                <c:pt idx="2978">
                  <c:v>20.951-20.958</c:v>
                </c:pt>
                <c:pt idx="2979">
                  <c:v>20.958-20.965</c:v>
                </c:pt>
                <c:pt idx="2980">
                  <c:v>20.965-20.972</c:v>
                </c:pt>
                <c:pt idx="2981">
                  <c:v>20.972-20.979</c:v>
                </c:pt>
                <c:pt idx="2982">
                  <c:v>20.979-20.986</c:v>
                </c:pt>
                <c:pt idx="2983">
                  <c:v>20.986-20.993</c:v>
                </c:pt>
                <c:pt idx="2984">
                  <c:v>20.993-21.000</c:v>
                </c:pt>
                <c:pt idx="2985">
                  <c:v>21.000-21.007</c:v>
                </c:pt>
                <c:pt idx="2986">
                  <c:v>21.007-21.014</c:v>
                </c:pt>
                <c:pt idx="2987">
                  <c:v>21.014-21.021</c:v>
                </c:pt>
                <c:pt idx="2988">
                  <c:v>21.021-21.028</c:v>
                </c:pt>
                <c:pt idx="2989">
                  <c:v>21.028-21.035</c:v>
                </c:pt>
                <c:pt idx="2990">
                  <c:v>21.035-21.042</c:v>
                </c:pt>
                <c:pt idx="2991">
                  <c:v>21.042-21.049</c:v>
                </c:pt>
                <c:pt idx="2992">
                  <c:v>21.049-21.056</c:v>
                </c:pt>
                <c:pt idx="2993">
                  <c:v>21.056-21.063</c:v>
                </c:pt>
                <c:pt idx="2994">
                  <c:v>21.063-21.070</c:v>
                </c:pt>
                <c:pt idx="2995">
                  <c:v>21.070-21.077</c:v>
                </c:pt>
                <c:pt idx="2996">
                  <c:v>21.077-21.085</c:v>
                </c:pt>
                <c:pt idx="2997">
                  <c:v>21.085-21.092</c:v>
                </c:pt>
                <c:pt idx="2998">
                  <c:v>21.092-21.099</c:v>
                </c:pt>
                <c:pt idx="2999">
                  <c:v>21.099-21.106</c:v>
                </c:pt>
                <c:pt idx="3000">
                  <c:v>21.106-21.113</c:v>
                </c:pt>
                <c:pt idx="3001">
                  <c:v>21.113-21.120</c:v>
                </c:pt>
                <c:pt idx="3002">
                  <c:v>21.120-21.127</c:v>
                </c:pt>
                <c:pt idx="3003">
                  <c:v>21.127-21.134</c:v>
                </c:pt>
                <c:pt idx="3004">
                  <c:v>21.134-21.141</c:v>
                </c:pt>
                <c:pt idx="3005">
                  <c:v>21.141-21.148</c:v>
                </c:pt>
                <c:pt idx="3006">
                  <c:v>21.148-21.155</c:v>
                </c:pt>
                <c:pt idx="3007">
                  <c:v>21.155-21.162</c:v>
                </c:pt>
                <c:pt idx="3008">
                  <c:v>21.162-21.169</c:v>
                </c:pt>
                <c:pt idx="3009">
                  <c:v>21.169-21.176</c:v>
                </c:pt>
                <c:pt idx="3010">
                  <c:v>21.176-21.183</c:v>
                </c:pt>
                <c:pt idx="3011">
                  <c:v>21.183-21.190</c:v>
                </c:pt>
                <c:pt idx="3012">
                  <c:v>21.190-21.197</c:v>
                </c:pt>
                <c:pt idx="3013">
                  <c:v>21.197-21.204</c:v>
                </c:pt>
                <c:pt idx="3014">
                  <c:v>21.204-21.211</c:v>
                </c:pt>
                <c:pt idx="3015">
                  <c:v>21.211-21.218</c:v>
                </c:pt>
                <c:pt idx="3016">
                  <c:v>21.218-21.225</c:v>
                </c:pt>
                <c:pt idx="3017">
                  <c:v>21.225-21.232</c:v>
                </c:pt>
                <c:pt idx="3018">
                  <c:v>21.232-21.239</c:v>
                </c:pt>
                <c:pt idx="3019">
                  <c:v>21.239-21.246</c:v>
                </c:pt>
                <c:pt idx="3020">
                  <c:v>21.246-21.253</c:v>
                </c:pt>
                <c:pt idx="3021">
                  <c:v>21.253-21.260</c:v>
                </c:pt>
                <c:pt idx="3022">
                  <c:v>21.260-21.267</c:v>
                </c:pt>
                <c:pt idx="3023">
                  <c:v>21.267-21.274</c:v>
                </c:pt>
                <c:pt idx="3024">
                  <c:v>21.274-21.281</c:v>
                </c:pt>
                <c:pt idx="3025">
                  <c:v>21.281-21.288</c:v>
                </c:pt>
                <c:pt idx="3026">
                  <c:v>21.288-21.295</c:v>
                </c:pt>
                <c:pt idx="3027">
                  <c:v>21.295-21.303</c:v>
                </c:pt>
                <c:pt idx="3028">
                  <c:v>21.303-21.310</c:v>
                </c:pt>
                <c:pt idx="3029">
                  <c:v>21.310-21.317</c:v>
                </c:pt>
                <c:pt idx="3030">
                  <c:v>21.317-21.324</c:v>
                </c:pt>
                <c:pt idx="3031">
                  <c:v>21.324-21.331</c:v>
                </c:pt>
                <c:pt idx="3032">
                  <c:v>21.331-21.338</c:v>
                </c:pt>
                <c:pt idx="3033">
                  <c:v>21.338-21.345</c:v>
                </c:pt>
                <c:pt idx="3034">
                  <c:v>21.345-21.352</c:v>
                </c:pt>
                <c:pt idx="3035">
                  <c:v>21.352-21.359</c:v>
                </c:pt>
                <c:pt idx="3036">
                  <c:v>21.359-21.366</c:v>
                </c:pt>
                <c:pt idx="3037">
                  <c:v>21.366-21.373</c:v>
                </c:pt>
                <c:pt idx="3038">
                  <c:v>21.373-21.380</c:v>
                </c:pt>
                <c:pt idx="3039">
                  <c:v>21.380-21.387</c:v>
                </c:pt>
                <c:pt idx="3040">
                  <c:v>21.387-21.394</c:v>
                </c:pt>
                <c:pt idx="3041">
                  <c:v>21.394-21.401</c:v>
                </c:pt>
                <c:pt idx="3042">
                  <c:v>21.401-21.408</c:v>
                </c:pt>
                <c:pt idx="3043">
                  <c:v>21.408-21.415</c:v>
                </c:pt>
                <c:pt idx="3044">
                  <c:v>21.415-21.422</c:v>
                </c:pt>
                <c:pt idx="3045">
                  <c:v>21.422-21.429</c:v>
                </c:pt>
                <c:pt idx="3046">
                  <c:v>21.429-21.436</c:v>
                </c:pt>
                <c:pt idx="3047">
                  <c:v>21.436-21.443</c:v>
                </c:pt>
                <c:pt idx="3048">
                  <c:v>21.443-21.450</c:v>
                </c:pt>
                <c:pt idx="3049">
                  <c:v>21.450-21.457</c:v>
                </c:pt>
                <c:pt idx="3050">
                  <c:v>21.457-21.464</c:v>
                </c:pt>
                <c:pt idx="3051">
                  <c:v>21.464-21.471</c:v>
                </c:pt>
                <c:pt idx="3052">
                  <c:v>21.471-21.478</c:v>
                </c:pt>
                <c:pt idx="3053">
                  <c:v>21.478-21.485</c:v>
                </c:pt>
                <c:pt idx="3054">
                  <c:v>21.485-21.492</c:v>
                </c:pt>
                <c:pt idx="3055">
                  <c:v>21.492-21.499</c:v>
                </c:pt>
                <c:pt idx="3056">
                  <c:v>21.499-21.506</c:v>
                </c:pt>
                <c:pt idx="3057">
                  <c:v>21.506-21.513</c:v>
                </c:pt>
                <c:pt idx="3058">
                  <c:v>21.513-21.520</c:v>
                </c:pt>
                <c:pt idx="3059">
                  <c:v>21.520-21.528</c:v>
                </c:pt>
                <c:pt idx="3060">
                  <c:v>21.528-21.535</c:v>
                </c:pt>
                <c:pt idx="3061">
                  <c:v>21.535-21.542</c:v>
                </c:pt>
                <c:pt idx="3062">
                  <c:v>21.542-21.549</c:v>
                </c:pt>
                <c:pt idx="3063">
                  <c:v>21.549-21.556</c:v>
                </c:pt>
                <c:pt idx="3064">
                  <c:v>21.556-21.563</c:v>
                </c:pt>
                <c:pt idx="3065">
                  <c:v>21.563-21.570</c:v>
                </c:pt>
                <c:pt idx="3066">
                  <c:v>21.570-21.577</c:v>
                </c:pt>
                <c:pt idx="3067">
                  <c:v>21.577-21.584</c:v>
                </c:pt>
                <c:pt idx="3068">
                  <c:v>21.584-21.591</c:v>
                </c:pt>
                <c:pt idx="3069">
                  <c:v>21.591-21.598</c:v>
                </c:pt>
                <c:pt idx="3070">
                  <c:v>21.598-21.605</c:v>
                </c:pt>
                <c:pt idx="3071">
                  <c:v>21.605-21.612</c:v>
                </c:pt>
                <c:pt idx="3072">
                  <c:v>21.612-21.619</c:v>
                </c:pt>
                <c:pt idx="3073">
                  <c:v>21.619-21.626</c:v>
                </c:pt>
                <c:pt idx="3074">
                  <c:v>21.626-21.633</c:v>
                </c:pt>
                <c:pt idx="3075">
                  <c:v>21.633-21.640</c:v>
                </c:pt>
                <c:pt idx="3076">
                  <c:v>21.640-21.647</c:v>
                </c:pt>
                <c:pt idx="3077">
                  <c:v>21.647-21.654</c:v>
                </c:pt>
                <c:pt idx="3078">
                  <c:v>21.654-21.661</c:v>
                </c:pt>
                <c:pt idx="3079">
                  <c:v>21.661-21.668</c:v>
                </c:pt>
                <c:pt idx="3080">
                  <c:v>21.668-21.675</c:v>
                </c:pt>
                <c:pt idx="3081">
                  <c:v>21.675-21.682</c:v>
                </c:pt>
                <c:pt idx="3082">
                  <c:v>21.682-21.689</c:v>
                </c:pt>
                <c:pt idx="3083">
                  <c:v>21.689-21.696</c:v>
                </c:pt>
                <c:pt idx="3084">
                  <c:v>21.696-21.703</c:v>
                </c:pt>
                <c:pt idx="3085">
                  <c:v>21.703-21.710</c:v>
                </c:pt>
                <c:pt idx="3086">
                  <c:v>21.710-21.717</c:v>
                </c:pt>
                <c:pt idx="3087">
                  <c:v>21.717-21.724</c:v>
                </c:pt>
                <c:pt idx="3088">
                  <c:v>21.724-21.731</c:v>
                </c:pt>
                <c:pt idx="3089">
                  <c:v>21.731-21.738</c:v>
                </c:pt>
                <c:pt idx="3090">
                  <c:v>21.738-21.746</c:v>
                </c:pt>
                <c:pt idx="3091">
                  <c:v>21.746-21.753</c:v>
                </c:pt>
                <c:pt idx="3092">
                  <c:v>21.753-21.760</c:v>
                </c:pt>
                <c:pt idx="3093">
                  <c:v>21.760-21.767</c:v>
                </c:pt>
                <c:pt idx="3094">
                  <c:v>21.767-21.774</c:v>
                </c:pt>
                <c:pt idx="3095">
                  <c:v>21.774-21.781</c:v>
                </c:pt>
                <c:pt idx="3096">
                  <c:v>21.781-21.788</c:v>
                </c:pt>
                <c:pt idx="3097">
                  <c:v>21.788-21.795</c:v>
                </c:pt>
                <c:pt idx="3098">
                  <c:v>21.795-21.802</c:v>
                </c:pt>
                <c:pt idx="3099">
                  <c:v>21.802-21.809</c:v>
                </c:pt>
                <c:pt idx="3100">
                  <c:v>21.809-21.816</c:v>
                </c:pt>
                <c:pt idx="3101">
                  <c:v>21.816-21.823</c:v>
                </c:pt>
                <c:pt idx="3102">
                  <c:v>21.823-21.830</c:v>
                </c:pt>
                <c:pt idx="3103">
                  <c:v>21.830-21.837</c:v>
                </c:pt>
                <c:pt idx="3104">
                  <c:v>21.837-21.844</c:v>
                </c:pt>
                <c:pt idx="3105">
                  <c:v>21.844-21.851</c:v>
                </c:pt>
                <c:pt idx="3106">
                  <c:v>21.851-21.858</c:v>
                </c:pt>
                <c:pt idx="3107">
                  <c:v>21.858-21.865</c:v>
                </c:pt>
                <c:pt idx="3108">
                  <c:v>21.865-21.872</c:v>
                </c:pt>
                <c:pt idx="3109">
                  <c:v>21.872-21.879</c:v>
                </c:pt>
                <c:pt idx="3110">
                  <c:v>21.879-21.886</c:v>
                </c:pt>
                <c:pt idx="3111">
                  <c:v>21.886-21.893</c:v>
                </c:pt>
                <c:pt idx="3112">
                  <c:v>21.893-21.900</c:v>
                </c:pt>
                <c:pt idx="3113">
                  <c:v>21.900-21.907</c:v>
                </c:pt>
                <c:pt idx="3114">
                  <c:v>21.907-21.914</c:v>
                </c:pt>
                <c:pt idx="3115">
                  <c:v>21.914-21.921</c:v>
                </c:pt>
                <c:pt idx="3116">
                  <c:v>21.921-21.928</c:v>
                </c:pt>
                <c:pt idx="3117">
                  <c:v>21.928-21.935</c:v>
                </c:pt>
                <c:pt idx="3118">
                  <c:v>21.935-21.942</c:v>
                </c:pt>
                <c:pt idx="3119">
                  <c:v>21.942-21.949</c:v>
                </c:pt>
                <c:pt idx="3120">
                  <c:v>21.949-21.956</c:v>
                </c:pt>
                <c:pt idx="3121">
                  <c:v>21.956-21.964</c:v>
                </c:pt>
                <c:pt idx="3122">
                  <c:v>21.964-21.971</c:v>
                </c:pt>
                <c:pt idx="3123">
                  <c:v>21.971-21.978</c:v>
                </c:pt>
                <c:pt idx="3124">
                  <c:v>21.978-21.985</c:v>
                </c:pt>
                <c:pt idx="3125">
                  <c:v>21.985-21.992</c:v>
                </c:pt>
                <c:pt idx="3126">
                  <c:v>21.992-21.999</c:v>
                </c:pt>
                <c:pt idx="3127">
                  <c:v>21.999-22.006</c:v>
                </c:pt>
                <c:pt idx="3128">
                  <c:v>22.006-22.013</c:v>
                </c:pt>
                <c:pt idx="3129">
                  <c:v>22.013-22.020</c:v>
                </c:pt>
                <c:pt idx="3130">
                  <c:v>22.020-22.027</c:v>
                </c:pt>
                <c:pt idx="3131">
                  <c:v>22.027-22.034</c:v>
                </c:pt>
                <c:pt idx="3132">
                  <c:v>22.034-22.041</c:v>
                </c:pt>
                <c:pt idx="3133">
                  <c:v>22.041-22.048</c:v>
                </c:pt>
                <c:pt idx="3134">
                  <c:v>22.048-22.055</c:v>
                </c:pt>
                <c:pt idx="3135">
                  <c:v>22.055-22.062</c:v>
                </c:pt>
                <c:pt idx="3136">
                  <c:v>22.062-22.069</c:v>
                </c:pt>
                <c:pt idx="3137">
                  <c:v>22.069-22.076</c:v>
                </c:pt>
                <c:pt idx="3138">
                  <c:v>22.076-22.083</c:v>
                </c:pt>
                <c:pt idx="3139">
                  <c:v>22.083-22.090</c:v>
                </c:pt>
                <c:pt idx="3140">
                  <c:v>22.090-22.097</c:v>
                </c:pt>
                <c:pt idx="3141">
                  <c:v>22.097-22.104</c:v>
                </c:pt>
                <c:pt idx="3142">
                  <c:v>22.104-22.111</c:v>
                </c:pt>
                <c:pt idx="3143">
                  <c:v>22.111-22.118</c:v>
                </c:pt>
                <c:pt idx="3144">
                  <c:v>22.118-22.125</c:v>
                </c:pt>
                <c:pt idx="3145">
                  <c:v>22.125-22.132</c:v>
                </c:pt>
                <c:pt idx="3146">
                  <c:v>22.132-22.139</c:v>
                </c:pt>
                <c:pt idx="3147">
                  <c:v>22.139-22.146</c:v>
                </c:pt>
                <c:pt idx="3148">
                  <c:v>22.146-22.153</c:v>
                </c:pt>
                <c:pt idx="3149">
                  <c:v>22.153-22.160</c:v>
                </c:pt>
                <c:pt idx="3150">
                  <c:v>22.160-22.167</c:v>
                </c:pt>
                <c:pt idx="3151">
                  <c:v>22.167-22.174</c:v>
                </c:pt>
                <c:pt idx="3152">
                  <c:v>22.174-22.182</c:v>
                </c:pt>
                <c:pt idx="3153">
                  <c:v>22.182-22.189</c:v>
                </c:pt>
                <c:pt idx="3154">
                  <c:v>22.189-22.196</c:v>
                </c:pt>
                <c:pt idx="3155">
                  <c:v>22.196-22.203</c:v>
                </c:pt>
                <c:pt idx="3156">
                  <c:v>22.203-22.210</c:v>
                </c:pt>
                <c:pt idx="3157">
                  <c:v>22.210-22.217</c:v>
                </c:pt>
                <c:pt idx="3158">
                  <c:v>22.217-22.224</c:v>
                </c:pt>
                <c:pt idx="3159">
                  <c:v>22.224-22.231</c:v>
                </c:pt>
                <c:pt idx="3160">
                  <c:v>22.231-22.238</c:v>
                </c:pt>
                <c:pt idx="3161">
                  <c:v>22.238-22.245</c:v>
                </c:pt>
                <c:pt idx="3162">
                  <c:v>22.245-22.252</c:v>
                </c:pt>
                <c:pt idx="3163">
                  <c:v>22.252-22.259</c:v>
                </c:pt>
                <c:pt idx="3164">
                  <c:v>22.259-22.266</c:v>
                </c:pt>
                <c:pt idx="3165">
                  <c:v>22.266-22.273</c:v>
                </c:pt>
                <c:pt idx="3166">
                  <c:v>22.273-22.280</c:v>
                </c:pt>
                <c:pt idx="3167">
                  <c:v>22.280-22.287</c:v>
                </c:pt>
                <c:pt idx="3168">
                  <c:v>22.287-22.294</c:v>
                </c:pt>
                <c:pt idx="3169">
                  <c:v>22.294-22.301</c:v>
                </c:pt>
                <c:pt idx="3170">
                  <c:v>22.301-22.308</c:v>
                </c:pt>
                <c:pt idx="3171">
                  <c:v>22.308-22.315</c:v>
                </c:pt>
                <c:pt idx="3172">
                  <c:v>22.315-22.322</c:v>
                </c:pt>
                <c:pt idx="3173">
                  <c:v>22.322-22.329</c:v>
                </c:pt>
                <c:pt idx="3174">
                  <c:v>22.329-22.336</c:v>
                </c:pt>
                <c:pt idx="3175">
                  <c:v>22.336-22.343</c:v>
                </c:pt>
                <c:pt idx="3176">
                  <c:v>22.343-22.350</c:v>
                </c:pt>
                <c:pt idx="3177">
                  <c:v>22.350-22.357</c:v>
                </c:pt>
                <c:pt idx="3178">
                  <c:v>22.357-22.364</c:v>
                </c:pt>
                <c:pt idx="3179">
                  <c:v>22.364-22.371</c:v>
                </c:pt>
                <c:pt idx="3180">
                  <c:v>22.371-22.378</c:v>
                </c:pt>
                <c:pt idx="3181">
                  <c:v>22.378-22.385</c:v>
                </c:pt>
                <c:pt idx="3182">
                  <c:v>22.385-22.392</c:v>
                </c:pt>
                <c:pt idx="3183">
                  <c:v>22.392-22.400</c:v>
                </c:pt>
                <c:pt idx="3184">
                  <c:v>22.400-22.407</c:v>
                </c:pt>
                <c:pt idx="3185">
                  <c:v>22.407-22.414</c:v>
                </c:pt>
                <c:pt idx="3186">
                  <c:v>22.414-22.421</c:v>
                </c:pt>
                <c:pt idx="3187">
                  <c:v>22.421-22.428</c:v>
                </c:pt>
                <c:pt idx="3188">
                  <c:v>22.428-22.435</c:v>
                </c:pt>
                <c:pt idx="3189">
                  <c:v>22.435-22.442</c:v>
                </c:pt>
                <c:pt idx="3190">
                  <c:v>22.442-22.449</c:v>
                </c:pt>
                <c:pt idx="3191">
                  <c:v>22.449-22.456</c:v>
                </c:pt>
                <c:pt idx="3192">
                  <c:v>22.456-22.463</c:v>
                </c:pt>
                <c:pt idx="3193">
                  <c:v>22.463-22.470</c:v>
                </c:pt>
                <c:pt idx="3194">
                  <c:v>22.470-22.477</c:v>
                </c:pt>
                <c:pt idx="3195">
                  <c:v>22.477-22.484</c:v>
                </c:pt>
                <c:pt idx="3196">
                  <c:v>22.484-22.491</c:v>
                </c:pt>
                <c:pt idx="3197">
                  <c:v>22.491-22.498</c:v>
                </c:pt>
                <c:pt idx="3198">
                  <c:v>22.498-22.505</c:v>
                </c:pt>
                <c:pt idx="3199">
                  <c:v>22.505-22.512</c:v>
                </c:pt>
                <c:pt idx="3200">
                  <c:v>22.512-22.519</c:v>
                </c:pt>
                <c:pt idx="3201">
                  <c:v>22.519-22.526</c:v>
                </c:pt>
                <c:pt idx="3202">
                  <c:v>22.526-22.533</c:v>
                </c:pt>
                <c:pt idx="3203">
                  <c:v>22.533-22.540</c:v>
                </c:pt>
                <c:pt idx="3204">
                  <c:v>22.540-22.547</c:v>
                </c:pt>
                <c:pt idx="3205">
                  <c:v>22.547-22.554</c:v>
                </c:pt>
                <c:pt idx="3206">
                  <c:v>22.554-22.561</c:v>
                </c:pt>
                <c:pt idx="3207">
                  <c:v>22.561-22.568</c:v>
                </c:pt>
                <c:pt idx="3208">
                  <c:v>22.568-22.575</c:v>
                </c:pt>
                <c:pt idx="3209">
                  <c:v>22.575-22.582</c:v>
                </c:pt>
                <c:pt idx="3210">
                  <c:v>22.582-22.589</c:v>
                </c:pt>
                <c:pt idx="3211">
                  <c:v>22.589-22.596</c:v>
                </c:pt>
                <c:pt idx="3212">
                  <c:v>22.596-22.603</c:v>
                </c:pt>
                <c:pt idx="3213">
                  <c:v>22.603-22.610</c:v>
                </c:pt>
                <c:pt idx="3214">
                  <c:v>22.610-22.618</c:v>
                </c:pt>
                <c:pt idx="3215">
                  <c:v>22.618-22.625</c:v>
                </c:pt>
                <c:pt idx="3216">
                  <c:v>22.625-22.632</c:v>
                </c:pt>
                <c:pt idx="3217">
                  <c:v>22.632-22.639</c:v>
                </c:pt>
                <c:pt idx="3218">
                  <c:v>22.639-22.646</c:v>
                </c:pt>
                <c:pt idx="3219">
                  <c:v>22.646-22.653</c:v>
                </c:pt>
                <c:pt idx="3220">
                  <c:v>22.653-22.660</c:v>
                </c:pt>
                <c:pt idx="3221">
                  <c:v>22.660-22.667</c:v>
                </c:pt>
                <c:pt idx="3222">
                  <c:v>22.667-22.674</c:v>
                </c:pt>
                <c:pt idx="3223">
                  <c:v>22.674-22.681</c:v>
                </c:pt>
                <c:pt idx="3224">
                  <c:v>22.681-22.688</c:v>
                </c:pt>
                <c:pt idx="3225">
                  <c:v>22.688-22.695</c:v>
                </c:pt>
                <c:pt idx="3226">
                  <c:v>22.695-22.702</c:v>
                </c:pt>
                <c:pt idx="3227">
                  <c:v>22.702-22.709</c:v>
                </c:pt>
                <c:pt idx="3228">
                  <c:v>22.709-22.716</c:v>
                </c:pt>
                <c:pt idx="3229">
                  <c:v>22.716-22.723</c:v>
                </c:pt>
                <c:pt idx="3230">
                  <c:v>22.723-22.730</c:v>
                </c:pt>
                <c:pt idx="3231">
                  <c:v>22.730-22.737</c:v>
                </c:pt>
                <c:pt idx="3232">
                  <c:v>22.737-22.744</c:v>
                </c:pt>
                <c:pt idx="3233">
                  <c:v>22.744-22.751</c:v>
                </c:pt>
                <c:pt idx="3234">
                  <c:v>22.751-22.758</c:v>
                </c:pt>
                <c:pt idx="3235">
                  <c:v>22.758-22.765</c:v>
                </c:pt>
                <c:pt idx="3236">
                  <c:v>22.765-22.772</c:v>
                </c:pt>
                <c:pt idx="3237">
                  <c:v>22.772-22.779</c:v>
                </c:pt>
                <c:pt idx="3238">
                  <c:v>22.779-22.786</c:v>
                </c:pt>
                <c:pt idx="3239">
                  <c:v>22.786-22.793</c:v>
                </c:pt>
                <c:pt idx="3240">
                  <c:v>22.793-22.800</c:v>
                </c:pt>
                <c:pt idx="3241">
                  <c:v>22.800-22.807</c:v>
                </c:pt>
                <c:pt idx="3242">
                  <c:v>22.807-22.814</c:v>
                </c:pt>
                <c:pt idx="3243">
                  <c:v>22.814-22.821</c:v>
                </c:pt>
                <c:pt idx="3244">
                  <c:v>22.821-22.828</c:v>
                </c:pt>
                <c:pt idx="3245">
                  <c:v>22.828-22.836</c:v>
                </c:pt>
                <c:pt idx="3246">
                  <c:v>22.836-22.843</c:v>
                </c:pt>
                <c:pt idx="3247">
                  <c:v>22.843-22.850</c:v>
                </c:pt>
                <c:pt idx="3248">
                  <c:v>22.850-22.857</c:v>
                </c:pt>
                <c:pt idx="3249">
                  <c:v>22.857-22.864</c:v>
                </c:pt>
                <c:pt idx="3250">
                  <c:v>22.864-22.871</c:v>
                </c:pt>
                <c:pt idx="3251">
                  <c:v>22.871-22.878</c:v>
                </c:pt>
                <c:pt idx="3252">
                  <c:v>22.878-22.885</c:v>
                </c:pt>
                <c:pt idx="3253">
                  <c:v>22.885-22.892</c:v>
                </c:pt>
                <c:pt idx="3254">
                  <c:v>22.892-22.899</c:v>
                </c:pt>
                <c:pt idx="3255">
                  <c:v>22.899-22.906</c:v>
                </c:pt>
                <c:pt idx="3256">
                  <c:v>22.906-22.913</c:v>
                </c:pt>
                <c:pt idx="3257">
                  <c:v>22.913-22.920</c:v>
                </c:pt>
                <c:pt idx="3258">
                  <c:v>22.920-22.927</c:v>
                </c:pt>
                <c:pt idx="3259">
                  <c:v>22.927-22.934</c:v>
                </c:pt>
                <c:pt idx="3260">
                  <c:v>22.934-22.941</c:v>
                </c:pt>
                <c:pt idx="3261">
                  <c:v>22.941-22.948</c:v>
                </c:pt>
                <c:pt idx="3262">
                  <c:v>22.948-22.955</c:v>
                </c:pt>
                <c:pt idx="3263">
                  <c:v>22.955-22.962</c:v>
                </c:pt>
                <c:pt idx="3264">
                  <c:v>22.962-22.969</c:v>
                </c:pt>
                <c:pt idx="3265">
                  <c:v>22.969-22.976</c:v>
                </c:pt>
                <c:pt idx="3266">
                  <c:v>22.976-22.983</c:v>
                </c:pt>
                <c:pt idx="3267">
                  <c:v>22.983-22.990</c:v>
                </c:pt>
                <c:pt idx="3268">
                  <c:v>22.990-22.997</c:v>
                </c:pt>
                <c:pt idx="3269">
                  <c:v>22.997-23.004</c:v>
                </c:pt>
                <c:pt idx="3270">
                  <c:v>23.004-23.011</c:v>
                </c:pt>
                <c:pt idx="3271">
                  <c:v>23.011-23.018</c:v>
                </c:pt>
                <c:pt idx="3272">
                  <c:v>23.018-23.025</c:v>
                </c:pt>
                <c:pt idx="3273">
                  <c:v>23.025-23.032</c:v>
                </c:pt>
                <c:pt idx="3274">
                  <c:v>23.032-23.039</c:v>
                </c:pt>
                <c:pt idx="3275">
                  <c:v>23.039-23.046</c:v>
                </c:pt>
                <c:pt idx="3276">
                  <c:v>23.046-23.054</c:v>
                </c:pt>
                <c:pt idx="3277">
                  <c:v>23.054-23.061</c:v>
                </c:pt>
                <c:pt idx="3278">
                  <c:v>23.061-23.068</c:v>
                </c:pt>
                <c:pt idx="3279">
                  <c:v>23.068-23.075</c:v>
                </c:pt>
                <c:pt idx="3280">
                  <c:v>23.075-23.082</c:v>
                </c:pt>
                <c:pt idx="3281">
                  <c:v>23.082-23.089</c:v>
                </c:pt>
                <c:pt idx="3282">
                  <c:v>23.089-23.096</c:v>
                </c:pt>
                <c:pt idx="3283">
                  <c:v>23.096-23.103</c:v>
                </c:pt>
                <c:pt idx="3284">
                  <c:v>23.103-23.110</c:v>
                </c:pt>
                <c:pt idx="3285">
                  <c:v>23.110-23.117</c:v>
                </c:pt>
                <c:pt idx="3286">
                  <c:v>23.117-23.124</c:v>
                </c:pt>
                <c:pt idx="3287">
                  <c:v>23.124-23.131</c:v>
                </c:pt>
                <c:pt idx="3288">
                  <c:v>23.131-23.138</c:v>
                </c:pt>
                <c:pt idx="3289">
                  <c:v>23.138-23.145</c:v>
                </c:pt>
                <c:pt idx="3290">
                  <c:v>23.145-23.152</c:v>
                </c:pt>
                <c:pt idx="3291">
                  <c:v>23.152-23.159</c:v>
                </c:pt>
                <c:pt idx="3292">
                  <c:v>23.159-23.166</c:v>
                </c:pt>
                <c:pt idx="3293">
                  <c:v>23.166-23.173</c:v>
                </c:pt>
                <c:pt idx="3294">
                  <c:v>23.173-23.180</c:v>
                </c:pt>
                <c:pt idx="3295">
                  <c:v>23.180-23.187</c:v>
                </c:pt>
                <c:pt idx="3296">
                  <c:v>23.187-23.194</c:v>
                </c:pt>
                <c:pt idx="3297">
                  <c:v>23.194-23.201</c:v>
                </c:pt>
                <c:pt idx="3298">
                  <c:v>23.201-23.208</c:v>
                </c:pt>
                <c:pt idx="3299">
                  <c:v>23.208-23.215</c:v>
                </c:pt>
                <c:pt idx="3300">
                  <c:v>23.215-23.222</c:v>
                </c:pt>
                <c:pt idx="3301">
                  <c:v>23.222-23.229</c:v>
                </c:pt>
                <c:pt idx="3302">
                  <c:v>23.229-23.236</c:v>
                </c:pt>
                <c:pt idx="3303">
                  <c:v>23.236-23.243</c:v>
                </c:pt>
                <c:pt idx="3304">
                  <c:v>23.243-23.250</c:v>
                </c:pt>
                <c:pt idx="3305">
                  <c:v>23.250-23.257</c:v>
                </c:pt>
                <c:pt idx="3306">
                  <c:v>23.257-23.264</c:v>
                </c:pt>
                <c:pt idx="3307">
                  <c:v>23.264-23.272</c:v>
                </c:pt>
                <c:pt idx="3308">
                  <c:v>23.272-23.279</c:v>
                </c:pt>
                <c:pt idx="3309">
                  <c:v>23.279-23.286</c:v>
                </c:pt>
                <c:pt idx="3310">
                  <c:v>23.286-23.293</c:v>
                </c:pt>
                <c:pt idx="3311">
                  <c:v>23.293-23.300</c:v>
                </c:pt>
                <c:pt idx="3312">
                  <c:v>23.300-23.307</c:v>
                </c:pt>
                <c:pt idx="3313">
                  <c:v>23.307-23.314</c:v>
                </c:pt>
                <c:pt idx="3314">
                  <c:v>23.314-23.321</c:v>
                </c:pt>
                <c:pt idx="3315">
                  <c:v>23.321-23.328</c:v>
                </c:pt>
                <c:pt idx="3316">
                  <c:v>23.328-23.335</c:v>
                </c:pt>
                <c:pt idx="3317">
                  <c:v>23.335-23.342</c:v>
                </c:pt>
                <c:pt idx="3318">
                  <c:v>23.342-23.349</c:v>
                </c:pt>
                <c:pt idx="3319">
                  <c:v>23.349-23.356</c:v>
                </c:pt>
                <c:pt idx="3320">
                  <c:v>23.356-23.363</c:v>
                </c:pt>
                <c:pt idx="3321">
                  <c:v>23.363-23.370</c:v>
                </c:pt>
                <c:pt idx="3322">
                  <c:v>23.370-23.377</c:v>
                </c:pt>
                <c:pt idx="3323">
                  <c:v>23.377-23.384</c:v>
                </c:pt>
                <c:pt idx="3324">
                  <c:v>23.384-23.391</c:v>
                </c:pt>
                <c:pt idx="3325">
                  <c:v>23.391-23.398</c:v>
                </c:pt>
                <c:pt idx="3326">
                  <c:v>23.398-23.405</c:v>
                </c:pt>
                <c:pt idx="3327">
                  <c:v>23.405-23.412</c:v>
                </c:pt>
                <c:pt idx="3328">
                  <c:v>23.412-23.419</c:v>
                </c:pt>
                <c:pt idx="3329">
                  <c:v>23.419-23.426</c:v>
                </c:pt>
                <c:pt idx="3330">
                  <c:v>23.426-23.433</c:v>
                </c:pt>
                <c:pt idx="3331">
                  <c:v>23.433-23.440</c:v>
                </c:pt>
                <c:pt idx="3332">
                  <c:v>23.440-23.447</c:v>
                </c:pt>
                <c:pt idx="3333">
                  <c:v>23.447-23.454</c:v>
                </c:pt>
                <c:pt idx="3334">
                  <c:v>23.454-23.461</c:v>
                </c:pt>
                <c:pt idx="3335">
                  <c:v>23.461-23.468</c:v>
                </c:pt>
                <c:pt idx="3336">
                  <c:v>23.468-23.475</c:v>
                </c:pt>
                <c:pt idx="3337">
                  <c:v>23.475-23.482</c:v>
                </c:pt>
                <c:pt idx="3338">
                  <c:v>23.482-23.490</c:v>
                </c:pt>
                <c:pt idx="3339">
                  <c:v>23.490-23.497</c:v>
                </c:pt>
                <c:pt idx="3340">
                  <c:v>23.497-23.504</c:v>
                </c:pt>
                <c:pt idx="3341">
                  <c:v>23.504-23.511</c:v>
                </c:pt>
                <c:pt idx="3342">
                  <c:v>23.511-23.518</c:v>
                </c:pt>
                <c:pt idx="3343">
                  <c:v>23.518-23.525</c:v>
                </c:pt>
                <c:pt idx="3344">
                  <c:v>23.525-23.532</c:v>
                </c:pt>
                <c:pt idx="3345">
                  <c:v>23.532-23.539</c:v>
                </c:pt>
                <c:pt idx="3346">
                  <c:v>23.539-23.546</c:v>
                </c:pt>
                <c:pt idx="3347">
                  <c:v>23.546-23.553</c:v>
                </c:pt>
                <c:pt idx="3348">
                  <c:v>23.553-23.560</c:v>
                </c:pt>
                <c:pt idx="3349">
                  <c:v>23.560-23.567</c:v>
                </c:pt>
                <c:pt idx="3350">
                  <c:v>23.567-23.574</c:v>
                </c:pt>
                <c:pt idx="3351">
                  <c:v>23.574-23.581</c:v>
                </c:pt>
                <c:pt idx="3352">
                  <c:v>23.581-23.588</c:v>
                </c:pt>
                <c:pt idx="3353">
                  <c:v>23.588-23.595</c:v>
                </c:pt>
                <c:pt idx="3354">
                  <c:v>23.595-23.602</c:v>
                </c:pt>
                <c:pt idx="3355">
                  <c:v>23.602-23.609</c:v>
                </c:pt>
                <c:pt idx="3356">
                  <c:v>23.609-23.616</c:v>
                </c:pt>
                <c:pt idx="3357">
                  <c:v>23.616-23.623</c:v>
                </c:pt>
                <c:pt idx="3358">
                  <c:v>23.623-23.630</c:v>
                </c:pt>
                <c:pt idx="3359">
                  <c:v>23.630-23.637</c:v>
                </c:pt>
                <c:pt idx="3360">
                  <c:v>23.637-23.644</c:v>
                </c:pt>
                <c:pt idx="3361">
                  <c:v>23.644-23.651</c:v>
                </c:pt>
                <c:pt idx="3362">
                  <c:v>23.651-23.658</c:v>
                </c:pt>
                <c:pt idx="3363">
                  <c:v>23.658-23.665</c:v>
                </c:pt>
                <c:pt idx="3364">
                  <c:v>23.665-23.672</c:v>
                </c:pt>
                <c:pt idx="3365">
                  <c:v>23.672-23.679</c:v>
                </c:pt>
                <c:pt idx="3366">
                  <c:v>23.679-23.686</c:v>
                </c:pt>
                <c:pt idx="3367">
                  <c:v>23.686-23.693</c:v>
                </c:pt>
                <c:pt idx="3368">
                  <c:v>23.693-23.700</c:v>
                </c:pt>
                <c:pt idx="3369">
                  <c:v>23.700-23.708</c:v>
                </c:pt>
                <c:pt idx="3370">
                  <c:v>23.708-23.715</c:v>
                </c:pt>
                <c:pt idx="3371">
                  <c:v>23.715-23.722</c:v>
                </c:pt>
                <c:pt idx="3372">
                  <c:v>23.722-23.729</c:v>
                </c:pt>
                <c:pt idx="3373">
                  <c:v>23.729-23.736</c:v>
                </c:pt>
                <c:pt idx="3374">
                  <c:v>23.736-23.743</c:v>
                </c:pt>
                <c:pt idx="3375">
                  <c:v>23.743-23.750</c:v>
                </c:pt>
                <c:pt idx="3376">
                  <c:v>23.750-23.757</c:v>
                </c:pt>
                <c:pt idx="3377">
                  <c:v>23.757-23.764</c:v>
                </c:pt>
                <c:pt idx="3378">
                  <c:v>23.764-23.771</c:v>
                </c:pt>
                <c:pt idx="3379">
                  <c:v>23.771-23.778</c:v>
                </c:pt>
                <c:pt idx="3380">
                  <c:v>23.778-23.785</c:v>
                </c:pt>
                <c:pt idx="3381">
                  <c:v>23.785-23.792</c:v>
                </c:pt>
                <c:pt idx="3382">
                  <c:v>23.792-23.799</c:v>
                </c:pt>
                <c:pt idx="3383">
                  <c:v>23.799-23.806</c:v>
                </c:pt>
                <c:pt idx="3384">
                  <c:v>23.806-23.813</c:v>
                </c:pt>
                <c:pt idx="3385">
                  <c:v>23.813-23.820</c:v>
                </c:pt>
                <c:pt idx="3386">
                  <c:v>23.820-23.827</c:v>
                </c:pt>
                <c:pt idx="3387">
                  <c:v>23.827-23.834</c:v>
                </c:pt>
                <c:pt idx="3388">
                  <c:v>23.834-23.841</c:v>
                </c:pt>
                <c:pt idx="3389">
                  <c:v>23.841-23.848</c:v>
                </c:pt>
                <c:pt idx="3390">
                  <c:v>23.848-23.855</c:v>
                </c:pt>
                <c:pt idx="3391">
                  <c:v>23.855-23.862</c:v>
                </c:pt>
                <c:pt idx="3392">
                  <c:v>23.862-23.869</c:v>
                </c:pt>
                <c:pt idx="3393">
                  <c:v>23.869-23.876</c:v>
                </c:pt>
                <c:pt idx="3394">
                  <c:v>23.876-23.883</c:v>
                </c:pt>
                <c:pt idx="3395">
                  <c:v>23.883-23.890</c:v>
                </c:pt>
                <c:pt idx="3396">
                  <c:v>23.890-23.897</c:v>
                </c:pt>
                <c:pt idx="3397">
                  <c:v>23.897-23.904</c:v>
                </c:pt>
                <c:pt idx="3398">
                  <c:v>23.904-23.911</c:v>
                </c:pt>
                <c:pt idx="3399">
                  <c:v>23.911-23.918</c:v>
                </c:pt>
                <c:pt idx="3400">
                  <c:v>23.918-23.926</c:v>
                </c:pt>
                <c:pt idx="3401">
                  <c:v>23.926-23.933</c:v>
                </c:pt>
                <c:pt idx="3402">
                  <c:v>23.933-23.940</c:v>
                </c:pt>
                <c:pt idx="3403">
                  <c:v>23.940-23.947</c:v>
                </c:pt>
                <c:pt idx="3404">
                  <c:v>23.947-23.954</c:v>
                </c:pt>
                <c:pt idx="3405">
                  <c:v>23.954-23.961</c:v>
                </c:pt>
                <c:pt idx="3406">
                  <c:v>23.961-23.968</c:v>
                </c:pt>
                <c:pt idx="3407">
                  <c:v>23.968-23.975</c:v>
                </c:pt>
                <c:pt idx="3408">
                  <c:v>23.975-23.982</c:v>
                </c:pt>
                <c:pt idx="3409">
                  <c:v>23.982-23.989</c:v>
                </c:pt>
                <c:pt idx="3410">
                  <c:v>23.989-23.996</c:v>
                </c:pt>
                <c:pt idx="3411">
                  <c:v>23.996-24.003</c:v>
                </c:pt>
                <c:pt idx="3412">
                  <c:v>24.003-24.010</c:v>
                </c:pt>
                <c:pt idx="3413">
                  <c:v>24.010-24.017</c:v>
                </c:pt>
                <c:pt idx="3414">
                  <c:v>24.017-24.024</c:v>
                </c:pt>
                <c:pt idx="3415">
                  <c:v>24.024-24.031</c:v>
                </c:pt>
                <c:pt idx="3416">
                  <c:v>24.031-24.038</c:v>
                </c:pt>
                <c:pt idx="3417">
                  <c:v>24.038-24.045</c:v>
                </c:pt>
                <c:pt idx="3418">
                  <c:v>24.045-24.052</c:v>
                </c:pt>
                <c:pt idx="3419">
                  <c:v>24.052-24.059</c:v>
                </c:pt>
                <c:pt idx="3420">
                  <c:v>24.059-24.066</c:v>
                </c:pt>
                <c:pt idx="3421">
                  <c:v>24.066-24.073</c:v>
                </c:pt>
                <c:pt idx="3422">
                  <c:v>24.073-24.080</c:v>
                </c:pt>
                <c:pt idx="3423">
                  <c:v>24.080-24.087</c:v>
                </c:pt>
                <c:pt idx="3424">
                  <c:v>24.087-24.094</c:v>
                </c:pt>
                <c:pt idx="3425">
                  <c:v>24.094-24.101</c:v>
                </c:pt>
                <c:pt idx="3426">
                  <c:v>24.101-24.108</c:v>
                </c:pt>
                <c:pt idx="3427">
                  <c:v>24.108-24.115</c:v>
                </c:pt>
                <c:pt idx="3428">
                  <c:v>24.115-24.122</c:v>
                </c:pt>
                <c:pt idx="3429">
                  <c:v>24.122-24.129</c:v>
                </c:pt>
                <c:pt idx="3430">
                  <c:v>24.129-24.136</c:v>
                </c:pt>
                <c:pt idx="3431">
                  <c:v>24.136-24.144</c:v>
                </c:pt>
                <c:pt idx="3432">
                  <c:v>24.144-24.151</c:v>
                </c:pt>
                <c:pt idx="3433">
                  <c:v>24.151-24.158</c:v>
                </c:pt>
                <c:pt idx="3434">
                  <c:v>24.158-24.165</c:v>
                </c:pt>
                <c:pt idx="3435">
                  <c:v>24.165-24.172</c:v>
                </c:pt>
                <c:pt idx="3436">
                  <c:v>24.172-24.179</c:v>
                </c:pt>
                <c:pt idx="3437">
                  <c:v>24.179-24.186</c:v>
                </c:pt>
                <c:pt idx="3438">
                  <c:v>24.186-24.193</c:v>
                </c:pt>
                <c:pt idx="3439">
                  <c:v>24.193-24.200</c:v>
                </c:pt>
                <c:pt idx="3440">
                  <c:v>24.200-24.207</c:v>
                </c:pt>
                <c:pt idx="3441">
                  <c:v>24.207-24.214</c:v>
                </c:pt>
                <c:pt idx="3442">
                  <c:v>24.214-24.221</c:v>
                </c:pt>
                <c:pt idx="3443">
                  <c:v>24.221-24.228</c:v>
                </c:pt>
                <c:pt idx="3444">
                  <c:v>24.228-24.235</c:v>
                </c:pt>
                <c:pt idx="3445">
                  <c:v>24.235-24.242</c:v>
                </c:pt>
                <c:pt idx="3446">
                  <c:v>24.242-24.249</c:v>
                </c:pt>
                <c:pt idx="3447">
                  <c:v>24.249-24.256</c:v>
                </c:pt>
                <c:pt idx="3448">
                  <c:v>24.256-24.263</c:v>
                </c:pt>
                <c:pt idx="3449">
                  <c:v>24.263-24.270</c:v>
                </c:pt>
                <c:pt idx="3450">
                  <c:v>24.270-24.277</c:v>
                </c:pt>
                <c:pt idx="3451">
                  <c:v>24.277-24.284</c:v>
                </c:pt>
                <c:pt idx="3452">
                  <c:v>24.284-24.291</c:v>
                </c:pt>
                <c:pt idx="3453">
                  <c:v>24.291-24.298</c:v>
                </c:pt>
                <c:pt idx="3454">
                  <c:v>24.298-24.305</c:v>
                </c:pt>
                <c:pt idx="3455">
                  <c:v>24.305-24.312</c:v>
                </c:pt>
                <c:pt idx="3456">
                  <c:v>24.312-24.319</c:v>
                </c:pt>
                <c:pt idx="3457">
                  <c:v>24.319-24.326</c:v>
                </c:pt>
                <c:pt idx="3458">
                  <c:v>24.326-24.333</c:v>
                </c:pt>
                <c:pt idx="3459">
                  <c:v>24.333-24.340</c:v>
                </c:pt>
                <c:pt idx="3460">
                  <c:v>24.340-24.347</c:v>
                </c:pt>
                <c:pt idx="3461">
                  <c:v>24.347-24.354</c:v>
                </c:pt>
                <c:pt idx="3462">
                  <c:v>24.354-24.362</c:v>
                </c:pt>
                <c:pt idx="3463">
                  <c:v>24.362-24.369</c:v>
                </c:pt>
                <c:pt idx="3464">
                  <c:v>24.369-24.376</c:v>
                </c:pt>
                <c:pt idx="3465">
                  <c:v>24.376-24.383</c:v>
                </c:pt>
                <c:pt idx="3466">
                  <c:v>24.383-24.390</c:v>
                </c:pt>
                <c:pt idx="3467">
                  <c:v>24.390-24.397</c:v>
                </c:pt>
                <c:pt idx="3468">
                  <c:v>24.397-24.404</c:v>
                </c:pt>
                <c:pt idx="3469">
                  <c:v>24.404-24.411</c:v>
                </c:pt>
                <c:pt idx="3470">
                  <c:v>24.411-24.418</c:v>
                </c:pt>
                <c:pt idx="3471">
                  <c:v>24.418-24.425</c:v>
                </c:pt>
                <c:pt idx="3472">
                  <c:v>24.425-24.432</c:v>
                </c:pt>
                <c:pt idx="3473">
                  <c:v>24.432-24.439</c:v>
                </c:pt>
                <c:pt idx="3474">
                  <c:v>24.439-24.446</c:v>
                </c:pt>
                <c:pt idx="3475">
                  <c:v>24.446-24.453</c:v>
                </c:pt>
                <c:pt idx="3476">
                  <c:v>24.453-24.460</c:v>
                </c:pt>
                <c:pt idx="3477">
                  <c:v>24.460-24.467</c:v>
                </c:pt>
                <c:pt idx="3478">
                  <c:v>24.467-24.474</c:v>
                </c:pt>
                <c:pt idx="3479">
                  <c:v>24.474-24.481</c:v>
                </c:pt>
                <c:pt idx="3480">
                  <c:v>24.481-24.488</c:v>
                </c:pt>
                <c:pt idx="3481">
                  <c:v>24.488-24.495</c:v>
                </c:pt>
                <c:pt idx="3482">
                  <c:v>24.495-24.502</c:v>
                </c:pt>
                <c:pt idx="3483">
                  <c:v>24.502-24.509</c:v>
                </c:pt>
                <c:pt idx="3484">
                  <c:v>24.509-24.516</c:v>
                </c:pt>
                <c:pt idx="3485">
                  <c:v>24.516-24.523</c:v>
                </c:pt>
                <c:pt idx="3486">
                  <c:v>24.523-24.530</c:v>
                </c:pt>
                <c:pt idx="3487">
                  <c:v>24.530-24.537</c:v>
                </c:pt>
                <c:pt idx="3488">
                  <c:v>24.537-24.544</c:v>
                </c:pt>
                <c:pt idx="3489">
                  <c:v>24.544-24.551</c:v>
                </c:pt>
                <c:pt idx="3490">
                  <c:v>24.551-24.558</c:v>
                </c:pt>
                <c:pt idx="3491">
                  <c:v>24.558-24.565</c:v>
                </c:pt>
                <c:pt idx="3492">
                  <c:v>24.565-24.572</c:v>
                </c:pt>
                <c:pt idx="3493">
                  <c:v>24.572-24.580</c:v>
                </c:pt>
                <c:pt idx="3494">
                  <c:v>24.580-24.587</c:v>
                </c:pt>
                <c:pt idx="3495">
                  <c:v>24.587-24.594</c:v>
                </c:pt>
                <c:pt idx="3496">
                  <c:v>24.594-24.601</c:v>
                </c:pt>
                <c:pt idx="3497">
                  <c:v>24.601-24.608</c:v>
                </c:pt>
                <c:pt idx="3498">
                  <c:v>24.608-24.615</c:v>
                </c:pt>
                <c:pt idx="3499">
                  <c:v>24.615-24.622</c:v>
                </c:pt>
                <c:pt idx="3500">
                  <c:v>24.622-24.629</c:v>
                </c:pt>
                <c:pt idx="3501">
                  <c:v>24.629-24.636</c:v>
                </c:pt>
                <c:pt idx="3502">
                  <c:v>24.636-24.643</c:v>
                </c:pt>
                <c:pt idx="3503">
                  <c:v>24.643-24.650</c:v>
                </c:pt>
                <c:pt idx="3504">
                  <c:v>24.650-24.657</c:v>
                </c:pt>
                <c:pt idx="3505">
                  <c:v>24.657-24.664</c:v>
                </c:pt>
                <c:pt idx="3506">
                  <c:v>24.664-24.671</c:v>
                </c:pt>
                <c:pt idx="3507">
                  <c:v>24.671-24.678</c:v>
                </c:pt>
                <c:pt idx="3508">
                  <c:v>24.678-24.685</c:v>
                </c:pt>
                <c:pt idx="3509">
                  <c:v>24.685-24.692</c:v>
                </c:pt>
                <c:pt idx="3510">
                  <c:v>24.692-24.699</c:v>
                </c:pt>
                <c:pt idx="3511">
                  <c:v>24.699-24.706</c:v>
                </c:pt>
                <c:pt idx="3512">
                  <c:v>24.706-24.713</c:v>
                </c:pt>
                <c:pt idx="3513">
                  <c:v>24.713-24.720</c:v>
                </c:pt>
                <c:pt idx="3514">
                  <c:v>24.720-24.727</c:v>
                </c:pt>
                <c:pt idx="3515">
                  <c:v>24.727-24.734</c:v>
                </c:pt>
                <c:pt idx="3516">
                  <c:v>24.734-24.741</c:v>
                </c:pt>
                <c:pt idx="3517">
                  <c:v>24.741-24.748</c:v>
                </c:pt>
                <c:pt idx="3518">
                  <c:v>24.748-24.755</c:v>
                </c:pt>
                <c:pt idx="3519">
                  <c:v>24.755-24.762</c:v>
                </c:pt>
                <c:pt idx="3520">
                  <c:v>24.762-24.769</c:v>
                </c:pt>
                <c:pt idx="3521">
                  <c:v>24.769-24.776</c:v>
                </c:pt>
                <c:pt idx="3522">
                  <c:v>24.776-24.783</c:v>
                </c:pt>
                <c:pt idx="3523">
                  <c:v>24.783-24.790</c:v>
                </c:pt>
                <c:pt idx="3524">
                  <c:v>24.790-24.798</c:v>
                </c:pt>
                <c:pt idx="3525">
                  <c:v>24.798-24.805</c:v>
                </c:pt>
                <c:pt idx="3526">
                  <c:v>24.805-24.812</c:v>
                </c:pt>
                <c:pt idx="3527">
                  <c:v>24.812-24.819</c:v>
                </c:pt>
                <c:pt idx="3528">
                  <c:v>24.819-24.826</c:v>
                </c:pt>
                <c:pt idx="3529">
                  <c:v>24.826-24.833</c:v>
                </c:pt>
                <c:pt idx="3530">
                  <c:v>24.833-24.840</c:v>
                </c:pt>
                <c:pt idx="3531">
                  <c:v>24.840-24.847</c:v>
                </c:pt>
                <c:pt idx="3532">
                  <c:v>24.847-24.854</c:v>
                </c:pt>
                <c:pt idx="3533">
                  <c:v>24.854-24.861</c:v>
                </c:pt>
                <c:pt idx="3534">
                  <c:v>24.861-24.868</c:v>
                </c:pt>
                <c:pt idx="3535">
                  <c:v>24.868-24.875</c:v>
                </c:pt>
                <c:pt idx="3536">
                  <c:v>24.875-24.882</c:v>
                </c:pt>
                <c:pt idx="3537">
                  <c:v>24.882-24.889</c:v>
                </c:pt>
                <c:pt idx="3538">
                  <c:v>24.889-24.896</c:v>
                </c:pt>
                <c:pt idx="3539">
                  <c:v>24.896-24.903</c:v>
                </c:pt>
                <c:pt idx="3540">
                  <c:v>24.903-24.910</c:v>
                </c:pt>
                <c:pt idx="3541">
                  <c:v>24.910-24.917</c:v>
                </c:pt>
                <c:pt idx="3542">
                  <c:v>24.917-24.924</c:v>
                </c:pt>
                <c:pt idx="3543">
                  <c:v>24.924-24.931</c:v>
                </c:pt>
                <c:pt idx="3544">
                  <c:v>24.931-24.938</c:v>
                </c:pt>
                <c:pt idx="3545">
                  <c:v>24.938-24.945</c:v>
                </c:pt>
                <c:pt idx="3546">
                  <c:v>24.945-24.952</c:v>
                </c:pt>
                <c:pt idx="3547">
                  <c:v>24.952-24.959</c:v>
                </c:pt>
                <c:pt idx="3548">
                  <c:v>24.959-24.966</c:v>
                </c:pt>
                <c:pt idx="3549">
                  <c:v>24.966-24.973</c:v>
                </c:pt>
                <c:pt idx="3550">
                  <c:v>24.973-24.980</c:v>
                </c:pt>
                <c:pt idx="3551">
                  <c:v>24.980-24.987</c:v>
                </c:pt>
                <c:pt idx="3552">
                  <c:v>24.987-24.994</c:v>
                </c:pt>
                <c:pt idx="3553">
                  <c:v>24.994-25.001</c:v>
                </c:pt>
                <c:pt idx="3554">
                  <c:v>25.001-25.008</c:v>
                </c:pt>
                <c:pt idx="3555">
                  <c:v>25.008-25.016</c:v>
                </c:pt>
                <c:pt idx="3556">
                  <c:v>25.016-25.023</c:v>
                </c:pt>
                <c:pt idx="3557">
                  <c:v>25.023-25.030</c:v>
                </c:pt>
                <c:pt idx="3558">
                  <c:v>25.030-25.037</c:v>
                </c:pt>
                <c:pt idx="3559">
                  <c:v>25.037-25.044</c:v>
                </c:pt>
                <c:pt idx="3560">
                  <c:v>25.044-25.051</c:v>
                </c:pt>
                <c:pt idx="3561">
                  <c:v>25.051-25.058</c:v>
                </c:pt>
                <c:pt idx="3562">
                  <c:v>25.058-25.065</c:v>
                </c:pt>
                <c:pt idx="3563">
                  <c:v>25.065-25.072</c:v>
                </c:pt>
                <c:pt idx="3564">
                  <c:v>25.072-25.079</c:v>
                </c:pt>
                <c:pt idx="3565">
                  <c:v>25.079-25.086</c:v>
                </c:pt>
                <c:pt idx="3566">
                  <c:v>25.086-25.093</c:v>
                </c:pt>
                <c:pt idx="3567">
                  <c:v>25.093-25.100</c:v>
                </c:pt>
                <c:pt idx="3568">
                  <c:v>25.100-25.107</c:v>
                </c:pt>
                <c:pt idx="3569">
                  <c:v>25.107-25.114</c:v>
                </c:pt>
                <c:pt idx="3570">
                  <c:v>25.114-25.121</c:v>
                </c:pt>
                <c:pt idx="3571">
                  <c:v>25.121-25.128</c:v>
                </c:pt>
                <c:pt idx="3572">
                  <c:v>25.128-25.135</c:v>
                </c:pt>
                <c:pt idx="3573">
                  <c:v>25.135-25.142</c:v>
                </c:pt>
                <c:pt idx="3574">
                  <c:v>25.142-25.149</c:v>
                </c:pt>
                <c:pt idx="3575">
                  <c:v>25.149-25.156</c:v>
                </c:pt>
                <c:pt idx="3576">
                  <c:v>25.156-25.163</c:v>
                </c:pt>
                <c:pt idx="3577">
                  <c:v>25.163-25.170</c:v>
                </c:pt>
                <c:pt idx="3578">
                  <c:v>25.170-25.177</c:v>
                </c:pt>
                <c:pt idx="3579">
                  <c:v>25.177-25.184</c:v>
                </c:pt>
                <c:pt idx="3580">
                  <c:v>25.184-25.191</c:v>
                </c:pt>
                <c:pt idx="3581">
                  <c:v>25.191-25.198</c:v>
                </c:pt>
                <c:pt idx="3582">
                  <c:v>25.198-25.205</c:v>
                </c:pt>
                <c:pt idx="3583">
                  <c:v>25.205-25.212</c:v>
                </c:pt>
                <c:pt idx="3584">
                  <c:v>25.212-25.219</c:v>
                </c:pt>
                <c:pt idx="3585">
                  <c:v>25.219-25.226</c:v>
                </c:pt>
                <c:pt idx="3586">
                  <c:v>25.226-25.234</c:v>
                </c:pt>
                <c:pt idx="3587">
                  <c:v>25.234-25.241</c:v>
                </c:pt>
                <c:pt idx="3588">
                  <c:v>25.241-25.248</c:v>
                </c:pt>
                <c:pt idx="3589">
                  <c:v>25.248-25.255</c:v>
                </c:pt>
                <c:pt idx="3590">
                  <c:v>25.255-25.262</c:v>
                </c:pt>
                <c:pt idx="3591">
                  <c:v>25.262-25.269</c:v>
                </c:pt>
                <c:pt idx="3592">
                  <c:v>25.269-25.276</c:v>
                </c:pt>
                <c:pt idx="3593">
                  <c:v>25.276-25.283</c:v>
                </c:pt>
                <c:pt idx="3594">
                  <c:v>25.283-25.290</c:v>
                </c:pt>
                <c:pt idx="3595">
                  <c:v>25.290-25.297</c:v>
                </c:pt>
                <c:pt idx="3596">
                  <c:v>25.297-25.304</c:v>
                </c:pt>
                <c:pt idx="3597">
                  <c:v>25.304-25.311</c:v>
                </c:pt>
                <c:pt idx="3598">
                  <c:v>25.311-25.318</c:v>
                </c:pt>
                <c:pt idx="3599">
                  <c:v>25.318-25.325</c:v>
                </c:pt>
                <c:pt idx="3600">
                  <c:v>25.325-25.332</c:v>
                </c:pt>
                <c:pt idx="3601">
                  <c:v>25.332-25.339</c:v>
                </c:pt>
                <c:pt idx="3602">
                  <c:v>25.339-25.346</c:v>
                </c:pt>
                <c:pt idx="3603">
                  <c:v>25.346-25.353</c:v>
                </c:pt>
                <c:pt idx="3604">
                  <c:v>25.353-25.360</c:v>
                </c:pt>
                <c:pt idx="3605">
                  <c:v>25.360-25.367</c:v>
                </c:pt>
                <c:pt idx="3606">
                  <c:v>25.367-25.374</c:v>
                </c:pt>
                <c:pt idx="3607">
                  <c:v>25.374-25.381</c:v>
                </c:pt>
                <c:pt idx="3608">
                  <c:v>25.381-25.388</c:v>
                </c:pt>
                <c:pt idx="3609">
                  <c:v>25.388-25.395</c:v>
                </c:pt>
                <c:pt idx="3610">
                  <c:v>25.395-25.402</c:v>
                </c:pt>
                <c:pt idx="3611">
                  <c:v>25.402-25.409</c:v>
                </c:pt>
                <c:pt idx="3612">
                  <c:v>25.409-25.416</c:v>
                </c:pt>
                <c:pt idx="3613">
                  <c:v>25.416-25.423</c:v>
                </c:pt>
                <c:pt idx="3614">
                  <c:v>25.423-25.430</c:v>
                </c:pt>
                <c:pt idx="3615">
                  <c:v>25.430-25.437</c:v>
                </c:pt>
                <c:pt idx="3616">
                  <c:v>25.437-25.444</c:v>
                </c:pt>
                <c:pt idx="3617">
                  <c:v>25.444-25.451</c:v>
                </c:pt>
                <c:pt idx="3618">
                  <c:v>25.451-25.459</c:v>
                </c:pt>
                <c:pt idx="3619">
                  <c:v>25.459-25.466</c:v>
                </c:pt>
                <c:pt idx="3620">
                  <c:v>25.466-25.473</c:v>
                </c:pt>
                <c:pt idx="3621">
                  <c:v>25.473-25.480</c:v>
                </c:pt>
                <c:pt idx="3622">
                  <c:v>25.480-25.487</c:v>
                </c:pt>
                <c:pt idx="3623">
                  <c:v>25.487-25.494</c:v>
                </c:pt>
                <c:pt idx="3624">
                  <c:v>25.494-25.501</c:v>
                </c:pt>
                <c:pt idx="3625">
                  <c:v>25.501-25.508</c:v>
                </c:pt>
                <c:pt idx="3626">
                  <c:v>25.508-25.515</c:v>
                </c:pt>
                <c:pt idx="3627">
                  <c:v>25.515-25.522</c:v>
                </c:pt>
                <c:pt idx="3628">
                  <c:v>25.522-25.529</c:v>
                </c:pt>
                <c:pt idx="3629">
                  <c:v>25.529-25.536</c:v>
                </c:pt>
                <c:pt idx="3630">
                  <c:v>25.536-25.543</c:v>
                </c:pt>
                <c:pt idx="3631">
                  <c:v>25.543-25.550</c:v>
                </c:pt>
                <c:pt idx="3632">
                  <c:v>25.550-25.557</c:v>
                </c:pt>
                <c:pt idx="3633">
                  <c:v>25.557-25.564</c:v>
                </c:pt>
                <c:pt idx="3634">
                  <c:v>25.564-25.571</c:v>
                </c:pt>
                <c:pt idx="3635">
                  <c:v>25.571-25.578</c:v>
                </c:pt>
                <c:pt idx="3636">
                  <c:v>25.578-25.585</c:v>
                </c:pt>
                <c:pt idx="3637">
                  <c:v>25.585-25.592</c:v>
                </c:pt>
                <c:pt idx="3638">
                  <c:v>25.592-25.599</c:v>
                </c:pt>
                <c:pt idx="3639">
                  <c:v>25.599-25.606</c:v>
                </c:pt>
                <c:pt idx="3640">
                  <c:v>25.606-25.613</c:v>
                </c:pt>
                <c:pt idx="3641">
                  <c:v>25.613-25.620</c:v>
                </c:pt>
                <c:pt idx="3642">
                  <c:v>25.620-25.627</c:v>
                </c:pt>
                <c:pt idx="3643">
                  <c:v>25.627-25.634</c:v>
                </c:pt>
                <c:pt idx="3644">
                  <c:v>25.634-25.641</c:v>
                </c:pt>
                <c:pt idx="3645">
                  <c:v>25.641-25.648</c:v>
                </c:pt>
                <c:pt idx="3646">
                  <c:v>25.648-25.655</c:v>
                </c:pt>
                <c:pt idx="3647">
                  <c:v>25.655-25.662</c:v>
                </c:pt>
                <c:pt idx="3648">
                  <c:v>25.662-25.669</c:v>
                </c:pt>
                <c:pt idx="3649">
                  <c:v>25.669-25.677</c:v>
                </c:pt>
                <c:pt idx="3650">
                  <c:v>25.677-25.684</c:v>
                </c:pt>
                <c:pt idx="3651">
                  <c:v>25.684-25.691</c:v>
                </c:pt>
                <c:pt idx="3652">
                  <c:v>25.691-25.698</c:v>
                </c:pt>
                <c:pt idx="3653">
                  <c:v>25.698-25.705</c:v>
                </c:pt>
                <c:pt idx="3654">
                  <c:v>25.705-25.712</c:v>
                </c:pt>
                <c:pt idx="3655">
                  <c:v>25.712-25.719</c:v>
                </c:pt>
                <c:pt idx="3656">
                  <c:v>25.719-25.726</c:v>
                </c:pt>
                <c:pt idx="3657">
                  <c:v>25.726-25.733</c:v>
                </c:pt>
                <c:pt idx="3658">
                  <c:v>25.733-25.740</c:v>
                </c:pt>
                <c:pt idx="3659">
                  <c:v>25.740-25.747</c:v>
                </c:pt>
                <c:pt idx="3660">
                  <c:v>25.747-25.754</c:v>
                </c:pt>
                <c:pt idx="3661">
                  <c:v>25.754-25.761</c:v>
                </c:pt>
                <c:pt idx="3662">
                  <c:v>25.761-25.768</c:v>
                </c:pt>
                <c:pt idx="3663">
                  <c:v>25.768-25.775</c:v>
                </c:pt>
                <c:pt idx="3664">
                  <c:v>25.775-25.782</c:v>
                </c:pt>
                <c:pt idx="3665">
                  <c:v>25.782-25.789</c:v>
                </c:pt>
                <c:pt idx="3666">
                  <c:v>25.789-25.796</c:v>
                </c:pt>
                <c:pt idx="3667">
                  <c:v>25.796-25.803</c:v>
                </c:pt>
                <c:pt idx="3668">
                  <c:v>25.803-25.810</c:v>
                </c:pt>
                <c:pt idx="3669">
                  <c:v>25.810-25.817</c:v>
                </c:pt>
                <c:pt idx="3670">
                  <c:v>25.817-25.824</c:v>
                </c:pt>
                <c:pt idx="3671">
                  <c:v>25.824-25.831</c:v>
                </c:pt>
                <c:pt idx="3672">
                  <c:v>25.831-25.838</c:v>
                </c:pt>
                <c:pt idx="3673">
                  <c:v>25.838-25.845</c:v>
                </c:pt>
                <c:pt idx="3674">
                  <c:v>25.845-25.852</c:v>
                </c:pt>
                <c:pt idx="3675">
                  <c:v>25.852-25.859</c:v>
                </c:pt>
                <c:pt idx="3676">
                  <c:v>25.859-25.866</c:v>
                </c:pt>
                <c:pt idx="3677">
                  <c:v>25.866-25.873</c:v>
                </c:pt>
                <c:pt idx="3678">
                  <c:v>25.873-25.880</c:v>
                </c:pt>
                <c:pt idx="3679">
                  <c:v>25.880-25.887</c:v>
                </c:pt>
                <c:pt idx="3680">
                  <c:v>25.887-25.895</c:v>
                </c:pt>
                <c:pt idx="3681">
                  <c:v>25.895-25.902</c:v>
                </c:pt>
                <c:pt idx="3682">
                  <c:v>25.902-25.909</c:v>
                </c:pt>
                <c:pt idx="3683">
                  <c:v>25.909-25.916</c:v>
                </c:pt>
                <c:pt idx="3684">
                  <c:v>25.916-25.923</c:v>
                </c:pt>
                <c:pt idx="3685">
                  <c:v>25.923-25.930</c:v>
                </c:pt>
                <c:pt idx="3686">
                  <c:v>25.930-25.937</c:v>
                </c:pt>
                <c:pt idx="3687">
                  <c:v>25.937-25.944</c:v>
                </c:pt>
                <c:pt idx="3688">
                  <c:v>25.944-25.951</c:v>
                </c:pt>
                <c:pt idx="3689">
                  <c:v>25.951-25.958</c:v>
                </c:pt>
                <c:pt idx="3690">
                  <c:v>25.958-25.965</c:v>
                </c:pt>
                <c:pt idx="3691">
                  <c:v>25.965-25.972</c:v>
                </c:pt>
                <c:pt idx="3692">
                  <c:v>25.972-25.979</c:v>
                </c:pt>
                <c:pt idx="3693">
                  <c:v>25.979-25.986</c:v>
                </c:pt>
                <c:pt idx="3694">
                  <c:v>25.986-25.993</c:v>
                </c:pt>
                <c:pt idx="3695">
                  <c:v>25.993-26.000</c:v>
                </c:pt>
                <c:pt idx="3696">
                  <c:v>26.000-26.007</c:v>
                </c:pt>
                <c:pt idx="3697">
                  <c:v>26.007-26.014</c:v>
                </c:pt>
                <c:pt idx="3698">
                  <c:v>26.014-26.021</c:v>
                </c:pt>
                <c:pt idx="3699">
                  <c:v>26.021-26.028</c:v>
                </c:pt>
                <c:pt idx="3700">
                  <c:v>26.028-26.035</c:v>
                </c:pt>
                <c:pt idx="3701">
                  <c:v>26.035-26.042</c:v>
                </c:pt>
                <c:pt idx="3702">
                  <c:v>26.042-26.049</c:v>
                </c:pt>
                <c:pt idx="3703">
                  <c:v>26.049-26.056</c:v>
                </c:pt>
                <c:pt idx="3704">
                  <c:v>26.056-26.063</c:v>
                </c:pt>
                <c:pt idx="3705">
                  <c:v>26.063-26.070</c:v>
                </c:pt>
                <c:pt idx="3706">
                  <c:v>26.070-26.077</c:v>
                </c:pt>
                <c:pt idx="3707">
                  <c:v>26.077-26.084</c:v>
                </c:pt>
                <c:pt idx="3708">
                  <c:v>26.084-26.091</c:v>
                </c:pt>
                <c:pt idx="3709">
                  <c:v>26.091-26.098</c:v>
                </c:pt>
                <c:pt idx="3710">
                  <c:v>26.098-26.105</c:v>
                </c:pt>
                <c:pt idx="3711">
                  <c:v>26.105-26.113</c:v>
                </c:pt>
                <c:pt idx="3712">
                  <c:v>26.113-26.120</c:v>
                </c:pt>
                <c:pt idx="3713">
                  <c:v>26.120-26.127</c:v>
                </c:pt>
                <c:pt idx="3714">
                  <c:v>26.127-26.134</c:v>
                </c:pt>
                <c:pt idx="3715">
                  <c:v>26.134-26.141</c:v>
                </c:pt>
                <c:pt idx="3716">
                  <c:v>26.141-26.148</c:v>
                </c:pt>
                <c:pt idx="3717">
                  <c:v>26.148-26.155</c:v>
                </c:pt>
                <c:pt idx="3718">
                  <c:v>26.155-26.162</c:v>
                </c:pt>
                <c:pt idx="3719">
                  <c:v>26.162-26.169</c:v>
                </c:pt>
                <c:pt idx="3720">
                  <c:v>26.169-26.176</c:v>
                </c:pt>
                <c:pt idx="3721">
                  <c:v>26.176-26.183</c:v>
                </c:pt>
                <c:pt idx="3722">
                  <c:v>26.183-26.190</c:v>
                </c:pt>
                <c:pt idx="3723">
                  <c:v>26.190-26.197</c:v>
                </c:pt>
                <c:pt idx="3724">
                  <c:v>26.197-26.204</c:v>
                </c:pt>
                <c:pt idx="3725">
                  <c:v>26.204-26.211</c:v>
                </c:pt>
                <c:pt idx="3726">
                  <c:v>26.211-26.218</c:v>
                </c:pt>
                <c:pt idx="3727">
                  <c:v>26.218-26.225</c:v>
                </c:pt>
                <c:pt idx="3728">
                  <c:v>26.225-26.232</c:v>
                </c:pt>
                <c:pt idx="3729">
                  <c:v>26.232-26.239</c:v>
                </c:pt>
                <c:pt idx="3730">
                  <c:v>26.239-26.246</c:v>
                </c:pt>
                <c:pt idx="3731">
                  <c:v>26.246-26.253</c:v>
                </c:pt>
                <c:pt idx="3732">
                  <c:v>26.253-26.260</c:v>
                </c:pt>
                <c:pt idx="3733">
                  <c:v>26.260-26.267</c:v>
                </c:pt>
                <c:pt idx="3734">
                  <c:v>26.267-26.274</c:v>
                </c:pt>
                <c:pt idx="3735">
                  <c:v>26.274-26.281</c:v>
                </c:pt>
                <c:pt idx="3736">
                  <c:v>26.281-26.288</c:v>
                </c:pt>
                <c:pt idx="3737">
                  <c:v>26.288-26.295</c:v>
                </c:pt>
                <c:pt idx="3738">
                  <c:v>26.295-26.302</c:v>
                </c:pt>
                <c:pt idx="3739">
                  <c:v>26.302-26.309</c:v>
                </c:pt>
                <c:pt idx="3740">
                  <c:v>26.309-26.316</c:v>
                </c:pt>
                <c:pt idx="3741">
                  <c:v>26.316-26.323</c:v>
                </c:pt>
                <c:pt idx="3742">
                  <c:v>26.323-26.331</c:v>
                </c:pt>
                <c:pt idx="3743">
                  <c:v>26.331-26.338</c:v>
                </c:pt>
                <c:pt idx="3744">
                  <c:v>26.338-26.345</c:v>
                </c:pt>
                <c:pt idx="3745">
                  <c:v>26.345-26.352</c:v>
                </c:pt>
                <c:pt idx="3746">
                  <c:v>26.352-26.359</c:v>
                </c:pt>
                <c:pt idx="3747">
                  <c:v>26.359-26.366</c:v>
                </c:pt>
                <c:pt idx="3748">
                  <c:v>26.366-26.373</c:v>
                </c:pt>
                <c:pt idx="3749">
                  <c:v>26.373-26.380</c:v>
                </c:pt>
                <c:pt idx="3750">
                  <c:v>26.380-26.387</c:v>
                </c:pt>
                <c:pt idx="3751">
                  <c:v>26.387-26.394</c:v>
                </c:pt>
                <c:pt idx="3752">
                  <c:v>26.394-26.401</c:v>
                </c:pt>
                <c:pt idx="3753">
                  <c:v>26.401-26.408</c:v>
                </c:pt>
                <c:pt idx="3754">
                  <c:v>26.408-26.415</c:v>
                </c:pt>
                <c:pt idx="3755">
                  <c:v>26.415-26.422</c:v>
                </c:pt>
                <c:pt idx="3756">
                  <c:v>26.422-26.429</c:v>
                </c:pt>
                <c:pt idx="3757">
                  <c:v>26.429-26.436</c:v>
                </c:pt>
                <c:pt idx="3758">
                  <c:v>26.436-26.443</c:v>
                </c:pt>
                <c:pt idx="3759">
                  <c:v>26.443-26.450</c:v>
                </c:pt>
                <c:pt idx="3760">
                  <c:v>26.450-26.457</c:v>
                </c:pt>
                <c:pt idx="3761">
                  <c:v>26.457-26.464</c:v>
                </c:pt>
                <c:pt idx="3762">
                  <c:v>26.464-26.471</c:v>
                </c:pt>
                <c:pt idx="3763">
                  <c:v>26.471-26.478</c:v>
                </c:pt>
                <c:pt idx="3764">
                  <c:v>26.478-26.485</c:v>
                </c:pt>
                <c:pt idx="3765">
                  <c:v>26.485-26.492</c:v>
                </c:pt>
                <c:pt idx="3766">
                  <c:v>26.492-26.499</c:v>
                </c:pt>
                <c:pt idx="3767">
                  <c:v>26.499-26.506</c:v>
                </c:pt>
                <c:pt idx="3768">
                  <c:v>26.506-26.513</c:v>
                </c:pt>
                <c:pt idx="3769">
                  <c:v>26.513-26.520</c:v>
                </c:pt>
                <c:pt idx="3770">
                  <c:v>26.520-26.527</c:v>
                </c:pt>
                <c:pt idx="3771">
                  <c:v>26.527-26.534</c:v>
                </c:pt>
                <c:pt idx="3772">
                  <c:v>26.534-26.541</c:v>
                </c:pt>
                <c:pt idx="3773">
                  <c:v>26.541-26.549</c:v>
                </c:pt>
                <c:pt idx="3774">
                  <c:v>26.549-26.556</c:v>
                </c:pt>
                <c:pt idx="3775">
                  <c:v>26.556-26.563</c:v>
                </c:pt>
                <c:pt idx="3776">
                  <c:v>26.563-26.570</c:v>
                </c:pt>
                <c:pt idx="3777">
                  <c:v>26.570-26.577</c:v>
                </c:pt>
                <c:pt idx="3778">
                  <c:v>26.577-26.584</c:v>
                </c:pt>
                <c:pt idx="3779">
                  <c:v>26.584-26.591</c:v>
                </c:pt>
                <c:pt idx="3780">
                  <c:v>26.591-26.598</c:v>
                </c:pt>
                <c:pt idx="3781">
                  <c:v>26.598-26.605</c:v>
                </c:pt>
                <c:pt idx="3782">
                  <c:v>26.605-26.612</c:v>
                </c:pt>
                <c:pt idx="3783">
                  <c:v>26.612-26.619</c:v>
                </c:pt>
                <c:pt idx="3784">
                  <c:v>26.619-26.626</c:v>
                </c:pt>
                <c:pt idx="3785">
                  <c:v>26.626-26.633</c:v>
                </c:pt>
                <c:pt idx="3786">
                  <c:v>26.633-26.640</c:v>
                </c:pt>
                <c:pt idx="3787">
                  <c:v>26.640-26.647</c:v>
                </c:pt>
                <c:pt idx="3788">
                  <c:v>26.647-26.654</c:v>
                </c:pt>
                <c:pt idx="3789">
                  <c:v>26.654-26.661</c:v>
                </c:pt>
                <c:pt idx="3790">
                  <c:v>26.661-26.668</c:v>
                </c:pt>
                <c:pt idx="3791">
                  <c:v>26.668-26.675</c:v>
                </c:pt>
                <c:pt idx="3792">
                  <c:v>26.675-26.682</c:v>
                </c:pt>
                <c:pt idx="3793">
                  <c:v>26.682-26.689</c:v>
                </c:pt>
                <c:pt idx="3794">
                  <c:v>26.689-26.696</c:v>
                </c:pt>
                <c:pt idx="3795">
                  <c:v>26.696-26.703</c:v>
                </c:pt>
                <c:pt idx="3796">
                  <c:v>26.703-26.710</c:v>
                </c:pt>
                <c:pt idx="3797">
                  <c:v>26.710-26.717</c:v>
                </c:pt>
                <c:pt idx="3798">
                  <c:v>26.717-26.724</c:v>
                </c:pt>
                <c:pt idx="3799">
                  <c:v>26.724-26.731</c:v>
                </c:pt>
                <c:pt idx="3800">
                  <c:v>26.731-26.738</c:v>
                </c:pt>
                <c:pt idx="3801">
                  <c:v>26.738-26.745</c:v>
                </c:pt>
                <c:pt idx="3802">
                  <c:v>26.745-26.752</c:v>
                </c:pt>
                <c:pt idx="3803">
                  <c:v>26.752-26.759</c:v>
                </c:pt>
                <c:pt idx="3804">
                  <c:v>26.759-26.767</c:v>
                </c:pt>
                <c:pt idx="3805">
                  <c:v>26.767-26.774</c:v>
                </c:pt>
                <c:pt idx="3806">
                  <c:v>26.774-26.781</c:v>
                </c:pt>
                <c:pt idx="3807">
                  <c:v>26.781-26.788</c:v>
                </c:pt>
                <c:pt idx="3808">
                  <c:v>26.788-26.795</c:v>
                </c:pt>
                <c:pt idx="3809">
                  <c:v>26.795-26.802</c:v>
                </c:pt>
                <c:pt idx="3810">
                  <c:v>26.802-26.809</c:v>
                </c:pt>
                <c:pt idx="3811">
                  <c:v>26.809-26.816</c:v>
                </c:pt>
                <c:pt idx="3812">
                  <c:v>26.816-26.823</c:v>
                </c:pt>
                <c:pt idx="3813">
                  <c:v>26.823-26.830</c:v>
                </c:pt>
                <c:pt idx="3814">
                  <c:v>26.830-26.837</c:v>
                </c:pt>
                <c:pt idx="3815">
                  <c:v>26.837-26.844</c:v>
                </c:pt>
                <c:pt idx="3816">
                  <c:v>26.844-26.851</c:v>
                </c:pt>
                <c:pt idx="3817">
                  <c:v>26.851-26.858</c:v>
                </c:pt>
                <c:pt idx="3818">
                  <c:v>26.858-26.865</c:v>
                </c:pt>
                <c:pt idx="3819">
                  <c:v>26.865-26.872</c:v>
                </c:pt>
                <c:pt idx="3820">
                  <c:v>26.872-26.879</c:v>
                </c:pt>
                <c:pt idx="3821">
                  <c:v>26.879-26.886</c:v>
                </c:pt>
                <c:pt idx="3822">
                  <c:v>26.886-26.893</c:v>
                </c:pt>
                <c:pt idx="3823">
                  <c:v>26.893-26.900</c:v>
                </c:pt>
                <c:pt idx="3824">
                  <c:v>26.900-26.907</c:v>
                </c:pt>
                <c:pt idx="3825">
                  <c:v>26.907-26.914</c:v>
                </c:pt>
                <c:pt idx="3826">
                  <c:v>26.914-26.921</c:v>
                </c:pt>
                <c:pt idx="3827">
                  <c:v>26.921-26.928</c:v>
                </c:pt>
                <c:pt idx="3828">
                  <c:v>26.928-26.935</c:v>
                </c:pt>
                <c:pt idx="3829">
                  <c:v>26.935-26.942</c:v>
                </c:pt>
                <c:pt idx="3830">
                  <c:v>26.942-26.949</c:v>
                </c:pt>
                <c:pt idx="3831">
                  <c:v>26.949-26.956</c:v>
                </c:pt>
                <c:pt idx="3832">
                  <c:v>26.956-26.963</c:v>
                </c:pt>
                <c:pt idx="3833">
                  <c:v>26.963-26.970</c:v>
                </c:pt>
                <c:pt idx="3834">
                  <c:v>26.970-26.977</c:v>
                </c:pt>
                <c:pt idx="3835">
                  <c:v>26.977-26.985</c:v>
                </c:pt>
                <c:pt idx="3836">
                  <c:v>26.985-26.992</c:v>
                </c:pt>
                <c:pt idx="3837">
                  <c:v>26.992-26.999</c:v>
                </c:pt>
                <c:pt idx="3838">
                  <c:v>26.999-27.006</c:v>
                </c:pt>
                <c:pt idx="3839">
                  <c:v>27.006-27.013</c:v>
                </c:pt>
                <c:pt idx="3840">
                  <c:v>27.013-27.020</c:v>
                </c:pt>
                <c:pt idx="3841">
                  <c:v>27.020-27.027</c:v>
                </c:pt>
                <c:pt idx="3842">
                  <c:v>27.027-27.034</c:v>
                </c:pt>
                <c:pt idx="3843">
                  <c:v>27.034-27.041</c:v>
                </c:pt>
                <c:pt idx="3844">
                  <c:v>27.041-27.048</c:v>
                </c:pt>
                <c:pt idx="3845">
                  <c:v>27.048-27.055</c:v>
                </c:pt>
                <c:pt idx="3846">
                  <c:v>27.055-27.062</c:v>
                </c:pt>
                <c:pt idx="3847">
                  <c:v>27.062-27.069</c:v>
                </c:pt>
                <c:pt idx="3848">
                  <c:v>27.069-27.076</c:v>
                </c:pt>
                <c:pt idx="3849">
                  <c:v>27.076-27.083</c:v>
                </c:pt>
                <c:pt idx="3850">
                  <c:v>27.083-27.090</c:v>
                </c:pt>
                <c:pt idx="3851">
                  <c:v>27.090-27.097</c:v>
                </c:pt>
                <c:pt idx="3852">
                  <c:v>27.097-27.104</c:v>
                </c:pt>
                <c:pt idx="3853">
                  <c:v>27.104-27.111</c:v>
                </c:pt>
                <c:pt idx="3854">
                  <c:v>27.111-27.118</c:v>
                </c:pt>
                <c:pt idx="3855">
                  <c:v>27.118-27.125</c:v>
                </c:pt>
                <c:pt idx="3856">
                  <c:v>27.125-27.132</c:v>
                </c:pt>
                <c:pt idx="3857">
                  <c:v>27.132-27.139</c:v>
                </c:pt>
                <c:pt idx="3858">
                  <c:v>27.139-27.146</c:v>
                </c:pt>
                <c:pt idx="3859">
                  <c:v>27.146-27.153</c:v>
                </c:pt>
                <c:pt idx="3860">
                  <c:v>27.153-27.160</c:v>
                </c:pt>
                <c:pt idx="3861">
                  <c:v>27.160-27.167</c:v>
                </c:pt>
                <c:pt idx="3862">
                  <c:v>27.167-27.174</c:v>
                </c:pt>
                <c:pt idx="3863">
                  <c:v>27.174-27.181</c:v>
                </c:pt>
                <c:pt idx="3864">
                  <c:v>27.181-27.188</c:v>
                </c:pt>
                <c:pt idx="3865">
                  <c:v>27.188-27.195</c:v>
                </c:pt>
                <c:pt idx="3866">
                  <c:v>27.195-27.203</c:v>
                </c:pt>
                <c:pt idx="3867">
                  <c:v>27.203-27.210</c:v>
                </c:pt>
                <c:pt idx="3868">
                  <c:v>27.210-27.217</c:v>
                </c:pt>
                <c:pt idx="3869">
                  <c:v>27.217-27.224</c:v>
                </c:pt>
                <c:pt idx="3870">
                  <c:v>27.224-27.231</c:v>
                </c:pt>
                <c:pt idx="3871">
                  <c:v>27.231-27.238</c:v>
                </c:pt>
                <c:pt idx="3872">
                  <c:v>27.238-27.245</c:v>
                </c:pt>
                <c:pt idx="3873">
                  <c:v>27.245-27.252</c:v>
                </c:pt>
                <c:pt idx="3874">
                  <c:v>27.252-27.259</c:v>
                </c:pt>
                <c:pt idx="3875">
                  <c:v>27.259-27.266</c:v>
                </c:pt>
                <c:pt idx="3876">
                  <c:v>27.266-27.273</c:v>
                </c:pt>
                <c:pt idx="3877">
                  <c:v>27.273-27.280</c:v>
                </c:pt>
                <c:pt idx="3878">
                  <c:v>27.280-27.287</c:v>
                </c:pt>
                <c:pt idx="3879">
                  <c:v>27.287-27.294</c:v>
                </c:pt>
                <c:pt idx="3880">
                  <c:v>27.294-27.301</c:v>
                </c:pt>
                <c:pt idx="3881">
                  <c:v>27.301-27.308</c:v>
                </c:pt>
                <c:pt idx="3882">
                  <c:v>27.308-27.315</c:v>
                </c:pt>
                <c:pt idx="3883">
                  <c:v>27.315-27.322</c:v>
                </c:pt>
                <c:pt idx="3884">
                  <c:v>27.322-27.329</c:v>
                </c:pt>
                <c:pt idx="3885">
                  <c:v>27.329-27.336</c:v>
                </c:pt>
                <c:pt idx="3886">
                  <c:v>27.336-27.343</c:v>
                </c:pt>
                <c:pt idx="3887">
                  <c:v>27.343-27.350</c:v>
                </c:pt>
                <c:pt idx="3888">
                  <c:v>27.350-27.357</c:v>
                </c:pt>
                <c:pt idx="3889">
                  <c:v>27.357-27.364</c:v>
                </c:pt>
                <c:pt idx="3890">
                  <c:v>27.364-27.371</c:v>
                </c:pt>
                <c:pt idx="3891">
                  <c:v>27.371-27.378</c:v>
                </c:pt>
                <c:pt idx="3892">
                  <c:v>27.378-27.385</c:v>
                </c:pt>
                <c:pt idx="3893">
                  <c:v>27.385-27.392</c:v>
                </c:pt>
                <c:pt idx="3894">
                  <c:v>27.392-27.399</c:v>
                </c:pt>
                <c:pt idx="3895">
                  <c:v>27.399-27.406</c:v>
                </c:pt>
                <c:pt idx="3896">
                  <c:v>27.406-27.413</c:v>
                </c:pt>
                <c:pt idx="3897">
                  <c:v>27.413-27.421</c:v>
                </c:pt>
                <c:pt idx="3898">
                  <c:v>27.421-27.428</c:v>
                </c:pt>
                <c:pt idx="3899">
                  <c:v>27.428-27.435</c:v>
                </c:pt>
                <c:pt idx="3900">
                  <c:v>27.435-27.442</c:v>
                </c:pt>
                <c:pt idx="3901">
                  <c:v>27.442-27.449</c:v>
                </c:pt>
                <c:pt idx="3902">
                  <c:v>27.449-27.456</c:v>
                </c:pt>
                <c:pt idx="3903">
                  <c:v>27.456-27.463</c:v>
                </c:pt>
                <c:pt idx="3904">
                  <c:v>27.463-27.470</c:v>
                </c:pt>
                <c:pt idx="3905">
                  <c:v>27.470-27.477</c:v>
                </c:pt>
                <c:pt idx="3906">
                  <c:v>27.477-27.484</c:v>
                </c:pt>
                <c:pt idx="3907">
                  <c:v>27.484-27.491</c:v>
                </c:pt>
                <c:pt idx="3908">
                  <c:v>27.491-27.498</c:v>
                </c:pt>
                <c:pt idx="3909">
                  <c:v>27.498-27.505</c:v>
                </c:pt>
                <c:pt idx="3910">
                  <c:v>27.505-27.512</c:v>
                </c:pt>
                <c:pt idx="3911">
                  <c:v>27.512-27.519</c:v>
                </c:pt>
                <c:pt idx="3912">
                  <c:v>27.519-27.526</c:v>
                </c:pt>
                <c:pt idx="3913">
                  <c:v>27.526-27.533</c:v>
                </c:pt>
                <c:pt idx="3914">
                  <c:v>27.533-27.540</c:v>
                </c:pt>
                <c:pt idx="3915">
                  <c:v>27.540-27.547</c:v>
                </c:pt>
                <c:pt idx="3916">
                  <c:v>27.547-27.554</c:v>
                </c:pt>
                <c:pt idx="3917">
                  <c:v>27.554-27.561</c:v>
                </c:pt>
                <c:pt idx="3918">
                  <c:v>27.561-27.568</c:v>
                </c:pt>
                <c:pt idx="3919">
                  <c:v>27.568-27.575</c:v>
                </c:pt>
                <c:pt idx="3920">
                  <c:v>27.575-27.582</c:v>
                </c:pt>
                <c:pt idx="3921">
                  <c:v>27.582-27.589</c:v>
                </c:pt>
                <c:pt idx="3922">
                  <c:v>27.589-27.596</c:v>
                </c:pt>
                <c:pt idx="3923">
                  <c:v>27.596-27.603</c:v>
                </c:pt>
                <c:pt idx="3924">
                  <c:v>27.603-27.610</c:v>
                </c:pt>
                <c:pt idx="3925">
                  <c:v>27.610-27.617</c:v>
                </c:pt>
                <c:pt idx="3926">
                  <c:v>27.617-27.624</c:v>
                </c:pt>
                <c:pt idx="3927">
                  <c:v>27.624-27.631</c:v>
                </c:pt>
                <c:pt idx="3928">
                  <c:v>27.631-27.639</c:v>
                </c:pt>
                <c:pt idx="3929">
                  <c:v>27.639-27.646</c:v>
                </c:pt>
                <c:pt idx="3930">
                  <c:v>27.646-27.653</c:v>
                </c:pt>
                <c:pt idx="3931">
                  <c:v>27.653-27.660</c:v>
                </c:pt>
                <c:pt idx="3932">
                  <c:v>27.660-27.667</c:v>
                </c:pt>
                <c:pt idx="3933">
                  <c:v>27.667-27.674</c:v>
                </c:pt>
                <c:pt idx="3934">
                  <c:v>27.674-27.681</c:v>
                </c:pt>
                <c:pt idx="3935">
                  <c:v>27.681-27.688</c:v>
                </c:pt>
                <c:pt idx="3936">
                  <c:v>27.688-27.695</c:v>
                </c:pt>
                <c:pt idx="3937">
                  <c:v>27.695-27.702</c:v>
                </c:pt>
                <c:pt idx="3938">
                  <c:v>27.702-27.709</c:v>
                </c:pt>
                <c:pt idx="3939">
                  <c:v>27.709-27.716</c:v>
                </c:pt>
                <c:pt idx="3940">
                  <c:v>27.716-27.723</c:v>
                </c:pt>
                <c:pt idx="3941">
                  <c:v>27.723-27.730</c:v>
                </c:pt>
                <c:pt idx="3942">
                  <c:v>27.730-27.737</c:v>
                </c:pt>
                <c:pt idx="3943">
                  <c:v>27.737-27.744</c:v>
                </c:pt>
                <c:pt idx="3944">
                  <c:v>27.744-27.751</c:v>
                </c:pt>
                <c:pt idx="3945">
                  <c:v>27.751-27.758</c:v>
                </c:pt>
                <c:pt idx="3946">
                  <c:v>27.758-27.765</c:v>
                </c:pt>
                <c:pt idx="3947">
                  <c:v>27.765-27.772</c:v>
                </c:pt>
                <c:pt idx="3948">
                  <c:v>27.772-27.779</c:v>
                </c:pt>
                <c:pt idx="3949">
                  <c:v>27.779-27.786</c:v>
                </c:pt>
                <c:pt idx="3950">
                  <c:v>27.786-27.793</c:v>
                </c:pt>
                <c:pt idx="3951">
                  <c:v>27.793-27.800</c:v>
                </c:pt>
                <c:pt idx="3952">
                  <c:v>27.800-27.807</c:v>
                </c:pt>
                <c:pt idx="3953">
                  <c:v>27.807-27.814</c:v>
                </c:pt>
                <c:pt idx="3954">
                  <c:v>27.814-27.821</c:v>
                </c:pt>
                <c:pt idx="3955">
                  <c:v>27.821-27.828</c:v>
                </c:pt>
                <c:pt idx="3956">
                  <c:v>27.828-27.835</c:v>
                </c:pt>
                <c:pt idx="3957">
                  <c:v>27.835-27.842</c:v>
                </c:pt>
                <c:pt idx="3958">
                  <c:v>27.842-27.849</c:v>
                </c:pt>
                <c:pt idx="3959">
                  <c:v>27.849-27.857</c:v>
                </c:pt>
                <c:pt idx="3960">
                  <c:v>27.857-27.864</c:v>
                </c:pt>
                <c:pt idx="3961">
                  <c:v>27.864-27.871</c:v>
                </c:pt>
                <c:pt idx="3962">
                  <c:v>27.871-27.878</c:v>
                </c:pt>
                <c:pt idx="3963">
                  <c:v>27.878-27.885</c:v>
                </c:pt>
                <c:pt idx="3964">
                  <c:v>27.885-27.892</c:v>
                </c:pt>
                <c:pt idx="3965">
                  <c:v>27.892-27.899</c:v>
                </c:pt>
                <c:pt idx="3966">
                  <c:v>27.899-27.906</c:v>
                </c:pt>
                <c:pt idx="3967">
                  <c:v>27.906-27.913</c:v>
                </c:pt>
                <c:pt idx="3968">
                  <c:v>27.913-27.920</c:v>
                </c:pt>
                <c:pt idx="3969">
                  <c:v>27.920-27.927</c:v>
                </c:pt>
                <c:pt idx="3970">
                  <c:v>27.927-27.934</c:v>
                </c:pt>
                <c:pt idx="3971">
                  <c:v>27.934-27.941</c:v>
                </c:pt>
                <c:pt idx="3972">
                  <c:v>27.941-27.948</c:v>
                </c:pt>
                <c:pt idx="3973">
                  <c:v>27.948-27.955</c:v>
                </c:pt>
                <c:pt idx="3974">
                  <c:v>27.955-27.962</c:v>
                </c:pt>
                <c:pt idx="3975">
                  <c:v>27.962-27.969</c:v>
                </c:pt>
                <c:pt idx="3976">
                  <c:v>27.969-27.976</c:v>
                </c:pt>
                <c:pt idx="3977">
                  <c:v>27.976-27.983</c:v>
                </c:pt>
                <c:pt idx="3978">
                  <c:v>27.983-27.990</c:v>
                </c:pt>
                <c:pt idx="3979">
                  <c:v>27.990-27.997</c:v>
                </c:pt>
                <c:pt idx="3980">
                  <c:v>27.997-28.004</c:v>
                </c:pt>
                <c:pt idx="3981">
                  <c:v>28.004-28.011</c:v>
                </c:pt>
                <c:pt idx="3982">
                  <c:v>28.011-28.018</c:v>
                </c:pt>
                <c:pt idx="3983">
                  <c:v>28.018-28.025</c:v>
                </c:pt>
                <c:pt idx="3984">
                  <c:v>28.025-28.032</c:v>
                </c:pt>
                <c:pt idx="3985">
                  <c:v>28.032-28.039</c:v>
                </c:pt>
                <c:pt idx="3986">
                  <c:v>28.039-28.046</c:v>
                </c:pt>
                <c:pt idx="3987">
                  <c:v>28.046-28.053</c:v>
                </c:pt>
                <c:pt idx="3988">
                  <c:v>28.053-28.060</c:v>
                </c:pt>
                <c:pt idx="3989">
                  <c:v>28.060-28.067</c:v>
                </c:pt>
                <c:pt idx="3990">
                  <c:v>28.067-28.075</c:v>
                </c:pt>
                <c:pt idx="3991">
                  <c:v>28.075-28.082</c:v>
                </c:pt>
                <c:pt idx="3992">
                  <c:v>28.082-28.089</c:v>
                </c:pt>
                <c:pt idx="3993">
                  <c:v>28.089-28.096</c:v>
                </c:pt>
                <c:pt idx="3994">
                  <c:v>28.096-28.103</c:v>
                </c:pt>
                <c:pt idx="3995">
                  <c:v>28.103-28.110</c:v>
                </c:pt>
                <c:pt idx="3996">
                  <c:v>28.110-28.117</c:v>
                </c:pt>
                <c:pt idx="3997">
                  <c:v>28.117-28.124</c:v>
                </c:pt>
                <c:pt idx="3998">
                  <c:v>28.124-28.131</c:v>
                </c:pt>
                <c:pt idx="3999">
                  <c:v>28.131-28.138</c:v>
                </c:pt>
                <c:pt idx="4000">
                  <c:v>28.138-28.145</c:v>
                </c:pt>
                <c:pt idx="4001">
                  <c:v>28.145-28.152</c:v>
                </c:pt>
                <c:pt idx="4002">
                  <c:v>28.152-28.159</c:v>
                </c:pt>
                <c:pt idx="4003">
                  <c:v>28.159-28.166</c:v>
                </c:pt>
                <c:pt idx="4004">
                  <c:v>28.166-28.173</c:v>
                </c:pt>
                <c:pt idx="4005">
                  <c:v>28.173-28.180</c:v>
                </c:pt>
                <c:pt idx="4006">
                  <c:v>28.180-28.187</c:v>
                </c:pt>
                <c:pt idx="4007">
                  <c:v>28.187-28.194</c:v>
                </c:pt>
                <c:pt idx="4008">
                  <c:v>28.194-28.201</c:v>
                </c:pt>
                <c:pt idx="4009">
                  <c:v>28.201-28.208</c:v>
                </c:pt>
                <c:pt idx="4010">
                  <c:v>28.208-28.215</c:v>
                </c:pt>
                <c:pt idx="4011">
                  <c:v>28.215-28.222</c:v>
                </c:pt>
                <c:pt idx="4012">
                  <c:v>28.222-28.229</c:v>
                </c:pt>
                <c:pt idx="4013">
                  <c:v>28.229-28.236</c:v>
                </c:pt>
                <c:pt idx="4014">
                  <c:v>28.236-28.243</c:v>
                </c:pt>
                <c:pt idx="4015">
                  <c:v>28.243-28.250</c:v>
                </c:pt>
                <c:pt idx="4016">
                  <c:v>28.250-28.257</c:v>
                </c:pt>
                <c:pt idx="4017">
                  <c:v>28.257-28.264</c:v>
                </c:pt>
                <c:pt idx="4018">
                  <c:v>28.264-28.271</c:v>
                </c:pt>
                <c:pt idx="4019">
                  <c:v>28.271-28.278</c:v>
                </c:pt>
                <c:pt idx="4020">
                  <c:v>28.278-28.285</c:v>
                </c:pt>
                <c:pt idx="4021">
                  <c:v>28.285-28.293</c:v>
                </c:pt>
                <c:pt idx="4022">
                  <c:v>28.293-28.300</c:v>
                </c:pt>
                <c:pt idx="4023">
                  <c:v>28.300-28.307</c:v>
                </c:pt>
                <c:pt idx="4024">
                  <c:v>28.307-28.314</c:v>
                </c:pt>
                <c:pt idx="4025">
                  <c:v>28.314-28.321</c:v>
                </c:pt>
                <c:pt idx="4026">
                  <c:v>28.321-28.328</c:v>
                </c:pt>
                <c:pt idx="4027">
                  <c:v>28.328-28.335</c:v>
                </c:pt>
                <c:pt idx="4028">
                  <c:v>28.335-28.342</c:v>
                </c:pt>
                <c:pt idx="4029">
                  <c:v>28.342-28.349</c:v>
                </c:pt>
                <c:pt idx="4030">
                  <c:v>28.349-28.356</c:v>
                </c:pt>
                <c:pt idx="4031">
                  <c:v>28.356-28.363</c:v>
                </c:pt>
                <c:pt idx="4032">
                  <c:v>28.363-28.370</c:v>
                </c:pt>
                <c:pt idx="4033">
                  <c:v>28.370-28.377</c:v>
                </c:pt>
                <c:pt idx="4034">
                  <c:v>28.377-28.384</c:v>
                </c:pt>
                <c:pt idx="4035">
                  <c:v>28.384-28.391</c:v>
                </c:pt>
                <c:pt idx="4036">
                  <c:v>28.391-28.398</c:v>
                </c:pt>
                <c:pt idx="4037">
                  <c:v>28.398-28.405</c:v>
                </c:pt>
                <c:pt idx="4038">
                  <c:v>28.405-28.412</c:v>
                </c:pt>
                <c:pt idx="4039">
                  <c:v>28.412-28.419</c:v>
                </c:pt>
                <c:pt idx="4040">
                  <c:v>28.419-28.426</c:v>
                </c:pt>
                <c:pt idx="4041">
                  <c:v>28.426-28.433</c:v>
                </c:pt>
                <c:pt idx="4042">
                  <c:v>28.433-28.440</c:v>
                </c:pt>
                <c:pt idx="4043">
                  <c:v>28.440-28.447</c:v>
                </c:pt>
                <c:pt idx="4044">
                  <c:v>28.447-28.454</c:v>
                </c:pt>
                <c:pt idx="4045">
                  <c:v>28.454-28.461</c:v>
                </c:pt>
                <c:pt idx="4046">
                  <c:v>28.461-28.468</c:v>
                </c:pt>
                <c:pt idx="4047">
                  <c:v>28.468-28.475</c:v>
                </c:pt>
                <c:pt idx="4048">
                  <c:v>28.475-28.482</c:v>
                </c:pt>
                <c:pt idx="4049">
                  <c:v>28.482-28.489</c:v>
                </c:pt>
                <c:pt idx="4050">
                  <c:v>28.489-28.496</c:v>
                </c:pt>
                <c:pt idx="4051">
                  <c:v>28.496-28.503</c:v>
                </c:pt>
                <c:pt idx="4052">
                  <c:v>28.503-28.511</c:v>
                </c:pt>
                <c:pt idx="4053">
                  <c:v>28.511-28.518</c:v>
                </c:pt>
                <c:pt idx="4054">
                  <c:v>28.518-28.525</c:v>
                </c:pt>
                <c:pt idx="4055">
                  <c:v>28.525-28.532</c:v>
                </c:pt>
                <c:pt idx="4056">
                  <c:v>28.532-28.539</c:v>
                </c:pt>
                <c:pt idx="4057">
                  <c:v>28.539-28.546</c:v>
                </c:pt>
                <c:pt idx="4058">
                  <c:v>28.546-28.553</c:v>
                </c:pt>
                <c:pt idx="4059">
                  <c:v>28.553-28.560</c:v>
                </c:pt>
                <c:pt idx="4060">
                  <c:v>28.560-28.567</c:v>
                </c:pt>
                <c:pt idx="4061">
                  <c:v>28.567-28.574</c:v>
                </c:pt>
                <c:pt idx="4062">
                  <c:v>28.574-28.581</c:v>
                </c:pt>
                <c:pt idx="4063">
                  <c:v>28.581-28.588</c:v>
                </c:pt>
                <c:pt idx="4064">
                  <c:v>28.588-28.595</c:v>
                </c:pt>
                <c:pt idx="4065">
                  <c:v>28.595-28.602</c:v>
                </c:pt>
                <c:pt idx="4066">
                  <c:v>28.602-28.609</c:v>
                </c:pt>
                <c:pt idx="4067">
                  <c:v>28.609-28.616</c:v>
                </c:pt>
                <c:pt idx="4068">
                  <c:v>28.616-28.623</c:v>
                </c:pt>
                <c:pt idx="4069">
                  <c:v>28.623-28.630</c:v>
                </c:pt>
                <c:pt idx="4070">
                  <c:v>28.630-28.637</c:v>
                </c:pt>
                <c:pt idx="4071">
                  <c:v>28.637-28.644</c:v>
                </c:pt>
                <c:pt idx="4072">
                  <c:v>28.644-28.651</c:v>
                </c:pt>
                <c:pt idx="4073">
                  <c:v>28.651-28.658</c:v>
                </c:pt>
                <c:pt idx="4074">
                  <c:v>28.658-28.665</c:v>
                </c:pt>
                <c:pt idx="4075">
                  <c:v>28.665-28.672</c:v>
                </c:pt>
                <c:pt idx="4076">
                  <c:v>28.672-28.679</c:v>
                </c:pt>
                <c:pt idx="4077">
                  <c:v>28.679-28.686</c:v>
                </c:pt>
                <c:pt idx="4078">
                  <c:v>28.686-28.693</c:v>
                </c:pt>
                <c:pt idx="4079">
                  <c:v>28.693-28.700</c:v>
                </c:pt>
                <c:pt idx="4080">
                  <c:v>28.700-28.707</c:v>
                </c:pt>
                <c:pt idx="4081">
                  <c:v>28.707-28.714</c:v>
                </c:pt>
                <c:pt idx="4082">
                  <c:v>28.714-28.721</c:v>
                </c:pt>
                <c:pt idx="4083">
                  <c:v>28.721-28.729</c:v>
                </c:pt>
                <c:pt idx="4084">
                  <c:v>28.729-28.736</c:v>
                </c:pt>
                <c:pt idx="4085">
                  <c:v>28.736-28.743</c:v>
                </c:pt>
                <c:pt idx="4086">
                  <c:v>28.743-28.750</c:v>
                </c:pt>
                <c:pt idx="4087">
                  <c:v>28.750-28.757</c:v>
                </c:pt>
                <c:pt idx="4088">
                  <c:v>28.757-28.764</c:v>
                </c:pt>
                <c:pt idx="4089">
                  <c:v>28.764-28.771</c:v>
                </c:pt>
                <c:pt idx="4090">
                  <c:v>28.771-28.778</c:v>
                </c:pt>
                <c:pt idx="4091">
                  <c:v>28.778-28.785</c:v>
                </c:pt>
                <c:pt idx="4092">
                  <c:v>28.785-28.792</c:v>
                </c:pt>
                <c:pt idx="4093">
                  <c:v>28.792-28.799</c:v>
                </c:pt>
                <c:pt idx="4094">
                  <c:v>28.799-28.806</c:v>
                </c:pt>
                <c:pt idx="4095">
                  <c:v>28.806-28.813</c:v>
                </c:pt>
                <c:pt idx="4096">
                  <c:v>28.813-28.820</c:v>
                </c:pt>
                <c:pt idx="4097">
                  <c:v>28.820-28.827</c:v>
                </c:pt>
                <c:pt idx="4098">
                  <c:v>28.827-28.834</c:v>
                </c:pt>
                <c:pt idx="4099">
                  <c:v>28.834-28.841</c:v>
                </c:pt>
                <c:pt idx="4100">
                  <c:v>28.841-28.848</c:v>
                </c:pt>
                <c:pt idx="4101">
                  <c:v>28.848-28.855</c:v>
                </c:pt>
                <c:pt idx="4102">
                  <c:v>28.855-28.862</c:v>
                </c:pt>
                <c:pt idx="4103">
                  <c:v>28.862-28.869</c:v>
                </c:pt>
                <c:pt idx="4104">
                  <c:v>28.869-28.876</c:v>
                </c:pt>
                <c:pt idx="4105">
                  <c:v>28.876-28.883</c:v>
                </c:pt>
                <c:pt idx="4106">
                  <c:v>28.883-28.890</c:v>
                </c:pt>
                <c:pt idx="4107">
                  <c:v>28.890-28.897</c:v>
                </c:pt>
                <c:pt idx="4108">
                  <c:v>28.897-28.904</c:v>
                </c:pt>
                <c:pt idx="4109">
                  <c:v>28.904-28.911</c:v>
                </c:pt>
                <c:pt idx="4110">
                  <c:v>28.911-28.918</c:v>
                </c:pt>
                <c:pt idx="4111">
                  <c:v>28.918-28.925</c:v>
                </c:pt>
                <c:pt idx="4112">
                  <c:v>28.925-28.932</c:v>
                </c:pt>
                <c:pt idx="4113">
                  <c:v>28.932-28.939</c:v>
                </c:pt>
                <c:pt idx="4114">
                  <c:v>28.939-28.947</c:v>
                </c:pt>
                <c:pt idx="4115">
                  <c:v>28.947-28.954</c:v>
                </c:pt>
                <c:pt idx="4116">
                  <c:v>28.954-28.961</c:v>
                </c:pt>
                <c:pt idx="4117">
                  <c:v>28.961-28.968</c:v>
                </c:pt>
                <c:pt idx="4118">
                  <c:v>28.968-28.975</c:v>
                </c:pt>
                <c:pt idx="4119">
                  <c:v>28.975-28.982</c:v>
                </c:pt>
                <c:pt idx="4120">
                  <c:v>28.982-28.989</c:v>
                </c:pt>
                <c:pt idx="4121">
                  <c:v>28.989-28.996</c:v>
                </c:pt>
                <c:pt idx="4122">
                  <c:v>28.996-29.003</c:v>
                </c:pt>
                <c:pt idx="4123">
                  <c:v>29.003-29.010</c:v>
                </c:pt>
                <c:pt idx="4124">
                  <c:v>29.010-29.017</c:v>
                </c:pt>
                <c:pt idx="4125">
                  <c:v>29.017-29.024</c:v>
                </c:pt>
                <c:pt idx="4126">
                  <c:v>29.024-29.031</c:v>
                </c:pt>
                <c:pt idx="4127">
                  <c:v>29.031-29.038</c:v>
                </c:pt>
                <c:pt idx="4128">
                  <c:v>29.038-29.045</c:v>
                </c:pt>
                <c:pt idx="4129">
                  <c:v>29.045-29.052</c:v>
                </c:pt>
                <c:pt idx="4130">
                  <c:v>29.052-29.059</c:v>
                </c:pt>
                <c:pt idx="4131">
                  <c:v>29.059-29.066</c:v>
                </c:pt>
                <c:pt idx="4132">
                  <c:v>29.066-29.073</c:v>
                </c:pt>
                <c:pt idx="4133">
                  <c:v>29.073-29.080</c:v>
                </c:pt>
                <c:pt idx="4134">
                  <c:v>29.080-29.087</c:v>
                </c:pt>
                <c:pt idx="4135">
                  <c:v>29.087-29.094</c:v>
                </c:pt>
                <c:pt idx="4136">
                  <c:v>29.094-29.101</c:v>
                </c:pt>
                <c:pt idx="4137">
                  <c:v>29.101-29.108</c:v>
                </c:pt>
                <c:pt idx="4138">
                  <c:v>29.108-29.115</c:v>
                </c:pt>
                <c:pt idx="4139">
                  <c:v>29.115-29.122</c:v>
                </c:pt>
                <c:pt idx="4140">
                  <c:v>29.122-29.129</c:v>
                </c:pt>
                <c:pt idx="4141">
                  <c:v>29.129-29.136</c:v>
                </c:pt>
                <c:pt idx="4142">
                  <c:v>29.136-29.143</c:v>
                </c:pt>
                <c:pt idx="4143">
                  <c:v>29.143-29.150</c:v>
                </c:pt>
                <c:pt idx="4144">
                  <c:v>29.150-29.157</c:v>
                </c:pt>
                <c:pt idx="4145">
                  <c:v>29.157-29.165</c:v>
                </c:pt>
                <c:pt idx="4146">
                  <c:v>29.165-29.172</c:v>
                </c:pt>
                <c:pt idx="4147">
                  <c:v>29.172-29.179</c:v>
                </c:pt>
                <c:pt idx="4148">
                  <c:v>29.179-29.186</c:v>
                </c:pt>
                <c:pt idx="4149">
                  <c:v>29.186-29.193</c:v>
                </c:pt>
                <c:pt idx="4150">
                  <c:v>29.193-29.200</c:v>
                </c:pt>
                <c:pt idx="4151">
                  <c:v>29.200-29.207</c:v>
                </c:pt>
                <c:pt idx="4152">
                  <c:v>29.207-29.214</c:v>
                </c:pt>
                <c:pt idx="4153">
                  <c:v>29.214-29.221</c:v>
                </c:pt>
                <c:pt idx="4154">
                  <c:v>29.221-29.228</c:v>
                </c:pt>
                <c:pt idx="4155">
                  <c:v>29.228-29.235</c:v>
                </c:pt>
                <c:pt idx="4156">
                  <c:v>29.235-29.242</c:v>
                </c:pt>
                <c:pt idx="4157">
                  <c:v>29.242-29.249</c:v>
                </c:pt>
                <c:pt idx="4158">
                  <c:v>29.249-29.256</c:v>
                </c:pt>
                <c:pt idx="4159">
                  <c:v>29.256-29.263</c:v>
                </c:pt>
                <c:pt idx="4160">
                  <c:v>29.263-29.270</c:v>
                </c:pt>
                <c:pt idx="4161">
                  <c:v>29.270-29.277</c:v>
                </c:pt>
                <c:pt idx="4162">
                  <c:v>29.277-29.284</c:v>
                </c:pt>
                <c:pt idx="4163">
                  <c:v>29.284-29.291</c:v>
                </c:pt>
                <c:pt idx="4164">
                  <c:v>29.291-29.298</c:v>
                </c:pt>
                <c:pt idx="4165">
                  <c:v>29.298-29.305</c:v>
                </c:pt>
                <c:pt idx="4166">
                  <c:v>29.305-29.312</c:v>
                </c:pt>
                <c:pt idx="4167">
                  <c:v>29.312-29.319</c:v>
                </c:pt>
                <c:pt idx="4168">
                  <c:v>29.319-29.326</c:v>
                </c:pt>
                <c:pt idx="4169">
                  <c:v>29.326-29.333</c:v>
                </c:pt>
                <c:pt idx="4170">
                  <c:v>29.333-29.340</c:v>
                </c:pt>
                <c:pt idx="4171">
                  <c:v>29.340-29.347</c:v>
                </c:pt>
                <c:pt idx="4172">
                  <c:v>29.347-29.354</c:v>
                </c:pt>
                <c:pt idx="4173">
                  <c:v>29.354-29.361</c:v>
                </c:pt>
                <c:pt idx="4174">
                  <c:v>29.361-29.368</c:v>
                </c:pt>
                <c:pt idx="4175">
                  <c:v>29.368-29.375</c:v>
                </c:pt>
                <c:pt idx="4176">
                  <c:v>29.375-29.382</c:v>
                </c:pt>
                <c:pt idx="4177">
                  <c:v>29.382-29.390</c:v>
                </c:pt>
                <c:pt idx="4178">
                  <c:v>29.390-29.397</c:v>
                </c:pt>
                <c:pt idx="4179">
                  <c:v>29.397-29.404</c:v>
                </c:pt>
                <c:pt idx="4180">
                  <c:v>29.404-29.411</c:v>
                </c:pt>
                <c:pt idx="4181">
                  <c:v>29.411-29.418</c:v>
                </c:pt>
                <c:pt idx="4182">
                  <c:v>29.418-29.425</c:v>
                </c:pt>
                <c:pt idx="4183">
                  <c:v>29.425-29.432</c:v>
                </c:pt>
                <c:pt idx="4184">
                  <c:v>29.432-29.439</c:v>
                </c:pt>
                <c:pt idx="4185">
                  <c:v>29.439-29.446</c:v>
                </c:pt>
                <c:pt idx="4186">
                  <c:v>29.446-29.453</c:v>
                </c:pt>
                <c:pt idx="4187">
                  <c:v>29.453-29.460</c:v>
                </c:pt>
                <c:pt idx="4188">
                  <c:v>29.460-29.467</c:v>
                </c:pt>
                <c:pt idx="4189">
                  <c:v>29.467-29.474</c:v>
                </c:pt>
                <c:pt idx="4190">
                  <c:v>29.474-29.481</c:v>
                </c:pt>
                <c:pt idx="4191">
                  <c:v>29.481-29.488</c:v>
                </c:pt>
                <c:pt idx="4192">
                  <c:v>29.488-29.495</c:v>
                </c:pt>
                <c:pt idx="4193">
                  <c:v>29.495-29.502</c:v>
                </c:pt>
                <c:pt idx="4194">
                  <c:v>29.502-29.509</c:v>
                </c:pt>
                <c:pt idx="4195">
                  <c:v>29.509-29.516</c:v>
                </c:pt>
                <c:pt idx="4196">
                  <c:v>29.516-29.523</c:v>
                </c:pt>
                <c:pt idx="4197">
                  <c:v>29.523-29.530</c:v>
                </c:pt>
                <c:pt idx="4198">
                  <c:v>29.530-29.537</c:v>
                </c:pt>
                <c:pt idx="4199">
                  <c:v>29.537-29.544</c:v>
                </c:pt>
                <c:pt idx="4200">
                  <c:v>29.544-29.551</c:v>
                </c:pt>
                <c:pt idx="4201">
                  <c:v>29.551-29.558</c:v>
                </c:pt>
                <c:pt idx="4202">
                  <c:v>29.558-29.565</c:v>
                </c:pt>
                <c:pt idx="4203">
                  <c:v>29.565-29.572</c:v>
                </c:pt>
                <c:pt idx="4204">
                  <c:v>29.572-29.579</c:v>
                </c:pt>
                <c:pt idx="4205">
                  <c:v>29.579-29.586</c:v>
                </c:pt>
                <c:pt idx="4206">
                  <c:v>29.586-29.593</c:v>
                </c:pt>
                <c:pt idx="4207">
                  <c:v>29.593-29.600</c:v>
                </c:pt>
                <c:pt idx="4208">
                  <c:v>29.600-29.608</c:v>
                </c:pt>
                <c:pt idx="4209">
                  <c:v>29.608-29.615</c:v>
                </c:pt>
                <c:pt idx="4210">
                  <c:v>29.615-29.622</c:v>
                </c:pt>
                <c:pt idx="4211">
                  <c:v>29.622-29.629</c:v>
                </c:pt>
                <c:pt idx="4212">
                  <c:v>29.629-29.636</c:v>
                </c:pt>
                <c:pt idx="4213">
                  <c:v>29.636-29.643</c:v>
                </c:pt>
                <c:pt idx="4214">
                  <c:v>29.643-29.650</c:v>
                </c:pt>
                <c:pt idx="4215">
                  <c:v>29.650-29.657</c:v>
                </c:pt>
                <c:pt idx="4216">
                  <c:v>29.657-29.664</c:v>
                </c:pt>
                <c:pt idx="4217">
                  <c:v>29.664-29.671</c:v>
                </c:pt>
                <c:pt idx="4218">
                  <c:v>29.671-29.678</c:v>
                </c:pt>
                <c:pt idx="4219">
                  <c:v>29.678-29.685</c:v>
                </c:pt>
                <c:pt idx="4220">
                  <c:v>29.685-29.692</c:v>
                </c:pt>
                <c:pt idx="4221">
                  <c:v>29.692-29.699</c:v>
                </c:pt>
                <c:pt idx="4222">
                  <c:v>29.699-29.706</c:v>
                </c:pt>
                <c:pt idx="4223">
                  <c:v>29.706-29.713</c:v>
                </c:pt>
                <c:pt idx="4224">
                  <c:v>29.713-29.720</c:v>
                </c:pt>
                <c:pt idx="4225">
                  <c:v>29.720-29.727</c:v>
                </c:pt>
                <c:pt idx="4226">
                  <c:v>29.727-29.734</c:v>
                </c:pt>
                <c:pt idx="4227">
                  <c:v>29.734-29.741</c:v>
                </c:pt>
                <c:pt idx="4228">
                  <c:v>29.741-29.748</c:v>
                </c:pt>
                <c:pt idx="4229">
                  <c:v>29.748-29.755</c:v>
                </c:pt>
                <c:pt idx="4230">
                  <c:v>29.755-29.762</c:v>
                </c:pt>
                <c:pt idx="4231">
                  <c:v>29.762-29.769</c:v>
                </c:pt>
                <c:pt idx="4232">
                  <c:v>29.769-29.776</c:v>
                </c:pt>
                <c:pt idx="4233">
                  <c:v>29.776-29.783</c:v>
                </c:pt>
                <c:pt idx="4234">
                  <c:v>29.783-29.790</c:v>
                </c:pt>
                <c:pt idx="4235">
                  <c:v>29.790-29.797</c:v>
                </c:pt>
                <c:pt idx="4236">
                  <c:v>29.797-29.804</c:v>
                </c:pt>
                <c:pt idx="4237">
                  <c:v>29.804-29.811</c:v>
                </c:pt>
                <c:pt idx="4238">
                  <c:v>29.811-29.818</c:v>
                </c:pt>
                <c:pt idx="4239">
                  <c:v>29.818-29.826</c:v>
                </c:pt>
                <c:pt idx="4240">
                  <c:v>29.826-29.833</c:v>
                </c:pt>
                <c:pt idx="4241">
                  <c:v>29.833-29.840</c:v>
                </c:pt>
                <c:pt idx="4242">
                  <c:v>29.840-29.847</c:v>
                </c:pt>
                <c:pt idx="4243">
                  <c:v>29.847-29.854</c:v>
                </c:pt>
                <c:pt idx="4244">
                  <c:v>29.854-29.861</c:v>
                </c:pt>
                <c:pt idx="4245">
                  <c:v>29.861-29.868</c:v>
                </c:pt>
                <c:pt idx="4246">
                  <c:v>29.868-29.875</c:v>
                </c:pt>
                <c:pt idx="4247">
                  <c:v>29.875-29.882</c:v>
                </c:pt>
                <c:pt idx="4248">
                  <c:v>29.882-29.889</c:v>
                </c:pt>
                <c:pt idx="4249">
                  <c:v>29.889-29.896</c:v>
                </c:pt>
                <c:pt idx="4250">
                  <c:v>29.896-29.903</c:v>
                </c:pt>
                <c:pt idx="4251">
                  <c:v>29.903-29.910</c:v>
                </c:pt>
                <c:pt idx="4252">
                  <c:v>29.910-29.917</c:v>
                </c:pt>
                <c:pt idx="4253">
                  <c:v>29.917-29.924</c:v>
                </c:pt>
                <c:pt idx="4254">
                  <c:v>29.924-29.931</c:v>
                </c:pt>
                <c:pt idx="4255">
                  <c:v>29.931-29.938</c:v>
                </c:pt>
                <c:pt idx="4256">
                  <c:v>29.938-29.945</c:v>
                </c:pt>
                <c:pt idx="4257">
                  <c:v>29.945-29.952</c:v>
                </c:pt>
                <c:pt idx="4258">
                  <c:v>29.952-29.959</c:v>
                </c:pt>
                <c:pt idx="4259">
                  <c:v>29.959-29.966</c:v>
                </c:pt>
                <c:pt idx="4260">
                  <c:v>29.966-29.973</c:v>
                </c:pt>
                <c:pt idx="4261">
                  <c:v>29.973-29.980</c:v>
                </c:pt>
                <c:pt idx="4262">
                  <c:v>29.980-29.987</c:v>
                </c:pt>
                <c:pt idx="4263">
                  <c:v>29.987-29.994</c:v>
                </c:pt>
                <c:pt idx="4264">
                  <c:v>29.994-30.001</c:v>
                </c:pt>
                <c:pt idx="4265">
                  <c:v>30.001-30.008</c:v>
                </c:pt>
                <c:pt idx="4266">
                  <c:v>30.008-30.015</c:v>
                </c:pt>
                <c:pt idx="4267">
                  <c:v>30.015-30.022</c:v>
                </c:pt>
                <c:pt idx="4268">
                  <c:v>30.022-30.029</c:v>
                </c:pt>
                <c:pt idx="4269">
                  <c:v>30.029-30.036</c:v>
                </c:pt>
                <c:pt idx="4270">
                  <c:v>30.036-30.044</c:v>
                </c:pt>
                <c:pt idx="4271">
                  <c:v>30.044-30.051</c:v>
                </c:pt>
                <c:pt idx="4272">
                  <c:v>30.051-30.058</c:v>
                </c:pt>
                <c:pt idx="4273">
                  <c:v>30.058-30.065</c:v>
                </c:pt>
                <c:pt idx="4274">
                  <c:v>30.065-30.072</c:v>
                </c:pt>
                <c:pt idx="4275">
                  <c:v>30.072-30.079</c:v>
                </c:pt>
                <c:pt idx="4276">
                  <c:v>30.079-30.086</c:v>
                </c:pt>
                <c:pt idx="4277">
                  <c:v>30.086-30.093</c:v>
                </c:pt>
                <c:pt idx="4278">
                  <c:v>30.093-30.100</c:v>
                </c:pt>
                <c:pt idx="4279">
                  <c:v>30.100-30.107</c:v>
                </c:pt>
                <c:pt idx="4280">
                  <c:v>30.107-30.114</c:v>
                </c:pt>
                <c:pt idx="4281">
                  <c:v>30.114-30.121</c:v>
                </c:pt>
                <c:pt idx="4282">
                  <c:v>30.121-30.128</c:v>
                </c:pt>
                <c:pt idx="4283">
                  <c:v>30.128-30.135</c:v>
                </c:pt>
                <c:pt idx="4284">
                  <c:v>30.135-30.142</c:v>
                </c:pt>
                <c:pt idx="4285">
                  <c:v>30.142-30.149</c:v>
                </c:pt>
                <c:pt idx="4286">
                  <c:v>30.149-30.156</c:v>
                </c:pt>
                <c:pt idx="4287">
                  <c:v>30.156-30.163</c:v>
                </c:pt>
                <c:pt idx="4288">
                  <c:v>30.163-30.170</c:v>
                </c:pt>
                <c:pt idx="4289">
                  <c:v>30.170-30.177</c:v>
                </c:pt>
                <c:pt idx="4290">
                  <c:v>30.177-30.184</c:v>
                </c:pt>
                <c:pt idx="4291">
                  <c:v>30.184-30.191</c:v>
                </c:pt>
                <c:pt idx="4292">
                  <c:v>30.191-30.198</c:v>
                </c:pt>
                <c:pt idx="4293">
                  <c:v>30.198-30.205</c:v>
                </c:pt>
                <c:pt idx="4294">
                  <c:v>30.205-30.212</c:v>
                </c:pt>
                <c:pt idx="4295">
                  <c:v>30.212-30.219</c:v>
                </c:pt>
                <c:pt idx="4296">
                  <c:v>30.219-30.226</c:v>
                </c:pt>
                <c:pt idx="4297">
                  <c:v>30.226-30.233</c:v>
                </c:pt>
                <c:pt idx="4298">
                  <c:v>30.233-30.240</c:v>
                </c:pt>
                <c:pt idx="4299">
                  <c:v>30.240-30.247</c:v>
                </c:pt>
                <c:pt idx="4300">
                  <c:v>30.247-30.254</c:v>
                </c:pt>
                <c:pt idx="4301">
                  <c:v>30.254-30.262</c:v>
                </c:pt>
                <c:pt idx="4302">
                  <c:v>30.262-30.269</c:v>
                </c:pt>
                <c:pt idx="4303">
                  <c:v>30.269-30.276</c:v>
                </c:pt>
                <c:pt idx="4304">
                  <c:v>30.276-30.283</c:v>
                </c:pt>
                <c:pt idx="4305">
                  <c:v>30.283-30.290</c:v>
                </c:pt>
                <c:pt idx="4306">
                  <c:v>30.290-30.297</c:v>
                </c:pt>
                <c:pt idx="4307">
                  <c:v>30.297-30.304</c:v>
                </c:pt>
                <c:pt idx="4308">
                  <c:v>30.304-30.311</c:v>
                </c:pt>
                <c:pt idx="4309">
                  <c:v>30.311-30.318</c:v>
                </c:pt>
                <c:pt idx="4310">
                  <c:v>30.318-30.325</c:v>
                </c:pt>
                <c:pt idx="4311">
                  <c:v>30.325-30.332</c:v>
                </c:pt>
                <c:pt idx="4312">
                  <c:v>30.332-30.339</c:v>
                </c:pt>
                <c:pt idx="4313">
                  <c:v>30.339-30.346</c:v>
                </c:pt>
                <c:pt idx="4314">
                  <c:v>30.346-30.353</c:v>
                </c:pt>
                <c:pt idx="4315">
                  <c:v>30.353-30.360</c:v>
                </c:pt>
                <c:pt idx="4316">
                  <c:v>30.360-30.367</c:v>
                </c:pt>
                <c:pt idx="4317">
                  <c:v>30.367-30.374</c:v>
                </c:pt>
                <c:pt idx="4318">
                  <c:v>30.374-30.381</c:v>
                </c:pt>
                <c:pt idx="4319">
                  <c:v>30.381-30.388</c:v>
                </c:pt>
                <c:pt idx="4320">
                  <c:v>30.388-30.395</c:v>
                </c:pt>
                <c:pt idx="4321">
                  <c:v>30.395-30.402</c:v>
                </c:pt>
                <c:pt idx="4322">
                  <c:v>30.402-30.409</c:v>
                </c:pt>
                <c:pt idx="4323">
                  <c:v>30.409-30.416</c:v>
                </c:pt>
                <c:pt idx="4324">
                  <c:v>30.416-30.423</c:v>
                </c:pt>
                <c:pt idx="4325">
                  <c:v>30.423-30.430</c:v>
                </c:pt>
                <c:pt idx="4326">
                  <c:v>30.430-30.437</c:v>
                </c:pt>
                <c:pt idx="4327">
                  <c:v>30.437-30.444</c:v>
                </c:pt>
                <c:pt idx="4328">
                  <c:v>30.444-30.451</c:v>
                </c:pt>
                <c:pt idx="4329">
                  <c:v>30.451-30.458</c:v>
                </c:pt>
                <c:pt idx="4330">
                  <c:v>30.458-30.465</c:v>
                </c:pt>
                <c:pt idx="4331">
                  <c:v>30.465-30.472</c:v>
                </c:pt>
                <c:pt idx="4332">
                  <c:v>30.472-30.480</c:v>
                </c:pt>
                <c:pt idx="4333">
                  <c:v>30.480-30.487</c:v>
                </c:pt>
                <c:pt idx="4334">
                  <c:v>30.487-30.494</c:v>
                </c:pt>
                <c:pt idx="4335">
                  <c:v>30.494-30.501</c:v>
                </c:pt>
                <c:pt idx="4336">
                  <c:v>30.501-30.508</c:v>
                </c:pt>
                <c:pt idx="4337">
                  <c:v>30.508-30.515</c:v>
                </c:pt>
                <c:pt idx="4338">
                  <c:v>30.515-30.522</c:v>
                </c:pt>
                <c:pt idx="4339">
                  <c:v>30.522-30.529</c:v>
                </c:pt>
                <c:pt idx="4340">
                  <c:v>30.529-30.536</c:v>
                </c:pt>
                <c:pt idx="4341">
                  <c:v>30.536-30.543</c:v>
                </c:pt>
                <c:pt idx="4342">
                  <c:v>30.543-30.550</c:v>
                </c:pt>
                <c:pt idx="4343">
                  <c:v>30.550-30.557</c:v>
                </c:pt>
                <c:pt idx="4344">
                  <c:v>30.557-30.564</c:v>
                </c:pt>
                <c:pt idx="4345">
                  <c:v>30.564-30.571</c:v>
                </c:pt>
                <c:pt idx="4346">
                  <c:v>30.571-30.578</c:v>
                </c:pt>
                <c:pt idx="4347">
                  <c:v>30.578-30.585</c:v>
                </c:pt>
                <c:pt idx="4348">
                  <c:v>30.585-30.592</c:v>
                </c:pt>
                <c:pt idx="4349">
                  <c:v>30.592-30.599</c:v>
                </c:pt>
                <c:pt idx="4350">
                  <c:v>30.599-30.606</c:v>
                </c:pt>
                <c:pt idx="4351">
                  <c:v>30.606-30.613</c:v>
                </c:pt>
                <c:pt idx="4352">
                  <c:v>30.613-30.620</c:v>
                </c:pt>
                <c:pt idx="4353">
                  <c:v>30.620-30.627</c:v>
                </c:pt>
                <c:pt idx="4354">
                  <c:v>30.627-30.634</c:v>
                </c:pt>
                <c:pt idx="4355">
                  <c:v>30.634-30.641</c:v>
                </c:pt>
                <c:pt idx="4356">
                  <c:v>30.641-30.648</c:v>
                </c:pt>
                <c:pt idx="4357">
                  <c:v>30.648-30.655</c:v>
                </c:pt>
                <c:pt idx="4358">
                  <c:v>30.655-30.662</c:v>
                </c:pt>
                <c:pt idx="4359">
                  <c:v>30.662-30.669</c:v>
                </c:pt>
                <c:pt idx="4360">
                  <c:v>30.669-30.676</c:v>
                </c:pt>
                <c:pt idx="4361">
                  <c:v>30.676-30.683</c:v>
                </c:pt>
                <c:pt idx="4362">
                  <c:v>30.683-30.690</c:v>
                </c:pt>
                <c:pt idx="4363">
                  <c:v>30.690-30.698</c:v>
                </c:pt>
                <c:pt idx="4364">
                  <c:v>30.698-30.705</c:v>
                </c:pt>
                <c:pt idx="4365">
                  <c:v>30.705-30.712</c:v>
                </c:pt>
                <c:pt idx="4366">
                  <c:v>30.712-30.719</c:v>
                </c:pt>
                <c:pt idx="4367">
                  <c:v>30.719-30.726</c:v>
                </c:pt>
                <c:pt idx="4368">
                  <c:v>30.726-30.733</c:v>
                </c:pt>
                <c:pt idx="4369">
                  <c:v>30.733-30.740</c:v>
                </c:pt>
                <c:pt idx="4370">
                  <c:v>30.740-30.747</c:v>
                </c:pt>
                <c:pt idx="4371">
                  <c:v>30.747-30.754</c:v>
                </c:pt>
                <c:pt idx="4372">
                  <c:v>30.754-30.761</c:v>
                </c:pt>
                <c:pt idx="4373">
                  <c:v>30.761-30.768</c:v>
                </c:pt>
                <c:pt idx="4374">
                  <c:v>30.768-30.775</c:v>
                </c:pt>
                <c:pt idx="4375">
                  <c:v>30.775-30.782</c:v>
                </c:pt>
                <c:pt idx="4376">
                  <c:v>30.782-30.789</c:v>
                </c:pt>
                <c:pt idx="4377">
                  <c:v>30.789-30.796</c:v>
                </c:pt>
                <c:pt idx="4378">
                  <c:v>30.796-30.803</c:v>
                </c:pt>
                <c:pt idx="4379">
                  <c:v>30.803-30.810</c:v>
                </c:pt>
                <c:pt idx="4380">
                  <c:v>30.810-30.817</c:v>
                </c:pt>
                <c:pt idx="4381">
                  <c:v>30.817-30.824</c:v>
                </c:pt>
                <c:pt idx="4382">
                  <c:v>30.824-30.831</c:v>
                </c:pt>
                <c:pt idx="4383">
                  <c:v>30.831-30.838</c:v>
                </c:pt>
                <c:pt idx="4384">
                  <c:v>30.838-30.845</c:v>
                </c:pt>
                <c:pt idx="4385">
                  <c:v>30.845-30.852</c:v>
                </c:pt>
                <c:pt idx="4386">
                  <c:v>30.852-30.859</c:v>
                </c:pt>
                <c:pt idx="4387">
                  <c:v>30.859-30.866</c:v>
                </c:pt>
                <c:pt idx="4388">
                  <c:v>30.866-30.873</c:v>
                </c:pt>
                <c:pt idx="4389">
                  <c:v>30.873-30.880</c:v>
                </c:pt>
                <c:pt idx="4390">
                  <c:v>30.880-30.887</c:v>
                </c:pt>
                <c:pt idx="4391">
                  <c:v>30.887-30.894</c:v>
                </c:pt>
                <c:pt idx="4392">
                  <c:v>30.894-30.901</c:v>
                </c:pt>
                <c:pt idx="4393">
                  <c:v>30.901-30.908</c:v>
                </c:pt>
                <c:pt idx="4394">
                  <c:v>30.908-30.916</c:v>
                </c:pt>
                <c:pt idx="4395">
                  <c:v>30.916-30.923</c:v>
                </c:pt>
                <c:pt idx="4396">
                  <c:v>30.923-30.930</c:v>
                </c:pt>
                <c:pt idx="4397">
                  <c:v>30.930-30.937</c:v>
                </c:pt>
                <c:pt idx="4398">
                  <c:v>30.937-30.944</c:v>
                </c:pt>
                <c:pt idx="4399">
                  <c:v>30.944-30.951</c:v>
                </c:pt>
                <c:pt idx="4400">
                  <c:v>30.951-30.958</c:v>
                </c:pt>
                <c:pt idx="4401">
                  <c:v>30.958-30.965</c:v>
                </c:pt>
                <c:pt idx="4402">
                  <c:v>30.965-30.972</c:v>
                </c:pt>
                <c:pt idx="4403">
                  <c:v>30.972-30.979</c:v>
                </c:pt>
                <c:pt idx="4404">
                  <c:v>30.979-30.986</c:v>
                </c:pt>
                <c:pt idx="4405">
                  <c:v>30.986-30.993</c:v>
                </c:pt>
                <c:pt idx="4406">
                  <c:v>30.993-31.000</c:v>
                </c:pt>
                <c:pt idx="4407">
                  <c:v>31.000-31.007</c:v>
                </c:pt>
                <c:pt idx="4408">
                  <c:v>31.007-31.014</c:v>
                </c:pt>
                <c:pt idx="4409">
                  <c:v>31.014-31.021</c:v>
                </c:pt>
                <c:pt idx="4410">
                  <c:v>31.021-31.028</c:v>
                </c:pt>
                <c:pt idx="4411">
                  <c:v>31.028-31.035</c:v>
                </c:pt>
                <c:pt idx="4412">
                  <c:v>31.035-31.042</c:v>
                </c:pt>
                <c:pt idx="4413">
                  <c:v>31.042-31.049</c:v>
                </c:pt>
                <c:pt idx="4414">
                  <c:v>31.049-31.056</c:v>
                </c:pt>
                <c:pt idx="4415">
                  <c:v>31.056-31.063</c:v>
                </c:pt>
                <c:pt idx="4416">
                  <c:v>31.063-31.070</c:v>
                </c:pt>
                <c:pt idx="4417">
                  <c:v>31.070-31.077</c:v>
                </c:pt>
                <c:pt idx="4418">
                  <c:v>31.077-31.084</c:v>
                </c:pt>
                <c:pt idx="4419">
                  <c:v>31.084-31.091</c:v>
                </c:pt>
                <c:pt idx="4420">
                  <c:v>31.091-31.098</c:v>
                </c:pt>
                <c:pt idx="4421">
                  <c:v>31.098-31.105</c:v>
                </c:pt>
                <c:pt idx="4422">
                  <c:v>31.105-31.112</c:v>
                </c:pt>
                <c:pt idx="4423">
                  <c:v>31.112-31.119</c:v>
                </c:pt>
                <c:pt idx="4424">
                  <c:v>31.119-31.126</c:v>
                </c:pt>
                <c:pt idx="4425">
                  <c:v>31.126-31.134</c:v>
                </c:pt>
                <c:pt idx="4426">
                  <c:v>31.134-31.141</c:v>
                </c:pt>
                <c:pt idx="4427">
                  <c:v>31.141-31.148</c:v>
                </c:pt>
                <c:pt idx="4428">
                  <c:v>31.148-31.155</c:v>
                </c:pt>
                <c:pt idx="4429">
                  <c:v>31.155-31.162</c:v>
                </c:pt>
                <c:pt idx="4430">
                  <c:v>31.162-31.169</c:v>
                </c:pt>
                <c:pt idx="4431">
                  <c:v>31.169-31.176</c:v>
                </c:pt>
                <c:pt idx="4432">
                  <c:v>31.176-31.183</c:v>
                </c:pt>
                <c:pt idx="4433">
                  <c:v>31.183-31.190</c:v>
                </c:pt>
                <c:pt idx="4434">
                  <c:v>31.190-31.197</c:v>
                </c:pt>
                <c:pt idx="4435">
                  <c:v>31.197-31.204</c:v>
                </c:pt>
                <c:pt idx="4436">
                  <c:v>31.204-31.211</c:v>
                </c:pt>
                <c:pt idx="4437">
                  <c:v>31.211-31.218</c:v>
                </c:pt>
                <c:pt idx="4438">
                  <c:v>31.218-31.225</c:v>
                </c:pt>
                <c:pt idx="4439">
                  <c:v>31.225-31.232</c:v>
                </c:pt>
                <c:pt idx="4440">
                  <c:v>31.232-31.239</c:v>
                </c:pt>
                <c:pt idx="4441">
                  <c:v>31.239-31.246</c:v>
                </c:pt>
                <c:pt idx="4442">
                  <c:v>31.246-31.253</c:v>
                </c:pt>
                <c:pt idx="4443">
                  <c:v>31.253-31.260</c:v>
                </c:pt>
                <c:pt idx="4444">
                  <c:v>31.260-31.267</c:v>
                </c:pt>
                <c:pt idx="4445">
                  <c:v>31.267-31.274</c:v>
                </c:pt>
                <c:pt idx="4446">
                  <c:v>31.274-31.281</c:v>
                </c:pt>
                <c:pt idx="4447">
                  <c:v>31.281-31.288</c:v>
                </c:pt>
                <c:pt idx="4448">
                  <c:v>31.288-31.295</c:v>
                </c:pt>
                <c:pt idx="4449">
                  <c:v>31.295-31.302</c:v>
                </c:pt>
                <c:pt idx="4450">
                  <c:v>31.302-31.309</c:v>
                </c:pt>
                <c:pt idx="4451">
                  <c:v>31.309-31.316</c:v>
                </c:pt>
                <c:pt idx="4452">
                  <c:v>31.316-31.323</c:v>
                </c:pt>
                <c:pt idx="4453">
                  <c:v>31.323-31.330</c:v>
                </c:pt>
                <c:pt idx="4454">
                  <c:v>31.330-31.337</c:v>
                </c:pt>
                <c:pt idx="4455">
                  <c:v>31.337-31.344</c:v>
                </c:pt>
                <c:pt idx="4456">
                  <c:v>31.344-31.352</c:v>
                </c:pt>
                <c:pt idx="4457">
                  <c:v>31.352-31.359</c:v>
                </c:pt>
                <c:pt idx="4458">
                  <c:v>31.359-31.366</c:v>
                </c:pt>
                <c:pt idx="4459">
                  <c:v>31.366-31.373</c:v>
                </c:pt>
                <c:pt idx="4460">
                  <c:v>31.373-31.380</c:v>
                </c:pt>
                <c:pt idx="4461">
                  <c:v>31.380-31.387</c:v>
                </c:pt>
                <c:pt idx="4462">
                  <c:v>31.387-31.394</c:v>
                </c:pt>
                <c:pt idx="4463">
                  <c:v>31.394-31.401</c:v>
                </c:pt>
                <c:pt idx="4464">
                  <c:v>31.401-31.408</c:v>
                </c:pt>
                <c:pt idx="4465">
                  <c:v>31.408-31.415</c:v>
                </c:pt>
                <c:pt idx="4466">
                  <c:v>31.415-31.422</c:v>
                </c:pt>
                <c:pt idx="4467">
                  <c:v>31.422-31.429</c:v>
                </c:pt>
                <c:pt idx="4468">
                  <c:v>31.429-31.436</c:v>
                </c:pt>
                <c:pt idx="4469">
                  <c:v>31.436-31.443</c:v>
                </c:pt>
                <c:pt idx="4470">
                  <c:v>31.443-31.450</c:v>
                </c:pt>
                <c:pt idx="4471">
                  <c:v>31.450-31.457</c:v>
                </c:pt>
                <c:pt idx="4472">
                  <c:v>31.457-31.464</c:v>
                </c:pt>
                <c:pt idx="4473">
                  <c:v>31.464-31.471</c:v>
                </c:pt>
                <c:pt idx="4474">
                  <c:v>31.471-31.478</c:v>
                </c:pt>
                <c:pt idx="4475">
                  <c:v>31.478-31.485</c:v>
                </c:pt>
                <c:pt idx="4476">
                  <c:v>31.485-31.492</c:v>
                </c:pt>
                <c:pt idx="4477">
                  <c:v>31.492-31.499</c:v>
                </c:pt>
                <c:pt idx="4478">
                  <c:v>31.499-31.506</c:v>
                </c:pt>
                <c:pt idx="4479">
                  <c:v>31.506-31.513</c:v>
                </c:pt>
                <c:pt idx="4480">
                  <c:v>31.513-31.520</c:v>
                </c:pt>
                <c:pt idx="4481">
                  <c:v>31.520-31.527</c:v>
                </c:pt>
                <c:pt idx="4482">
                  <c:v>31.527-31.534</c:v>
                </c:pt>
                <c:pt idx="4483">
                  <c:v>31.534-31.541</c:v>
                </c:pt>
                <c:pt idx="4484">
                  <c:v>31.541-31.548</c:v>
                </c:pt>
                <c:pt idx="4485">
                  <c:v>31.548-31.555</c:v>
                </c:pt>
                <c:pt idx="4486">
                  <c:v>31.555-31.562</c:v>
                </c:pt>
                <c:pt idx="4487">
                  <c:v>31.562-31.570</c:v>
                </c:pt>
                <c:pt idx="4488">
                  <c:v>31.570-31.577</c:v>
                </c:pt>
                <c:pt idx="4489">
                  <c:v>31.577-31.584</c:v>
                </c:pt>
                <c:pt idx="4490">
                  <c:v>31.584-31.591</c:v>
                </c:pt>
                <c:pt idx="4491">
                  <c:v>31.591-31.598</c:v>
                </c:pt>
                <c:pt idx="4492">
                  <c:v>31.598-31.605</c:v>
                </c:pt>
                <c:pt idx="4493">
                  <c:v>31.605-31.612</c:v>
                </c:pt>
                <c:pt idx="4494">
                  <c:v>31.612-31.619</c:v>
                </c:pt>
                <c:pt idx="4495">
                  <c:v>31.619-31.626</c:v>
                </c:pt>
                <c:pt idx="4496">
                  <c:v>31.626-31.633</c:v>
                </c:pt>
                <c:pt idx="4497">
                  <c:v>31.633-31.640</c:v>
                </c:pt>
                <c:pt idx="4498">
                  <c:v>31.640-31.647</c:v>
                </c:pt>
                <c:pt idx="4499">
                  <c:v>31.647-31.654</c:v>
                </c:pt>
                <c:pt idx="4500">
                  <c:v>31.654-31.661</c:v>
                </c:pt>
                <c:pt idx="4501">
                  <c:v>31.661-31.668</c:v>
                </c:pt>
                <c:pt idx="4502">
                  <c:v>31.668-31.675</c:v>
                </c:pt>
                <c:pt idx="4503">
                  <c:v>31.675-31.682</c:v>
                </c:pt>
                <c:pt idx="4504">
                  <c:v>31.682-31.689</c:v>
                </c:pt>
                <c:pt idx="4505">
                  <c:v>31.689-31.696</c:v>
                </c:pt>
                <c:pt idx="4506">
                  <c:v>31.696-31.703</c:v>
                </c:pt>
                <c:pt idx="4507">
                  <c:v>31.703-31.710</c:v>
                </c:pt>
                <c:pt idx="4508">
                  <c:v>31.710-31.717</c:v>
                </c:pt>
                <c:pt idx="4509">
                  <c:v>31.717-31.724</c:v>
                </c:pt>
                <c:pt idx="4510">
                  <c:v>31.724-31.731</c:v>
                </c:pt>
                <c:pt idx="4511">
                  <c:v>31.731-31.738</c:v>
                </c:pt>
                <c:pt idx="4512">
                  <c:v>31.738-31.745</c:v>
                </c:pt>
                <c:pt idx="4513">
                  <c:v>31.745-31.752</c:v>
                </c:pt>
                <c:pt idx="4514">
                  <c:v>31.752-31.759</c:v>
                </c:pt>
                <c:pt idx="4515">
                  <c:v>31.759-31.766</c:v>
                </c:pt>
                <c:pt idx="4516">
                  <c:v>31.766-31.773</c:v>
                </c:pt>
                <c:pt idx="4517">
                  <c:v>31.773-31.780</c:v>
                </c:pt>
                <c:pt idx="4518">
                  <c:v>31.780-31.788</c:v>
                </c:pt>
                <c:pt idx="4519">
                  <c:v>31.788-31.795</c:v>
                </c:pt>
                <c:pt idx="4520">
                  <c:v>31.795-31.802</c:v>
                </c:pt>
                <c:pt idx="4521">
                  <c:v>31.802-31.809</c:v>
                </c:pt>
                <c:pt idx="4522">
                  <c:v>31.809-31.816</c:v>
                </c:pt>
                <c:pt idx="4523">
                  <c:v>31.816-31.823</c:v>
                </c:pt>
                <c:pt idx="4524">
                  <c:v>31.823-31.830</c:v>
                </c:pt>
                <c:pt idx="4525">
                  <c:v>31.830-31.837</c:v>
                </c:pt>
                <c:pt idx="4526">
                  <c:v>31.837-31.844</c:v>
                </c:pt>
                <c:pt idx="4527">
                  <c:v>31.844-31.851</c:v>
                </c:pt>
                <c:pt idx="4528">
                  <c:v>31.851-31.858</c:v>
                </c:pt>
                <c:pt idx="4529">
                  <c:v>31.858-31.865</c:v>
                </c:pt>
                <c:pt idx="4530">
                  <c:v>31.865-31.872</c:v>
                </c:pt>
                <c:pt idx="4531">
                  <c:v>31.872-31.879</c:v>
                </c:pt>
                <c:pt idx="4532">
                  <c:v>31.879-31.886</c:v>
                </c:pt>
                <c:pt idx="4533">
                  <c:v>31.886-31.893</c:v>
                </c:pt>
                <c:pt idx="4534">
                  <c:v>31.893-31.900</c:v>
                </c:pt>
                <c:pt idx="4535">
                  <c:v>31.900-31.907</c:v>
                </c:pt>
                <c:pt idx="4536">
                  <c:v>31.907-31.914</c:v>
                </c:pt>
                <c:pt idx="4537">
                  <c:v>31.914-31.921</c:v>
                </c:pt>
                <c:pt idx="4538">
                  <c:v>31.921-31.928</c:v>
                </c:pt>
                <c:pt idx="4539">
                  <c:v>31.928-31.935</c:v>
                </c:pt>
                <c:pt idx="4540">
                  <c:v>31.935-31.942</c:v>
                </c:pt>
                <c:pt idx="4541">
                  <c:v>31.942-31.949</c:v>
                </c:pt>
                <c:pt idx="4542">
                  <c:v>31.949-31.956</c:v>
                </c:pt>
                <c:pt idx="4543">
                  <c:v>31.956-31.963</c:v>
                </c:pt>
                <c:pt idx="4544">
                  <c:v>31.963-31.970</c:v>
                </c:pt>
                <c:pt idx="4545">
                  <c:v>31.970-31.977</c:v>
                </c:pt>
                <c:pt idx="4546">
                  <c:v>31.977-31.984</c:v>
                </c:pt>
                <c:pt idx="4547">
                  <c:v>31.984-31.991</c:v>
                </c:pt>
                <c:pt idx="4548">
                  <c:v>31.991-31.998</c:v>
                </c:pt>
                <c:pt idx="4549">
                  <c:v>31.998-32.006</c:v>
                </c:pt>
                <c:pt idx="4550">
                  <c:v>32.006-32.013</c:v>
                </c:pt>
                <c:pt idx="4551">
                  <c:v>32.013-32.020</c:v>
                </c:pt>
                <c:pt idx="4552">
                  <c:v>32.020-32.027</c:v>
                </c:pt>
                <c:pt idx="4553">
                  <c:v>32.027-32.034</c:v>
                </c:pt>
                <c:pt idx="4554">
                  <c:v>32.034-32.041</c:v>
                </c:pt>
                <c:pt idx="4555">
                  <c:v>32.041-32.048</c:v>
                </c:pt>
                <c:pt idx="4556">
                  <c:v>32.048-32.055</c:v>
                </c:pt>
                <c:pt idx="4557">
                  <c:v>32.055-32.062</c:v>
                </c:pt>
                <c:pt idx="4558">
                  <c:v>32.062-32.069</c:v>
                </c:pt>
                <c:pt idx="4559">
                  <c:v>32.069-32.076</c:v>
                </c:pt>
                <c:pt idx="4560">
                  <c:v>32.076-32.083</c:v>
                </c:pt>
                <c:pt idx="4561">
                  <c:v>32.083-32.090</c:v>
                </c:pt>
                <c:pt idx="4562">
                  <c:v>32.090-32.097</c:v>
                </c:pt>
                <c:pt idx="4563">
                  <c:v>32.097-32.104</c:v>
                </c:pt>
                <c:pt idx="4564">
                  <c:v>32.104-32.111</c:v>
                </c:pt>
                <c:pt idx="4565">
                  <c:v>32.111-32.118</c:v>
                </c:pt>
                <c:pt idx="4566">
                  <c:v>32.118-32.125</c:v>
                </c:pt>
                <c:pt idx="4567">
                  <c:v>32.125-32.132</c:v>
                </c:pt>
                <c:pt idx="4568">
                  <c:v>32.132-32.139</c:v>
                </c:pt>
                <c:pt idx="4569">
                  <c:v>32.139-32.146</c:v>
                </c:pt>
                <c:pt idx="4570">
                  <c:v>32.146-32.153</c:v>
                </c:pt>
                <c:pt idx="4571">
                  <c:v>32.153-32.160</c:v>
                </c:pt>
                <c:pt idx="4572">
                  <c:v>32.160-32.167</c:v>
                </c:pt>
                <c:pt idx="4573">
                  <c:v>32.167-32.174</c:v>
                </c:pt>
                <c:pt idx="4574">
                  <c:v>32.174-32.181</c:v>
                </c:pt>
                <c:pt idx="4575">
                  <c:v>32.181-32.188</c:v>
                </c:pt>
                <c:pt idx="4576">
                  <c:v>32.188-32.195</c:v>
                </c:pt>
                <c:pt idx="4577">
                  <c:v>32.195-32.202</c:v>
                </c:pt>
                <c:pt idx="4578">
                  <c:v>32.202-32.209</c:v>
                </c:pt>
                <c:pt idx="4579">
                  <c:v>32.209-32.216</c:v>
                </c:pt>
                <c:pt idx="4580">
                  <c:v>32.216-32.224</c:v>
                </c:pt>
                <c:pt idx="4581">
                  <c:v>32.224-32.231</c:v>
                </c:pt>
                <c:pt idx="4582">
                  <c:v>32.231-32.238</c:v>
                </c:pt>
                <c:pt idx="4583">
                  <c:v>32.238-32.245</c:v>
                </c:pt>
                <c:pt idx="4584">
                  <c:v>32.245-32.252</c:v>
                </c:pt>
                <c:pt idx="4585">
                  <c:v>32.252-32.259</c:v>
                </c:pt>
                <c:pt idx="4586">
                  <c:v>32.259-32.266</c:v>
                </c:pt>
                <c:pt idx="4587">
                  <c:v>32.266-32.273</c:v>
                </c:pt>
                <c:pt idx="4588">
                  <c:v>32.273-32.280</c:v>
                </c:pt>
                <c:pt idx="4589">
                  <c:v>32.280-32.287</c:v>
                </c:pt>
                <c:pt idx="4590">
                  <c:v>32.287-32.294</c:v>
                </c:pt>
                <c:pt idx="4591">
                  <c:v>32.294-32.301</c:v>
                </c:pt>
                <c:pt idx="4592">
                  <c:v>32.301-32.308</c:v>
                </c:pt>
                <c:pt idx="4593">
                  <c:v>32.308-32.315</c:v>
                </c:pt>
                <c:pt idx="4594">
                  <c:v>32.315-32.322</c:v>
                </c:pt>
                <c:pt idx="4595">
                  <c:v>32.322-32.329</c:v>
                </c:pt>
                <c:pt idx="4596">
                  <c:v>32.329-32.336</c:v>
                </c:pt>
                <c:pt idx="4597">
                  <c:v>32.336-32.343</c:v>
                </c:pt>
                <c:pt idx="4598">
                  <c:v>32.343-32.350</c:v>
                </c:pt>
                <c:pt idx="4599">
                  <c:v>32.350-32.357</c:v>
                </c:pt>
                <c:pt idx="4600">
                  <c:v>32.357-32.364</c:v>
                </c:pt>
                <c:pt idx="4601">
                  <c:v>32.364-32.371</c:v>
                </c:pt>
                <c:pt idx="4602">
                  <c:v>32.371-32.378</c:v>
                </c:pt>
                <c:pt idx="4603">
                  <c:v>32.378-32.385</c:v>
                </c:pt>
                <c:pt idx="4604">
                  <c:v>32.385-32.392</c:v>
                </c:pt>
                <c:pt idx="4605">
                  <c:v>32.392-32.399</c:v>
                </c:pt>
                <c:pt idx="4606">
                  <c:v>32.399-32.406</c:v>
                </c:pt>
                <c:pt idx="4607">
                  <c:v>32.406-32.413</c:v>
                </c:pt>
                <c:pt idx="4608">
                  <c:v>32.413-32.420</c:v>
                </c:pt>
                <c:pt idx="4609">
                  <c:v>32.420-32.427</c:v>
                </c:pt>
                <c:pt idx="4610">
                  <c:v>32.427-32.434</c:v>
                </c:pt>
                <c:pt idx="4611">
                  <c:v>32.434-32.442</c:v>
                </c:pt>
                <c:pt idx="4612">
                  <c:v>32.442-32.449</c:v>
                </c:pt>
                <c:pt idx="4613">
                  <c:v>32.449-32.456</c:v>
                </c:pt>
                <c:pt idx="4614">
                  <c:v>32.456-32.463</c:v>
                </c:pt>
                <c:pt idx="4615">
                  <c:v>32.463-32.470</c:v>
                </c:pt>
                <c:pt idx="4616">
                  <c:v>32.470-32.477</c:v>
                </c:pt>
                <c:pt idx="4617">
                  <c:v>32.477-32.484</c:v>
                </c:pt>
                <c:pt idx="4618">
                  <c:v>32.484-32.491</c:v>
                </c:pt>
                <c:pt idx="4619">
                  <c:v>32.491-32.498</c:v>
                </c:pt>
                <c:pt idx="4620">
                  <c:v>32.498-32.505</c:v>
                </c:pt>
                <c:pt idx="4621">
                  <c:v>32.505-32.512</c:v>
                </c:pt>
                <c:pt idx="4622">
                  <c:v>32.512-32.519</c:v>
                </c:pt>
                <c:pt idx="4623">
                  <c:v>32.519-32.526</c:v>
                </c:pt>
                <c:pt idx="4624">
                  <c:v>32.526-32.533</c:v>
                </c:pt>
                <c:pt idx="4625">
                  <c:v>32.533-32.540</c:v>
                </c:pt>
                <c:pt idx="4626">
                  <c:v>32.540-32.547</c:v>
                </c:pt>
                <c:pt idx="4627">
                  <c:v>32.547-32.554</c:v>
                </c:pt>
                <c:pt idx="4628">
                  <c:v>32.554-32.561</c:v>
                </c:pt>
                <c:pt idx="4629">
                  <c:v>32.561-32.568</c:v>
                </c:pt>
                <c:pt idx="4630">
                  <c:v>32.568-32.575</c:v>
                </c:pt>
                <c:pt idx="4631">
                  <c:v>32.575-32.582</c:v>
                </c:pt>
                <c:pt idx="4632">
                  <c:v>32.582-32.589</c:v>
                </c:pt>
                <c:pt idx="4633">
                  <c:v>32.589-32.596</c:v>
                </c:pt>
                <c:pt idx="4634">
                  <c:v>32.596-32.603</c:v>
                </c:pt>
                <c:pt idx="4635">
                  <c:v>32.603-32.610</c:v>
                </c:pt>
                <c:pt idx="4636">
                  <c:v>32.610-32.617</c:v>
                </c:pt>
                <c:pt idx="4637">
                  <c:v>32.617-32.624</c:v>
                </c:pt>
                <c:pt idx="4638">
                  <c:v>32.624-32.631</c:v>
                </c:pt>
                <c:pt idx="4639">
                  <c:v>32.631-32.638</c:v>
                </c:pt>
                <c:pt idx="4640">
                  <c:v>32.638-32.645</c:v>
                </c:pt>
                <c:pt idx="4641">
                  <c:v>32.645-32.652</c:v>
                </c:pt>
                <c:pt idx="4642">
                  <c:v>32.652-32.660</c:v>
                </c:pt>
                <c:pt idx="4643">
                  <c:v>32.660-32.667</c:v>
                </c:pt>
                <c:pt idx="4644">
                  <c:v>32.667-32.674</c:v>
                </c:pt>
                <c:pt idx="4645">
                  <c:v>32.674-32.681</c:v>
                </c:pt>
                <c:pt idx="4646">
                  <c:v>32.681-32.688</c:v>
                </c:pt>
                <c:pt idx="4647">
                  <c:v>32.688-32.695</c:v>
                </c:pt>
                <c:pt idx="4648">
                  <c:v>32.695-32.702</c:v>
                </c:pt>
                <c:pt idx="4649">
                  <c:v>32.702-32.709</c:v>
                </c:pt>
                <c:pt idx="4650">
                  <c:v>32.709-32.716</c:v>
                </c:pt>
                <c:pt idx="4651">
                  <c:v>32.716-32.723</c:v>
                </c:pt>
                <c:pt idx="4652">
                  <c:v>32.723-32.730</c:v>
                </c:pt>
                <c:pt idx="4653">
                  <c:v>32.730-32.737</c:v>
                </c:pt>
                <c:pt idx="4654">
                  <c:v>32.737-32.744</c:v>
                </c:pt>
                <c:pt idx="4655">
                  <c:v>32.744-32.751</c:v>
                </c:pt>
                <c:pt idx="4656">
                  <c:v>32.751-32.758</c:v>
                </c:pt>
                <c:pt idx="4657">
                  <c:v>32.758-32.765</c:v>
                </c:pt>
                <c:pt idx="4658">
                  <c:v>32.765-32.772</c:v>
                </c:pt>
                <c:pt idx="4659">
                  <c:v>32.772-32.779</c:v>
                </c:pt>
                <c:pt idx="4660">
                  <c:v>32.779-32.786</c:v>
                </c:pt>
                <c:pt idx="4661">
                  <c:v>32.786-32.793</c:v>
                </c:pt>
                <c:pt idx="4662">
                  <c:v>32.793-32.800</c:v>
                </c:pt>
                <c:pt idx="4663">
                  <c:v>32.800-32.807</c:v>
                </c:pt>
                <c:pt idx="4664">
                  <c:v>32.807-32.814</c:v>
                </c:pt>
                <c:pt idx="4665">
                  <c:v>32.814-32.821</c:v>
                </c:pt>
                <c:pt idx="4666">
                  <c:v>32.821-32.828</c:v>
                </c:pt>
                <c:pt idx="4667">
                  <c:v>32.828-32.835</c:v>
                </c:pt>
                <c:pt idx="4668">
                  <c:v>32.835-32.842</c:v>
                </c:pt>
                <c:pt idx="4669">
                  <c:v>32.842-32.849</c:v>
                </c:pt>
                <c:pt idx="4670">
                  <c:v>32.849-32.856</c:v>
                </c:pt>
                <c:pt idx="4671">
                  <c:v>32.856-32.863</c:v>
                </c:pt>
                <c:pt idx="4672">
                  <c:v>32.863-32.870</c:v>
                </c:pt>
                <c:pt idx="4673">
                  <c:v>32.870-32.878</c:v>
                </c:pt>
                <c:pt idx="4674">
                  <c:v>32.878-32.885</c:v>
                </c:pt>
                <c:pt idx="4675">
                  <c:v>32.885-32.892</c:v>
                </c:pt>
                <c:pt idx="4676">
                  <c:v>32.892-32.899</c:v>
                </c:pt>
                <c:pt idx="4677">
                  <c:v>32.899-32.906</c:v>
                </c:pt>
                <c:pt idx="4678">
                  <c:v>32.906-32.913</c:v>
                </c:pt>
                <c:pt idx="4679">
                  <c:v>32.913-32.920</c:v>
                </c:pt>
                <c:pt idx="4680">
                  <c:v>32.920-32.927</c:v>
                </c:pt>
                <c:pt idx="4681">
                  <c:v>32.927-32.934</c:v>
                </c:pt>
                <c:pt idx="4682">
                  <c:v>32.934-32.941</c:v>
                </c:pt>
                <c:pt idx="4683">
                  <c:v>32.941-32.948</c:v>
                </c:pt>
                <c:pt idx="4684">
                  <c:v>32.948-32.955</c:v>
                </c:pt>
                <c:pt idx="4685">
                  <c:v>32.955-32.962</c:v>
                </c:pt>
                <c:pt idx="4686">
                  <c:v>32.962-32.969</c:v>
                </c:pt>
                <c:pt idx="4687">
                  <c:v>32.969-32.976</c:v>
                </c:pt>
                <c:pt idx="4688">
                  <c:v>32.976-32.983</c:v>
                </c:pt>
                <c:pt idx="4689">
                  <c:v>32.983-32.990</c:v>
                </c:pt>
                <c:pt idx="4690">
                  <c:v>32.990-32.997</c:v>
                </c:pt>
                <c:pt idx="4691">
                  <c:v>32.997-33.004</c:v>
                </c:pt>
                <c:pt idx="4692">
                  <c:v>33.004-33.011</c:v>
                </c:pt>
                <c:pt idx="4693">
                  <c:v>33.011-33.018</c:v>
                </c:pt>
                <c:pt idx="4694">
                  <c:v>33.018-33.025</c:v>
                </c:pt>
                <c:pt idx="4695">
                  <c:v>33.025-33.032</c:v>
                </c:pt>
                <c:pt idx="4696">
                  <c:v>33.032-33.039</c:v>
                </c:pt>
                <c:pt idx="4697">
                  <c:v>33.039-33.046</c:v>
                </c:pt>
                <c:pt idx="4698">
                  <c:v>33.046-33.053</c:v>
                </c:pt>
                <c:pt idx="4699">
                  <c:v>33.053-33.060</c:v>
                </c:pt>
                <c:pt idx="4700">
                  <c:v>33.060-33.067</c:v>
                </c:pt>
                <c:pt idx="4701">
                  <c:v>33.067-33.074</c:v>
                </c:pt>
                <c:pt idx="4702">
                  <c:v>33.074-33.081</c:v>
                </c:pt>
                <c:pt idx="4703">
                  <c:v>33.081-33.088</c:v>
                </c:pt>
                <c:pt idx="4704">
                  <c:v>33.088-33.096</c:v>
                </c:pt>
                <c:pt idx="4705">
                  <c:v>33.096-33.103</c:v>
                </c:pt>
                <c:pt idx="4706">
                  <c:v>33.103-33.110</c:v>
                </c:pt>
                <c:pt idx="4707">
                  <c:v>33.110-33.117</c:v>
                </c:pt>
                <c:pt idx="4708">
                  <c:v>33.117-33.124</c:v>
                </c:pt>
                <c:pt idx="4709">
                  <c:v>33.124-33.131</c:v>
                </c:pt>
                <c:pt idx="4710">
                  <c:v>33.131-33.138</c:v>
                </c:pt>
                <c:pt idx="4711">
                  <c:v>33.138-33.145</c:v>
                </c:pt>
                <c:pt idx="4712">
                  <c:v>33.145-33.152</c:v>
                </c:pt>
                <c:pt idx="4713">
                  <c:v>33.152-33.159</c:v>
                </c:pt>
                <c:pt idx="4714">
                  <c:v>33.159-33.166</c:v>
                </c:pt>
                <c:pt idx="4715">
                  <c:v>33.166-33.173</c:v>
                </c:pt>
                <c:pt idx="4716">
                  <c:v>33.173-33.180</c:v>
                </c:pt>
                <c:pt idx="4717">
                  <c:v>33.180-33.187</c:v>
                </c:pt>
                <c:pt idx="4718">
                  <c:v>33.187-33.194</c:v>
                </c:pt>
                <c:pt idx="4719">
                  <c:v>33.194-33.201</c:v>
                </c:pt>
                <c:pt idx="4720">
                  <c:v>33.201-33.208</c:v>
                </c:pt>
                <c:pt idx="4721">
                  <c:v>33.208-33.215</c:v>
                </c:pt>
                <c:pt idx="4722">
                  <c:v>33.215-33.222</c:v>
                </c:pt>
                <c:pt idx="4723">
                  <c:v>33.222-33.229</c:v>
                </c:pt>
                <c:pt idx="4724">
                  <c:v>33.229-33.236</c:v>
                </c:pt>
                <c:pt idx="4725">
                  <c:v>33.236-33.243</c:v>
                </c:pt>
                <c:pt idx="4726">
                  <c:v>33.243-33.250</c:v>
                </c:pt>
                <c:pt idx="4727">
                  <c:v>33.250-33.257</c:v>
                </c:pt>
                <c:pt idx="4728">
                  <c:v>33.257-33.264</c:v>
                </c:pt>
                <c:pt idx="4729">
                  <c:v>33.264-33.271</c:v>
                </c:pt>
                <c:pt idx="4730">
                  <c:v>33.271-33.278</c:v>
                </c:pt>
                <c:pt idx="4731">
                  <c:v>33.278-33.285</c:v>
                </c:pt>
                <c:pt idx="4732">
                  <c:v>33.285-33.292</c:v>
                </c:pt>
                <c:pt idx="4733">
                  <c:v>33.292-33.299</c:v>
                </c:pt>
                <c:pt idx="4734">
                  <c:v>33.299-33.306</c:v>
                </c:pt>
                <c:pt idx="4735">
                  <c:v>33.306-33.313</c:v>
                </c:pt>
                <c:pt idx="4736">
                  <c:v>33.313-33.321</c:v>
                </c:pt>
                <c:pt idx="4737">
                  <c:v>33.321-33.328</c:v>
                </c:pt>
                <c:pt idx="4738">
                  <c:v>33.328-33.335</c:v>
                </c:pt>
                <c:pt idx="4739">
                  <c:v>33.335-33.342</c:v>
                </c:pt>
                <c:pt idx="4740">
                  <c:v>33.342-33.349</c:v>
                </c:pt>
                <c:pt idx="4741">
                  <c:v>33.349-33.356</c:v>
                </c:pt>
                <c:pt idx="4742">
                  <c:v>33.356-33.363</c:v>
                </c:pt>
                <c:pt idx="4743">
                  <c:v>33.363-33.370</c:v>
                </c:pt>
                <c:pt idx="4744">
                  <c:v>33.370-33.377</c:v>
                </c:pt>
                <c:pt idx="4745">
                  <c:v>33.377-33.384</c:v>
                </c:pt>
                <c:pt idx="4746">
                  <c:v>33.384-33.391</c:v>
                </c:pt>
                <c:pt idx="4747">
                  <c:v>33.391-33.398</c:v>
                </c:pt>
                <c:pt idx="4748">
                  <c:v>33.398-33.405</c:v>
                </c:pt>
                <c:pt idx="4749">
                  <c:v>33.405-33.412</c:v>
                </c:pt>
                <c:pt idx="4750">
                  <c:v>33.412-33.419</c:v>
                </c:pt>
                <c:pt idx="4751">
                  <c:v>33.419-33.426</c:v>
                </c:pt>
                <c:pt idx="4752">
                  <c:v>33.426-33.433</c:v>
                </c:pt>
                <c:pt idx="4753">
                  <c:v>33.433-33.440</c:v>
                </c:pt>
                <c:pt idx="4754">
                  <c:v>33.440-33.447</c:v>
                </c:pt>
                <c:pt idx="4755">
                  <c:v>33.447-33.454</c:v>
                </c:pt>
                <c:pt idx="4756">
                  <c:v>33.454-33.461</c:v>
                </c:pt>
                <c:pt idx="4757">
                  <c:v>33.461-33.468</c:v>
                </c:pt>
                <c:pt idx="4758">
                  <c:v>33.468-33.475</c:v>
                </c:pt>
                <c:pt idx="4759">
                  <c:v>33.475-33.482</c:v>
                </c:pt>
                <c:pt idx="4760">
                  <c:v>33.482-33.489</c:v>
                </c:pt>
                <c:pt idx="4761">
                  <c:v>33.489-33.496</c:v>
                </c:pt>
                <c:pt idx="4762">
                  <c:v>33.496-33.503</c:v>
                </c:pt>
                <c:pt idx="4763">
                  <c:v>33.503-33.510</c:v>
                </c:pt>
                <c:pt idx="4764">
                  <c:v>33.510-33.517</c:v>
                </c:pt>
                <c:pt idx="4765">
                  <c:v>33.517-33.524</c:v>
                </c:pt>
                <c:pt idx="4766">
                  <c:v>33.524-33.531</c:v>
                </c:pt>
                <c:pt idx="4767">
                  <c:v>33.531-33.539</c:v>
                </c:pt>
                <c:pt idx="4768">
                  <c:v>33.539-33.546</c:v>
                </c:pt>
                <c:pt idx="4769">
                  <c:v>33.546-33.553</c:v>
                </c:pt>
                <c:pt idx="4770">
                  <c:v>33.553-33.560</c:v>
                </c:pt>
                <c:pt idx="4771">
                  <c:v>33.560-33.567</c:v>
                </c:pt>
                <c:pt idx="4772">
                  <c:v>33.567-33.574</c:v>
                </c:pt>
                <c:pt idx="4773">
                  <c:v>33.574-33.581</c:v>
                </c:pt>
                <c:pt idx="4774">
                  <c:v>33.581-33.588</c:v>
                </c:pt>
                <c:pt idx="4775">
                  <c:v>33.588-33.595</c:v>
                </c:pt>
                <c:pt idx="4776">
                  <c:v>33.595-33.602</c:v>
                </c:pt>
                <c:pt idx="4777">
                  <c:v>33.602-33.609</c:v>
                </c:pt>
                <c:pt idx="4778">
                  <c:v>33.609-33.616</c:v>
                </c:pt>
                <c:pt idx="4779">
                  <c:v>33.616-33.623</c:v>
                </c:pt>
                <c:pt idx="4780">
                  <c:v>33.623-33.630</c:v>
                </c:pt>
                <c:pt idx="4781">
                  <c:v>33.630-33.637</c:v>
                </c:pt>
                <c:pt idx="4782">
                  <c:v>33.637-33.644</c:v>
                </c:pt>
                <c:pt idx="4783">
                  <c:v>33.644-33.651</c:v>
                </c:pt>
                <c:pt idx="4784">
                  <c:v>33.651-33.658</c:v>
                </c:pt>
                <c:pt idx="4785">
                  <c:v>33.658-33.665</c:v>
                </c:pt>
                <c:pt idx="4786">
                  <c:v>33.665-33.672</c:v>
                </c:pt>
                <c:pt idx="4787">
                  <c:v>33.672-33.679</c:v>
                </c:pt>
                <c:pt idx="4788">
                  <c:v>33.679-33.686</c:v>
                </c:pt>
                <c:pt idx="4789">
                  <c:v>33.686-33.693</c:v>
                </c:pt>
                <c:pt idx="4790">
                  <c:v>33.693-33.700</c:v>
                </c:pt>
                <c:pt idx="4791">
                  <c:v>33.700-33.707</c:v>
                </c:pt>
                <c:pt idx="4792">
                  <c:v>33.707-33.714</c:v>
                </c:pt>
                <c:pt idx="4793">
                  <c:v>33.714-33.721</c:v>
                </c:pt>
                <c:pt idx="4794">
                  <c:v>33.721-33.728</c:v>
                </c:pt>
                <c:pt idx="4795">
                  <c:v>33.728-33.735</c:v>
                </c:pt>
                <c:pt idx="4796">
                  <c:v>33.735-33.742</c:v>
                </c:pt>
                <c:pt idx="4797">
                  <c:v>33.742-33.749</c:v>
                </c:pt>
                <c:pt idx="4798">
                  <c:v>33.749-33.757</c:v>
                </c:pt>
                <c:pt idx="4799">
                  <c:v>33.757-33.764</c:v>
                </c:pt>
                <c:pt idx="4800">
                  <c:v>33.764-33.771</c:v>
                </c:pt>
                <c:pt idx="4801">
                  <c:v>33.771-33.778</c:v>
                </c:pt>
                <c:pt idx="4802">
                  <c:v>33.778-33.785</c:v>
                </c:pt>
                <c:pt idx="4803">
                  <c:v>33.785-33.792</c:v>
                </c:pt>
                <c:pt idx="4804">
                  <c:v>33.792-33.799</c:v>
                </c:pt>
                <c:pt idx="4805">
                  <c:v>33.799-33.806</c:v>
                </c:pt>
                <c:pt idx="4806">
                  <c:v>33.806-33.813</c:v>
                </c:pt>
                <c:pt idx="4807">
                  <c:v>33.813-33.820</c:v>
                </c:pt>
                <c:pt idx="4808">
                  <c:v>33.820-33.827</c:v>
                </c:pt>
                <c:pt idx="4809">
                  <c:v>33.827-33.834</c:v>
                </c:pt>
                <c:pt idx="4810">
                  <c:v>33.834-33.841</c:v>
                </c:pt>
                <c:pt idx="4811">
                  <c:v>33.841-33.848</c:v>
                </c:pt>
                <c:pt idx="4812">
                  <c:v>33.848-33.855</c:v>
                </c:pt>
                <c:pt idx="4813">
                  <c:v>33.855-33.862</c:v>
                </c:pt>
                <c:pt idx="4814">
                  <c:v>33.862-33.869</c:v>
                </c:pt>
                <c:pt idx="4815">
                  <c:v>33.869-33.876</c:v>
                </c:pt>
                <c:pt idx="4816">
                  <c:v>33.876-33.883</c:v>
                </c:pt>
                <c:pt idx="4817">
                  <c:v>33.883-33.890</c:v>
                </c:pt>
                <c:pt idx="4818">
                  <c:v>33.890-33.897</c:v>
                </c:pt>
                <c:pt idx="4819">
                  <c:v>33.897-33.904</c:v>
                </c:pt>
                <c:pt idx="4820">
                  <c:v>33.904-33.911</c:v>
                </c:pt>
                <c:pt idx="4821">
                  <c:v>33.911-33.918</c:v>
                </c:pt>
                <c:pt idx="4822">
                  <c:v>33.918-33.925</c:v>
                </c:pt>
                <c:pt idx="4823">
                  <c:v>33.925-33.932</c:v>
                </c:pt>
                <c:pt idx="4824">
                  <c:v>33.932-33.939</c:v>
                </c:pt>
                <c:pt idx="4825">
                  <c:v>33.939-33.946</c:v>
                </c:pt>
                <c:pt idx="4826">
                  <c:v>33.946-33.953</c:v>
                </c:pt>
                <c:pt idx="4827">
                  <c:v>33.953-33.960</c:v>
                </c:pt>
                <c:pt idx="4828">
                  <c:v>33.960-33.967</c:v>
                </c:pt>
                <c:pt idx="4829">
                  <c:v>33.967-33.975</c:v>
                </c:pt>
                <c:pt idx="4830">
                  <c:v>33.975-33.982</c:v>
                </c:pt>
                <c:pt idx="4831">
                  <c:v>33.982-33.989</c:v>
                </c:pt>
                <c:pt idx="4832">
                  <c:v>33.989-33.996</c:v>
                </c:pt>
                <c:pt idx="4833">
                  <c:v>33.996-34.003</c:v>
                </c:pt>
                <c:pt idx="4834">
                  <c:v>34.003-34.010</c:v>
                </c:pt>
                <c:pt idx="4835">
                  <c:v>34.010-34.017</c:v>
                </c:pt>
                <c:pt idx="4836">
                  <c:v>34.017-34.024</c:v>
                </c:pt>
                <c:pt idx="4837">
                  <c:v>34.024-34.031</c:v>
                </c:pt>
                <c:pt idx="4838">
                  <c:v>34.031-34.038</c:v>
                </c:pt>
                <c:pt idx="4839">
                  <c:v>34.038-34.045</c:v>
                </c:pt>
                <c:pt idx="4840">
                  <c:v>34.045-34.052</c:v>
                </c:pt>
                <c:pt idx="4841">
                  <c:v>34.052-34.059</c:v>
                </c:pt>
                <c:pt idx="4842">
                  <c:v>34.059-34.066</c:v>
                </c:pt>
                <c:pt idx="4843">
                  <c:v>34.066-34.073</c:v>
                </c:pt>
                <c:pt idx="4844">
                  <c:v>34.073-34.080</c:v>
                </c:pt>
                <c:pt idx="4845">
                  <c:v>34.080-34.087</c:v>
                </c:pt>
                <c:pt idx="4846">
                  <c:v>34.087-34.094</c:v>
                </c:pt>
                <c:pt idx="4847">
                  <c:v>34.094-34.101</c:v>
                </c:pt>
                <c:pt idx="4848">
                  <c:v>34.101-34.108</c:v>
                </c:pt>
                <c:pt idx="4849">
                  <c:v>34.108-34.115</c:v>
                </c:pt>
                <c:pt idx="4850">
                  <c:v>34.115-34.122</c:v>
                </c:pt>
                <c:pt idx="4851">
                  <c:v>34.122-34.129</c:v>
                </c:pt>
                <c:pt idx="4852">
                  <c:v>34.129-34.136</c:v>
                </c:pt>
                <c:pt idx="4853">
                  <c:v>34.136-34.143</c:v>
                </c:pt>
                <c:pt idx="4854">
                  <c:v>34.143-34.150</c:v>
                </c:pt>
                <c:pt idx="4855">
                  <c:v>34.150-34.157</c:v>
                </c:pt>
                <c:pt idx="4856">
                  <c:v>34.157-34.164</c:v>
                </c:pt>
                <c:pt idx="4857">
                  <c:v>34.164-34.171</c:v>
                </c:pt>
                <c:pt idx="4858">
                  <c:v>34.171-34.178</c:v>
                </c:pt>
                <c:pt idx="4859">
                  <c:v>34.178-34.185</c:v>
                </c:pt>
                <c:pt idx="4860">
                  <c:v>34.185-34.193</c:v>
                </c:pt>
                <c:pt idx="4861">
                  <c:v>34.193-34.200</c:v>
                </c:pt>
                <c:pt idx="4862">
                  <c:v>34.200-34.207</c:v>
                </c:pt>
                <c:pt idx="4863">
                  <c:v>34.207-34.214</c:v>
                </c:pt>
                <c:pt idx="4864">
                  <c:v>34.214-34.221</c:v>
                </c:pt>
                <c:pt idx="4865">
                  <c:v>34.221-34.228</c:v>
                </c:pt>
                <c:pt idx="4866">
                  <c:v>34.228-34.235</c:v>
                </c:pt>
                <c:pt idx="4867">
                  <c:v>34.235-34.242</c:v>
                </c:pt>
                <c:pt idx="4868">
                  <c:v>34.242-34.249</c:v>
                </c:pt>
                <c:pt idx="4869">
                  <c:v>34.249-34.256</c:v>
                </c:pt>
                <c:pt idx="4870">
                  <c:v>34.256-34.263</c:v>
                </c:pt>
                <c:pt idx="4871">
                  <c:v>34.263-34.270</c:v>
                </c:pt>
                <c:pt idx="4872">
                  <c:v>34.270-34.277</c:v>
                </c:pt>
                <c:pt idx="4873">
                  <c:v>34.277-34.284</c:v>
                </c:pt>
                <c:pt idx="4874">
                  <c:v>34.284-34.291</c:v>
                </c:pt>
                <c:pt idx="4875">
                  <c:v>34.291-34.298</c:v>
                </c:pt>
                <c:pt idx="4876">
                  <c:v>34.298-34.305</c:v>
                </c:pt>
                <c:pt idx="4877">
                  <c:v>34.305-34.312</c:v>
                </c:pt>
                <c:pt idx="4878">
                  <c:v>34.312-34.319</c:v>
                </c:pt>
                <c:pt idx="4879">
                  <c:v>34.319-34.326</c:v>
                </c:pt>
                <c:pt idx="4880">
                  <c:v>34.326-34.333</c:v>
                </c:pt>
                <c:pt idx="4881">
                  <c:v>34.333-34.340</c:v>
                </c:pt>
                <c:pt idx="4882">
                  <c:v>34.340-34.347</c:v>
                </c:pt>
                <c:pt idx="4883">
                  <c:v>34.347-34.354</c:v>
                </c:pt>
                <c:pt idx="4884">
                  <c:v>34.354-34.361</c:v>
                </c:pt>
                <c:pt idx="4885">
                  <c:v>34.361-34.368</c:v>
                </c:pt>
                <c:pt idx="4886">
                  <c:v>34.368-34.375</c:v>
                </c:pt>
                <c:pt idx="4887">
                  <c:v>34.375-34.382</c:v>
                </c:pt>
                <c:pt idx="4888">
                  <c:v>34.382-34.389</c:v>
                </c:pt>
                <c:pt idx="4889">
                  <c:v>34.389-34.396</c:v>
                </c:pt>
                <c:pt idx="4890">
                  <c:v>34.396-34.403</c:v>
                </c:pt>
                <c:pt idx="4891">
                  <c:v>34.403-34.411</c:v>
                </c:pt>
                <c:pt idx="4892">
                  <c:v>34.411-34.418</c:v>
                </c:pt>
                <c:pt idx="4893">
                  <c:v>34.418-34.425</c:v>
                </c:pt>
                <c:pt idx="4894">
                  <c:v>34.425-34.432</c:v>
                </c:pt>
                <c:pt idx="4895">
                  <c:v>34.432-34.439</c:v>
                </c:pt>
                <c:pt idx="4896">
                  <c:v>34.439-34.446</c:v>
                </c:pt>
                <c:pt idx="4897">
                  <c:v>34.446-34.453</c:v>
                </c:pt>
                <c:pt idx="4898">
                  <c:v>34.453-34.460</c:v>
                </c:pt>
                <c:pt idx="4899">
                  <c:v>34.460-34.467</c:v>
                </c:pt>
                <c:pt idx="4900">
                  <c:v>34.467-34.474</c:v>
                </c:pt>
                <c:pt idx="4901">
                  <c:v>34.474-34.481</c:v>
                </c:pt>
                <c:pt idx="4902">
                  <c:v>34.481-34.488</c:v>
                </c:pt>
                <c:pt idx="4903">
                  <c:v>34.488-34.495</c:v>
                </c:pt>
                <c:pt idx="4904">
                  <c:v>34.495-34.502</c:v>
                </c:pt>
                <c:pt idx="4905">
                  <c:v>34.502-34.509</c:v>
                </c:pt>
                <c:pt idx="4906">
                  <c:v>34.509-34.516</c:v>
                </c:pt>
                <c:pt idx="4907">
                  <c:v>34.516-34.523</c:v>
                </c:pt>
                <c:pt idx="4908">
                  <c:v>34.523-34.530</c:v>
                </c:pt>
                <c:pt idx="4909">
                  <c:v>34.530-34.537</c:v>
                </c:pt>
                <c:pt idx="4910">
                  <c:v>34.537-34.544</c:v>
                </c:pt>
                <c:pt idx="4911">
                  <c:v>34.544-34.551</c:v>
                </c:pt>
                <c:pt idx="4912">
                  <c:v>34.551-34.558</c:v>
                </c:pt>
                <c:pt idx="4913">
                  <c:v>34.558-34.565</c:v>
                </c:pt>
                <c:pt idx="4914">
                  <c:v>34.565-34.572</c:v>
                </c:pt>
                <c:pt idx="4915">
                  <c:v>34.572-34.579</c:v>
                </c:pt>
                <c:pt idx="4916">
                  <c:v>34.579-34.586</c:v>
                </c:pt>
                <c:pt idx="4917">
                  <c:v>34.586-34.593</c:v>
                </c:pt>
                <c:pt idx="4918">
                  <c:v>34.593-34.600</c:v>
                </c:pt>
                <c:pt idx="4919">
                  <c:v>34.600-34.607</c:v>
                </c:pt>
                <c:pt idx="4920">
                  <c:v>34.607-34.614</c:v>
                </c:pt>
                <c:pt idx="4921">
                  <c:v>34.614-34.621</c:v>
                </c:pt>
                <c:pt idx="4922">
                  <c:v>34.621-34.629</c:v>
                </c:pt>
                <c:pt idx="4923">
                  <c:v>34.629-34.636</c:v>
                </c:pt>
                <c:pt idx="4924">
                  <c:v>34.636-34.643</c:v>
                </c:pt>
                <c:pt idx="4925">
                  <c:v>34.643-34.650</c:v>
                </c:pt>
                <c:pt idx="4926">
                  <c:v>34.650-34.657</c:v>
                </c:pt>
                <c:pt idx="4927">
                  <c:v>34.657-34.664</c:v>
                </c:pt>
                <c:pt idx="4928">
                  <c:v>34.664-34.671</c:v>
                </c:pt>
                <c:pt idx="4929">
                  <c:v>34.671-34.678</c:v>
                </c:pt>
                <c:pt idx="4930">
                  <c:v>34.678-34.685</c:v>
                </c:pt>
                <c:pt idx="4931">
                  <c:v>34.685-34.692</c:v>
                </c:pt>
                <c:pt idx="4932">
                  <c:v>34.692-34.699</c:v>
                </c:pt>
                <c:pt idx="4933">
                  <c:v>34.699-34.706</c:v>
                </c:pt>
                <c:pt idx="4934">
                  <c:v>34.706-34.713</c:v>
                </c:pt>
                <c:pt idx="4935">
                  <c:v>34.713-34.720</c:v>
                </c:pt>
                <c:pt idx="4936">
                  <c:v>34.720-34.727</c:v>
                </c:pt>
                <c:pt idx="4937">
                  <c:v>34.727-34.734</c:v>
                </c:pt>
                <c:pt idx="4938">
                  <c:v>34.734-34.741</c:v>
                </c:pt>
                <c:pt idx="4939">
                  <c:v>34.741-34.748</c:v>
                </c:pt>
                <c:pt idx="4940">
                  <c:v>34.748-34.755</c:v>
                </c:pt>
                <c:pt idx="4941">
                  <c:v>34.755-34.762</c:v>
                </c:pt>
                <c:pt idx="4942">
                  <c:v>34.762-34.769</c:v>
                </c:pt>
                <c:pt idx="4943">
                  <c:v>34.769-34.776</c:v>
                </c:pt>
                <c:pt idx="4944">
                  <c:v>34.776-34.783</c:v>
                </c:pt>
                <c:pt idx="4945">
                  <c:v>34.783-34.790</c:v>
                </c:pt>
                <c:pt idx="4946">
                  <c:v>34.790-34.797</c:v>
                </c:pt>
                <c:pt idx="4947">
                  <c:v>34.797-34.804</c:v>
                </c:pt>
                <c:pt idx="4948">
                  <c:v>34.804-34.811</c:v>
                </c:pt>
                <c:pt idx="4949">
                  <c:v>34.811-34.818</c:v>
                </c:pt>
                <c:pt idx="4950">
                  <c:v>34.818-34.825</c:v>
                </c:pt>
                <c:pt idx="4951">
                  <c:v>34.825-34.832</c:v>
                </c:pt>
                <c:pt idx="4952">
                  <c:v>34.832-34.839</c:v>
                </c:pt>
                <c:pt idx="4953">
                  <c:v>34.839-34.847</c:v>
                </c:pt>
                <c:pt idx="4954">
                  <c:v>34.847-34.854</c:v>
                </c:pt>
                <c:pt idx="4955">
                  <c:v>34.854-34.861</c:v>
                </c:pt>
                <c:pt idx="4956">
                  <c:v>34.861-34.868</c:v>
                </c:pt>
                <c:pt idx="4957">
                  <c:v>34.868-34.875</c:v>
                </c:pt>
                <c:pt idx="4958">
                  <c:v>34.875-34.882</c:v>
                </c:pt>
                <c:pt idx="4959">
                  <c:v>34.882-34.889</c:v>
                </c:pt>
                <c:pt idx="4960">
                  <c:v>34.889-34.896</c:v>
                </c:pt>
                <c:pt idx="4961">
                  <c:v>34.896-34.903</c:v>
                </c:pt>
                <c:pt idx="4962">
                  <c:v>34.903-34.910</c:v>
                </c:pt>
                <c:pt idx="4963">
                  <c:v>34.910-34.917</c:v>
                </c:pt>
                <c:pt idx="4964">
                  <c:v>34.917-34.924</c:v>
                </c:pt>
                <c:pt idx="4965">
                  <c:v>34.924-34.931</c:v>
                </c:pt>
                <c:pt idx="4966">
                  <c:v>34.931-34.938</c:v>
                </c:pt>
                <c:pt idx="4967">
                  <c:v>34.938-34.945</c:v>
                </c:pt>
                <c:pt idx="4968">
                  <c:v>34.945-34.952</c:v>
                </c:pt>
                <c:pt idx="4969">
                  <c:v>34.952-34.959</c:v>
                </c:pt>
                <c:pt idx="4970">
                  <c:v>34.959-34.966</c:v>
                </c:pt>
                <c:pt idx="4971">
                  <c:v>34.966-34.973</c:v>
                </c:pt>
                <c:pt idx="4972">
                  <c:v>34.973-34.980</c:v>
                </c:pt>
                <c:pt idx="4973">
                  <c:v>34.980-34.987</c:v>
                </c:pt>
                <c:pt idx="4974">
                  <c:v>34.987-34.994</c:v>
                </c:pt>
                <c:pt idx="4975">
                  <c:v>34.994-35.001</c:v>
                </c:pt>
                <c:pt idx="4976">
                  <c:v>35.001-35.008</c:v>
                </c:pt>
                <c:pt idx="4977">
                  <c:v>35.008-35.015</c:v>
                </c:pt>
                <c:pt idx="4978">
                  <c:v>35.015-35.022</c:v>
                </c:pt>
                <c:pt idx="4979">
                  <c:v>35.022-35.029</c:v>
                </c:pt>
                <c:pt idx="4980">
                  <c:v>35.029-35.036</c:v>
                </c:pt>
                <c:pt idx="4981">
                  <c:v>35.036-35.043</c:v>
                </c:pt>
                <c:pt idx="4982">
                  <c:v>35.043-35.050</c:v>
                </c:pt>
                <c:pt idx="4983">
                  <c:v>35.050-35.057</c:v>
                </c:pt>
                <c:pt idx="4984">
                  <c:v>35.057-35.065</c:v>
                </c:pt>
                <c:pt idx="4985">
                  <c:v>35.065-35.072</c:v>
                </c:pt>
                <c:pt idx="4986">
                  <c:v>35.072-35.079</c:v>
                </c:pt>
                <c:pt idx="4987">
                  <c:v>35.079-35.086</c:v>
                </c:pt>
                <c:pt idx="4988">
                  <c:v>35.086-35.093</c:v>
                </c:pt>
                <c:pt idx="4989">
                  <c:v>35.093-35.100</c:v>
                </c:pt>
                <c:pt idx="4990">
                  <c:v>35.100-35.107</c:v>
                </c:pt>
                <c:pt idx="4991">
                  <c:v>35.107-35.114</c:v>
                </c:pt>
                <c:pt idx="4992">
                  <c:v>35.114-35.121</c:v>
                </c:pt>
                <c:pt idx="4993">
                  <c:v>35.121-35.128</c:v>
                </c:pt>
                <c:pt idx="4994">
                  <c:v>35.128-35.135</c:v>
                </c:pt>
                <c:pt idx="4995">
                  <c:v>35.135-35.142</c:v>
                </c:pt>
                <c:pt idx="4996">
                  <c:v>35.142-35.149</c:v>
                </c:pt>
                <c:pt idx="4997">
                  <c:v>35.149-35.156</c:v>
                </c:pt>
                <c:pt idx="4998">
                  <c:v>35.156-35.163</c:v>
                </c:pt>
                <c:pt idx="4999">
                  <c:v>35.163-35.170</c:v>
                </c:pt>
                <c:pt idx="5000">
                  <c:v>35.170-35.177</c:v>
                </c:pt>
                <c:pt idx="5001">
                  <c:v>35.177-35.184</c:v>
                </c:pt>
                <c:pt idx="5002">
                  <c:v>35.184-35.191</c:v>
                </c:pt>
                <c:pt idx="5003">
                  <c:v>35.191-35.198</c:v>
                </c:pt>
                <c:pt idx="5004">
                  <c:v>35.198-35.205</c:v>
                </c:pt>
                <c:pt idx="5005">
                  <c:v>35.205-35.212</c:v>
                </c:pt>
                <c:pt idx="5006">
                  <c:v>35.212-35.219</c:v>
                </c:pt>
                <c:pt idx="5007">
                  <c:v>35.219-35.226</c:v>
                </c:pt>
                <c:pt idx="5008">
                  <c:v>35.226-35.233</c:v>
                </c:pt>
                <c:pt idx="5009">
                  <c:v>35.233-35.240</c:v>
                </c:pt>
                <c:pt idx="5010">
                  <c:v>35.240-35.247</c:v>
                </c:pt>
                <c:pt idx="5011">
                  <c:v>35.247-35.254</c:v>
                </c:pt>
                <c:pt idx="5012">
                  <c:v>35.254-35.261</c:v>
                </c:pt>
                <c:pt idx="5013">
                  <c:v>35.261-35.268</c:v>
                </c:pt>
                <c:pt idx="5014">
                  <c:v>35.268-35.275</c:v>
                </c:pt>
                <c:pt idx="5015">
                  <c:v>35.275-35.283</c:v>
                </c:pt>
                <c:pt idx="5016">
                  <c:v>35.283-35.290</c:v>
                </c:pt>
                <c:pt idx="5017">
                  <c:v>35.290-35.297</c:v>
                </c:pt>
                <c:pt idx="5018">
                  <c:v>35.297-35.304</c:v>
                </c:pt>
                <c:pt idx="5019">
                  <c:v>35.304-35.311</c:v>
                </c:pt>
                <c:pt idx="5020">
                  <c:v>35.311-35.318</c:v>
                </c:pt>
                <c:pt idx="5021">
                  <c:v>35.318-35.325</c:v>
                </c:pt>
                <c:pt idx="5022">
                  <c:v>35.325-35.332</c:v>
                </c:pt>
                <c:pt idx="5023">
                  <c:v>35.332-35.339</c:v>
                </c:pt>
                <c:pt idx="5024">
                  <c:v>35.339-35.346</c:v>
                </c:pt>
                <c:pt idx="5025">
                  <c:v>35.346-35.353</c:v>
                </c:pt>
                <c:pt idx="5026">
                  <c:v>35.353-35.360</c:v>
                </c:pt>
                <c:pt idx="5027">
                  <c:v>35.360-35.367</c:v>
                </c:pt>
                <c:pt idx="5028">
                  <c:v>35.367-35.374</c:v>
                </c:pt>
                <c:pt idx="5029">
                  <c:v>35.374-35.381</c:v>
                </c:pt>
                <c:pt idx="5030">
                  <c:v>35.381-35.388</c:v>
                </c:pt>
                <c:pt idx="5031">
                  <c:v>35.388-35.395</c:v>
                </c:pt>
                <c:pt idx="5032">
                  <c:v>35.395-35.402</c:v>
                </c:pt>
                <c:pt idx="5033">
                  <c:v>35.402-35.409</c:v>
                </c:pt>
                <c:pt idx="5034">
                  <c:v>35.409-35.416</c:v>
                </c:pt>
                <c:pt idx="5035">
                  <c:v>35.416-35.423</c:v>
                </c:pt>
                <c:pt idx="5036">
                  <c:v>35.423-35.430</c:v>
                </c:pt>
                <c:pt idx="5037">
                  <c:v>35.430-35.437</c:v>
                </c:pt>
                <c:pt idx="5038">
                  <c:v>35.437-35.444</c:v>
                </c:pt>
                <c:pt idx="5039">
                  <c:v>35.444-35.451</c:v>
                </c:pt>
                <c:pt idx="5040">
                  <c:v>35.451-35.458</c:v>
                </c:pt>
                <c:pt idx="5041">
                  <c:v>35.458-35.465</c:v>
                </c:pt>
                <c:pt idx="5042">
                  <c:v>35.465-35.472</c:v>
                </c:pt>
                <c:pt idx="5043">
                  <c:v>35.472-35.479</c:v>
                </c:pt>
                <c:pt idx="5044">
                  <c:v>35.479-35.486</c:v>
                </c:pt>
                <c:pt idx="5045">
                  <c:v>35.486-35.493</c:v>
                </c:pt>
                <c:pt idx="5046">
                  <c:v>35.493-35.501</c:v>
                </c:pt>
                <c:pt idx="5047">
                  <c:v>35.501-35.508</c:v>
                </c:pt>
                <c:pt idx="5048">
                  <c:v>35.508-35.515</c:v>
                </c:pt>
                <c:pt idx="5049">
                  <c:v>35.515-35.522</c:v>
                </c:pt>
                <c:pt idx="5050">
                  <c:v>35.522-35.529</c:v>
                </c:pt>
                <c:pt idx="5051">
                  <c:v>35.529-35.536</c:v>
                </c:pt>
                <c:pt idx="5052">
                  <c:v>35.536-35.543</c:v>
                </c:pt>
                <c:pt idx="5053">
                  <c:v>35.543-35.550</c:v>
                </c:pt>
                <c:pt idx="5054">
                  <c:v>35.550-35.557</c:v>
                </c:pt>
                <c:pt idx="5055">
                  <c:v>35.557-35.564</c:v>
                </c:pt>
                <c:pt idx="5056">
                  <c:v>35.564-35.571</c:v>
                </c:pt>
                <c:pt idx="5057">
                  <c:v>35.571-35.578</c:v>
                </c:pt>
                <c:pt idx="5058">
                  <c:v>35.578-35.585</c:v>
                </c:pt>
                <c:pt idx="5059">
                  <c:v>35.585-35.592</c:v>
                </c:pt>
                <c:pt idx="5060">
                  <c:v>35.592-35.599</c:v>
                </c:pt>
                <c:pt idx="5061">
                  <c:v>35.599-35.606</c:v>
                </c:pt>
                <c:pt idx="5062">
                  <c:v>35.606-35.613</c:v>
                </c:pt>
                <c:pt idx="5063">
                  <c:v>35.613-35.620</c:v>
                </c:pt>
                <c:pt idx="5064">
                  <c:v>35.620-35.627</c:v>
                </c:pt>
                <c:pt idx="5065">
                  <c:v>35.627-35.634</c:v>
                </c:pt>
                <c:pt idx="5066">
                  <c:v>35.634-35.641</c:v>
                </c:pt>
                <c:pt idx="5067">
                  <c:v>35.641-35.648</c:v>
                </c:pt>
                <c:pt idx="5068">
                  <c:v>35.648-35.655</c:v>
                </c:pt>
                <c:pt idx="5069">
                  <c:v>35.655-35.662</c:v>
                </c:pt>
                <c:pt idx="5070">
                  <c:v>35.662-35.669</c:v>
                </c:pt>
                <c:pt idx="5071">
                  <c:v>35.669-35.676</c:v>
                </c:pt>
                <c:pt idx="5072">
                  <c:v>35.676-35.683</c:v>
                </c:pt>
                <c:pt idx="5073">
                  <c:v>35.683-35.690</c:v>
                </c:pt>
                <c:pt idx="5074">
                  <c:v>35.690-35.697</c:v>
                </c:pt>
                <c:pt idx="5075">
                  <c:v>35.697-35.704</c:v>
                </c:pt>
                <c:pt idx="5076">
                  <c:v>35.704-35.711</c:v>
                </c:pt>
                <c:pt idx="5077">
                  <c:v>35.711-35.719</c:v>
                </c:pt>
                <c:pt idx="5078">
                  <c:v>35.719-35.726</c:v>
                </c:pt>
                <c:pt idx="5079">
                  <c:v>35.726-35.733</c:v>
                </c:pt>
                <c:pt idx="5080">
                  <c:v>35.733-35.740</c:v>
                </c:pt>
                <c:pt idx="5081">
                  <c:v>35.740-35.747</c:v>
                </c:pt>
                <c:pt idx="5082">
                  <c:v>35.747-35.754</c:v>
                </c:pt>
                <c:pt idx="5083">
                  <c:v>35.754-35.761</c:v>
                </c:pt>
                <c:pt idx="5084">
                  <c:v>35.761-35.768</c:v>
                </c:pt>
                <c:pt idx="5085">
                  <c:v>35.768-35.775</c:v>
                </c:pt>
                <c:pt idx="5086">
                  <c:v>35.775-35.782</c:v>
                </c:pt>
                <c:pt idx="5087">
                  <c:v>35.782-35.789</c:v>
                </c:pt>
                <c:pt idx="5088">
                  <c:v>35.789-35.796</c:v>
                </c:pt>
                <c:pt idx="5089">
                  <c:v>35.796-35.803</c:v>
                </c:pt>
                <c:pt idx="5090">
                  <c:v>35.803-35.810</c:v>
                </c:pt>
                <c:pt idx="5091">
                  <c:v>35.810-35.817</c:v>
                </c:pt>
                <c:pt idx="5092">
                  <c:v>35.817-35.824</c:v>
                </c:pt>
                <c:pt idx="5093">
                  <c:v>35.824-35.831</c:v>
                </c:pt>
                <c:pt idx="5094">
                  <c:v>35.831-35.838</c:v>
                </c:pt>
                <c:pt idx="5095">
                  <c:v>35.838-35.845</c:v>
                </c:pt>
                <c:pt idx="5096">
                  <c:v>35.845-35.852</c:v>
                </c:pt>
                <c:pt idx="5097">
                  <c:v>35.852-35.859</c:v>
                </c:pt>
                <c:pt idx="5098">
                  <c:v>35.859-35.866</c:v>
                </c:pt>
                <c:pt idx="5099">
                  <c:v>35.866-35.873</c:v>
                </c:pt>
                <c:pt idx="5100">
                  <c:v>35.873-35.880</c:v>
                </c:pt>
                <c:pt idx="5101">
                  <c:v>35.880-35.887</c:v>
                </c:pt>
                <c:pt idx="5102">
                  <c:v>35.887-35.894</c:v>
                </c:pt>
                <c:pt idx="5103">
                  <c:v>35.894-35.901</c:v>
                </c:pt>
                <c:pt idx="5104">
                  <c:v>35.901-35.908</c:v>
                </c:pt>
                <c:pt idx="5105">
                  <c:v>35.908-35.915</c:v>
                </c:pt>
                <c:pt idx="5106">
                  <c:v>35.915-35.922</c:v>
                </c:pt>
                <c:pt idx="5107">
                  <c:v>35.922-35.929</c:v>
                </c:pt>
                <c:pt idx="5108">
                  <c:v>35.929-35.937</c:v>
                </c:pt>
                <c:pt idx="5109">
                  <c:v>35.937-35.944</c:v>
                </c:pt>
                <c:pt idx="5110">
                  <c:v>35.944-35.951</c:v>
                </c:pt>
                <c:pt idx="5111">
                  <c:v>35.951-35.958</c:v>
                </c:pt>
                <c:pt idx="5112">
                  <c:v>35.958-35.965</c:v>
                </c:pt>
                <c:pt idx="5113">
                  <c:v>35.965-35.972</c:v>
                </c:pt>
                <c:pt idx="5114">
                  <c:v>35.972-35.979</c:v>
                </c:pt>
                <c:pt idx="5115">
                  <c:v>35.979-35.986</c:v>
                </c:pt>
                <c:pt idx="5116">
                  <c:v>35.986-35.993</c:v>
                </c:pt>
                <c:pt idx="5117">
                  <c:v>35.993-36.000</c:v>
                </c:pt>
                <c:pt idx="5118">
                  <c:v>36.000-36.007</c:v>
                </c:pt>
                <c:pt idx="5119">
                  <c:v>36.007-36.014</c:v>
                </c:pt>
                <c:pt idx="5120">
                  <c:v>36.014-36.021</c:v>
                </c:pt>
                <c:pt idx="5121">
                  <c:v>36.021-36.028</c:v>
                </c:pt>
                <c:pt idx="5122">
                  <c:v>36.028-36.035</c:v>
                </c:pt>
                <c:pt idx="5123">
                  <c:v>36.035-36.042</c:v>
                </c:pt>
                <c:pt idx="5124">
                  <c:v>36.042-36.049</c:v>
                </c:pt>
                <c:pt idx="5125">
                  <c:v>36.049-36.056</c:v>
                </c:pt>
                <c:pt idx="5126">
                  <c:v>36.056-36.063</c:v>
                </c:pt>
                <c:pt idx="5127">
                  <c:v>36.063-36.070</c:v>
                </c:pt>
                <c:pt idx="5128">
                  <c:v>36.070-36.077</c:v>
                </c:pt>
                <c:pt idx="5129">
                  <c:v>36.077-36.084</c:v>
                </c:pt>
                <c:pt idx="5130">
                  <c:v>36.084-36.091</c:v>
                </c:pt>
                <c:pt idx="5131">
                  <c:v>36.091-36.098</c:v>
                </c:pt>
                <c:pt idx="5132">
                  <c:v>36.098-36.105</c:v>
                </c:pt>
                <c:pt idx="5133">
                  <c:v>36.105-36.112</c:v>
                </c:pt>
                <c:pt idx="5134">
                  <c:v>36.112-36.119</c:v>
                </c:pt>
                <c:pt idx="5135">
                  <c:v>36.119-36.126</c:v>
                </c:pt>
                <c:pt idx="5136">
                  <c:v>36.126-36.133</c:v>
                </c:pt>
                <c:pt idx="5137">
                  <c:v>36.133-36.140</c:v>
                </c:pt>
                <c:pt idx="5138">
                  <c:v>36.140-36.147</c:v>
                </c:pt>
                <c:pt idx="5139">
                  <c:v>36.147-36.155</c:v>
                </c:pt>
                <c:pt idx="5140">
                  <c:v>36.155-36.162</c:v>
                </c:pt>
                <c:pt idx="5141">
                  <c:v>36.162-36.169</c:v>
                </c:pt>
                <c:pt idx="5142">
                  <c:v>36.169-36.176</c:v>
                </c:pt>
                <c:pt idx="5143">
                  <c:v>36.176-36.183</c:v>
                </c:pt>
                <c:pt idx="5144">
                  <c:v>36.183-36.190</c:v>
                </c:pt>
                <c:pt idx="5145">
                  <c:v>36.190-36.197</c:v>
                </c:pt>
                <c:pt idx="5146">
                  <c:v>36.197-36.204</c:v>
                </c:pt>
                <c:pt idx="5147">
                  <c:v>36.204-36.211</c:v>
                </c:pt>
                <c:pt idx="5148">
                  <c:v>36.211-36.218</c:v>
                </c:pt>
                <c:pt idx="5149">
                  <c:v>36.218-36.225</c:v>
                </c:pt>
                <c:pt idx="5150">
                  <c:v>36.225-36.232</c:v>
                </c:pt>
                <c:pt idx="5151">
                  <c:v>36.232-36.239</c:v>
                </c:pt>
                <c:pt idx="5152">
                  <c:v>36.239-36.246</c:v>
                </c:pt>
                <c:pt idx="5153">
                  <c:v>36.246-36.253</c:v>
                </c:pt>
                <c:pt idx="5154">
                  <c:v>36.253-36.260</c:v>
                </c:pt>
                <c:pt idx="5155">
                  <c:v>36.260-36.267</c:v>
                </c:pt>
                <c:pt idx="5156">
                  <c:v>36.267-36.274</c:v>
                </c:pt>
                <c:pt idx="5157">
                  <c:v>36.274-36.281</c:v>
                </c:pt>
                <c:pt idx="5158">
                  <c:v>36.281-36.288</c:v>
                </c:pt>
                <c:pt idx="5159">
                  <c:v>36.288-36.295</c:v>
                </c:pt>
                <c:pt idx="5160">
                  <c:v>36.295-36.302</c:v>
                </c:pt>
                <c:pt idx="5161">
                  <c:v>36.302-36.309</c:v>
                </c:pt>
                <c:pt idx="5162">
                  <c:v>36.309-36.316</c:v>
                </c:pt>
                <c:pt idx="5163">
                  <c:v>36.316-36.323</c:v>
                </c:pt>
                <c:pt idx="5164">
                  <c:v>36.323-36.330</c:v>
                </c:pt>
                <c:pt idx="5165">
                  <c:v>36.330-36.337</c:v>
                </c:pt>
                <c:pt idx="5166">
                  <c:v>36.337-36.344</c:v>
                </c:pt>
                <c:pt idx="5167">
                  <c:v>36.344-36.351</c:v>
                </c:pt>
                <c:pt idx="5168">
                  <c:v>36.351-36.358</c:v>
                </c:pt>
                <c:pt idx="5169">
                  <c:v>36.358-36.365</c:v>
                </c:pt>
                <c:pt idx="5170">
                  <c:v>36.365-36.373</c:v>
                </c:pt>
                <c:pt idx="5171">
                  <c:v>36.373-36.380</c:v>
                </c:pt>
                <c:pt idx="5172">
                  <c:v>36.380-36.387</c:v>
                </c:pt>
                <c:pt idx="5173">
                  <c:v>36.387-36.394</c:v>
                </c:pt>
                <c:pt idx="5174">
                  <c:v>36.394-36.401</c:v>
                </c:pt>
                <c:pt idx="5175">
                  <c:v>36.401-36.408</c:v>
                </c:pt>
                <c:pt idx="5176">
                  <c:v>36.408-36.415</c:v>
                </c:pt>
                <c:pt idx="5177">
                  <c:v>36.415-36.422</c:v>
                </c:pt>
                <c:pt idx="5178">
                  <c:v>36.422-36.429</c:v>
                </c:pt>
                <c:pt idx="5179">
                  <c:v>36.429-36.436</c:v>
                </c:pt>
                <c:pt idx="5180">
                  <c:v>36.436-36.443</c:v>
                </c:pt>
                <c:pt idx="5181">
                  <c:v>36.443-36.450</c:v>
                </c:pt>
                <c:pt idx="5182">
                  <c:v>36.450-36.457</c:v>
                </c:pt>
                <c:pt idx="5183">
                  <c:v>36.457-36.464</c:v>
                </c:pt>
                <c:pt idx="5184">
                  <c:v>36.464-36.471</c:v>
                </c:pt>
                <c:pt idx="5185">
                  <c:v>36.471-36.478</c:v>
                </c:pt>
                <c:pt idx="5186">
                  <c:v>36.478-36.485</c:v>
                </c:pt>
                <c:pt idx="5187">
                  <c:v>36.485-36.492</c:v>
                </c:pt>
                <c:pt idx="5188">
                  <c:v>36.492-36.499</c:v>
                </c:pt>
                <c:pt idx="5189">
                  <c:v>36.499-36.506</c:v>
                </c:pt>
                <c:pt idx="5190">
                  <c:v>36.506-36.513</c:v>
                </c:pt>
                <c:pt idx="5191">
                  <c:v>36.513-36.520</c:v>
                </c:pt>
                <c:pt idx="5192">
                  <c:v>36.520-36.527</c:v>
                </c:pt>
                <c:pt idx="5193">
                  <c:v>36.527-36.534</c:v>
                </c:pt>
                <c:pt idx="5194">
                  <c:v>36.534-36.541</c:v>
                </c:pt>
                <c:pt idx="5195">
                  <c:v>36.541-36.548</c:v>
                </c:pt>
                <c:pt idx="5196">
                  <c:v>36.548-36.555</c:v>
                </c:pt>
                <c:pt idx="5197">
                  <c:v>36.555-36.562</c:v>
                </c:pt>
                <c:pt idx="5198">
                  <c:v>36.562-36.569</c:v>
                </c:pt>
                <c:pt idx="5199">
                  <c:v>36.569-36.576</c:v>
                </c:pt>
                <c:pt idx="5200">
                  <c:v>36.576-36.583</c:v>
                </c:pt>
                <c:pt idx="5201">
                  <c:v>36.583-36.591</c:v>
                </c:pt>
                <c:pt idx="5202">
                  <c:v>36.591-36.598</c:v>
                </c:pt>
                <c:pt idx="5203">
                  <c:v>36.598-36.605</c:v>
                </c:pt>
                <c:pt idx="5204">
                  <c:v>36.605-36.612</c:v>
                </c:pt>
                <c:pt idx="5205">
                  <c:v>36.612-36.619</c:v>
                </c:pt>
                <c:pt idx="5206">
                  <c:v>36.619-36.626</c:v>
                </c:pt>
                <c:pt idx="5207">
                  <c:v>36.626-36.633</c:v>
                </c:pt>
                <c:pt idx="5208">
                  <c:v>36.633-36.640</c:v>
                </c:pt>
                <c:pt idx="5209">
                  <c:v>36.640-36.647</c:v>
                </c:pt>
                <c:pt idx="5210">
                  <c:v>36.647-36.654</c:v>
                </c:pt>
                <c:pt idx="5211">
                  <c:v>36.654-36.661</c:v>
                </c:pt>
                <c:pt idx="5212">
                  <c:v>36.661-36.668</c:v>
                </c:pt>
                <c:pt idx="5213">
                  <c:v>36.668-36.675</c:v>
                </c:pt>
                <c:pt idx="5214">
                  <c:v>36.675-36.682</c:v>
                </c:pt>
                <c:pt idx="5215">
                  <c:v>36.682-36.689</c:v>
                </c:pt>
                <c:pt idx="5216">
                  <c:v>36.689-36.696</c:v>
                </c:pt>
                <c:pt idx="5217">
                  <c:v>36.696-36.703</c:v>
                </c:pt>
                <c:pt idx="5218">
                  <c:v>36.703-36.710</c:v>
                </c:pt>
                <c:pt idx="5219">
                  <c:v>36.710-36.717</c:v>
                </c:pt>
                <c:pt idx="5220">
                  <c:v>36.717-36.724</c:v>
                </c:pt>
                <c:pt idx="5221">
                  <c:v>36.724-36.731</c:v>
                </c:pt>
                <c:pt idx="5222">
                  <c:v>36.731-36.738</c:v>
                </c:pt>
                <c:pt idx="5223">
                  <c:v>36.738-36.745</c:v>
                </c:pt>
                <c:pt idx="5224">
                  <c:v>36.745-36.752</c:v>
                </c:pt>
                <c:pt idx="5225">
                  <c:v>36.752-36.759</c:v>
                </c:pt>
                <c:pt idx="5226">
                  <c:v>36.759-36.766</c:v>
                </c:pt>
                <c:pt idx="5227">
                  <c:v>36.766-36.773</c:v>
                </c:pt>
                <c:pt idx="5228">
                  <c:v>36.773-36.780</c:v>
                </c:pt>
                <c:pt idx="5229">
                  <c:v>36.780-36.787</c:v>
                </c:pt>
                <c:pt idx="5230">
                  <c:v>36.787-36.794</c:v>
                </c:pt>
                <c:pt idx="5231">
                  <c:v>36.794-36.801</c:v>
                </c:pt>
                <c:pt idx="5232">
                  <c:v>36.801-36.809</c:v>
                </c:pt>
                <c:pt idx="5233">
                  <c:v>36.809-36.816</c:v>
                </c:pt>
                <c:pt idx="5234">
                  <c:v>36.816-36.823</c:v>
                </c:pt>
                <c:pt idx="5235">
                  <c:v>36.823-36.830</c:v>
                </c:pt>
                <c:pt idx="5236">
                  <c:v>36.830-36.837</c:v>
                </c:pt>
                <c:pt idx="5237">
                  <c:v>36.837-36.844</c:v>
                </c:pt>
                <c:pt idx="5238">
                  <c:v>36.844-36.851</c:v>
                </c:pt>
                <c:pt idx="5239">
                  <c:v>36.851-36.858</c:v>
                </c:pt>
                <c:pt idx="5240">
                  <c:v>36.858-36.865</c:v>
                </c:pt>
                <c:pt idx="5241">
                  <c:v>36.865-36.872</c:v>
                </c:pt>
                <c:pt idx="5242">
                  <c:v>36.872-36.879</c:v>
                </c:pt>
                <c:pt idx="5243">
                  <c:v>36.879-36.886</c:v>
                </c:pt>
                <c:pt idx="5244">
                  <c:v>36.886-36.893</c:v>
                </c:pt>
                <c:pt idx="5245">
                  <c:v>36.893-36.900</c:v>
                </c:pt>
                <c:pt idx="5246">
                  <c:v>36.900-36.907</c:v>
                </c:pt>
                <c:pt idx="5247">
                  <c:v>36.907-36.914</c:v>
                </c:pt>
                <c:pt idx="5248">
                  <c:v>36.914-36.921</c:v>
                </c:pt>
                <c:pt idx="5249">
                  <c:v>36.921-36.928</c:v>
                </c:pt>
                <c:pt idx="5250">
                  <c:v>36.928-36.935</c:v>
                </c:pt>
                <c:pt idx="5251">
                  <c:v>36.935-36.942</c:v>
                </c:pt>
                <c:pt idx="5252">
                  <c:v>36.942-36.949</c:v>
                </c:pt>
                <c:pt idx="5253">
                  <c:v>36.949-36.956</c:v>
                </c:pt>
                <c:pt idx="5254">
                  <c:v>36.956-36.963</c:v>
                </c:pt>
                <c:pt idx="5255">
                  <c:v>36.963-36.970</c:v>
                </c:pt>
                <c:pt idx="5256">
                  <c:v>36.970-36.977</c:v>
                </c:pt>
                <c:pt idx="5257">
                  <c:v>36.977-36.984</c:v>
                </c:pt>
                <c:pt idx="5258">
                  <c:v>36.984-36.991</c:v>
                </c:pt>
                <c:pt idx="5259">
                  <c:v>36.991-36.998</c:v>
                </c:pt>
                <c:pt idx="5260">
                  <c:v>36.998-37.005</c:v>
                </c:pt>
                <c:pt idx="5261">
                  <c:v>37.005-37.012</c:v>
                </c:pt>
                <c:pt idx="5262">
                  <c:v>37.012-37.019</c:v>
                </c:pt>
                <c:pt idx="5263">
                  <c:v>37.019-37.027</c:v>
                </c:pt>
                <c:pt idx="5264">
                  <c:v>37.027-37.034</c:v>
                </c:pt>
                <c:pt idx="5265">
                  <c:v>37.034-37.041</c:v>
                </c:pt>
                <c:pt idx="5266">
                  <c:v>37.041-37.048</c:v>
                </c:pt>
                <c:pt idx="5267">
                  <c:v>37.048-37.055</c:v>
                </c:pt>
                <c:pt idx="5268">
                  <c:v>37.055-37.062</c:v>
                </c:pt>
                <c:pt idx="5269">
                  <c:v>37.062-37.069</c:v>
                </c:pt>
                <c:pt idx="5270">
                  <c:v>37.069-37.076</c:v>
                </c:pt>
                <c:pt idx="5271">
                  <c:v>37.076-37.083</c:v>
                </c:pt>
                <c:pt idx="5272">
                  <c:v>37.083-37.090</c:v>
                </c:pt>
                <c:pt idx="5273">
                  <c:v>37.090-37.097</c:v>
                </c:pt>
                <c:pt idx="5274">
                  <c:v>37.097-37.104</c:v>
                </c:pt>
                <c:pt idx="5275">
                  <c:v>37.104-37.111</c:v>
                </c:pt>
                <c:pt idx="5276">
                  <c:v>37.111-37.118</c:v>
                </c:pt>
                <c:pt idx="5277">
                  <c:v>37.118-37.125</c:v>
                </c:pt>
                <c:pt idx="5278">
                  <c:v>37.125-37.132</c:v>
                </c:pt>
                <c:pt idx="5279">
                  <c:v>37.132-37.139</c:v>
                </c:pt>
                <c:pt idx="5280">
                  <c:v>37.139-37.146</c:v>
                </c:pt>
                <c:pt idx="5281">
                  <c:v>37.146-37.153</c:v>
                </c:pt>
                <c:pt idx="5282">
                  <c:v>37.153-37.160</c:v>
                </c:pt>
                <c:pt idx="5283">
                  <c:v>37.160-37.167</c:v>
                </c:pt>
                <c:pt idx="5284">
                  <c:v>37.167-37.174</c:v>
                </c:pt>
                <c:pt idx="5285">
                  <c:v>37.174-37.181</c:v>
                </c:pt>
                <c:pt idx="5286">
                  <c:v>37.181-37.188</c:v>
                </c:pt>
                <c:pt idx="5287">
                  <c:v>37.188-37.195</c:v>
                </c:pt>
                <c:pt idx="5288">
                  <c:v>37.195-37.202</c:v>
                </c:pt>
                <c:pt idx="5289">
                  <c:v>37.202-37.209</c:v>
                </c:pt>
                <c:pt idx="5290">
                  <c:v>37.209-37.216</c:v>
                </c:pt>
                <c:pt idx="5291">
                  <c:v>37.216-37.223</c:v>
                </c:pt>
                <c:pt idx="5292">
                  <c:v>37.223-37.230</c:v>
                </c:pt>
                <c:pt idx="5293">
                  <c:v>37.230-37.237</c:v>
                </c:pt>
                <c:pt idx="5294">
                  <c:v>37.237-37.244</c:v>
                </c:pt>
                <c:pt idx="5295">
                  <c:v>37.244-37.252</c:v>
                </c:pt>
                <c:pt idx="5296">
                  <c:v>37.252-37.259</c:v>
                </c:pt>
                <c:pt idx="5297">
                  <c:v>37.259-37.266</c:v>
                </c:pt>
                <c:pt idx="5298">
                  <c:v>37.266-37.273</c:v>
                </c:pt>
                <c:pt idx="5299">
                  <c:v>37.273-37.280</c:v>
                </c:pt>
                <c:pt idx="5300">
                  <c:v>37.280-37.287</c:v>
                </c:pt>
                <c:pt idx="5301">
                  <c:v>37.287-37.294</c:v>
                </c:pt>
                <c:pt idx="5302">
                  <c:v>37.294-37.301</c:v>
                </c:pt>
                <c:pt idx="5303">
                  <c:v>37.301-37.308</c:v>
                </c:pt>
                <c:pt idx="5304">
                  <c:v>37.308-37.315</c:v>
                </c:pt>
                <c:pt idx="5305">
                  <c:v>37.315-37.322</c:v>
                </c:pt>
                <c:pt idx="5306">
                  <c:v>37.322-37.329</c:v>
                </c:pt>
                <c:pt idx="5307">
                  <c:v>37.329-37.336</c:v>
                </c:pt>
                <c:pt idx="5308">
                  <c:v>37.336-37.343</c:v>
                </c:pt>
                <c:pt idx="5309">
                  <c:v>37.343-37.350</c:v>
                </c:pt>
                <c:pt idx="5310">
                  <c:v>37.350-37.357</c:v>
                </c:pt>
                <c:pt idx="5311">
                  <c:v>37.357-37.364</c:v>
                </c:pt>
                <c:pt idx="5312">
                  <c:v>37.364-37.371</c:v>
                </c:pt>
                <c:pt idx="5313">
                  <c:v>37.371-37.378</c:v>
                </c:pt>
                <c:pt idx="5314">
                  <c:v>37.378-37.385</c:v>
                </c:pt>
                <c:pt idx="5315">
                  <c:v>37.385-37.392</c:v>
                </c:pt>
                <c:pt idx="5316">
                  <c:v>37.392-37.399</c:v>
                </c:pt>
                <c:pt idx="5317">
                  <c:v>37.399-37.406</c:v>
                </c:pt>
                <c:pt idx="5318">
                  <c:v>37.406-37.413</c:v>
                </c:pt>
                <c:pt idx="5319">
                  <c:v>37.413-37.420</c:v>
                </c:pt>
                <c:pt idx="5320">
                  <c:v>37.420-37.427</c:v>
                </c:pt>
                <c:pt idx="5321">
                  <c:v>37.427-37.434</c:v>
                </c:pt>
                <c:pt idx="5322">
                  <c:v>37.434-37.441</c:v>
                </c:pt>
                <c:pt idx="5323">
                  <c:v>37.441-37.448</c:v>
                </c:pt>
                <c:pt idx="5324">
                  <c:v>37.448-37.455</c:v>
                </c:pt>
                <c:pt idx="5325">
                  <c:v>37.455-37.462</c:v>
                </c:pt>
                <c:pt idx="5326">
                  <c:v>37.462-37.470</c:v>
                </c:pt>
                <c:pt idx="5327">
                  <c:v>37.470-37.477</c:v>
                </c:pt>
                <c:pt idx="5328">
                  <c:v>37.477-37.484</c:v>
                </c:pt>
                <c:pt idx="5329">
                  <c:v>37.484-37.491</c:v>
                </c:pt>
                <c:pt idx="5330">
                  <c:v>37.491-37.498</c:v>
                </c:pt>
                <c:pt idx="5331">
                  <c:v>37.498-37.505</c:v>
                </c:pt>
                <c:pt idx="5332">
                  <c:v>37.505-37.512</c:v>
                </c:pt>
                <c:pt idx="5333">
                  <c:v>37.512-37.519</c:v>
                </c:pt>
                <c:pt idx="5334">
                  <c:v>37.519-37.526</c:v>
                </c:pt>
                <c:pt idx="5335">
                  <c:v>37.526-37.533</c:v>
                </c:pt>
                <c:pt idx="5336">
                  <c:v>37.533-37.540</c:v>
                </c:pt>
                <c:pt idx="5337">
                  <c:v>37.540-37.547</c:v>
                </c:pt>
                <c:pt idx="5338">
                  <c:v>37.547-37.554</c:v>
                </c:pt>
                <c:pt idx="5339">
                  <c:v>37.554-37.561</c:v>
                </c:pt>
                <c:pt idx="5340">
                  <c:v>37.561-37.568</c:v>
                </c:pt>
                <c:pt idx="5341">
                  <c:v>37.568-37.575</c:v>
                </c:pt>
                <c:pt idx="5342">
                  <c:v>37.575-37.582</c:v>
                </c:pt>
                <c:pt idx="5343">
                  <c:v>37.582-37.589</c:v>
                </c:pt>
                <c:pt idx="5344">
                  <c:v>37.589-37.596</c:v>
                </c:pt>
                <c:pt idx="5345">
                  <c:v>37.596-37.603</c:v>
                </c:pt>
                <c:pt idx="5346">
                  <c:v>37.603-37.610</c:v>
                </c:pt>
                <c:pt idx="5347">
                  <c:v>37.610-37.617</c:v>
                </c:pt>
                <c:pt idx="5348">
                  <c:v>37.617-37.624</c:v>
                </c:pt>
                <c:pt idx="5349">
                  <c:v>37.624-37.631</c:v>
                </c:pt>
                <c:pt idx="5350">
                  <c:v>37.631-37.638</c:v>
                </c:pt>
                <c:pt idx="5351">
                  <c:v>37.638-37.645</c:v>
                </c:pt>
                <c:pt idx="5352">
                  <c:v>37.645-37.652</c:v>
                </c:pt>
                <c:pt idx="5353">
                  <c:v>37.652-37.659</c:v>
                </c:pt>
                <c:pt idx="5354">
                  <c:v>37.659-37.666</c:v>
                </c:pt>
                <c:pt idx="5355">
                  <c:v>37.666-37.673</c:v>
                </c:pt>
                <c:pt idx="5356">
                  <c:v>37.673-37.680</c:v>
                </c:pt>
                <c:pt idx="5357">
                  <c:v>37.680-37.688</c:v>
                </c:pt>
                <c:pt idx="5358">
                  <c:v>37.688-37.695</c:v>
                </c:pt>
                <c:pt idx="5359">
                  <c:v>37.695-37.702</c:v>
                </c:pt>
                <c:pt idx="5360">
                  <c:v>37.702-37.709</c:v>
                </c:pt>
                <c:pt idx="5361">
                  <c:v>37.709-37.716</c:v>
                </c:pt>
                <c:pt idx="5362">
                  <c:v>37.716-37.723</c:v>
                </c:pt>
                <c:pt idx="5363">
                  <c:v>37.723-37.730</c:v>
                </c:pt>
                <c:pt idx="5364">
                  <c:v>37.730-37.737</c:v>
                </c:pt>
                <c:pt idx="5365">
                  <c:v>37.737-37.744</c:v>
                </c:pt>
                <c:pt idx="5366">
                  <c:v>37.744-37.751</c:v>
                </c:pt>
                <c:pt idx="5367">
                  <c:v>37.751-37.758</c:v>
                </c:pt>
                <c:pt idx="5368">
                  <c:v>37.758-37.765</c:v>
                </c:pt>
                <c:pt idx="5369">
                  <c:v>37.765-37.772</c:v>
                </c:pt>
                <c:pt idx="5370">
                  <c:v>37.772-37.779</c:v>
                </c:pt>
                <c:pt idx="5371">
                  <c:v>37.779-37.786</c:v>
                </c:pt>
                <c:pt idx="5372">
                  <c:v>37.786-37.793</c:v>
                </c:pt>
                <c:pt idx="5373">
                  <c:v>37.793-37.800</c:v>
                </c:pt>
                <c:pt idx="5374">
                  <c:v>37.800-37.807</c:v>
                </c:pt>
                <c:pt idx="5375">
                  <c:v>37.807-37.814</c:v>
                </c:pt>
                <c:pt idx="5376">
                  <c:v>37.814-37.821</c:v>
                </c:pt>
                <c:pt idx="5377">
                  <c:v>37.821-37.828</c:v>
                </c:pt>
                <c:pt idx="5378">
                  <c:v>37.828-37.835</c:v>
                </c:pt>
                <c:pt idx="5379">
                  <c:v>37.835-37.842</c:v>
                </c:pt>
                <c:pt idx="5380">
                  <c:v>37.842-37.849</c:v>
                </c:pt>
                <c:pt idx="5381">
                  <c:v>37.849-37.856</c:v>
                </c:pt>
                <c:pt idx="5382">
                  <c:v>37.856-37.863</c:v>
                </c:pt>
                <c:pt idx="5383">
                  <c:v>37.863-37.870</c:v>
                </c:pt>
                <c:pt idx="5384">
                  <c:v>37.870-37.877</c:v>
                </c:pt>
                <c:pt idx="5385">
                  <c:v>37.877-37.884</c:v>
                </c:pt>
                <c:pt idx="5386">
                  <c:v>37.884-37.891</c:v>
                </c:pt>
                <c:pt idx="5387">
                  <c:v>37.891-37.898</c:v>
                </c:pt>
                <c:pt idx="5388">
                  <c:v>37.898-37.906</c:v>
                </c:pt>
                <c:pt idx="5389">
                  <c:v>37.906-37.913</c:v>
                </c:pt>
                <c:pt idx="5390">
                  <c:v>37.913-37.920</c:v>
                </c:pt>
                <c:pt idx="5391">
                  <c:v>37.920-37.927</c:v>
                </c:pt>
                <c:pt idx="5392">
                  <c:v>37.927-37.934</c:v>
                </c:pt>
                <c:pt idx="5393">
                  <c:v>37.934-37.941</c:v>
                </c:pt>
                <c:pt idx="5394">
                  <c:v>37.941-37.948</c:v>
                </c:pt>
                <c:pt idx="5395">
                  <c:v>37.948-37.955</c:v>
                </c:pt>
                <c:pt idx="5396">
                  <c:v>37.955-37.962</c:v>
                </c:pt>
                <c:pt idx="5397">
                  <c:v>37.962-37.969</c:v>
                </c:pt>
                <c:pt idx="5398">
                  <c:v>37.969-37.976</c:v>
                </c:pt>
                <c:pt idx="5399">
                  <c:v>37.976-37.983</c:v>
                </c:pt>
                <c:pt idx="5400">
                  <c:v>37.983-37.990</c:v>
                </c:pt>
                <c:pt idx="5401">
                  <c:v>37.990-37.997</c:v>
                </c:pt>
                <c:pt idx="5402">
                  <c:v>37.997-38.004</c:v>
                </c:pt>
                <c:pt idx="5403">
                  <c:v>38.004-38.011</c:v>
                </c:pt>
                <c:pt idx="5404">
                  <c:v>38.011-38.018</c:v>
                </c:pt>
                <c:pt idx="5405">
                  <c:v>38.018-38.025</c:v>
                </c:pt>
                <c:pt idx="5406">
                  <c:v>38.025-38.032</c:v>
                </c:pt>
                <c:pt idx="5407">
                  <c:v>38.032-38.039</c:v>
                </c:pt>
                <c:pt idx="5408">
                  <c:v>38.039-38.046</c:v>
                </c:pt>
                <c:pt idx="5409">
                  <c:v>38.046-38.053</c:v>
                </c:pt>
                <c:pt idx="5410">
                  <c:v>38.053-38.060</c:v>
                </c:pt>
                <c:pt idx="5411">
                  <c:v>38.060-38.067</c:v>
                </c:pt>
                <c:pt idx="5412">
                  <c:v>38.067-38.074</c:v>
                </c:pt>
                <c:pt idx="5413">
                  <c:v>38.074-38.081</c:v>
                </c:pt>
                <c:pt idx="5414">
                  <c:v>38.081-38.088</c:v>
                </c:pt>
                <c:pt idx="5415">
                  <c:v>38.088-38.095</c:v>
                </c:pt>
                <c:pt idx="5416">
                  <c:v>38.095-38.102</c:v>
                </c:pt>
                <c:pt idx="5417">
                  <c:v>38.102-38.109</c:v>
                </c:pt>
                <c:pt idx="5418">
                  <c:v>38.109-38.116</c:v>
                </c:pt>
                <c:pt idx="5419">
                  <c:v>38.116-38.124</c:v>
                </c:pt>
                <c:pt idx="5420">
                  <c:v>38.124-38.131</c:v>
                </c:pt>
                <c:pt idx="5421">
                  <c:v>38.131-38.138</c:v>
                </c:pt>
                <c:pt idx="5422">
                  <c:v>38.138-38.145</c:v>
                </c:pt>
                <c:pt idx="5423">
                  <c:v>38.145-38.152</c:v>
                </c:pt>
                <c:pt idx="5424">
                  <c:v>38.152-38.159</c:v>
                </c:pt>
                <c:pt idx="5425">
                  <c:v>38.159-38.166</c:v>
                </c:pt>
                <c:pt idx="5426">
                  <c:v>38.166-38.173</c:v>
                </c:pt>
                <c:pt idx="5427">
                  <c:v>38.173-38.180</c:v>
                </c:pt>
                <c:pt idx="5428">
                  <c:v>38.180-38.187</c:v>
                </c:pt>
                <c:pt idx="5429">
                  <c:v>38.187-38.194</c:v>
                </c:pt>
                <c:pt idx="5430">
                  <c:v>38.194-38.201</c:v>
                </c:pt>
                <c:pt idx="5431">
                  <c:v>38.201-38.208</c:v>
                </c:pt>
                <c:pt idx="5432">
                  <c:v>38.208-38.215</c:v>
                </c:pt>
                <c:pt idx="5433">
                  <c:v>38.215-38.222</c:v>
                </c:pt>
                <c:pt idx="5434">
                  <c:v>38.222-38.229</c:v>
                </c:pt>
                <c:pt idx="5435">
                  <c:v>38.229-38.236</c:v>
                </c:pt>
                <c:pt idx="5436">
                  <c:v>38.236-38.243</c:v>
                </c:pt>
                <c:pt idx="5437">
                  <c:v>38.243-38.250</c:v>
                </c:pt>
                <c:pt idx="5438">
                  <c:v>38.250-38.257</c:v>
                </c:pt>
                <c:pt idx="5439">
                  <c:v>38.257-38.264</c:v>
                </c:pt>
                <c:pt idx="5440">
                  <c:v>38.264-38.271</c:v>
                </c:pt>
                <c:pt idx="5441">
                  <c:v>38.271-38.278</c:v>
                </c:pt>
                <c:pt idx="5442">
                  <c:v>38.278-38.285</c:v>
                </c:pt>
                <c:pt idx="5443">
                  <c:v>38.285-38.292</c:v>
                </c:pt>
                <c:pt idx="5444">
                  <c:v>38.292-38.299</c:v>
                </c:pt>
                <c:pt idx="5445">
                  <c:v>38.299-38.306</c:v>
                </c:pt>
                <c:pt idx="5446">
                  <c:v>38.306-38.313</c:v>
                </c:pt>
                <c:pt idx="5447">
                  <c:v>38.313-38.320</c:v>
                </c:pt>
                <c:pt idx="5448">
                  <c:v>38.320-38.327</c:v>
                </c:pt>
                <c:pt idx="5449">
                  <c:v>38.327-38.334</c:v>
                </c:pt>
                <c:pt idx="5450">
                  <c:v>38.334-38.342</c:v>
                </c:pt>
                <c:pt idx="5451">
                  <c:v>38.342-38.349</c:v>
                </c:pt>
                <c:pt idx="5452">
                  <c:v>38.349-38.356</c:v>
                </c:pt>
                <c:pt idx="5453">
                  <c:v>38.356-38.363</c:v>
                </c:pt>
                <c:pt idx="5454">
                  <c:v>38.363-38.370</c:v>
                </c:pt>
                <c:pt idx="5455">
                  <c:v>38.370-38.377</c:v>
                </c:pt>
                <c:pt idx="5456">
                  <c:v>38.377-38.384</c:v>
                </c:pt>
                <c:pt idx="5457">
                  <c:v>38.384-38.391</c:v>
                </c:pt>
                <c:pt idx="5458">
                  <c:v>38.391-38.398</c:v>
                </c:pt>
                <c:pt idx="5459">
                  <c:v>38.398-38.405</c:v>
                </c:pt>
                <c:pt idx="5460">
                  <c:v>38.405-38.412</c:v>
                </c:pt>
                <c:pt idx="5461">
                  <c:v>38.412-38.419</c:v>
                </c:pt>
                <c:pt idx="5462">
                  <c:v>38.419-38.426</c:v>
                </c:pt>
                <c:pt idx="5463">
                  <c:v>38.426-38.433</c:v>
                </c:pt>
                <c:pt idx="5464">
                  <c:v>38.433-38.440</c:v>
                </c:pt>
                <c:pt idx="5465">
                  <c:v>38.440-38.447</c:v>
                </c:pt>
                <c:pt idx="5466">
                  <c:v>38.447-38.454</c:v>
                </c:pt>
                <c:pt idx="5467">
                  <c:v>38.454-38.461</c:v>
                </c:pt>
                <c:pt idx="5468">
                  <c:v>38.461-38.468</c:v>
                </c:pt>
                <c:pt idx="5469">
                  <c:v>38.468-38.475</c:v>
                </c:pt>
                <c:pt idx="5470">
                  <c:v>38.475-38.482</c:v>
                </c:pt>
                <c:pt idx="5471">
                  <c:v>38.482-38.489</c:v>
                </c:pt>
                <c:pt idx="5472">
                  <c:v>38.489-38.496</c:v>
                </c:pt>
                <c:pt idx="5473">
                  <c:v>38.496-38.503</c:v>
                </c:pt>
                <c:pt idx="5474">
                  <c:v>38.503-38.510</c:v>
                </c:pt>
                <c:pt idx="5475">
                  <c:v>38.510-38.517</c:v>
                </c:pt>
                <c:pt idx="5476">
                  <c:v>38.517-38.524</c:v>
                </c:pt>
                <c:pt idx="5477">
                  <c:v>38.524-38.531</c:v>
                </c:pt>
                <c:pt idx="5478">
                  <c:v>38.531-38.538</c:v>
                </c:pt>
                <c:pt idx="5479">
                  <c:v>38.538-38.545</c:v>
                </c:pt>
                <c:pt idx="5480">
                  <c:v>38.545-38.552</c:v>
                </c:pt>
                <c:pt idx="5481">
                  <c:v>38.552-38.560</c:v>
                </c:pt>
                <c:pt idx="5482">
                  <c:v>38.560-38.567</c:v>
                </c:pt>
                <c:pt idx="5483">
                  <c:v>38.567-38.574</c:v>
                </c:pt>
                <c:pt idx="5484">
                  <c:v>38.574-38.581</c:v>
                </c:pt>
                <c:pt idx="5485">
                  <c:v>38.581-38.588</c:v>
                </c:pt>
                <c:pt idx="5486">
                  <c:v>38.588-38.595</c:v>
                </c:pt>
                <c:pt idx="5487">
                  <c:v>38.595-38.602</c:v>
                </c:pt>
                <c:pt idx="5488">
                  <c:v>38.602-38.609</c:v>
                </c:pt>
                <c:pt idx="5489">
                  <c:v>38.609-38.616</c:v>
                </c:pt>
                <c:pt idx="5490">
                  <c:v>38.616-38.623</c:v>
                </c:pt>
                <c:pt idx="5491">
                  <c:v>38.623-38.630</c:v>
                </c:pt>
                <c:pt idx="5492">
                  <c:v>38.630-38.637</c:v>
                </c:pt>
                <c:pt idx="5493">
                  <c:v>38.637-38.644</c:v>
                </c:pt>
                <c:pt idx="5494">
                  <c:v>38.644-38.651</c:v>
                </c:pt>
                <c:pt idx="5495">
                  <c:v>38.651-38.658</c:v>
                </c:pt>
                <c:pt idx="5496">
                  <c:v>38.658-38.665</c:v>
                </c:pt>
                <c:pt idx="5497">
                  <c:v>38.665-38.672</c:v>
                </c:pt>
                <c:pt idx="5498">
                  <c:v>38.672-38.679</c:v>
                </c:pt>
                <c:pt idx="5499">
                  <c:v>38.679-38.686</c:v>
                </c:pt>
                <c:pt idx="5500">
                  <c:v>38.686-38.693</c:v>
                </c:pt>
                <c:pt idx="5501">
                  <c:v>38.693-38.700</c:v>
                </c:pt>
                <c:pt idx="5502">
                  <c:v>38.700-38.707</c:v>
                </c:pt>
                <c:pt idx="5503">
                  <c:v>38.707-38.714</c:v>
                </c:pt>
                <c:pt idx="5504">
                  <c:v>38.714-38.721</c:v>
                </c:pt>
                <c:pt idx="5505">
                  <c:v>38.721-38.728</c:v>
                </c:pt>
                <c:pt idx="5506">
                  <c:v>38.728-38.735</c:v>
                </c:pt>
                <c:pt idx="5507">
                  <c:v>38.735-38.742</c:v>
                </c:pt>
                <c:pt idx="5508">
                  <c:v>38.742-38.749</c:v>
                </c:pt>
                <c:pt idx="5509">
                  <c:v>38.749-38.756</c:v>
                </c:pt>
                <c:pt idx="5510">
                  <c:v>38.756-38.763</c:v>
                </c:pt>
                <c:pt idx="5511">
                  <c:v>38.763-38.770</c:v>
                </c:pt>
                <c:pt idx="5512">
                  <c:v>38.770-38.778</c:v>
                </c:pt>
                <c:pt idx="5513">
                  <c:v>38.778-38.785</c:v>
                </c:pt>
                <c:pt idx="5514">
                  <c:v>38.785-38.792</c:v>
                </c:pt>
                <c:pt idx="5515">
                  <c:v>38.792-38.799</c:v>
                </c:pt>
                <c:pt idx="5516">
                  <c:v>38.799-38.806</c:v>
                </c:pt>
                <c:pt idx="5517">
                  <c:v>38.806-38.813</c:v>
                </c:pt>
                <c:pt idx="5518">
                  <c:v>38.813-38.820</c:v>
                </c:pt>
                <c:pt idx="5519">
                  <c:v>38.820-38.827</c:v>
                </c:pt>
                <c:pt idx="5520">
                  <c:v>38.827-38.834</c:v>
                </c:pt>
                <c:pt idx="5521">
                  <c:v>38.834-38.841</c:v>
                </c:pt>
                <c:pt idx="5522">
                  <c:v>38.841-38.848</c:v>
                </c:pt>
                <c:pt idx="5523">
                  <c:v>38.848-38.855</c:v>
                </c:pt>
                <c:pt idx="5524">
                  <c:v>38.855-38.862</c:v>
                </c:pt>
                <c:pt idx="5525">
                  <c:v>38.862-38.869</c:v>
                </c:pt>
                <c:pt idx="5526">
                  <c:v>38.869-38.876</c:v>
                </c:pt>
                <c:pt idx="5527">
                  <c:v>38.876-38.883</c:v>
                </c:pt>
                <c:pt idx="5528">
                  <c:v>38.883-38.890</c:v>
                </c:pt>
                <c:pt idx="5529">
                  <c:v>38.890-38.897</c:v>
                </c:pt>
                <c:pt idx="5530">
                  <c:v>38.897-38.904</c:v>
                </c:pt>
                <c:pt idx="5531">
                  <c:v>38.904-38.911</c:v>
                </c:pt>
                <c:pt idx="5532">
                  <c:v>38.911-38.918</c:v>
                </c:pt>
                <c:pt idx="5533">
                  <c:v>38.918-38.925</c:v>
                </c:pt>
                <c:pt idx="5534">
                  <c:v>38.925-38.932</c:v>
                </c:pt>
                <c:pt idx="5535">
                  <c:v>38.932-38.939</c:v>
                </c:pt>
                <c:pt idx="5536">
                  <c:v>38.939-38.946</c:v>
                </c:pt>
                <c:pt idx="5537">
                  <c:v>38.946-38.953</c:v>
                </c:pt>
                <c:pt idx="5538">
                  <c:v>38.953-38.960</c:v>
                </c:pt>
                <c:pt idx="5539">
                  <c:v>38.960-38.967</c:v>
                </c:pt>
                <c:pt idx="5540">
                  <c:v>38.967-38.974</c:v>
                </c:pt>
                <c:pt idx="5541">
                  <c:v>38.974-38.981</c:v>
                </c:pt>
                <c:pt idx="5542">
                  <c:v>38.981-38.988</c:v>
                </c:pt>
                <c:pt idx="5543">
                  <c:v>38.988-38.996</c:v>
                </c:pt>
                <c:pt idx="5544">
                  <c:v>38.996-39.003</c:v>
                </c:pt>
                <c:pt idx="5545">
                  <c:v>39.003-39.010</c:v>
                </c:pt>
                <c:pt idx="5546">
                  <c:v>39.010-39.017</c:v>
                </c:pt>
                <c:pt idx="5547">
                  <c:v>39.017-39.024</c:v>
                </c:pt>
                <c:pt idx="5548">
                  <c:v>39.024-39.031</c:v>
                </c:pt>
                <c:pt idx="5549">
                  <c:v>39.031-39.038</c:v>
                </c:pt>
                <c:pt idx="5550">
                  <c:v>39.038-39.045</c:v>
                </c:pt>
                <c:pt idx="5551">
                  <c:v>39.045-39.052</c:v>
                </c:pt>
                <c:pt idx="5552">
                  <c:v>39.052-39.059</c:v>
                </c:pt>
                <c:pt idx="5553">
                  <c:v>39.059-39.066</c:v>
                </c:pt>
                <c:pt idx="5554">
                  <c:v>39.066-39.073</c:v>
                </c:pt>
                <c:pt idx="5555">
                  <c:v>39.073-39.080</c:v>
                </c:pt>
                <c:pt idx="5556">
                  <c:v>39.080-39.087</c:v>
                </c:pt>
                <c:pt idx="5557">
                  <c:v>39.087-39.094</c:v>
                </c:pt>
                <c:pt idx="5558">
                  <c:v>39.094-39.101</c:v>
                </c:pt>
                <c:pt idx="5559">
                  <c:v>39.101-39.108</c:v>
                </c:pt>
                <c:pt idx="5560">
                  <c:v>39.108-39.115</c:v>
                </c:pt>
                <c:pt idx="5561">
                  <c:v>39.115-39.122</c:v>
                </c:pt>
                <c:pt idx="5562">
                  <c:v>39.122-39.129</c:v>
                </c:pt>
                <c:pt idx="5563">
                  <c:v>39.129-39.136</c:v>
                </c:pt>
                <c:pt idx="5564">
                  <c:v>39.136-39.143</c:v>
                </c:pt>
                <c:pt idx="5565">
                  <c:v>39.143-39.150</c:v>
                </c:pt>
                <c:pt idx="5566">
                  <c:v>39.150-39.157</c:v>
                </c:pt>
                <c:pt idx="5567">
                  <c:v>39.157-39.164</c:v>
                </c:pt>
                <c:pt idx="5568">
                  <c:v>39.164-39.171</c:v>
                </c:pt>
                <c:pt idx="5569">
                  <c:v>39.171-39.178</c:v>
                </c:pt>
                <c:pt idx="5570">
                  <c:v>39.178-39.185</c:v>
                </c:pt>
                <c:pt idx="5571">
                  <c:v>39.185-39.192</c:v>
                </c:pt>
                <c:pt idx="5572">
                  <c:v>39.192-39.199</c:v>
                </c:pt>
                <c:pt idx="5573">
                  <c:v>39.199-39.206</c:v>
                </c:pt>
                <c:pt idx="5574">
                  <c:v>39.206-39.214</c:v>
                </c:pt>
                <c:pt idx="5575">
                  <c:v>39.214-39.221</c:v>
                </c:pt>
                <c:pt idx="5576">
                  <c:v>39.221-39.228</c:v>
                </c:pt>
                <c:pt idx="5577">
                  <c:v>39.228-39.235</c:v>
                </c:pt>
                <c:pt idx="5578">
                  <c:v>39.235-39.242</c:v>
                </c:pt>
                <c:pt idx="5579">
                  <c:v>39.242-39.249</c:v>
                </c:pt>
                <c:pt idx="5580">
                  <c:v>39.249-39.256</c:v>
                </c:pt>
                <c:pt idx="5581">
                  <c:v>39.256-39.263</c:v>
                </c:pt>
                <c:pt idx="5582">
                  <c:v>39.263-39.270</c:v>
                </c:pt>
                <c:pt idx="5583">
                  <c:v>39.270-39.277</c:v>
                </c:pt>
                <c:pt idx="5584">
                  <c:v>39.277-39.284</c:v>
                </c:pt>
                <c:pt idx="5585">
                  <c:v>39.284-39.291</c:v>
                </c:pt>
                <c:pt idx="5586">
                  <c:v>39.291-39.298</c:v>
                </c:pt>
                <c:pt idx="5587">
                  <c:v>39.298-39.305</c:v>
                </c:pt>
                <c:pt idx="5588">
                  <c:v>39.305-39.312</c:v>
                </c:pt>
                <c:pt idx="5589">
                  <c:v>39.312-39.319</c:v>
                </c:pt>
                <c:pt idx="5590">
                  <c:v>39.319-39.326</c:v>
                </c:pt>
                <c:pt idx="5591">
                  <c:v>39.326-39.333</c:v>
                </c:pt>
                <c:pt idx="5592">
                  <c:v>39.333-39.340</c:v>
                </c:pt>
                <c:pt idx="5593">
                  <c:v>39.340-39.347</c:v>
                </c:pt>
                <c:pt idx="5594">
                  <c:v>39.347-39.354</c:v>
                </c:pt>
                <c:pt idx="5595">
                  <c:v>39.354-39.361</c:v>
                </c:pt>
                <c:pt idx="5596">
                  <c:v>39.361-39.368</c:v>
                </c:pt>
                <c:pt idx="5597">
                  <c:v>39.368-39.375</c:v>
                </c:pt>
                <c:pt idx="5598">
                  <c:v>39.375-39.382</c:v>
                </c:pt>
                <c:pt idx="5599">
                  <c:v>39.382-39.389</c:v>
                </c:pt>
                <c:pt idx="5600">
                  <c:v>39.389-39.396</c:v>
                </c:pt>
                <c:pt idx="5601">
                  <c:v>39.396-39.403</c:v>
                </c:pt>
                <c:pt idx="5602">
                  <c:v>39.403-39.410</c:v>
                </c:pt>
                <c:pt idx="5603">
                  <c:v>39.410-39.417</c:v>
                </c:pt>
                <c:pt idx="5604">
                  <c:v>39.417-39.424</c:v>
                </c:pt>
                <c:pt idx="5605">
                  <c:v>39.424-39.432</c:v>
                </c:pt>
                <c:pt idx="5606">
                  <c:v>39.432-39.439</c:v>
                </c:pt>
                <c:pt idx="5607">
                  <c:v>39.439-39.446</c:v>
                </c:pt>
                <c:pt idx="5608">
                  <c:v>39.446-39.453</c:v>
                </c:pt>
                <c:pt idx="5609">
                  <c:v>39.453-39.460</c:v>
                </c:pt>
                <c:pt idx="5610">
                  <c:v>39.460-39.467</c:v>
                </c:pt>
                <c:pt idx="5611">
                  <c:v>39.467-39.474</c:v>
                </c:pt>
                <c:pt idx="5612">
                  <c:v>39.474-39.481</c:v>
                </c:pt>
                <c:pt idx="5613">
                  <c:v>39.481-39.488</c:v>
                </c:pt>
                <c:pt idx="5614">
                  <c:v>39.488-39.495</c:v>
                </c:pt>
                <c:pt idx="5615">
                  <c:v>39.495-39.502</c:v>
                </c:pt>
                <c:pt idx="5616">
                  <c:v>39.502-39.509</c:v>
                </c:pt>
                <c:pt idx="5617">
                  <c:v>39.509-39.516</c:v>
                </c:pt>
                <c:pt idx="5618">
                  <c:v>39.516-39.523</c:v>
                </c:pt>
                <c:pt idx="5619">
                  <c:v>39.523-39.530</c:v>
                </c:pt>
                <c:pt idx="5620">
                  <c:v>39.530-39.537</c:v>
                </c:pt>
                <c:pt idx="5621">
                  <c:v>39.537-39.544</c:v>
                </c:pt>
                <c:pt idx="5622">
                  <c:v>39.544-39.551</c:v>
                </c:pt>
                <c:pt idx="5623">
                  <c:v>39.551-39.558</c:v>
                </c:pt>
                <c:pt idx="5624">
                  <c:v>39.558-39.565</c:v>
                </c:pt>
                <c:pt idx="5625">
                  <c:v>39.565-39.572</c:v>
                </c:pt>
                <c:pt idx="5626">
                  <c:v>39.572-39.579</c:v>
                </c:pt>
                <c:pt idx="5627">
                  <c:v>39.579-39.586</c:v>
                </c:pt>
                <c:pt idx="5628">
                  <c:v>39.586-39.593</c:v>
                </c:pt>
                <c:pt idx="5629">
                  <c:v>39.593-39.600</c:v>
                </c:pt>
                <c:pt idx="5630">
                  <c:v>39.600-39.607</c:v>
                </c:pt>
                <c:pt idx="5631">
                  <c:v>39.607-39.614</c:v>
                </c:pt>
                <c:pt idx="5632">
                  <c:v>39.614-39.621</c:v>
                </c:pt>
                <c:pt idx="5633">
                  <c:v>39.621-39.628</c:v>
                </c:pt>
                <c:pt idx="5634">
                  <c:v>39.628-39.635</c:v>
                </c:pt>
                <c:pt idx="5635">
                  <c:v>39.635-39.642</c:v>
                </c:pt>
                <c:pt idx="5636">
                  <c:v>39.642-39.650</c:v>
                </c:pt>
                <c:pt idx="5637">
                  <c:v>39.650-39.657</c:v>
                </c:pt>
                <c:pt idx="5638">
                  <c:v>39.657-39.664</c:v>
                </c:pt>
                <c:pt idx="5639">
                  <c:v>39.664-39.671</c:v>
                </c:pt>
                <c:pt idx="5640">
                  <c:v>39.671-39.678</c:v>
                </c:pt>
                <c:pt idx="5641">
                  <c:v>39.678-39.685</c:v>
                </c:pt>
                <c:pt idx="5642">
                  <c:v>39.685-39.692</c:v>
                </c:pt>
                <c:pt idx="5643">
                  <c:v>39.692-39.699</c:v>
                </c:pt>
                <c:pt idx="5644">
                  <c:v>39.699-39.706</c:v>
                </c:pt>
                <c:pt idx="5645">
                  <c:v>39.706-39.713</c:v>
                </c:pt>
                <c:pt idx="5646">
                  <c:v>39.713-39.720</c:v>
                </c:pt>
                <c:pt idx="5647">
                  <c:v>39.720-39.727</c:v>
                </c:pt>
                <c:pt idx="5648">
                  <c:v>39.727-39.734</c:v>
                </c:pt>
                <c:pt idx="5649">
                  <c:v>39.734-39.741</c:v>
                </c:pt>
                <c:pt idx="5650">
                  <c:v>39.741-39.748</c:v>
                </c:pt>
                <c:pt idx="5651">
                  <c:v>39.748-39.755</c:v>
                </c:pt>
                <c:pt idx="5652">
                  <c:v>39.755-39.762</c:v>
                </c:pt>
                <c:pt idx="5653">
                  <c:v>39.762-39.769</c:v>
                </c:pt>
                <c:pt idx="5654">
                  <c:v>39.769-39.776</c:v>
                </c:pt>
                <c:pt idx="5655">
                  <c:v>39.776-39.783</c:v>
                </c:pt>
                <c:pt idx="5656">
                  <c:v>39.783-39.790</c:v>
                </c:pt>
                <c:pt idx="5657">
                  <c:v>39.790-39.797</c:v>
                </c:pt>
                <c:pt idx="5658">
                  <c:v>39.797-39.804</c:v>
                </c:pt>
                <c:pt idx="5659">
                  <c:v>39.804-39.811</c:v>
                </c:pt>
                <c:pt idx="5660">
                  <c:v>39.811-39.818</c:v>
                </c:pt>
                <c:pt idx="5661">
                  <c:v>39.818-39.825</c:v>
                </c:pt>
                <c:pt idx="5662">
                  <c:v>39.825-39.832</c:v>
                </c:pt>
                <c:pt idx="5663">
                  <c:v>39.832-39.839</c:v>
                </c:pt>
                <c:pt idx="5664">
                  <c:v>39.839-39.846</c:v>
                </c:pt>
                <c:pt idx="5665">
                  <c:v>39.846-39.853</c:v>
                </c:pt>
                <c:pt idx="5666">
                  <c:v>39.853-39.860</c:v>
                </c:pt>
                <c:pt idx="5667">
                  <c:v>39.860-39.868</c:v>
                </c:pt>
                <c:pt idx="5668">
                  <c:v>39.868-39.875</c:v>
                </c:pt>
                <c:pt idx="5669">
                  <c:v>39.875-39.882</c:v>
                </c:pt>
                <c:pt idx="5670">
                  <c:v>39.882-39.889</c:v>
                </c:pt>
                <c:pt idx="5671">
                  <c:v>39.889-39.896</c:v>
                </c:pt>
                <c:pt idx="5672">
                  <c:v>39.896-39.903</c:v>
                </c:pt>
                <c:pt idx="5673">
                  <c:v>39.903-39.910</c:v>
                </c:pt>
                <c:pt idx="5674">
                  <c:v>39.910-39.917</c:v>
                </c:pt>
                <c:pt idx="5675">
                  <c:v>39.917-39.924</c:v>
                </c:pt>
                <c:pt idx="5676">
                  <c:v>39.924-39.931</c:v>
                </c:pt>
                <c:pt idx="5677">
                  <c:v>39.931-39.938</c:v>
                </c:pt>
                <c:pt idx="5678">
                  <c:v>39.938-39.945</c:v>
                </c:pt>
                <c:pt idx="5679">
                  <c:v>39.945-39.952</c:v>
                </c:pt>
                <c:pt idx="5680">
                  <c:v>39.952-39.959</c:v>
                </c:pt>
                <c:pt idx="5681">
                  <c:v>39.959-39.966</c:v>
                </c:pt>
                <c:pt idx="5682">
                  <c:v>39.966-39.973</c:v>
                </c:pt>
                <c:pt idx="5683">
                  <c:v>39.973-39.980</c:v>
                </c:pt>
                <c:pt idx="5684">
                  <c:v>39.980-39.987</c:v>
                </c:pt>
                <c:pt idx="5685">
                  <c:v>39.987-39.994</c:v>
                </c:pt>
                <c:pt idx="5686">
                  <c:v>39.994-40.001</c:v>
                </c:pt>
                <c:pt idx="5687">
                  <c:v>40.001-40.008</c:v>
                </c:pt>
                <c:pt idx="5688">
                  <c:v>40.008-40.015</c:v>
                </c:pt>
                <c:pt idx="5689">
                  <c:v>40.015-40.022</c:v>
                </c:pt>
                <c:pt idx="5690">
                  <c:v>40.022-40.029</c:v>
                </c:pt>
                <c:pt idx="5691">
                  <c:v>40.029-40.036</c:v>
                </c:pt>
                <c:pt idx="5692">
                  <c:v>40.036-40.043</c:v>
                </c:pt>
                <c:pt idx="5693">
                  <c:v>40.043-40.050</c:v>
                </c:pt>
                <c:pt idx="5694">
                  <c:v>40.050-40.057</c:v>
                </c:pt>
                <c:pt idx="5695">
                  <c:v>40.057-40.064</c:v>
                </c:pt>
                <c:pt idx="5696">
                  <c:v>40.064-40.071</c:v>
                </c:pt>
                <c:pt idx="5697">
                  <c:v>40.071-40.078</c:v>
                </c:pt>
                <c:pt idx="5698">
                  <c:v>40.078-40.086</c:v>
                </c:pt>
                <c:pt idx="5699">
                  <c:v>40.086-40.093</c:v>
                </c:pt>
                <c:pt idx="5700">
                  <c:v>40.093-40.100</c:v>
                </c:pt>
                <c:pt idx="5701">
                  <c:v>40.100-40.107</c:v>
                </c:pt>
                <c:pt idx="5702">
                  <c:v>40.107-40.114</c:v>
                </c:pt>
                <c:pt idx="5703">
                  <c:v>40.114-40.121</c:v>
                </c:pt>
                <c:pt idx="5704">
                  <c:v>40.121-40.128</c:v>
                </c:pt>
                <c:pt idx="5705">
                  <c:v>40.128-40.135</c:v>
                </c:pt>
                <c:pt idx="5706">
                  <c:v>40.135-40.142</c:v>
                </c:pt>
                <c:pt idx="5707">
                  <c:v>40.142-40.149</c:v>
                </c:pt>
                <c:pt idx="5708">
                  <c:v>40.149-40.156</c:v>
                </c:pt>
                <c:pt idx="5709">
                  <c:v>40.156-40.163</c:v>
                </c:pt>
                <c:pt idx="5710">
                  <c:v>40.163-40.170</c:v>
                </c:pt>
                <c:pt idx="5711">
                  <c:v>40.170-40.177</c:v>
                </c:pt>
                <c:pt idx="5712">
                  <c:v>40.177-40.184</c:v>
                </c:pt>
                <c:pt idx="5713">
                  <c:v>40.184-40.191</c:v>
                </c:pt>
                <c:pt idx="5714">
                  <c:v>40.191-40.198</c:v>
                </c:pt>
                <c:pt idx="5715">
                  <c:v>40.198-40.205</c:v>
                </c:pt>
                <c:pt idx="5716">
                  <c:v>40.205-40.212</c:v>
                </c:pt>
                <c:pt idx="5717">
                  <c:v>40.212-40.219</c:v>
                </c:pt>
                <c:pt idx="5718">
                  <c:v>40.219-40.226</c:v>
                </c:pt>
                <c:pt idx="5719">
                  <c:v>40.226-40.233</c:v>
                </c:pt>
                <c:pt idx="5720">
                  <c:v>40.233-40.240</c:v>
                </c:pt>
                <c:pt idx="5721">
                  <c:v>40.240-40.247</c:v>
                </c:pt>
                <c:pt idx="5722">
                  <c:v>40.247-40.254</c:v>
                </c:pt>
                <c:pt idx="5723">
                  <c:v>40.254-40.261</c:v>
                </c:pt>
                <c:pt idx="5724">
                  <c:v>40.261-40.268</c:v>
                </c:pt>
                <c:pt idx="5725">
                  <c:v>40.268-40.275</c:v>
                </c:pt>
                <c:pt idx="5726">
                  <c:v>40.275-40.282</c:v>
                </c:pt>
                <c:pt idx="5727">
                  <c:v>40.282-40.289</c:v>
                </c:pt>
                <c:pt idx="5728">
                  <c:v>40.289-40.296</c:v>
                </c:pt>
                <c:pt idx="5729">
                  <c:v>40.296-40.304</c:v>
                </c:pt>
                <c:pt idx="5730">
                  <c:v>40.304-40.311</c:v>
                </c:pt>
                <c:pt idx="5731">
                  <c:v>40.311-40.318</c:v>
                </c:pt>
                <c:pt idx="5732">
                  <c:v>40.318-40.325</c:v>
                </c:pt>
                <c:pt idx="5733">
                  <c:v>40.325-40.332</c:v>
                </c:pt>
                <c:pt idx="5734">
                  <c:v>40.332-40.339</c:v>
                </c:pt>
                <c:pt idx="5735">
                  <c:v>40.339-40.346</c:v>
                </c:pt>
                <c:pt idx="5736">
                  <c:v>40.346-40.353</c:v>
                </c:pt>
                <c:pt idx="5737">
                  <c:v>40.353-40.360</c:v>
                </c:pt>
                <c:pt idx="5738">
                  <c:v>40.360-40.367</c:v>
                </c:pt>
                <c:pt idx="5739">
                  <c:v>40.367-40.374</c:v>
                </c:pt>
                <c:pt idx="5740">
                  <c:v>40.374-40.381</c:v>
                </c:pt>
                <c:pt idx="5741">
                  <c:v>40.381-40.388</c:v>
                </c:pt>
                <c:pt idx="5742">
                  <c:v>40.388-40.395</c:v>
                </c:pt>
                <c:pt idx="5743">
                  <c:v>40.395-40.402</c:v>
                </c:pt>
                <c:pt idx="5744">
                  <c:v>40.402-40.409</c:v>
                </c:pt>
                <c:pt idx="5745">
                  <c:v>40.409-40.416</c:v>
                </c:pt>
                <c:pt idx="5746">
                  <c:v>40.416-40.423</c:v>
                </c:pt>
                <c:pt idx="5747">
                  <c:v>40.423-40.430</c:v>
                </c:pt>
                <c:pt idx="5748">
                  <c:v>40.430-40.437</c:v>
                </c:pt>
                <c:pt idx="5749">
                  <c:v>40.437-40.444</c:v>
                </c:pt>
                <c:pt idx="5750">
                  <c:v>40.444-40.451</c:v>
                </c:pt>
                <c:pt idx="5751">
                  <c:v>40.451-40.458</c:v>
                </c:pt>
                <c:pt idx="5752">
                  <c:v>40.458-40.465</c:v>
                </c:pt>
                <c:pt idx="5753">
                  <c:v>40.465-40.472</c:v>
                </c:pt>
                <c:pt idx="5754">
                  <c:v>40.472-40.479</c:v>
                </c:pt>
                <c:pt idx="5755">
                  <c:v>40.479-40.486</c:v>
                </c:pt>
                <c:pt idx="5756">
                  <c:v>40.486-40.493</c:v>
                </c:pt>
                <c:pt idx="5757">
                  <c:v>40.493-40.500</c:v>
                </c:pt>
                <c:pt idx="5758">
                  <c:v>40.500-40.507</c:v>
                </c:pt>
                <c:pt idx="5759">
                  <c:v>40.507-40.514</c:v>
                </c:pt>
                <c:pt idx="5760">
                  <c:v>40.514-40.522</c:v>
                </c:pt>
                <c:pt idx="5761">
                  <c:v>40.522-40.529</c:v>
                </c:pt>
                <c:pt idx="5762">
                  <c:v>40.529-40.536</c:v>
                </c:pt>
                <c:pt idx="5763">
                  <c:v>40.536-40.543</c:v>
                </c:pt>
                <c:pt idx="5764">
                  <c:v>40.543-40.550</c:v>
                </c:pt>
                <c:pt idx="5765">
                  <c:v>40.550-40.557</c:v>
                </c:pt>
                <c:pt idx="5766">
                  <c:v>40.557-40.564</c:v>
                </c:pt>
                <c:pt idx="5767">
                  <c:v>40.564-40.571</c:v>
                </c:pt>
                <c:pt idx="5768">
                  <c:v>40.571-40.578</c:v>
                </c:pt>
                <c:pt idx="5769">
                  <c:v>40.578-40.585</c:v>
                </c:pt>
                <c:pt idx="5770">
                  <c:v>40.585-40.592</c:v>
                </c:pt>
                <c:pt idx="5771">
                  <c:v>40.592-40.599</c:v>
                </c:pt>
                <c:pt idx="5772">
                  <c:v>40.599-40.606</c:v>
                </c:pt>
                <c:pt idx="5773">
                  <c:v>40.606-40.613</c:v>
                </c:pt>
                <c:pt idx="5774">
                  <c:v>40.613-40.620</c:v>
                </c:pt>
                <c:pt idx="5775">
                  <c:v>40.620-40.627</c:v>
                </c:pt>
                <c:pt idx="5776">
                  <c:v>40.627-40.634</c:v>
                </c:pt>
                <c:pt idx="5777">
                  <c:v>40.634-40.641</c:v>
                </c:pt>
                <c:pt idx="5778">
                  <c:v>40.641-40.648</c:v>
                </c:pt>
                <c:pt idx="5779">
                  <c:v>40.648-40.655</c:v>
                </c:pt>
                <c:pt idx="5780">
                  <c:v>40.655-40.662</c:v>
                </c:pt>
                <c:pt idx="5781">
                  <c:v>40.662-40.669</c:v>
                </c:pt>
                <c:pt idx="5782">
                  <c:v>40.669-40.676</c:v>
                </c:pt>
                <c:pt idx="5783">
                  <c:v>40.676-40.683</c:v>
                </c:pt>
                <c:pt idx="5784">
                  <c:v>40.683-40.690</c:v>
                </c:pt>
                <c:pt idx="5785">
                  <c:v>40.690-40.697</c:v>
                </c:pt>
                <c:pt idx="5786">
                  <c:v>40.697-40.704</c:v>
                </c:pt>
                <c:pt idx="5787">
                  <c:v>40.704-40.711</c:v>
                </c:pt>
                <c:pt idx="5788">
                  <c:v>40.711-40.718</c:v>
                </c:pt>
                <c:pt idx="5789">
                  <c:v>40.718-40.725</c:v>
                </c:pt>
                <c:pt idx="5790">
                  <c:v>40.725-40.732</c:v>
                </c:pt>
                <c:pt idx="5791">
                  <c:v>40.732-40.740</c:v>
                </c:pt>
                <c:pt idx="5792">
                  <c:v>40.740-40.747</c:v>
                </c:pt>
                <c:pt idx="5793">
                  <c:v>40.747-40.754</c:v>
                </c:pt>
                <c:pt idx="5794">
                  <c:v>40.754-40.761</c:v>
                </c:pt>
                <c:pt idx="5795">
                  <c:v>40.761-40.768</c:v>
                </c:pt>
                <c:pt idx="5796">
                  <c:v>40.768-40.775</c:v>
                </c:pt>
                <c:pt idx="5797">
                  <c:v>40.775-40.782</c:v>
                </c:pt>
                <c:pt idx="5798">
                  <c:v>40.782-40.789</c:v>
                </c:pt>
                <c:pt idx="5799">
                  <c:v>40.789-40.796</c:v>
                </c:pt>
                <c:pt idx="5800">
                  <c:v>40.796-40.803</c:v>
                </c:pt>
                <c:pt idx="5801">
                  <c:v>40.803-40.810</c:v>
                </c:pt>
                <c:pt idx="5802">
                  <c:v>40.810-40.817</c:v>
                </c:pt>
                <c:pt idx="5803">
                  <c:v>40.817-40.824</c:v>
                </c:pt>
                <c:pt idx="5804">
                  <c:v>40.824-40.831</c:v>
                </c:pt>
                <c:pt idx="5805">
                  <c:v>40.831-40.838</c:v>
                </c:pt>
                <c:pt idx="5806">
                  <c:v>40.838-40.845</c:v>
                </c:pt>
                <c:pt idx="5807">
                  <c:v>40.845-40.852</c:v>
                </c:pt>
                <c:pt idx="5808">
                  <c:v>40.852-40.859</c:v>
                </c:pt>
                <c:pt idx="5809">
                  <c:v>40.859-40.866</c:v>
                </c:pt>
                <c:pt idx="5810">
                  <c:v>40.866-40.873</c:v>
                </c:pt>
                <c:pt idx="5811">
                  <c:v>40.873-40.880</c:v>
                </c:pt>
                <c:pt idx="5812">
                  <c:v>40.880-40.887</c:v>
                </c:pt>
                <c:pt idx="5813">
                  <c:v>40.887-40.894</c:v>
                </c:pt>
                <c:pt idx="5814">
                  <c:v>40.894-40.901</c:v>
                </c:pt>
                <c:pt idx="5815">
                  <c:v>40.901-40.908</c:v>
                </c:pt>
                <c:pt idx="5816">
                  <c:v>40.908-40.915</c:v>
                </c:pt>
                <c:pt idx="5817">
                  <c:v>40.915-40.922</c:v>
                </c:pt>
                <c:pt idx="5818">
                  <c:v>40.922-40.929</c:v>
                </c:pt>
                <c:pt idx="5819">
                  <c:v>40.929-40.936</c:v>
                </c:pt>
                <c:pt idx="5820">
                  <c:v>40.936-40.943</c:v>
                </c:pt>
                <c:pt idx="5821">
                  <c:v>40.943-40.950</c:v>
                </c:pt>
                <c:pt idx="5822">
                  <c:v>40.950-40.958</c:v>
                </c:pt>
                <c:pt idx="5823">
                  <c:v>40.958-40.965</c:v>
                </c:pt>
                <c:pt idx="5824">
                  <c:v>40.965-40.972</c:v>
                </c:pt>
                <c:pt idx="5825">
                  <c:v>40.972-40.979</c:v>
                </c:pt>
                <c:pt idx="5826">
                  <c:v>40.979-40.986</c:v>
                </c:pt>
                <c:pt idx="5827">
                  <c:v>40.986-40.993</c:v>
                </c:pt>
                <c:pt idx="5828">
                  <c:v>40.993-41.000</c:v>
                </c:pt>
                <c:pt idx="5829">
                  <c:v>41.000-41.007</c:v>
                </c:pt>
                <c:pt idx="5830">
                  <c:v>41.007-41.014</c:v>
                </c:pt>
                <c:pt idx="5831">
                  <c:v>41.014-41.021</c:v>
                </c:pt>
                <c:pt idx="5832">
                  <c:v>41.021-41.028</c:v>
                </c:pt>
                <c:pt idx="5833">
                  <c:v>41.028-41.035</c:v>
                </c:pt>
                <c:pt idx="5834">
                  <c:v>41.035-41.042</c:v>
                </c:pt>
                <c:pt idx="5835">
                  <c:v>41.042-41.049</c:v>
                </c:pt>
                <c:pt idx="5836">
                  <c:v>41.049-41.056</c:v>
                </c:pt>
                <c:pt idx="5837">
                  <c:v>41.056-41.063</c:v>
                </c:pt>
                <c:pt idx="5838">
                  <c:v>41.063-41.070</c:v>
                </c:pt>
                <c:pt idx="5839">
                  <c:v>41.070-41.077</c:v>
                </c:pt>
                <c:pt idx="5840">
                  <c:v>41.077-41.084</c:v>
                </c:pt>
                <c:pt idx="5841">
                  <c:v>41.084-41.091</c:v>
                </c:pt>
                <c:pt idx="5842">
                  <c:v>41.091-41.098</c:v>
                </c:pt>
                <c:pt idx="5843">
                  <c:v>41.098-41.105</c:v>
                </c:pt>
                <c:pt idx="5844">
                  <c:v>41.105-41.112</c:v>
                </c:pt>
                <c:pt idx="5845">
                  <c:v>41.112-41.119</c:v>
                </c:pt>
                <c:pt idx="5846">
                  <c:v>41.119-41.126</c:v>
                </c:pt>
                <c:pt idx="5847">
                  <c:v>41.126-41.133</c:v>
                </c:pt>
                <c:pt idx="5848">
                  <c:v>41.133-41.140</c:v>
                </c:pt>
                <c:pt idx="5849">
                  <c:v>41.140-41.147</c:v>
                </c:pt>
                <c:pt idx="5850">
                  <c:v>41.147-41.154</c:v>
                </c:pt>
                <c:pt idx="5851">
                  <c:v>41.154-41.161</c:v>
                </c:pt>
                <c:pt idx="5852">
                  <c:v>41.161-41.168</c:v>
                </c:pt>
                <c:pt idx="5853">
                  <c:v>41.168-41.175</c:v>
                </c:pt>
                <c:pt idx="5854">
                  <c:v>41.175-41.183</c:v>
                </c:pt>
                <c:pt idx="5855">
                  <c:v>41.183-41.190</c:v>
                </c:pt>
                <c:pt idx="5856">
                  <c:v>41.190-41.197</c:v>
                </c:pt>
                <c:pt idx="5857">
                  <c:v>41.197-41.204</c:v>
                </c:pt>
                <c:pt idx="5858">
                  <c:v>41.204-41.211</c:v>
                </c:pt>
                <c:pt idx="5859">
                  <c:v>41.211-41.218</c:v>
                </c:pt>
                <c:pt idx="5860">
                  <c:v>41.218-41.225</c:v>
                </c:pt>
                <c:pt idx="5861">
                  <c:v>41.225-41.232</c:v>
                </c:pt>
                <c:pt idx="5862">
                  <c:v>41.232-41.239</c:v>
                </c:pt>
                <c:pt idx="5863">
                  <c:v>41.239-41.246</c:v>
                </c:pt>
                <c:pt idx="5864">
                  <c:v>41.246-41.253</c:v>
                </c:pt>
                <c:pt idx="5865">
                  <c:v>41.253-41.260</c:v>
                </c:pt>
                <c:pt idx="5866">
                  <c:v>41.260-41.267</c:v>
                </c:pt>
                <c:pt idx="5867">
                  <c:v>41.267-41.274</c:v>
                </c:pt>
                <c:pt idx="5868">
                  <c:v>41.274-41.281</c:v>
                </c:pt>
                <c:pt idx="5869">
                  <c:v>41.281-41.288</c:v>
                </c:pt>
                <c:pt idx="5870">
                  <c:v>41.288-41.295</c:v>
                </c:pt>
                <c:pt idx="5871">
                  <c:v>41.295-41.302</c:v>
                </c:pt>
                <c:pt idx="5872">
                  <c:v>41.302-41.309</c:v>
                </c:pt>
                <c:pt idx="5873">
                  <c:v>41.309-41.316</c:v>
                </c:pt>
                <c:pt idx="5874">
                  <c:v>41.316-41.323</c:v>
                </c:pt>
                <c:pt idx="5875">
                  <c:v>41.323-41.330</c:v>
                </c:pt>
                <c:pt idx="5876">
                  <c:v>41.330-41.337</c:v>
                </c:pt>
                <c:pt idx="5877">
                  <c:v>41.337-41.344</c:v>
                </c:pt>
                <c:pt idx="5878">
                  <c:v>41.344-41.351</c:v>
                </c:pt>
                <c:pt idx="5879">
                  <c:v>41.351-41.358</c:v>
                </c:pt>
                <c:pt idx="5880">
                  <c:v>41.358-41.365</c:v>
                </c:pt>
                <c:pt idx="5881">
                  <c:v>41.365-41.372</c:v>
                </c:pt>
                <c:pt idx="5882">
                  <c:v>41.372-41.379</c:v>
                </c:pt>
                <c:pt idx="5883">
                  <c:v>41.379-41.386</c:v>
                </c:pt>
                <c:pt idx="5884">
                  <c:v>41.386-41.393</c:v>
                </c:pt>
                <c:pt idx="5885">
                  <c:v>41.393-41.401</c:v>
                </c:pt>
                <c:pt idx="5886">
                  <c:v>41.401-41.408</c:v>
                </c:pt>
                <c:pt idx="5887">
                  <c:v>41.408-41.415</c:v>
                </c:pt>
                <c:pt idx="5888">
                  <c:v>41.415-41.422</c:v>
                </c:pt>
                <c:pt idx="5889">
                  <c:v>41.422-41.429</c:v>
                </c:pt>
                <c:pt idx="5890">
                  <c:v>41.429-41.436</c:v>
                </c:pt>
                <c:pt idx="5891">
                  <c:v>41.436-41.443</c:v>
                </c:pt>
                <c:pt idx="5892">
                  <c:v>41.443-41.450</c:v>
                </c:pt>
                <c:pt idx="5893">
                  <c:v>41.450-41.457</c:v>
                </c:pt>
                <c:pt idx="5894">
                  <c:v>41.457-41.464</c:v>
                </c:pt>
                <c:pt idx="5895">
                  <c:v>41.464-41.471</c:v>
                </c:pt>
                <c:pt idx="5896">
                  <c:v>41.471-41.478</c:v>
                </c:pt>
                <c:pt idx="5897">
                  <c:v>41.478-41.485</c:v>
                </c:pt>
                <c:pt idx="5898">
                  <c:v>41.485-41.492</c:v>
                </c:pt>
                <c:pt idx="5899">
                  <c:v>41.492-41.499</c:v>
                </c:pt>
                <c:pt idx="5900">
                  <c:v>41.499-41.506</c:v>
                </c:pt>
                <c:pt idx="5901">
                  <c:v>41.506-41.513</c:v>
                </c:pt>
                <c:pt idx="5902">
                  <c:v>41.513-41.520</c:v>
                </c:pt>
                <c:pt idx="5903">
                  <c:v>41.520-41.527</c:v>
                </c:pt>
                <c:pt idx="5904">
                  <c:v>41.527-41.534</c:v>
                </c:pt>
                <c:pt idx="5905">
                  <c:v>41.534-41.541</c:v>
                </c:pt>
                <c:pt idx="5906">
                  <c:v>41.541-41.548</c:v>
                </c:pt>
                <c:pt idx="5907">
                  <c:v>41.548-41.555</c:v>
                </c:pt>
                <c:pt idx="5908">
                  <c:v>41.555-41.562</c:v>
                </c:pt>
                <c:pt idx="5909">
                  <c:v>41.562-41.569</c:v>
                </c:pt>
                <c:pt idx="5910">
                  <c:v>41.569-41.576</c:v>
                </c:pt>
                <c:pt idx="5911">
                  <c:v>41.576-41.583</c:v>
                </c:pt>
                <c:pt idx="5912">
                  <c:v>41.583-41.590</c:v>
                </c:pt>
                <c:pt idx="5913">
                  <c:v>41.590-41.597</c:v>
                </c:pt>
                <c:pt idx="5914">
                  <c:v>41.597-41.604</c:v>
                </c:pt>
                <c:pt idx="5915">
                  <c:v>41.604-41.611</c:v>
                </c:pt>
                <c:pt idx="5916">
                  <c:v>41.611-41.619</c:v>
                </c:pt>
                <c:pt idx="5917">
                  <c:v>41.619-41.626</c:v>
                </c:pt>
                <c:pt idx="5918">
                  <c:v>41.626-41.633</c:v>
                </c:pt>
                <c:pt idx="5919">
                  <c:v>41.633-41.640</c:v>
                </c:pt>
                <c:pt idx="5920">
                  <c:v>41.640-41.647</c:v>
                </c:pt>
                <c:pt idx="5921">
                  <c:v>41.647-41.654</c:v>
                </c:pt>
                <c:pt idx="5922">
                  <c:v>41.654-41.661</c:v>
                </c:pt>
                <c:pt idx="5923">
                  <c:v>41.661-41.668</c:v>
                </c:pt>
                <c:pt idx="5924">
                  <c:v>41.668-41.675</c:v>
                </c:pt>
                <c:pt idx="5925">
                  <c:v>41.675-41.682</c:v>
                </c:pt>
                <c:pt idx="5926">
                  <c:v>41.682-41.689</c:v>
                </c:pt>
                <c:pt idx="5927">
                  <c:v>41.689-41.696</c:v>
                </c:pt>
                <c:pt idx="5928">
                  <c:v>41.696-41.703</c:v>
                </c:pt>
                <c:pt idx="5929">
                  <c:v>41.703-41.710</c:v>
                </c:pt>
                <c:pt idx="5930">
                  <c:v>41.710-41.717</c:v>
                </c:pt>
                <c:pt idx="5931">
                  <c:v>41.717-41.724</c:v>
                </c:pt>
                <c:pt idx="5932">
                  <c:v>41.724-41.731</c:v>
                </c:pt>
                <c:pt idx="5933">
                  <c:v>41.731-41.738</c:v>
                </c:pt>
                <c:pt idx="5934">
                  <c:v>41.738-41.745</c:v>
                </c:pt>
                <c:pt idx="5935">
                  <c:v>41.745-41.752</c:v>
                </c:pt>
                <c:pt idx="5936">
                  <c:v>41.752-41.759</c:v>
                </c:pt>
                <c:pt idx="5937">
                  <c:v>41.759-41.766</c:v>
                </c:pt>
                <c:pt idx="5938">
                  <c:v>41.766-41.773</c:v>
                </c:pt>
                <c:pt idx="5939">
                  <c:v>41.773-41.780</c:v>
                </c:pt>
                <c:pt idx="5940">
                  <c:v>41.780-41.787</c:v>
                </c:pt>
                <c:pt idx="5941">
                  <c:v>41.787-41.794</c:v>
                </c:pt>
                <c:pt idx="5942">
                  <c:v>41.794-41.801</c:v>
                </c:pt>
                <c:pt idx="5943">
                  <c:v>41.801-41.808</c:v>
                </c:pt>
                <c:pt idx="5944">
                  <c:v>41.808-41.815</c:v>
                </c:pt>
                <c:pt idx="5945">
                  <c:v>41.815-41.822</c:v>
                </c:pt>
                <c:pt idx="5946">
                  <c:v>41.822-41.829</c:v>
                </c:pt>
                <c:pt idx="5947">
                  <c:v>41.829-41.837</c:v>
                </c:pt>
                <c:pt idx="5948">
                  <c:v>41.837-41.844</c:v>
                </c:pt>
                <c:pt idx="5949">
                  <c:v>41.844-41.851</c:v>
                </c:pt>
                <c:pt idx="5950">
                  <c:v>41.851-41.858</c:v>
                </c:pt>
                <c:pt idx="5951">
                  <c:v>41.858-41.865</c:v>
                </c:pt>
                <c:pt idx="5952">
                  <c:v>41.865-41.872</c:v>
                </c:pt>
                <c:pt idx="5953">
                  <c:v>41.872-41.879</c:v>
                </c:pt>
                <c:pt idx="5954">
                  <c:v>41.879-41.886</c:v>
                </c:pt>
                <c:pt idx="5955">
                  <c:v>41.886-41.893</c:v>
                </c:pt>
                <c:pt idx="5956">
                  <c:v>41.893-41.900</c:v>
                </c:pt>
                <c:pt idx="5957">
                  <c:v>41.900-41.907</c:v>
                </c:pt>
                <c:pt idx="5958">
                  <c:v>41.907-41.914</c:v>
                </c:pt>
                <c:pt idx="5959">
                  <c:v>41.914-41.921</c:v>
                </c:pt>
                <c:pt idx="5960">
                  <c:v>41.921-41.928</c:v>
                </c:pt>
                <c:pt idx="5961">
                  <c:v>41.928-41.935</c:v>
                </c:pt>
                <c:pt idx="5962">
                  <c:v>41.935-41.942</c:v>
                </c:pt>
                <c:pt idx="5963">
                  <c:v>41.942-41.949</c:v>
                </c:pt>
                <c:pt idx="5964">
                  <c:v>41.949-41.956</c:v>
                </c:pt>
                <c:pt idx="5965">
                  <c:v>41.956-41.963</c:v>
                </c:pt>
                <c:pt idx="5966">
                  <c:v>41.963-41.970</c:v>
                </c:pt>
                <c:pt idx="5967">
                  <c:v>41.970-41.977</c:v>
                </c:pt>
                <c:pt idx="5968">
                  <c:v>41.977-41.984</c:v>
                </c:pt>
                <c:pt idx="5969">
                  <c:v>41.984-41.991</c:v>
                </c:pt>
                <c:pt idx="5970">
                  <c:v>41.991-41.998</c:v>
                </c:pt>
                <c:pt idx="5971">
                  <c:v>41.998-42.005</c:v>
                </c:pt>
                <c:pt idx="5972">
                  <c:v>42.005-42.012</c:v>
                </c:pt>
                <c:pt idx="5973">
                  <c:v>42.012-42.019</c:v>
                </c:pt>
                <c:pt idx="5974">
                  <c:v>42.019-42.026</c:v>
                </c:pt>
                <c:pt idx="5975">
                  <c:v>42.026-42.033</c:v>
                </c:pt>
                <c:pt idx="5976">
                  <c:v>42.033-42.040</c:v>
                </c:pt>
                <c:pt idx="5977">
                  <c:v>42.040-42.047</c:v>
                </c:pt>
                <c:pt idx="5978">
                  <c:v>42.047-42.055</c:v>
                </c:pt>
                <c:pt idx="5979">
                  <c:v>42.055-42.062</c:v>
                </c:pt>
                <c:pt idx="5980">
                  <c:v>42.062-42.069</c:v>
                </c:pt>
                <c:pt idx="5981">
                  <c:v>42.069-42.076</c:v>
                </c:pt>
                <c:pt idx="5982">
                  <c:v>42.076-42.083</c:v>
                </c:pt>
                <c:pt idx="5983">
                  <c:v>42.083-42.090</c:v>
                </c:pt>
                <c:pt idx="5984">
                  <c:v>42.090-42.097</c:v>
                </c:pt>
                <c:pt idx="5985">
                  <c:v>42.097-42.104</c:v>
                </c:pt>
                <c:pt idx="5986">
                  <c:v>42.104-42.111</c:v>
                </c:pt>
                <c:pt idx="5987">
                  <c:v>42.111-42.118</c:v>
                </c:pt>
                <c:pt idx="5988">
                  <c:v>42.118-42.125</c:v>
                </c:pt>
                <c:pt idx="5989">
                  <c:v>42.125-42.132</c:v>
                </c:pt>
                <c:pt idx="5990">
                  <c:v>42.132-42.139</c:v>
                </c:pt>
                <c:pt idx="5991">
                  <c:v>42.139-42.146</c:v>
                </c:pt>
                <c:pt idx="5992">
                  <c:v>42.146-42.153</c:v>
                </c:pt>
                <c:pt idx="5993">
                  <c:v>42.153-42.160</c:v>
                </c:pt>
                <c:pt idx="5994">
                  <c:v>42.160-42.167</c:v>
                </c:pt>
                <c:pt idx="5995">
                  <c:v>42.167-42.174</c:v>
                </c:pt>
                <c:pt idx="5996">
                  <c:v>42.174-42.181</c:v>
                </c:pt>
                <c:pt idx="5997">
                  <c:v>42.181-42.188</c:v>
                </c:pt>
                <c:pt idx="5998">
                  <c:v>42.188-42.195</c:v>
                </c:pt>
                <c:pt idx="5999">
                  <c:v>42.195-42.202</c:v>
                </c:pt>
                <c:pt idx="6000">
                  <c:v>42.202-42.209</c:v>
                </c:pt>
                <c:pt idx="6001">
                  <c:v>42.209-42.216</c:v>
                </c:pt>
                <c:pt idx="6002">
                  <c:v>42.216-42.223</c:v>
                </c:pt>
                <c:pt idx="6003">
                  <c:v>42.223-42.230</c:v>
                </c:pt>
                <c:pt idx="6004">
                  <c:v>42.230-42.237</c:v>
                </c:pt>
                <c:pt idx="6005">
                  <c:v>42.237-42.244</c:v>
                </c:pt>
                <c:pt idx="6006">
                  <c:v>42.244-42.251</c:v>
                </c:pt>
                <c:pt idx="6007">
                  <c:v>42.251-42.258</c:v>
                </c:pt>
                <c:pt idx="6008">
                  <c:v>42.258-42.265</c:v>
                </c:pt>
                <c:pt idx="6009">
                  <c:v>42.265-42.273</c:v>
                </c:pt>
                <c:pt idx="6010">
                  <c:v>42.273-42.280</c:v>
                </c:pt>
                <c:pt idx="6011">
                  <c:v>42.280-42.287</c:v>
                </c:pt>
                <c:pt idx="6012">
                  <c:v>42.287-42.294</c:v>
                </c:pt>
                <c:pt idx="6013">
                  <c:v>42.294-42.301</c:v>
                </c:pt>
                <c:pt idx="6014">
                  <c:v>42.301-42.308</c:v>
                </c:pt>
                <c:pt idx="6015">
                  <c:v>42.308-42.315</c:v>
                </c:pt>
                <c:pt idx="6016">
                  <c:v>42.315-42.322</c:v>
                </c:pt>
                <c:pt idx="6017">
                  <c:v>42.322-42.329</c:v>
                </c:pt>
                <c:pt idx="6018">
                  <c:v>42.329-42.336</c:v>
                </c:pt>
                <c:pt idx="6019">
                  <c:v>42.336-42.343</c:v>
                </c:pt>
                <c:pt idx="6020">
                  <c:v>42.343-42.350</c:v>
                </c:pt>
                <c:pt idx="6021">
                  <c:v>42.350-42.357</c:v>
                </c:pt>
                <c:pt idx="6022">
                  <c:v>42.357-42.364</c:v>
                </c:pt>
                <c:pt idx="6023">
                  <c:v>42.364-42.371</c:v>
                </c:pt>
                <c:pt idx="6024">
                  <c:v>42.371-42.378</c:v>
                </c:pt>
                <c:pt idx="6025">
                  <c:v>42.378-42.385</c:v>
                </c:pt>
                <c:pt idx="6026">
                  <c:v>42.385-42.392</c:v>
                </c:pt>
                <c:pt idx="6027">
                  <c:v>42.392-42.399</c:v>
                </c:pt>
                <c:pt idx="6028">
                  <c:v>42.399-42.406</c:v>
                </c:pt>
                <c:pt idx="6029">
                  <c:v>42.406-42.413</c:v>
                </c:pt>
                <c:pt idx="6030">
                  <c:v>42.413-42.420</c:v>
                </c:pt>
                <c:pt idx="6031">
                  <c:v>42.420-42.427</c:v>
                </c:pt>
                <c:pt idx="6032">
                  <c:v>42.427-42.434</c:v>
                </c:pt>
                <c:pt idx="6033">
                  <c:v>42.434-42.441</c:v>
                </c:pt>
                <c:pt idx="6034">
                  <c:v>42.441-42.448</c:v>
                </c:pt>
                <c:pt idx="6035">
                  <c:v>42.448-42.455</c:v>
                </c:pt>
                <c:pt idx="6036">
                  <c:v>42.455-42.462</c:v>
                </c:pt>
                <c:pt idx="6037">
                  <c:v>42.462-42.469</c:v>
                </c:pt>
                <c:pt idx="6038">
                  <c:v>42.469-42.476</c:v>
                </c:pt>
                <c:pt idx="6039">
                  <c:v>42.476-42.483</c:v>
                </c:pt>
                <c:pt idx="6040">
                  <c:v>42.483-42.491</c:v>
                </c:pt>
                <c:pt idx="6041">
                  <c:v>42.491-42.498</c:v>
                </c:pt>
                <c:pt idx="6042">
                  <c:v>42.498-42.505</c:v>
                </c:pt>
                <c:pt idx="6043">
                  <c:v>42.505-42.512</c:v>
                </c:pt>
                <c:pt idx="6044">
                  <c:v>42.512-42.519</c:v>
                </c:pt>
                <c:pt idx="6045">
                  <c:v>42.519-42.526</c:v>
                </c:pt>
                <c:pt idx="6046">
                  <c:v>42.526-42.533</c:v>
                </c:pt>
                <c:pt idx="6047">
                  <c:v>42.533-42.540</c:v>
                </c:pt>
                <c:pt idx="6048">
                  <c:v>42.540-42.547</c:v>
                </c:pt>
                <c:pt idx="6049">
                  <c:v>42.547-42.554</c:v>
                </c:pt>
                <c:pt idx="6050">
                  <c:v>42.554-42.561</c:v>
                </c:pt>
                <c:pt idx="6051">
                  <c:v>42.561-42.568</c:v>
                </c:pt>
                <c:pt idx="6052">
                  <c:v>42.568-42.575</c:v>
                </c:pt>
                <c:pt idx="6053">
                  <c:v>42.575-42.582</c:v>
                </c:pt>
                <c:pt idx="6054">
                  <c:v>42.582-42.589</c:v>
                </c:pt>
                <c:pt idx="6055">
                  <c:v>42.589-42.596</c:v>
                </c:pt>
                <c:pt idx="6056">
                  <c:v>42.596-42.603</c:v>
                </c:pt>
                <c:pt idx="6057">
                  <c:v>42.603-42.610</c:v>
                </c:pt>
                <c:pt idx="6058">
                  <c:v>42.610-42.617</c:v>
                </c:pt>
                <c:pt idx="6059">
                  <c:v>42.617-42.624</c:v>
                </c:pt>
                <c:pt idx="6060">
                  <c:v>42.624-42.631</c:v>
                </c:pt>
                <c:pt idx="6061">
                  <c:v>42.631-42.638</c:v>
                </c:pt>
                <c:pt idx="6062">
                  <c:v>42.638-42.645</c:v>
                </c:pt>
                <c:pt idx="6063">
                  <c:v>42.645-42.652</c:v>
                </c:pt>
                <c:pt idx="6064">
                  <c:v>42.652-42.659</c:v>
                </c:pt>
                <c:pt idx="6065">
                  <c:v>42.659-42.666</c:v>
                </c:pt>
                <c:pt idx="6066">
                  <c:v>42.666-42.673</c:v>
                </c:pt>
                <c:pt idx="6067">
                  <c:v>42.673-42.680</c:v>
                </c:pt>
                <c:pt idx="6068">
                  <c:v>42.680-42.687</c:v>
                </c:pt>
                <c:pt idx="6069">
                  <c:v>42.687-42.694</c:v>
                </c:pt>
                <c:pt idx="6070">
                  <c:v>42.694-42.701</c:v>
                </c:pt>
                <c:pt idx="6071">
                  <c:v>42.701-42.709</c:v>
                </c:pt>
                <c:pt idx="6072">
                  <c:v>42.709-42.716</c:v>
                </c:pt>
                <c:pt idx="6073">
                  <c:v>42.716-42.723</c:v>
                </c:pt>
                <c:pt idx="6074">
                  <c:v>42.723-42.730</c:v>
                </c:pt>
                <c:pt idx="6075">
                  <c:v>42.730-42.737</c:v>
                </c:pt>
                <c:pt idx="6076">
                  <c:v>42.737-42.744</c:v>
                </c:pt>
                <c:pt idx="6077">
                  <c:v>42.744-42.751</c:v>
                </c:pt>
                <c:pt idx="6078">
                  <c:v>42.751-42.758</c:v>
                </c:pt>
                <c:pt idx="6079">
                  <c:v>42.758-42.765</c:v>
                </c:pt>
                <c:pt idx="6080">
                  <c:v>42.765-42.772</c:v>
                </c:pt>
                <c:pt idx="6081">
                  <c:v>42.772-42.779</c:v>
                </c:pt>
                <c:pt idx="6082">
                  <c:v>42.779-42.786</c:v>
                </c:pt>
                <c:pt idx="6083">
                  <c:v>42.786-42.793</c:v>
                </c:pt>
                <c:pt idx="6084">
                  <c:v>42.793-42.800</c:v>
                </c:pt>
                <c:pt idx="6085">
                  <c:v>42.800-42.807</c:v>
                </c:pt>
                <c:pt idx="6086">
                  <c:v>42.807-42.814</c:v>
                </c:pt>
                <c:pt idx="6087">
                  <c:v>42.814-42.821</c:v>
                </c:pt>
                <c:pt idx="6088">
                  <c:v>42.821-42.828</c:v>
                </c:pt>
                <c:pt idx="6089">
                  <c:v>42.828-42.835</c:v>
                </c:pt>
                <c:pt idx="6090">
                  <c:v>42.835-42.842</c:v>
                </c:pt>
                <c:pt idx="6091">
                  <c:v>42.842-42.849</c:v>
                </c:pt>
                <c:pt idx="6092">
                  <c:v>42.849-42.856</c:v>
                </c:pt>
                <c:pt idx="6093">
                  <c:v>42.856-42.863</c:v>
                </c:pt>
                <c:pt idx="6094">
                  <c:v>42.863-42.870</c:v>
                </c:pt>
                <c:pt idx="6095">
                  <c:v>42.870-42.877</c:v>
                </c:pt>
                <c:pt idx="6096">
                  <c:v>42.877-42.884</c:v>
                </c:pt>
                <c:pt idx="6097">
                  <c:v>42.884-42.891</c:v>
                </c:pt>
                <c:pt idx="6098">
                  <c:v>42.891-42.898</c:v>
                </c:pt>
                <c:pt idx="6099">
                  <c:v>42.898-42.905</c:v>
                </c:pt>
                <c:pt idx="6100">
                  <c:v>42.905-42.912</c:v>
                </c:pt>
                <c:pt idx="6101">
                  <c:v>42.912-42.919</c:v>
                </c:pt>
                <c:pt idx="6102">
                  <c:v>42.919-42.927</c:v>
                </c:pt>
                <c:pt idx="6103">
                  <c:v>42.927-42.934</c:v>
                </c:pt>
                <c:pt idx="6104">
                  <c:v>42.934-42.941</c:v>
                </c:pt>
                <c:pt idx="6105">
                  <c:v>42.941-42.948</c:v>
                </c:pt>
                <c:pt idx="6106">
                  <c:v>42.948-42.955</c:v>
                </c:pt>
                <c:pt idx="6107">
                  <c:v>42.955-42.962</c:v>
                </c:pt>
                <c:pt idx="6108">
                  <c:v>42.962-42.969</c:v>
                </c:pt>
                <c:pt idx="6109">
                  <c:v>42.969-42.976</c:v>
                </c:pt>
                <c:pt idx="6110">
                  <c:v>42.976-42.983</c:v>
                </c:pt>
                <c:pt idx="6111">
                  <c:v>42.983-42.990</c:v>
                </c:pt>
                <c:pt idx="6112">
                  <c:v>42.990-42.997</c:v>
                </c:pt>
                <c:pt idx="6113">
                  <c:v>42.997-43.004</c:v>
                </c:pt>
                <c:pt idx="6114">
                  <c:v>43.004-43.011</c:v>
                </c:pt>
                <c:pt idx="6115">
                  <c:v>43.011-43.018</c:v>
                </c:pt>
                <c:pt idx="6116">
                  <c:v>43.018-43.025</c:v>
                </c:pt>
                <c:pt idx="6117">
                  <c:v>43.025-43.032</c:v>
                </c:pt>
                <c:pt idx="6118">
                  <c:v>43.032-43.039</c:v>
                </c:pt>
                <c:pt idx="6119">
                  <c:v>43.039-43.046</c:v>
                </c:pt>
                <c:pt idx="6120">
                  <c:v>43.046-43.053</c:v>
                </c:pt>
                <c:pt idx="6121">
                  <c:v>43.053-43.060</c:v>
                </c:pt>
                <c:pt idx="6122">
                  <c:v>43.060-43.067</c:v>
                </c:pt>
                <c:pt idx="6123">
                  <c:v>43.067-43.074</c:v>
                </c:pt>
                <c:pt idx="6124">
                  <c:v>43.074-43.081</c:v>
                </c:pt>
                <c:pt idx="6125">
                  <c:v>43.081-43.088</c:v>
                </c:pt>
                <c:pt idx="6126">
                  <c:v>43.088-43.095</c:v>
                </c:pt>
                <c:pt idx="6127">
                  <c:v>43.095-43.102</c:v>
                </c:pt>
                <c:pt idx="6128">
                  <c:v>43.102-43.109</c:v>
                </c:pt>
                <c:pt idx="6129">
                  <c:v>43.109-43.116</c:v>
                </c:pt>
                <c:pt idx="6130">
                  <c:v>43.116-43.123</c:v>
                </c:pt>
                <c:pt idx="6131">
                  <c:v>43.123-43.130</c:v>
                </c:pt>
                <c:pt idx="6132">
                  <c:v>43.130-43.137</c:v>
                </c:pt>
                <c:pt idx="6133">
                  <c:v>43.137-43.145</c:v>
                </c:pt>
                <c:pt idx="6134">
                  <c:v>43.145-43.152</c:v>
                </c:pt>
                <c:pt idx="6135">
                  <c:v>43.152-43.159</c:v>
                </c:pt>
                <c:pt idx="6136">
                  <c:v>43.159-43.166</c:v>
                </c:pt>
                <c:pt idx="6137">
                  <c:v>43.166-43.173</c:v>
                </c:pt>
                <c:pt idx="6138">
                  <c:v>43.173-43.180</c:v>
                </c:pt>
                <c:pt idx="6139">
                  <c:v>43.180-43.187</c:v>
                </c:pt>
                <c:pt idx="6140">
                  <c:v>43.187-43.194</c:v>
                </c:pt>
                <c:pt idx="6141">
                  <c:v>43.194-43.201</c:v>
                </c:pt>
                <c:pt idx="6142">
                  <c:v>43.201-43.208</c:v>
                </c:pt>
                <c:pt idx="6143">
                  <c:v>43.208-43.215</c:v>
                </c:pt>
                <c:pt idx="6144">
                  <c:v>43.215-43.222</c:v>
                </c:pt>
                <c:pt idx="6145">
                  <c:v>43.222-43.229</c:v>
                </c:pt>
                <c:pt idx="6146">
                  <c:v>43.229-43.236</c:v>
                </c:pt>
                <c:pt idx="6147">
                  <c:v>43.236-43.243</c:v>
                </c:pt>
                <c:pt idx="6148">
                  <c:v>43.243-43.250</c:v>
                </c:pt>
                <c:pt idx="6149">
                  <c:v>43.250-43.257</c:v>
                </c:pt>
                <c:pt idx="6150">
                  <c:v>43.257-43.264</c:v>
                </c:pt>
                <c:pt idx="6151">
                  <c:v>43.264-43.271</c:v>
                </c:pt>
                <c:pt idx="6152">
                  <c:v>43.271-43.278</c:v>
                </c:pt>
                <c:pt idx="6153">
                  <c:v>43.278-43.285</c:v>
                </c:pt>
                <c:pt idx="6154">
                  <c:v>43.285-43.292</c:v>
                </c:pt>
                <c:pt idx="6155">
                  <c:v>43.292-43.299</c:v>
                </c:pt>
                <c:pt idx="6156">
                  <c:v>43.299-43.306</c:v>
                </c:pt>
                <c:pt idx="6157">
                  <c:v>43.306-43.313</c:v>
                </c:pt>
                <c:pt idx="6158">
                  <c:v>43.313-43.320</c:v>
                </c:pt>
                <c:pt idx="6159">
                  <c:v>43.320-43.327</c:v>
                </c:pt>
                <c:pt idx="6160">
                  <c:v>43.327-43.334</c:v>
                </c:pt>
                <c:pt idx="6161">
                  <c:v>43.334-43.341</c:v>
                </c:pt>
                <c:pt idx="6162">
                  <c:v>43.341-43.348</c:v>
                </c:pt>
                <c:pt idx="6163">
                  <c:v>43.348-43.355</c:v>
                </c:pt>
                <c:pt idx="6164">
                  <c:v>43.355-43.363</c:v>
                </c:pt>
                <c:pt idx="6165">
                  <c:v>43.363-43.370</c:v>
                </c:pt>
                <c:pt idx="6166">
                  <c:v>43.370-43.377</c:v>
                </c:pt>
                <c:pt idx="6167">
                  <c:v>43.377-43.384</c:v>
                </c:pt>
                <c:pt idx="6168">
                  <c:v>43.384-43.391</c:v>
                </c:pt>
                <c:pt idx="6169">
                  <c:v>43.391-43.398</c:v>
                </c:pt>
                <c:pt idx="6170">
                  <c:v>43.398-43.405</c:v>
                </c:pt>
                <c:pt idx="6171">
                  <c:v>43.405-43.412</c:v>
                </c:pt>
                <c:pt idx="6172">
                  <c:v>43.412-43.419</c:v>
                </c:pt>
                <c:pt idx="6173">
                  <c:v>43.419-43.426</c:v>
                </c:pt>
                <c:pt idx="6174">
                  <c:v>43.426-43.433</c:v>
                </c:pt>
                <c:pt idx="6175">
                  <c:v>43.433-43.440</c:v>
                </c:pt>
                <c:pt idx="6176">
                  <c:v>43.440-43.447</c:v>
                </c:pt>
                <c:pt idx="6177">
                  <c:v>43.447-43.454</c:v>
                </c:pt>
                <c:pt idx="6178">
                  <c:v>43.454-43.461</c:v>
                </c:pt>
                <c:pt idx="6179">
                  <c:v>43.461-43.468</c:v>
                </c:pt>
                <c:pt idx="6180">
                  <c:v>43.468-43.475</c:v>
                </c:pt>
                <c:pt idx="6181">
                  <c:v>43.475-43.482</c:v>
                </c:pt>
                <c:pt idx="6182">
                  <c:v>43.482-43.489</c:v>
                </c:pt>
                <c:pt idx="6183">
                  <c:v>43.489-43.496</c:v>
                </c:pt>
                <c:pt idx="6184">
                  <c:v>43.496-43.503</c:v>
                </c:pt>
                <c:pt idx="6185">
                  <c:v>43.503-43.510</c:v>
                </c:pt>
                <c:pt idx="6186">
                  <c:v>43.510-43.517</c:v>
                </c:pt>
                <c:pt idx="6187">
                  <c:v>43.517-43.524</c:v>
                </c:pt>
                <c:pt idx="6188">
                  <c:v>43.524-43.531</c:v>
                </c:pt>
                <c:pt idx="6189">
                  <c:v>43.531-43.538</c:v>
                </c:pt>
                <c:pt idx="6190">
                  <c:v>43.538-43.545</c:v>
                </c:pt>
                <c:pt idx="6191">
                  <c:v>43.545-43.552</c:v>
                </c:pt>
                <c:pt idx="6192">
                  <c:v>43.552-43.559</c:v>
                </c:pt>
                <c:pt idx="6193">
                  <c:v>43.559-43.566</c:v>
                </c:pt>
                <c:pt idx="6194">
                  <c:v>43.566-43.573</c:v>
                </c:pt>
                <c:pt idx="6195">
                  <c:v>43.573-43.581</c:v>
                </c:pt>
                <c:pt idx="6196">
                  <c:v>43.581-43.588</c:v>
                </c:pt>
                <c:pt idx="6197">
                  <c:v>43.588-43.595</c:v>
                </c:pt>
                <c:pt idx="6198">
                  <c:v>43.595-43.602</c:v>
                </c:pt>
                <c:pt idx="6199">
                  <c:v>43.602-43.609</c:v>
                </c:pt>
                <c:pt idx="6200">
                  <c:v>43.609-43.616</c:v>
                </c:pt>
                <c:pt idx="6201">
                  <c:v>43.616-43.623</c:v>
                </c:pt>
                <c:pt idx="6202">
                  <c:v>43.623-43.630</c:v>
                </c:pt>
                <c:pt idx="6203">
                  <c:v>43.630-43.637</c:v>
                </c:pt>
                <c:pt idx="6204">
                  <c:v>43.637-43.644</c:v>
                </c:pt>
                <c:pt idx="6205">
                  <c:v>43.644-43.651</c:v>
                </c:pt>
                <c:pt idx="6206">
                  <c:v>43.651-43.658</c:v>
                </c:pt>
                <c:pt idx="6207">
                  <c:v>43.658-43.665</c:v>
                </c:pt>
                <c:pt idx="6208">
                  <c:v>43.665-43.672</c:v>
                </c:pt>
                <c:pt idx="6209">
                  <c:v>43.672-43.679</c:v>
                </c:pt>
                <c:pt idx="6210">
                  <c:v>43.679-43.686</c:v>
                </c:pt>
                <c:pt idx="6211">
                  <c:v>43.686-43.693</c:v>
                </c:pt>
                <c:pt idx="6212">
                  <c:v>43.693-43.700</c:v>
                </c:pt>
                <c:pt idx="6213">
                  <c:v>43.700-43.707</c:v>
                </c:pt>
                <c:pt idx="6214">
                  <c:v>43.707-43.714</c:v>
                </c:pt>
                <c:pt idx="6215">
                  <c:v>43.714-43.721</c:v>
                </c:pt>
                <c:pt idx="6216">
                  <c:v>43.721-43.728</c:v>
                </c:pt>
                <c:pt idx="6217">
                  <c:v>43.728-43.735</c:v>
                </c:pt>
                <c:pt idx="6218">
                  <c:v>43.735-43.742</c:v>
                </c:pt>
                <c:pt idx="6219">
                  <c:v>43.742-43.749</c:v>
                </c:pt>
                <c:pt idx="6220">
                  <c:v>43.749-43.756</c:v>
                </c:pt>
                <c:pt idx="6221">
                  <c:v>43.756-43.763</c:v>
                </c:pt>
                <c:pt idx="6222">
                  <c:v>43.763-43.770</c:v>
                </c:pt>
                <c:pt idx="6223">
                  <c:v>43.770-43.777</c:v>
                </c:pt>
                <c:pt idx="6224">
                  <c:v>43.777-43.784</c:v>
                </c:pt>
                <c:pt idx="6225">
                  <c:v>43.784-43.791</c:v>
                </c:pt>
                <c:pt idx="6226">
                  <c:v>43.791-43.799</c:v>
                </c:pt>
                <c:pt idx="6227">
                  <c:v>43.799-43.806</c:v>
                </c:pt>
                <c:pt idx="6228">
                  <c:v>43.806-43.813</c:v>
                </c:pt>
                <c:pt idx="6229">
                  <c:v>43.813-43.820</c:v>
                </c:pt>
                <c:pt idx="6230">
                  <c:v>43.820-43.827</c:v>
                </c:pt>
                <c:pt idx="6231">
                  <c:v>43.827-43.834</c:v>
                </c:pt>
                <c:pt idx="6232">
                  <c:v>43.834-43.841</c:v>
                </c:pt>
                <c:pt idx="6233">
                  <c:v>43.841-43.848</c:v>
                </c:pt>
                <c:pt idx="6234">
                  <c:v>43.848-43.855</c:v>
                </c:pt>
                <c:pt idx="6235">
                  <c:v>43.855-43.862</c:v>
                </c:pt>
                <c:pt idx="6236">
                  <c:v>43.862-43.869</c:v>
                </c:pt>
                <c:pt idx="6237">
                  <c:v>43.869-43.876</c:v>
                </c:pt>
                <c:pt idx="6238">
                  <c:v>43.876-43.883</c:v>
                </c:pt>
                <c:pt idx="6239">
                  <c:v>43.883-43.890</c:v>
                </c:pt>
                <c:pt idx="6240">
                  <c:v>43.890-43.897</c:v>
                </c:pt>
                <c:pt idx="6241">
                  <c:v>43.897-43.904</c:v>
                </c:pt>
                <c:pt idx="6242">
                  <c:v>43.904-43.911</c:v>
                </c:pt>
                <c:pt idx="6243">
                  <c:v>43.911-43.918</c:v>
                </c:pt>
                <c:pt idx="6244">
                  <c:v>43.918-43.925</c:v>
                </c:pt>
                <c:pt idx="6245">
                  <c:v>43.925-43.932</c:v>
                </c:pt>
                <c:pt idx="6246">
                  <c:v>43.932-43.939</c:v>
                </c:pt>
                <c:pt idx="6247">
                  <c:v>43.939-43.946</c:v>
                </c:pt>
                <c:pt idx="6248">
                  <c:v>43.946-43.953</c:v>
                </c:pt>
                <c:pt idx="6249">
                  <c:v>43.953-43.960</c:v>
                </c:pt>
                <c:pt idx="6250">
                  <c:v>43.960-43.967</c:v>
                </c:pt>
                <c:pt idx="6251">
                  <c:v>43.967-43.974</c:v>
                </c:pt>
                <c:pt idx="6252">
                  <c:v>43.974-43.981</c:v>
                </c:pt>
                <c:pt idx="6253">
                  <c:v>43.981-43.988</c:v>
                </c:pt>
                <c:pt idx="6254">
                  <c:v>43.988-43.995</c:v>
                </c:pt>
                <c:pt idx="6255">
                  <c:v>43.995-44.002</c:v>
                </c:pt>
                <c:pt idx="6256">
                  <c:v>44.002-44.009</c:v>
                </c:pt>
                <c:pt idx="6257">
                  <c:v>44.009-44.017</c:v>
                </c:pt>
                <c:pt idx="6258">
                  <c:v>44.017-44.024</c:v>
                </c:pt>
                <c:pt idx="6259">
                  <c:v>44.024-44.031</c:v>
                </c:pt>
                <c:pt idx="6260">
                  <c:v>44.031-44.038</c:v>
                </c:pt>
                <c:pt idx="6261">
                  <c:v>44.038-44.045</c:v>
                </c:pt>
                <c:pt idx="6262">
                  <c:v>44.045-44.052</c:v>
                </c:pt>
                <c:pt idx="6263">
                  <c:v>44.052-44.059</c:v>
                </c:pt>
                <c:pt idx="6264">
                  <c:v>44.059-44.066</c:v>
                </c:pt>
                <c:pt idx="6265">
                  <c:v>44.066-44.073</c:v>
                </c:pt>
                <c:pt idx="6266">
                  <c:v>44.073-44.080</c:v>
                </c:pt>
                <c:pt idx="6267">
                  <c:v>44.080-44.087</c:v>
                </c:pt>
                <c:pt idx="6268">
                  <c:v>44.087-44.094</c:v>
                </c:pt>
                <c:pt idx="6269">
                  <c:v>44.094-44.101</c:v>
                </c:pt>
                <c:pt idx="6270">
                  <c:v>44.101-44.108</c:v>
                </c:pt>
                <c:pt idx="6271">
                  <c:v>44.108-44.115</c:v>
                </c:pt>
                <c:pt idx="6272">
                  <c:v>44.115-44.122</c:v>
                </c:pt>
                <c:pt idx="6273">
                  <c:v>44.122-44.129</c:v>
                </c:pt>
                <c:pt idx="6274">
                  <c:v>44.129-44.136</c:v>
                </c:pt>
                <c:pt idx="6275">
                  <c:v>44.136-44.143</c:v>
                </c:pt>
                <c:pt idx="6276">
                  <c:v>44.143-44.150</c:v>
                </c:pt>
                <c:pt idx="6277">
                  <c:v>44.150-44.157</c:v>
                </c:pt>
                <c:pt idx="6278">
                  <c:v>44.157-44.164</c:v>
                </c:pt>
                <c:pt idx="6279">
                  <c:v>44.164-44.171</c:v>
                </c:pt>
                <c:pt idx="6280">
                  <c:v>44.171-44.178</c:v>
                </c:pt>
                <c:pt idx="6281">
                  <c:v>44.178-44.185</c:v>
                </c:pt>
                <c:pt idx="6282">
                  <c:v>44.185-44.192</c:v>
                </c:pt>
                <c:pt idx="6283">
                  <c:v>44.192-44.199</c:v>
                </c:pt>
                <c:pt idx="6284">
                  <c:v>44.199-44.206</c:v>
                </c:pt>
                <c:pt idx="6285">
                  <c:v>44.206-44.213</c:v>
                </c:pt>
                <c:pt idx="6286">
                  <c:v>44.213-44.220</c:v>
                </c:pt>
                <c:pt idx="6287">
                  <c:v>44.220-44.227</c:v>
                </c:pt>
                <c:pt idx="6288">
                  <c:v>44.227-44.235</c:v>
                </c:pt>
                <c:pt idx="6289">
                  <c:v>44.235-44.242</c:v>
                </c:pt>
                <c:pt idx="6290">
                  <c:v>44.242-44.249</c:v>
                </c:pt>
                <c:pt idx="6291">
                  <c:v>44.249-44.256</c:v>
                </c:pt>
                <c:pt idx="6292">
                  <c:v>44.256-44.263</c:v>
                </c:pt>
                <c:pt idx="6293">
                  <c:v>44.263-44.270</c:v>
                </c:pt>
                <c:pt idx="6294">
                  <c:v>44.270-44.277</c:v>
                </c:pt>
                <c:pt idx="6295">
                  <c:v>44.277-44.284</c:v>
                </c:pt>
                <c:pt idx="6296">
                  <c:v>44.284-44.291</c:v>
                </c:pt>
                <c:pt idx="6297">
                  <c:v>44.291-44.298</c:v>
                </c:pt>
                <c:pt idx="6298">
                  <c:v>44.298-44.305</c:v>
                </c:pt>
                <c:pt idx="6299">
                  <c:v>44.305-44.312</c:v>
                </c:pt>
                <c:pt idx="6300">
                  <c:v>44.312-44.319</c:v>
                </c:pt>
                <c:pt idx="6301">
                  <c:v>44.319-44.326</c:v>
                </c:pt>
                <c:pt idx="6302">
                  <c:v>44.326-44.333</c:v>
                </c:pt>
                <c:pt idx="6303">
                  <c:v>44.333-44.340</c:v>
                </c:pt>
                <c:pt idx="6304">
                  <c:v>44.340-44.347</c:v>
                </c:pt>
                <c:pt idx="6305">
                  <c:v>44.347-44.354</c:v>
                </c:pt>
                <c:pt idx="6306">
                  <c:v>44.354-44.361</c:v>
                </c:pt>
                <c:pt idx="6307">
                  <c:v>44.361-44.368</c:v>
                </c:pt>
                <c:pt idx="6308">
                  <c:v>44.368-44.375</c:v>
                </c:pt>
                <c:pt idx="6309">
                  <c:v>44.375-44.382</c:v>
                </c:pt>
                <c:pt idx="6310">
                  <c:v>44.382-44.389</c:v>
                </c:pt>
                <c:pt idx="6311">
                  <c:v>44.389-44.396</c:v>
                </c:pt>
                <c:pt idx="6312">
                  <c:v>44.396-44.403</c:v>
                </c:pt>
                <c:pt idx="6313">
                  <c:v>44.403-44.410</c:v>
                </c:pt>
                <c:pt idx="6314">
                  <c:v>44.410-44.417</c:v>
                </c:pt>
                <c:pt idx="6315">
                  <c:v>44.417-44.424</c:v>
                </c:pt>
                <c:pt idx="6316">
                  <c:v>44.424-44.431</c:v>
                </c:pt>
                <c:pt idx="6317">
                  <c:v>44.431-44.438</c:v>
                </c:pt>
                <c:pt idx="6318">
                  <c:v>44.438-44.445</c:v>
                </c:pt>
                <c:pt idx="6319">
                  <c:v>44.445-44.453</c:v>
                </c:pt>
                <c:pt idx="6320">
                  <c:v>44.453-44.460</c:v>
                </c:pt>
                <c:pt idx="6321">
                  <c:v>44.460-44.467</c:v>
                </c:pt>
                <c:pt idx="6322">
                  <c:v>44.467-44.474</c:v>
                </c:pt>
                <c:pt idx="6323">
                  <c:v>44.474-44.481</c:v>
                </c:pt>
                <c:pt idx="6324">
                  <c:v>44.481-44.488</c:v>
                </c:pt>
                <c:pt idx="6325">
                  <c:v>44.488-44.495</c:v>
                </c:pt>
                <c:pt idx="6326">
                  <c:v>44.495-44.502</c:v>
                </c:pt>
                <c:pt idx="6327">
                  <c:v>44.502-44.509</c:v>
                </c:pt>
                <c:pt idx="6328">
                  <c:v>44.509-44.516</c:v>
                </c:pt>
                <c:pt idx="6329">
                  <c:v>44.516-44.523</c:v>
                </c:pt>
                <c:pt idx="6330">
                  <c:v>44.523-44.530</c:v>
                </c:pt>
                <c:pt idx="6331">
                  <c:v>44.530-44.537</c:v>
                </c:pt>
                <c:pt idx="6332">
                  <c:v>44.537-44.544</c:v>
                </c:pt>
                <c:pt idx="6333">
                  <c:v>44.544-44.551</c:v>
                </c:pt>
                <c:pt idx="6334">
                  <c:v>44.551-44.558</c:v>
                </c:pt>
                <c:pt idx="6335">
                  <c:v>44.558-44.565</c:v>
                </c:pt>
                <c:pt idx="6336">
                  <c:v>44.565-44.572</c:v>
                </c:pt>
                <c:pt idx="6337">
                  <c:v>44.572-44.579</c:v>
                </c:pt>
                <c:pt idx="6338">
                  <c:v>44.579-44.586</c:v>
                </c:pt>
                <c:pt idx="6339">
                  <c:v>44.586-44.593</c:v>
                </c:pt>
                <c:pt idx="6340">
                  <c:v>44.593-44.600</c:v>
                </c:pt>
                <c:pt idx="6341">
                  <c:v>44.600-44.607</c:v>
                </c:pt>
                <c:pt idx="6342">
                  <c:v>44.607-44.614</c:v>
                </c:pt>
                <c:pt idx="6343">
                  <c:v>44.614-44.621</c:v>
                </c:pt>
                <c:pt idx="6344">
                  <c:v>44.621-44.628</c:v>
                </c:pt>
                <c:pt idx="6345">
                  <c:v>44.628-44.635</c:v>
                </c:pt>
                <c:pt idx="6346">
                  <c:v>44.635-44.642</c:v>
                </c:pt>
                <c:pt idx="6347">
                  <c:v>44.642-44.649</c:v>
                </c:pt>
                <c:pt idx="6348">
                  <c:v>44.649-44.656</c:v>
                </c:pt>
                <c:pt idx="6349">
                  <c:v>44.656-44.663</c:v>
                </c:pt>
                <c:pt idx="6350">
                  <c:v>44.663-44.671</c:v>
                </c:pt>
                <c:pt idx="6351">
                  <c:v>44.671-44.678</c:v>
                </c:pt>
                <c:pt idx="6352">
                  <c:v>44.678-44.685</c:v>
                </c:pt>
                <c:pt idx="6353">
                  <c:v>44.685-44.692</c:v>
                </c:pt>
                <c:pt idx="6354">
                  <c:v>44.692-44.699</c:v>
                </c:pt>
                <c:pt idx="6355">
                  <c:v>44.699-44.706</c:v>
                </c:pt>
                <c:pt idx="6356">
                  <c:v>44.706-44.713</c:v>
                </c:pt>
                <c:pt idx="6357">
                  <c:v>44.713-44.720</c:v>
                </c:pt>
                <c:pt idx="6358">
                  <c:v>44.720-44.727</c:v>
                </c:pt>
                <c:pt idx="6359">
                  <c:v>44.727-44.734</c:v>
                </c:pt>
                <c:pt idx="6360">
                  <c:v>44.734-44.741</c:v>
                </c:pt>
                <c:pt idx="6361">
                  <c:v>44.741-44.748</c:v>
                </c:pt>
                <c:pt idx="6362">
                  <c:v>44.748-44.755</c:v>
                </c:pt>
                <c:pt idx="6363">
                  <c:v>44.755-44.762</c:v>
                </c:pt>
                <c:pt idx="6364">
                  <c:v>44.762-44.769</c:v>
                </c:pt>
                <c:pt idx="6365">
                  <c:v>44.769-44.776</c:v>
                </c:pt>
                <c:pt idx="6366">
                  <c:v>44.776-44.783</c:v>
                </c:pt>
                <c:pt idx="6367">
                  <c:v>44.783-44.790</c:v>
                </c:pt>
                <c:pt idx="6368">
                  <c:v>44.790-44.797</c:v>
                </c:pt>
                <c:pt idx="6369">
                  <c:v>44.797-44.804</c:v>
                </c:pt>
                <c:pt idx="6370">
                  <c:v>44.804-44.811</c:v>
                </c:pt>
                <c:pt idx="6371">
                  <c:v>44.811-44.818</c:v>
                </c:pt>
                <c:pt idx="6372">
                  <c:v>44.818-44.825</c:v>
                </c:pt>
                <c:pt idx="6373">
                  <c:v>44.825-44.832</c:v>
                </c:pt>
                <c:pt idx="6374">
                  <c:v>44.832-44.839</c:v>
                </c:pt>
                <c:pt idx="6375">
                  <c:v>44.839-44.846</c:v>
                </c:pt>
                <c:pt idx="6376">
                  <c:v>44.846-44.853</c:v>
                </c:pt>
                <c:pt idx="6377">
                  <c:v>44.853-44.860</c:v>
                </c:pt>
                <c:pt idx="6378">
                  <c:v>44.860-44.867</c:v>
                </c:pt>
                <c:pt idx="6379">
                  <c:v>44.867-44.874</c:v>
                </c:pt>
                <c:pt idx="6380">
                  <c:v>44.874-44.881</c:v>
                </c:pt>
                <c:pt idx="6381">
                  <c:v>44.881-44.889</c:v>
                </c:pt>
                <c:pt idx="6382">
                  <c:v>44.889-44.896</c:v>
                </c:pt>
                <c:pt idx="6383">
                  <c:v>44.896-44.903</c:v>
                </c:pt>
                <c:pt idx="6384">
                  <c:v>44.903-44.910</c:v>
                </c:pt>
                <c:pt idx="6385">
                  <c:v>44.910-44.917</c:v>
                </c:pt>
                <c:pt idx="6386">
                  <c:v>44.917-44.924</c:v>
                </c:pt>
                <c:pt idx="6387">
                  <c:v>44.924-44.931</c:v>
                </c:pt>
                <c:pt idx="6388">
                  <c:v>44.931-44.938</c:v>
                </c:pt>
                <c:pt idx="6389">
                  <c:v>44.938-44.945</c:v>
                </c:pt>
                <c:pt idx="6390">
                  <c:v>44.945-44.952</c:v>
                </c:pt>
                <c:pt idx="6391">
                  <c:v>44.952-44.959</c:v>
                </c:pt>
                <c:pt idx="6392">
                  <c:v>44.959-44.966</c:v>
                </c:pt>
                <c:pt idx="6393">
                  <c:v>44.966-44.973</c:v>
                </c:pt>
                <c:pt idx="6394">
                  <c:v>44.973-44.980</c:v>
                </c:pt>
                <c:pt idx="6395">
                  <c:v>44.980-44.987</c:v>
                </c:pt>
                <c:pt idx="6396">
                  <c:v>44.987-44.994</c:v>
                </c:pt>
                <c:pt idx="6397">
                  <c:v>44.994-45.001</c:v>
                </c:pt>
                <c:pt idx="6398">
                  <c:v>45.001-45.008</c:v>
                </c:pt>
                <c:pt idx="6399">
                  <c:v>45.008-45.015</c:v>
                </c:pt>
                <c:pt idx="6400">
                  <c:v>45.015-45.022</c:v>
                </c:pt>
                <c:pt idx="6401">
                  <c:v>45.022-45.029</c:v>
                </c:pt>
                <c:pt idx="6402">
                  <c:v>45.029-45.036</c:v>
                </c:pt>
                <c:pt idx="6403">
                  <c:v>45.036-45.043</c:v>
                </c:pt>
                <c:pt idx="6404">
                  <c:v>45.043-45.050</c:v>
                </c:pt>
                <c:pt idx="6405">
                  <c:v>45.050-45.057</c:v>
                </c:pt>
                <c:pt idx="6406">
                  <c:v>45.057-45.064</c:v>
                </c:pt>
                <c:pt idx="6407">
                  <c:v>45.064-45.071</c:v>
                </c:pt>
                <c:pt idx="6408">
                  <c:v>45.071-45.078</c:v>
                </c:pt>
                <c:pt idx="6409">
                  <c:v>45.078-45.085</c:v>
                </c:pt>
                <c:pt idx="6410">
                  <c:v>45.085-45.092</c:v>
                </c:pt>
                <c:pt idx="6411">
                  <c:v>45.092-45.099</c:v>
                </c:pt>
                <c:pt idx="6412">
                  <c:v>45.099-45.106</c:v>
                </c:pt>
                <c:pt idx="6413">
                  <c:v>45.106-45.114</c:v>
                </c:pt>
                <c:pt idx="6414">
                  <c:v>45.114-45.121</c:v>
                </c:pt>
                <c:pt idx="6415">
                  <c:v>45.121-45.128</c:v>
                </c:pt>
                <c:pt idx="6416">
                  <c:v>45.128-45.135</c:v>
                </c:pt>
                <c:pt idx="6417">
                  <c:v>45.135-45.142</c:v>
                </c:pt>
                <c:pt idx="6418">
                  <c:v>45.142-45.149</c:v>
                </c:pt>
                <c:pt idx="6419">
                  <c:v>45.149-45.156</c:v>
                </c:pt>
                <c:pt idx="6420">
                  <c:v>45.156-45.163</c:v>
                </c:pt>
                <c:pt idx="6421">
                  <c:v>45.163-45.170</c:v>
                </c:pt>
                <c:pt idx="6422">
                  <c:v>45.170-45.177</c:v>
                </c:pt>
                <c:pt idx="6423">
                  <c:v>45.177-45.184</c:v>
                </c:pt>
                <c:pt idx="6424">
                  <c:v>45.184-45.191</c:v>
                </c:pt>
                <c:pt idx="6425">
                  <c:v>45.191-45.198</c:v>
                </c:pt>
                <c:pt idx="6426">
                  <c:v>45.198-45.205</c:v>
                </c:pt>
                <c:pt idx="6427">
                  <c:v>45.205-45.212</c:v>
                </c:pt>
                <c:pt idx="6428">
                  <c:v>45.212-45.219</c:v>
                </c:pt>
                <c:pt idx="6429">
                  <c:v>45.219-45.226</c:v>
                </c:pt>
                <c:pt idx="6430">
                  <c:v>45.226-45.233</c:v>
                </c:pt>
                <c:pt idx="6431">
                  <c:v>45.233-45.240</c:v>
                </c:pt>
                <c:pt idx="6432">
                  <c:v>45.240-45.247</c:v>
                </c:pt>
                <c:pt idx="6433">
                  <c:v>45.247-45.254</c:v>
                </c:pt>
                <c:pt idx="6434">
                  <c:v>45.254-45.261</c:v>
                </c:pt>
                <c:pt idx="6435">
                  <c:v>45.261-45.268</c:v>
                </c:pt>
                <c:pt idx="6436">
                  <c:v>45.268-45.275</c:v>
                </c:pt>
                <c:pt idx="6437">
                  <c:v>45.275-45.282</c:v>
                </c:pt>
                <c:pt idx="6438">
                  <c:v>45.282-45.289</c:v>
                </c:pt>
                <c:pt idx="6439">
                  <c:v>45.289-45.296</c:v>
                </c:pt>
                <c:pt idx="6440">
                  <c:v>45.296-45.303</c:v>
                </c:pt>
                <c:pt idx="6441">
                  <c:v>45.303-45.310</c:v>
                </c:pt>
                <c:pt idx="6442">
                  <c:v>45.310-45.317</c:v>
                </c:pt>
                <c:pt idx="6443">
                  <c:v>45.317-45.324</c:v>
                </c:pt>
                <c:pt idx="6444">
                  <c:v>45.324-45.332</c:v>
                </c:pt>
                <c:pt idx="6445">
                  <c:v>45.332-45.339</c:v>
                </c:pt>
                <c:pt idx="6446">
                  <c:v>45.339-45.346</c:v>
                </c:pt>
                <c:pt idx="6447">
                  <c:v>45.346-45.353</c:v>
                </c:pt>
                <c:pt idx="6448">
                  <c:v>45.353-45.360</c:v>
                </c:pt>
                <c:pt idx="6449">
                  <c:v>45.360-45.367</c:v>
                </c:pt>
                <c:pt idx="6450">
                  <c:v>45.367-45.374</c:v>
                </c:pt>
                <c:pt idx="6451">
                  <c:v>45.374-45.381</c:v>
                </c:pt>
                <c:pt idx="6452">
                  <c:v>45.381-45.388</c:v>
                </c:pt>
                <c:pt idx="6453">
                  <c:v>45.388-45.395</c:v>
                </c:pt>
                <c:pt idx="6454">
                  <c:v>45.395-45.402</c:v>
                </c:pt>
                <c:pt idx="6455">
                  <c:v>45.402-45.409</c:v>
                </c:pt>
                <c:pt idx="6456">
                  <c:v>45.409-45.416</c:v>
                </c:pt>
                <c:pt idx="6457">
                  <c:v>45.416-45.423</c:v>
                </c:pt>
                <c:pt idx="6458">
                  <c:v>45.423-45.430</c:v>
                </c:pt>
                <c:pt idx="6459">
                  <c:v>45.430-45.437</c:v>
                </c:pt>
                <c:pt idx="6460">
                  <c:v>45.437-45.444</c:v>
                </c:pt>
                <c:pt idx="6461">
                  <c:v>45.444-45.451</c:v>
                </c:pt>
                <c:pt idx="6462">
                  <c:v>45.451-45.458</c:v>
                </c:pt>
                <c:pt idx="6463">
                  <c:v>45.458-45.465</c:v>
                </c:pt>
                <c:pt idx="6464">
                  <c:v>45.465-45.472</c:v>
                </c:pt>
                <c:pt idx="6465">
                  <c:v>45.472-45.479</c:v>
                </c:pt>
                <c:pt idx="6466">
                  <c:v>45.479-45.486</c:v>
                </c:pt>
                <c:pt idx="6467">
                  <c:v>45.486-45.493</c:v>
                </c:pt>
                <c:pt idx="6468">
                  <c:v>45.493-45.500</c:v>
                </c:pt>
                <c:pt idx="6469">
                  <c:v>45.500-45.507</c:v>
                </c:pt>
                <c:pt idx="6470">
                  <c:v>45.507-45.514</c:v>
                </c:pt>
                <c:pt idx="6471">
                  <c:v>45.514-45.521</c:v>
                </c:pt>
                <c:pt idx="6472">
                  <c:v>45.521-45.528</c:v>
                </c:pt>
                <c:pt idx="6473">
                  <c:v>45.528-45.535</c:v>
                </c:pt>
                <c:pt idx="6474">
                  <c:v>45.535-45.542</c:v>
                </c:pt>
                <c:pt idx="6475">
                  <c:v>45.542-45.550</c:v>
                </c:pt>
                <c:pt idx="6476">
                  <c:v>45.550-45.557</c:v>
                </c:pt>
                <c:pt idx="6477">
                  <c:v>45.557-45.564</c:v>
                </c:pt>
                <c:pt idx="6478">
                  <c:v>45.564-45.571</c:v>
                </c:pt>
                <c:pt idx="6479">
                  <c:v>45.571-45.578</c:v>
                </c:pt>
                <c:pt idx="6480">
                  <c:v>45.578-45.585</c:v>
                </c:pt>
                <c:pt idx="6481">
                  <c:v>45.585-45.592</c:v>
                </c:pt>
                <c:pt idx="6482">
                  <c:v>45.592-45.599</c:v>
                </c:pt>
                <c:pt idx="6483">
                  <c:v>45.599-45.606</c:v>
                </c:pt>
                <c:pt idx="6484">
                  <c:v>45.606-45.613</c:v>
                </c:pt>
                <c:pt idx="6485">
                  <c:v>45.613-45.620</c:v>
                </c:pt>
                <c:pt idx="6486">
                  <c:v>45.620-45.627</c:v>
                </c:pt>
                <c:pt idx="6487">
                  <c:v>45.627-45.634</c:v>
                </c:pt>
                <c:pt idx="6488">
                  <c:v>45.634-45.641</c:v>
                </c:pt>
                <c:pt idx="6489">
                  <c:v>45.641-45.648</c:v>
                </c:pt>
                <c:pt idx="6490">
                  <c:v>45.648-45.655</c:v>
                </c:pt>
                <c:pt idx="6491">
                  <c:v>45.655-45.662</c:v>
                </c:pt>
                <c:pt idx="6492">
                  <c:v>45.662-45.669</c:v>
                </c:pt>
                <c:pt idx="6493">
                  <c:v>45.669-45.676</c:v>
                </c:pt>
                <c:pt idx="6494">
                  <c:v>45.676-45.683</c:v>
                </c:pt>
                <c:pt idx="6495">
                  <c:v>45.683-45.690</c:v>
                </c:pt>
                <c:pt idx="6496">
                  <c:v>45.690-45.697</c:v>
                </c:pt>
                <c:pt idx="6497">
                  <c:v>45.697-45.704</c:v>
                </c:pt>
                <c:pt idx="6498">
                  <c:v>45.704-45.711</c:v>
                </c:pt>
                <c:pt idx="6499">
                  <c:v>45.711-45.718</c:v>
                </c:pt>
                <c:pt idx="6500">
                  <c:v>45.718-45.725</c:v>
                </c:pt>
                <c:pt idx="6501">
                  <c:v>45.725-45.732</c:v>
                </c:pt>
                <c:pt idx="6502">
                  <c:v>45.732-45.739</c:v>
                </c:pt>
                <c:pt idx="6503">
                  <c:v>45.739-45.746</c:v>
                </c:pt>
                <c:pt idx="6504">
                  <c:v>45.746-45.753</c:v>
                </c:pt>
                <c:pt idx="6505">
                  <c:v>45.753-45.760</c:v>
                </c:pt>
                <c:pt idx="6506">
                  <c:v>45.760-45.768</c:v>
                </c:pt>
                <c:pt idx="6507">
                  <c:v>45.768-45.775</c:v>
                </c:pt>
                <c:pt idx="6508">
                  <c:v>45.775-45.782</c:v>
                </c:pt>
                <c:pt idx="6509">
                  <c:v>45.782-45.789</c:v>
                </c:pt>
                <c:pt idx="6510">
                  <c:v>45.789-45.796</c:v>
                </c:pt>
                <c:pt idx="6511">
                  <c:v>45.796-45.803</c:v>
                </c:pt>
                <c:pt idx="6512">
                  <c:v>45.803-45.810</c:v>
                </c:pt>
                <c:pt idx="6513">
                  <c:v>45.810-45.817</c:v>
                </c:pt>
                <c:pt idx="6514">
                  <c:v>45.817-45.824</c:v>
                </c:pt>
                <c:pt idx="6515">
                  <c:v>45.824-45.831</c:v>
                </c:pt>
                <c:pt idx="6516">
                  <c:v>45.831-45.838</c:v>
                </c:pt>
                <c:pt idx="6517">
                  <c:v>45.838-45.845</c:v>
                </c:pt>
                <c:pt idx="6518">
                  <c:v>45.845-45.852</c:v>
                </c:pt>
                <c:pt idx="6519">
                  <c:v>45.852-45.859</c:v>
                </c:pt>
                <c:pt idx="6520">
                  <c:v>45.859-45.866</c:v>
                </c:pt>
                <c:pt idx="6521">
                  <c:v>45.866-45.873</c:v>
                </c:pt>
                <c:pt idx="6522">
                  <c:v>45.873-45.880</c:v>
                </c:pt>
                <c:pt idx="6523">
                  <c:v>45.880-45.887</c:v>
                </c:pt>
                <c:pt idx="6524">
                  <c:v>45.887-45.894</c:v>
                </c:pt>
                <c:pt idx="6525">
                  <c:v>45.894-45.901</c:v>
                </c:pt>
                <c:pt idx="6526">
                  <c:v>45.901-45.908</c:v>
                </c:pt>
                <c:pt idx="6527">
                  <c:v>45.908-45.915</c:v>
                </c:pt>
                <c:pt idx="6528">
                  <c:v>45.915-45.922</c:v>
                </c:pt>
                <c:pt idx="6529">
                  <c:v>45.922-45.929</c:v>
                </c:pt>
                <c:pt idx="6530">
                  <c:v>45.929-45.936</c:v>
                </c:pt>
                <c:pt idx="6531">
                  <c:v>45.936-45.943</c:v>
                </c:pt>
                <c:pt idx="6532">
                  <c:v>45.943-45.950</c:v>
                </c:pt>
                <c:pt idx="6533">
                  <c:v>45.950-45.957</c:v>
                </c:pt>
                <c:pt idx="6534">
                  <c:v>45.957-45.964</c:v>
                </c:pt>
                <c:pt idx="6535">
                  <c:v>45.964-45.971</c:v>
                </c:pt>
                <c:pt idx="6536">
                  <c:v>45.971-45.978</c:v>
                </c:pt>
                <c:pt idx="6537">
                  <c:v>45.978-45.986</c:v>
                </c:pt>
                <c:pt idx="6538">
                  <c:v>45.986-45.993</c:v>
                </c:pt>
                <c:pt idx="6539">
                  <c:v>45.993-46.000</c:v>
                </c:pt>
                <c:pt idx="6540">
                  <c:v>46.000-46.007</c:v>
                </c:pt>
                <c:pt idx="6541">
                  <c:v>46.007-46.014</c:v>
                </c:pt>
                <c:pt idx="6542">
                  <c:v>46.014-46.021</c:v>
                </c:pt>
                <c:pt idx="6543">
                  <c:v>46.021-46.028</c:v>
                </c:pt>
                <c:pt idx="6544">
                  <c:v>46.028-46.035</c:v>
                </c:pt>
                <c:pt idx="6545">
                  <c:v>46.035-46.042</c:v>
                </c:pt>
                <c:pt idx="6546">
                  <c:v>46.042-46.049</c:v>
                </c:pt>
                <c:pt idx="6547">
                  <c:v>46.049-46.056</c:v>
                </c:pt>
                <c:pt idx="6548">
                  <c:v>46.056-46.063</c:v>
                </c:pt>
                <c:pt idx="6549">
                  <c:v>46.063-46.070</c:v>
                </c:pt>
                <c:pt idx="6550">
                  <c:v>46.070-46.077</c:v>
                </c:pt>
                <c:pt idx="6551">
                  <c:v>46.077-46.084</c:v>
                </c:pt>
                <c:pt idx="6552">
                  <c:v>46.084-46.091</c:v>
                </c:pt>
                <c:pt idx="6553">
                  <c:v>46.091-46.098</c:v>
                </c:pt>
                <c:pt idx="6554">
                  <c:v>46.098-46.105</c:v>
                </c:pt>
                <c:pt idx="6555">
                  <c:v>46.105-46.112</c:v>
                </c:pt>
                <c:pt idx="6556">
                  <c:v>46.112-46.119</c:v>
                </c:pt>
                <c:pt idx="6557">
                  <c:v>46.119-46.126</c:v>
                </c:pt>
                <c:pt idx="6558">
                  <c:v>46.126-46.133</c:v>
                </c:pt>
                <c:pt idx="6559">
                  <c:v>46.133-46.140</c:v>
                </c:pt>
                <c:pt idx="6560">
                  <c:v>46.140-46.147</c:v>
                </c:pt>
                <c:pt idx="6561">
                  <c:v>46.147-46.154</c:v>
                </c:pt>
                <c:pt idx="6562">
                  <c:v>46.154-46.161</c:v>
                </c:pt>
                <c:pt idx="6563">
                  <c:v>46.161-46.168</c:v>
                </c:pt>
                <c:pt idx="6564">
                  <c:v>46.168-46.175</c:v>
                </c:pt>
                <c:pt idx="6565">
                  <c:v>46.175-46.182</c:v>
                </c:pt>
                <c:pt idx="6566">
                  <c:v>46.182-46.189</c:v>
                </c:pt>
                <c:pt idx="6567">
                  <c:v>46.189-46.196</c:v>
                </c:pt>
                <c:pt idx="6568">
                  <c:v>46.196-46.204</c:v>
                </c:pt>
                <c:pt idx="6569">
                  <c:v>46.204-46.211</c:v>
                </c:pt>
                <c:pt idx="6570">
                  <c:v>46.211-46.218</c:v>
                </c:pt>
                <c:pt idx="6571">
                  <c:v>46.218-46.225</c:v>
                </c:pt>
                <c:pt idx="6572">
                  <c:v>46.225-46.232</c:v>
                </c:pt>
                <c:pt idx="6573">
                  <c:v>46.232-46.239</c:v>
                </c:pt>
                <c:pt idx="6574">
                  <c:v>46.239-46.246</c:v>
                </c:pt>
                <c:pt idx="6575">
                  <c:v>46.246-46.253</c:v>
                </c:pt>
                <c:pt idx="6576">
                  <c:v>46.253-46.260</c:v>
                </c:pt>
                <c:pt idx="6577">
                  <c:v>46.260-46.267</c:v>
                </c:pt>
                <c:pt idx="6578">
                  <c:v>46.267-46.274</c:v>
                </c:pt>
                <c:pt idx="6579">
                  <c:v>46.274-46.281</c:v>
                </c:pt>
                <c:pt idx="6580">
                  <c:v>46.281-46.288</c:v>
                </c:pt>
                <c:pt idx="6581">
                  <c:v>46.288-46.295</c:v>
                </c:pt>
                <c:pt idx="6582">
                  <c:v>46.295-46.302</c:v>
                </c:pt>
                <c:pt idx="6583">
                  <c:v>46.302-46.309</c:v>
                </c:pt>
                <c:pt idx="6584">
                  <c:v>46.309-46.316</c:v>
                </c:pt>
                <c:pt idx="6585">
                  <c:v>46.316-46.323</c:v>
                </c:pt>
                <c:pt idx="6586">
                  <c:v>46.323-46.330</c:v>
                </c:pt>
                <c:pt idx="6587">
                  <c:v>46.330-46.337</c:v>
                </c:pt>
                <c:pt idx="6588">
                  <c:v>46.337-46.344</c:v>
                </c:pt>
                <c:pt idx="6589">
                  <c:v>46.344-46.351</c:v>
                </c:pt>
                <c:pt idx="6590">
                  <c:v>46.351-46.358</c:v>
                </c:pt>
                <c:pt idx="6591">
                  <c:v>46.358-46.365</c:v>
                </c:pt>
                <c:pt idx="6592">
                  <c:v>46.365-46.372</c:v>
                </c:pt>
                <c:pt idx="6593">
                  <c:v>46.372-46.379</c:v>
                </c:pt>
                <c:pt idx="6594">
                  <c:v>46.379-46.386</c:v>
                </c:pt>
                <c:pt idx="6595">
                  <c:v>46.386-46.393</c:v>
                </c:pt>
                <c:pt idx="6596">
                  <c:v>46.393-46.400</c:v>
                </c:pt>
                <c:pt idx="6597">
                  <c:v>46.400-46.407</c:v>
                </c:pt>
                <c:pt idx="6598">
                  <c:v>46.407-46.414</c:v>
                </c:pt>
                <c:pt idx="6599">
                  <c:v>46.414-46.422</c:v>
                </c:pt>
                <c:pt idx="6600">
                  <c:v>46.422-46.429</c:v>
                </c:pt>
                <c:pt idx="6601">
                  <c:v>46.429-46.436</c:v>
                </c:pt>
                <c:pt idx="6602">
                  <c:v>46.436-46.443</c:v>
                </c:pt>
                <c:pt idx="6603">
                  <c:v>46.443-46.450</c:v>
                </c:pt>
                <c:pt idx="6604">
                  <c:v>46.450-46.457</c:v>
                </c:pt>
                <c:pt idx="6605">
                  <c:v>46.457-46.464</c:v>
                </c:pt>
                <c:pt idx="6606">
                  <c:v>46.464-46.471</c:v>
                </c:pt>
                <c:pt idx="6607">
                  <c:v>46.471-46.478</c:v>
                </c:pt>
                <c:pt idx="6608">
                  <c:v>46.478-46.485</c:v>
                </c:pt>
                <c:pt idx="6609">
                  <c:v>46.485-46.492</c:v>
                </c:pt>
                <c:pt idx="6610">
                  <c:v>46.492-46.499</c:v>
                </c:pt>
                <c:pt idx="6611">
                  <c:v>46.499-46.506</c:v>
                </c:pt>
                <c:pt idx="6612">
                  <c:v>46.506-46.513</c:v>
                </c:pt>
                <c:pt idx="6613">
                  <c:v>46.513-46.520</c:v>
                </c:pt>
                <c:pt idx="6614">
                  <c:v>46.520-46.527</c:v>
                </c:pt>
                <c:pt idx="6615">
                  <c:v>46.527-46.534</c:v>
                </c:pt>
                <c:pt idx="6616">
                  <c:v>46.534-46.541</c:v>
                </c:pt>
                <c:pt idx="6617">
                  <c:v>46.541-46.548</c:v>
                </c:pt>
                <c:pt idx="6618">
                  <c:v>46.548-46.555</c:v>
                </c:pt>
                <c:pt idx="6619">
                  <c:v>46.555-46.562</c:v>
                </c:pt>
                <c:pt idx="6620">
                  <c:v>46.562-46.569</c:v>
                </c:pt>
                <c:pt idx="6621">
                  <c:v>46.569-46.576</c:v>
                </c:pt>
                <c:pt idx="6622">
                  <c:v>46.576-46.583</c:v>
                </c:pt>
                <c:pt idx="6623">
                  <c:v>46.583-46.590</c:v>
                </c:pt>
                <c:pt idx="6624">
                  <c:v>46.590-46.597</c:v>
                </c:pt>
                <c:pt idx="6625">
                  <c:v>46.597-46.604</c:v>
                </c:pt>
                <c:pt idx="6626">
                  <c:v>46.604-46.611</c:v>
                </c:pt>
                <c:pt idx="6627">
                  <c:v>46.611-46.618</c:v>
                </c:pt>
                <c:pt idx="6628">
                  <c:v>46.618-46.625</c:v>
                </c:pt>
                <c:pt idx="6629">
                  <c:v>46.625-46.632</c:v>
                </c:pt>
                <c:pt idx="6630">
                  <c:v>46.632-46.640</c:v>
                </c:pt>
                <c:pt idx="6631">
                  <c:v>46.640-46.647</c:v>
                </c:pt>
                <c:pt idx="6632">
                  <c:v>46.647-46.654</c:v>
                </c:pt>
                <c:pt idx="6633">
                  <c:v>46.654-46.661</c:v>
                </c:pt>
                <c:pt idx="6634">
                  <c:v>46.661-46.668</c:v>
                </c:pt>
                <c:pt idx="6635">
                  <c:v>46.668-46.675</c:v>
                </c:pt>
                <c:pt idx="6636">
                  <c:v>46.675-46.682</c:v>
                </c:pt>
                <c:pt idx="6637">
                  <c:v>46.682-46.689</c:v>
                </c:pt>
                <c:pt idx="6638">
                  <c:v>46.689-46.696</c:v>
                </c:pt>
                <c:pt idx="6639">
                  <c:v>46.696-46.703</c:v>
                </c:pt>
                <c:pt idx="6640">
                  <c:v>46.703-46.710</c:v>
                </c:pt>
                <c:pt idx="6641">
                  <c:v>46.710-46.717</c:v>
                </c:pt>
                <c:pt idx="6642">
                  <c:v>46.717-46.724</c:v>
                </c:pt>
                <c:pt idx="6643">
                  <c:v>46.724-46.731</c:v>
                </c:pt>
                <c:pt idx="6644">
                  <c:v>46.731-46.738</c:v>
                </c:pt>
                <c:pt idx="6645">
                  <c:v>46.738-46.745</c:v>
                </c:pt>
                <c:pt idx="6646">
                  <c:v>46.745-46.752</c:v>
                </c:pt>
                <c:pt idx="6647">
                  <c:v>46.752-46.759</c:v>
                </c:pt>
                <c:pt idx="6648">
                  <c:v>46.759-46.766</c:v>
                </c:pt>
                <c:pt idx="6649">
                  <c:v>46.766-46.773</c:v>
                </c:pt>
                <c:pt idx="6650">
                  <c:v>46.773-46.780</c:v>
                </c:pt>
                <c:pt idx="6651">
                  <c:v>46.780-46.787</c:v>
                </c:pt>
                <c:pt idx="6652">
                  <c:v>46.787-46.794</c:v>
                </c:pt>
                <c:pt idx="6653">
                  <c:v>46.794-46.801</c:v>
                </c:pt>
                <c:pt idx="6654">
                  <c:v>46.801-46.808</c:v>
                </c:pt>
                <c:pt idx="6655">
                  <c:v>46.808-46.815</c:v>
                </c:pt>
                <c:pt idx="6656">
                  <c:v>46.815-46.822</c:v>
                </c:pt>
                <c:pt idx="6657">
                  <c:v>46.822-46.829</c:v>
                </c:pt>
                <c:pt idx="6658">
                  <c:v>46.829-46.836</c:v>
                </c:pt>
                <c:pt idx="6659">
                  <c:v>46.836-46.843</c:v>
                </c:pt>
                <c:pt idx="6660">
                  <c:v>46.843-46.850</c:v>
                </c:pt>
                <c:pt idx="6661">
                  <c:v>46.850-46.858</c:v>
                </c:pt>
                <c:pt idx="6662">
                  <c:v>46.858-46.865</c:v>
                </c:pt>
                <c:pt idx="6663">
                  <c:v>46.865-46.872</c:v>
                </c:pt>
                <c:pt idx="6664">
                  <c:v>46.872-46.879</c:v>
                </c:pt>
                <c:pt idx="6665">
                  <c:v>46.879-46.886</c:v>
                </c:pt>
                <c:pt idx="6666">
                  <c:v>46.886-46.893</c:v>
                </c:pt>
                <c:pt idx="6667">
                  <c:v>46.893-46.900</c:v>
                </c:pt>
                <c:pt idx="6668">
                  <c:v>46.900-46.907</c:v>
                </c:pt>
                <c:pt idx="6669">
                  <c:v>46.907-46.914</c:v>
                </c:pt>
                <c:pt idx="6670">
                  <c:v>46.914-46.921</c:v>
                </c:pt>
                <c:pt idx="6671">
                  <c:v>46.921-46.928</c:v>
                </c:pt>
                <c:pt idx="6672">
                  <c:v>46.928-46.935</c:v>
                </c:pt>
                <c:pt idx="6673">
                  <c:v>46.935-46.942</c:v>
                </c:pt>
                <c:pt idx="6674">
                  <c:v>46.942-46.949</c:v>
                </c:pt>
                <c:pt idx="6675">
                  <c:v>46.949-46.956</c:v>
                </c:pt>
                <c:pt idx="6676">
                  <c:v>46.956-46.963</c:v>
                </c:pt>
                <c:pt idx="6677">
                  <c:v>46.963-46.970</c:v>
                </c:pt>
                <c:pt idx="6678">
                  <c:v>46.970-46.977</c:v>
                </c:pt>
                <c:pt idx="6679">
                  <c:v>46.977-46.984</c:v>
                </c:pt>
                <c:pt idx="6680">
                  <c:v>46.984-46.991</c:v>
                </c:pt>
                <c:pt idx="6681">
                  <c:v>46.991-46.998</c:v>
                </c:pt>
                <c:pt idx="6682">
                  <c:v>46.998-47.005</c:v>
                </c:pt>
                <c:pt idx="6683">
                  <c:v>47.005-47.012</c:v>
                </c:pt>
                <c:pt idx="6684">
                  <c:v>47.012-47.019</c:v>
                </c:pt>
                <c:pt idx="6685">
                  <c:v>47.019-47.026</c:v>
                </c:pt>
                <c:pt idx="6686">
                  <c:v>47.026-47.033</c:v>
                </c:pt>
                <c:pt idx="6687">
                  <c:v>47.033-47.040</c:v>
                </c:pt>
                <c:pt idx="6688">
                  <c:v>47.040-47.047</c:v>
                </c:pt>
                <c:pt idx="6689">
                  <c:v>47.047-47.054</c:v>
                </c:pt>
                <c:pt idx="6690">
                  <c:v>47.054-47.061</c:v>
                </c:pt>
                <c:pt idx="6691">
                  <c:v>47.061-47.068</c:v>
                </c:pt>
                <c:pt idx="6692">
                  <c:v>47.068-47.076</c:v>
                </c:pt>
                <c:pt idx="6693">
                  <c:v>47.076-47.083</c:v>
                </c:pt>
                <c:pt idx="6694">
                  <c:v>47.083-47.090</c:v>
                </c:pt>
                <c:pt idx="6695">
                  <c:v>47.090-47.097</c:v>
                </c:pt>
                <c:pt idx="6696">
                  <c:v>47.097-47.104</c:v>
                </c:pt>
                <c:pt idx="6697">
                  <c:v>47.104-47.111</c:v>
                </c:pt>
                <c:pt idx="6698">
                  <c:v>47.111-47.118</c:v>
                </c:pt>
                <c:pt idx="6699">
                  <c:v>47.118-47.125</c:v>
                </c:pt>
                <c:pt idx="6700">
                  <c:v>47.125-47.132</c:v>
                </c:pt>
                <c:pt idx="6701">
                  <c:v>47.132-47.139</c:v>
                </c:pt>
                <c:pt idx="6702">
                  <c:v>47.139-47.146</c:v>
                </c:pt>
                <c:pt idx="6703">
                  <c:v>47.146-47.153</c:v>
                </c:pt>
                <c:pt idx="6704">
                  <c:v>47.153-47.160</c:v>
                </c:pt>
                <c:pt idx="6705">
                  <c:v>47.160-47.167</c:v>
                </c:pt>
                <c:pt idx="6706">
                  <c:v>47.167-47.174</c:v>
                </c:pt>
                <c:pt idx="6707">
                  <c:v>47.174-47.181</c:v>
                </c:pt>
                <c:pt idx="6708">
                  <c:v>47.181-47.188</c:v>
                </c:pt>
                <c:pt idx="6709">
                  <c:v>47.188-47.195</c:v>
                </c:pt>
                <c:pt idx="6710">
                  <c:v>47.195-47.202</c:v>
                </c:pt>
                <c:pt idx="6711">
                  <c:v>47.202-47.209</c:v>
                </c:pt>
                <c:pt idx="6712">
                  <c:v>47.209-47.216</c:v>
                </c:pt>
                <c:pt idx="6713">
                  <c:v>47.216-47.223</c:v>
                </c:pt>
                <c:pt idx="6714">
                  <c:v>47.223-47.230</c:v>
                </c:pt>
                <c:pt idx="6715">
                  <c:v>47.230-47.237</c:v>
                </c:pt>
                <c:pt idx="6716">
                  <c:v>47.237-47.244</c:v>
                </c:pt>
                <c:pt idx="6717">
                  <c:v>47.244-47.251</c:v>
                </c:pt>
                <c:pt idx="6718">
                  <c:v>47.251-47.258</c:v>
                </c:pt>
                <c:pt idx="6719">
                  <c:v>47.258-47.265</c:v>
                </c:pt>
                <c:pt idx="6720">
                  <c:v>47.265-47.272</c:v>
                </c:pt>
                <c:pt idx="6721">
                  <c:v>47.272-47.279</c:v>
                </c:pt>
                <c:pt idx="6722">
                  <c:v>47.279-47.286</c:v>
                </c:pt>
                <c:pt idx="6723">
                  <c:v>47.286-47.294</c:v>
                </c:pt>
                <c:pt idx="6724">
                  <c:v>47.294-47.301</c:v>
                </c:pt>
                <c:pt idx="6725">
                  <c:v>47.301-47.308</c:v>
                </c:pt>
                <c:pt idx="6726">
                  <c:v>47.308-47.315</c:v>
                </c:pt>
                <c:pt idx="6727">
                  <c:v>47.315-47.322</c:v>
                </c:pt>
                <c:pt idx="6728">
                  <c:v>47.322-47.329</c:v>
                </c:pt>
                <c:pt idx="6729">
                  <c:v>47.329-47.336</c:v>
                </c:pt>
                <c:pt idx="6730">
                  <c:v>47.336-47.343</c:v>
                </c:pt>
                <c:pt idx="6731">
                  <c:v>47.343-47.350</c:v>
                </c:pt>
                <c:pt idx="6732">
                  <c:v>47.350-47.357</c:v>
                </c:pt>
                <c:pt idx="6733">
                  <c:v>47.357-47.364</c:v>
                </c:pt>
                <c:pt idx="6734">
                  <c:v>47.364-47.371</c:v>
                </c:pt>
                <c:pt idx="6735">
                  <c:v>47.371-47.378</c:v>
                </c:pt>
                <c:pt idx="6736">
                  <c:v>47.378-47.385</c:v>
                </c:pt>
                <c:pt idx="6737">
                  <c:v>47.385-47.392</c:v>
                </c:pt>
                <c:pt idx="6738">
                  <c:v>47.392-47.399</c:v>
                </c:pt>
                <c:pt idx="6739">
                  <c:v>47.399-47.406</c:v>
                </c:pt>
                <c:pt idx="6740">
                  <c:v>47.406-47.413</c:v>
                </c:pt>
                <c:pt idx="6741">
                  <c:v>47.413-47.420</c:v>
                </c:pt>
                <c:pt idx="6742">
                  <c:v>47.420-47.427</c:v>
                </c:pt>
                <c:pt idx="6743">
                  <c:v>47.427-47.434</c:v>
                </c:pt>
                <c:pt idx="6744">
                  <c:v>47.434-47.441</c:v>
                </c:pt>
                <c:pt idx="6745">
                  <c:v>47.441-47.448</c:v>
                </c:pt>
                <c:pt idx="6746">
                  <c:v>47.448-47.455</c:v>
                </c:pt>
                <c:pt idx="6747">
                  <c:v>47.455-47.462</c:v>
                </c:pt>
                <c:pt idx="6748">
                  <c:v>47.462-47.469</c:v>
                </c:pt>
                <c:pt idx="6749">
                  <c:v>47.469-47.476</c:v>
                </c:pt>
                <c:pt idx="6750">
                  <c:v>47.476-47.483</c:v>
                </c:pt>
                <c:pt idx="6751">
                  <c:v>47.483-47.490</c:v>
                </c:pt>
                <c:pt idx="6752">
                  <c:v>47.490-47.497</c:v>
                </c:pt>
                <c:pt idx="6753">
                  <c:v>47.497-47.504</c:v>
                </c:pt>
                <c:pt idx="6754">
                  <c:v>47.504-47.512</c:v>
                </c:pt>
                <c:pt idx="6755">
                  <c:v>47.512-47.519</c:v>
                </c:pt>
                <c:pt idx="6756">
                  <c:v>47.519-47.526</c:v>
                </c:pt>
                <c:pt idx="6757">
                  <c:v>47.526-47.533</c:v>
                </c:pt>
                <c:pt idx="6758">
                  <c:v>47.533-47.540</c:v>
                </c:pt>
                <c:pt idx="6759">
                  <c:v>47.540-47.547</c:v>
                </c:pt>
                <c:pt idx="6760">
                  <c:v>47.547-47.554</c:v>
                </c:pt>
                <c:pt idx="6761">
                  <c:v>47.554-47.561</c:v>
                </c:pt>
                <c:pt idx="6762">
                  <c:v>47.561-47.568</c:v>
                </c:pt>
                <c:pt idx="6763">
                  <c:v>47.568-47.575</c:v>
                </c:pt>
                <c:pt idx="6764">
                  <c:v>47.575-47.582</c:v>
                </c:pt>
                <c:pt idx="6765">
                  <c:v>47.582-47.589</c:v>
                </c:pt>
                <c:pt idx="6766">
                  <c:v>47.589-47.596</c:v>
                </c:pt>
                <c:pt idx="6767">
                  <c:v>47.596-47.603</c:v>
                </c:pt>
                <c:pt idx="6768">
                  <c:v>47.603-47.610</c:v>
                </c:pt>
                <c:pt idx="6769">
                  <c:v>47.610-47.617</c:v>
                </c:pt>
                <c:pt idx="6770">
                  <c:v>47.617-47.624</c:v>
                </c:pt>
                <c:pt idx="6771">
                  <c:v>47.624-47.631</c:v>
                </c:pt>
                <c:pt idx="6772">
                  <c:v>47.631-47.638</c:v>
                </c:pt>
                <c:pt idx="6773">
                  <c:v>47.638-47.645</c:v>
                </c:pt>
                <c:pt idx="6774">
                  <c:v>47.645-47.652</c:v>
                </c:pt>
                <c:pt idx="6775">
                  <c:v>47.652-47.659</c:v>
                </c:pt>
                <c:pt idx="6776">
                  <c:v>47.659-47.666</c:v>
                </c:pt>
                <c:pt idx="6777">
                  <c:v>47.666-47.673</c:v>
                </c:pt>
                <c:pt idx="6778">
                  <c:v>47.673-47.680</c:v>
                </c:pt>
                <c:pt idx="6779">
                  <c:v>47.680-47.687</c:v>
                </c:pt>
                <c:pt idx="6780">
                  <c:v>47.687-47.694</c:v>
                </c:pt>
                <c:pt idx="6781">
                  <c:v>47.694-47.701</c:v>
                </c:pt>
                <c:pt idx="6782">
                  <c:v>47.701-47.708</c:v>
                </c:pt>
                <c:pt idx="6783">
                  <c:v>47.708-47.715</c:v>
                </c:pt>
                <c:pt idx="6784">
                  <c:v>47.715-47.722</c:v>
                </c:pt>
                <c:pt idx="6785">
                  <c:v>47.722-47.730</c:v>
                </c:pt>
                <c:pt idx="6786">
                  <c:v>47.730-47.737</c:v>
                </c:pt>
                <c:pt idx="6787">
                  <c:v>47.737-47.744</c:v>
                </c:pt>
                <c:pt idx="6788">
                  <c:v>47.744-47.751</c:v>
                </c:pt>
                <c:pt idx="6789">
                  <c:v>47.751-47.758</c:v>
                </c:pt>
                <c:pt idx="6790">
                  <c:v>47.758-47.765</c:v>
                </c:pt>
                <c:pt idx="6791">
                  <c:v>47.765-47.772</c:v>
                </c:pt>
                <c:pt idx="6792">
                  <c:v>47.772-47.779</c:v>
                </c:pt>
                <c:pt idx="6793">
                  <c:v>47.779-47.786</c:v>
                </c:pt>
                <c:pt idx="6794">
                  <c:v>47.786-47.793</c:v>
                </c:pt>
                <c:pt idx="6795">
                  <c:v>47.793-47.800</c:v>
                </c:pt>
                <c:pt idx="6796">
                  <c:v>47.800-47.807</c:v>
                </c:pt>
                <c:pt idx="6797">
                  <c:v>47.807-47.814</c:v>
                </c:pt>
                <c:pt idx="6798">
                  <c:v>47.814-47.821</c:v>
                </c:pt>
                <c:pt idx="6799">
                  <c:v>47.821-47.828</c:v>
                </c:pt>
                <c:pt idx="6800">
                  <c:v>47.828-47.835</c:v>
                </c:pt>
                <c:pt idx="6801">
                  <c:v>47.835-47.842</c:v>
                </c:pt>
                <c:pt idx="6802">
                  <c:v>47.842-47.849</c:v>
                </c:pt>
                <c:pt idx="6803">
                  <c:v>47.849-47.856</c:v>
                </c:pt>
                <c:pt idx="6804">
                  <c:v>47.856-47.863</c:v>
                </c:pt>
                <c:pt idx="6805">
                  <c:v>47.863-47.870</c:v>
                </c:pt>
                <c:pt idx="6806">
                  <c:v>47.870-47.877</c:v>
                </c:pt>
                <c:pt idx="6807">
                  <c:v>47.877-47.884</c:v>
                </c:pt>
                <c:pt idx="6808">
                  <c:v>47.884-47.891</c:v>
                </c:pt>
                <c:pt idx="6809">
                  <c:v>47.891-47.898</c:v>
                </c:pt>
                <c:pt idx="6810">
                  <c:v>47.898-47.905</c:v>
                </c:pt>
                <c:pt idx="6811">
                  <c:v>47.905-47.912</c:v>
                </c:pt>
                <c:pt idx="6812">
                  <c:v>47.912-47.919</c:v>
                </c:pt>
                <c:pt idx="6813">
                  <c:v>47.919-47.926</c:v>
                </c:pt>
                <c:pt idx="6814">
                  <c:v>47.926-47.933</c:v>
                </c:pt>
                <c:pt idx="6815">
                  <c:v>47.933-47.940</c:v>
                </c:pt>
                <c:pt idx="6816">
                  <c:v>47.940-47.948</c:v>
                </c:pt>
                <c:pt idx="6817">
                  <c:v>47.948-47.955</c:v>
                </c:pt>
                <c:pt idx="6818">
                  <c:v>47.955-47.962</c:v>
                </c:pt>
                <c:pt idx="6819">
                  <c:v>47.962-47.969</c:v>
                </c:pt>
                <c:pt idx="6820">
                  <c:v>47.969-47.976</c:v>
                </c:pt>
                <c:pt idx="6821">
                  <c:v>47.976-47.983</c:v>
                </c:pt>
                <c:pt idx="6822">
                  <c:v>47.983-47.990</c:v>
                </c:pt>
                <c:pt idx="6823">
                  <c:v>47.990-47.997</c:v>
                </c:pt>
                <c:pt idx="6824">
                  <c:v>47.997-48.004</c:v>
                </c:pt>
                <c:pt idx="6825">
                  <c:v>48.004-48.011</c:v>
                </c:pt>
                <c:pt idx="6826">
                  <c:v>48.011-48.018</c:v>
                </c:pt>
                <c:pt idx="6827">
                  <c:v>48.018-48.025</c:v>
                </c:pt>
                <c:pt idx="6828">
                  <c:v>48.025-48.032</c:v>
                </c:pt>
                <c:pt idx="6829">
                  <c:v>48.032-48.039</c:v>
                </c:pt>
                <c:pt idx="6830">
                  <c:v>48.039-48.046</c:v>
                </c:pt>
                <c:pt idx="6831">
                  <c:v>48.046-48.053</c:v>
                </c:pt>
                <c:pt idx="6832">
                  <c:v>48.053-48.060</c:v>
                </c:pt>
                <c:pt idx="6833">
                  <c:v>48.060-48.067</c:v>
                </c:pt>
                <c:pt idx="6834">
                  <c:v>48.067-48.074</c:v>
                </c:pt>
                <c:pt idx="6835">
                  <c:v>48.074-48.081</c:v>
                </c:pt>
                <c:pt idx="6836">
                  <c:v>48.081-48.088</c:v>
                </c:pt>
                <c:pt idx="6837">
                  <c:v>48.088-48.095</c:v>
                </c:pt>
                <c:pt idx="6838">
                  <c:v>48.095-48.102</c:v>
                </c:pt>
                <c:pt idx="6839">
                  <c:v>48.102-48.109</c:v>
                </c:pt>
                <c:pt idx="6840">
                  <c:v>48.109-48.116</c:v>
                </c:pt>
                <c:pt idx="6841">
                  <c:v>48.116-48.123</c:v>
                </c:pt>
                <c:pt idx="6842">
                  <c:v>48.123-48.130</c:v>
                </c:pt>
                <c:pt idx="6843">
                  <c:v>48.130-48.137</c:v>
                </c:pt>
                <c:pt idx="6844">
                  <c:v>48.137-48.144</c:v>
                </c:pt>
                <c:pt idx="6845">
                  <c:v>48.144-48.151</c:v>
                </c:pt>
                <c:pt idx="6846">
                  <c:v>48.151-48.158</c:v>
                </c:pt>
                <c:pt idx="6847">
                  <c:v>48.158-48.166</c:v>
                </c:pt>
                <c:pt idx="6848">
                  <c:v>48.166-48.173</c:v>
                </c:pt>
                <c:pt idx="6849">
                  <c:v>48.173-48.180</c:v>
                </c:pt>
                <c:pt idx="6850">
                  <c:v>48.180-48.187</c:v>
                </c:pt>
                <c:pt idx="6851">
                  <c:v>48.187-48.194</c:v>
                </c:pt>
                <c:pt idx="6852">
                  <c:v>48.194-48.201</c:v>
                </c:pt>
                <c:pt idx="6853">
                  <c:v>48.201-48.208</c:v>
                </c:pt>
                <c:pt idx="6854">
                  <c:v>48.208-48.215</c:v>
                </c:pt>
                <c:pt idx="6855">
                  <c:v>48.215-48.222</c:v>
                </c:pt>
                <c:pt idx="6856">
                  <c:v>48.222-48.229</c:v>
                </c:pt>
                <c:pt idx="6857">
                  <c:v>48.229-48.236</c:v>
                </c:pt>
                <c:pt idx="6858">
                  <c:v>48.236-48.243</c:v>
                </c:pt>
                <c:pt idx="6859">
                  <c:v>48.243-48.250</c:v>
                </c:pt>
                <c:pt idx="6860">
                  <c:v>48.250-48.257</c:v>
                </c:pt>
                <c:pt idx="6861">
                  <c:v>48.257-48.264</c:v>
                </c:pt>
                <c:pt idx="6862">
                  <c:v>48.264-48.271</c:v>
                </c:pt>
                <c:pt idx="6863">
                  <c:v>48.271-48.278</c:v>
                </c:pt>
                <c:pt idx="6864">
                  <c:v>48.278-48.285</c:v>
                </c:pt>
                <c:pt idx="6865">
                  <c:v>48.285-48.292</c:v>
                </c:pt>
                <c:pt idx="6866">
                  <c:v>48.292-48.299</c:v>
                </c:pt>
                <c:pt idx="6867">
                  <c:v>48.299-48.306</c:v>
                </c:pt>
                <c:pt idx="6868">
                  <c:v>48.306-48.313</c:v>
                </c:pt>
                <c:pt idx="6869">
                  <c:v>48.313-48.320</c:v>
                </c:pt>
                <c:pt idx="6870">
                  <c:v>48.320-48.327</c:v>
                </c:pt>
                <c:pt idx="6871">
                  <c:v>48.327-48.334</c:v>
                </c:pt>
                <c:pt idx="6872">
                  <c:v>48.334-48.341</c:v>
                </c:pt>
                <c:pt idx="6873">
                  <c:v>48.341-48.348</c:v>
                </c:pt>
                <c:pt idx="6874">
                  <c:v>48.348-48.355</c:v>
                </c:pt>
                <c:pt idx="6875">
                  <c:v>48.355-48.362</c:v>
                </c:pt>
                <c:pt idx="6876">
                  <c:v>48.362-48.369</c:v>
                </c:pt>
                <c:pt idx="6877">
                  <c:v>48.369-48.376</c:v>
                </c:pt>
                <c:pt idx="6878">
                  <c:v>48.376-48.384</c:v>
                </c:pt>
                <c:pt idx="6879">
                  <c:v>48.384-48.391</c:v>
                </c:pt>
                <c:pt idx="6880">
                  <c:v>48.391-48.398</c:v>
                </c:pt>
                <c:pt idx="6881">
                  <c:v>48.398-48.405</c:v>
                </c:pt>
                <c:pt idx="6882">
                  <c:v>48.405-48.412</c:v>
                </c:pt>
                <c:pt idx="6883">
                  <c:v>48.412-48.419</c:v>
                </c:pt>
                <c:pt idx="6884">
                  <c:v>48.419-48.426</c:v>
                </c:pt>
                <c:pt idx="6885">
                  <c:v>48.426-48.433</c:v>
                </c:pt>
                <c:pt idx="6886">
                  <c:v>48.433-48.440</c:v>
                </c:pt>
                <c:pt idx="6887">
                  <c:v>48.440-48.447</c:v>
                </c:pt>
                <c:pt idx="6888">
                  <c:v>48.447-48.454</c:v>
                </c:pt>
                <c:pt idx="6889">
                  <c:v>48.454-48.461</c:v>
                </c:pt>
                <c:pt idx="6890">
                  <c:v>48.461-48.468</c:v>
                </c:pt>
                <c:pt idx="6891">
                  <c:v>48.468-48.475</c:v>
                </c:pt>
                <c:pt idx="6892">
                  <c:v>48.475-48.482</c:v>
                </c:pt>
                <c:pt idx="6893">
                  <c:v>48.482-48.489</c:v>
                </c:pt>
                <c:pt idx="6894">
                  <c:v>48.489-48.496</c:v>
                </c:pt>
                <c:pt idx="6895">
                  <c:v>48.496-48.503</c:v>
                </c:pt>
                <c:pt idx="6896">
                  <c:v>48.503-48.510</c:v>
                </c:pt>
                <c:pt idx="6897">
                  <c:v>48.510-48.517</c:v>
                </c:pt>
                <c:pt idx="6898">
                  <c:v>48.517-48.524</c:v>
                </c:pt>
                <c:pt idx="6899">
                  <c:v>48.524-48.531</c:v>
                </c:pt>
                <c:pt idx="6900">
                  <c:v>48.531-48.538</c:v>
                </c:pt>
                <c:pt idx="6901">
                  <c:v>48.538-48.545</c:v>
                </c:pt>
                <c:pt idx="6902">
                  <c:v>48.545-48.552</c:v>
                </c:pt>
                <c:pt idx="6903">
                  <c:v>48.552-48.559</c:v>
                </c:pt>
                <c:pt idx="6904">
                  <c:v>48.559-48.566</c:v>
                </c:pt>
                <c:pt idx="6905">
                  <c:v>48.566-48.573</c:v>
                </c:pt>
                <c:pt idx="6906">
                  <c:v>48.573-48.580</c:v>
                </c:pt>
                <c:pt idx="6907">
                  <c:v>48.580-48.587</c:v>
                </c:pt>
                <c:pt idx="6908">
                  <c:v>48.587-48.594</c:v>
                </c:pt>
                <c:pt idx="6909">
                  <c:v>48.594-48.602</c:v>
                </c:pt>
                <c:pt idx="6910">
                  <c:v>48.602-48.609</c:v>
                </c:pt>
                <c:pt idx="6911">
                  <c:v>48.609-48.616</c:v>
                </c:pt>
                <c:pt idx="6912">
                  <c:v>48.616-48.623</c:v>
                </c:pt>
                <c:pt idx="6913">
                  <c:v>48.623-48.630</c:v>
                </c:pt>
                <c:pt idx="6914">
                  <c:v>48.630-48.637</c:v>
                </c:pt>
                <c:pt idx="6915">
                  <c:v>48.637-48.644</c:v>
                </c:pt>
                <c:pt idx="6916">
                  <c:v>48.644-48.651</c:v>
                </c:pt>
                <c:pt idx="6917">
                  <c:v>48.651-48.658</c:v>
                </c:pt>
                <c:pt idx="6918">
                  <c:v>48.658-48.665</c:v>
                </c:pt>
                <c:pt idx="6919">
                  <c:v>48.665-48.672</c:v>
                </c:pt>
                <c:pt idx="6920">
                  <c:v>48.672-48.679</c:v>
                </c:pt>
                <c:pt idx="6921">
                  <c:v>48.679-48.686</c:v>
                </c:pt>
                <c:pt idx="6922">
                  <c:v>48.686-48.693</c:v>
                </c:pt>
                <c:pt idx="6923">
                  <c:v>48.693-48.700</c:v>
                </c:pt>
                <c:pt idx="6924">
                  <c:v>48.700-48.707</c:v>
                </c:pt>
                <c:pt idx="6925">
                  <c:v>48.707-48.714</c:v>
                </c:pt>
                <c:pt idx="6926">
                  <c:v>48.714-48.721</c:v>
                </c:pt>
                <c:pt idx="6927">
                  <c:v>48.721-48.728</c:v>
                </c:pt>
                <c:pt idx="6928">
                  <c:v>48.728-48.735</c:v>
                </c:pt>
                <c:pt idx="6929">
                  <c:v>48.735-48.742</c:v>
                </c:pt>
                <c:pt idx="6930">
                  <c:v>48.742-48.749</c:v>
                </c:pt>
                <c:pt idx="6931">
                  <c:v>48.749-48.756</c:v>
                </c:pt>
                <c:pt idx="6932">
                  <c:v>48.756-48.763</c:v>
                </c:pt>
                <c:pt idx="6933">
                  <c:v>48.763-48.770</c:v>
                </c:pt>
                <c:pt idx="6934">
                  <c:v>48.770-48.777</c:v>
                </c:pt>
                <c:pt idx="6935">
                  <c:v>48.777-48.784</c:v>
                </c:pt>
                <c:pt idx="6936">
                  <c:v>48.784-48.791</c:v>
                </c:pt>
                <c:pt idx="6937">
                  <c:v>48.791-48.798</c:v>
                </c:pt>
                <c:pt idx="6938">
                  <c:v>48.798-48.805</c:v>
                </c:pt>
                <c:pt idx="6939">
                  <c:v>48.805-48.812</c:v>
                </c:pt>
                <c:pt idx="6940">
                  <c:v>48.812-48.820</c:v>
                </c:pt>
                <c:pt idx="6941">
                  <c:v>48.820-48.827</c:v>
                </c:pt>
                <c:pt idx="6942">
                  <c:v>48.827-48.834</c:v>
                </c:pt>
                <c:pt idx="6943">
                  <c:v>48.834-48.841</c:v>
                </c:pt>
                <c:pt idx="6944">
                  <c:v>48.841-48.848</c:v>
                </c:pt>
                <c:pt idx="6945">
                  <c:v>48.848-48.855</c:v>
                </c:pt>
                <c:pt idx="6946">
                  <c:v>48.855-48.862</c:v>
                </c:pt>
                <c:pt idx="6947">
                  <c:v>48.862-48.869</c:v>
                </c:pt>
                <c:pt idx="6948">
                  <c:v>48.869-48.876</c:v>
                </c:pt>
                <c:pt idx="6949">
                  <c:v>48.876-48.883</c:v>
                </c:pt>
                <c:pt idx="6950">
                  <c:v>48.883-48.890</c:v>
                </c:pt>
                <c:pt idx="6951">
                  <c:v>48.890-48.897</c:v>
                </c:pt>
                <c:pt idx="6952">
                  <c:v>48.897-48.904</c:v>
                </c:pt>
                <c:pt idx="6953">
                  <c:v>48.904-48.911</c:v>
                </c:pt>
                <c:pt idx="6954">
                  <c:v>48.911-48.918</c:v>
                </c:pt>
                <c:pt idx="6955">
                  <c:v>48.918-48.925</c:v>
                </c:pt>
                <c:pt idx="6956">
                  <c:v>48.925-48.932</c:v>
                </c:pt>
                <c:pt idx="6957">
                  <c:v>48.932-48.939</c:v>
                </c:pt>
                <c:pt idx="6958">
                  <c:v>48.939-48.946</c:v>
                </c:pt>
                <c:pt idx="6959">
                  <c:v>48.946-48.953</c:v>
                </c:pt>
                <c:pt idx="6960">
                  <c:v>48.953-48.960</c:v>
                </c:pt>
                <c:pt idx="6961">
                  <c:v>48.960-48.967</c:v>
                </c:pt>
                <c:pt idx="6962">
                  <c:v>48.967-48.974</c:v>
                </c:pt>
                <c:pt idx="6963">
                  <c:v>48.974-48.981</c:v>
                </c:pt>
                <c:pt idx="6964">
                  <c:v>48.981-48.988</c:v>
                </c:pt>
                <c:pt idx="6965">
                  <c:v>48.988-48.995</c:v>
                </c:pt>
                <c:pt idx="6966">
                  <c:v>48.995-49.002</c:v>
                </c:pt>
                <c:pt idx="6967">
                  <c:v>49.002-49.009</c:v>
                </c:pt>
                <c:pt idx="6968">
                  <c:v>49.009-49.016</c:v>
                </c:pt>
                <c:pt idx="6969">
                  <c:v>49.016-49.023</c:v>
                </c:pt>
                <c:pt idx="6970">
                  <c:v>49.023-49.030</c:v>
                </c:pt>
                <c:pt idx="6971">
                  <c:v>49.030-49.037</c:v>
                </c:pt>
                <c:pt idx="6972">
                  <c:v>49.037-49.045</c:v>
                </c:pt>
                <c:pt idx="6973">
                  <c:v>49.045-49.052</c:v>
                </c:pt>
                <c:pt idx="6974">
                  <c:v>49.052-49.059</c:v>
                </c:pt>
                <c:pt idx="6975">
                  <c:v>49.059-49.066</c:v>
                </c:pt>
                <c:pt idx="6976">
                  <c:v>49.066-49.073</c:v>
                </c:pt>
                <c:pt idx="6977">
                  <c:v>49.073-49.080</c:v>
                </c:pt>
                <c:pt idx="6978">
                  <c:v>49.080-49.087</c:v>
                </c:pt>
                <c:pt idx="6979">
                  <c:v>49.087-49.094</c:v>
                </c:pt>
                <c:pt idx="6980">
                  <c:v>49.094-49.101</c:v>
                </c:pt>
                <c:pt idx="6981">
                  <c:v>49.101-49.108</c:v>
                </c:pt>
                <c:pt idx="6982">
                  <c:v>49.108-49.115</c:v>
                </c:pt>
                <c:pt idx="6983">
                  <c:v>49.115-49.122</c:v>
                </c:pt>
                <c:pt idx="6984">
                  <c:v>49.122-49.129</c:v>
                </c:pt>
                <c:pt idx="6985">
                  <c:v>49.129-49.136</c:v>
                </c:pt>
                <c:pt idx="6986">
                  <c:v>49.136-49.143</c:v>
                </c:pt>
                <c:pt idx="6987">
                  <c:v>49.143-49.150</c:v>
                </c:pt>
                <c:pt idx="6988">
                  <c:v>49.150-49.157</c:v>
                </c:pt>
                <c:pt idx="6989">
                  <c:v>49.157-49.164</c:v>
                </c:pt>
                <c:pt idx="6990">
                  <c:v>49.164-49.171</c:v>
                </c:pt>
                <c:pt idx="6991">
                  <c:v>49.171-49.178</c:v>
                </c:pt>
                <c:pt idx="6992">
                  <c:v>49.178-49.185</c:v>
                </c:pt>
                <c:pt idx="6993">
                  <c:v>49.185-49.192</c:v>
                </c:pt>
                <c:pt idx="6994">
                  <c:v>49.192-49.199</c:v>
                </c:pt>
                <c:pt idx="6995">
                  <c:v>49.199-49.206</c:v>
                </c:pt>
                <c:pt idx="6996">
                  <c:v>49.206-49.213</c:v>
                </c:pt>
                <c:pt idx="6997">
                  <c:v>49.213-49.220</c:v>
                </c:pt>
                <c:pt idx="6998">
                  <c:v>49.220-49.227</c:v>
                </c:pt>
                <c:pt idx="6999">
                  <c:v>49.227-49.234</c:v>
                </c:pt>
                <c:pt idx="7000">
                  <c:v>49.234-49.241</c:v>
                </c:pt>
                <c:pt idx="7001">
                  <c:v>49.241-49.248</c:v>
                </c:pt>
                <c:pt idx="7002">
                  <c:v>49.248-49.255</c:v>
                </c:pt>
                <c:pt idx="7003">
                  <c:v>49.255-49.263</c:v>
                </c:pt>
                <c:pt idx="7004">
                  <c:v>49.263-49.270</c:v>
                </c:pt>
                <c:pt idx="7005">
                  <c:v>49.270-49.277</c:v>
                </c:pt>
                <c:pt idx="7006">
                  <c:v>49.277-49.284</c:v>
                </c:pt>
                <c:pt idx="7007">
                  <c:v>49.284-49.291</c:v>
                </c:pt>
                <c:pt idx="7008">
                  <c:v>49.291-49.298</c:v>
                </c:pt>
                <c:pt idx="7009">
                  <c:v>49.298-49.305</c:v>
                </c:pt>
                <c:pt idx="7010">
                  <c:v>49.305-49.312</c:v>
                </c:pt>
                <c:pt idx="7011">
                  <c:v>49.312-49.319</c:v>
                </c:pt>
                <c:pt idx="7012">
                  <c:v>49.319-49.326</c:v>
                </c:pt>
                <c:pt idx="7013">
                  <c:v>49.326-49.333</c:v>
                </c:pt>
                <c:pt idx="7014">
                  <c:v>49.333-49.340</c:v>
                </c:pt>
                <c:pt idx="7015">
                  <c:v>49.340-49.347</c:v>
                </c:pt>
                <c:pt idx="7016">
                  <c:v>49.347-49.354</c:v>
                </c:pt>
                <c:pt idx="7017">
                  <c:v>49.354-49.361</c:v>
                </c:pt>
                <c:pt idx="7018">
                  <c:v>49.361-49.368</c:v>
                </c:pt>
                <c:pt idx="7019">
                  <c:v>49.368-49.375</c:v>
                </c:pt>
                <c:pt idx="7020">
                  <c:v>49.375-49.382</c:v>
                </c:pt>
                <c:pt idx="7021">
                  <c:v>49.382-49.389</c:v>
                </c:pt>
                <c:pt idx="7022">
                  <c:v>49.389-49.396</c:v>
                </c:pt>
                <c:pt idx="7023">
                  <c:v>49.396-49.403</c:v>
                </c:pt>
                <c:pt idx="7024">
                  <c:v>49.403-49.410</c:v>
                </c:pt>
                <c:pt idx="7025">
                  <c:v>49.410-49.417</c:v>
                </c:pt>
                <c:pt idx="7026">
                  <c:v>49.417-49.424</c:v>
                </c:pt>
                <c:pt idx="7027">
                  <c:v>49.424-49.431</c:v>
                </c:pt>
                <c:pt idx="7028">
                  <c:v>49.431-49.438</c:v>
                </c:pt>
                <c:pt idx="7029">
                  <c:v>49.438-49.445</c:v>
                </c:pt>
                <c:pt idx="7030">
                  <c:v>49.445-49.452</c:v>
                </c:pt>
                <c:pt idx="7031">
                  <c:v>49.452-49.459</c:v>
                </c:pt>
                <c:pt idx="7032">
                  <c:v>49.459-49.466</c:v>
                </c:pt>
                <c:pt idx="7033">
                  <c:v>49.466-49.473</c:v>
                </c:pt>
                <c:pt idx="7034">
                  <c:v>49.473-49.481</c:v>
                </c:pt>
                <c:pt idx="7035">
                  <c:v>49.481-49.488</c:v>
                </c:pt>
                <c:pt idx="7036">
                  <c:v>49.488-49.495</c:v>
                </c:pt>
                <c:pt idx="7037">
                  <c:v>49.495-49.502</c:v>
                </c:pt>
                <c:pt idx="7038">
                  <c:v>49.502-49.509</c:v>
                </c:pt>
                <c:pt idx="7039">
                  <c:v>49.509-49.516</c:v>
                </c:pt>
                <c:pt idx="7040">
                  <c:v>49.516-49.523</c:v>
                </c:pt>
                <c:pt idx="7041">
                  <c:v>49.523-49.530</c:v>
                </c:pt>
                <c:pt idx="7042">
                  <c:v>49.530-49.537</c:v>
                </c:pt>
                <c:pt idx="7043">
                  <c:v>49.537-49.544</c:v>
                </c:pt>
                <c:pt idx="7044">
                  <c:v>49.544-49.551</c:v>
                </c:pt>
                <c:pt idx="7045">
                  <c:v>49.551-49.558</c:v>
                </c:pt>
                <c:pt idx="7046">
                  <c:v>49.558-49.565</c:v>
                </c:pt>
                <c:pt idx="7047">
                  <c:v>49.565-49.572</c:v>
                </c:pt>
                <c:pt idx="7048">
                  <c:v>49.572-49.579</c:v>
                </c:pt>
                <c:pt idx="7049">
                  <c:v>49.579-49.586</c:v>
                </c:pt>
                <c:pt idx="7050">
                  <c:v>49.586-49.593</c:v>
                </c:pt>
                <c:pt idx="7051">
                  <c:v>49.593-49.600</c:v>
                </c:pt>
                <c:pt idx="7052">
                  <c:v>49.600-49.607</c:v>
                </c:pt>
                <c:pt idx="7053">
                  <c:v>49.607-49.614</c:v>
                </c:pt>
                <c:pt idx="7054">
                  <c:v>49.614-49.621</c:v>
                </c:pt>
                <c:pt idx="7055">
                  <c:v>49.621-49.628</c:v>
                </c:pt>
                <c:pt idx="7056">
                  <c:v>49.628-49.635</c:v>
                </c:pt>
                <c:pt idx="7057">
                  <c:v>49.635-49.642</c:v>
                </c:pt>
                <c:pt idx="7058">
                  <c:v>49.642-49.649</c:v>
                </c:pt>
                <c:pt idx="7059">
                  <c:v>49.649-49.656</c:v>
                </c:pt>
                <c:pt idx="7060">
                  <c:v>49.656-49.663</c:v>
                </c:pt>
                <c:pt idx="7061">
                  <c:v>49.663-49.670</c:v>
                </c:pt>
                <c:pt idx="7062">
                  <c:v>49.670-49.677</c:v>
                </c:pt>
                <c:pt idx="7063">
                  <c:v>49.677-49.684</c:v>
                </c:pt>
                <c:pt idx="7064">
                  <c:v>49.684-49.691</c:v>
                </c:pt>
                <c:pt idx="7065">
                  <c:v>49.691-49.699</c:v>
                </c:pt>
                <c:pt idx="7066">
                  <c:v>49.699-49.706</c:v>
                </c:pt>
                <c:pt idx="7067">
                  <c:v>49.706-49.713</c:v>
                </c:pt>
                <c:pt idx="7068">
                  <c:v>49.713-49.720</c:v>
                </c:pt>
                <c:pt idx="7069">
                  <c:v>49.720-49.727</c:v>
                </c:pt>
                <c:pt idx="7070">
                  <c:v>49.727-49.734</c:v>
                </c:pt>
                <c:pt idx="7071">
                  <c:v>49.734-49.741</c:v>
                </c:pt>
                <c:pt idx="7072">
                  <c:v>49.741-49.748</c:v>
                </c:pt>
                <c:pt idx="7073">
                  <c:v>49.748-49.755</c:v>
                </c:pt>
                <c:pt idx="7074">
                  <c:v>49.755-49.762</c:v>
                </c:pt>
                <c:pt idx="7075">
                  <c:v>49.762-49.769</c:v>
                </c:pt>
                <c:pt idx="7076">
                  <c:v>49.769-49.776</c:v>
                </c:pt>
                <c:pt idx="7077">
                  <c:v>49.776-49.783</c:v>
                </c:pt>
                <c:pt idx="7078">
                  <c:v>49.783-49.790</c:v>
                </c:pt>
                <c:pt idx="7079">
                  <c:v>49.790-49.797</c:v>
                </c:pt>
                <c:pt idx="7080">
                  <c:v>49.797-49.804</c:v>
                </c:pt>
                <c:pt idx="7081">
                  <c:v>49.804-49.811</c:v>
                </c:pt>
                <c:pt idx="7082">
                  <c:v>49.811-49.818</c:v>
                </c:pt>
                <c:pt idx="7083">
                  <c:v>49.818-49.825</c:v>
                </c:pt>
                <c:pt idx="7084">
                  <c:v>49.825-49.832</c:v>
                </c:pt>
                <c:pt idx="7085">
                  <c:v>49.832-49.839</c:v>
                </c:pt>
                <c:pt idx="7086">
                  <c:v>49.839-49.846</c:v>
                </c:pt>
                <c:pt idx="7087">
                  <c:v>49.846-49.853</c:v>
                </c:pt>
                <c:pt idx="7088">
                  <c:v>49.853-49.860</c:v>
                </c:pt>
                <c:pt idx="7089">
                  <c:v>49.860-49.867</c:v>
                </c:pt>
                <c:pt idx="7090">
                  <c:v>49.867-49.874</c:v>
                </c:pt>
                <c:pt idx="7091">
                  <c:v>49.874-49.881</c:v>
                </c:pt>
                <c:pt idx="7092">
                  <c:v>49.881-49.888</c:v>
                </c:pt>
                <c:pt idx="7093">
                  <c:v>49.888-49.895</c:v>
                </c:pt>
                <c:pt idx="7094">
                  <c:v>49.895-49.902</c:v>
                </c:pt>
                <c:pt idx="7095">
                  <c:v>49.902-49.909</c:v>
                </c:pt>
                <c:pt idx="7096">
                  <c:v>49.909-49.917</c:v>
                </c:pt>
                <c:pt idx="7097">
                  <c:v>49.917-49.924</c:v>
                </c:pt>
                <c:pt idx="7098">
                  <c:v>49.924-49.931</c:v>
                </c:pt>
                <c:pt idx="7099">
                  <c:v>49.931-49.938</c:v>
                </c:pt>
                <c:pt idx="7100">
                  <c:v>49.938-49.945</c:v>
                </c:pt>
                <c:pt idx="7101">
                  <c:v>49.945-49.952</c:v>
                </c:pt>
                <c:pt idx="7102">
                  <c:v>49.952-49.959</c:v>
                </c:pt>
                <c:pt idx="7103">
                  <c:v>49.959-49.966</c:v>
                </c:pt>
                <c:pt idx="7104">
                  <c:v>49.966-49.973</c:v>
                </c:pt>
                <c:pt idx="7105">
                  <c:v>49.973-49.980</c:v>
                </c:pt>
                <c:pt idx="7106">
                  <c:v>49.980-49.987</c:v>
                </c:pt>
                <c:pt idx="7107">
                  <c:v>49.987-49.994</c:v>
                </c:pt>
                <c:pt idx="7108">
                  <c:v>49.994-50.001</c:v>
                </c:pt>
                <c:pt idx="7109">
                  <c:v>50.001-50.008</c:v>
                </c:pt>
                <c:pt idx="7110">
                  <c:v>50.008-50.015</c:v>
                </c:pt>
                <c:pt idx="7111">
                  <c:v>50.015-50.022</c:v>
                </c:pt>
                <c:pt idx="7112">
                  <c:v>50.022-50.029</c:v>
                </c:pt>
                <c:pt idx="7113">
                  <c:v>50.029-50.036</c:v>
                </c:pt>
                <c:pt idx="7114">
                  <c:v>50.036-50.043</c:v>
                </c:pt>
                <c:pt idx="7115">
                  <c:v>50.043-50.050</c:v>
                </c:pt>
                <c:pt idx="7116">
                  <c:v>50.050-50.057</c:v>
                </c:pt>
                <c:pt idx="7117">
                  <c:v>50.057-50.064</c:v>
                </c:pt>
                <c:pt idx="7118">
                  <c:v>50.064-50.071</c:v>
                </c:pt>
                <c:pt idx="7119">
                  <c:v>50.071-50.078</c:v>
                </c:pt>
                <c:pt idx="7120">
                  <c:v>50.078-50.085</c:v>
                </c:pt>
                <c:pt idx="7121">
                  <c:v>50.085-50.092</c:v>
                </c:pt>
                <c:pt idx="7122">
                  <c:v>50.092-50.099</c:v>
                </c:pt>
                <c:pt idx="7123">
                  <c:v>50.099-50.106</c:v>
                </c:pt>
                <c:pt idx="7124">
                  <c:v>50.106-50.113</c:v>
                </c:pt>
                <c:pt idx="7125">
                  <c:v>50.113-50.120</c:v>
                </c:pt>
                <c:pt idx="7126">
                  <c:v>50.120-50.127</c:v>
                </c:pt>
                <c:pt idx="7127">
                  <c:v>50.127-50.135</c:v>
                </c:pt>
                <c:pt idx="7128">
                  <c:v>50.135-50.142</c:v>
                </c:pt>
                <c:pt idx="7129">
                  <c:v>50.142-50.149</c:v>
                </c:pt>
                <c:pt idx="7130">
                  <c:v>50.149-50.156</c:v>
                </c:pt>
                <c:pt idx="7131">
                  <c:v>50.156-50.163</c:v>
                </c:pt>
                <c:pt idx="7132">
                  <c:v>50.163-50.170</c:v>
                </c:pt>
                <c:pt idx="7133">
                  <c:v>50.170-50.177</c:v>
                </c:pt>
                <c:pt idx="7134">
                  <c:v>50.177-50.184</c:v>
                </c:pt>
                <c:pt idx="7135">
                  <c:v>50.184-50.191</c:v>
                </c:pt>
                <c:pt idx="7136">
                  <c:v>50.191-50.198</c:v>
                </c:pt>
                <c:pt idx="7137">
                  <c:v>50.198-50.205</c:v>
                </c:pt>
                <c:pt idx="7138">
                  <c:v>50.205-50.212</c:v>
                </c:pt>
                <c:pt idx="7139">
                  <c:v>50.212-50.219</c:v>
                </c:pt>
                <c:pt idx="7140">
                  <c:v>50.219-50.226</c:v>
                </c:pt>
                <c:pt idx="7141">
                  <c:v>50.226-50.233</c:v>
                </c:pt>
                <c:pt idx="7142">
                  <c:v>50.233-50.240</c:v>
                </c:pt>
                <c:pt idx="7143">
                  <c:v>50.240-50.247</c:v>
                </c:pt>
                <c:pt idx="7144">
                  <c:v>50.247-50.254</c:v>
                </c:pt>
                <c:pt idx="7145">
                  <c:v>50.254-50.261</c:v>
                </c:pt>
                <c:pt idx="7146">
                  <c:v>50.261-50.268</c:v>
                </c:pt>
                <c:pt idx="7147">
                  <c:v>50.268-50.275</c:v>
                </c:pt>
                <c:pt idx="7148">
                  <c:v>50.275-50.282</c:v>
                </c:pt>
                <c:pt idx="7149">
                  <c:v>50.282-50.289</c:v>
                </c:pt>
                <c:pt idx="7150">
                  <c:v>50.289-50.296</c:v>
                </c:pt>
                <c:pt idx="7151">
                  <c:v>50.296-50.303</c:v>
                </c:pt>
                <c:pt idx="7152">
                  <c:v>50.303-50.310</c:v>
                </c:pt>
                <c:pt idx="7153">
                  <c:v>50.310-50.317</c:v>
                </c:pt>
                <c:pt idx="7154">
                  <c:v>50.317-50.324</c:v>
                </c:pt>
                <c:pt idx="7155">
                  <c:v>50.324-50.331</c:v>
                </c:pt>
                <c:pt idx="7156">
                  <c:v>50.331-50.338</c:v>
                </c:pt>
                <c:pt idx="7157">
                  <c:v>50.338-50.345</c:v>
                </c:pt>
                <c:pt idx="7158">
                  <c:v>50.345-50.353</c:v>
                </c:pt>
                <c:pt idx="7159">
                  <c:v>50.353-50.360</c:v>
                </c:pt>
                <c:pt idx="7160">
                  <c:v>50.360-50.367</c:v>
                </c:pt>
                <c:pt idx="7161">
                  <c:v>50.367-50.374</c:v>
                </c:pt>
                <c:pt idx="7162">
                  <c:v>50.374-50.381</c:v>
                </c:pt>
                <c:pt idx="7163">
                  <c:v>50.381-50.388</c:v>
                </c:pt>
                <c:pt idx="7164">
                  <c:v>50.388-50.395</c:v>
                </c:pt>
                <c:pt idx="7165">
                  <c:v>50.395-50.402</c:v>
                </c:pt>
                <c:pt idx="7166">
                  <c:v>50.402-50.409</c:v>
                </c:pt>
                <c:pt idx="7167">
                  <c:v>50.409-50.416</c:v>
                </c:pt>
                <c:pt idx="7168">
                  <c:v>50.416-50.423</c:v>
                </c:pt>
                <c:pt idx="7169">
                  <c:v>50.423-50.430</c:v>
                </c:pt>
                <c:pt idx="7170">
                  <c:v>50.430-50.437</c:v>
                </c:pt>
                <c:pt idx="7171">
                  <c:v>50.437-50.444</c:v>
                </c:pt>
                <c:pt idx="7172">
                  <c:v>50.444-50.451</c:v>
                </c:pt>
                <c:pt idx="7173">
                  <c:v>50.451-50.458</c:v>
                </c:pt>
                <c:pt idx="7174">
                  <c:v>50.458-50.465</c:v>
                </c:pt>
                <c:pt idx="7175">
                  <c:v>50.465-50.472</c:v>
                </c:pt>
                <c:pt idx="7176">
                  <c:v>50.472-50.479</c:v>
                </c:pt>
                <c:pt idx="7177">
                  <c:v>50.479-50.486</c:v>
                </c:pt>
                <c:pt idx="7178">
                  <c:v>50.486-50.493</c:v>
                </c:pt>
                <c:pt idx="7179">
                  <c:v>50.493-50.500</c:v>
                </c:pt>
                <c:pt idx="7180">
                  <c:v>50.500-50.507</c:v>
                </c:pt>
                <c:pt idx="7181">
                  <c:v>50.507-50.514</c:v>
                </c:pt>
                <c:pt idx="7182">
                  <c:v>50.514-50.521</c:v>
                </c:pt>
                <c:pt idx="7183">
                  <c:v>50.521-50.528</c:v>
                </c:pt>
                <c:pt idx="7184">
                  <c:v>50.528-50.535</c:v>
                </c:pt>
                <c:pt idx="7185">
                  <c:v>50.535-50.542</c:v>
                </c:pt>
                <c:pt idx="7186">
                  <c:v>50.542-50.549</c:v>
                </c:pt>
                <c:pt idx="7187">
                  <c:v>50.549-50.556</c:v>
                </c:pt>
                <c:pt idx="7188">
                  <c:v>50.556-50.563</c:v>
                </c:pt>
                <c:pt idx="7189">
                  <c:v>50.563-50.571</c:v>
                </c:pt>
                <c:pt idx="7190">
                  <c:v>50.571-50.578</c:v>
                </c:pt>
                <c:pt idx="7191">
                  <c:v>50.578-50.585</c:v>
                </c:pt>
                <c:pt idx="7192">
                  <c:v>50.585-50.592</c:v>
                </c:pt>
                <c:pt idx="7193">
                  <c:v>50.592-50.599</c:v>
                </c:pt>
                <c:pt idx="7194">
                  <c:v>50.599-50.606</c:v>
                </c:pt>
                <c:pt idx="7195">
                  <c:v>50.606-50.613</c:v>
                </c:pt>
                <c:pt idx="7196">
                  <c:v>50.613-50.620</c:v>
                </c:pt>
                <c:pt idx="7197">
                  <c:v>50.620-50.627</c:v>
                </c:pt>
                <c:pt idx="7198">
                  <c:v>50.627-50.634</c:v>
                </c:pt>
                <c:pt idx="7199">
                  <c:v>50.634-50.641</c:v>
                </c:pt>
                <c:pt idx="7200">
                  <c:v>50.641-50.648</c:v>
                </c:pt>
                <c:pt idx="7201">
                  <c:v>50.648-50.655</c:v>
                </c:pt>
                <c:pt idx="7202">
                  <c:v>50.655-50.662</c:v>
                </c:pt>
                <c:pt idx="7203">
                  <c:v>50.662-50.669</c:v>
                </c:pt>
                <c:pt idx="7204">
                  <c:v>50.669-50.676</c:v>
                </c:pt>
                <c:pt idx="7205">
                  <c:v>50.676-50.683</c:v>
                </c:pt>
                <c:pt idx="7206">
                  <c:v>50.683-50.690</c:v>
                </c:pt>
                <c:pt idx="7207">
                  <c:v>50.690-50.697</c:v>
                </c:pt>
                <c:pt idx="7208">
                  <c:v>50.697-50.704</c:v>
                </c:pt>
                <c:pt idx="7209">
                  <c:v>50.704-50.711</c:v>
                </c:pt>
                <c:pt idx="7210">
                  <c:v>50.711-50.718</c:v>
                </c:pt>
                <c:pt idx="7211">
                  <c:v>50.718-50.725</c:v>
                </c:pt>
                <c:pt idx="7212">
                  <c:v>50.725-50.732</c:v>
                </c:pt>
                <c:pt idx="7213">
                  <c:v>50.732-50.739</c:v>
                </c:pt>
                <c:pt idx="7214">
                  <c:v>50.739-50.746</c:v>
                </c:pt>
                <c:pt idx="7215">
                  <c:v>50.746-50.753</c:v>
                </c:pt>
                <c:pt idx="7216">
                  <c:v>50.753-50.760</c:v>
                </c:pt>
                <c:pt idx="7217">
                  <c:v>50.760-50.767</c:v>
                </c:pt>
                <c:pt idx="7218">
                  <c:v>50.767-50.774</c:v>
                </c:pt>
                <c:pt idx="7219">
                  <c:v>50.774-50.781</c:v>
                </c:pt>
                <c:pt idx="7220">
                  <c:v>50.781-50.789</c:v>
                </c:pt>
                <c:pt idx="7221">
                  <c:v>50.789-50.796</c:v>
                </c:pt>
                <c:pt idx="7222">
                  <c:v>50.796-50.803</c:v>
                </c:pt>
                <c:pt idx="7223">
                  <c:v>50.803-50.810</c:v>
                </c:pt>
                <c:pt idx="7224">
                  <c:v>50.810-50.817</c:v>
                </c:pt>
                <c:pt idx="7225">
                  <c:v>50.817-50.824</c:v>
                </c:pt>
                <c:pt idx="7226">
                  <c:v>50.824-50.831</c:v>
                </c:pt>
                <c:pt idx="7227">
                  <c:v>50.831-50.838</c:v>
                </c:pt>
                <c:pt idx="7228">
                  <c:v>50.838-50.845</c:v>
                </c:pt>
                <c:pt idx="7229">
                  <c:v>50.845-50.852</c:v>
                </c:pt>
                <c:pt idx="7230">
                  <c:v>50.852-50.859</c:v>
                </c:pt>
                <c:pt idx="7231">
                  <c:v>50.859-50.866</c:v>
                </c:pt>
                <c:pt idx="7232">
                  <c:v>50.866-50.873</c:v>
                </c:pt>
                <c:pt idx="7233">
                  <c:v>50.873-50.880</c:v>
                </c:pt>
                <c:pt idx="7234">
                  <c:v>50.880-50.887</c:v>
                </c:pt>
                <c:pt idx="7235">
                  <c:v>50.887-50.894</c:v>
                </c:pt>
                <c:pt idx="7236">
                  <c:v>50.894-50.901</c:v>
                </c:pt>
                <c:pt idx="7237">
                  <c:v>50.901-50.908</c:v>
                </c:pt>
                <c:pt idx="7238">
                  <c:v>50.908-50.915</c:v>
                </c:pt>
                <c:pt idx="7239">
                  <c:v>50.915-50.922</c:v>
                </c:pt>
                <c:pt idx="7240">
                  <c:v>50.922-50.929</c:v>
                </c:pt>
                <c:pt idx="7241">
                  <c:v>50.929-50.936</c:v>
                </c:pt>
                <c:pt idx="7242">
                  <c:v>50.936-50.943</c:v>
                </c:pt>
                <c:pt idx="7243">
                  <c:v>50.943-50.950</c:v>
                </c:pt>
                <c:pt idx="7244">
                  <c:v>50.950-50.957</c:v>
                </c:pt>
                <c:pt idx="7245">
                  <c:v>50.957-50.964</c:v>
                </c:pt>
                <c:pt idx="7246">
                  <c:v>50.964-50.971</c:v>
                </c:pt>
                <c:pt idx="7247">
                  <c:v>50.971-50.978</c:v>
                </c:pt>
                <c:pt idx="7248">
                  <c:v>50.978-50.985</c:v>
                </c:pt>
                <c:pt idx="7249">
                  <c:v>50.985-50.992</c:v>
                </c:pt>
                <c:pt idx="7250">
                  <c:v>50.992-50.999</c:v>
                </c:pt>
                <c:pt idx="7251">
                  <c:v>50.999-51.007</c:v>
                </c:pt>
                <c:pt idx="7252">
                  <c:v>51.007-51.014</c:v>
                </c:pt>
                <c:pt idx="7253">
                  <c:v>51.014-51.021</c:v>
                </c:pt>
                <c:pt idx="7254">
                  <c:v>51.021-51.028</c:v>
                </c:pt>
                <c:pt idx="7255">
                  <c:v>51.028-51.035</c:v>
                </c:pt>
                <c:pt idx="7256">
                  <c:v>51.035-51.042</c:v>
                </c:pt>
                <c:pt idx="7257">
                  <c:v>51.042-51.049</c:v>
                </c:pt>
                <c:pt idx="7258">
                  <c:v>51.049-51.056</c:v>
                </c:pt>
                <c:pt idx="7259">
                  <c:v>51.056-51.063</c:v>
                </c:pt>
                <c:pt idx="7260">
                  <c:v>51.063-51.070</c:v>
                </c:pt>
                <c:pt idx="7261">
                  <c:v>51.070-51.077</c:v>
                </c:pt>
                <c:pt idx="7262">
                  <c:v>51.077-51.084</c:v>
                </c:pt>
                <c:pt idx="7263">
                  <c:v>51.084-51.091</c:v>
                </c:pt>
                <c:pt idx="7264">
                  <c:v>51.091-51.098</c:v>
                </c:pt>
                <c:pt idx="7265">
                  <c:v>51.098-51.105</c:v>
                </c:pt>
                <c:pt idx="7266">
                  <c:v>51.105-51.112</c:v>
                </c:pt>
                <c:pt idx="7267">
                  <c:v>51.112-51.119</c:v>
                </c:pt>
                <c:pt idx="7268">
                  <c:v>51.119-51.126</c:v>
                </c:pt>
                <c:pt idx="7269">
                  <c:v>51.126-51.133</c:v>
                </c:pt>
                <c:pt idx="7270">
                  <c:v>51.133-51.140</c:v>
                </c:pt>
                <c:pt idx="7271">
                  <c:v>51.140-51.147</c:v>
                </c:pt>
                <c:pt idx="7272">
                  <c:v>51.147-51.154</c:v>
                </c:pt>
                <c:pt idx="7273">
                  <c:v>51.154-51.161</c:v>
                </c:pt>
                <c:pt idx="7274">
                  <c:v>51.161-51.168</c:v>
                </c:pt>
                <c:pt idx="7275">
                  <c:v>51.168-51.175</c:v>
                </c:pt>
                <c:pt idx="7276">
                  <c:v>51.175-51.182</c:v>
                </c:pt>
                <c:pt idx="7277">
                  <c:v>51.182-51.189</c:v>
                </c:pt>
                <c:pt idx="7278">
                  <c:v>51.189-51.196</c:v>
                </c:pt>
                <c:pt idx="7279">
                  <c:v>51.196-51.203</c:v>
                </c:pt>
                <c:pt idx="7280">
                  <c:v>51.203-51.210</c:v>
                </c:pt>
                <c:pt idx="7281">
                  <c:v>51.210-51.217</c:v>
                </c:pt>
                <c:pt idx="7282">
                  <c:v>51.217-51.225</c:v>
                </c:pt>
                <c:pt idx="7283">
                  <c:v>51.225-51.232</c:v>
                </c:pt>
                <c:pt idx="7284">
                  <c:v>51.232-51.239</c:v>
                </c:pt>
                <c:pt idx="7285">
                  <c:v>51.239-51.246</c:v>
                </c:pt>
                <c:pt idx="7286">
                  <c:v>51.246-51.253</c:v>
                </c:pt>
                <c:pt idx="7287">
                  <c:v>51.253-51.260</c:v>
                </c:pt>
                <c:pt idx="7288">
                  <c:v>51.260-51.267</c:v>
                </c:pt>
                <c:pt idx="7289">
                  <c:v>51.267-51.274</c:v>
                </c:pt>
                <c:pt idx="7290">
                  <c:v>51.274-51.281</c:v>
                </c:pt>
                <c:pt idx="7291">
                  <c:v>51.281-51.288</c:v>
                </c:pt>
                <c:pt idx="7292">
                  <c:v>51.288-51.295</c:v>
                </c:pt>
                <c:pt idx="7293">
                  <c:v>51.295-51.302</c:v>
                </c:pt>
                <c:pt idx="7294">
                  <c:v>51.302-51.309</c:v>
                </c:pt>
                <c:pt idx="7295">
                  <c:v>51.309-51.316</c:v>
                </c:pt>
                <c:pt idx="7296">
                  <c:v>51.316-51.323</c:v>
                </c:pt>
                <c:pt idx="7297">
                  <c:v>51.323-51.330</c:v>
                </c:pt>
                <c:pt idx="7298">
                  <c:v>51.330-51.337</c:v>
                </c:pt>
                <c:pt idx="7299">
                  <c:v>51.337-51.344</c:v>
                </c:pt>
                <c:pt idx="7300">
                  <c:v>51.344-51.351</c:v>
                </c:pt>
                <c:pt idx="7301">
                  <c:v>51.351-51.358</c:v>
                </c:pt>
                <c:pt idx="7302">
                  <c:v>51.358-51.365</c:v>
                </c:pt>
                <c:pt idx="7303">
                  <c:v>51.365-51.372</c:v>
                </c:pt>
                <c:pt idx="7304">
                  <c:v>51.372-51.379</c:v>
                </c:pt>
                <c:pt idx="7305">
                  <c:v>51.379-51.386</c:v>
                </c:pt>
                <c:pt idx="7306">
                  <c:v>51.386-51.393</c:v>
                </c:pt>
                <c:pt idx="7307">
                  <c:v>51.393-51.400</c:v>
                </c:pt>
                <c:pt idx="7308">
                  <c:v>51.400-51.407</c:v>
                </c:pt>
                <c:pt idx="7309">
                  <c:v>51.407-51.414</c:v>
                </c:pt>
                <c:pt idx="7310">
                  <c:v>51.414-51.421</c:v>
                </c:pt>
                <c:pt idx="7311">
                  <c:v>51.421-51.428</c:v>
                </c:pt>
                <c:pt idx="7312">
                  <c:v>51.428-51.435</c:v>
                </c:pt>
                <c:pt idx="7313">
                  <c:v>51.435-51.443</c:v>
                </c:pt>
                <c:pt idx="7314">
                  <c:v>51.443-51.450</c:v>
                </c:pt>
                <c:pt idx="7315">
                  <c:v>51.450-51.457</c:v>
                </c:pt>
                <c:pt idx="7316">
                  <c:v>51.457-51.464</c:v>
                </c:pt>
                <c:pt idx="7317">
                  <c:v>51.464-51.471</c:v>
                </c:pt>
                <c:pt idx="7318">
                  <c:v>51.471-51.478</c:v>
                </c:pt>
                <c:pt idx="7319">
                  <c:v>51.478-51.485</c:v>
                </c:pt>
                <c:pt idx="7320">
                  <c:v>51.485-51.492</c:v>
                </c:pt>
                <c:pt idx="7321">
                  <c:v>51.492-51.499</c:v>
                </c:pt>
                <c:pt idx="7322">
                  <c:v>51.499-51.506</c:v>
                </c:pt>
                <c:pt idx="7323">
                  <c:v>51.506-51.513</c:v>
                </c:pt>
                <c:pt idx="7324">
                  <c:v>51.513-51.520</c:v>
                </c:pt>
                <c:pt idx="7325">
                  <c:v>51.520-51.527</c:v>
                </c:pt>
                <c:pt idx="7326">
                  <c:v>51.527-51.534</c:v>
                </c:pt>
                <c:pt idx="7327">
                  <c:v>51.534-51.541</c:v>
                </c:pt>
                <c:pt idx="7328">
                  <c:v>51.541-51.548</c:v>
                </c:pt>
                <c:pt idx="7329">
                  <c:v>51.548-51.555</c:v>
                </c:pt>
                <c:pt idx="7330">
                  <c:v>51.555-51.562</c:v>
                </c:pt>
                <c:pt idx="7331">
                  <c:v>51.562-51.569</c:v>
                </c:pt>
                <c:pt idx="7332">
                  <c:v>51.569-51.576</c:v>
                </c:pt>
                <c:pt idx="7333">
                  <c:v>51.576-51.583</c:v>
                </c:pt>
                <c:pt idx="7334">
                  <c:v>51.583-51.590</c:v>
                </c:pt>
                <c:pt idx="7335">
                  <c:v>51.590-51.597</c:v>
                </c:pt>
                <c:pt idx="7336">
                  <c:v>51.597-51.604</c:v>
                </c:pt>
                <c:pt idx="7337">
                  <c:v>51.604-51.611</c:v>
                </c:pt>
                <c:pt idx="7338">
                  <c:v>51.611-51.618</c:v>
                </c:pt>
                <c:pt idx="7339">
                  <c:v>51.618-51.625</c:v>
                </c:pt>
                <c:pt idx="7340">
                  <c:v>51.625-51.632</c:v>
                </c:pt>
                <c:pt idx="7341">
                  <c:v>51.632-51.639</c:v>
                </c:pt>
                <c:pt idx="7342">
                  <c:v>51.639-51.646</c:v>
                </c:pt>
                <c:pt idx="7343">
                  <c:v>51.646-51.653</c:v>
                </c:pt>
                <c:pt idx="7344">
                  <c:v>51.653-51.661</c:v>
                </c:pt>
                <c:pt idx="7345">
                  <c:v>51.661-51.668</c:v>
                </c:pt>
                <c:pt idx="7346">
                  <c:v>51.668-51.675</c:v>
                </c:pt>
                <c:pt idx="7347">
                  <c:v>51.675-51.682</c:v>
                </c:pt>
                <c:pt idx="7348">
                  <c:v>51.682-51.689</c:v>
                </c:pt>
                <c:pt idx="7349">
                  <c:v>51.689-51.696</c:v>
                </c:pt>
                <c:pt idx="7350">
                  <c:v>51.696-51.703</c:v>
                </c:pt>
                <c:pt idx="7351">
                  <c:v>51.703-51.710</c:v>
                </c:pt>
                <c:pt idx="7352">
                  <c:v>51.710-51.717</c:v>
                </c:pt>
                <c:pt idx="7353">
                  <c:v>51.717-51.724</c:v>
                </c:pt>
                <c:pt idx="7354">
                  <c:v>51.724-51.731</c:v>
                </c:pt>
                <c:pt idx="7355">
                  <c:v>51.731-51.738</c:v>
                </c:pt>
                <c:pt idx="7356">
                  <c:v>51.738-51.745</c:v>
                </c:pt>
                <c:pt idx="7357">
                  <c:v>51.745-51.752</c:v>
                </c:pt>
                <c:pt idx="7358">
                  <c:v>51.752-51.759</c:v>
                </c:pt>
                <c:pt idx="7359">
                  <c:v>51.759-51.766</c:v>
                </c:pt>
                <c:pt idx="7360">
                  <c:v>51.766-51.773</c:v>
                </c:pt>
                <c:pt idx="7361">
                  <c:v>51.773-51.780</c:v>
                </c:pt>
                <c:pt idx="7362">
                  <c:v>51.780-51.787</c:v>
                </c:pt>
                <c:pt idx="7363">
                  <c:v>51.787-51.794</c:v>
                </c:pt>
                <c:pt idx="7364">
                  <c:v>51.794-51.801</c:v>
                </c:pt>
                <c:pt idx="7365">
                  <c:v>51.801-51.808</c:v>
                </c:pt>
                <c:pt idx="7366">
                  <c:v>51.808-51.815</c:v>
                </c:pt>
                <c:pt idx="7367">
                  <c:v>51.815-51.822</c:v>
                </c:pt>
                <c:pt idx="7368">
                  <c:v>51.822-51.829</c:v>
                </c:pt>
                <c:pt idx="7369">
                  <c:v>51.829-51.836</c:v>
                </c:pt>
                <c:pt idx="7370">
                  <c:v>51.836-51.843</c:v>
                </c:pt>
                <c:pt idx="7371">
                  <c:v>51.843-51.850</c:v>
                </c:pt>
                <c:pt idx="7372">
                  <c:v>51.850-51.857</c:v>
                </c:pt>
                <c:pt idx="7373">
                  <c:v>51.857-51.864</c:v>
                </c:pt>
                <c:pt idx="7374">
                  <c:v>51.864-51.871</c:v>
                </c:pt>
                <c:pt idx="7375">
                  <c:v>51.871-51.879</c:v>
                </c:pt>
                <c:pt idx="7376">
                  <c:v>51.879-51.886</c:v>
                </c:pt>
                <c:pt idx="7377">
                  <c:v>51.886-51.893</c:v>
                </c:pt>
                <c:pt idx="7378">
                  <c:v>51.893-51.900</c:v>
                </c:pt>
                <c:pt idx="7379">
                  <c:v>51.900-51.907</c:v>
                </c:pt>
                <c:pt idx="7380">
                  <c:v>51.907-51.914</c:v>
                </c:pt>
                <c:pt idx="7381">
                  <c:v>51.914-51.921</c:v>
                </c:pt>
                <c:pt idx="7382">
                  <c:v>51.921-51.928</c:v>
                </c:pt>
                <c:pt idx="7383">
                  <c:v>51.928-51.935</c:v>
                </c:pt>
                <c:pt idx="7384">
                  <c:v>51.935-51.942</c:v>
                </c:pt>
                <c:pt idx="7385">
                  <c:v>51.942-51.949</c:v>
                </c:pt>
                <c:pt idx="7386">
                  <c:v>51.949-51.956</c:v>
                </c:pt>
                <c:pt idx="7387">
                  <c:v>51.956-51.963</c:v>
                </c:pt>
                <c:pt idx="7388">
                  <c:v>51.963-51.970</c:v>
                </c:pt>
                <c:pt idx="7389">
                  <c:v>51.970-51.977</c:v>
                </c:pt>
                <c:pt idx="7390">
                  <c:v>51.977-51.984</c:v>
                </c:pt>
                <c:pt idx="7391">
                  <c:v>51.984-51.991</c:v>
                </c:pt>
                <c:pt idx="7392">
                  <c:v>51.991-51.998</c:v>
                </c:pt>
                <c:pt idx="7393">
                  <c:v>51.998-52.005</c:v>
                </c:pt>
                <c:pt idx="7394">
                  <c:v>52.005-52.012</c:v>
                </c:pt>
                <c:pt idx="7395">
                  <c:v>52.012-52.019</c:v>
                </c:pt>
                <c:pt idx="7396">
                  <c:v>52.019-52.026</c:v>
                </c:pt>
                <c:pt idx="7397">
                  <c:v>52.026-52.033</c:v>
                </c:pt>
                <c:pt idx="7398">
                  <c:v>52.033-52.040</c:v>
                </c:pt>
                <c:pt idx="7399">
                  <c:v>52.040-52.047</c:v>
                </c:pt>
                <c:pt idx="7400">
                  <c:v>52.047-52.054</c:v>
                </c:pt>
                <c:pt idx="7401">
                  <c:v>52.054-52.061</c:v>
                </c:pt>
                <c:pt idx="7402">
                  <c:v>52.061-52.068</c:v>
                </c:pt>
                <c:pt idx="7403">
                  <c:v>52.068-52.075</c:v>
                </c:pt>
                <c:pt idx="7404">
                  <c:v>52.075-52.082</c:v>
                </c:pt>
                <c:pt idx="7405">
                  <c:v>52.082-52.089</c:v>
                </c:pt>
                <c:pt idx="7406">
                  <c:v>52.089-52.097</c:v>
                </c:pt>
                <c:pt idx="7407">
                  <c:v>52.097-52.104</c:v>
                </c:pt>
                <c:pt idx="7408">
                  <c:v>52.104-52.111</c:v>
                </c:pt>
                <c:pt idx="7409">
                  <c:v>52.111-52.118</c:v>
                </c:pt>
                <c:pt idx="7410">
                  <c:v>52.118-52.125</c:v>
                </c:pt>
                <c:pt idx="7411">
                  <c:v>52.125-52.132</c:v>
                </c:pt>
                <c:pt idx="7412">
                  <c:v>52.132-52.139</c:v>
                </c:pt>
                <c:pt idx="7413">
                  <c:v>52.139-52.146</c:v>
                </c:pt>
                <c:pt idx="7414">
                  <c:v>52.146-52.153</c:v>
                </c:pt>
                <c:pt idx="7415">
                  <c:v>52.153-52.160</c:v>
                </c:pt>
                <c:pt idx="7416">
                  <c:v>52.160-52.167</c:v>
                </c:pt>
                <c:pt idx="7417">
                  <c:v>52.167-52.174</c:v>
                </c:pt>
                <c:pt idx="7418">
                  <c:v>52.174-52.181</c:v>
                </c:pt>
                <c:pt idx="7419">
                  <c:v>52.181-52.188</c:v>
                </c:pt>
                <c:pt idx="7420">
                  <c:v>52.188-52.195</c:v>
                </c:pt>
                <c:pt idx="7421">
                  <c:v>52.195-52.202</c:v>
                </c:pt>
                <c:pt idx="7422">
                  <c:v>52.202-52.209</c:v>
                </c:pt>
                <c:pt idx="7423">
                  <c:v>52.209-52.216</c:v>
                </c:pt>
                <c:pt idx="7424">
                  <c:v>52.216-52.223</c:v>
                </c:pt>
                <c:pt idx="7425">
                  <c:v>52.223-52.230</c:v>
                </c:pt>
                <c:pt idx="7426">
                  <c:v>52.230-52.237</c:v>
                </c:pt>
                <c:pt idx="7427">
                  <c:v>52.237-52.244</c:v>
                </c:pt>
                <c:pt idx="7428">
                  <c:v>52.244-52.251</c:v>
                </c:pt>
                <c:pt idx="7429">
                  <c:v>52.251-52.258</c:v>
                </c:pt>
                <c:pt idx="7430">
                  <c:v>52.258-52.265</c:v>
                </c:pt>
                <c:pt idx="7431">
                  <c:v>52.265-52.272</c:v>
                </c:pt>
                <c:pt idx="7432">
                  <c:v>52.272-52.279</c:v>
                </c:pt>
                <c:pt idx="7433">
                  <c:v>52.279-52.286</c:v>
                </c:pt>
                <c:pt idx="7434">
                  <c:v>52.286-52.293</c:v>
                </c:pt>
                <c:pt idx="7435">
                  <c:v>52.293-52.300</c:v>
                </c:pt>
                <c:pt idx="7436">
                  <c:v>52.300-52.307</c:v>
                </c:pt>
                <c:pt idx="7437">
                  <c:v>52.307-52.315</c:v>
                </c:pt>
                <c:pt idx="7438">
                  <c:v>52.315-52.322</c:v>
                </c:pt>
                <c:pt idx="7439">
                  <c:v>52.322-52.329</c:v>
                </c:pt>
                <c:pt idx="7440">
                  <c:v>52.329-52.336</c:v>
                </c:pt>
                <c:pt idx="7441">
                  <c:v>52.336-52.343</c:v>
                </c:pt>
                <c:pt idx="7442">
                  <c:v>52.343-52.350</c:v>
                </c:pt>
                <c:pt idx="7443">
                  <c:v>52.350-52.357</c:v>
                </c:pt>
                <c:pt idx="7444">
                  <c:v>52.357-52.364</c:v>
                </c:pt>
                <c:pt idx="7445">
                  <c:v>52.364-52.371</c:v>
                </c:pt>
                <c:pt idx="7446">
                  <c:v>52.371-52.378</c:v>
                </c:pt>
                <c:pt idx="7447">
                  <c:v>52.378-52.385</c:v>
                </c:pt>
                <c:pt idx="7448">
                  <c:v>52.385-52.392</c:v>
                </c:pt>
                <c:pt idx="7449">
                  <c:v>52.392-52.399</c:v>
                </c:pt>
                <c:pt idx="7450">
                  <c:v>52.399-52.406</c:v>
                </c:pt>
                <c:pt idx="7451">
                  <c:v>52.406-52.413</c:v>
                </c:pt>
                <c:pt idx="7452">
                  <c:v>52.413-52.420</c:v>
                </c:pt>
                <c:pt idx="7453">
                  <c:v>52.420-52.427</c:v>
                </c:pt>
                <c:pt idx="7454">
                  <c:v>52.427-52.434</c:v>
                </c:pt>
                <c:pt idx="7455">
                  <c:v>52.434-52.441</c:v>
                </c:pt>
                <c:pt idx="7456">
                  <c:v>52.441-52.448</c:v>
                </c:pt>
                <c:pt idx="7457">
                  <c:v>52.448-52.455</c:v>
                </c:pt>
                <c:pt idx="7458">
                  <c:v>52.455-52.462</c:v>
                </c:pt>
                <c:pt idx="7459">
                  <c:v>52.462-52.469</c:v>
                </c:pt>
                <c:pt idx="7460">
                  <c:v>52.469-52.476</c:v>
                </c:pt>
                <c:pt idx="7461">
                  <c:v>52.476-52.483</c:v>
                </c:pt>
                <c:pt idx="7462">
                  <c:v>52.483-52.490</c:v>
                </c:pt>
                <c:pt idx="7463">
                  <c:v>52.490-52.497</c:v>
                </c:pt>
                <c:pt idx="7464">
                  <c:v>52.497-52.504</c:v>
                </c:pt>
                <c:pt idx="7465">
                  <c:v>52.504-52.511</c:v>
                </c:pt>
                <c:pt idx="7466">
                  <c:v>52.511-52.518</c:v>
                </c:pt>
                <c:pt idx="7467">
                  <c:v>52.518-52.525</c:v>
                </c:pt>
                <c:pt idx="7468">
                  <c:v>52.525-52.533</c:v>
                </c:pt>
                <c:pt idx="7469">
                  <c:v>52.533-52.540</c:v>
                </c:pt>
                <c:pt idx="7470">
                  <c:v>52.540-52.547</c:v>
                </c:pt>
                <c:pt idx="7471">
                  <c:v>52.547-52.554</c:v>
                </c:pt>
                <c:pt idx="7472">
                  <c:v>52.554-52.561</c:v>
                </c:pt>
                <c:pt idx="7473">
                  <c:v>52.561-52.568</c:v>
                </c:pt>
                <c:pt idx="7474">
                  <c:v>52.568-52.575</c:v>
                </c:pt>
                <c:pt idx="7475">
                  <c:v>52.575-52.582</c:v>
                </c:pt>
                <c:pt idx="7476">
                  <c:v>52.582-52.589</c:v>
                </c:pt>
                <c:pt idx="7477">
                  <c:v>52.589-52.596</c:v>
                </c:pt>
                <c:pt idx="7478">
                  <c:v>52.596-52.603</c:v>
                </c:pt>
                <c:pt idx="7479">
                  <c:v>52.603-52.610</c:v>
                </c:pt>
                <c:pt idx="7480">
                  <c:v>52.610-52.617</c:v>
                </c:pt>
                <c:pt idx="7481">
                  <c:v>52.617-52.624</c:v>
                </c:pt>
                <c:pt idx="7482">
                  <c:v>52.624-52.631</c:v>
                </c:pt>
                <c:pt idx="7483">
                  <c:v>52.631-52.638</c:v>
                </c:pt>
                <c:pt idx="7484">
                  <c:v>52.638-52.645</c:v>
                </c:pt>
                <c:pt idx="7485">
                  <c:v>52.645-52.652</c:v>
                </c:pt>
                <c:pt idx="7486">
                  <c:v>52.652-52.659</c:v>
                </c:pt>
                <c:pt idx="7487">
                  <c:v>52.659-52.666</c:v>
                </c:pt>
                <c:pt idx="7488">
                  <c:v>52.666-52.673</c:v>
                </c:pt>
                <c:pt idx="7489">
                  <c:v>52.673-52.680</c:v>
                </c:pt>
                <c:pt idx="7490">
                  <c:v>52.680-52.687</c:v>
                </c:pt>
                <c:pt idx="7491">
                  <c:v>52.687-52.694</c:v>
                </c:pt>
                <c:pt idx="7492">
                  <c:v>52.694-52.701</c:v>
                </c:pt>
                <c:pt idx="7493">
                  <c:v>52.701-52.708</c:v>
                </c:pt>
                <c:pt idx="7494">
                  <c:v>52.708-52.715</c:v>
                </c:pt>
                <c:pt idx="7495">
                  <c:v>52.715-52.722</c:v>
                </c:pt>
                <c:pt idx="7496">
                  <c:v>52.722-52.729</c:v>
                </c:pt>
                <c:pt idx="7497">
                  <c:v>52.729-52.736</c:v>
                </c:pt>
                <c:pt idx="7498">
                  <c:v>52.736-52.743</c:v>
                </c:pt>
                <c:pt idx="7499">
                  <c:v>52.743-52.751</c:v>
                </c:pt>
                <c:pt idx="7500">
                  <c:v>52.751-52.758</c:v>
                </c:pt>
                <c:pt idx="7501">
                  <c:v>52.758-52.765</c:v>
                </c:pt>
                <c:pt idx="7502">
                  <c:v>52.765-52.772</c:v>
                </c:pt>
                <c:pt idx="7503">
                  <c:v>52.772-52.779</c:v>
                </c:pt>
                <c:pt idx="7504">
                  <c:v>52.779-52.786</c:v>
                </c:pt>
                <c:pt idx="7505">
                  <c:v>52.786-52.793</c:v>
                </c:pt>
                <c:pt idx="7506">
                  <c:v>52.793-52.800</c:v>
                </c:pt>
                <c:pt idx="7507">
                  <c:v>52.800-52.807</c:v>
                </c:pt>
                <c:pt idx="7508">
                  <c:v>52.807-52.814</c:v>
                </c:pt>
                <c:pt idx="7509">
                  <c:v>52.814-52.821</c:v>
                </c:pt>
                <c:pt idx="7510">
                  <c:v>52.821-52.828</c:v>
                </c:pt>
                <c:pt idx="7511">
                  <c:v>52.828-52.835</c:v>
                </c:pt>
                <c:pt idx="7512">
                  <c:v>52.835-52.842</c:v>
                </c:pt>
                <c:pt idx="7513">
                  <c:v>52.842-52.849</c:v>
                </c:pt>
                <c:pt idx="7514">
                  <c:v>52.849-52.856</c:v>
                </c:pt>
                <c:pt idx="7515">
                  <c:v>52.856-52.863</c:v>
                </c:pt>
                <c:pt idx="7516">
                  <c:v>52.863-52.870</c:v>
                </c:pt>
                <c:pt idx="7517">
                  <c:v>52.870-52.877</c:v>
                </c:pt>
                <c:pt idx="7518">
                  <c:v>52.877-52.884</c:v>
                </c:pt>
                <c:pt idx="7519">
                  <c:v>52.884-52.891</c:v>
                </c:pt>
                <c:pt idx="7520">
                  <c:v>52.891-52.898</c:v>
                </c:pt>
                <c:pt idx="7521">
                  <c:v>52.898-52.905</c:v>
                </c:pt>
                <c:pt idx="7522">
                  <c:v>52.905-52.912</c:v>
                </c:pt>
                <c:pt idx="7523">
                  <c:v>52.912-52.919</c:v>
                </c:pt>
                <c:pt idx="7524">
                  <c:v>52.919-52.926</c:v>
                </c:pt>
                <c:pt idx="7525">
                  <c:v>52.926-52.933</c:v>
                </c:pt>
                <c:pt idx="7526">
                  <c:v>52.933-52.940</c:v>
                </c:pt>
                <c:pt idx="7527">
                  <c:v>52.940-52.947</c:v>
                </c:pt>
                <c:pt idx="7528">
                  <c:v>52.947-52.954</c:v>
                </c:pt>
                <c:pt idx="7529">
                  <c:v>52.954-52.961</c:v>
                </c:pt>
                <c:pt idx="7530">
                  <c:v>52.961-52.968</c:v>
                </c:pt>
                <c:pt idx="7531">
                  <c:v>52.968-52.976</c:v>
                </c:pt>
                <c:pt idx="7532">
                  <c:v>52.976-52.983</c:v>
                </c:pt>
                <c:pt idx="7533">
                  <c:v>52.983-52.990</c:v>
                </c:pt>
                <c:pt idx="7534">
                  <c:v>52.990-52.997</c:v>
                </c:pt>
                <c:pt idx="7535">
                  <c:v>52.997-53.004</c:v>
                </c:pt>
                <c:pt idx="7536">
                  <c:v>53.004-53.011</c:v>
                </c:pt>
                <c:pt idx="7537">
                  <c:v>53.011-53.018</c:v>
                </c:pt>
                <c:pt idx="7538">
                  <c:v>53.018-53.025</c:v>
                </c:pt>
                <c:pt idx="7539">
                  <c:v>53.025-53.032</c:v>
                </c:pt>
                <c:pt idx="7540">
                  <c:v>53.032-53.039</c:v>
                </c:pt>
                <c:pt idx="7541">
                  <c:v>53.039-53.046</c:v>
                </c:pt>
                <c:pt idx="7542">
                  <c:v>53.046-53.053</c:v>
                </c:pt>
                <c:pt idx="7543">
                  <c:v>53.053-53.060</c:v>
                </c:pt>
                <c:pt idx="7544">
                  <c:v>53.060-53.067</c:v>
                </c:pt>
                <c:pt idx="7545">
                  <c:v>53.067-53.074</c:v>
                </c:pt>
                <c:pt idx="7546">
                  <c:v>53.074-53.081</c:v>
                </c:pt>
                <c:pt idx="7547">
                  <c:v>53.081-53.088</c:v>
                </c:pt>
                <c:pt idx="7548">
                  <c:v>53.088-53.095</c:v>
                </c:pt>
                <c:pt idx="7549">
                  <c:v>53.095-53.102</c:v>
                </c:pt>
                <c:pt idx="7550">
                  <c:v>53.102-53.109</c:v>
                </c:pt>
                <c:pt idx="7551">
                  <c:v>53.109-53.116</c:v>
                </c:pt>
                <c:pt idx="7552">
                  <c:v>53.116-53.123</c:v>
                </c:pt>
                <c:pt idx="7553">
                  <c:v>53.123-53.130</c:v>
                </c:pt>
                <c:pt idx="7554">
                  <c:v>53.130-53.137</c:v>
                </c:pt>
                <c:pt idx="7555">
                  <c:v>53.137-53.144</c:v>
                </c:pt>
                <c:pt idx="7556">
                  <c:v>53.144-53.151</c:v>
                </c:pt>
                <c:pt idx="7557">
                  <c:v>53.151-53.158</c:v>
                </c:pt>
                <c:pt idx="7558">
                  <c:v>53.158-53.165</c:v>
                </c:pt>
                <c:pt idx="7559">
                  <c:v>53.165-53.172</c:v>
                </c:pt>
                <c:pt idx="7560">
                  <c:v>53.172-53.179</c:v>
                </c:pt>
                <c:pt idx="7561">
                  <c:v>53.179-53.186</c:v>
                </c:pt>
                <c:pt idx="7562">
                  <c:v>53.186-53.194</c:v>
                </c:pt>
                <c:pt idx="7563">
                  <c:v>53.194-53.201</c:v>
                </c:pt>
                <c:pt idx="7564">
                  <c:v>53.201-53.208</c:v>
                </c:pt>
                <c:pt idx="7565">
                  <c:v>53.208-53.215</c:v>
                </c:pt>
                <c:pt idx="7566">
                  <c:v>53.215-53.222</c:v>
                </c:pt>
                <c:pt idx="7567">
                  <c:v>53.222-53.229</c:v>
                </c:pt>
                <c:pt idx="7568">
                  <c:v>53.229-53.236</c:v>
                </c:pt>
                <c:pt idx="7569">
                  <c:v>53.236-53.243</c:v>
                </c:pt>
                <c:pt idx="7570">
                  <c:v>53.243-53.250</c:v>
                </c:pt>
                <c:pt idx="7571">
                  <c:v>53.250-53.257</c:v>
                </c:pt>
                <c:pt idx="7572">
                  <c:v>53.257-53.264</c:v>
                </c:pt>
                <c:pt idx="7573">
                  <c:v>53.264-53.271</c:v>
                </c:pt>
                <c:pt idx="7574">
                  <c:v>53.271-53.278</c:v>
                </c:pt>
                <c:pt idx="7575">
                  <c:v>53.278-53.285</c:v>
                </c:pt>
                <c:pt idx="7576">
                  <c:v>53.285-53.292</c:v>
                </c:pt>
                <c:pt idx="7577">
                  <c:v>53.292-53.299</c:v>
                </c:pt>
                <c:pt idx="7578">
                  <c:v>53.299-53.306</c:v>
                </c:pt>
                <c:pt idx="7579">
                  <c:v>53.306-53.313</c:v>
                </c:pt>
                <c:pt idx="7580">
                  <c:v>53.313-53.320</c:v>
                </c:pt>
                <c:pt idx="7581">
                  <c:v>53.320-53.327</c:v>
                </c:pt>
                <c:pt idx="7582">
                  <c:v>53.327-53.334</c:v>
                </c:pt>
                <c:pt idx="7583">
                  <c:v>53.334-53.341</c:v>
                </c:pt>
                <c:pt idx="7584">
                  <c:v>53.341-53.348</c:v>
                </c:pt>
                <c:pt idx="7585">
                  <c:v>53.348-53.355</c:v>
                </c:pt>
                <c:pt idx="7586">
                  <c:v>53.355-53.362</c:v>
                </c:pt>
                <c:pt idx="7587">
                  <c:v>53.362-53.369</c:v>
                </c:pt>
                <c:pt idx="7588">
                  <c:v>53.369-53.376</c:v>
                </c:pt>
                <c:pt idx="7589">
                  <c:v>53.376-53.383</c:v>
                </c:pt>
                <c:pt idx="7590">
                  <c:v>53.383-53.390</c:v>
                </c:pt>
                <c:pt idx="7591">
                  <c:v>53.390-53.397</c:v>
                </c:pt>
                <c:pt idx="7592">
                  <c:v>53.397-53.404</c:v>
                </c:pt>
                <c:pt idx="7593">
                  <c:v>53.404-53.412</c:v>
                </c:pt>
                <c:pt idx="7594">
                  <c:v>53.412-53.419</c:v>
                </c:pt>
                <c:pt idx="7595">
                  <c:v>53.419-53.426</c:v>
                </c:pt>
                <c:pt idx="7596">
                  <c:v>53.426-53.433</c:v>
                </c:pt>
                <c:pt idx="7597">
                  <c:v>53.433-53.440</c:v>
                </c:pt>
                <c:pt idx="7598">
                  <c:v>53.440-53.447</c:v>
                </c:pt>
                <c:pt idx="7599">
                  <c:v>53.447-53.454</c:v>
                </c:pt>
                <c:pt idx="7600">
                  <c:v>53.454-53.461</c:v>
                </c:pt>
                <c:pt idx="7601">
                  <c:v>53.461-53.468</c:v>
                </c:pt>
                <c:pt idx="7602">
                  <c:v>53.468-53.475</c:v>
                </c:pt>
                <c:pt idx="7603">
                  <c:v>53.475-53.482</c:v>
                </c:pt>
                <c:pt idx="7604">
                  <c:v>53.482-53.489</c:v>
                </c:pt>
                <c:pt idx="7605">
                  <c:v>53.489-53.496</c:v>
                </c:pt>
                <c:pt idx="7606">
                  <c:v>53.496-53.503</c:v>
                </c:pt>
                <c:pt idx="7607">
                  <c:v>53.503-53.510</c:v>
                </c:pt>
                <c:pt idx="7608">
                  <c:v>53.510-53.517</c:v>
                </c:pt>
                <c:pt idx="7609">
                  <c:v>53.517-53.524</c:v>
                </c:pt>
                <c:pt idx="7610">
                  <c:v>53.524-53.531</c:v>
                </c:pt>
                <c:pt idx="7611">
                  <c:v>53.531-53.538</c:v>
                </c:pt>
                <c:pt idx="7612">
                  <c:v>53.538-53.545</c:v>
                </c:pt>
                <c:pt idx="7613">
                  <c:v>53.545-53.552</c:v>
                </c:pt>
                <c:pt idx="7614">
                  <c:v>53.552-53.559</c:v>
                </c:pt>
                <c:pt idx="7615">
                  <c:v>53.559-53.566</c:v>
                </c:pt>
                <c:pt idx="7616">
                  <c:v>53.566-53.573</c:v>
                </c:pt>
                <c:pt idx="7617">
                  <c:v>53.573-53.580</c:v>
                </c:pt>
                <c:pt idx="7618">
                  <c:v>53.580-53.587</c:v>
                </c:pt>
                <c:pt idx="7619">
                  <c:v>53.587-53.594</c:v>
                </c:pt>
                <c:pt idx="7620">
                  <c:v>53.594-53.601</c:v>
                </c:pt>
                <c:pt idx="7621">
                  <c:v>53.601-53.608</c:v>
                </c:pt>
                <c:pt idx="7622">
                  <c:v>53.608-53.615</c:v>
                </c:pt>
                <c:pt idx="7623">
                  <c:v>53.615-53.622</c:v>
                </c:pt>
                <c:pt idx="7624">
                  <c:v>53.622-53.630</c:v>
                </c:pt>
                <c:pt idx="7625">
                  <c:v>53.630-53.637</c:v>
                </c:pt>
                <c:pt idx="7626">
                  <c:v>53.637-53.644</c:v>
                </c:pt>
                <c:pt idx="7627">
                  <c:v>53.644-53.651</c:v>
                </c:pt>
                <c:pt idx="7628">
                  <c:v>53.651-53.658</c:v>
                </c:pt>
                <c:pt idx="7629">
                  <c:v>53.658-53.665</c:v>
                </c:pt>
                <c:pt idx="7630">
                  <c:v>53.665-53.672</c:v>
                </c:pt>
                <c:pt idx="7631">
                  <c:v>53.672-53.679</c:v>
                </c:pt>
                <c:pt idx="7632">
                  <c:v>53.679-53.686</c:v>
                </c:pt>
                <c:pt idx="7633">
                  <c:v>53.686-53.693</c:v>
                </c:pt>
                <c:pt idx="7634">
                  <c:v>53.693-53.700</c:v>
                </c:pt>
                <c:pt idx="7635">
                  <c:v>53.700-53.707</c:v>
                </c:pt>
                <c:pt idx="7636">
                  <c:v>53.707-53.714</c:v>
                </c:pt>
                <c:pt idx="7637">
                  <c:v>53.714-53.721</c:v>
                </c:pt>
                <c:pt idx="7638">
                  <c:v>53.721-53.728</c:v>
                </c:pt>
                <c:pt idx="7639">
                  <c:v>53.728-53.735</c:v>
                </c:pt>
                <c:pt idx="7640">
                  <c:v>53.735-53.742</c:v>
                </c:pt>
                <c:pt idx="7641">
                  <c:v>53.742-53.749</c:v>
                </c:pt>
                <c:pt idx="7642">
                  <c:v>53.749-53.756</c:v>
                </c:pt>
                <c:pt idx="7643">
                  <c:v>53.756-53.763</c:v>
                </c:pt>
                <c:pt idx="7644">
                  <c:v>53.763-53.770</c:v>
                </c:pt>
                <c:pt idx="7645">
                  <c:v>53.770-53.777</c:v>
                </c:pt>
                <c:pt idx="7646">
                  <c:v>53.777-53.784</c:v>
                </c:pt>
                <c:pt idx="7647">
                  <c:v>53.784-53.791</c:v>
                </c:pt>
                <c:pt idx="7648">
                  <c:v>53.791-53.798</c:v>
                </c:pt>
                <c:pt idx="7649">
                  <c:v>53.798-53.805</c:v>
                </c:pt>
                <c:pt idx="7650">
                  <c:v>53.805-53.812</c:v>
                </c:pt>
                <c:pt idx="7651">
                  <c:v>53.812-53.819</c:v>
                </c:pt>
                <c:pt idx="7652">
                  <c:v>53.819-53.826</c:v>
                </c:pt>
                <c:pt idx="7653">
                  <c:v>53.826-53.833</c:v>
                </c:pt>
                <c:pt idx="7654">
                  <c:v>53.833-53.840</c:v>
                </c:pt>
                <c:pt idx="7655">
                  <c:v>53.840-53.848</c:v>
                </c:pt>
                <c:pt idx="7656">
                  <c:v>53.848-53.855</c:v>
                </c:pt>
                <c:pt idx="7657">
                  <c:v>53.855-53.862</c:v>
                </c:pt>
                <c:pt idx="7658">
                  <c:v>53.862-53.869</c:v>
                </c:pt>
                <c:pt idx="7659">
                  <c:v>53.869-53.876</c:v>
                </c:pt>
                <c:pt idx="7660">
                  <c:v>53.876-53.883</c:v>
                </c:pt>
                <c:pt idx="7661">
                  <c:v>53.883-53.890</c:v>
                </c:pt>
                <c:pt idx="7662">
                  <c:v>53.890-53.897</c:v>
                </c:pt>
                <c:pt idx="7663">
                  <c:v>53.897-53.904</c:v>
                </c:pt>
                <c:pt idx="7664">
                  <c:v>53.904-53.911</c:v>
                </c:pt>
                <c:pt idx="7665">
                  <c:v>53.911-53.918</c:v>
                </c:pt>
                <c:pt idx="7666">
                  <c:v>53.918-53.925</c:v>
                </c:pt>
                <c:pt idx="7667">
                  <c:v>53.925-53.932</c:v>
                </c:pt>
                <c:pt idx="7668">
                  <c:v>53.932-53.939</c:v>
                </c:pt>
                <c:pt idx="7669">
                  <c:v>53.939-53.946</c:v>
                </c:pt>
                <c:pt idx="7670">
                  <c:v>53.946-53.953</c:v>
                </c:pt>
                <c:pt idx="7671">
                  <c:v>53.953-53.960</c:v>
                </c:pt>
                <c:pt idx="7672">
                  <c:v>53.960-53.967</c:v>
                </c:pt>
                <c:pt idx="7673">
                  <c:v>53.967-53.974</c:v>
                </c:pt>
                <c:pt idx="7674">
                  <c:v>53.974-53.981</c:v>
                </c:pt>
                <c:pt idx="7675">
                  <c:v>53.981-53.988</c:v>
                </c:pt>
                <c:pt idx="7676">
                  <c:v>53.988-53.995</c:v>
                </c:pt>
                <c:pt idx="7677">
                  <c:v>53.995-54.002</c:v>
                </c:pt>
                <c:pt idx="7678">
                  <c:v>54.002-54.009</c:v>
                </c:pt>
                <c:pt idx="7679">
                  <c:v>54.009-54.016</c:v>
                </c:pt>
                <c:pt idx="7680">
                  <c:v>54.016-54.023</c:v>
                </c:pt>
                <c:pt idx="7681">
                  <c:v>54.023-54.030</c:v>
                </c:pt>
                <c:pt idx="7682">
                  <c:v>54.030-54.037</c:v>
                </c:pt>
                <c:pt idx="7683">
                  <c:v>54.037-54.044</c:v>
                </c:pt>
                <c:pt idx="7684">
                  <c:v>54.044-54.051</c:v>
                </c:pt>
                <c:pt idx="7685">
                  <c:v>54.051-54.058</c:v>
                </c:pt>
                <c:pt idx="7686">
                  <c:v>54.058-54.066</c:v>
                </c:pt>
                <c:pt idx="7687">
                  <c:v>54.066-54.073</c:v>
                </c:pt>
                <c:pt idx="7688">
                  <c:v>54.073-54.080</c:v>
                </c:pt>
                <c:pt idx="7689">
                  <c:v>54.080-54.087</c:v>
                </c:pt>
                <c:pt idx="7690">
                  <c:v>54.087-54.094</c:v>
                </c:pt>
                <c:pt idx="7691">
                  <c:v>54.094-54.101</c:v>
                </c:pt>
                <c:pt idx="7692">
                  <c:v>54.101-54.108</c:v>
                </c:pt>
                <c:pt idx="7693">
                  <c:v>54.108-54.115</c:v>
                </c:pt>
                <c:pt idx="7694">
                  <c:v>54.115-54.122</c:v>
                </c:pt>
                <c:pt idx="7695">
                  <c:v>54.122-54.129</c:v>
                </c:pt>
                <c:pt idx="7696">
                  <c:v>54.129-54.136</c:v>
                </c:pt>
                <c:pt idx="7697">
                  <c:v>54.136-54.143</c:v>
                </c:pt>
                <c:pt idx="7698">
                  <c:v>54.143-54.150</c:v>
                </c:pt>
                <c:pt idx="7699">
                  <c:v>54.150-54.157</c:v>
                </c:pt>
                <c:pt idx="7700">
                  <c:v>54.157-54.164</c:v>
                </c:pt>
                <c:pt idx="7701">
                  <c:v>54.164-54.171</c:v>
                </c:pt>
                <c:pt idx="7702">
                  <c:v>54.171-54.178</c:v>
                </c:pt>
                <c:pt idx="7703">
                  <c:v>54.178-54.185</c:v>
                </c:pt>
                <c:pt idx="7704">
                  <c:v>54.185-54.192</c:v>
                </c:pt>
                <c:pt idx="7705">
                  <c:v>54.192-54.199</c:v>
                </c:pt>
                <c:pt idx="7706">
                  <c:v>54.199-54.206</c:v>
                </c:pt>
                <c:pt idx="7707">
                  <c:v>54.206-54.213</c:v>
                </c:pt>
                <c:pt idx="7708">
                  <c:v>54.213-54.220</c:v>
                </c:pt>
                <c:pt idx="7709">
                  <c:v>54.220-54.227</c:v>
                </c:pt>
                <c:pt idx="7710">
                  <c:v>54.227-54.234</c:v>
                </c:pt>
                <c:pt idx="7711">
                  <c:v>54.234-54.241</c:v>
                </c:pt>
                <c:pt idx="7712">
                  <c:v>54.241-54.248</c:v>
                </c:pt>
                <c:pt idx="7713">
                  <c:v>54.248-54.255</c:v>
                </c:pt>
                <c:pt idx="7714">
                  <c:v>54.255-54.262</c:v>
                </c:pt>
                <c:pt idx="7715">
                  <c:v>54.262-54.269</c:v>
                </c:pt>
                <c:pt idx="7716">
                  <c:v>54.269-54.276</c:v>
                </c:pt>
                <c:pt idx="7717">
                  <c:v>54.276-54.284</c:v>
                </c:pt>
                <c:pt idx="7718">
                  <c:v>54.284-54.291</c:v>
                </c:pt>
                <c:pt idx="7719">
                  <c:v>54.291-54.298</c:v>
                </c:pt>
                <c:pt idx="7720">
                  <c:v>54.298-54.305</c:v>
                </c:pt>
                <c:pt idx="7721">
                  <c:v>54.305-54.312</c:v>
                </c:pt>
                <c:pt idx="7722">
                  <c:v>54.312-54.319</c:v>
                </c:pt>
                <c:pt idx="7723">
                  <c:v>54.319-54.326</c:v>
                </c:pt>
                <c:pt idx="7724">
                  <c:v>54.326-54.333</c:v>
                </c:pt>
                <c:pt idx="7725">
                  <c:v>54.333-54.340</c:v>
                </c:pt>
                <c:pt idx="7726">
                  <c:v>54.340-54.347</c:v>
                </c:pt>
                <c:pt idx="7727">
                  <c:v>54.347-54.354</c:v>
                </c:pt>
                <c:pt idx="7728">
                  <c:v>54.354-54.361</c:v>
                </c:pt>
                <c:pt idx="7729">
                  <c:v>54.361-54.368</c:v>
                </c:pt>
                <c:pt idx="7730">
                  <c:v>54.368-54.375</c:v>
                </c:pt>
                <c:pt idx="7731">
                  <c:v>54.375-54.382</c:v>
                </c:pt>
                <c:pt idx="7732">
                  <c:v>54.382-54.389</c:v>
                </c:pt>
                <c:pt idx="7733">
                  <c:v>54.389-54.396</c:v>
                </c:pt>
                <c:pt idx="7734">
                  <c:v>54.396-54.403</c:v>
                </c:pt>
                <c:pt idx="7735">
                  <c:v>54.403-54.410</c:v>
                </c:pt>
                <c:pt idx="7736">
                  <c:v>54.410-54.417</c:v>
                </c:pt>
                <c:pt idx="7737">
                  <c:v>54.417-54.424</c:v>
                </c:pt>
                <c:pt idx="7738">
                  <c:v>54.424-54.431</c:v>
                </c:pt>
                <c:pt idx="7739">
                  <c:v>54.431-54.438</c:v>
                </c:pt>
                <c:pt idx="7740">
                  <c:v>54.438-54.445</c:v>
                </c:pt>
                <c:pt idx="7741">
                  <c:v>54.445-54.452</c:v>
                </c:pt>
                <c:pt idx="7742">
                  <c:v>54.452-54.459</c:v>
                </c:pt>
                <c:pt idx="7743">
                  <c:v>54.459-54.466</c:v>
                </c:pt>
                <c:pt idx="7744">
                  <c:v>54.466-54.473</c:v>
                </c:pt>
                <c:pt idx="7745">
                  <c:v>54.473-54.480</c:v>
                </c:pt>
                <c:pt idx="7746">
                  <c:v>54.480-54.487</c:v>
                </c:pt>
                <c:pt idx="7747">
                  <c:v>54.487-54.494</c:v>
                </c:pt>
                <c:pt idx="7748">
                  <c:v>54.494-54.502</c:v>
                </c:pt>
                <c:pt idx="7749">
                  <c:v>54.502-54.509</c:v>
                </c:pt>
                <c:pt idx="7750">
                  <c:v>54.509-54.516</c:v>
                </c:pt>
                <c:pt idx="7751">
                  <c:v>54.516-54.523</c:v>
                </c:pt>
                <c:pt idx="7752">
                  <c:v>54.523-54.530</c:v>
                </c:pt>
                <c:pt idx="7753">
                  <c:v>54.530-54.537</c:v>
                </c:pt>
                <c:pt idx="7754">
                  <c:v>54.537-54.544</c:v>
                </c:pt>
                <c:pt idx="7755">
                  <c:v>54.544-54.551</c:v>
                </c:pt>
                <c:pt idx="7756">
                  <c:v>54.551-54.558</c:v>
                </c:pt>
                <c:pt idx="7757">
                  <c:v>54.558-54.565</c:v>
                </c:pt>
                <c:pt idx="7758">
                  <c:v>54.565-54.572</c:v>
                </c:pt>
                <c:pt idx="7759">
                  <c:v>54.572-54.579</c:v>
                </c:pt>
                <c:pt idx="7760">
                  <c:v>54.579-54.586</c:v>
                </c:pt>
                <c:pt idx="7761">
                  <c:v>54.586-54.593</c:v>
                </c:pt>
                <c:pt idx="7762">
                  <c:v>54.593-54.600</c:v>
                </c:pt>
                <c:pt idx="7763">
                  <c:v>54.600-54.607</c:v>
                </c:pt>
                <c:pt idx="7764">
                  <c:v>54.607-54.614</c:v>
                </c:pt>
                <c:pt idx="7765">
                  <c:v>54.614-54.621</c:v>
                </c:pt>
                <c:pt idx="7766">
                  <c:v>54.621-54.628</c:v>
                </c:pt>
                <c:pt idx="7767">
                  <c:v>54.628-54.635</c:v>
                </c:pt>
                <c:pt idx="7768">
                  <c:v>54.635-54.642</c:v>
                </c:pt>
                <c:pt idx="7769">
                  <c:v>54.642-54.649</c:v>
                </c:pt>
                <c:pt idx="7770">
                  <c:v>54.649-54.656</c:v>
                </c:pt>
                <c:pt idx="7771">
                  <c:v>54.656-54.663</c:v>
                </c:pt>
                <c:pt idx="7772">
                  <c:v>54.663-54.670</c:v>
                </c:pt>
                <c:pt idx="7773">
                  <c:v>54.670-54.677</c:v>
                </c:pt>
                <c:pt idx="7774">
                  <c:v>54.677-54.684</c:v>
                </c:pt>
                <c:pt idx="7775">
                  <c:v>54.684-54.691</c:v>
                </c:pt>
                <c:pt idx="7776">
                  <c:v>54.691-54.698</c:v>
                </c:pt>
                <c:pt idx="7777">
                  <c:v>54.698-54.705</c:v>
                </c:pt>
                <c:pt idx="7778">
                  <c:v>54.705-54.712</c:v>
                </c:pt>
                <c:pt idx="7779">
                  <c:v>54.712-54.720</c:v>
                </c:pt>
                <c:pt idx="7780">
                  <c:v>54.720-54.727</c:v>
                </c:pt>
                <c:pt idx="7781">
                  <c:v>54.727-54.734</c:v>
                </c:pt>
                <c:pt idx="7782">
                  <c:v>54.734-54.741</c:v>
                </c:pt>
                <c:pt idx="7783">
                  <c:v>54.741-54.748</c:v>
                </c:pt>
                <c:pt idx="7784">
                  <c:v>54.748-54.755</c:v>
                </c:pt>
                <c:pt idx="7785">
                  <c:v>54.755-54.762</c:v>
                </c:pt>
                <c:pt idx="7786">
                  <c:v>54.762-54.769</c:v>
                </c:pt>
                <c:pt idx="7787">
                  <c:v>54.769-54.776</c:v>
                </c:pt>
                <c:pt idx="7788">
                  <c:v>54.776-54.783</c:v>
                </c:pt>
                <c:pt idx="7789">
                  <c:v>54.783-54.790</c:v>
                </c:pt>
                <c:pt idx="7790">
                  <c:v>54.790-54.797</c:v>
                </c:pt>
                <c:pt idx="7791">
                  <c:v>54.797-54.804</c:v>
                </c:pt>
                <c:pt idx="7792">
                  <c:v>54.804-54.811</c:v>
                </c:pt>
                <c:pt idx="7793">
                  <c:v>54.811-54.818</c:v>
                </c:pt>
                <c:pt idx="7794">
                  <c:v>54.818-54.825</c:v>
                </c:pt>
                <c:pt idx="7795">
                  <c:v>54.825-54.832</c:v>
                </c:pt>
                <c:pt idx="7796">
                  <c:v>54.832-54.839</c:v>
                </c:pt>
                <c:pt idx="7797">
                  <c:v>54.839-54.846</c:v>
                </c:pt>
                <c:pt idx="7798">
                  <c:v>54.846-54.853</c:v>
                </c:pt>
                <c:pt idx="7799">
                  <c:v>54.853-54.860</c:v>
                </c:pt>
                <c:pt idx="7800">
                  <c:v>54.860-54.867</c:v>
                </c:pt>
                <c:pt idx="7801">
                  <c:v>54.867-54.874</c:v>
                </c:pt>
                <c:pt idx="7802">
                  <c:v>54.874-54.881</c:v>
                </c:pt>
                <c:pt idx="7803">
                  <c:v>54.881-54.888</c:v>
                </c:pt>
                <c:pt idx="7804">
                  <c:v>54.888-54.895</c:v>
                </c:pt>
                <c:pt idx="7805">
                  <c:v>54.895-54.902</c:v>
                </c:pt>
                <c:pt idx="7806">
                  <c:v>54.902-54.909</c:v>
                </c:pt>
                <c:pt idx="7807">
                  <c:v>54.909-54.916</c:v>
                </c:pt>
                <c:pt idx="7808">
                  <c:v>54.916-54.923</c:v>
                </c:pt>
                <c:pt idx="7809">
                  <c:v>54.923-54.930</c:v>
                </c:pt>
                <c:pt idx="7810">
                  <c:v>54.930-54.938</c:v>
                </c:pt>
                <c:pt idx="7811">
                  <c:v>54.938-54.945</c:v>
                </c:pt>
                <c:pt idx="7812">
                  <c:v>54.945-54.952</c:v>
                </c:pt>
                <c:pt idx="7813">
                  <c:v>54.952-54.959</c:v>
                </c:pt>
                <c:pt idx="7814">
                  <c:v>54.959-54.966</c:v>
                </c:pt>
                <c:pt idx="7815">
                  <c:v>54.966-54.973</c:v>
                </c:pt>
                <c:pt idx="7816">
                  <c:v>54.973-54.980</c:v>
                </c:pt>
                <c:pt idx="7817">
                  <c:v>54.980-54.987</c:v>
                </c:pt>
                <c:pt idx="7818">
                  <c:v>54.987-54.994</c:v>
                </c:pt>
                <c:pt idx="7819">
                  <c:v>54.994-55.001</c:v>
                </c:pt>
                <c:pt idx="7820">
                  <c:v>55.001-55.008</c:v>
                </c:pt>
                <c:pt idx="7821">
                  <c:v>55.008-55.015</c:v>
                </c:pt>
                <c:pt idx="7822">
                  <c:v>55.015-55.022</c:v>
                </c:pt>
                <c:pt idx="7823">
                  <c:v>55.022-55.029</c:v>
                </c:pt>
                <c:pt idx="7824">
                  <c:v>55.029-55.036</c:v>
                </c:pt>
                <c:pt idx="7825">
                  <c:v>55.036-55.043</c:v>
                </c:pt>
                <c:pt idx="7826">
                  <c:v>55.043-55.050</c:v>
                </c:pt>
                <c:pt idx="7827">
                  <c:v>55.050-55.057</c:v>
                </c:pt>
                <c:pt idx="7828">
                  <c:v>55.057-55.064</c:v>
                </c:pt>
                <c:pt idx="7829">
                  <c:v>55.064-55.071</c:v>
                </c:pt>
                <c:pt idx="7830">
                  <c:v>55.071-55.078</c:v>
                </c:pt>
                <c:pt idx="7831">
                  <c:v>55.078-55.085</c:v>
                </c:pt>
                <c:pt idx="7832">
                  <c:v>55.085-55.092</c:v>
                </c:pt>
                <c:pt idx="7833">
                  <c:v>55.092-55.099</c:v>
                </c:pt>
                <c:pt idx="7834">
                  <c:v>55.099-55.106</c:v>
                </c:pt>
                <c:pt idx="7835">
                  <c:v>55.106-55.113</c:v>
                </c:pt>
                <c:pt idx="7836">
                  <c:v>55.113-55.120</c:v>
                </c:pt>
                <c:pt idx="7837">
                  <c:v>55.120-55.127</c:v>
                </c:pt>
                <c:pt idx="7838">
                  <c:v>55.127-55.134</c:v>
                </c:pt>
                <c:pt idx="7839">
                  <c:v>55.134-55.141</c:v>
                </c:pt>
                <c:pt idx="7840">
                  <c:v>55.141-55.148</c:v>
                </c:pt>
                <c:pt idx="7841">
                  <c:v>55.148-55.156</c:v>
                </c:pt>
                <c:pt idx="7842">
                  <c:v>55.156-55.163</c:v>
                </c:pt>
                <c:pt idx="7843">
                  <c:v>55.163-55.170</c:v>
                </c:pt>
                <c:pt idx="7844">
                  <c:v>55.170-55.177</c:v>
                </c:pt>
                <c:pt idx="7845">
                  <c:v>55.177-55.184</c:v>
                </c:pt>
                <c:pt idx="7846">
                  <c:v>55.184-55.191</c:v>
                </c:pt>
                <c:pt idx="7847">
                  <c:v>55.191-55.198</c:v>
                </c:pt>
                <c:pt idx="7848">
                  <c:v>55.198-55.205</c:v>
                </c:pt>
                <c:pt idx="7849">
                  <c:v>55.205-55.212</c:v>
                </c:pt>
                <c:pt idx="7850">
                  <c:v>55.212-55.219</c:v>
                </c:pt>
                <c:pt idx="7851">
                  <c:v>55.219-55.226</c:v>
                </c:pt>
                <c:pt idx="7852">
                  <c:v>55.226-55.233</c:v>
                </c:pt>
                <c:pt idx="7853">
                  <c:v>55.233-55.240</c:v>
                </c:pt>
                <c:pt idx="7854">
                  <c:v>55.240-55.247</c:v>
                </c:pt>
                <c:pt idx="7855">
                  <c:v>55.247-55.254</c:v>
                </c:pt>
                <c:pt idx="7856">
                  <c:v>55.254-55.261</c:v>
                </c:pt>
                <c:pt idx="7857">
                  <c:v>55.261-55.268</c:v>
                </c:pt>
                <c:pt idx="7858">
                  <c:v>55.268-55.275</c:v>
                </c:pt>
                <c:pt idx="7859">
                  <c:v>55.275-55.282</c:v>
                </c:pt>
                <c:pt idx="7860">
                  <c:v>55.282-55.289</c:v>
                </c:pt>
                <c:pt idx="7861">
                  <c:v>55.289-55.296</c:v>
                </c:pt>
                <c:pt idx="7862">
                  <c:v>55.296-55.303</c:v>
                </c:pt>
                <c:pt idx="7863">
                  <c:v>55.303-55.310</c:v>
                </c:pt>
                <c:pt idx="7864">
                  <c:v>55.310-55.317</c:v>
                </c:pt>
                <c:pt idx="7865">
                  <c:v>55.317-55.324</c:v>
                </c:pt>
                <c:pt idx="7866">
                  <c:v>55.324-55.331</c:v>
                </c:pt>
                <c:pt idx="7867">
                  <c:v>55.331-55.338</c:v>
                </c:pt>
                <c:pt idx="7868">
                  <c:v>55.338-55.345</c:v>
                </c:pt>
                <c:pt idx="7869">
                  <c:v>55.345-55.352</c:v>
                </c:pt>
                <c:pt idx="7870">
                  <c:v>55.352-55.359</c:v>
                </c:pt>
                <c:pt idx="7871">
                  <c:v>55.359-55.366</c:v>
                </c:pt>
                <c:pt idx="7872">
                  <c:v>55.366-55.374</c:v>
                </c:pt>
                <c:pt idx="7873">
                  <c:v>55.374-55.381</c:v>
                </c:pt>
                <c:pt idx="7874">
                  <c:v>55.381-55.388</c:v>
                </c:pt>
                <c:pt idx="7875">
                  <c:v>55.388-55.395</c:v>
                </c:pt>
                <c:pt idx="7876">
                  <c:v>55.395-55.402</c:v>
                </c:pt>
                <c:pt idx="7877">
                  <c:v>55.402-55.409</c:v>
                </c:pt>
                <c:pt idx="7878">
                  <c:v>55.409-55.416</c:v>
                </c:pt>
                <c:pt idx="7879">
                  <c:v>55.416-55.423</c:v>
                </c:pt>
                <c:pt idx="7880">
                  <c:v>55.423-55.430</c:v>
                </c:pt>
                <c:pt idx="7881">
                  <c:v>55.430-55.437</c:v>
                </c:pt>
                <c:pt idx="7882">
                  <c:v>55.437-55.444</c:v>
                </c:pt>
                <c:pt idx="7883">
                  <c:v>55.444-55.451</c:v>
                </c:pt>
                <c:pt idx="7884">
                  <c:v>55.451-55.458</c:v>
                </c:pt>
                <c:pt idx="7885">
                  <c:v>55.458-55.465</c:v>
                </c:pt>
                <c:pt idx="7886">
                  <c:v>55.465-55.472</c:v>
                </c:pt>
                <c:pt idx="7887">
                  <c:v>55.472-55.479</c:v>
                </c:pt>
                <c:pt idx="7888">
                  <c:v>55.479-55.486</c:v>
                </c:pt>
                <c:pt idx="7889">
                  <c:v>55.486-55.493</c:v>
                </c:pt>
                <c:pt idx="7890">
                  <c:v>55.493-55.500</c:v>
                </c:pt>
                <c:pt idx="7891">
                  <c:v>55.500-55.507</c:v>
                </c:pt>
                <c:pt idx="7892">
                  <c:v>55.507-55.514</c:v>
                </c:pt>
                <c:pt idx="7893">
                  <c:v>55.514-55.521</c:v>
                </c:pt>
                <c:pt idx="7894">
                  <c:v>55.521-55.528</c:v>
                </c:pt>
                <c:pt idx="7895">
                  <c:v>55.528-55.535</c:v>
                </c:pt>
                <c:pt idx="7896">
                  <c:v>55.535-55.542</c:v>
                </c:pt>
                <c:pt idx="7897">
                  <c:v>55.542-55.549</c:v>
                </c:pt>
                <c:pt idx="7898">
                  <c:v>55.549-55.556</c:v>
                </c:pt>
                <c:pt idx="7899">
                  <c:v>55.556-55.563</c:v>
                </c:pt>
                <c:pt idx="7900">
                  <c:v>55.563-55.570</c:v>
                </c:pt>
                <c:pt idx="7901">
                  <c:v>55.570-55.577</c:v>
                </c:pt>
                <c:pt idx="7902">
                  <c:v>55.577-55.584</c:v>
                </c:pt>
                <c:pt idx="7903">
                  <c:v>55.584-55.592</c:v>
                </c:pt>
                <c:pt idx="7904">
                  <c:v>55.592-55.599</c:v>
                </c:pt>
                <c:pt idx="7905">
                  <c:v>55.599-55.606</c:v>
                </c:pt>
                <c:pt idx="7906">
                  <c:v>55.606-55.613</c:v>
                </c:pt>
                <c:pt idx="7907">
                  <c:v>55.613-55.620</c:v>
                </c:pt>
                <c:pt idx="7908">
                  <c:v>55.620-55.627</c:v>
                </c:pt>
                <c:pt idx="7909">
                  <c:v>55.627-55.634</c:v>
                </c:pt>
                <c:pt idx="7910">
                  <c:v>55.634-55.641</c:v>
                </c:pt>
                <c:pt idx="7911">
                  <c:v>55.641-55.648</c:v>
                </c:pt>
                <c:pt idx="7912">
                  <c:v>55.648-55.655</c:v>
                </c:pt>
                <c:pt idx="7913">
                  <c:v>55.655-55.662</c:v>
                </c:pt>
                <c:pt idx="7914">
                  <c:v>55.662-55.669</c:v>
                </c:pt>
                <c:pt idx="7915">
                  <c:v>55.669-55.676</c:v>
                </c:pt>
                <c:pt idx="7916">
                  <c:v>55.676-55.683</c:v>
                </c:pt>
                <c:pt idx="7917">
                  <c:v>55.683-55.690</c:v>
                </c:pt>
                <c:pt idx="7918">
                  <c:v>55.690-55.697</c:v>
                </c:pt>
                <c:pt idx="7919">
                  <c:v>55.697-55.704</c:v>
                </c:pt>
                <c:pt idx="7920">
                  <c:v>55.704-55.711</c:v>
                </c:pt>
                <c:pt idx="7921">
                  <c:v>55.711-55.718</c:v>
                </c:pt>
                <c:pt idx="7922">
                  <c:v>55.718-55.725</c:v>
                </c:pt>
                <c:pt idx="7923">
                  <c:v>55.725-55.732</c:v>
                </c:pt>
                <c:pt idx="7924">
                  <c:v>55.732-55.739</c:v>
                </c:pt>
                <c:pt idx="7925">
                  <c:v>55.739-55.746</c:v>
                </c:pt>
                <c:pt idx="7926">
                  <c:v>55.746-55.753</c:v>
                </c:pt>
                <c:pt idx="7927">
                  <c:v>55.753-55.760</c:v>
                </c:pt>
                <c:pt idx="7928">
                  <c:v>55.760-55.767</c:v>
                </c:pt>
                <c:pt idx="7929">
                  <c:v>55.767-55.774</c:v>
                </c:pt>
                <c:pt idx="7930">
                  <c:v>55.774-55.781</c:v>
                </c:pt>
                <c:pt idx="7931">
                  <c:v>55.781-55.788</c:v>
                </c:pt>
                <c:pt idx="7932">
                  <c:v>55.788-55.795</c:v>
                </c:pt>
                <c:pt idx="7933">
                  <c:v>55.795-55.802</c:v>
                </c:pt>
                <c:pt idx="7934">
                  <c:v>55.802-55.810</c:v>
                </c:pt>
                <c:pt idx="7935">
                  <c:v>55.810-55.817</c:v>
                </c:pt>
                <c:pt idx="7936">
                  <c:v>55.817-55.824</c:v>
                </c:pt>
                <c:pt idx="7937">
                  <c:v>55.824-55.831</c:v>
                </c:pt>
                <c:pt idx="7938">
                  <c:v>55.831-55.838</c:v>
                </c:pt>
                <c:pt idx="7939">
                  <c:v>55.838-55.845</c:v>
                </c:pt>
                <c:pt idx="7940">
                  <c:v>55.845-55.852</c:v>
                </c:pt>
                <c:pt idx="7941">
                  <c:v>55.852-55.859</c:v>
                </c:pt>
                <c:pt idx="7942">
                  <c:v>55.859-55.866</c:v>
                </c:pt>
                <c:pt idx="7943">
                  <c:v>55.866-55.873</c:v>
                </c:pt>
                <c:pt idx="7944">
                  <c:v>55.873-55.880</c:v>
                </c:pt>
                <c:pt idx="7945">
                  <c:v>55.880-55.887</c:v>
                </c:pt>
                <c:pt idx="7946">
                  <c:v>55.887-55.894</c:v>
                </c:pt>
                <c:pt idx="7947">
                  <c:v>55.894-55.901</c:v>
                </c:pt>
                <c:pt idx="7948">
                  <c:v>55.901-55.908</c:v>
                </c:pt>
                <c:pt idx="7949">
                  <c:v>55.908-55.915</c:v>
                </c:pt>
                <c:pt idx="7950">
                  <c:v>55.915-55.922</c:v>
                </c:pt>
                <c:pt idx="7951">
                  <c:v>55.922-55.929</c:v>
                </c:pt>
                <c:pt idx="7952">
                  <c:v>55.929-55.936</c:v>
                </c:pt>
                <c:pt idx="7953">
                  <c:v>55.936-55.943</c:v>
                </c:pt>
                <c:pt idx="7954">
                  <c:v>55.943-55.950</c:v>
                </c:pt>
                <c:pt idx="7955">
                  <c:v>55.950-55.957</c:v>
                </c:pt>
                <c:pt idx="7956">
                  <c:v>55.957-55.964</c:v>
                </c:pt>
                <c:pt idx="7957">
                  <c:v>55.964-55.971</c:v>
                </c:pt>
                <c:pt idx="7958">
                  <c:v>55.971-55.978</c:v>
                </c:pt>
                <c:pt idx="7959">
                  <c:v>55.978-55.985</c:v>
                </c:pt>
                <c:pt idx="7960">
                  <c:v>55.985-55.992</c:v>
                </c:pt>
                <c:pt idx="7961">
                  <c:v>55.992-55.999</c:v>
                </c:pt>
                <c:pt idx="7962">
                  <c:v>55.999-56.006</c:v>
                </c:pt>
                <c:pt idx="7963">
                  <c:v>56.006-56.013</c:v>
                </c:pt>
                <c:pt idx="7964">
                  <c:v>56.013-56.020</c:v>
                </c:pt>
                <c:pt idx="7965">
                  <c:v>56.020-56.028</c:v>
                </c:pt>
                <c:pt idx="7966">
                  <c:v>56.028-56.035</c:v>
                </c:pt>
                <c:pt idx="7967">
                  <c:v>56.035-56.042</c:v>
                </c:pt>
                <c:pt idx="7968">
                  <c:v>56.042-56.049</c:v>
                </c:pt>
                <c:pt idx="7969">
                  <c:v>56.049-56.056</c:v>
                </c:pt>
                <c:pt idx="7970">
                  <c:v>56.056-56.063</c:v>
                </c:pt>
                <c:pt idx="7971">
                  <c:v>56.063-56.070</c:v>
                </c:pt>
                <c:pt idx="7972">
                  <c:v>56.070-56.077</c:v>
                </c:pt>
                <c:pt idx="7973">
                  <c:v>56.077-56.084</c:v>
                </c:pt>
                <c:pt idx="7974">
                  <c:v>56.084-56.091</c:v>
                </c:pt>
                <c:pt idx="7975">
                  <c:v>56.091-56.098</c:v>
                </c:pt>
                <c:pt idx="7976">
                  <c:v>56.098-56.105</c:v>
                </c:pt>
                <c:pt idx="7977">
                  <c:v>56.105-56.112</c:v>
                </c:pt>
                <c:pt idx="7978">
                  <c:v>56.112-56.119</c:v>
                </c:pt>
                <c:pt idx="7979">
                  <c:v>56.119-56.126</c:v>
                </c:pt>
                <c:pt idx="7980">
                  <c:v>56.126-56.133</c:v>
                </c:pt>
                <c:pt idx="7981">
                  <c:v>56.133-56.140</c:v>
                </c:pt>
                <c:pt idx="7982">
                  <c:v>56.140-56.147</c:v>
                </c:pt>
                <c:pt idx="7983">
                  <c:v>56.147-56.154</c:v>
                </c:pt>
                <c:pt idx="7984">
                  <c:v>56.154-56.161</c:v>
                </c:pt>
                <c:pt idx="7985">
                  <c:v>56.161-56.168</c:v>
                </c:pt>
                <c:pt idx="7986">
                  <c:v>56.168-56.175</c:v>
                </c:pt>
                <c:pt idx="7987">
                  <c:v>56.175-56.182</c:v>
                </c:pt>
                <c:pt idx="7988">
                  <c:v>56.182-56.189</c:v>
                </c:pt>
                <c:pt idx="7989">
                  <c:v>56.189-56.196</c:v>
                </c:pt>
                <c:pt idx="7990">
                  <c:v>56.196-56.203</c:v>
                </c:pt>
                <c:pt idx="7991">
                  <c:v>56.203-56.210</c:v>
                </c:pt>
                <c:pt idx="7992">
                  <c:v>56.210-56.217</c:v>
                </c:pt>
                <c:pt idx="7993">
                  <c:v>56.217-56.224</c:v>
                </c:pt>
                <c:pt idx="7994">
                  <c:v>56.224-56.231</c:v>
                </c:pt>
                <c:pt idx="7995">
                  <c:v>56.231-56.238</c:v>
                </c:pt>
                <c:pt idx="7996">
                  <c:v>56.238-56.246</c:v>
                </c:pt>
                <c:pt idx="7997">
                  <c:v>56.246-56.253</c:v>
                </c:pt>
                <c:pt idx="7998">
                  <c:v>56.253-56.260</c:v>
                </c:pt>
                <c:pt idx="7999">
                  <c:v>56.260-56.267</c:v>
                </c:pt>
                <c:pt idx="8000">
                  <c:v>56.267-56.274</c:v>
                </c:pt>
                <c:pt idx="8001">
                  <c:v>56.274-56.281</c:v>
                </c:pt>
                <c:pt idx="8002">
                  <c:v>56.281-56.288</c:v>
                </c:pt>
                <c:pt idx="8003">
                  <c:v>56.288-56.295</c:v>
                </c:pt>
                <c:pt idx="8004">
                  <c:v>56.295-56.302</c:v>
                </c:pt>
                <c:pt idx="8005">
                  <c:v>56.302-56.309</c:v>
                </c:pt>
                <c:pt idx="8006">
                  <c:v>56.309-56.316</c:v>
                </c:pt>
                <c:pt idx="8007">
                  <c:v>56.316-56.323</c:v>
                </c:pt>
                <c:pt idx="8008">
                  <c:v>56.323-56.330</c:v>
                </c:pt>
                <c:pt idx="8009">
                  <c:v>56.330-56.337</c:v>
                </c:pt>
                <c:pt idx="8010">
                  <c:v>56.337-56.344</c:v>
                </c:pt>
                <c:pt idx="8011">
                  <c:v>56.344-56.351</c:v>
                </c:pt>
                <c:pt idx="8012">
                  <c:v>56.351-56.358</c:v>
                </c:pt>
                <c:pt idx="8013">
                  <c:v>56.358-56.365</c:v>
                </c:pt>
                <c:pt idx="8014">
                  <c:v>56.365-56.372</c:v>
                </c:pt>
                <c:pt idx="8015">
                  <c:v>56.372-56.379</c:v>
                </c:pt>
                <c:pt idx="8016">
                  <c:v>56.379-56.386</c:v>
                </c:pt>
                <c:pt idx="8017">
                  <c:v>56.386-56.393</c:v>
                </c:pt>
                <c:pt idx="8018">
                  <c:v>56.393-56.400</c:v>
                </c:pt>
                <c:pt idx="8019">
                  <c:v>56.400-56.407</c:v>
                </c:pt>
                <c:pt idx="8020">
                  <c:v>56.407-56.414</c:v>
                </c:pt>
                <c:pt idx="8021">
                  <c:v>56.414-56.421</c:v>
                </c:pt>
                <c:pt idx="8022">
                  <c:v>56.421-56.428</c:v>
                </c:pt>
                <c:pt idx="8023">
                  <c:v>56.428-56.435</c:v>
                </c:pt>
                <c:pt idx="8024">
                  <c:v>56.435-56.442</c:v>
                </c:pt>
                <c:pt idx="8025">
                  <c:v>56.442-56.449</c:v>
                </c:pt>
                <c:pt idx="8026">
                  <c:v>56.449-56.456</c:v>
                </c:pt>
                <c:pt idx="8027">
                  <c:v>56.456-56.464</c:v>
                </c:pt>
                <c:pt idx="8028">
                  <c:v>56.464-56.471</c:v>
                </c:pt>
                <c:pt idx="8029">
                  <c:v>56.471-56.478</c:v>
                </c:pt>
                <c:pt idx="8030">
                  <c:v>56.478-56.485</c:v>
                </c:pt>
                <c:pt idx="8031">
                  <c:v>56.485-56.492</c:v>
                </c:pt>
                <c:pt idx="8032">
                  <c:v>56.492-56.499</c:v>
                </c:pt>
                <c:pt idx="8033">
                  <c:v>56.499-56.506</c:v>
                </c:pt>
                <c:pt idx="8034">
                  <c:v>56.506-56.513</c:v>
                </c:pt>
                <c:pt idx="8035">
                  <c:v>56.513-56.520</c:v>
                </c:pt>
                <c:pt idx="8036">
                  <c:v>56.520-56.527</c:v>
                </c:pt>
                <c:pt idx="8037">
                  <c:v>56.527-56.534</c:v>
                </c:pt>
                <c:pt idx="8038">
                  <c:v>56.534-56.541</c:v>
                </c:pt>
                <c:pt idx="8039">
                  <c:v>56.541-56.548</c:v>
                </c:pt>
                <c:pt idx="8040">
                  <c:v>56.548-56.555</c:v>
                </c:pt>
                <c:pt idx="8041">
                  <c:v>56.555-56.562</c:v>
                </c:pt>
                <c:pt idx="8042">
                  <c:v>56.562-56.569</c:v>
                </c:pt>
                <c:pt idx="8043">
                  <c:v>56.569-56.576</c:v>
                </c:pt>
                <c:pt idx="8044">
                  <c:v>56.576-56.583</c:v>
                </c:pt>
                <c:pt idx="8045">
                  <c:v>56.583-56.590</c:v>
                </c:pt>
                <c:pt idx="8046">
                  <c:v>56.590-56.597</c:v>
                </c:pt>
                <c:pt idx="8047">
                  <c:v>56.597-56.604</c:v>
                </c:pt>
                <c:pt idx="8048">
                  <c:v>56.604-56.611</c:v>
                </c:pt>
                <c:pt idx="8049">
                  <c:v>56.611-56.618</c:v>
                </c:pt>
                <c:pt idx="8050">
                  <c:v>56.618-56.625</c:v>
                </c:pt>
                <c:pt idx="8051">
                  <c:v>56.625-56.632</c:v>
                </c:pt>
                <c:pt idx="8052">
                  <c:v>56.632-56.639</c:v>
                </c:pt>
                <c:pt idx="8053">
                  <c:v>56.639-56.646</c:v>
                </c:pt>
                <c:pt idx="8054">
                  <c:v>56.646-56.653</c:v>
                </c:pt>
                <c:pt idx="8055">
                  <c:v>56.653-56.660</c:v>
                </c:pt>
                <c:pt idx="8056">
                  <c:v>56.660-56.667</c:v>
                </c:pt>
                <c:pt idx="8057">
                  <c:v>56.667-56.674</c:v>
                </c:pt>
                <c:pt idx="8058">
                  <c:v>56.674-56.681</c:v>
                </c:pt>
                <c:pt idx="8059">
                  <c:v>56.681-56.689</c:v>
                </c:pt>
                <c:pt idx="8060">
                  <c:v>56.689-56.696</c:v>
                </c:pt>
                <c:pt idx="8061">
                  <c:v>56.696-56.703</c:v>
                </c:pt>
                <c:pt idx="8062">
                  <c:v>56.703-56.710</c:v>
                </c:pt>
                <c:pt idx="8063">
                  <c:v>56.710-56.717</c:v>
                </c:pt>
                <c:pt idx="8064">
                  <c:v>56.717-56.724</c:v>
                </c:pt>
                <c:pt idx="8065">
                  <c:v>56.724-56.731</c:v>
                </c:pt>
                <c:pt idx="8066">
                  <c:v>56.731-56.738</c:v>
                </c:pt>
                <c:pt idx="8067">
                  <c:v>56.738-56.745</c:v>
                </c:pt>
                <c:pt idx="8068">
                  <c:v>56.745-56.752</c:v>
                </c:pt>
                <c:pt idx="8069">
                  <c:v>56.752-56.759</c:v>
                </c:pt>
                <c:pt idx="8070">
                  <c:v>56.759-56.766</c:v>
                </c:pt>
                <c:pt idx="8071">
                  <c:v>56.766-56.773</c:v>
                </c:pt>
                <c:pt idx="8072">
                  <c:v>56.773-56.780</c:v>
                </c:pt>
                <c:pt idx="8073">
                  <c:v>56.780-56.787</c:v>
                </c:pt>
                <c:pt idx="8074">
                  <c:v>56.787-56.794</c:v>
                </c:pt>
                <c:pt idx="8075">
                  <c:v>56.794-56.801</c:v>
                </c:pt>
                <c:pt idx="8076">
                  <c:v>56.801-56.808</c:v>
                </c:pt>
                <c:pt idx="8077">
                  <c:v>56.808-56.815</c:v>
                </c:pt>
                <c:pt idx="8078">
                  <c:v>56.815-56.822</c:v>
                </c:pt>
                <c:pt idx="8079">
                  <c:v>56.822-56.829</c:v>
                </c:pt>
                <c:pt idx="8080">
                  <c:v>56.829-56.836</c:v>
                </c:pt>
                <c:pt idx="8081">
                  <c:v>56.836-56.843</c:v>
                </c:pt>
                <c:pt idx="8082">
                  <c:v>56.843-56.850</c:v>
                </c:pt>
                <c:pt idx="8083">
                  <c:v>56.850-56.857</c:v>
                </c:pt>
                <c:pt idx="8084">
                  <c:v>56.857-56.864</c:v>
                </c:pt>
                <c:pt idx="8085">
                  <c:v>56.864-56.871</c:v>
                </c:pt>
                <c:pt idx="8086">
                  <c:v>56.871-56.878</c:v>
                </c:pt>
                <c:pt idx="8087">
                  <c:v>56.878-56.885</c:v>
                </c:pt>
                <c:pt idx="8088">
                  <c:v>56.885-56.892</c:v>
                </c:pt>
                <c:pt idx="8089">
                  <c:v>56.892-56.899</c:v>
                </c:pt>
                <c:pt idx="8090">
                  <c:v>56.899-56.907</c:v>
                </c:pt>
                <c:pt idx="8091">
                  <c:v>56.907-56.914</c:v>
                </c:pt>
                <c:pt idx="8092">
                  <c:v>56.914-56.921</c:v>
                </c:pt>
                <c:pt idx="8093">
                  <c:v>56.921-56.928</c:v>
                </c:pt>
                <c:pt idx="8094">
                  <c:v>56.928-56.935</c:v>
                </c:pt>
                <c:pt idx="8095">
                  <c:v>56.935-56.942</c:v>
                </c:pt>
                <c:pt idx="8096">
                  <c:v>56.942-56.949</c:v>
                </c:pt>
                <c:pt idx="8097">
                  <c:v>56.949-56.956</c:v>
                </c:pt>
                <c:pt idx="8098">
                  <c:v>56.956-56.963</c:v>
                </c:pt>
                <c:pt idx="8099">
                  <c:v>56.963-56.970</c:v>
                </c:pt>
                <c:pt idx="8100">
                  <c:v>56.970-56.977</c:v>
                </c:pt>
                <c:pt idx="8101">
                  <c:v>56.977-56.984</c:v>
                </c:pt>
                <c:pt idx="8102">
                  <c:v>56.984-56.991</c:v>
                </c:pt>
                <c:pt idx="8103">
                  <c:v>56.991-56.998</c:v>
                </c:pt>
                <c:pt idx="8104">
                  <c:v>56.998-57.005</c:v>
                </c:pt>
                <c:pt idx="8105">
                  <c:v>57.005-57.012</c:v>
                </c:pt>
                <c:pt idx="8106">
                  <c:v>57.012-57.019</c:v>
                </c:pt>
                <c:pt idx="8107">
                  <c:v>57.019-57.026</c:v>
                </c:pt>
                <c:pt idx="8108">
                  <c:v>57.026-57.033</c:v>
                </c:pt>
                <c:pt idx="8109">
                  <c:v>57.033-57.040</c:v>
                </c:pt>
                <c:pt idx="8110">
                  <c:v>57.040-57.047</c:v>
                </c:pt>
                <c:pt idx="8111">
                  <c:v>57.047-57.054</c:v>
                </c:pt>
                <c:pt idx="8112">
                  <c:v>57.054-57.061</c:v>
                </c:pt>
                <c:pt idx="8113">
                  <c:v>57.061-57.068</c:v>
                </c:pt>
                <c:pt idx="8114">
                  <c:v>57.068-57.075</c:v>
                </c:pt>
                <c:pt idx="8115">
                  <c:v>57.075-57.082</c:v>
                </c:pt>
                <c:pt idx="8116">
                  <c:v>57.082-57.089</c:v>
                </c:pt>
                <c:pt idx="8117">
                  <c:v>57.089-57.096</c:v>
                </c:pt>
                <c:pt idx="8118">
                  <c:v>57.096-57.103</c:v>
                </c:pt>
                <c:pt idx="8119">
                  <c:v>57.103-57.110</c:v>
                </c:pt>
                <c:pt idx="8120">
                  <c:v>57.110-57.117</c:v>
                </c:pt>
                <c:pt idx="8121">
                  <c:v>57.117-57.125</c:v>
                </c:pt>
                <c:pt idx="8122">
                  <c:v>57.125-57.132</c:v>
                </c:pt>
                <c:pt idx="8123">
                  <c:v>57.132-57.139</c:v>
                </c:pt>
                <c:pt idx="8124">
                  <c:v>57.139-57.146</c:v>
                </c:pt>
                <c:pt idx="8125">
                  <c:v>57.146-57.153</c:v>
                </c:pt>
                <c:pt idx="8126">
                  <c:v>57.153-57.160</c:v>
                </c:pt>
                <c:pt idx="8127">
                  <c:v>57.160-57.167</c:v>
                </c:pt>
                <c:pt idx="8128">
                  <c:v>57.167-57.174</c:v>
                </c:pt>
                <c:pt idx="8129">
                  <c:v>57.174-57.181</c:v>
                </c:pt>
                <c:pt idx="8130">
                  <c:v>57.181-57.188</c:v>
                </c:pt>
                <c:pt idx="8131">
                  <c:v>57.188-57.195</c:v>
                </c:pt>
                <c:pt idx="8132">
                  <c:v>57.195-57.202</c:v>
                </c:pt>
                <c:pt idx="8133">
                  <c:v>57.202-57.209</c:v>
                </c:pt>
                <c:pt idx="8134">
                  <c:v>57.209-57.216</c:v>
                </c:pt>
                <c:pt idx="8135">
                  <c:v>57.216-57.223</c:v>
                </c:pt>
                <c:pt idx="8136">
                  <c:v>57.223-57.230</c:v>
                </c:pt>
                <c:pt idx="8137">
                  <c:v>57.230-57.237</c:v>
                </c:pt>
                <c:pt idx="8138">
                  <c:v>57.237-57.244</c:v>
                </c:pt>
                <c:pt idx="8139">
                  <c:v>57.244-57.251</c:v>
                </c:pt>
                <c:pt idx="8140">
                  <c:v>57.251-57.258</c:v>
                </c:pt>
                <c:pt idx="8141">
                  <c:v>57.258-57.265</c:v>
                </c:pt>
                <c:pt idx="8142">
                  <c:v>57.265-57.272</c:v>
                </c:pt>
                <c:pt idx="8143">
                  <c:v>57.272-57.279</c:v>
                </c:pt>
                <c:pt idx="8144">
                  <c:v>57.279-57.286</c:v>
                </c:pt>
                <c:pt idx="8145">
                  <c:v>57.286-57.293</c:v>
                </c:pt>
                <c:pt idx="8146">
                  <c:v>57.293-57.300</c:v>
                </c:pt>
                <c:pt idx="8147">
                  <c:v>57.300-57.307</c:v>
                </c:pt>
                <c:pt idx="8148">
                  <c:v>57.307-57.314</c:v>
                </c:pt>
                <c:pt idx="8149">
                  <c:v>57.314-57.321</c:v>
                </c:pt>
                <c:pt idx="8150">
                  <c:v>57.321-57.328</c:v>
                </c:pt>
                <c:pt idx="8151">
                  <c:v>57.328-57.335</c:v>
                </c:pt>
                <c:pt idx="8152">
                  <c:v>57.335-57.343</c:v>
                </c:pt>
                <c:pt idx="8153">
                  <c:v>57.343-57.350</c:v>
                </c:pt>
                <c:pt idx="8154">
                  <c:v>57.350-57.357</c:v>
                </c:pt>
                <c:pt idx="8155">
                  <c:v>57.357-57.364</c:v>
                </c:pt>
                <c:pt idx="8156">
                  <c:v>57.364-57.371</c:v>
                </c:pt>
                <c:pt idx="8157">
                  <c:v>57.371-57.378</c:v>
                </c:pt>
                <c:pt idx="8158">
                  <c:v>57.378-57.385</c:v>
                </c:pt>
                <c:pt idx="8159">
                  <c:v>57.385-57.392</c:v>
                </c:pt>
                <c:pt idx="8160">
                  <c:v>57.392-57.399</c:v>
                </c:pt>
                <c:pt idx="8161">
                  <c:v>57.399-57.406</c:v>
                </c:pt>
                <c:pt idx="8162">
                  <c:v>57.406-57.413</c:v>
                </c:pt>
                <c:pt idx="8163">
                  <c:v>57.413-57.420</c:v>
                </c:pt>
                <c:pt idx="8164">
                  <c:v>57.420-57.427</c:v>
                </c:pt>
                <c:pt idx="8165">
                  <c:v>57.427-57.434</c:v>
                </c:pt>
                <c:pt idx="8166">
                  <c:v>57.434-57.441</c:v>
                </c:pt>
                <c:pt idx="8167">
                  <c:v>57.441-57.448</c:v>
                </c:pt>
                <c:pt idx="8168">
                  <c:v>57.448-57.455</c:v>
                </c:pt>
                <c:pt idx="8169">
                  <c:v>57.455-57.462</c:v>
                </c:pt>
                <c:pt idx="8170">
                  <c:v>57.462-57.469</c:v>
                </c:pt>
                <c:pt idx="8171">
                  <c:v>57.469-57.476</c:v>
                </c:pt>
                <c:pt idx="8172">
                  <c:v>57.476-57.483</c:v>
                </c:pt>
                <c:pt idx="8173">
                  <c:v>57.483-57.490</c:v>
                </c:pt>
                <c:pt idx="8174">
                  <c:v>57.490-57.497</c:v>
                </c:pt>
                <c:pt idx="8175">
                  <c:v>57.497-57.504</c:v>
                </c:pt>
                <c:pt idx="8176">
                  <c:v>57.504-57.511</c:v>
                </c:pt>
                <c:pt idx="8177">
                  <c:v>57.511-57.518</c:v>
                </c:pt>
                <c:pt idx="8178">
                  <c:v>57.518-57.525</c:v>
                </c:pt>
                <c:pt idx="8179">
                  <c:v>57.525-57.532</c:v>
                </c:pt>
                <c:pt idx="8180">
                  <c:v>57.532-57.539</c:v>
                </c:pt>
                <c:pt idx="8181">
                  <c:v>57.539-57.546</c:v>
                </c:pt>
                <c:pt idx="8182">
                  <c:v>57.546-57.553</c:v>
                </c:pt>
                <c:pt idx="8183">
                  <c:v>57.553-57.561</c:v>
                </c:pt>
                <c:pt idx="8184">
                  <c:v>57.561-57.568</c:v>
                </c:pt>
                <c:pt idx="8185">
                  <c:v>57.568-57.575</c:v>
                </c:pt>
                <c:pt idx="8186">
                  <c:v>57.575-57.582</c:v>
                </c:pt>
                <c:pt idx="8187">
                  <c:v>57.582-57.589</c:v>
                </c:pt>
                <c:pt idx="8188">
                  <c:v>57.589-57.596</c:v>
                </c:pt>
                <c:pt idx="8189">
                  <c:v>57.596-57.603</c:v>
                </c:pt>
                <c:pt idx="8190">
                  <c:v>57.603-57.610</c:v>
                </c:pt>
                <c:pt idx="8191">
                  <c:v>57.610-57.617</c:v>
                </c:pt>
                <c:pt idx="8192">
                  <c:v>57.617-57.624</c:v>
                </c:pt>
                <c:pt idx="8193">
                  <c:v>57.624-57.631</c:v>
                </c:pt>
                <c:pt idx="8194">
                  <c:v>57.631-57.638</c:v>
                </c:pt>
                <c:pt idx="8195">
                  <c:v>57.638-57.645</c:v>
                </c:pt>
                <c:pt idx="8196">
                  <c:v>57.645-57.652</c:v>
                </c:pt>
                <c:pt idx="8197">
                  <c:v>57.652-57.659</c:v>
                </c:pt>
                <c:pt idx="8198">
                  <c:v>57.659-57.666</c:v>
                </c:pt>
                <c:pt idx="8199">
                  <c:v>57.666-57.673</c:v>
                </c:pt>
                <c:pt idx="8200">
                  <c:v>57.673-57.680</c:v>
                </c:pt>
                <c:pt idx="8201">
                  <c:v>57.680-57.687</c:v>
                </c:pt>
                <c:pt idx="8202">
                  <c:v>57.687-57.694</c:v>
                </c:pt>
                <c:pt idx="8203">
                  <c:v>57.694-57.701</c:v>
                </c:pt>
                <c:pt idx="8204">
                  <c:v>57.701-57.708</c:v>
                </c:pt>
                <c:pt idx="8205">
                  <c:v>57.708-57.715</c:v>
                </c:pt>
                <c:pt idx="8206">
                  <c:v>57.715-57.722</c:v>
                </c:pt>
                <c:pt idx="8207">
                  <c:v>57.722-57.729</c:v>
                </c:pt>
                <c:pt idx="8208">
                  <c:v>57.729-57.736</c:v>
                </c:pt>
                <c:pt idx="8209">
                  <c:v>57.736-57.743</c:v>
                </c:pt>
                <c:pt idx="8210">
                  <c:v>57.743-57.750</c:v>
                </c:pt>
                <c:pt idx="8211">
                  <c:v>57.750-57.757</c:v>
                </c:pt>
                <c:pt idx="8212">
                  <c:v>57.757-57.764</c:v>
                </c:pt>
                <c:pt idx="8213">
                  <c:v>57.764-57.771</c:v>
                </c:pt>
                <c:pt idx="8214">
                  <c:v>57.771-57.779</c:v>
                </c:pt>
                <c:pt idx="8215">
                  <c:v>57.779-57.786</c:v>
                </c:pt>
                <c:pt idx="8216">
                  <c:v>57.786-57.793</c:v>
                </c:pt>
                <c:pt idx="8217">
                  <c:v>57.793-57.800</c:v>
                </c:pt>
                <c:pt idx="8218">
                  <c:v>57.800-57.807</c:v>
                </c:pt>
                <c:pt idx="8219">
                  <c:v>57.807-57.814</c:v>
                </c:pt>
                <c:pt idx="8220">
                  <c:v>57.814-57.821</c:v>
                </c:pt>
                <c:pt idx="8221">
                  <c:v>57.821-57.828</c:v>
                </c:pt>
                <c:pt idx="8222">
                  <c:v>57.828-57.835</c:v>
                </c:pt>
                <c:pt idx="8223">
                  <c:v>57.835-57.842</c:v>
                </c:pt>
                <c:pt idx="8224">
                  <c:v>57.842-57.849</c:v>
                </c:pt>
                <c:pt idx="8225">
                  <c:v>57.849-57.856</c:v>
                </c:pt>
                <c:pt idx="8226">
                  <c:v>57.856-57.863</c:v>
                </c:pt>
                <c:pt idx="8227">
                  <c:v>57.863-57.870</c:v>
                </c:pt>
                <c:pt idx="8228">
                  <c:v>57.870-57.877</c:v>
                </c:pt>
                <c:pt idx="8229">
                  <c:v>57.877-57.884</c:v>
                </c:pt>
                <c:pt idx="8230">
                  <c:v>57.884-57.891</c:v>
                </c:pt>
                <c:pt idx="8231">
                  <c:v>57.891-57.898</c:v>
                </c:pt>
                <c:pt idx="8232">
                  <c:v>57.898-57.905</c:v>
                </c:pt>
                <c:pt idx="8233">
                  <c:v>57.905-57.912</c:v>
                </c:pt>
                <c:pt idx="8234">
                  <c:v>57.912-57.919</c:v>
                </c:pt>
                <c:pt idx="8235">
                  <c:v>57.919-57.926</c:v>
                </c:pt>
                <c:pt idx="8236">
                  <c:v>57.926-57.933</c:v>
                </c:pt>
                <c:pt idx="8237">
                  <c:v>57.933-57.940</c:v>
                </c:pt>
                <c:pt idx="8238">
                  <c:v>57.940-57.947</c:v>
                </c:pt>
                <c:pt idx="8239">
                  <c:v>57.947-57.954</c:v>
                </c:pt>
                <c:pt idx="8240">
                  <c:v>57.954-57.961</c:v>
                </c:pt>
                <c:pt idx="8241">
                  <c:v>57.961-57.968</c:v>
                </c:pt>
                <c:pt idx="8242">
                  <c:v>57.968-57.975</c:v>
                </c:pt>
                <c:pt idx="8243">
                  <c:v>57.975-57.982</c:v>
                </c:pt>
                <c:pt idx="8244">
                  <c:v>57.982-57.989</c:v>
                </c:pt>
                <c:pt idx="8245">
                  <c:v>57.989-57.997</c:v>
                </c:pt>
                <c:pt idx="8246">
                  <c:v>57.997-58.004</c:v>
                </c:pt>
                <c:pt idx="8247">
                  <c:v>58.004-58.011</c:v>
                </c:pt>
                <c:pt idx="8248">
                  <c:v>58.011-58.018</c:v>
                </c:pt>
                <c:pt idx="8249">
                  <c:v>58.018-58.025</c:v>
                </c:pt>
                <c:pt idx="8250">
                  <c:v>58.025-58.032</c:v>
                </c:pt>
                <c:pt idx="8251">
                  <c:v>58.032-58.039</c:v>
                </c:pt>
                <c:pt idx="8252">
                  <c:v>58.039-58.046</c:v>
                </c:pt>
                <c:pt idx="8253">
                  <c:v>58.046-58.053</c:v>
                </c:pt>
                <c:pt idx="8254">
                  <c:v>58.053-58.060</c:v>
                </c:pt>
                <c:pt idx="8255">
                  <c:v>58.060-58.067</c:v>
                </c:pt>
                <c:pt idx="8256">
                  <c:v>58.067-58.074</c:v>
                </c:pt>
                <c:pt idx="8257">
                  <c:v>58.074-58.081</c:v>
                </c:pt>
                <c:pt idx="8258">
                  <c:v>58.081-58.088</c:v>
                </c:pt>
                <c:pt idx="8259">
                  <c:v>58.088-58.095</c:v>
                </c:pt>
                <c:pt idx="8260">
                  <c:v>58.095-58.102</c:v>
                </c:pt>
                <c:pt idx="8261">
                  <c:v>58.102-58.109</c:v>
                </c:pt>
                <c:pt idx="8262">
                  <c:v>58.109-58.116</c:v>
                </c:pt>
                <c:pt idx="8263">
                  <c:v>58.116-58.123</c:v>
                </c:pt>
                <c:pt idx="8264">
                  <c:v>58.123-58.130</c:v>
                </c:pt>
                <c:pt idx="8265">
                  <c:v>58.130-58.137</c:v>
                </c:pt>
                <c:pt idx="8266">
                  <c:v>58.137-58.144</c:v>
                </c:pt>
                <c:pt idx="8267">
                  <c:v>58.144-58.151</c:v>
                </c:pt>
                <c:pt idx="8268">
                  <c:v>58.151-58.158</c:v>
                </c:pt>
                <c:pt idx="8269">
                  <c:v>58.158-58.165</c:v>
                </c:pt>
                <c:pt idx="8270">
                  <c:v>58.165-58.172</c:v>
                </c:pt>
                <c:pt idx="8271">
                  <c:v>58.172-58.179</c:v>
                </c:pt>
                <c:pt idx="8272">
                  <c:v>58.179-58.186</c:v>
                </c:pt>
                <c:pt idx="8273">
                  <c:v>58.186-58.193</c:v>
                </c:pt>
                <c:pt idx="8274">
                  <c:v>58.193-58.200</c:v>
                </c:pt>
                <c:pt idx="8275">
                  <c:v>58.200-58.207</c:v>
                </c:pt>
                <c:pt idx="8276">
                  <c:v>58.207-58.215</c:v>
                </c:pt>
                <c:pt idx="8277">
                  <c:v>58.215-58.222</c:v>
                </c:pt>
                <c:pt idx="8278">
                  <c:v>58.222-58.229</c:v>
                </c:pt>
                <c:pt idx="8279">
                  <c:v>58.229-58.236</c:v>
                </c:pt>
                <c:pt idx="8280">
                  <c:v>58.236-58.243</c:v>
                </c:pt>
                <c:pt idx="8281">
                  <c:v>58.243-58.250</c:v>
                </c:pt>
                <c:pt idx="8282">
                  <c:v>58.250-58.257</c:v>
                </c:pt>
                <c:pt idx="8283">
                  <c:v>58.257-58.264</c:v>
                </c:pt>
                <c:pt idx="8284">
                  <c:v>58.264-58.271</c:v>
                </c:pt>
                <c:pt idx="8285">
                  <c:v>58.271-58.278</c:v>
                </c:pt>
                <c:pt idx="8286">
                  <c:v>58.278-58.285</c:v>
                </c:pt>
                <c:pt idx="8287">
                  <c:v>58.285-58.292</c:v>
                </c:pt>
                <c:pt idx="8288">
                  <c:v>58.292-58.299</c:v>
                </c:pt>
                <c:pt idx="8289">
                  <c:v>58.299-58.306</c:v>
                </c:pt>
                <c:pt idx="8290">
                  <c:v>58.306-58.313</c:v>
                </c:pt>
                <c:pt idx="8291">
                  <c:v>58.313-58.320</c:v>
                </c:pt>
                <c:pt idx="8292">
                  <c:v>58.320-58.327</c:v>
                </c:pt>
                <c:pt idx="8293">
                  <c:v>58.327-58.334</c:v>
                </c:pt>
                <c:pt idx="8294">
                  <c:v>58.334-58.341</c:v>
                </c:pt>
                <c:pt idx="8295">
                  <c:v>58.341-58.348</c:v>
                </c:pt>
                <c:pt idx="8296">
                  <c:v>58.348-58.355</c:v>
                </c:pt>
                <c:pt idx="8297">
                  <c:v>58.355-58.362</c:v>
                </c:pt>
                <c:pt idx="8298">
                  <c:v>58.362-58.369</c:v>
                </c:pt>
                <c:pt idx="8299">
                  <c:v>58.369-58.376</c:v>
                </c:pt>
                <c:pt idx="8300">
                  <c:v>58.376-58.383</c:v>
                </c:pt>
                <c:pt idx="8301">
                  <c:v>58.383-58.390</c:v>
                </c:pt>
                <c:pt idx="8302">
                  <c:v>58.390-58.397</c:v>
                </c:pt>
                <c:pt idx="8303">
                  <c:v>58.397-58.404</c:v>
                </c:pt>
                <c:pt idx="8304">
                  <c:v>58.404-58.411</c:v>
                </c:pt>
                <c:pt idx="8305">
                  <c:v>58.411-58.418</c:v>
                </c:pt>
                <c:pt idx="8306">
                  <c:v>58.418-58.425</c:v>
                </c:pt>
                <c:pt idx="8307">
                  <c:v>58.425-58.433</c:v>
                </c:pt>
                <c:pt idx="8308">
                  <c:v>58.433-58.440</c:v>
                </c:pt>
                <c:pt idx="8309">
                  <c:v>58.440-58.447</c:v>
                </c:pt>
                <c:pt idx="8310">
                  <c:v>58.447-58.454</c:v>
                </c:pt>
                <c:pt idx="8311">
                  <c:v>58.454-58.461</c:v>
                </c:pt>
                <c:pt idx="8312">
                  <c:v>58.461-58.468</c:v>
                </c:pt>
                <c:pt idx="8313">
                  <c:v>58.468-58.475</c:v>
                </c:pt>
                <c:pt idx="8314">
                  <c:v>58.475-58.482</c:v>
                </c:pt>
                <c:pt idx="8315">
                  <c:v>58.482-58.489</c:v>
                </c:pt>
                <c:pt idx="8316">
                  <c:v>58.489-58.496</c:v>
                </c:pt>
                <c:pt idx="8317">
                  <c:v>58.496-58.503</c:v>
                </c:pt>
                <c:pt idx="8318">
                  <c:v>58.503-58.510</c:v>
                </c:pt>
                <c:pt idx="8319">
                  <c:v>58.510-58.517</c:v>
                </c:pt>
                <c:pt idx="8320">
                  <c:v>58.517-58.524</c:v>
                </c:pt>
                <c:pt idx="8321">
                  <c:v>58.524-58.531</c:v>
                </c:pt>
                <c:pt idx="8322">
                  <c:v>58.531-58.538</c:v>
                </c:pt>
                <c:pt idx="8323">
                  <c:v>58.538-58.545</c:v>
                </c:pt>
                <c:pt idx="8324">
                  <c:v>58.545-58.552</c:v>
                </c:pt>
                <c:pt idx="8325">
                  <c:v>58.552-58.559</c:v>
                </c:pt>
                <c:pt idx="8326">
                  <c:v>58.559-58.566</c:v>
                </c:pt>
                <c:pt idx="8327">
                  <c:v>58.566-58.573</c:v>
                </c:pt>
                <c:pt idx="8328">
                  <c:v>58.573-58.580</c:v>
                </c:pt>
                <c:pt idx="8329">
                  <c:v>58.580-58.587</c:v>
                </c:pt>
                <c:pt idx="8330">
                  <c:v>58.587-58.594</c:v>
                </c:pt>
                <c:pt idx="8331">
                  <c:v>58.594-58.601</c:v>
                </c:pt>
                <c:pt idx="8332">
                  <c:v>58.601-58.608</c:v>
                </c:pt>
                <c:pt idx="8333">
                  <c:v>58.608-58.615</c:v>
                </c:pt>
                <c:pt idx="8334">
                  <c:v>58.615-58.622</c:v>
                </c:pt>
                <c:pt idx="8335">
                  <c:v>58.622-58.629</c:v>
                </c:pt>
                <c:pt idx="8336">
                  <c:v>58.629-58.636</c:v>
                </c:pt>
                <c:pt idx="8337">
                  <c:v>58.636-58.643</c:v>
                </c:pt>
                <c:pt idx="8338">
                  <c:v>58.643-58.651</c:v>
                </c:pt>
                <c:pt idx="8339">
                  <c:v>58.651-58.658</c:v>
                </c:pt>
                <c:pt idx="8340">
                  <c:v>58.658-58.665</c:v>
                </c:pt>
                <c:pt idx="8341">
                  <c:v>58.665-58.672</c:v>
                </c:pt>
                <c:pt idx="8342">
                  <c:v>58.672-58.679</c:v>
                </c:pt>
                <c:pt idx="8343">
                  <c:v>58.679-58.686</c:v>
                </c:pt>
                <c:pt idx="8344">
                  <c:v>58.686-58.693</c:v>
                </c:pt>
                <c:pt idx="8345">
                  <c:v>58.693-58.700</c:v>
                </c:pt>
                <c:pt idx="8346">
                  <c:v>58.700-58.707</c:v>
                </c:pt>
                <c:pt idx="8347">
                  <c:v>58.707-58.714</c:v>
                </c:pt>
                <c:pt idx="8348">
                  <c:v>58.714-58.721</c:v>
                </c:pt>
                <c:pt idx="8349">
                  <c:v>58.721-58.728</c:v>
                </c:pt>
                <c:pt idx="8350">
                  <c:v>58.728-58.735</c:v>
                </c:pt>
                <c:pt idx="8351">
                  <c:v>58.735-58.742</c:v>
                </c:pt>
                <c:pt idx="8352">
                  <c:v>58.742-58.749</c:v>
                </c:pt>
                <c:pt idx="8353">
                  <c:v>58.749-58.756</c:v>
                </c:pt>
                <c:pt idx="8354">
                  <c:v>58.756-58.763</c:v>
                </c:pt>
                <c:pt idx="8355">
                  <c:v>58.763-58.770</c:v>
                </c:pt>
                <c:pt idx="8356">
                  <c:v>58.770-58.777</c:v>
                </c:pt>
                <c:pt idx="8357">
                  <c:v>58.777-58.784</c:v>
                </c:pt>
                <c:pt idx="8358">
                  <c:v>58.784-58.791</c:v>
                </c:pt>
                <c:pt idx="8359">
                  <c:v>58.791-58.798</c:v>
                </c:pt>
                <c:pt idx="8360">
                  <c:v>58.798-58.805</c:v>
                </c:pt>
                <c:pt idx="8361">
                  <c:v>58.805-58.812</c:v>
                </c:pt>
                <c:pt idx="8362">
                  <c:v>58.812-58.819</c:v>
                </c:pt>
                <c:pt idx="8363">
                  <c:v>58.819-58.826</c:v>
                </c:pt>
                <c:pt idx="8364">
                  <c:v>58.826-58.833</c:v>
                </c:pt>
                <c:pt idx="8365">
                  <c:v>58.833-58.840</c:v>
                </c:pt>
                <c:pt idx="8366">
                  <c:v>58.840-58.847</c:v>
                </c:pt>
                <c:pt idx="8367">
                  <c:v>58.847-58.854</c:v>
                </c:pt>
                <c:pt idx="8368">
                  <c:v>58.854-58.861</c:v>
                </c:pt>
                <c:pt idx="8369">
                  <c:v>58.861-58.869</c:v>
                </c:pt>
                <c:pt idx="8370">
                  <c:v>58.869-58.876</c:v>
                </c:pt>
                <c:pt idx="8371">
                  <c:v>58.876-58.883</c:v>
                </c:pt>
                <c:pt idx="8372">
                  <c:v>58.883-58.890</c:v>
                </c:pt>
                <c:pt idx="8373">
                  <c:v>58.890-58.897</c:v>
                </c:pt>
                <c:pt idx="8374">
                  <c:v>58.897-58.904</c:v>
                </c:pt>
                <c:pt idx="8375">
                  <c:v>58.904-58.911</c:v>
                </c:pt>
                <c:pt idx="8376">
                  <c:v>58.911-58.918</c:v>
                </c:pt>
                <c:pt idx="8377">
                  <c:v>58.918-58.925</c:v>
                </c:pt>
                <c:pt idx="8378">
                  <c:v>58.925-58.932</c:v>
                </c:pt>
                <c:pt idx="8379">
                  <c:v>58.932-58.939</c:v>
                </c:pt>
                <c:pt idx="8380">
                  <c:v>58.939-58.946</c:v>
                </c:pt>
                <c:pt idx="8381">
                  <c:v>58.946-58.953</c:v>
                </c:pt>
                <c:pt idx="8382">
                  <c:v>58.953-58.960</c:v>
                </c:pt>
                <c:pt idx="8383">
                  <c:v>58.960-58.967</c:v>
                </c:pt>
                <c:pt idx="8384">
                  <c:v>58.967-58.974</c:v>
                </c:pt>
                <c:pt idx="8385">
                  <c:v>58.974-58.981</c:v>
                </c:pt>
                <c:pt idx="8386">
                  <c:v>58.981-58.988</c:v>
                </c:pt>
                <c:pt idx="8387">
                  <c:v>58.988-58.995</c:v>
                </c:pt>
                <c:pt idx="8388">
                  <c:v>58.995-59.002</c:v>
                </c:pt>
                <c:pt idx="8389">
                  <c:v>59.002-59.009</c:v>
                </c:pt>
                <c:pt idx="8390">
                  <c:v>59.009-59.016</c:v>
                </c:pt>
                <c:pt idx="8391">
                  <c:v>59.016-59.023</c:v>
                </c:pt>
                <c:pt idx="8392">
                  <c:v>59.023-59.030</c:v>
                </c:pt>
                <c:pt idx="8393">
                  <c:v>59.030-59.037</c:v>
                </c:pt>
                <c:pt idx="8394">
                  <c:v>59.037-59.044</c:v>
                </c:pt>
                <c:pt idx="8395">
                  <c:v>59.044-59.051</c:v>
                </c:pt>
                <c:pt idx="8396">
                  <c:v>59.051-59.058</c:v>
                </c:pt>
                <c:pt idx="8397">
                  <c:v>59.058-59.065</c:v>
                </c:pt>
                <c:pt idx="8398">
                  <c:v>59.065-59.072</c:v>
                </c:pt>
                <c:pt idx="8399">
                  <c:v>59.072-59.079</c:v>
                </c:pt>
                <c:pt idx="8400">
                  <c:v>59.079-59.087</c:v>
                </c:pt>
                <c:pt idx="8401">
                  <c:v>59.087-59.094</c:v>
                </c:pt>
                <c:pt idx="8402">
                  <c:v>59.094-59.101</c:v>
                </c:pt>
                <c:pt idx="8403">
                  <c:v>59.101-59.108</c:v>
                </c:pt>
                <c:pt idx="8404">
                  <c:v>59.108-59.115</c:v>
                </c:pt>
                <c:pt idx="8405">
                  <c:v>59.115-59.122</c:v>
                </c:pt>
                <c:pt idx="8406">
                  <c:v>59.122-59.129</c:v>
                </c:pt>
                <c:pt idx="8407">
                  <c:v>59.129-59.136</c:v>
                </c:pt>
                <c:pt idx="8408">
                  <c:v>59.136-59.143</c:v>
                </c:pt>
                <c:pt idx="8409">
                  <c:v>59.143-59.150</c:v>
                </c:pt>
                <c:pt idx="8410">
                  <c:v>59.150-59.157</c:v>
                </c:pt>
                <c:pt idx="8411">
                  <c:v>59.157-59.164</c:v>
                </c:pt>
                <c:pt idx="8412">
                  <c:v>59.164-59.171</c:v>
                </c:pt>
                <c:pt idx="8413">
                  <c:v>59.171-59.178</c:v>
                </c:pt>
                <c:pt idx="8414">
                  <c:v>59.178-59.185</c:v>
                </c:pt>
                <c:pt idx="8415">
                  <c:v>59.185-59.192</c:v>
                </c:pt>
                <c:pt idx="8416">
                  <c:v>59.192-59.199</c:v>
                </c:pt>
                <c:pt idx="8417">
                  <c:v>59.199-59.206</c:v>
                </c:pt>
                <c:pt idx="8418">
                  <c:v>59.206-59.213</c:v>
                </c:pt>
                <c:pt idx="8419">
                  <c:v>59.213-59.220</c:v>
                </c:pt>
                <c:pt idx="8420">
                  <c:v>59.220-59.227</c:v>
                </c:pt>
                <c:pt idx="8421">
                  <c:v>59.227-59.234</c:v>
                </c:pt>
                <c:pt idx="8422">
                  <c:v>59.234-59.241</c:v>
                </c:pt>
                <c:pt idx="8423">
                  <c:v>59.241-59.248</c:v>
                </c:pt>
                <c:pt idx="8424">
                  <c:v>59.248-59.255</c:v>
                </c:pt>
                <c:pt idx="8425">
                  <c:v>59.255-59.262</c:v>
                </c:pt>
                <c:pt idx="8426">
                  <c:v>59.262-59.269</c:v>
                </c:pt>
                <c:pt idx="8427">
                  <c:v>59.269-59.276</c:v>
                </c:pt>
                <c:pt idx="8428">
                  <c:v>59.276-59.283</c:v>
                </c:pt>
                <c:pt idx="8429">
                  <c:v>59.283-59.290</c:v>
                </c:pt>
                <c:pt idx="8430">
                  <c:v>59.290-59.297</c:v>
                </c:pt>
                <c:pt idx="8431">
                  <c:v>59.297-59.305</c:v>
                </c:pt>
                <c:pt idx="8432">
                  <c:v>59.305-59.312</c:v>
                </c:pt>
                <c:pt idx="8433">
                  <c:v>59.312-59.319</c:v>
                </c:pt>
                <c:pt idx="8434">
                  <c:v>59.319-59.326</c:v>
                </c:pt>
                <c:pt idx="8435">
                  <c:v>59.326-59.333</c:v>
                </c:pt>
                <c:pt idx="8436">
                  <c:v>59.333-59.340</c:v>
                </c:pt>
                <c:pt idx="8437">
                  <c:v>59.340-59.347</c:v>
                </c:pt>
                <c:pt idx="8438">
                  <c:v>59.347-59.354</c:v>
                </c:pt>
                <c:pt idx="8439">
                  <c:v>59.354-59.361</c:v>
                </c:pt>
                <c:pt idx="8440">
                  <c:v>59.361-59.368</c:v>
                </c:pt>
                <c:pt idx="8441">
                  <c:v>59.368-59.375</c:v>
                </c:pt>
                <c:pt idx="8442">
                  <c:v>59.375-59.382</c:v>
                </c:pt>
                <c:pt idx="8443">
                  <c:v>59.382-59.389</c:v>
                </c:pt>
                <c:pt idx="8444">
                  <c:v>59.389-59.396</c:v>
                </c:pt>
                <c:pt idx="8445">
                  <c:v>59.396-59.403</c:v>
                </c:pt>
                <c:pt idx="8446">
                  <c:v>59.403-59.410</c:v>
                </c:pt>
                <c:pt idx="8447">
                  <c:v>59.410-59.417</c:v>
                </c:pt>
                <c:pt idx="8448">
                  <c:v>59.417-59.424</c:v>
                </c:pt>
                <c:pt idx="8449">
                  <c:v>59.424-59.431</c:v>
                </c:pt>
                <c:pt idx="8450">
                  <c:v>59.431-59.438</c:v>
                </c:pt>
                <c:pt idx="8451">
                  <c:v>59.438-59.445</c:v>
                </c:pt>
                <c:pt idx="8452">
                  <c:v>59.445-59.452</c:v>
                </c:pt>
                <c:pt idx="8453">
                  <c:v>59.452-59.459</c:v>
                </c:pt>
                <c:pt idx="8454">
                  <c:v>59.459-59.466</c:v>
                </c:pt>
                <c:pt idx="8455">
                  <c:v>59.466-59.473</c:v>
                </c:pt>
                <c:pt idx="8456">
                  <c:v>59.473-59.480</c:v>
                </c:pt>
                <c:pt idx="8457">
                  <c:v>59.480-59.487</c:v>
                </c:pt>
                <c:pt idx="8458">
                  <c:v>59.487-59.494</c:v>
                </c:pt>
                <c:pt idx="8459">
                  <c:v>59.494-59.501</c:v>
                </c:pt>
                <c:pt idx="8460">
                  <c:v>59.501-59.508</c:v>
                </c:pt>
                <c:pt idx="8461">
                  <c:v>59.508-59.515</c:v>
                </c:pt>
                <c:pt idx="8462">
                  <c:v>59.515-59.523</c:v>
                </c:pt>
                <c:pt idx="8463">
                  <c:v>59.523-59.530</c:v>
                </c:pt>
                <c:pt idx="8464">
                  <c:v>59.530-59.537</c:v>
                </c:pt>
                <c:pt idx="8465">
                  <c:v>59.537-59.544</c:v>
                </c:pt>
                <c:pt idx="8466">
                  <c:v>59.544-59.551</c:v>
                </c:pt>
                <c:pt idx="8467">
                  <c:v>59.551-59.558</c:v>
                </c:pt>
                <c:pt idx="8468">
                  <c:v>59.558-59.565</c:v>
                </c:pt>
                <c:pt idx="8469">
                  <c:v>59.565-59.572</c:v>
                </c:pt>
                <c:pt idx="8470">
                  <c:v>59.572-59.579</c:v>
                </c:pt>
                <c:pt idx="8471">
                  <c:v>59.579-59.586</c:v>
                </c:pt>
                <c:pt idx="8472">
                  <c:v>59.586-59.593</c:v>
                </c:pt>
                <c:pt idx="8473">
                  <c:v>59.593-59.600</c:v>
                </c:pt>
                <c:pt idx="8474">
                  <c:v>59.600-59.607</c:v>
                </c:pt>
                <c:pt idx="8475">
                  <c:v>59.607-59.614</c:v>
                </c:pt>
                <c:pt idx="8476">
                  <c:v>59.614-59.621</c:v>
                </c:pt>
                <c:pt idx="8477">
                  <c:v>59.621-59.628</c:v>
                </c:pt>
                <c:pt idx="8478">
                  <c:v>59.628-59.635</c:v>
                </c:pt>
                <c:pt idx="8479">
                  <c:v>59.635-59.642</c:v>
                </c:pt>
                <c:pt idx="8480">
                  <c:v>59.642-59.649</c:v>
                </c:pt>
                <c:pt idx="8481">
                  <c:v>59.649-59.656</c:v>
                </c:pt>
                <c:pt idx="8482">
                  <c:v>59.656-59.663</c:v>
                </c:pt>
                <c:pt idx="8483">
                  <c:v>59.663-59.670</c:v>
                </c:pt>
                <c:pt idx="8484">
                  <c:v>59.670-59.677</c:v>
                </c:pt>
                <c:pt idx="8485">
                  <c:v>59.677-59.684</c:v>
                </c:pt>
                <c:pt idx="8486">
                  <c:v>59.684-59.691</c:v>
                </c:pt>
                <c:pt idx="8487">
                  <c:v>59.691-59.698</c:v>
                </c:pt>
                <c:pt idx="8488">
                  <c:v>59.698-59.705</c:v>
                </c:pt>
                <c:pt idx="8489">
                  <c:v>59.705-59.712</c:v>
                </c:pt>
                <c:pt idx="8490">
                  <c:v>59.712-59.719</c:v>
                </c:pt>
                <c:pt idx="8491">
                  <c:v>59.719-59.726</c:v>
                </c:pt>
                <c:pt idx="8492">
                  <c:v>59.726-59.733</c:v>
                </c:pt>
                <c:pt idx="8493">
                  <c:v>59.733-59.741</c:v>
                </c:pt>
                <c:pt idx="8494">
                  <c:v>59.741-59.748</c:v>
                </c:pt>
                <c:pt idx="8495">
                  <c:v>59.748-59.755</c:v>
                </c:pt>
                <c:pt idx="8496">
                  <c:v>59.755-59.762</c:v>
                </c:pt>
                <c:pt idx="8497">
                  <c:v>59.762-59.769</c:v>
                </c:pt>
                <c:pt idx="8498">
                  <c:v>59.769-59.776</c:v>
                </c:pt>
                <c:pt idx="8499">
                  <c:v>59.776-59.783</c:v>
                </c:pt>
                <c:pt idx="8500">
                  <c:v>59.783-59.790</c:v>
                </c:pt>
                <c:pt idx="8501">
                  <c:v>59.790-59.797</c:v>
                </c:pt>
                <c:pt idx="8502">
                  <c:v>59.797-59.804</c:v>
                </c:pt>
                <c:pt idx="8503">
                  <c:v>59.804-59.811</c:v>
                </c:pt>
                <c:pt idx="8504">
                  <c:v>59.811-59.818</c:v>
                </c:pt>
                <c:pt idx="8505">
                  <c:v>59.818-59.825</c:v>
                </c:pt>
                <c:pt idx="8506">
                  <c:v>59.825-59.832</c:v>
                </c:pt>
                <c:pt idx="8507">
                  <c:v>59.832-59.839</c:v>
                </c:pt>
                <c:pt idx="8508">
                  <c:v>59.839-59.846</c:v>
                </c:pt>
                <c:pt idx="8509">
                  <c:v>59.846-59.853</c:v>
                </c:pt>
                <c:pt idx="8510">
                  <c:v>59.853-59.860</c:v>
                </c:pt>
                <c:pt idx="8511">
                  <c:v>59.860-59.867</c:v>
                </c:pt>
                <c:pt idx="8512">
                  <c:v>59.867-59.874</c:v>
                </c:pt>
                <c:pt idx="8513">
                  <c:v>59.874-59.881</c:v>
                </c:pt>
                <c:pt idx="8514">
                  <c:v>59.881-59.888</c:v>
                </c:pt>
                <c:pt idx="8515">
                  <c:v>59.888-59.895</c:v>
                </c:pt>
                <c:pt idx="8516">
                  <c:v>59.895-59.902</c:v>
                </c:pt>
                <c:pt idx="8517">
                  <c:v>59.902-59.909</c:v>
                </c:pt>
                <c:pt idx="8518">
                  <c:v>59.909-59.916</c:v>
                </c:pt>
                <c:pt idx="8519">
                  <c:v>59.916-59.923</c:v>
                </c:pt>
                <c:pt idx="8520">
                  <c:v>59.923-59.930</c:v>
                </c:pt>
                <c:pt idx="8521">
                  <c:v>59.930-59.937</c:v>
                </c:pt>
                <c:pt idx="8522">
                  <c:v>59.937-59.944</c:v>
                </c:pt>
                <c:pt idx="8523">
                  <c:v>59.944-59.951</c:v>
                </c:pt>
                <c:pt idx="8524">
                  <c:v>59.951-59.959</c:v>
                </c:pt>
                <c:pt idx="8525">
                  <c:v>59.959-59.966</c:v>
                </c:pt>
                <c:pt idx="8526">
                  <c:v>59.966-59.973</c:v>
                </c:pt>
                <c:pt idx="8527">
                  <c:v>59.973-59.980</c:v>
                </c:pt>
                <c:pt idx="8528">
                  <c:v>59.980-59.987</c:v>
                </c:pt>
                <c:pt idx="8529">
                  <c:v>59.987-59.994</c:v>
                </c:pt>
                <c:pt idx="8530">
                  <c:v>59.994-60.001</c:v>
                </c:pt>
                <c:pt idx="8531">
                  <c:v>60.001-60.008</c:v>
                </c:pt>
                <c:pt idx="8532">
                  <c:v>60.008-60.015</c:v>
                </c:pt>
                <c:pt idx="8533">
                  <c:v>60.015-60.022</c:v>
                </c:pt>
                <c:pt idx="8534">
                  <c:v>60.022-60.029</c:v>
                </c:pt>
                <c:pt idx="8535">
                  <c:v>60.029-60.036</c:v>
                </c:pt>
                <c:pt idx="8536">
                  <c:v>60.036-60.043</c:v>
                </c:pt>
                <c:pt idx="8537">
                  <c:v>60.043-60.050</c:v>
                </c:pt>
                <c:pt idx="8538">
                  <c:v>60.050-60.057</c:v>
                </c:pt>
                <c:pt idx="8539">
                  <c:v>60.057-60.064</c:v>
                </c:pt>
                <c:pt idx="8540">
                  <c:v>60.064-60.071</c:v>
                </c:pt>
                <c:pt idx="8541">
                  <c:v>60.071-60.078</c:v>
                </c:pt>
                <c:pt idx="8542">
                  <c:v>60.078-60.085</c:v>
                </c:pt>
                <c:pt idx="8543">
                  <c:v>60.085-60.092</c:v>
                </c:pt>
                <c:pt idx="8544">
                  <c:v>60.092-60.099</c:v>
                </c:pt>
                <c:pt idx="8545">
                  <c:v>60.099-60.106</c:v>
                </c:pt>
                <c:pt idx="8546">
                  <c:v>60.106-60.113</c:v>
                </c:pt>
                <c:pt idx="8547">
                  <c:v>60.113-60.120</c:v>
                </c:pt>
                <c:pt idx="8548">
                  <c:v>60.120-60.127</c:v>
                </c:pt>
                <c:pt idx="8549">
                  <c:v>60.127-60.134</c:v>
                </c:pt>
                <c:pt idx="8550">
                  <c:v>60.134-60.141</c:v>
                </c:pt>
                <c:pt idx="8551">
                  <c:v>60.141-60.148</c:v>
                </c:pt>
                <c:pt idx="8552">
                  <c:v>60.148-60.155</c:v>
                </c:pt>
                <c:pt idx="8553">
                  <c:v>60.155-60.162</c:v>
                </c:pt>
                <c:pt idx="8554">
                  <c:v>60.162-60.169</c:v>
                </c:pt>
                <c:pt idx="8555">
                  <c:v>60.169-60.177</c:v>
                </c:pt>
                <c:pt idx="8556">
                  <c:v>60.177-60.184</c:v>
                </c:pt>
                <c:pt idx="8557">
                  <c:v>60.184-60.191</c:v>
                </c:pt>
                <c:pt idx="8558">
                  <c:v>60.191-60.198</c:v>
                </c:pt>
                <c:pt idx="8559">
                  <c:v>60.198-60.205</c:v>
                </c:pt>
                <c:pt idx="8560">
                  <c:v>60.205-60.212</c:v>
                </c:pt>
                <c:pt idx="8561">
                  <c:v>60.212-60.219</c:v>
                </c:pt>
                <c:pt idx="8562">
                  <c:v>60.219-60.226</c:v>
                </c:pt>
                <c:pt idx="8563">
                  <c:v>60.226-60.233</c:v>
                </c:pt>
                <c:pt idx="8564">
                  <c:v>60.233-60.240</c:v>
                </c:pt>
                <c:pt idx="8565">
                  <c:v>60.240-60.247</c:v>
                </c:pt>
                <c:pt idx="8566">
                  <c:v>60.247-60.254</c:v>
                </c:pt>
                <c:pt idx="8567">
                  <c:v>60.254-60.261</c:v>
                </c:pt>
                <c:pt idx="8568">
                  <c:v>60.261-60.268</c:v>
                </c:pt>
                <c:pt idx="8569">
                  <c:v>60.268-60.275</c:v>
                </c:pt>
                <c:pt idx="8570">
                  <c:v>60.275-60.282</c:v>
                </c:pt>
                <c:pt idx="8571">
                  <c:v>60.282-60.289</c:v>
                </c:pt>
                <c:pt idx="8572">
                  <c:v>60.289-60.296</c:v>
                </c:pt>
                <c:pt idx="8573">
                  <c:v>60.296-60.303</c:v>
                </c:pt>
                <c:pt idx="8574">
                  <c:v>60.303-60.310</c:v>
                </c:pt>
                <c:pt idx="8575">
                  <c:v>60.310-60.317</c:v>
                </c:pt>
                <c:pt idx="8576">
                  <c:v>60.317-60.324</c:v>
                </c:pt>
                <c:pt idx="8577">
                  <c:v>60.324-60.331</c:v>
                </c:pt>
                <c:pt idx="8578">
                  <c:v>60.331-60.338</c:v>
                </c:pt>
                <c:pt idx="8579">
                  <c:v>60.338-60.345</c:v>
                </c:pt>
                <c:pt idx="8580">
                  <c:v>60.345-60.352</c:v>
                </c:pt>
                <c:pt idx="8581">
                  <c:v>60.352-60.359</c:v>
                </c:pt>
                <c:pt idx="8582">
                  <c:v>60.359-60.366</c:v>
                </c:pt>
                <c:pt idx="8583">
                  <c:v>60.366-60.373</c:v>
                </c:pt>
                <c:pt idx="8584">
                  <c:v>60.373-60.380</c:v>
                </c:pt>
                <c:pt idx="8585">
                  <c:v>60.380-60.387</c:v>
                </c:pt>
                <c:pt idx="8586">
                  <c:v>60.387-60.395</c:v>
                </c:pt>
                <c:pt idx="8587">
                  <c:v>60.395-60.402</c:v>
                </c:pt>
                <c:pt idx="8588">
                  <c:v>60.402-60.409</c:v>
                </c:pt>
                <c:pt idx="8589">
                  <c:v>60.409-60.416</c:v>
                </c:pt>
                <c:pt idx="8590">
                  <c:v>60.416-60.423</c:v>
                </c:pt>
                <c:pt idx="8591">
                  <c:v>60.423-60.430</c:v>
                </c:pt>
                <c:pt idx="8592">
                  <c:v>60.430-60.437</c:v>
                </c:pt>
                <c:pt idx="8593">
                  <c:v>60.437-60.444</c:v>
                </c:pt>
                <c:pt idx="8594">
                  <c:v>60.444-60.451</c:v>
                </c:pt>
                <c:pt idx="8595">
                  <c:v>60.451-60.458</c:v>
                </c:pt>
                <c:pt idx="8596">
                  <c:v>60.458-60.465</c:v>
                </c:pt>
                <c:pt idx="8597">
                  <c:v>60.465-60.472</c:v>
                </c:pt>
                <c:pt idx="8598">
                  <c:v>60.472-60.479</c:v>
                </c:pt>
                <c:pt idx="8599">
                  <c:v>60.479-60.486</c:v>
                </c:pt>
                <c:pt idx="8600">
                  <c:v>60.486-60.493</c:v>
                </c:pt>
                <c:pt idx="8601">
                  <c:v>60.493-60.500</c:v>
                </c:pt>
                <c:pt idx="8602">
                  <c:v>60.500-60.507</c:v>
                </c:pt>
                <c:pt idx="8603">
                  <c:v>60.507-60.514</c:v>
                </c:pt>
                <c:pt idx="8604">
                  <c:v>60.514-60.521</c:v>
                </c:pt>
                <c:pt idx="8605">
                  <c:v>60.521-60.528</c:v>
                </c:pt>
                <c:pt idx="8606">
                  <c:v>60.528-60.535</c:v>
                </c:pt>
                <c:pt idx="8607">
                  <c:v>60.535-60.542</c:v>
                </c:pt>
                <c:pt idx="8608">
                  <c:v>60.542-60.549</c:v>
                </c:pt>
                <c:pt idx="8609">
                  <c:v>60.549-60.556</c:v>
                </c:pt>
                <c:pt idx="8610">
                  <c:v>60.556-60.563</c:v>
                </c:pt>
                <c:pt idx="8611">
                  <c:v>60.563-60.570</c:v>
                </c:pt>
                <c:pt idx="8612">
                  <c:v>60.570-60.577</c:v>
                </c:pt>
                <c:pt idx="8613">
                  <c:v>60.577-60.584</c:v>
                </c:pt>
                <c:pt idx="8614">
                  <c:v>60.584-60.591</c:v>
                </c:pt>
                <c:pt idx="8615">
                  <c:v>60.591-60.598</c:v>
                </c:pt>
                <c:pt idx="8616">
                  <c:v>60.598-60.605</c:v>
                </c:pt>
                <c:pt idx="8617">
                  <c:v>60.605-60.612</c:v>
                </c:pt>
                <c:pt idx="8618">
                  <c:v>60.612-60.620</c:v>
                </c:pt>
                <c:pt idx="8619">
                  <c:v>60.620-60.627</c:v>
                </c:pt>
                <c:pt idx="8620">
                  <c:v>60.627-60.634</c:v>
                </c:pt>
                <c:pt idx="8621">
                  <c:v>60.634-60.641</c:v>
                </c:pt>
                <c:pt idx="8622">
                  <c:v>60.641-60.648</c:v>
                </c:pt>
                <c:pt idx="8623">
                  <c:v>60.648-60.655</c:v>
                </c:pt>
                <c:pt idx="8624">
                  <c:v>60.655-60.662</c:v>
                </c:pt>
                <c:pt idx="8625">
                  <c:v>60.662-60.669</c:v>
                </c:pt>
                <c:pt idx="8626">
                  <c:v>60.669-60.676</c:v>
                </c:pt>
                <c:pt idx="8627">
                  <c:v>60.676-60.683</c:v>
                </c:pt>
                <c:pt idx="8628">
                  <c:v>60.683-60.690</c:v>
                </c:pt>
                <c:pt idx="8629">
                  <c:v>60.690-60.697</c:v>
                </c:pt>
                <c:pt idx="8630">
                  <c:v>60.697-60.704</c:v>
                </c:pt>
                <c:pt idx="8631">
                  <c:v>60.704-60.711</c:v>
                </c:pt>
                <c:pt idx="8632">
                  <c:v>60.711-60.718</c:v>
                </c:pt>
                <c:pt idx="8633">
                  <c:v>60.718-60.725</c:v>
                </c:pt>
                <c:pt idx="8634">
                  <c:v>60.725-60.732</c:v>
                </c:pt>
                <c:pt idx="8635">
                  <c:v>60.732-60.739</c:v>
                </c:pt>
                <c:pt idx="8636">
                  <c:v>60.739-60.746</c:v>
                </c:pt>
                <c:pt idx="8637">
                  <c:v>60.746-60.753</c:v>
                </c:pt>
                <c:pt idx="8638">
                  <c:v>60.753-60.760</c:v>
                </c:pt>
                <c:pt idx="8639">
                  <c:v>60.760-60.767</c:v>
                </c:pt>
                <c:pt idx="8640">
                  <c:v>60.767-60.774</c:v>
                </c:pt>
                <c:pt idx="8641">
                  <c:v>60.774-60.781</c:v>
                </c:pt>
                <c:pt idx="8642">
                  <c:v>60.781-60.788</c:v>
                </c:pt>
                <c:pt idx="8643">
                  <c:v>60.788-60.795</c:v>
                </c:pt>
                <c:pt idx="8644">
                  <c:v>60.795-60.802</c:v>
                </c:pt>
                <c:pt idx="8645">
                  <c:v>60.802-60.809</c:v>
                </c:pt>
                <c:pt idx="8646">
                  <c:v>60.809-60.816</c:v>
                </c:pt>
                <c:pt idx="8647">
                  <c:v>60.816-60.823</c:v>
                </c:pt>
                <c:pt idx="8648">
                  <c:v>60.823-60.830</c:v>
                </c:pt>
                <c:pt idx="8649">
                  <c:v>60.830-60.838</c:v>
                </c:pt>
                <c:pt idx="8650">
                  <c:v>60.838-60.845</c:v>
                </c:pt>
                <c:pt idx="8651">
                  <c:v>60.845-60.852</c:v>
                </c:pt>
                <c:pt idx="8652">
                  <c:v>60.852-60.859</c:v>
                </c:pt>
                <c:pt idx="8653">
                  <c:v>60.859-60.866</c:v>
                </c:pt>
                <c:pt idx="8654">
                  <c:v>60.866-60.873</c:v>
                </c:pt>
                <c:pt idx="8655">
                  <c:v>60.873-60.880</c:v>
                </c:pt>
                <c:pt idx="8656">
                  <c:v>60.880-60.887</c:v>
                </c:pt>
                <c:pt idx="8657">
                  <c:v>60.887-60.894</c:v>
                </c:pt>
                <c:pt idx="8658">
                  <c:v>60.894-60.901</c:v>
                </c:pt>
                <c:pt idx="8659">
                  <c:v>60.901-60.908</c:v>
                </c:pt>
                <c:pt idx="8660">
                  <c:v>60.908-60.915</c:v>
                </c:pt>
                <c:pt idx="8661">
                  <c:v>60.915-60.922</c:v>
                </c:pt>
                <c:pt idx="8662">
                  <c:v>60.922-60.929</c:v>
                </c:pt>
                <c:pt idx="8663">
                  <c:v>60.929-60.936</c:v>
                </c:pt>
                <c:pt idx="8664">
                  <c:v>60.936-60.943</c:v>
                </c:pt>
                <c:pt idx="8665">
                  <c:v>60.943-60.950</c:v>
                </c:pt>
                <c:pt idx="8666">
                  <c:v>60.950-60.957</c:v>
                </c:pt>
                <c:pt idx="8667">
                  <c:v>60.957-60.964</c:v>
                </c:pt>
                <c:pt idx="8668">
                  <c:v>60.964-60.971</c:v>
                </c:pt>
                <c:pt idx="8669">
                  <c:v>60.971-60.978</c:v>
                </c:pt>
                <c:pt idx="8670">
                  <c:v>60.978-60.985</c:v>
                </c:pt>
                <c:pt idx="8671">
                  <c:v>60.985-60.992</c:v>
                </c:pt>
                <c:pt idx="8672">
                  <c:v>60.992-60.999</c:v>
                </c:pt>
                <c:pt idx="8673">
                  <c:v>60.999-61.006</c:v>
                </c:pt>
                <c:pt idx="8674">
                  <c:v>61.006-61.013</c:v>
                </c:pt>
                <c:pt idx="8675">
                  <c:v>61.013-61.020</c:v>
                </c:pt>
                <c:pt idx="8676">
                  <c:v>61.020-61.027</c:v>
                </c:pt>
                <c:pt idx="8677">
                  <c:v>61.027-61.034</c:v>
                </c:pt>
                <c:pt idx="8678">
                  <c:v>61.034-61.041</c:v>
                </c:pt>
                <c:pt idx="8679">
                  <c:v>61.041-61.048</c:v>
                </c:pt>
                <c:pt idx="8680">
                  <c:v>61.048-61.056</c:v>
                </c:pt>
                <c:pt idx="8681">
                  <c:v>61.056-61.063</c:v>
                </c:pt>
                <c:pt idx="8682">
                  <c:v>61.063-61.070</c:v>
                </c:pt>
                <c:pt idx="8683">
                  <c:v>61.070-61.077</c:v>
                </c:pt>
                <c:pt idx="8684">
                  <c:v>61.077-61.084</c:v>
                </c:pt>
                <c:pt idx="8685">
                  <c:v>61.084-61.091</c:v>
                </c:pt>
                <c:pt idx="8686">
                  <c:v>61.091-61.098</c:v>
                </c:pt>
                <c:pt idx="8687">
                  <c:v>61.098-61.105</c:v>
                </c:pt>
                <c:pt idx="8688">
                  <c:v>61.105-61.112</c:v>
                </c:pt>
                <c:pt idx="8689">
                  <c:v>61.112-61.119</c:v>
                </c:pt>
                <c:pt idx="8690">
                  <c:v>61.119-61.126</c:v>
                </c:pt>
                <c:pt idx="8691">
                  <c:v>61.126-61.133</c:v>
                </c:pt>
                <c:pt idx="8692">
                  <c:v>61.133-61.140</c:v>
                </c:pt>
                <c:pt idx="8693">
                  <c:v>61.140-61.147</c:v>
                </c:pt>
                <c:pt idx="8694">
                  <c:v>61.147-61.154</c:v>
                </c:pt>
                <c:pt idx="8695">
                  <c:v>61.154-61.161</c:v>
                </c:pt>
                <c:pt idx="8696">
                  <c:v>61.161-61.168</c:v>
                </c:pt>
                <c:pt idx="8697">
                  <c:v>61.168-61.175</c:v>
                </c:pt>
                <c:pt idx="8698">
                  <c:v>61.175-61.182</c:v>
                </c:pt>
                <c:pt idx="8699">
                  <c:v>61.182-61.189</c:v>
                </c:pt>
                <c:pt idx="8700">
                  <c:v>61.189-61.196</c:v>
                </c:pt>
                <c:pt idx="8701">
                  <c:v>61.196-61.203</c:v>
                </c:pt>
                <c:pt idx="8702">
                  <c:v>61.203-61.210</c:v>
                </c:pt>
                <c:pt idx="8703">
                  <c:v>61.210-61.217</c:v>
                </c:pt>
                <c:pt idx="8704">
                  <c:v>61.217-61.224</c:v>
                </c:pt>
                <c:pt idx="8705">
                  <c:v>61.224-61.231</c:v>
                </c:pt>
                <c:pt idx="8706">
                  <c:v>61.231-61.238</c:v>
                </c:pt>
                <c:pt idx="8707">
                  <c:v>61.238-61.245</c:v>
                </c:pt>
                <c:pt idx="8708">
                  <c:v>61.245-61.252</c:v>
                </c:pt>
                <c:pt idx="8709">
                  <c:v>61.252-61.259</c:v>
                </c:pt>
                <c:pt idx="8710">
                  <c:v>61.259-61.266</c:v>
                </c:pt>
                <c:pt idx="8711">
                  <c:v>61.266-61.274</c:v>
                </c:pt>
                <c:pt idx="8712">
                  <c:v>61.274-61.281</c:v>
                </c:pt>
                <c:pt idx="8713">
                  <c:v>61.281-61.288</c:v>
                </c:pt>
                <c:pt idx="8714">
                  <c:v>61.288-61.295</c:v>
                </c:pt>
                <c:pt idx="8715">
                  <c:v>61.295-61.302</c:v>
                </c:pt>
                <c:pt idx="8716">
                  <c:v>61.302-61.309</c:v>
                </c:pt>
                <c:pt idx="8717">
                  <c:v>61.309-61.316</c:v>
                </c:pt>
                <c:pt idx="8718">
                  <c:v>61.316-61.323</c:v>
                </c:pt>
                <c:pt idx="8719">
                  <c:v>61.323-61.330</c:v>
                </c:pt>
                <c:pt idx="8720">
                  <c:v>61.330-61.337</c:v>
                </c:pt>
                <c:pt idx="8721">
                  <c:v>61.337-61.344</c:v>
                </c:pt>
                <c:pt idx="8722">
                  <c:v>61.344-61.351</c:v>
                </c:pt>
                <c:pt idx="8723">
                  <c:v>61.351-61.358</c:v>
                </c:pt>
                <c:pt idx="8724">
                  <c:v>61.358-61.365</c:v>
                </c:pt>
                <c:pt idx="8725">
                  <c:v>61.365-61.372</c:v>
                </c:pt>
                <c:pt idx="8726">
                  <c:v>61.372-61.379</c:v>
                </c:pt>
                <c:pt idx="8727">
                  <c:v>61.379-61.386</c:v>
                </c:pt>
                <c:pt idx="8728">
                  <c:v>61.386-61.393</c:v>
                </c:pt>
                <c:pt idx="8729">
                  <c:v>61.393-61.400</c:v>
                </c:pt>
                <c:pt idx="8730">
                  <c:v>61.400-61.407</c:v>
                </c:pt>
                <c:pt idx="8731">
                  <c:v>61.407-61.414</c:v>
                </c:pt>
                <c:pt idx="8732">
                  <c:v>61.414-61.421</c:v>
                </c:pt>
                <c:pt idx="8733">
                  <c:v>61.421-61.428</c:v>
                </c:pt>
                <c:pt idx="8734">
                  <c:v>61.428-61.435</c:v>
                </c:pt>
                <c:pt idx="8735">
                  <c:v>61.435-61.442</c:v>
                </c:pt>
                <c:pt idx="8736">
                  <c:v>61.442-61.449</c:v>
                </c:pt>
                <c:pt idx="8737">
                  <c:v>61.449-61.456</c:v>
                </c:pt>
                <c:pt idx="8738">
                  <c:v>61.456-61.463</c:v>
                </c:pt>
                <c:pt idx="8739">
                  <c:v>61.463-61.470</c:v>
                </c:pt>
                <c:pt idx="8740">
                  <c:v>61.470-61.477</c:v>
                </c:pt>
                <c:pt idx="8741">
                  <c:v>61.477-61.484</c:v>
                </c:pt>
                <c:pt idx="8742">
                  <c:v>61.484-61.492</c:v>
                </c:pt>
                <c:pt idx="8743">
                  <c:v>61.492-61.499</c:v>
                </c:pt>
                <c:pt idx="8744">
                  <c:v>61.499-61.506</c:v>
                </c:pt>
                <c:pt idx="8745">
                  <c:v>61.506-61.513</c:v>
                </c:pt>
                <c:pt idx="8746">
                  <c:v>61.513-61.520</c:v>
                </c:pt>
                <c:pt idx="8747">
                  <c:v>61.520-61.527</c:v>
                </c:pt>
                <c:pt idx="8748">
                  <c:v>61.527-61.534</c:v>
                </c:pt>
                <c:pt idx="8749">
                  <c:v>61.534-61.541</c:v>
                </c:pt>
                <c:pt idx="8750">
                  <c:v>61.541-61.548</c:v>
                </c:pt>
                <c:pt idx="8751">
                  <c:v>61.548-61.555</c:v>
                </c:pt>
                <c:pt idx="8752">
                  <c:v>61.555-61.562</c:v>
                </c:pt>
                <c:pt idx="8753">
                  <c:v>61.562-61.569</c:v>
                </c:pt>
                <c:pt idx="8754">
                  <c:v>61.569-61.576</c:v>
                </c:pt>
                <c:pt idx="8755">
                  <c:v>61.576-61.583</c:v>
                </c:pt>
                <c:pt idx="8756">
                  <c:v>61.583-61.590</c:v>
                </c:pt>
                <c:pt idx="8757">
                  <c:v>61.590-61.597</c:v>
                </c:pt>
                <c:pt idx="8758">
                  <c:v>61.597-61.604</c:v>
                </c:pt>
                <c:pt idx="8759">
                  <c:v>61.604-61.611</c:v>
                </c:pt>
                <c:pt idx="8760">
                  <c:v>61.611-61.618</c:v>
                </c:pt>
                <c:pt idx="8761">
                  <c:v>61.618-61.625</c:v>
                </c:pt>
                <c:pt idx="8762">
                  <c:v>61.625-61.632</c:v>
                </c:pt>
                <c:pt idx="8763">
                  <c:v>61.632-61.639</c:v>
                </c:pt>
                <c:pt idx="8764">
                  <c:v>61.639-61.646</c:v>
                </c:pt>
                <c:pt idx="8765">
                  <c:v>61.646-61.653</c:v>
                </c:pt>
                <c:pt idx="8766">
                  <c:v>61.653-61.660</c:v>
                </c:pt>
                <c:pt idx="8767">
                  <c:v>61.660-61.667</c:v>
                </c:pt>
                <c:pt idx="8768">
                  <c:v>61.667-61.674</c:v>
                </c:pt>
                <c:pt idx="8769">
                  <c:v>61.674-61.681</c:v>
                </c:pt>
                <c:pt idx="8770">
                  <c:v>61.681-61.688</c:v>
                </c:pt>
                <c:pt idx="8771">
                  <c:v>61.688-61.695</c:v>
                </c:pt>
                <c:pt idx="8772">
                  <c:v>61.695-61.702</c:v>
                </c:pt>
                <c:pt idx="8773">
                  <c:v>61.702-61.710</c:v>
                </c:pt>
                <c:pt idx="8774">
                  <c:v>61.710-61.717</c:v>
                </c:pt>
                <c:pt idx="8775">
                  <c:v>61.717-61.724</c:v>
                </c:pt>
                <c:pt idx="8776">
                  <c:v>61.724-61.731</c:v>
                </c:pt>
                <c:pt idx="8777">
                  <c:v>61.731-61.738</c:v>
                </c:pt>
                <c:pt idx="8778">
                  <c:v>61.738-61.745</c:v>
                </c:pt>
                <c:pt idx="8779">
                  <c:v>61.745-61.752</c:v>
                </c:pt>
                <c:pt idx="8780">
                  <c:v>61.752-61.759</c:v>
                </c:pt>
                <c:pt idx="8781">
                  <c:v>61.759-61.766</c:v>
                </c:pt>
                <c:pt idx="8782">
                  <c:v>61.766-61.773</c:v>
                </c:pt>
                <c:pt idx="8783">
                  <c:v>61.773-61.780</c:v>
                </c:pt>
                <c:pt idx="8784">
                  <c:v>61.780-61.787</c:v>
                </c:pt>
                <c:pt idx="8785">
                  <c:v>61.787-61.794</c:v>
                </c:pt>
                <c:pt idx="8786">
                  <c:v>61.794-61.801</c:v>
                </c:pt>
                <c:pt idx="8787">
                  <c:v>61.801-61.808</c:v>
                </c:pt>
                <c:pt idx="8788">
                  <c:v>61.808-61.815</c:v>
                </c:pt>
                <c:pt idx="8789">
                  <c:v>61.815-61.822</c:v>
                </c:pt>
                <c:pt idx="8790">
                  <c:v>61.822-61.829</c:v>
                </c:pt>
                <c:pt idx="8791">
                  <c:v>61.829-61.836</c:v>
                </c:pt>
                <c:pt idx="8792">
                  <c:v>61.836-61.843</c:v>
                </c:pt>
                <c:pt idx="8793">
                  <c:v>61.843-61.850</c:v>
                </c:pt>
                <c:pt idx="8794">
                  <c:v>61.850-61.857</c:v>
                </c:pt>
                <c:pt idx="8795">
                  <c:v>61.857-61.864</c:v>
                </c:pt>
                <c:pt idx="8796">
                  <c:v>61.864-61.871</c:v>
                </c:pt>
                <c:pt idx="8797">
                  <c:v>61.871-61.878</c:v>
                </c:pt>
                <c:pt idx="8798">
                  <c:v>61.878-61.885</c:v>
                </c:pt>
                <c:pt idx="8799">
                  <c:v>61.885-61.892</c:v>
                </c:pt>
                <c:pt idx="8800">
                  <c:v>61.892-61.899</c:v>
                </c:pt>
                <c:pt idx="8801">
                  <c:v>61.899-61.906</c:v>
                </c:pt>
                <c:pt idx="8802">
                  <c:v>61.906-61.913</c:v>
                </c:pt>
                <c:pt idx="8803">
                  <c:v>61.913-61.920</c:v>
                </c:pt>
                <c:pt idx="8804">
                  <c:v>61.920-61.928</c:v>
                </c:pt>
                <c:pt idx="8805">
                  <c:v>61.928-61.935</c:v>
                </c:pt>
                <c:pt idx="8806">
                  <c:v>61.935-61.942</c:v>
                </c:pt>
                <c:pt idx="8807">
                  <c:v>61.942-61.949</c:v>
                </c:pt>
                <c:pt idx="8808">
                  <c:v>61.949-61.956</c:v>
                </c:pt>
                <c:pt idx="8809">
                  <c:v>61.956-61.963</c:v>
                </c:pt>
                <c:pt idx="8810">
                  <c:v>61.963-61.970</c:v>
                </c:pt>
                <c:pt idx="8811">
                  <c:v>61.970-61.977</c:v>
                </c:pt>
                <c:pt idx="8812">
                  <c:v>61.977-61.984</c:v>
                </c:pt>
                <c:pt idx="8813">
                  <c:v>61.984-61.991</c:v>
                </c:pt>
                <c:pt idx="8814">
                  <c:v>61.991-61.998</c:v>
                </c:pt>
                <c:pt idx="8815">
                  <c:v>61.998-62.005</c:v>
                </c:pt>
                <c:pt idx="8816">
                  <c:v>62.005-62.012</c:v>
                </c:pt>
                <c:pt idx="8817">
                  <c:v>62.012-62.019</c:v>
                </c:pt>
                <c:pt idx="8818">
                  <c:v>62.019-62.026</c:v>
                </c:pt>
                <c:pt idx="8819">
                  <c:v>62.026-62.033</c:v>
                </c:pt>
                <c:pt idx="8820">
                  <c:v>62.033-62.040</c:v>
                </c:pt>
                <c:pt idx="8821">
                  <c:v>62.040-62.047</c:v>
                </c:pt>
                <c:pt idx="8822">
                  <c:v>62.047-62.054</c:v>
                </c:pt>
                <c:pt idx="8823">
                  <c:v>62.054-62.061</c:v>
                </c:pt>
                <c:pt idx="8824">
                  <c:v>62.061-62.068</c:v>
                </c:pt>
                <c:pt idx="8825">
                  <c:v>62.068-62.075</c:v>
                </c:pt>
                <c:pt idx="8826">
                  <c:v>62.075-62.082</c:v>
                </c:pt>
                <c:pt idx="8827">
                  <c:v>62.082-62.089</c:v>
                </c:pt>
                <c:pt idx="8828">
                  <c:v>62.089-62.096</c:v>
                </c:pt>
                <c:pt idx="8829">
                  <c:v>62.096-62.103</c:v>
                </c:pt>
                <c:pt idx="8830">
                  <c:v>62.103-62.110</c:v>
                </c:pt>
                <c:pt idx="8831">
                  <c:v>62.110-62.117</c:v>
                </c:pt>
                <c:pt idx="8832">
                  <c:v>62.117-62.124</c:v>
                </c:pt>
                <c:pt idx="8833">
                  <c:v>62.124-62.131</c:v>
                </c:pt>
                <c:pt idx="8834">
                  <c:v>62.131-62.138</c:v>
                </c:pt>
                <c:pt idx="8835">
                  <c:v>62.138-62.146</c:v>
                </c:pt>
                <c:pt idx="8836">
                  <c:v>62.146-62.153</c:v>
                </c:pt>
                <c:pt idx="8837">
                  <c:v>62.153-62.160</c:v>
                </c:pt>
                <c:pt idx="8838">
                  <c:v>62.160-62.167</c:v>
                </c:pt>
                <c:pt idx="8839">
                  <c:v>62.167-62.174</c:v>
                </c:pt>
                <c:pt idx="8840">
                  <c:v>62.174-62.181</c:v>
                </c:pt>
                <c:pt idx="8841">
                  <c:v>62.181-62.188</c:v>
                </c:pt>
                <c:pt idx="8842">
                  <c:v>62.188-62.195</c:v>
                </c:pt>
                <c:pt idx="8843">
                  <c:v>62.195-62.202</c:v>
                </c:pt>
                <c:pt idx="8844">
                  <c:v>62.202-62.209</c:v>
                </c:pt>
                <c:pt idx="8845">
                  <c:v>62.209-62.216</c:v>
                </c:pt>
                <c:pt idx="8846">
                  <c:v>62.216-62.223</c:v>
                </c:pt>
                <c:pt idx="8847">
                  <c:v>62.223-62.230</c:v>
                </c:pt>
                <c:pt idx="8848">
                  <c:v>62.230-62.237</c:v>
                </c:pt>
                <c:pt idx="8849">
                  <c:v>62.237-62.244</c:v>
                </c:pt>
                <c:pt idx="8850">
                  <c:v>62.244-62.251</c:v>
                </c:pt>
                <c:pt idx="8851">
                  <c:v>62.251-62.258</c:v>
                </c:pt>
                <c:pt idx="8852">
                  <c:v>62.258-62.265</c:v>
                </c:pt>
                <c:pt idx="8853">
                  <c:v>62.265-62.272</c:v>
                </c:pt>
                <c:pt idx="8854">
                  <c:v>62.272-62.279</c:v>
                </c:pt>
                <c:pt idx="8855">
                  <c:v>62.279-62.286</c:v>
                </c:pt>
                <c:pt idx="8856">
                  <c:v>62.286-62.293</c:v>
                </c:pt>
                <c:pt idx="8857">
                  <c:v>62.293-62.300</c:v>
                </c:pt>
                <c:pt idx="8858">
                  <c:v>62.300-62.307</c:v>
                </c:pt>
                <c:pt idx="8859">
                  <c:v>62.307-62.314</c:v>
                </c:pt>
                <c:pt idx="8860">
                  <c:v>62.314-62.321</c:v>
                </c:pt>
                <c:pt idx="8861">
                  <c:v>62.321-62.328</c:v>
                </c:pt>
                <c:pt idx="8862">
                  <c:v>62.328-62.335</c:v>
                </c:pt>
                <c:pt idx="8863">
                  <c:v>62.335-62.342</c:v>
                </c:pt>
                <c:pt idx="8864">
                  <c:v>62.342-62.349</c:v>
                </c:pt>
                <c:pt idx="8865">
                  <c:v>62.349-62.356</c:v>
                </c:pt>
                <c:pt idx="8866">
                  <c:v>62.356-62.364</c:v>
                </c:pt>
                <c:pt idx="8867">
                  <c:v>62.364-62.371</c:v>
                </c:pt>
                <c:pt idx="8868">
                  <c:v>62.371-62.378</c:v>
                </c:pt>
                <c:pt idx="8869">
                  <c:v>62.378-62.385</c:v>
                </c:pt>
                <c:pt idx="8870">
                  <c:v>62.385-62.392</c:v>
                </c:pt>
                <c:pt idx="8871">
                  <c:v>62.392-62.399</c:v>
                </c:pt>
                <c:pt idx="8872">
                  <c:v>62.399-62.406</c:v>
                </c:pt>
                <c:pt idx="8873">
                  <c:v>62.406-62.413</c:v>
                </c:pt>
                <c:pt idx="8874">
                  <c:v>62.413-62.420</c:v>
                </c:pt>
                <c:pt idx="8875">
                  <c:v>62.420-62.427</c:v>
                </c:pt>
                <c:pt idx="8876">
                  <c:v>62.427-62.434</c:v>
                </c:pt>
                <c:pt idx="8877">
                  <c:v>62.434-62.441</c:v>
                </c:pt>
                <c:pt idx="8878">
                  <c:v>62.441-62.448</c:v>
                </c:pt>
                <c:pt idx="8879">
                  <c:v>62.448-62.455</c:v>
                </c:pt>
                <c:pt idx="8880">
                  <c:v>62.455-62.462</c:v>
                </c:pt>
                <c:pt idx="8881">
                  <c:v>62.462-62.469</c:v>
                </c:pt>
                <c:pt idx="8882">
                  <c:v>62.469-62.476</c:v>
                </c:pt>
                <c:pt idx="8883">
                  <c:v>62.476-62.483</c:v>
                </c:pt>
                <c:pt idx="8884">
                  <c:v>62.483-62.490</c:v>
                </c:pt>
                <c:pt idx="8885">
                  <c:v>62.490-62.497</c:v>
                </c:pt>
                <c:pt idx="8886">
                  <c:v>62.497-62.504</c:v>
                </c:pt>
                <c:pt idx="8887">
                  <c:v>62.504-62.511</c:v>
                </c:pt>
                <c:pt idx="8888">
                  <c:v>62.511-62.518</c:v>
                </c:pt>
                <c:pt idx="8889">
                  <c:v>62.518-62.525</c:v>
                </c:pt>
                <c:pt idx="8890">
                  <c:v>62.525-62.532</c:v>
                </c:pt>
                <c:pt idx="8891">
                  <c:v>62.532-62.539</c:v>
                </c:pt>
                <c:pt idx="8892">
                  <c:v>62.539-62.546</c:v>
                </c:pt>
                <c:pt idx="8893">
                  <c:v>62.546-62.553</c:v>
                </c:pt>
                <c:pt idx="8894">
                  <c:v>62.553-62.560</c:v>
                </c:pt>
                <c:pt idx="8895">
                  <c:v>62.560-62.567</c:v>
                </c:pt>
                <c:pt idx="8896">
                  <c:v>62.567-62.574</c:v>
                </c:pt>
                <c:pt idx="8897">
                  <c:v>62.574-62.582</c:v>
                </c:pt>
                <c:pt idx="8898">
                  <c:v>62.582-62.589</c:v>
                </c:pt>
                <c:pt idx="8899">
                  <c:v>62.589-62.596</c:v>
                </c:pt>
                <c:pt idx="8900">
                  <c:v>62.596-62.603</c:v>
                </c:pt>
                <c:pt idx="8901">
                  <c:v>62.603-62.610</c:v>
                </c:pt>
                <c:pt idx="8902">
                  <c:v>62.610-62.617</c:v>
                </c:pt>
                <c:pt idx="8903">
                  <c:v>62.617-62.624</c:v>
                </c:pt>
                <c:pt idx="8904">
                  <c:v>62.624-62.631</c:v>
                </c:pt>
                <c:pt idx="8905">
                  <c:v>62.631-62.638</c:v>
                </c:pt>
                <c:pt idx="8906">
                  <c:v>62.638-62.645</c:v>
                </c:pt>
                <c:pt idx="8907">
                  <c:v>62.645-62.652</c:v>
                </c:pt>
                <c:pt idx="8908">
                  <c:v>62.652-62.659</c:v>
                </c:pt>
                <c:pt idx="8909">
                  <c:v>62.659-62.666</c:v>
                </c:pt>
                <c:pt idx="8910">
                  <c:v>62.666-62.673</c:v>
                </c:pt>
                <c:pt idx="8911">
                  <c:v>62.673-62.680</c:v>
                </c:pt>
                <c:pt idx="8912">
                  <c:v>62.680-62.687</c:v>
                </c:pt>
                <c:pt idx="8913">
                  <c:v>62.687-62.694</c:v>
                </c:pt>
                <c:pt idx="8914">
                  <c:v>62.694-62.701</c:v>
                </c:pt>
                <c:pt idx="8915">
                  <c:v>62.701-62.708</c:v>
                </c:pt>
                <c:pt idx="8916">
                  <c:v>62.708-62.715</c:v>
                </c:pt>
                <c:pt idx="8917">
                  <c:v>62.715-62.722</c:v>
                </c:pt>
                <c:pt idx="8918">
                  <c:v>62.722-62.729</c:v>
                </c:pt>
                <c:pt idx="8919">
                  <c:v>62.729-62.736</c:v>
                </c:pt>
                <c:pt idx="8920">
                  <c:v>62.736-62.743</c:v>
                </c:pt>
                <c:pt idx="8921">
                  <c:v>62.743-62.750</c:v>
                </c:pt>
                <c:pt idx="8922">
                  <c:v>62.750-62.757</c:v>
                </c:pt>
                <c:pt idx="8923">
                  <c:v>62.757-62.764</c:v>
                </c:pt>
                <c:pt idx="8924">
                  <c:v>62.764-62.771</c:v>
                </c:pt>
                <c:pt idx="8925">
                  <c:v>62.771-62.778</c:v>
                </c:pt>
                <c:pt idx="8926">
                  <c:v>62.778-62.785</c:v>
                </c:pt>
                <c:pt idx="8927">
                  <c:v>62.785-62.792</c:v>
                </c:pt>
                <c:pt idx="8928">
                  <c:v>62.792-62.800</c:v>
                </c:pt>
                <c:pt idx="8929">
                  <c:v>62.800-62.807</c:v>
                </c:pt>
                <c:pt idx="8930">
                  <c:v>62.807-62.814</c:v>
                </c:pt>
                <c:pt idx="8931">
                  <c:v>62.814-62.821</c:v>
                </c:pt>
                <c:pt idx="8932">
                  <c:v>62.821-62.828</c:v>
                </c:pt>
                <c:pt idx="8933">
                  <c:v>62.828-62.835</c:v>
                </c:pt>
                <c:pt idx="8934">
                  <c:v>62.835-62.842</c:v>
                </c:pt>
                <c:pt idx="8935">
                  <c:v>62.842-62.849</c:v>
                </c:pt>
                <c:pt idx="8936">
                  <c:v>62.849-62.856</c:v>
                </c:pt>
                <c:pt idx="8937">
                  <c:v>62.856-62.863</c:v>
                </c:pt>
                <c:pt idx="8938">
                  <c:v>62.863-62.870</c:v>
                </c:pt>
                <c:pt idx="8939">
                  <c:v>62.870-62.877</c:v>
                </c:pt>
                <c:pt idx="8940">
                  <c:v>62.877-62.884</c:v>
                </c:pt>
                <c:pt idx="8941">
                  <c:v>62.884-62.891</c:v>
                </c:pt>
                <c:pt idx="8942">
                  <c:v>62.891-62.898</c:v>
                </c:pt>
                <c:pt idx="8943">
                  <c:v>62.898-62.905</c:v>
                </c:pt>
                <c:pt idx="8944">
                  <c:v>62.905-62.912</c:v>
                </c:pt>
                <c:pt idx="8945">
                  <c:v>62.912-62.919</c:v>
                </c:pt>
                <c:pt idx="8946">
                  <c:v>62.919-62.926</c:v>
                </c:pt>
                <c:pt idx="8947">
                  <c:v>62.926-62.933</c:v>
                </c:pt>
                <c:pt idx="8948">
                  <c:v>62.933-62.940</c:v>
                </c:pt>
                <c:pt idx="8949">
                  <c:v>62.940-62.947</c:v>
                </c:pt>
                <c:pt idx="8950">
                  <c:v>62.947-62.954</c:v>
                </c:pt>
                <c:pt idx="8951">
                  <c:v>62.954-62.961</c:v>
                </c:pt>
                <c:pt idx="8952">
                  <c:v>62.961-62.968</c:v>
                </c:pt>
                <c:pt idx="8953">
                  <c:v>62.968-62.975</c:v>
                </c:pt>
                <c:pt idx="8954">
                  <c:v>62.975-62.982</c:v>
                </c:pt>
                <c:pt idx="8955">
                  <c:v>62.982-62.989</c:v>
                </c:pt>
                <c:pt idx="8956">
                  <c:v>62.989-62.996</c:v>
                </c:pt>
                <c:pt idx="8957">
                  <c:v>62.996-63.003</c:v>
                </c:pt>
                <c:pt idx="8958">
                  <c:v>63.003-63.010</c:v>
                </c:pt>
                <c:pt idx="8959">
                  <c:v>63.010-63.018</c:v>
                </c:pt>
                <c:pt idx="8960">
                  <c:v>63.018-63.025</c:v>
                </c:pt>
                <c:pt idx="8961">
                  <c:v>63.025-63.032</c:v>
                </c:pt>
                <c:pt idx="8962">
                  <c:v>63.032-63.039</c:v>
                </c:pt>
                <c:pt idx="8963">
                  <c:v>63.039-63.046</c:v>
                </c:pt>
                <c:pt idx="8964">
                  <c:v>63.046-63.053</c:v>
                </c:pt>
                <c:pt idx="8965">
                  <c:v>63.053-63.060</c:v>
                </c:pt>
                <c:pt idx="8966">
                  <c:v>63.060-63.067</c:v>
                </c:pt>
                <c:pt idx="8967">
                  <c:v>63.067-63.074</c:v>
                </c:pt>
                <c:pt idx="8968">
                  <c:v>63.074-63.081</c:v>
                </c:pt>
                <c:pt idx="8969">
                  <c:v>63.081-63.088</c:v>
                </c:pt>
                <c:pt idx="8970">
                  <c:v>63.088-63.095</c:v>
                </c:pt>
                <c:pt idx="8971">
                  <c:v>63.095-63.102</c:v>
                </c:pt>
                <c:pt idx="8972">
                  <c:v>63.102-63.109</c:v>
                </c:pt>
                <c:pt idx="8973">
                  <c:v>63.109-63.116</c:v>
                </c:pt>
                <c:pt idx="8974">
                  <c:v>63.116-63.123</c:v>
                </c:pt>
                <c:pt idx="8975">
                  <c:v>63.123-63.130</c:v>
                </c:pt>
                <c:pt idx="8976">
                  <c:v>63.130-63.137</c:v>
                </c:pt>
                <c:pt idx="8977">
                  <c:v>63.137-63.144</c:v>
                </c:pt>
                <c:pt idx="8978">
                  <c:v>63.144-63.151</c:v>
                </c:pt>
                <c:pt idx="8979">
                  <c:v>63.151-63.158</c:v>
                </c:pt>
                <c:pt idx="8980">
                  <c:v>63.158-63.165</c:v>
                </c:pt>
                <c:pt idx="8981">
                  <c:v>63.165-63.172</c:v>
                </c:pt>
                <c:pt idx="8982">
                  <c:v>63.172-63.179</c:v>
                </c:pt>
                <c:pt idx="8983">
                  <c:v>63.179-63.186</c:v>
                </c:pt>
                <c:pt idx="8984">
                  <c:v>63.186-63.193</c:v>
                </c:pt>
                <c:pt idx="8985">
                  <c:v>63.193-63.200</c:v>
                </c:pt>
                <c:pt idx="8986">
                  <c:v>63.200-63.207</c:v>
                </c:pt>
                <c:pt idx="8987">
                  <c:v>63.207-63.214</c:v>
                </c:pt>
                <c:pt idx="8988">
                  <c:v>63.214-63.221</c:v>
                </c:pt>
                <c:pt idx="8989">
                  <c:v>63.221-63.228</c:v>
                </c:pt>
                <c:pt idx="8990">
                  <c:v>63.228-63.236</c:v>
                </c:pt>
                <c:pt idx="8991">
                  <c:v>63.236-63.243</c:v>
                </c:pt>
                <c:pt idx="8992">
                  <c:v>63.243-63.250</c:v>
                </c:pt>
                <c:pt idx="8993">
                  <c:v>63.250-63.257</c:v>
                </c:pt>
                <c:pt idx="8994">
                  <c:v>63.257-63.264</c:v>
                </c:pt>
                <c:pt idx="8995">
                  <c:v>63.264-63.271</c:v>
                </c:pt>
                <c:pt idx="8996">
                  <c:v>63.271-63.278</c:v>
                </c:pt>
                <c:pt idx="8997">
                  <c:v>63.278-63.285</c:v>
                </c:pt>
                <c:pt idx="8998">
                  <c:v>63.285-63.292</c:v>
                </c:pt>
                <c:pt idx="8999">
                  <c:v>63.292-63.299</c:v>
                </c:pt>
                <c:pt idx="9000">
                  <c:v>63.299-63.306</c:v>
                </c:pt>
                <c:pt idx="9001">
                  <c:v>63.306-63.313</c:v>
                </c:pt>
                <c:pt idx="9002">
                  <c:v>63.313-63.320</c:v>
                </c:pt>
                <c:pt idx="9003">
                  <c:v>63.320-63.327</c:v>
                </c:pt>
                <c:pt idx="9004">
                  <c:v>63.327-63.334</c:v>
                </c:pt>
                <c:pt idx="9005">
                  <c:v>63.334-63.341</c:v>
                </c:pt>
                <c:pt idx="9006">
                  <c:v>63.341-63.348</c:v>
                </c:pt>
                <c:pt idx="9007">
                  <c:v>63.348-63.355</c:v>
                </c:pt>
                <c:pt idx="9008">
                  <c:v>63.355-63.362</c:v>
                </c:pt>
                <c:pt idx="9009">
                  <c:v>63.362-63.369</c:v>
                </c:pt>
                <c:pt idx="9010">
                  <c:v>63.369-63.376</c:v>
                </c:pt>
                <c:pt idx="9011">
                  <c:v>63.376-63.383</c:v>
                </c:pt>
                <c:pt idx="9012">
                  <c:v>63.383-63.390</c:v>
                </c:pt>
                <c:pt idx="9013">
                  <c:v>63.390-63.397</c:v>
                </c:pt>
                <c:pt idx="9014">
                  <c:v>63.397-63.404</c:v>
                </c:pt>
                <c:pt idx="9015">
                  <c:v>63.404-63.411</c:v>
                </c:pt>
                <c:pt idx="9016">
                  <c:v>63.411-63.418</c:v>
                </c:pt>
                <c:pt idx="9017">
                  <c:v>63.418-63.425</c:v>
                </c:pt>
                <c:pt idx="9018">
                  <c:v>63.425-63.432</c:v>
                </c:pt>
                <c:pt idx="9019">
                  <c:v>63.432-63.439</c:v>
                </c:pt>
                <c:pt idx="9020">
                  <c:v>63.439-63.446</c:v>
                </c:pt>
                <c:pt idx="9021">
                  <c:v>63.446-63.454</c:v>
                </c:pt>
                <c:pt idx="9022">
                  <c:v>63.454-63.461</c:v>
                </c:pt>
                <c:pt idx="9023">
                  <c:v>63.461-63.468</c:v>
                </c:pt>
                <c:pt idx="9024">
                  <c:v>63.468-63.475</c:v>
                </c:pt>
                <c:pt idx="9025">
                  <c:v>63.475-63.482</c:v>
                </c:pt>
                <c:pt idx="9026">
                  <c:v>63.482-63.489</c:v>
                </c:pt>
                <c:pt idx="9027">
                  <c:v>63.489-63.496</c:v>
                </c:pt>
                <c:pt idx="9028">
                  <c:v>63.496-63.503</c:v>
                </c:pt>
                <c:pt idx="9029">
                  <c:v>63.503-63.510</c:v>
                </c:pt>
                <c:pt idx="9030">
                  <c:v>63.510-63.517</c:v>
                </c:pt>
                <c:pt idx="9031">
                  <c:v>63.517-63.524</c:v>
                </c:pt>
                <c:pt idx="9032">
                  <c:v>63.524-63.531</c:v>
                </c:pt>
                <c:pt idx="9033">
                  <c:v>63.531-63.538</c:v>
                </c:pt>
                <c:pt idx="9034">
                  <c:v>63.538-63.545</c:v>
                </c:pt>
                <c:pt idx="9035">
                  <c:v>63.545-63.552</c:v>
                </c:pt>
                <c:pt idx="9036">
                  <c:v>63.552-63.559</c:v>
                </c:pt>
                <c:pt idx="9037">
                  <c:v>63.559-63.566</c:v>
                </c:pt>
                <c:pt idx="9038">
                  <c:v>63.566-63.573</c:v>
                </c:pt>
                <c:pt idx="9039">
                  <c:v>63.573-63.580</c:v>
                </c:pt>
                <c:pt idx="9040">
                  <c:v>63.580-63.587</c:v>
                </c:pt>
                <c:pt idx="9041">
                  <c:v>63.587-63.594</c:v>
                </c:pt>
                <c:pt idx="9042">
                  <c:v>63.594-63.601</c:v>
                </c:pt>
                <c:pt idx="9043">
                  <c:v>63.601-63.608</c:v>
                </c:pt>
                <c:pt idx="9044">
                  <c:v>63.608-63.615</c:v>
                </c:pt>
                <c:pt idx="9045">
                  <c:v>63.615-63.622</c:v>
                </c:pt>
                <c:pt idx="9046">
                  <c:v>63.622-63.629</c:v>
                </c:pt>
                <c:pt idx="9047">
                  <c:v>63.629-63.636</c:v>
                </c:pt>
                <c:pt idx="9048">
                  <c:v>63.636-63.643</c:v>
                </c:pt>
                <c:pt idx="9049">
                  <c:v>63.643-63.650</c:v>
                </c:pt>
                <c:pt idx="9050">
                  <c:v>63.650-63.657</c:v>
                </c:pt>
                <c:pt idx="9051">
                  <c:v>63.657-63.664</c:v>
                </c:pt>
                <c:pt idx="9052">
                  <c:v>63.664-63.672</c:v>
                </c:pt>
                <c:pt idx="9053">
                  <c:v>63.672-63.679</c:v>
                </c:pt>
                <c:pt idx="9054">
                  <c:v>63.679-63.686</c:v>
                </c:pt>
                <c:pt idx="9055">
                  <c:v>63.686-63.693</c:v>
                </c:pt>
                <c:pt idx="9056">
                  <c:v>63.693-63.700</c:v>
                </c:pt>
                <c:pt idx="9057">
                  <c:v>63.700-63.707</c:v>
                </c:pt>
                <c:pt idx="9058">
                  <c:v>63.707-63.714</c:v>
                </c:pt>
                <c:pt idx="9059">
                  <c:v>63.714-63.721</c:v>
                </c:pt>
                <c:pt idx="9060">
                  <c:v>63.721-63.728</c:v>
                </c:pt>
                <c:pt idx="9061">
                  <c:v>63.728-63.735</c:v>
                </c:pt>
                <c:pt idx="9062">
                  <c:v>63.735-63.742</c:v>
                </c:pt>
                <c:pt idx="9063">
                  <c:v>63.742-63.749</c:v>
                </c:pt>
                <c:pt idx="9064">
                  <c:v>63.749-63.756</c:v>
                </c:pt>
                <c:pt idx="9065">
                  <c:v>63.756-63.763</c:v>
                </c:pt>
                <c:pt idx="9066">
                  <c:v>63.763-63.770</c:v>
                </c:pt>
                <c:pt idx="9067">
                  <c:v>63.770-63.777</c:v>
                </c:pt>
                <c:pt idx="9068">
                  <c:v>63.777-63.784</c:v>
                </c:pt>
                <c:pt idx="9069">
                  <c:v>63.784-63.791</c:v>
                </c:pt>
                <c:pt idx="9070">
                  <c:v>63.791-63.798</c:v>
                </c:pt>
                <c:pt idx="9071">
                  <c:v>63.798-63.805</c:v>
                </c:pt>
                <c:pt idx="9072">
                  <c:v>63.805-63.812</c:v>
                </c:pt>
                <c:pt idx="9073">
                  <c:v>63.812-63.819</c:v>
                </c:pt>
                <c:pt idx="9074">
                  <c:v>63.819-63.826</c:v>
                </c:pt>
                <c:pt idx="9075">
                  <c:v>63.826-63.833</c:v>
                </c:pt>
                <c:pt idx="9076">
                  <c:v>63.833-63.840</c:v>
                </c:pt>
                <c:pt idx="9077">
                  <c:v>63.840-63.847</c:v>
                </c:pt>
                <c:pt idx="9078">
                  <c:v>63.847-63.854</c:v>
                </c:pt>
                <c:pt idx="9079">
                  <c:v>63.854-63.861</c:v>
                </c:pt>
                <c:pt idx="9080">
                  <c:v>63.861-63.868</c:v>
                </c:pt>
                <c:pt idx="9081">
                  <c:v>63.868-63.875</c:v>
                </c:pt>
                <c:pt idx="9082">
                  <c:v>63.875-63.882</c:v>
                </c:pt>
                <c:pt idx="9083">
                  <c:v>63.882-63.890</c:v>
                </c:pt>
                <c:pt idx="9084">
                  <c:v>63.890-63.897</c:v>
                </c:pt>
                <c:pt idx="9085">
                  <c:v>63.897-63.904</c:v>
                </c:pt>
                <c:pt idx="9086">
                  <c:v>63.904-63.911</c:v>
                </c:pt>
                <c:pt idx="9087">
                  <c:v>63.911-63.918</c:v>
                </c:pt>
                <c:pt idx="9088">
                  <c:v>63.918-63.925</c:v>
                </c:pt>
                <c:pt idx="9089">
                  <c:v>63.925-63.932</c:v>
                </c:pt>
                <c:pt idx="9090">
                  <c:v>63.932-63.939</c:v>
                </c:pt>
                <c:pt idx="9091">
                  <c:v>63.939-63.946</c:v>
                </c:pt>
                <c:pt idx="9092">
                  <c:v>63.946-63.953</c:v>
                </c:pt>
                <c:pt idx="9093">
                  <c:v>63.953-63.960</c:v>
                </c:pt>
                <c:pt idx="9094">
                  <c:v>63.960-63.967</c:v>
                </c:pt>
                <c:pt idx="9095">
                  <c:v>63.967-63.974</c:v>
                </c:pt>
                <c:pt idx="9096">
                  <c:v>63.974-63.981</c:v>
                </c:pt>
                <c:pt idx="9097">
                  <c:v>63.981-63.988</c:v>
                </c:pt>
                <c:pt idx="9098">
                  <c:v>63.988-63.995</c:v>
                </c:pt>
                <c:pt idx="9099">
                  <c:v>63.995-64.002</c:v>
                </c:pt>
                <c:pt idx="9100">
                  <c:v>64.002-64.009</c:v>
                </c:pt>
                <c:pt idx="9101">
                  <c:v>64.009-64.016</c:v>
                </c:pt>
                <c:pt idx="9102">
                  <c:v>64.016-64.023</c:v>
                </c:pt>
                <c:pt idx="9103">
                  <c:v>64.023-64.030</c:v>
                </c:pt>
                <c:pt idx="9104">
                  <c:v>64.030-64.037</c:v>
                </c:pt>
                <c:pt idx="9105">
                  <c:v>64.037-64.044</c:v>
                </c:pt>
                <c:pt idx="9106">
                  <c:v>64.044-64.051</c:v>
                </c:pt>
                <c:pt idx="9107">
                  <c:v>64.051-64.058</c:v>
                </c:pt>
                <c:pt idx="9108">
                  <c:v>64.058-64.065</c:v>
                </c:pt>
                <c:pt idx="9109">
                  <c:v>64.065-64.072</c:v>
                </c:pt>
                <c:pt idx="9110">
                  <c:v>64.072-64.079</c:v>
                </c:pt>
                <c:pt idx="9111">
                  <c:v>64.079-64.086</c:v>
                </c:pt>
                <c:pt idx="9112">
                  <c:v>64.086-64.093</c:v>
                </c:pt>
                <c:pt idx="9113">
                  <c:v>64.093-64.100</c:v>
                </c:pt>
                <c:pt idx="9114">
                  <c:v>64.100-64.108</c:v>
                </c:pt>
                <c:pt idx="9115">
                  <c:v>64.108-64.115</c:v>
                </c:pt>
                <c:pt idx="9116">
                  <c:v>64.115-64.122</c:v>
                </c:pt>
                <c:pt idx="9117">
                  <c:v>64.122-64.129</c:v>
                </c:pt>
                <c:pt idx="9118">
                  <c:v>64.129-64.136</c:v>
                </c:pt>
                <c:pt idx="9119">
                  <c:v>64.136-64.143</c:v>
                </c:pt>
                <c:pt idx="9120">
                  <c:v>64.143-64.150</c:v>
                </c:pt>
                <c:pt idx="9121">
                  <c:v>64.150-64.157</c:v>
                </c:pt>
                <c:pt idx="9122">
                  <c:v>64.157-64.164</c:v>
                </c:pt>
                <c:pt idx="9123">
                  <c:v>64.164-64.171</c:v>
                </c:pt>
                <c:pt idx="9124">
                  <c:v>64.171-64.178</c:v>
                </c:pt>
                <c:pt idx="9125">
                  <c:v>64.178-64.185</c:v>
                </c:pt>
                <c:pt idx="9126">
                  <c:v>64.185-64.192</c:v>
                </c:pt>
                <c:pt idx="9127">
                  <c:v>64.192-64.199</c:v>
                </c:pt>
                <c:pt idx="9128">
                  <c:v>64.199-64.206</c:v>
                </c:pt>
                <c:pt idx="9129">
                  <c:v>64.206-64.213</c:v>
                </c:pt>
                <c:pt idx="9130">
                  <c:v>64.213-64.220</c:v>
                </c:pt>
                <c:pt idx="9131">
                  <c:v>64.220-64.227</c:v>
                </c:pt>
                <c:pt idx="9132">
                  <c:v>64.227-64.234</c:v>
                </c:pt>
                <c:pt idx="9133">
                  <c:v>64.234-64.241</c:v>
                </c:pt>
                <c:pt idx="9134">
                  <c:v>64.241-64.248</c:v>
                </c:pt>
                <c:pt idx="9135">
                  <c:v>64.248-64.255</c:v>
                </c:pt>
                <c:pt idx="9136">
                  <c:v>64.255-64.262</c:v>
                </c:pt>
                <c:pt idx="9137">
                  <c:v>64.262-64.269</c:v>
                </c:pt>
                <c:pt idx="9138">
                  <c:v>64.269-64.276</c:v>
                </c:pt>
                <c:pt idx="9139">
                  <c:v>64.276-64.283</c:v>
                </c:pt>
                <c:pt idx="9140">
                  <c:v>64.283-64.290</c:v>
                </c:pt>
                <c:pt idx="9141">
                  <c:v>64.290-64.297</c:v>
                </c:pt>
                <c:pt idx="9142">
                  <c:v>64.297-64.304</c:v>
                </c:pt>
                <c:pt idx="9143">
                  <c:v>64.304-64.311</c:v>
                </c:pt>
                <c:pt idx="9144">
                  <c:v>64.311-64.318</c:v>
                </c:pt>
                <c:pt idx="9145">
                  <c:v>64.318-64.326</c:v>
                </c:pt>
                <c:pt idx="9146">
                  <c:v>64.326-64.333</c:v>
                </c:pt>
                <c:pt idx="9147">
                  <c:v>64.333-64.340</c:v>
                </c:pt>
                <c:pt idx="9148">
                  <c:v>64.340-64.347</c:v>
                </c:pt>
                <c:pt idx="9149">
                  <c:v>64.347-64.354</c:v>
                </c:pt>
                <c:pt idx="9150">
                  <c:v>64.354-64.361</c:v>
                </c:pt>
                <c:pt idx="9151">
                  <c:v>64.361-64.368</c:v>
                </c:pt>
                <c:pt idx="9152">
                  <c:v>64.368-64.375</c:v>
                </c:pt>
                <c:pt idx="9153">
                  <c:v>64.375-64.382</c:v>
                </c:pt>
                <c:pt idx="9154">
                  <c:v>64.382-64.389</c:v>
                </c:pt>
                <c:pt idx="9155">
                  <c:v>64.389-64.396</c:v>
                </c:pt>
                <c:pt idx="9156">
                  <c:v>64.396-64.403</c:v>
                </c:pt>
                <c:pt idx="9157">
                  <c:v>64.403-64.410</c:v>
                </c:pt>
                <c:pt idx="9158">
                  <c:v>64.410-64.417</c:v>
                </c:pt>
                <c:pt idx="9159">
                  <c:v>64.417-64.424</c:v>
                </c:pt>
                <c:pt idx="9160">
                  <c:v>64.424-64.431</c:v>
                </c:pt>
                <c:pt idx="9161">
                  <c:v>64.431-64.438</c:v>
                </c:pt>
                <c:pt idx="9162">
                  <c:v>64.438-64.445</c:v>
                </c:pt>
                <c:pt idx="9163">
                  <c:v>64.445-64.452</c:v>
                </c:pt>
                <c:pt idx="9164">
                  <c:v>64.452-64.459</c:v>
                </c:pt>
                <c:pt idx="9165">
                  <c:v>64.459-64.466</c:v>
                </c:pt>
                <c:pt idx="9166">
                  <c:v>64.466-64.473</c:v>
                </c:pt>
                <c:pt idx="9167">
                  <c:v>64.473-64.480</c:v>
                </c:pt>
                <c:pt idx="9168">
                  <c:v>64.480-64.487</c:v>
                </c:pt>
                <c:pt idx="9169">
                  <c:v>64.487-64.494</c:v>
                </c:pt>
                <c:pt idx="9170">
                  <c:v>64.494-64.501</c:v>
                </c:pt>
                <c:pt idx="9171">
                  <c:v>64.501-64.508</c:v>
                </c:pt>
                <c:pt idx="9172">
                  <c:v>64.508-64.515</c:v>
                </c:pt>
                <c:pt idx="9173">
                  <c:v>64.515-64.522</c:v>
                </c:pt>
                <c:pt idx="9174">
                  <c:v>64.522-64.529</c:v>
                </c:pt>
                <c:pt idx="9175">
                  <c:v>64.529-64.536</c:v>
                </c:pt>
                <c:pt idx="9176">
                  <c:v>64.536-64.543</c:v>
                </c:pt>
                <c:pt idx="9177">
                  <c:v>64.543-64.551</c:v>
                </c:pt>
                <c:pt idx="9178">
                  <c:v>64.551-64.558</c:v>
                </c:pt>
                <c:pt idx="9179">
                  <c:v>64.558-64.565</c:v>
                </c:pt>
                <c:pt idx="9180">
                  <c:v>64.565-64.572</c:v>
                </c:pt>
                <c:pt idx="9181">
                  <c:v>64.572-64.579</c:v>
                </c:pt>
                <c:pt idx="9182">
                  <c:v>64.579-64.586</c:v>
                </c:pt>
                <c:pt idx="9183">
                  <c:v>64.586-64.593</c:v>
                </c:pt>
                <c:pt idx="9184">
                  <c:v>64.593-64.600</c:v>
                </c:pt>
                <c:pt idx="9185">
                  <c:v>64.600-64.607</c:v>
                </c:pt>
                <c:pt idx="9186">
                  <c:v>64.607-64.614</c:v>
                </c:pt>
                <c:pt idx="9187">
                  <c:v>64.614-64.621</c:v>
                </c:pt>
                <c:pt idx="9188">
                  <c:v>64.621-64.628</c:v>
                </c:pt>
                <c:pt idx="9189">
                  <c:v>64.628-64.635</c:v>
                </c:pt>
                <c:pt idx="9190">
                  <c:v>64.635-64.642</c:v>
                </c:pt>
                <c:pt idx="9191">
                  <c:v>64.642-64.649</c:v>
                </c:pt>
                <c:pt idx="9192">
                  <c:v>64.649-64.656</c:v>
                </c:pt>
                <c:pt idx="9193">
                  <c:v>64.656-64.663</c:v>
                </c:pt>
                <c:pt idx="9194">
                  <c:v>64.663-64.670</c:v>
                </c:pt>
                <c:pt idx="9195">
                  <c:v>64.670-64.677</c:v>
                </c:pt>
                <c:pt idx="9196">
                  <c:v>64.677-64.684</c:v>
                </c:pt>
                <c:pt idx="9197">
                  <c:v>64.684-64.691</c:v>
                </c:pt>
                <c:pt idx="9198">
                  <c:v>64.691-64.698</c:v>
                </c:pt>
                <c:pt idx="9199">
                  <c:v>64.698-64.705</c:v>
                </c:pt>
                <c:pt idx="9200">
                  <c:v>64.705-64.712</c:v>
                </c:pt>
                <c:pt idx="9201">
                  <c:v>64.712-64.719</c:v>
                </c:pt>
                <c:pt idx="9202">
                  <c:v>64.719-64.726</c:v>
                </c:pt>
                <c:pt idx="9203">
                  <c:v>64.726-64.733</c:v>
                </c:pt>
                <c:pt idx="9204">
                  <c:v>64.733-64.740</c:v>
                </c:pt>
                <c:pt idx="9205">
                  <c:v>64.740-64.747</c:v>
                </c:pt>
                <c:pt idx="9206">
                  <c:v>64.747-64.754</c:v>
                </c:pt>
                <c:pt idx="9207">
                  <c:v>64.754-64.761</c:v>
                </c:pt>
                <c:pt idx="9208">
                  <c:v>64.761-64.769</c:v>
                </c:pt>
                <c:pt idx="9209">
                  <c:v>64.769-64.776</c:v>
                </c:pt>
                <c:pt idx="9210">
                  <c:v>64.776-64.783</c:v>
                </c:pt>
                <c:pt idx="9211">
                  <c:v>64.783-64.790</c:v>
                </c:pt>
                <c:pt idx="9212">
                  <c:v>64.790-64.797</c:v>
                </c:pt>
                <c:pt idx="9213">
                  <c:v>64.797-64.804</c:v>
                </c:pt>
                <c:pt idx="9214">
                  <c:v>64.804-64.811</c:v>
                </c:pt>
                <c:pt idx="9215">
                  <c:v>64.811-64.818</c:v>
                </c:pt>
                <c:pt idx="9216">
                  <c:v>64.818-64.825</c:v>
                </c:pt>
                <c:pt idx="9217">
                  <c:v>64.825-64.832</c:v>
                </c:pt>
                <c:pt idx="9218">
                  <c:v>64.832-64.839</c:v>
                </c:pt>
                <c:pt idx="9219">
                  <c:v>64.839-64.846</c:v>
                </c:pt>
                <c:pt idx="9220">
                  <c:v>64.846-64.853</c:v>
                </c:pt>
                <c:pt idx="9221">
                  <c:v>64.853-64.860</c:v>
                </c:pt>
                <c:pt idx="9222">
                  <c:v>64.860-64.867</c:v>
                </c:pt>
                <c:pt idx="9223">
                  <c:v>64.867-64.874</c:v>
                </c:pt>
                <c:pt idx="9224">
                  <c:v>64.874-64.881</c:v>
                </c:pt>
                <c:pt idx="9225">
                  <c:v>64.881-64.888</c:v>
                </c:pt>
                <c:pt idx="9226">
                  <c:v>64.888-64.895</c:v>
                </c:pt>
                <c:pt idx="9227">
                  <c:v>64.895-64.902</c:v>
                </c:pt>
                <c:pt idx="9228">
                  <c:v>64.902-64.909</c:v>
                </c:pt>
                <c:pt idx="9229">
                  <c:v>64.909-64.916</c:v>
                </c:pt>
                <c:pt idx="9230">
                  <c:v>64.916-64.923</c:v>
                </c:pt>
                <c:pt idx="9231">
                  <c:v>64.923-64.930</c:v>
                </c:pt>
                <c:pt idx="9232">
                  <c:v>64.930-64.937</c:v>
                </c:pt>
                <c:pt idx="9233">
                  <c:v>64.937-64.944</c:v>
                </c:pt>
                <c:pt idx="9234">
                  <c:v>64.944-64.951</c:v>
                </c:pt>
                <c:pt idx="9235">
                  <c:v>64.951-64.958</c:v>
                </c:pt>
                <c:pt idx="9236">
                  <c:v>64.958-64.965</c:v>
                </c:pt>
                <c:pt idx="9237">
                  <c:v>64.965-64.972</c:v>
                </c:pt>
                <c:pt idx="9238">
                  <c:v>64.972-64.979</c:v>
                </c:pt>
                <c:pt idx="9239">
                  <c:v>64.979-64.987</c:v>
                </c:pt>
                <c:pt idx="9240">
                  <c:v>64.987-64.994</c:v>
                </c:pt>
                <c:pt idx="9241">
                  <c:v>64.994-65.001</c:v>
                </c:pt>
                <c:pt idx="9242">
                  <c:v>65.001-65.008</c:v>
                </c:pt>
                <c:pt idx="9243">
                  <c:v>65.008-65.015</c:v>
                </c:pt>
                <c:pt idx="9244">
                  <c:v>65.015-65.022</c:v>
                </c:pt>
                <c:pt idx="9245">
                  <c:v>65.022-65.029</c:v>
                </c:pt>
                <c:pt idx="9246">
                  <c:v>65.029-65.036</c:v>
                </c:pt>
                <c:pt idx="9247">
                  <c:v>65.036-65.043</c:v>
                </c:pt>
                <c:pt idx="9248">
                  <c:v>65.043-65.050</c:v>
                </c:pt>
                <c:pt idx="9249">
                  <c:v>65.050-65.057</c:v>
                </c:pt>
                <c:pt idx="9250">
                  <c:v>65.057-65.064</c:v>
                </c:pt>
                <c:pt idx="9251">
                  <c:v>65.064-65.071</c:v>
                </c:pt>
                <c:pt idx="9252">
                  <c:v>65.071-65.078</c:v>
                </c:pt>
                <c:pt idx="9253">
                  <c:v>65.078-65.085</c:v>
                </c:pt>
                <c:pt idx="9254">
                  <c:v>65.085-65.092</c:v>
                </c:pt>
                <c:pt idx="9255">
                  <c:v>65.092-65.099</c:v>
                </c:pt>
                <c:pt idx="9256">
                  <c:v>65.099-65.106</c:v>
                </c:pt>
                <c:pt idx="9257">
                  <c:v>65.106-65.113</c:v>
                </c:pt>
                <c:pt idx="9258">
                  <c:v>65.113-65.120</c:v>
                </c:pt>
                <c:pt idx="9259">
                  <c:v>65.120-65.127</c:v>
                </c:pt>
                <c:pt idx="9260">
                  <c:v>65.127-65.134</c:v>
                </c:pt>
                <c:pt idx="9261">
                  <c:v>65.134-65.141</c:v>
                </c:pt>
                <c:pt idx="9262">
                  <c:v>65.141-65.148</c:v>
                </c:pt>
                <c:pt idx="9263">
                  <c:v>65.148-65.155</c:v>
                </c:pt>
                <c:pt idx="9264">
                  <c:v>65.155-65.162</c:v>
                </c:pt>
                <c:pt idx="9265">
                  <c:v>65.162-65.169</c:v>
                </c:pt>
                <c:pt idx="9266">
                  <c:v>65.169-65.176</c:v>
                </c:pt>
                <c:pt idx="9267">
                  <c:v>65.176-65.183</c:v>
                </c:pt>
                <c:pt idx="9268">
                  <c:v>65.183-65.190</c:v>
                </c:pt>
                <c:pt idx="9269">
                  <c:v>65.190-65.197</c:v>
                </c:pt>
                <c:pt idx="9270">
                  <c:v>65.197-65.205</c:v>
                </c:pt>
                <c:pt idx="9271">
                  <c:v>65.205-65.212</c:v>
                </c:pt>
                <c:pt idx="9272">
                  <c:v>65.212-65.219</c:v>
                </c:pt>
                <c:pt idx="9273">
                  <c:v>65.219-65.226</c:v>
                </c:pt>
                <c:pt idx="9274">
                  <c:v>65.226-65.233</c:v>
                </c:pt>
                <c:pt idx="9275">
                  <c:v>65.233-65.240</c:v>
                </c:pt>
                <c:pt idx="9276">
                  <c:v>65.240-65.247</c:v>
                </c:pt>
                <c:pt idx="9277">
                  <c:v>65.247-65.254</c:v>
                </c:pt>
                <c:pt idx="9278">
                  <c:v>65.254-65.261</c:v>
                </c:pt>
                <c:pt idx="9279">
                  <c:v>65.261-65.268</c:v>
                </c:pt>
                <c:pt idx="9280">
                  <c:v>65.268-65.275</c:v>
                </c:pt>
                <c:pt idx="9281">
                  <c:v>65.275-65.282</c:v>
                </c:pt>
                <c:pt idx="9282">
                  <c:v>65.282-65.289</c:v>
                </c:pt>
                <c:pt idx="9283">
                  <c:v>65.289-65.296</c:v>
                </c:pt>
                <c:pt idx="9284">
                  <c:v>65.296-65.303</c:v>
                </c:pt>
                <c:pt idx="9285">
                  <c:v>65.303-65.310</c:v>
                </c:pt>
                <c:pt idx="9286">
                  <c:v>65.310-65.317</c:v>
                </c:pt>
                <c:pt idx="9287">
                  <c:v>65.317-65.324</c:v>
                </c:pt>
                <c:pt idx="9288">
                  <c:v>65.324-65.331</c:v>
                </c:pt>
                <c:pt idx="9289">
                  <c:v>65.331-65.338</c:v>
                </c:pt>
                <c:pt idx="9290">
                  <c:v>65.338-65.345</c:v>
                </c:pt>
                <c:pt idx="9291">
                  <c:v>65.345-65.352</c:v>
                </c:pt>
                <c:pt idx="9292">
                  <c:v>65.352-65.359</c:v>
                </c:pt>
                <c:pt idx="9293">
                  <c:v>65.359-65.366</c:v>
                </c:pt>
                <c:pt idx="9294">
                  <c:v>65.366-65.373</c:v>
                </c:pt>
                <c:pt idx="9295">
                  <c:v>65.373-65.380</c:v>
                </c:pt>
                <c:pt idx="9296">
                  <c:v>65.380-65.387</c:v>
                </c:pt>
                <c:pt idx="9297">
                  <c:v>65.387-65.394</c:v>
                </c:pt>
                <c:pt idx="9298">
                  <c:v>65.394-65.401</c:v>
                </c:pt>
                <c:pt idx="9299">
                  <c:v>65.401-65.408</c:v>
                </c:pt>
                <c:pt idx="9300">
                  <c:v>65.408-65.415</c:v>
                </c:pt>
                <c:pt idx="9301">
                  <c:v>65.415-65.423</c:v>
                </c:pt>
                <c:pt idx="9302">
                  <c:v>65.423-65.430</c:v>
                </c:pt>
                <c:pt idx="9303">
                  <c:v>65.430-65.437</c:v>
                </c:pt>
                <c:pt idx="9304">
                  <c:v>65.437-65.444</c:v>
                </c:pt>
                <c:pt idx="9305">
                  <c:v>65.444-65.451</c:v>
                </c:pt>
                <c:pt idx="9306">
                  <c:v>65.451-65.458</c:v>
                </c:pt>
                <c:pt idx="9307">
                  <c:v>65.458-65.465</c:v>
                </c:pt>
                <c:pt idx="9308">
                  <c:v>65.465-65.472</c:v>
                </c:pt>
                <c:pt idx="9309">
                  <c:v>65.472-65.479</c:v>
                </c:pt>
                <c:pt idx="9310">
                  <c:v>65.479-65.486</c:v>
                </c:pt>
                <c:pt idx="9311">
                  <c:v>65.486-65.493</c:v>
                </c:pt>
                <c:pt idx="9312">
                  <c:v>65.493-65.500</c:v>
                </c:pt>
                <c:pt idx="9313">
                  <c:v>65.500-65.507</c:v>
                </c:pt>
                <c:pt idx="9314">
                  <c:v>65.507-65.514</c:v>
                </c:pt>
                <c:pt idx="9315">
                  <c:v>65.514-65.521</c:v>
                </c:pt>
                <c:pt idx="9316">
                  <c:v>65.521-65.528</c:v>
                </c:pt>
                <c:pt idx="9317">
                  <c:v>65.528-65.535</c:v>
                </c:pt>
                <c:pt idx="9318">
                  <c:v>65.535-65.542</c:v>
                </c:pt>
                <c:pt idx="9319">
                  <c:v>65.542-65.549</c:v>
                </c:pt>
                <c:pt idx="9320">
                  <c:v>65.549-65.556</c:v>
                </c:pt>
                <c:pt idx="9321">
                  <c:v>65.556-65.563</c:v>
                </c:pt>
                <c:pt idx="9322">
                  <c:v>65.563-65.570</c:v>
                </c:pt>
                <c:pt idx="9323">
                  <c:v>65.570-65.577</c:v>
                </c:pt>
                <c:pt idx="9324">
                  <c:v>65.577-65.584</c:v>
                </c:pt>
                <c:pt idx="9325">
                  <c:v>65.584-65.591</c:v>
                </c:pt>
                <c:pt idx="9326">
                  <c:v>65.591-65.598</c:v>
                </c:pt>
                <c:pt idx="9327">
                  <c:v>65.598-65.605</c:v>
                </c:pt>
                <c:pt idx="9328">
                  <c:v>65.605-65.612</c:v>
                </c:pt>
                <c:pt idx="9329">
                  <c:v>65.612-65.619</c:v>
                </c:pt>
                <c:pt idx="9330">
                  <c:v>65.619-65.626</c:v>
                </c:pt>
                <c:pt idx="9331">
                  <c:v>65.626-65.633</c:v>
                </c:pt>
                <c:pt idx="9332">
                  <c:v>65.633-65.641</c:v>
                </c:pt>
                <c:pt idx="9333">
                  <c:v>65.641-65.648</c:v>
                </c:pt>
                <c:pt idx="9334">
                  <c:v>65.648-65.655</c:v>
                </c:pt>
                <c:pt idx="9335">
                  <c:v>65.655-65.662</c:v>
                </c:pt>
                <c:pt idx="9336">
                  <c:v>65.662-65.669</c:v>
                </c:pt>
                <c:pt idx="9337">
                  <c:v>65.669-65.676</c:v>
                </c:pt>
                <c:pt idx="9338">
                  <c:v>65.676-65.683</c:v>
                </c:pt>
                <c:pt idx="9339">
                  <c:v>65.683-65.690</c:v>
                </c:pt>
                <c:pt idx="9340">
                  <c:v>65.690-65.697</c:v>
                </c:pt>
                <c:pt idx="9341">
                  <c:v>65.697-65.704</c:v>
                </c:pt>
                <c:pt idx="9342">
                  <c:v>65.704-65.711</c:v>
                </c:pt>
                <c:pt idx="9343">
                  <c:v>65.711-65.718</c:v>
                </c:pt>
                <c:pt idx="9344">
                  <c:v>65.718-65.725</c:v>
                </c:pt>
                <c:pt idx="9345">
                  <c:v>65.725-65.732</c:v>
                </c:pt>
                <c:pt idx="9346">
                  <c:v>65.732-65.739</c:v>
                </c:pt>
                <c:pt idx="9347">
                  <c:v>65.739-65.746</c:v>
                </c:pt>
                <c:pt idx="9348">
                  <c:v>65.746-65.753</c:v>
                </c:pt>
                <c:pt idx="9349">
                  <c:v>65.753-65.760</c:v>
                </c:pt>
                <c:pt idx="9350">
                  <c:v>65.760-65.767</c:v>
                </c:pt>
                <c:pt idx="9351">
                  <c:v>65.767-65.774</c:v>
                </c:pt>
                <c:pt idx="9352">
                  <c:v>65.774-65.781</c:v>
                </c:pt>
                <c:pt idx="9353">
                  <c:v>65.781-65.788</c:v>
                </c:pt>
                <c:pt idx="9354">
                  <c:v>65.788-65.795</c:v>
                </c:pt>
                <c:pt idx="9355">
                  <c:v>65.795-65.802</c:v>
                </c:pt>
                <c:pt idx="9356">
                  <c:v>65.802-65.809</c:v>
                </c:pt>
                <c:pt idx="9357">
                  <c:v>65.809-65.816</c:v>
                </c:pt>
                <c:pt idx="9358">
                  <c:v>65.816-65.823</c:v>
                </c:pt>
                <c:pt idx="9359">
                  <c:v>65.823-65.830</c:v>
                </c:pt>
                <c:pt idx="9360">
                  <c:v>65.830-65.837</c:v>
                </c:pt>
                <c:pt idx="9361">
                  <c:v>65.837-65.844</c:v>
                </c:pt>
                <c:pt idx="9362">
                  <c:v>65.844-65.851</c:v>
                </c:pt>
                <c:pt idx="9363">
                  <c:v>65.851-65.859</c:v>
                </c:pt>
                <c:pt idx="9364">
                  <c:v>65.859-65.866</c:v>
                </c:pt>
                <c:pt idx="9365">
                  <c:v>65.866-65.873</c:v>
                </c:pt>
                <c:pt idx="9366">
                  <c:v>65.873-65.880</c:v>
                </c:pt>
                <c:pt idx="9367">
                  <c:v>65.880-65.887</c:v>
                </c:pt>
                <c:pt idx="9368">
                  <c:v>65.887-65.894</c:v>
                </c:pt>
                <c:pt idx="9369">
                  <c:v>65.894-65.901</c:v>
                </c:pt>
                <c:pt idx="9370">
                  <c:v>65.901-65.908</c:v>
                </c:pt>
                <c:pt idx="9371">
                  <c:v>65.908-65.915</c:v>
                </c:pt>
                <c:pt idx="9372">
                  <c:v>65.915-65.922</c:v>
                </c:pt>
                <c:pt idx="9373">
                  <c:v>65.922-65.929</c:v>
                </c:pt>
                <c:pt idx="9374">
                  <c:v>65.929-65.936</c:v>
                </c:pt>
                <c:pt idx="9375">
                  <c:v>65.936-65.943</c:v>
                </c:pt>
                <c:pt idx="9376">
                  <c:v>65.943-65.950</c:v>
                </c:pt>
                <c:pt idx="9377">
                  <c:v>65.950-65.957</c:v>
                </c:pt>
                <c:pt idx="9378">
                  <c:v>65.957-65.964</c:v>
                </c:pt>
                <c:pt idx="9379">
                  <c:v>65.964-65.971</c:v>
                </c:pt>
                <c:pt idx="9380">
                  <c:v>65.971-65.978</c:v>
                </c:pt>
                <c:pt idx="9381">
                  <c:v>65.978-65.985</c:v>
                </c:pt>
                <c:pt idx="9382">
                  <c:v>65.985-65.992</c:v>
                </c:pt>
                <c:pt idx="9383">
                  <c:v>65.992-65.999</c:v>
                </c:pt>
                <c:pt idx="9384">
                  <c:v>65.999-66.006</c:v>
                </c:pt>
                <c:pt idx="9385">
                  <c:v>66.006-66.013</c:v>
                </c:pt>
                <c:pt idx="9386">
                  <c:v>66.013-66.020</c:v>
                </c:pt>
                <c:pt idx="9387">
                  <c:v>66.020-66.027</c:v>
                </c:pt>
                <c:pt idx="9388">
                  <c:v>66.027-66.034</c:v>
                </c:pt>
                <c:pt idx="9389">
                  <c:v>66.034-66.041</c:v>
                </c:pt>
                <c:pt idx="9390">
                  <c:v>66.041-66.048</c:v>
                </c:pt>
                <c:pt idx="9391">
                  <c:v>66.048-66.055</c:v>
                </c:pt>
                <c:pt idx="9392">
                  <c:v>66.055-66.062</c:v>
                </c:pt>
                <c:pt idx="9393">
                  <c:v>66.062-66.069</c:v>
                </c:pt>
                <c:pt idx="9394">
                  <c:v>66.069-66.077</c:v>
                </c:pt>
                <c:pt idx="9395">
                  <c:v>66.077-66.084</c:v>
                </c:pt>
                <c:pt idx="9396">
                  <c:v>66.084-66.091</c:v>
                </c:pt>
                <c:pt idx="9397">
                  <c:v>66.091-66.098</c:v>
                </c:pt>
                <c:pt idx="9398">
                  <c:v>66.098-66.105</c:v>
                </c:pt>
                <c:pt idx="9399">
                  <c:v>66.105-66.112</c:v>
                </c:pt>
                <c:pt idx="9400">
                  <c:v>66.112-66.119</c:v>
                </c:pt>
                <c:pt idx="9401">
                  <c:v>66.119-66.126</c:v>
                </c:pt>
                <c:pt idx="9402">
                  <c:v>66.126-66.133</c:v>
                </c:pt>
                <c:pt idx="9403">
                  <c:v>66.133-66.140</c:v>
                </c:pt>
                <c:pt idx="9404">
                  <c:v>66.140-66.147</c:v>
                </c:pt>
                <c:pt idx="9405">
                  <c:v>66.147-66.154</c:v>
                </c:pt>
                <c:pt idx="9406">
                  <c:v>66.154-66.161</c:v>
                </c:pt>
                <c:pt idx="9407">
                  <c:v>66.161-66.168</c:v>
                </c:pt>
                <c:pt idx="9408">
                  <c:v>66.168-66.175</c:v>
                </c:pt>
                <c:pt idx="9409">
                  <c:v>66.175-66.182</c:v>
                </c:pt>
                <c:pt idx="9410">
                  <c:v>66.182-66.189</c:v>
                </c:pt>
                <c:pt idx="9411">
                  <c:v>66.189-66.196</c:v>
                </c:pt>
                <c:pt idx="9412">
                  <c:v>66.196-66.203</c:v>
                </c:pt>
                <c:pt idx="9413">
                  <c:v>66.203-66.210</c:v>
                </c:pt>
                <c:pt idx="9414">
                  <c:v>66.210-66.217</c:v>
                </c:pt>
                <c:pt idx="9415">
                  <c:v>66.217-66.224</c:v>
                </c:pt>
                <c:pt idx="9416">
                  <c:v>66.224-66.231</c:v>
                </c:pt>
                <c:pt idx="9417">
                  <c:v>66.231-66.238</c:v>
                </c:pt>
                <c:pt idx="9418">
                  <c:v>66.238-66.245</c:v>
                </c:pt>
                <c:pt idx="9419">
                  <c:v>66.245-66.252</c:v>
                </c:pt>
                <c:pt idx="9420">
                  <c:v>66.252-66.259</c:v>
                </c:pt>
                <c:pt idx="9421">
                  <c:v>66.259-66.266</c:v>
                </c:pt>
                <c:pt idx="9422">
                  <c:v>66.266-66.273</c:v>
                </c:pt>
                <c:pt idx="9423">
                  <c:v>66.273-66.280</c:v>
                </c:pt>
                <c:pt idx="9424">
                  <c:v>66.280-66.287</c:v>
                </c:pt>
                <c:pt idx="9425">
                  <c:v>66.287-66.295</c:v>
                </c:pt>
                <c:pt idx="9426">
                  <c:v>66.295-66.302</c:v>
                </c:pt>
                <c:pt idx="9427">
                  <c:v>66.302-66.309</c:v>
                </c:pt>
                <c:pt idx="9428">
                  <c:v>66.309-66.316</c:v>
                </c:pt>
                <c:pt idx="9429">
                  <c:v>66.316-66.323</c:v>
                </c:pt>
                <c:pt idx="9430">
                  <c:v>66.323-66.330</c:v>
                </c:pt>
                <c:pt idx="9431">
                  <c:v>66.330-66.337</c:v>
                </c:pt>
                <c:pt idx="9432">
                  <c:v>66.337-66.344</c:v>
                </c:pt>
                <c:pt idx="9433">
                  <c:v>66.344-66.351</c:v>
                </c:pt>
                <c:pt idx="9434">
                  <c:v>66.351-66.358</c:v>
                </c:pt>
                <c:pt idx="9435">
                  <c:v>66.358-66.365</c:v>
                </c:pt>
                <c:pt idx="9436">
                  <c:v>66.365-66.372</c:v>
                </c:pt>
                <c:pt idx="9437">
                  <c:v>66.372-66.379</c:v>
                </c:pt>
                <c:pt idx="9438">
                  <c:v>66.379-66.386</c:v>
                </c:pt>
                <c:pt idx="9439">
                  <c:v>66.386-66.393</c:v>
                </c:pt>
                <c:pt idx="9440">
                  <c:v>66.393-66.400</c:v>
                </c:pt>
                <c:pt idx="9441">
                  <c:v>66.400-66.407</c:v>
                </c:pt>
                <c:pt idx="9442">
                  <c:v>66.407-66.414</c:v>
                </c:pt>
                <c:pt idx="9443">
                  <c:v>66.414-66.421</c:v>
                </c:pt>
                <c:pt idx="9444">
                  <c:v>66.421-66.428</c:v>
                </c:pt>
                <c:pt idx="9445">
                  <c:v>66.428-66.435</c:v>
                </c:pt>
                <c:pt idx="9446">
                  <c:v>66.435-66.442</c:v>
                </c:pt>
                <c:pt idx="9447">
                  <c:v>66.442-66.449</c:v>
                </c:pt>
                <c:pt idx="9448">
                  <c:v>66.449-66.456</c:v>
                </c:pt>
                <c:pt idx="9449">
                  <c:v>66.456-66.463</c:v>
                </c:pt>
                <c:pt idx="9450">
                  <c:v>66.463-66.470</c:v>
                </c:pt>
                <c:pt idx="9451">
                  <c:v>66.470-66.477</c:v>
                </c:pt>
                <c:pt idx="9452">
                  <c:v>66.477-66.484</c:v>
                </c:pt>
                <c:pt idx="9453">
                  <c:v>66.484-66.491</c:v>
                </c:pt>
                <c:pt idx="9454">
                  <c:v>66.491-66.498</c:v>
                </c:pt>
                <c:pt idx="9455">
                  <c:v>66.498-66.505</c:v>
                </c:pt>
                <c:pt idx="9456">
                  <c:v>66.505-66.513</c:v>
                </c:pt>
                <c:pt idx="9457">
                  <c:v>66.513-66.520</c:v>
                </c:pt>
                <c:pt idx="9458">
                  <c:v>66.520-66.527</c:v>
                </c:pt>
                <c:pt idx="9459">
                  <c:v>66.527-66.534</c:v>
                </c:pt>
                <c:pt idx="9460">
                  <c:v>66.534-66.541</c:v>
                </c:pt>
                <c:pt idx="9461">
                  <c:v>66.541-66.548</c:v>
                </c:pt>
                <c:pt idx="9462">
                  <c:v>66.548-66.555</c:v>
                </c:pt>
                <c:pt idx="9463">
                  <c:v>66.555-66.562</c:v>
                </c:pt>
                <c:pt idx="9464">
                  <c:v>66.562-66.569</c:v>
                </c:pt>
                <c:pt idx="9465">
                  <c:v>66.569-66.576</c:v>
                </c:pt>
                <c:pt idx="9466">
                  <c:v>66.576-66.583</c:v>
                </c:pt>
                <c:pt idx="9467">
                  <c:v>66.583-66.590</c:v>
                </c:pt>
                <c:pt idx="9468">
                  <c:v>66.590-66.597</c:v>
                </c:pt>
                <c:pt idx="9469">
                  <c:v>66.597-66.604</c:v>
                </c:pt>
                <c:pt idx="9470">
                  <c:v>66.604-66.611</c:v>
                </c:pt>
                <c:pt idx="9471">
                  <c:v>66.611-66.618</c:v>
                </c:pt>
                <c:pt idx="9472">
                  <c:v>66.618-66.625</c:v>
                </c:pt>
                <c:pt idx="9473">
                  <c:v>66.625-66.632</c:v>
                </c:pt>
                <c:pt idx="9474">
                  <c:v>66.632-66.639</c:v>
                </c:pt>
                <c:pt idx="9475">
                  <c:v>66.639-66.646</c:v>
                </c:pt>
                <c:pt idx="9476">
                  <c:v>66.646-66.653</c:v>
                </c:pt>
                <c:pt idx="9477">
                  <c:v>66.653-66.660</c:v>
                </c:pt>
                <c:pt idx="9478">
                  <c:v>66.660-66.667</c:v>
                </c:pt>
                <c:pt idx="9479">
                  <c:v>66.667-66.674</c:v>
                </c:pt>
                <c:pt idx="9480">
                  <c:v>66.674-66.681</c:v>
                </c:pt>
                <c:pt idx="9481">
                  <c:v>66.681-66.688</c:v>
                </c:pt>
                <c:pt idx="9482">
                  <c:v>66.688-66.695</c:v>
                </c:pt>
                <c:pt idx="9483">
                  <c:v>66.695-66.702</c:v>
                </c:pt>
                <c:pt idx="9484">
                  <c:v>66.702-66.709</c:v>
                </c:pt>
                <c:pt idx="9485">
                  <c:v>66.709-66.716</c:v>
                </c:pt>
                <c:pt idx="9486">
                  <c:v>66.716-66.723</c:v>
                </c:pt>
                <c:pt idx="9487">
                  <c:v>66.723-66.731</c:v>
                </c:pt>
                <c:pt idx="9488">
                  <c:v>66.731-66.738</c:v>
                </c:pt>
                <c:pt idx="9489">
                  <c:v>66.738-66.745</c:v>
                </c:pt>
                <c:pt idx="9490">
                  <c:v>66.745-66.752</c:v>
                </c:pt>
                <c:pt idx="9491">
                  <c:v>66.752-66.759</c:v>
                </c:pt>
                <c:pt idx="9492">
                  <c:v>66.759-66.766</c:v>
                </c:pt>
                <c:pt idx="9493">
                  <c:v>66.766-66.773</c:v>
                </c:pt>
                <c:pt idx="9494">
                  <c:v>66.773-66.780</c:v>
                </c:pt>
                <c:pt idx="9495">
                  <c:v>66.780-66.787</c:v>
                </c:pt>
                <c:pt idx="9496">
                  <c:v>66.787-66.794</c:v>
                </c:pt>
                <c:pt idx="9497">
                  <c:v>66.794-66.801</c:v>
                </c:pt>
                <c:pt idx="9498">
                  <c:v>66.801-66.808</c:v>
                </c:pt>
                <c:pt idx="9499">
                  <c:v>66.808-66.815</c:v>
                </c:pt>
                <c:pt idx="9500">
                  <c:v>66.815-66.822</c:v>
                </c:pt>
                <c:pt idx="9501">
                  <c:v>66.822-66.829</c:v>
                </c:pt>
                <c:pt idx="9502">
                  <c:v>66.829-66.836</c:v>
                </c:pt>
                <c:pt idx="9503">
                  <c:v>66.836-66.843</c:v>
                </c:pt>
                <c:pt idx="9504">
                  <c:v>66.843-66.850</c:v>
                </c:pt>
                <c:pt idx="9505">
                  <c:v>66.850-66.857</c:v>
                </c:pt>
                <c:pt idx="9506">
                  <c:v>66.857-66.864</c:v>
                </c:pt>
                <c:pt idx="9507">
                  <c:v>66.864-66.871</c:v>
                </c:pt>
                <c:pt idx="9508">
                  <c:v>66.871-66.878</c:v>
                </c:pt>
                <c:pt idx="9509">
                  <c:v>66.878-66.885</c:v>
                </c:pt>
                <c:pt idx="9510">
                  <c:v>66.885-66.892</c:v>
                </c:pt>
                <c:pt idx="9511">
                  <c:v>66.892-66.899</c:v>
                </c:pt>
                <c:pt idx="9512">
                  <c:v>66.899-66.906</c:v>
                </c:pt>
                <c:pt idx="9513">
                  <c:v>66.906-66.913</c:v>
                </c:pt>
                <c:pt idx="9514">
                  <c:v>66.913-66.920</c:v>
                </c:pt>
                <c:pt idx="9515">
                  <c:v>66.920-66.927</c:v>
                </c:pt>
                <c:pt idx="9516">
                  <c:v>66.927-66.934</c:v>
                </c:pt>
                <c:pt idx="9517">
                  <c:v>66.934-66.941</c:v>
                </c:pt>
                <c:pt idx="9518">
                  <c:v>66.941-66.949</c:v>
                </c:pt>
                <c:pt idx="9519">
                  <c:v>66.949-66.956</c:v>
                </c:pt>
                <c:pt idx="9520">
                  <c:v>66.956-66.963</c:v>
                </c:pt>
                <c:pt idx="9521">
                  <c:v>66.963-66.970</c:v>
                </c:pt>
                <c:pt idx="9522">
                  <c:v>66.970-66.977</c:v>
                </c:pt>
                <c:pt idx="9523">
                  <c:v>66.977-66.984</c:v>
                </c:pt>
                <c:pt idx="9524">
                  <c:v>66.984-66.991</c:v>
                </c:pt>
                <c:pt idx="9525">
                  <c:v>66.991-66.998</c:v>
                </c:pt>
                <c:pt idx="9526">
                  <c:v>66.998-67.005</c:v>
                </c:pt>
                <c:pt idx="9527">
                  <c:v>67.005-67.012</c:v>
                </c:pt>
                <c:pt idx="9528">
                  <c:v>67.012-67.019</c:v>
                </c:pt>
                <c:pt idx="9529">
                  <c:v>67.019-67.026</c:v>
                </c:pt>
                <c:pt idx="9530">
                  <c:v>67.026-67.033</c:v>
                </c:pt>
                <c:pt idx="9531">
                  <c:v>67.033-67.040</c:v>
                </c:pt>
                <c:pt idx="9532">
                  <c:v>67.040-67.047</c:v>
                </c:pt>
                <c:pt idx="9533">
                  <c:v>67.047-67.054</c:v>
                </c:pt>
                <c:pt idx="9534">
                  <c:v>67.054-67.061</c:v>
                </c:pt>
                <c:pt idx="9535">
                  <c:v>67.061-67.068</c:v>
                </c:pt>
                <c:pt idx="9536">
                  <c:v>67.068-67.075</c:v>
                </c:pt>
                <c:pt idx="9537">
                  <c:v>67.075-67.082</c:v>
                </c:pt>
                <c:pt idx="9538">
                  <c:v>67.082-67.089</c:v>
                </c:pt>
                <c:pt idx="9539">
                  <c:v>67.089-67.096</c:v>
                </c:pt>
                <c:pt idx="9540">
                  <c:v>67.096-67.103</c:v>
                </c:pt>
                <c:pt idx="9541">
                  <c:v>67.103-67.110</c:v>
                </c:pt>
                <c:pt idx="9542">
                  <c:v>67.110-67.117</c:v>
                </c:pt>
                <c:pt idx="9543">
                  <c:v>67.117-67.124</c:v>
                </c:pt>
                <c:pt idx="9544">
                  <c:v>67.124-67.131</c:v>
                </c:pt>
                <c:pt idx="9545">
                  <c:v>67.131-67.138</c:v>
                </c:pt>
                <c:pt idx="9546">
                  <c:v>67.138-67.145</c:v>
                </c:pt>
                <c:pt idx="9547">
                  <c:v>67.145-67.152</c:v>
                </c:pt>
                <c:pt idx="9548">
                  <c:v>67.152-67.159</c:v>
                </c:pt>
                <c:pt idx="9549">
                  <c:v>67.159-67.167</c:v>
                </c:pt>
                <c:pt idx="9550">
                  <c:v>67.167-67.174</c:v>
                </c:pt>
                <c:pt idx="9551">
                  <c:v>67.174-67.181</c:v>
                </c:pt>
                <c:pt idx="9552">
                  <c:v>67.181-67.188</c:v>
                </c:pt>
                <c:pt idx="9553">
                  <c:v>67.188-67.195</c:v>
                </c:pt>
                <c:pt idx="9554">
                  <c:v>67.195-67.202</c:v>
                </c:pt>
                <c:pt idx="9555">
                  <c:v>67.202-67.209</c:v>
                </c:pt>
                <c:pt idx="9556">
                  <c:v>67.209-67.216</c:v>
                </c:pt>
                <c:pt idx="9557">
                  <c:v>67.216-67.223</c:v>
                </c:pt>
                <c:pt idx="9558">
                  <c:v>67.223-67.230</c:v>
                </c:pt>
                <c:pt idx="9559">
                  <c:v>67.230-67.237</c:v>
                </c:pt>
                <c:pt idx="9560">
                  <c:v>67.237-67.244</c:v>
                </c:pt>
                <c:pt idx="9561">
                  <c:v>67.244-67.251</c:v>
                </c:pt>
                <c:pt idx="9562">
                  <c:v>67.251-67.258</c:v>
                </c:pt>
                <c:pt idx="9563">
                  <c:v>67.258-67.265</c:v>
                </c:pt>
                <c:pt idx="9564">
                  <c:v>67.265-67.272</c:v>
                </c:pt>
                <c:pt idx="9565">
                  <c:v>67.272-67.279</c:v>
                </c:pt>
                <c:pt idx="9566">
                  <c:v>67.279-67.286</c:v>
                </c:pt>
                <c:pt idx="9567">
                  <c:v>67.286-67.293</c:v>
                </c:pt>
                <c:pt idx="9568">
                  <c:v>67.293-67.300</c:v>
                </c:pt>
                <c:pt idx="9569">
                  <c:v>67.300-67.307</c:v>
                </c:pt>
                <c:pt idx="9570">
                  <c:v>67.307-67.314</c:v>
                </c:pt>
                <c:pt idx="9571">
                  <c:v>67.314-67.321</c:v>
                </c:pt>
                <c:pt idx="9572">
                  <c:v>67.321-67.328</c:v>
                </c:pt>
                <c:pt idx="9573">
                  <c:v>67.328-67.335</c:v>
                </c:pt>
                <c:pt idx="9574">
                  <c:v>67.335-67.342</c:v>
                </c:pt>
                <c:pt idx="9575">
                  <c:v>67.342-67.349</c:v>
                </c:pt>
                <c:pt idx="9576">
                  <c:v>67.349-67.356</c:v>
                </c:pt>
                <c:pt idx="9577">
                  <c:v>67.356-67.363</c:v>
                </c:pt>
                <c:pt idx="9578">
                  <c:v>67.363-67.370</c:v>
                </c:pt>
                <c:pt idx="9579">
                  <c:v>67.370-67.377</c:v>
                </c:pt>
                <c:pt idx="9580">
                  <c:v>67.377-67.385</c:v>
                </c:pt>
                <c:pt idx="9581">
                  <c:v>67.385-67.392</c:v>
                </c:pt>
                <c:pt idx="9582">
                  <c:v>67.392-67.399</c:v>
                </c:pt>
                <c:pt idx="9583">
                  <c:v>67.399-67.406</c:v>
                </c:pt>
                <c:pt idx="9584">
                  <c:v>67.406-67.413</c:v>
                </c:pt>
                <c:pt idx="9585">
                  <c:v>67.413-67.420</c:v>
                </c:pt>
                <c:pt idx="9586">
                  <c:v>67.420-67.427</c:v>
                </c:pt>
                <c:pt idx="9587">
                  <c:v>67.427-67.434</c:v>
                </c:pt>
                <c:pt idx="9588">
                  <c:v>67.434-67.441</c:v>
                </c:pt>
                <c:pt idx="9589">
                  <c:v>67.441-67.448</c:v>
                </c:pt>
                <c:pt idx="9590">
                  <c:v>67.448-67.455</c:v>
                </c:pt>
                <c:pt idx="9591">
                  <c:v>67.455-67.462</c:v>
                </c:pt>
                <c:pt idx="9592">
                  <c:v>67.462-67.469</c:v>
                </c:pt>
                <c:pt idx="9593">
                  <c:v>67.469-67.476</c:v>
                </c:pt>
                <c:pt idx="9594">
                  <c:v>67.476-67.483</c:v>
                </c:pt>
                <c:pt idx="9595">
                  <c:v>67.483-67.490</c:v>
                </c:pt>
                <c:pt idx="9596">
                  <c:v>67.490-67.497</c:v>
                </c:pt>
                <c:pt idx="9597">
                  <c:v>67.497-67.504</c:v>
                </c:pt>
                <c:pt idx="9598">
                  <c:v>67.504-67.511</c:v>
                </c:pt>
                <c:pt idx="9599">
                  <c:v>67.511-67.518</c:v>
                </c:pt>
                <c:pt idx="9600">
                  <c:v>67.518-67.525</c:v>
                </c:pt>
                <c:pt idx="9601">
                  <c:v>67.525-67.532</c:v>
                </c:pt>
                <c:pt idx="9602">
                  <c:v>67.532-67.539</c:v>
                </c:pt>
                <c:pt idx="9603">
                  <c:v>67.539-67.546</c:v>
                </c:pt>
                <c:pt idx="9604">
                  <c:v>67.546-67.553</c:v>
                </c:pt>
                <c:pt idx="9605">
                  <c:v>67.553-67.560</c:v>
                </c:pt>
                <c:pt idx="9606">
                  <c:v>67.560-67.567</c:v>
                </c:pt>
                <c:pt idx="9607">
                  <c:v>67.567-67.574</c:v>
                </c:pt>
                <c:pt idx="9608">
                  <c:v>67.574-67.581</c:v>
                </c:pt>
                <c:pt idx="9609">
                  <c:v>67.581-67.588</c:v>
                </c:pt>
                <c:pt idx="9610">
                  <c:v>67.588-67.595</c:v>
                </c:pt>
                <c:pt idx="9611">
                  <c:v>67.595-67.603</c:v>
                </c:pt>
                <c:pt idx="9612">
                  <c:v>67.603-67.610</c:v>
                </c:pt>
                <c:pt idx="9613">
                  <c:v>67.610-67.617</c:v>
                </c:pt>
                <c:pt idx="9614">
                  <c:v>67.617-67.624</c:v>
                </c:pt>
                <c:pt idx="9615">
                  <c:v>67.624-67.631</c:v>
                </c:pt>
                <c:pt idx="9616">
                  <c:v>67.631-67.638</c:v>
                </c:pt>
                <c:pt idx="9617">
                  <c:v>67.638-67.645</c:v>
                </c:pt>
                <c:pt idx="9618">
                  <c:v>67.645-67.652</c:v>
                </c:pt>
                <c:pt idx="9619">
                  <c:v>67.652-67.659</c:v>
                </c:pt>
                <c:pt idx="9620">
                  <c:v>67.659-67.666</c:v>
                </c:pt>
                <c:pt idx="9621">
                  <c:v>67.666-67.673</c:v>
                </c:pt>
                <c:pt idx="9622">
                  <c:v>67.673-67.680</c:v>
                </c:pt>
                <c:pt idx="9623">
                  <c:v>67.680-67.687</c:v>
                </c:pt>
                <c:pt idx="9624">
                  <c:v>67.687-67.694</c:v>
                </c:pt>
                <c:pt idx="9625">
                  <c:v>67.694-67.701</c:v>
                </c:pt>
                <c:pt idx="9626">
                  <c:v>67.701-67.708</c:v>
                </c:pt>
                <c:pt idx="9627">
                  <c:v>67.708-67.715</c:v>
                </c:pt>
                <c:pt idx="9628">
                  <c:v>67.715-67.722</c:v>
                </c:pt>
                <c:pt idx="9629">
                  <c:v>67.722-67.729</c:v>
                </c:pt>
                <c:pt idx="9630">
                  <c:v>67.729-67.736</c:v>
                </c:pt>
                <c:pt idx="9631">
                  <c:v>67.736-67.743</c:v>
                </c:pt>
                <c:pt idx="9632">
                  <c:v>67.743-67.750</c:v>
                </c:pt>
                <c:pt idx="9633">
                  <c:v>67.750-67.757</c:v>
                </c:pt>
                <c:pt idx="9634">
                  <c:v>67.757-67.764</c:v>
                </c:pt>
                <c:pt idx="9635">
                  <c:v>67.764-67.771</c:v>
                </c:pt>
                <c:pt idx="9636">
                  <c:v>67.771-67.778</c:v>
                </c:pt>
                <c:pt idx="9637">
                  <c:v>67.778-67.785</c:v>
                </c:pt>
                <c:pt idx="9638">
                  <c:v>67.785-67.792</c:v>
                </c:pt>
                <c:pt idx="9639">
                  <c:v>67.792-67.799</c:v>
                </c:pt>
                <c:pt idx="9640">
                  <c:v>67.799-67.806</c:v>
                </c:pt>
                <c:pt idx="9641">
                  <c:v>67.806-67.813</c:v>
                </c:pt>
                <c:pt idx="9642">
                  <c:v>67.813-67.821</c:v>
                </c:pt>
                <c:pt idx="9643">
                  <c:v>67.821-67.828</c:v>
                </c:pt>
                <c:pt idx="9644">
                  <c:v>67.828-67.835</c:v>
                </c:pt>
                <c:pt idx="9645">
                  <c:v>67.835-67.842</c:v>
                </c:pt>
                <c:pt idx="9646">
                  <c:v>67.842-67.849</c:v>
                </c:pt>
                <c:pt idx="9647">
                  <c:v>67.849-67.856</c:v>
                </c:pt>
                <c:pt idx="9648">
                  <c:v>67.856-67.863</c:v>
                </c:pt>
                <c:pt idx="9649">
                  <c:v>67.863-67.870</c:v>
                </c:pt>
                <c:pt idx="9650">
                  <c:v>67.870-67.877</c:v>
                </c:pt>
                <c:pt idx="9651">
                  <c:v>67.877-67.884</c:v>
                </c:pt>
                <c:pt idx="9652">
                  <c:v>67.884-67.891</c:v>
                </c:pt>
                <c:pt idx="9653">
                  <c:v>67.891-67.898</c:v>
                </c:pt>
                <c:pt idx="9654">
                  <c:v>67.898-67.905</c:v>
                </c:pt>
                <c:pt idx="9655">
                  <c:v>67.905-67.912</c:v>
                </c:pt>
                <c:pt idx="9656">
                  <c:v>67.912-67.919</c:v>
                </c:pt>
                <c:pt idx="9657">
                  <c:v>67.919-67.926</c:v>
                </c:pt>
                <c:pt idx="9658">
                  <c:v>67.926-67.933</c:v>
                </c:pt>
                <c:pt idx="9659">
                  <c:v>67.933-67.940</c:v>
                </c:pt>
                <c:pt idx="9660">
                  <c:v>67.940-67.947</c:v>
                </c:pt>
                <c:pt idx="9661">
                  <c:v>67.947-67.954</c:v>
                </c:pt>
                <c:pt idx="9662">
                  <c:v>67.954-67.961</c:v>
                </c:pt>
                <c:pt idx="9663">
                  <c:v>67.961-67.968</c:v>
                </c:pt>
                <c:pt idx="9664">
                  <c:v>67.968-67.975</c:v>
                </c:pt>
                <c:pt idx="9665">
                  <c:v>67.975-67.982</c:v>
                </c:pt>
                <c:pt idx="9666">
                  <c:v>67.982-67.989</c:v>
                </c:pt>
                <c:pt idx="9667">
                  <c:v>67.989-67.996</c:v>
                </c:pt>
                <c:pt idx="9668">
                  <c:v>67.996-68.003</c:v>
                </c:pt>
                <c:pt idx="9669">
                  <c:v>68.003-68.010</c:v>
                </c:pt>
                <c:pt idx="9670">
                  <c:v>68.010-68.017</c:v>
                </c:pt>
                <c:pt idx="9671">
                  <c:v>68.017-68.024</c:v>
                </c:pt>
                <c:pt idx="9672">
                  <c:v>68.024-68.031</c:v>
                </c:pt>
                <c:pt idx="9673">
                  <c:v>68.031-68.039</c:v>
                </c:pt>
                <c:pt idx="9674">
                  <c:v>68.039-68.046</c:v>
                </c:pt>
                <c:pt idx="9675">
                  <c:v>68.046-68.053</c:v>
                </c:pt>
                <c:pt idx="9676">
                  <c:v>68.053-68.060</c:v>
                </c:pt>
                <c:pt idx="9677">
                  <c:v>68.060-68.067</c:v>
                </c:pt>
                <c:pt idx="9678">
                  <c:v>68.067-68.074</c:v>
                </c:pt>
                <c:pt idx="9679">
                  <c:v>68.074-68.081</c:v>
                </c:pt>
                <c:pt idx="9680">
                  <c:v>68.081-68.088</c:v>
                </c:pt>
                <c:pt idx="9681">
                  <c:v>68.088-68.095</c:v>
                </c:pt>
                <c:pt idx="9682">
                  <c:v>68.095-68.102</c:v>
                </c:pt>
                <c:pt idx="9683">
                  <c:v>68.102-68.109</c:v>
                </c:pt>
                <c:pt idx="9684">
                  <c:v>68.109-68.116</c:v>
                </c:pt>
                <c:pt idx="9685">
                  <c:v>68.116-68.123</c:v>
                </c:pt>
                <c:pt idx="9686">
                  <c:v>68.123-68.130</c:v>
                </c:pt>
                <c:pt idx="9687">
                  <c:v>68.130-68.137</c:v>
                </c:pt>
                <c:pt idx="9688">
                  <c:v>68.137-68.144</c:v>
                </c:pt>
                <c:pt idx="9689">
                  <c:v>68.144-68.151</c:v>
                </c:pt>
                <c:pt idx="9690">
                  <c:v>68.151-68.158</c:v>
                </c:pt>
                <c:pt idx="9691">
                  <c:v>68.158-68.165</c:v>
                </c:pt>
                <c:pt idx="9692">
                  <c:v>68.165-68.172</c:v>
                </c:pt>
                <c:pt idx="9693">
                  <c:v>68.172-68.179</c:v>
                </c:pt>
                <c:pt idx="9694">
                  <c:v>68.179-68.186</c:v>
                </c:pt>
                <c:pt idx="9695">
                  <c:v>68.186-68.193</c:v>
                </c:pt>
                <c:pt idx="9696">
                  <c:v>68.193-68.200</c:v>
                </c:pt>
                <c:pt idx="9697">
                  <c:v>68.200-68.207</c:v>
                </c:pt>
                <c:pt idx="9698">
                  <c:v>68.207-68.214</c:v>
                </c:pt>
                <c:pt idx="9699">
                  <c:v>68.214-68.221</c:v>
                </c:pt>
                <c:pt idx="9700">
                  <c:v>68.221-68.228</c:v>
                </c:pt>
                <c:pt idx="9701">
                  <c:v>68.228-68.235</c:v>
                </c:pt>
                <c:pt idx="9702">
                  <c:v>68.235-68.242</c:v>
                </c:pt>
                <c:pt idx="9703">
                  <c:v>68.242-68.249</c:v>
                </c:pt>
                <c:pt idx="9704">
                  <c:v>68.249-68.257</c:v>
                </c:pt>
                <c:pt idx="9705">
                  <c:v>68.257-68.264</c:v>
                </c:pt>
                <c:pt idx="9706">
                  <c:v>68.264-68.271</c:v>
                </c:pt>
                <c:pt idx="9707">
                  <c:v>68.271-68.278</c:v>
                </c:pt>
                <c:pt idx="9708">
                  <c:v>68.278-68.285</c:v>
                </c:pt>
                <c:pt idx="9709">
                  <c:v>68.285-68.292</c:v>
                </c:pt>
                <c:pt idx="9710">
                  <c:v>68.292-68.299</c:v>
                </c:pt>
                <c:pt idx="9711">
                  <c:v>68.299-68.306</c:v>
                </c:pt>
                <c:pt idx="9712">
                  <c:v>68.306-68.313</c:v>
                </c:pt>
                <c:pt idx="9713">
                  <c:v>68.313-68.320</c:v>
                </c:pt>
                <c:pt idx="9714">
                  <c:v>68.320-68.327</c:v>
                </c:pt>
                <c:pt idx="9715">
                  <c:v>68.327-68.334</c:v>
                </c:pt>
                <c:pt idx="9716">
                  <c:v>68.334-68.341</c:v>
                </c:pt>
                <c:pt idx="9717">
                  <c:v>68.341-68.348</c:v>
                </c:pt>
                <c:pt idx="9718">
                  <c:v>68.348-68.355</c:v>
                </c:pt>
                <c:pt idx="9719">
                  <c:v>68.355-68.362</c:v>
                </c:pt>
                <c:pt idx="9720">
                  <c:v>68.362-68.369</c:v>
                </c:pt>
                <c:pt idx="9721">
                  <c:v>68.369-68.376</c:v>
                </c:pt>
                <c:pt idx="9722">
                  <c:v>68.376-68.383</c:v>
                </c:pt>
                <c:pt idx="9723">
                  <c:v>68.383-68.390</c:v>
                </c:pt>
                <c:pt idx="9724">
                  <c:v>68.390-68.397</c:v>
                </c:pt>
                <c:pt idx="9725">
                  <c:v>68.397-68.404</c:v>
                </c:pt>
                <c:pt idx="9726">
                  <c:v>68.404-68.411</c:v>
                </c:pt>
                <c:pt idx="9727">
                  <c:v>68.411-68.418</c:v>
                </c:pt>
                <c:pt idx="9728">
                  <c:v>68.418-68.425</c:v>
                </c:pt>
                <c:pt idx="9729">
                  <c:v>68.425-68.432</c:v>
                </c:pt>
                <c:pt idx="9730">
                  <c:v>68.432-68.439</c:v>
                </c:pt>
                <c:pt idx="9731">
                  <c:v>68.439-68.446</c:v>
                </c:pt>
                <c:pt idx="9732">
                  <c:v>68.446-68.453</c:v>
                </c:pt>
                <c:pt idx="9733">
                  <c:v>68.453-68.460</c:v>
                </c:pt>
                <c:pt idx="9734">
                  <c:v>68.460-68.467</c:v>
                </c:pt>
                <c:pt idx="9735">
                  <c:v>68.467-68.474</c:v>
                </c:pt>
                <c:pt idx="9736">
                  <c:v>68.474-68.482</c:v>
                </c:pt>
                <c:pt idx="9737">
                  <c:v>68.482-68.489</c:v>
                </c:pt>
                <c:pt idx="9738">
                  <c:v>68.489-68.496</c:v>
                </c:pt>
                <c:pt idx="9739">
                  <c:v>68.496-68.503</c:v>
                </c:pt>
                <c:pt idx="9740">
                  <c:v>68.503-68.510</c:v>
                </c:pt>
                <c:pt idx="9741">
                  <c:v>68.510-68.517</c:v>
                </c:pt>
                <c:pt idx="9742">
                  <c:v>68.517-68.524</c:v>
                </c:pt>
                <c:pt idx="9743">
                  <c:v>68.524-68.531</c:v>
                </c:pt>
                <c:pt idx="9744">
                  <c:v>68.531-68.538</c:v>
                </c:pt>
                <c:pt idx="9745">
                  <c:v>68.538-68.545</c:v>
                </c:pt>
                <c:pt idx="9746">
                  <c:v>68.545-68.552</c:v>
                </c:pt>
                <c:pt idx="9747">
                  <c:v>68.552-68.559</c:v>
                </c:pt>
                <c:pt idx="9748">
                  <c:v>68.559-68.566</c:v>
                </c:pt>
                <c:pt idx="9749">
                  <c:v>68.566-68.573</c:v>
                </c:pt>
                <c:pt idx="9750">
                  <c:v>68.573-68.580</c:v>
                </c:pt>
                <c:pt idx="9751">
                  <c:v>68.580-68.587</c:v>
                </c:pt>
                <c:pt idx="9752">
                  <c:v>68.587-68.594</c:v>
                </c:pt>
                <c:pt idx="9753">
                  <c:v>68.594-68.601</c:v>
                </c:pt>
                <c:pt idx="9754">
                  <c:v>68.601-68.608</c:v>
                </c:pt>
                <c:pt idx="9755">
                  <c:v>68.608-68.615</c:v>
                </c:pt>
                <c:pt idx="9756">
                  <c:v>68.615-68.622</c:v>
                </c:pt>
                <c:pt idx="9757">
                  <c:v>68.622-68.629</c:v>
                </c:pt>
                <c:pt idx="9758">
                  <c:v>68.629-68.636</c:v>
                </c:pt>
                <c:pt idx="9759">
                  <c:v>68.636-68.643</c:v>
                </c:pt>
                <c:pt idx="9760">
                  <c:v>68.643-68.650</c:v>
                </c:pt>
                <c:pt idx="9761">
                  <c:v>68.650-68.657</c:v>
                </c:pt>
                <c:pt idx="9762">
                  <c:v>68.657-68.664</c:v>
                </c:pt>
                <c:pt idx="9763">
                  <c:v>68.664-68.671</c:v>
                </c:pt>
                <c:pt idx="9764">
                  <c:v>68.671-68.678</c:v>
                </c:pt>
                <c:pt idx="9765">
                  <c:v>68.678-68.685</c:v>
                </c:pt>
                <c:pt idx="9766">
                  <c:v>68.685-68.692</c:v>
                </c:pt>
                <c:pt idx="9767">
                  <c:v>68.692-68.700</c:v>
                </c:pt>
                <c:pt idx="9768">
                  <c:v>68.700-68.707</c:v>
                </c:pt>
                <c:pt idx="9769">
                  <c:v>68.707-68.714</c:v>
                </c:pt>
                <c:pt idx="9770">
                  <c:v>68.714-68.721</c:v>
                </c:pt>
                <c:pt idx="9771">
                  <c:v>68.721-68.728</c:v>
                </c:pt>
                <c:pt idx="9772">
                  <c:v>68.728-68.735</c:v>
                </c:pt>
                <c:pt idx="9773">
                  <c:v>68.735-68.742</c:v>
                </c:pt>
                <c:pt idx="9774">
                  <c:v>68.742-68.749</c:v>
                </c:pt>
                <c:pt idx="9775">
                  <c:v>68.749-68.756</c:v>
                </c:pt>
                <c:pt idx="9776">
                  <c:v>68.756-68.763</c:v>
                </c:pt>
                <c:pt idx="9777">
                  <c:v>68.763-68.770</c:v>
                </c:pt>
                <c:pt idx="9778">
                  <c:v>68.770-68.777</c:v>
                </c:pt>
                <c:pt idx="9779">
                  <c:v>68.777-68.784</c:v>
                </c:pt>
                <c:pt idx="9780">
                  <c:v>68.784-68.791</c:v>
                </c:pt>
                <c:pt idx="9781">
                  <c:v>68.791-68.798</c:v>
                </c:pt>
                <c:pt idx="9782">
                  <c:v>68.798-68.805</c:v>
                </c:pt>
                <c:pt idx="9783">
                  <c:v>68.805-68.812</c:v>
                </c:pt>
                <c:pt idx="9784">
                  <c:v>68.812-68.819</c:v>
                </c:pt>
                <c:pt idx="9785">
                  <c:v>68.819-68.826</c:v>
                </c:pt>
                <c:pt idx="9786">
                  <c:v>68.826-68.833</c:v>
                </c:pt>
                <c:pt idx="9787">
                  <c:v>68.833-68.840</c:v>
                </c:pt>
                <c:pt idx="9788">
                  <c:v>68.840-68.847</c:v>
                </c:pt>
                <c:pt idx="9789">
                  <c:v>68.847-68.854</c:v>
                </c:pt>
                <c:pt idx="9790">
                  <c:v>68.854-68.861</c:v>
                </c:pt>
                <c:pt idx="9791">
                  <c:v>68.861-68.868</c:v>
                </c:pt>
                <c:pt idx="9792">
                  <c:v>68.868-68.875</c:v>
                </c:pt>
                <c:pt idx="9793">
                  <c:v>68.875-68.882</c:v>
                </c:pt>
                <c:pt idx="9794">
                  <c:v>68.882-68.889</c:v>
                </c:pt>
                <c:pt idx="9795">
                  <c:v>68.889-68.896</c:v>
                </c:pt>
                <c:pt idx="9796">
                  <c:v>68.896-68.903</c:v>
                </c:pt>
                <c:pt idx="9797">
                  <c:v>68.903-68.910</c:v>
                </c:pt>
                <c:pt idx="9798">
                  <c:v>68.910-68.918</c:v>
                </c:pt>
                <c:pt idx="9799">
                  <c:v>68.918-68.925</c:v>
                </c:pt>
                <c:pt idx="9800">
                  <c:v>68.925-68.932</c:v>
                </c:pt>
                <c:pt idx="9801">
                  <c:v>68.932-68.939</c:v>
                </c:pt>
                <c:pt idx="9802">
                  <c:v>68.939-68.946</c:v>
                </c:pt>
                <c:pt idx="9803">
                  <c:v>68.946-68.953</c:v>
                </c:pt>
                <c:pt idx="9804">
                  <c:v>68.953-68.960</c:v>
                </c:pt>
                <c:pt idx="9805">
                  <c:v>68.960-68.967</c:v>
                </c:pt>
                <c:pt idx="9806">
                  <c:v>68.967-68.974</c:v>
                </c:pt>
                <c:pt idx="9807">
                  <c:v>68.974-68.981</c:v>
                </c:pt>
                <c:pt idx="9808">
                  <c:v>68.981-68.988</c:v>
                </c:pt>
                <c:pt idx="9809">
                  <c:v>68.988-68.995</c:v>
                </c:pt>
                <c:pt idx="9810">
                  <c:v>68.995-69.002</c:v>
                </c:pt>
                <c:pt idx="9811">
                  <c:v>69.002-69.009</c:v>
                </c:pt>
                <c:pt idx="9812">
                  <c:v>69.009-69.016</c:v>
                </c:pt>
                <c:pt idx="9813">
                  <c:v>69.016-69.023</c:v>
                </c:pt>
                <c:pt idx="9814">
                  <c:v>69.023-69.030</c:v>
                </c:pt>
                <c:pt idx="9815">
                  <c:v>69.030-69.037</c:v>
                </c:pt>
                <c:pt idx="9816">
                  <c:v>69.037-69.044</c:v>
                </c:pt>
                <c:pt idx="9817">
                  <c:v>69.044-69.051</c:v>
                </c:pt>
                <c:pt idx="9818">
                  <c:v>69.051-69.058</c:v>
                </c:pt>
                <c:pt idx="9819">
                  <c:v>69.058-69.065</c:v>
                </c:pt>
                <c:pt idx="9820">
                  <c:v>69.065-69.072</c:v>
                </c:pt>
                <c:pt idx="9821">
                  <c:v>69.072-69.079</c:v>
                </c:pt>
                <c:pt idx="9822">
                  <c:v>69.079-69.086</c:v>
                </c:pt>
                <c:pt idx="9823">
                  <c:v>69.086-69.093</c:v>
                </c:pt>
                <c:pt idx="9824">
                  <c:v>69.093-69.100</c:v>
                </c:pt>
                <c:pt idx="9825">
                  <c:v>69.100-69.107</c:v>
                </c:pt>
                <c:pt idx="9826">
                  <c:v>69.107-69.114</c:v>
                </c:pt>
                <c:pt idx="9827">
                  <c:v>69.114-69.121</c:v>
                </c:pt>
                <c:pt idx="9828">
                  <c:v>69.121-69.128</c:v>
                </c:pt>
                <c:pt idx="9829">
                  <c:v>69.128-69.136</c:v>
                </c:pt>
                <c:pt idx="9830">
                  <c:v>69.136-69.143</c:v>
                </c:pt>
                <c:pt idx="9831">
                  <c:v>69.143-69.150</c:v>
                </c:pt>
                <c:pt idx="9832">
                  <c:v>69.150-69.157</c:v>
                </c:pt>
                <c:pt idx="9833">
                  <c:v>69.157-69.164</c:v>
                </c:pt>
                <c:pt idx="9834">
                  <c:v>69.164-69.171</c:v>
                </c:pt>
                <c:pt idx="9835">
                  <c:v>69.171-69.178</c:v>
                </c:pt>
                <c:pt idx="9836">
                  <c:v>69.178-69.185</c:v>
                </c:pt>
                <c:pt idx="9837">
                  <c:v>69.185-69.192</c:v>
                </c:pt>
                <c:pt idx="9838">
                  <c:v>69.192-69.199</c:v>
                </c:pt>
                <c:pt idx="9839">
                  <c:v>69.199-69.206</c:v>
                </c:pt>
                <c:pt idx="9840">
                  <c:v>69.206-69.213</c:v>
                </c:pt>
                <c:pt idx="9841">
                  <c:v>69.213-69.220</c:v>
                </c:pt>
                <c:pt idx="9842">
                  <c:v>69.220-69.227</c:v>
                </c:pt>
                <c:pt idx="9843">
                  <c:v>69.227-69.234</c:v>
                </c:pt>
                <c:pt idx="9844">
                  <c:v>69.234-69.241</c:v>
                </c:pt>
                <c:pt idx="9845">
                  <c:v>69.241-69.248</c:v>
                </c:pt>
                <c:pt idx="9846">
                  <c:v>69.248-69.255</c:v>
                </c:pt>
                <c:pt idx="9847">
                  <c:v>69.255-69.262</c:v>
                </c:pt>
                <c:pt idx="9848">
                  <c:v>69.262-69.269</c:v>
                </c:pt>
                <c:pt idx="9849">
                  <c:v>69.269-69.276</c:v>
                </c:pt>
                <c:pt idx="9850">
                  <c:v>69.276-69.283</c:v>
                </c:pt>
                <c:pt idx="9851">
                  <c:v>69.283-69.290</c:v>
                </c:pt>
                <c:pt idx="9852">
                  <c:v>69.290-69.297</c:v>
                </c:pt>
                <c:pt idx="9853">
                  <c:v>69.297-69.304</c:v>
                </c:pt>
                <c:pt idx="9854">
                  <c:v>69.304-69.311</c:v>
                </c:pt>
                <c:pt idx="9855">
                  <c:v>69.311-69.318</c:v>
                </c:pt>
                <c:pt idx="9856">
                  <c:v>69.318-69.325</c:v>
                </c:pt>
                <c:pt idx="9857">
                  <c:v>69.325-69.332</c:v>
                </c:pt>
                <c:pt idx="9858">
                  <c:v>69.332-69.339</c:v>
                </c:pt>
                <c:pt idx="9859">
                  <c:v>69.339-69.346</c:v>
                </c:pt>
                <c:pt idx="9860">
                  <c:v>69.346-69.354</c:v>
                </c:pt>
                <c:pt idx="9861">
                  <c:v>69.354-69.361</c:v>
                </c:pt>
                <c:pt idx="9862">
                  <c:v>69.361-69.368</c:v>
                </c:pt>
                <c:pt idx="9863">
                  <c:v>69.368-69.375</c:v>
                </c:pt>
                <c:pt idx="9864">
                  <c:v>69.375-69.382</c:v>
                </c:pt>
                <c:pt idx="9865">
                  <c:v>69.382-69.389</c:v>
                </c:pt>
                <c:pt idx="9866">
                  <c:v>69.389-69.396</c:v>
                </c:pt>
                <c:pt idx="9867">
                  <c:v>69.396-69.403</c:v>
                </c:pt>
                <c:pt idx="9868">
                  <c:v>69.403-69.410</c:v>
                </c:pt>
                <c:pt idx="9869">
                  <c:v>69.410-69.417</c:v>
                </c:pt>
                <c:pt idx="9870">
                  <c:v>69.417-69.424</c:v>
                </c:pt>
                <c:pt idx="9871">
                  <c:v>69.424-69.431</c:v>
                </c:pt>
                <c:pt idx="9872">
                  <c:v>69.431-69.438</c:v>
                </c:pt>
                <c:pt idx="9873">
                  <c:v>69.438-69.445</c:v>
                </c:pt>
                <c:pt idx="9874">
                  <c:v>69.445-69.452</c:v>
                </c:pt>
                <c:pt idx="9875">
                  <c:v>69.452-69.459</c:v>
                </c:pt>
                <c:pt idx="9876">
                  <c:v>69.459-69.466</c:v>
                </c:pt>
                <c:pt idx="9877">
                  <c:v>69.466-69.473</c:v>
                </c:pt>
                <c:pt idx="9878">
                  <c:v>69.473-69.480</c:v>
                </c:pt>
                <c:pt idx="9879">
                  <c:v>69.480-69.487</c:v>
                </c:pt>
                <c:pt idx="9880">
                  <c:v>69.487-69.494</c:v>
                </c:pt>
                <c:pt idx="9881">
                  <c:v>69.494-69.501</c:v>
                </c:pt>
                <c:pt idx="9882">
                  <c:v>69.501-69.508</c:v>
                </c:pt>
                <c:pt idx="9883">
                  <c:v>69.508-69.515</c:v>
                </c:pt>
                <c:pt idx="9884">
                  <c:v>69.515-69.522</c:v>
                </c:pt>
                <c:pt idx="9885">
                  <c:v>69.522-69.529</c:v>
                </c:pt>
                <c:pt idx="9886">
                  <c:v>69.529-69.536</c:v>
                </c:pt>
                <c:pt idx="9887">
                  <c:v>69.536-69.543</c:v>
                </c:pt>
                <c:pt idx="9888">
                  <c:v>69.543-69.550</c:v>
                </c:pt>
                <c:pt idx="9889">
                  <c:v>69.550-69.557</c:v>
                </c:pt>
                <c:pt idx="9890">
                  <c:v>69.557-69.564</c:v>
                </c:pt>
                <c:pt idx="9891">
                  <c:v>69.564-69.572</c:v>
                </c:pt>
                <c:pt idx="9892">
                  <c:v>69.572-69.579</c:v>
                </c:pt>
                <c:pt idx="9893">
                  <c:v>69.579-69.586</c:v>
                </c:pt>
                <c:pt idx="9894">
                  <c:v>69.586-69.593</c:v>
                </c:pt>
                <c:pt idx="9895">
                  <c:v>69.593-69.600</c:v>
                </c:pt>
                <c:pt idx="9896">
                  <c:v>69.600-69.607</c:v>
                </c:pt>
                <c:pt idx="9897">
                  <c:v>69.607-69.614</c:v>
                </c:pt>
                <c:pt idx="9898">
                  <c:v>69.614-69.621</c:v>
                </c:pt>
                <c:pt idx="9899">
                  <c:v>69.621-69.628</c:v>
                </c:pt>
                <c:pt idx="9900">
                  <c:v>69.628-69.635</c:v>
                </c:pt>
                <c:pt idx="9901">
                  <c:v>69.635-69.642</c:v>
                </c:pt>
                <c:pt idx="9902">
                  <c:v>69.642-69.649</c:v>
                </c:pt>
                <c:pt idx="9903">
                  <c:v>69.649-69.656</c:v>
                </c:pt>
                <c:pt idx="9904">
                  <c:v>69.656-69.663</c:v>
                </c:pt>
                <c:pt idx="9905">
                  <c:v>69.663-69.670</c:v>
                </c:pt>
                <c:pt idx="9906">
                  <c:v>69.670-69.677</c:v>
                </c:pt>
                <c:pt idx="9907">
                  <c:v>69.677-69.684</c:v>
                </c:pt>
                <c:pt idx="9908">
                  <c:v>69.684-69.691</c:v>
                </c:pt>
                <c:pt idx="9909">
                  <c:v>69.691-69.698</c:v>
                </c:pt>
                <c:pt idx="9910">
                  <c:v>69.698-69.705</c:v>
                </c:pt>
                <c:pt idx="9911">
                  <c:v>69.705-69.712</c:v>
                </c:pt>
                <c:pt idx="9912">
                  <c:v>69.712-69.719</c:v>
                </c:pt>
                <c:pt idx="9913">
                  <c:v>69.719-69.726</c:v>
                </c:pt>
                <c:pt idx="9914">
                  <c:v>69.726-69.733</c:v>
                </c:pt>
                <c:pt idx="9915">
                  <c:v>69.733-69.740</c:v>
                </c:pt>
                <c:pt idx="9916">
                  <c:v>69.740-69.747</c:v>
                </c:pt>
                <c:pt idx="9917">
                  <c:v>69.747-69.754</c:v>
                </c:pt>
                <c:pt idx="9918">
                  <c:v>69.754-69.761</c:v>
                </c:pt>
                <c:pt idx="9919">
                  <c:v>69.761-69.768</c:v>
                </c:pt>
                <c:pt idx="9920">
                  <c:v>69.768-69.775</c:v>
                </c:pt>
                <c:pt idx="9921">
                  <c:v>69.775-69.782</c:v>
                </c:pt>
                <c:pt idx="9922">
                  <c:v>69.782-69.790</c:v>
                </c:pt>
                <c:pt idx="9923">
                  <c:v>69.790-69.797</c:v>
                </c:pt>
                <c:pt idx="9924">
                  <c:v>69.797-69.804</c:v>
                </c:pt>
                <c:pt idx="9925">
                  <c:v>69.804-69.811</c:v>
                </c:pt>
                <c:pt idx="9926">
                  <c:v>69.811-69.818</c:v>
                </c:pt>
                <c:pt idx="9927">
                  <c:v>69.818-69.825</c:v>
                </c:pt>
                <c:pt idx="9928">
                  <c:v>69.825-69.832</c:v>
                </c:pt>
                <c:pt idx="9929">
                  <c:v>69.832-69.839</c:v>
                </c:pt>
                <c:pt idx="9930">
                  <c:v>69.839-69.846</c:v>
                </c:pt>
                <c:pt idx="9931">
                  <c:v>69.846-69.853</c:v>
                </c:pt>
                <c:pt idx="9932">
                  <c:v>69.853-69.860</c:v>
                </c:pt>
                <c:pt idx="9933">
                  <c:v>69.860-69.867</c:v>
                </c:pt>
                <c:pt idx="9934">
                  <c:v>69.867-69.874</c:v>
                </c:pt>
                <c:pt idx="9935">
                  <c:v>69.874-69.881</c:v>
                </c:pt>
                <c:pt idx="9936">
                  <c:v>69.881-69.888</c:v>
                </c:pt>
                <c:pt idx="9937">
                  <c:v>69.888-69.895</c:v>
                </c:pt>
                <c:pt idx="9938">
                  <c:v>69.895-69.902</c:v>
                </c:pt>
                <c:pt idx="9939">
                  <c:v>69.902-69.909</c:v>
                </c:pt>
                <c:pt idx="9940">
                  <c:v>69.909-69.916</c:v>
                </c:pt>
                <c:pt idx="9941">
                  <c:v>69.916-69.923</c:v>
                </c:pt>
                <c:pt idx="9942">
                  <c:v>69.923-69.930</c:v>
                </c:pt>
                <c:pt idx="9943">
                  <c:v>69.930-69.937</c:v>
                </c:pt>
                <c:pt idx="9944">
                  <c:v>69.937-69.944</c:v>
                </c:pt>
                <c:pt idx="9945">
                  <c:v>69.944-69.951</c:v>
                </c:pt>
                <c:pt idx="9946">
                  <c:v>69.951-69.958</c:v>
                </c:pt>
                <c:pt idx="9947">
                  <c:v>69.958-69.965</c:v>
                </c:pt>
                <c:pt idx="9948">
                  <c:v>69.965-69.972</c:v>
                </c:pt>
                <c:pt idx="9949">
                  <c:v>69.972-69.979</c:v>
                </c:pt>
                <c:pt idx="9950">
                  <c:v>69.979-69.986</c:v>
                </c:pt>
                <c:pt idx="9951">
                  <c:v>69.986-69.993</c:v>
                </c:pt>
                <c:pt idx="9952">
                  <c:v>69.993-70.000</c:v>
                </c:pt>
                <c:pt idx="9953">
                  <c:v>70.000-70.008</c:v>
                </c:pt>
                <c:pt idx="9954">
                  <c:v>70.008-70.015</c:v>
                </c:pt>
                <c:pt idx="9955">
                  <c:v>70.015-70.022</c:v>
                </c:pt>
                <c:pt idx="9956">
                  <c:v>70.022-70.029</c:v>
                </c:pt>
                <c:pt idx="9957">
                  <c:v>70.029-70.036</c:v>
                </c:pt>
                <c:pt idx="9958">
                  <c:v>70.036-70.043</c:v>
                </c:pt>
                <c:pt idx="9959">
                  <c:v>70.043-70.050</c:v>
                </c:pt>
                <c:pt idx="9960">
                  <c:v>70.050-70.057</c:v>
                </c:pt>
                <c:pt idx="9961">
                  <c:v>70.057-70.064</c:v>
                </c:pt>
                <c:pt idx="9962">
                  <c:v>70.064-70.071</c:v>
                </c:pt>
                <c:pt idx="9963">
                  <c:v>70.071-70.078</c:v>
                </c:pt>
                <c:pt idx="9964">
                  <c:v>70.078-70.085</c:v>
                </c:pt>
                <c:pt idx="9965">
                  <c:v>70.085-70.092</c:v>
                </c:pt>
                <c:pt idx="9966">
                  <c:v>70.092-70.099</c:v>
                </c:pt>
                <c:pt idx="9967">
                  <c:v>70.099-70.106</c:v>
                </c:pt>
                <c:pt idx="9968">
                  <c:v>70.106-70.113</c:v>
                </c:pt>
                <c:pt idx="9969">
                  <c:v>70.113-70.120</c:v>
                </c:pt>
                <c:pt idx="9970">
                  <c:v>70.120-70.127</c:v>
                </c:pt>
                <c:pt idx="9971">
                  <c:v>70.127-70.134</c:v>
                </c:pt>
                <c:pt idx="9972">
                  <c:v>70.134-70.141</c:v>
                </c:pt>
                <c:pt idx="9973">
                  <c:v>70.141-70.148</c:v>
                </c:pt>
                <c:pt idx="9974">
                  <c:v>70.148-70.155</c:v>
                </c:pt>
                <c:pt idx="9975">
                  <c:v>70.155-70.162</c:v>
                </c:pt>
                <c:pt idx="9976">
                  <c:v>70.162-70.169</c:v>
                </c:pt>
                <c:pt idx="9977">
                  <c:v>70.169-70.176</c:v>
                </c:pt>
                <c:pt idx="9978">
                  <c:v>70.176-70.183</c:v>
                </c:pt>
                <c:pt idx="9979">
                  <c:v>70.183-70.190</c:v>
                </c:pt>
                <c:pt idx="9980">
                  <c:v>70.190-70.197</c:v>
                </c:pt>
                <c:pt idx="9981">
                  <c:v>70.197-70.204</c:v>
                </c:pt>
                <c:pt idx="9982">
                  <c:v>70.204-70.211</c:v>
                </c:pt>
                <c:pt idx="9983">
                  <c:v>70.211-70.218</c:v>
                </c:pt>
                <c:pt idx="9984">
                  <c:v>70.218-70.226</c:v>
                </c:pt>
                <c:pt idx="9985">
                  <c:v>70.226-70.233</c:v>
                </c:pt>
                <c:pt idx="9986">
                  <c:v>70.233-70.240</c:v>
                </c:pt>
                <c:pt idx="9987">
                  <c:v>70.240-70.247</c:v>
                </c:pt>
                <c:pt idx="9988">
                  <c:v>70.247-70.254</c:v>
                </c:pt>
                <c:pt idx="9989">
                  <c:v>70.254-70.261</c:v>
                </c:pt>
                <c:pt idx="9990">
                  <c:v>70.261-70.268</c:v>
                </c:pt>
                <c:pt idx="9991">
                  <c:v>70.268-70.275</c:v>
                </c:pt>
                <c:pt idx="9992">
                  <c:v>70.275-70.282</c:v>
                </c:pt>
                <c:pt idx="9993">
                  <c:v>70.282-70.289</c:v>
                </c:pt>
                <c:pt idx="9994">
                  <c:v>70.289-70.296</c:v>
                </c:pt>
                <c:pt idx="9995">
                  <c:v>70.296-70.303</c:v>
                </c:pt>
                <c:pt idx="9996">
                  <c:v>70.303-70.310</c:v>
                </c:pt>
                <c:pt idx="9997">
                  <c:v>70.310-70.317</c:v>
                </c:pt>
                <c:pt idx="9998">
                  <c:v>70.317-70.324</c:v>
                </c:pt>
                <c:pt idx="9999">
                  <c:v>70.324-70.331</c:v>
                </c:pt>
              </c:strCache>
            </c:strRef>
          </c:cat>
          <c:val>
            <c:numRef>
              <c:f>Data!$B$3:$B$10002</c:f>
              <c:numCache>
                <c:formatCode>General</c:formatCode>
                <c:ptCount val="10000"/>
                <c:pt idx="0">
                  <c:v>0.18371699999999999</c:v>
                </c:pt>
                <c:pt idx="1">
                  <c:v>-9.3682599999999998E-3</c:v>
                </c:pt>
                <c:pt idx="2">
                  <c:v>-0.194608</c:v>
                </c:pt>
                <c:pt idx="3">
                  <c:v>-2.5986200000000001E-2</c:v>
                </c:pt>
                <c:pt idx="4">
                  <c:v>#N/A</c:v>
                </c:pt>
                <c:pt idx="5">
                  <c:v>0.30124499999999999</c:v>
                </c:pt>
                <c:pt idx="6">
                  <c:v>0.18396799999999999</c:v>
                </c:pt>
                <c:pt idx="7">
                  <c:v>-2.1918199999999999E-2</c:v>
                </c:pt>
                <c:pt idx="8">
                  <c:v>#N/A</c:v>
                </c:pt>
                <c:pt idx="9">
                  <c:v>-0.208846</c:v>
                </c:pt>
                <c:pt idx="10">
                  <c:v>-0.91425800000000002</c:v>
                </c:pt>
                <c:pt idx="11">
                  <c:v>-0.62682000000000004</c:v>
                </c:pt>
                <c:pt idx="12">
                  <c:v>-0.826627</c:v>
                </c:pt>
                <c:pt idx="13">
                  <c:v>#N/A</c:v>
                </c:pt>
                <c:pt idx="14">
                  <c:v>-2.5023200000000001</c:v>
                </c:pt>
                <c:pt idx="15">
                  <c:v>-4.8432700000000004</c:v>
                </c:pt>
                <c:pt idx="16">
                  <c:v>-6.8368000000000002</c:v>
                </c:pt>
                <c:pt idx="17">
                  <c:v>#N/A</c:v>
                </c:pt>
                <c:pt idx="18">
                  <c:v>-8.9267000000000003</c:v>
                </c:pt>
                <c:pt idx="19">
                  <c:v>-11.6477</c:v>
                </c:pt>
                <c:pt idx="20">
                  <c:v>-13.3659</c:v>
                </c:pt>
                <c:pt idx="21">
                  <c:v>#N/A</c:v>
                </c:pt>
                <c:pt idx="22">
                  <c:v>-15.7311</c:v>
                </c:pt>
                <c:pt idx="23">
                  <c:v>-18.1313</c:v>
                </c:pt>
                <c:pt idx="24">
                  <c:v>-19.347999999999999</c:v>
                </c:pt>
                <c:pt idx="25">
                  <c:v>#N/A</c:v>
                </c:pt>
                <c:pt idx="26">
                  <c:v>-21.979700000000001</c:v>
                </c:pt>
                <c:pt idx="27">
                  <c:v>-21.866700000000002</c:v>
                </c:pt>
                <c:pt idx="28">
                  <c:v>#N/A</c:v>
                </c:pt>
                <c:pt idx="29">
                  <c:v>-23.3657</c:v>
                </c:pt>
                <c:pt idx="30">
                  <c:v>-22.0746</c:v>
                </c:pt>
                <c:pt idx="31">
                  <c:v>-23.339400000000001</c:v>
                </c:pt>
                <c:pt idx="32">
                  <c:v>#N/A</c:v>
                </c:pt>
                <c:pt idx="33">
                  <c:v>-22.242799999999999</c:v>
                </c:pt>
                <c:pt idx="34">
                  <c:v>-21.577000000000002</c:v>
                </c:pt>
                <c:pt idx="35">
                  <c:v>-21.419499999999999</c:v>
                </c:pt>
                <c:pt idx="36">
                  <c:v>-20.7653</c:v>
                </c:pt>
                <c:pt idx="37">
                  <c:v>#N/A</c:v>
                </c:pt>
                <c:pt idx="38">
                  <c:v>-19.766300000000001</c:v>
                </c:pt>
                <c:pt idx="39">
                  <c:v>-19.5185</c:v>
                </c:pt>
                <c:pt idx="40">
                  <c:v>-18.360700000000001</c:v>
                </c:pt>
                <c:pt idx="41">
                  <c:v>#N/A</c:v>
                </c:pt>
                <c:pt idx="42">
                  <c:v>-17.1236</c:v>
                </c:pt>
                <c:pt idx="43">
                  <c:v>-14.665800000000001</c:v>
                </c:pt>
                <c:pt idx="44">
                  <c:v>-11.1096</c:v>
                </c:pt>
                <c:pt idx="45">
                  <c:v>#N/A</c:v>
                </c:pt>
                <c:pt idx="46">
                  <c:v>-9.9107900000000004</c:v>
                </c:pt>
                <c:pt idx="47">
                  <c:v>-7.6780200000000001</c:v>
                </c:pt>
                <c:pt idx="48">
                  <c:v>-6.1657299999999999</c:v>
                </c:pt>
                <c:pt idx="49">
                  <c:v>-4.6415899999999999</c:v>
                </c:pt>
                <c:pt idx="50">
                  <c:v>#N/A</c:v>
                </c:pt>
                <c:pt idx="51">
                  <c:v>-3.5757599999999998</c:v>
                </c:pt>
                <c:pt idx="52">
                  <c:v>-2.38341</c:v>
                </c:pt>
                <c:pt idx="53">
                  <c:v>-1.36033</c:v>
                </c:pt>
                <c:pt idx="54">
                  <c:v>#N/A</c:v>
                </c:pt>
                <c:pt idx="55">
                  <c:v>-1.1517500000000001</c:v>
                </c:pt>
                <c:pt idx="56">
                  <c:v>-0.56781300000000001</c:v>
                </c:pt>
                <c:pt idx="57">
                  <c:v>-1.28684</c:v>
                </c:pt>
                <c:pt idx="58">
                  <c:v>#N/A</c:v>
                </c:pt>
                <c:pt idx="59">
                  <c:v>-1.24871</c:v>
                </c:pt>
                <c:pt idx="60">
                  <c:v>-1.19496</c:v>
                </c:pt>
                <c:pt idx="61">
                  <c:v>-1.75362</c:v>
                </c:pt>
                <c:pt idx="62">
                  <c:v>-1.99007</c:v>
                </c:pt>
                <c:pt idx="63">
                  <c:v>#N/A</c:v>
                </c:pt>
                <c:pt idx="64">
                  <c:v>-2.1709700000000001</c:v>
                </c:pt>
                <c:pt idx="65">
                  <c:v>-1.9059299999999999</c:v>
                </c:pt>
                <c:pt idx="66">
                  <c:v>-2.38367</c:v>
                </c:pt>
                <c:pt idx="67">
                  <c:v>#N/A</c:v>
                </c:pt>
                <c:pt idx="68">
                  <c:v>-3.1558000000000002</c:v>
                </c:pt>
                <c:pt idx="69">
                  <c:v>-2.8099599999999998</c:v>
                </c:pt>
                <c:pt idx="70">
                  <c:v>-3.54549</c:v>
                </c:pt>
                <c:pt idx="71">
                  <c:v>-3.6334300000000002</c:v>
                </c:pt>
                <c:pt idx="72">
                  <c:v>#N/A</c:v>
                </c:pt>
                <c:pt idx="73">
                  <c:v>-3.2316600000000002</c:v>
                </c:pt>
                <c:pt idx="74">
                  <c:v>-3.3774099999999998</c:v>
                </c:pt>
                <c:pt idx="75">
                  <c:v>-3.1239499999999998</c:v>
                </c:pt>
                <c:pt idx="76">
                  <c:v>#N/A</c:v>
                </c:pt>
                <c:pt idx="77">
                  <c:v>-2.8182200000000002</c:v>
                </c:pt>
                <c:pt idx="78">
                  <c:v>-2.67841</c:v>
                </c:pt>
                <c:pt idx="79">
                  <c:v>-2.0364</c:v>
                </c:pt>
                <c:pt idx="80">
                  <c:v>#N/A</c:v>
                </c:pt>
                <c:pt idx="81">
                  <c:v>-2.2124600000000001</c:v>
                </c:pt>
                <c:pt idx="82">
                  <c:v>-2.3682500000000002</c:v>
                </c:pt>
                <c:pt idx="83">
                  <c:v>-1.8830899999999999</c:v>
                </c:pt>
                <c:pt idx="84">
                  <c:v>#N/A</c:v>
                </c:pt>
                <c:pt idx="85">
                  <c:v>-2.3298899999999998</c:v>
                </c:pt>
                <c:pt idx="86">
                  <c:v>-2.2215699999999998</c:v>
                </c:pt>
                <c:pt idx="87">
                  <c:v>-1.83839</c:v>
                </c:pt>
                <c:pt idx="88">
                  <c:v>#N/A</c:v>
                </c:pt>
                <c:pt idx="89">
                  <c:v>-1.7908999999999999</c:v>
                </c:pt>
                <c:pt idx="90">
                  <c:v>-2.21597</c:v>
                </c:pt>
                <c:pt idx="91">
                  <c:v>-2.6846199999999998</c:v>
                </c:pt>
                <c:pt idx="92">
                  <c:v>-2.7277800000000001</c:v>
                </c:pt>
                <c:pt idx="93">
                  <c:v>#N/A</c:v>
                </c:pt>
                <c:pt idx="94">
                  <c:v>-2.4864600000000001</c:v>
                </c:pt>
                <c:pt idx="95">
                  <c:v>-2.8507099999999999</c:v>
                </c:pt>
                <c:pt idx="96">
                  <c:v>#N/A</c:v>
                </c:pt>
                <c:pt idx="97">
                  <c:v>-2.6602100000000002</c:v>
                </c:pt>
                <c:pt idx="98">
                  <c:v>-3.0885699999999998</c:v>
                </c:pt>
                <c:pt idx="99">
                  <c:v>#N/A</c:v>
                </c:pt>
                <c:pt idx="100">
                  <c:v>-3.0177200000000002</c:v>
                </c:pt>
                <c:pt idx="101">
                  <c:v>-1.80457</c:v>
                </c:pt>
                <c:pt idx="102">
                  <c:v>#N/A</c:v>
                </c:pt>
                <c:pt idx="103">
                  <c:v>-2.3974600000000001</c:v>
                </c:pt>
                <c:pt idx="104">
                  <c:v>-2.0232899999999998</c:v>
                </c:pt>
                <c:pt idx="105">
                  <c:v>-2.3589099999999998</c:v>
                </c:pt>
                <c:pt idx="106">
                  <c:v>-2.3201100000000001</c:v>
                </c:pt>
                <c:pt idx="107">
                  <c:v>#N/A</c:v>
                </c:pt>
                <c:pt idx="108">
                  <c:v>-2.6393</c:v>
                </c:pt>
                <c:pt idx="109">
                  <c:v>-3.2088100000000002</c:v>
                </c:pt>
                <c:pt idx="110">
                  <c:v>-3.0791400000000002</c:v>
                </c:pt>
                <c:pt idx="111">
                  <c:v>#N/A</c:v>
                </c:pt>
                <c:pt idx="112">
                  <c:v>-2.9380199999999999</c:v>
                </c:pt>
                <c:pt idx="113">
                  <c:v>-2.5284399999999998</c:v>
                </c:pt>
                <c:pt idx="114">
                  <c:v>-2.5264099999999998</c:v>
                </c:pt>
                <c:pt idx="115">
                  <c:v>-3.0432399999999999</c:v>
                </c:pt>
                <c:pt idx="116">
                  <c:v>#N/A</c:v>
                </c:pt>
                <c:pt idx="117">
                  <c:v>-3.1932499999999999</c:v>
                </c:pt>
                <c:pt idx="118">
                  <c:v>-3.30484</c:v>
                </c:pt>
                <c:pt idx="119">
                  <c:v>-3.4372400000000001</c:v>
                </c:pt>
                <c:pt idx="120">
                  <c:v>#N/A</c:v>
                </c:pt>
                <c:pt idx="121">
                  <c:v>-2.7912499999999998</c:v>
                </c:pt>
                <c:pt idx="122">
                  <c:v>-2.9475199999999999</c:v>
                </c:pt>
                <c:pt idx="123">
                  <c:v>-2.0070299999999999</c:v>
                </c:pt>
                <c:pt idx="124">
                  <c:v>-2.1956099999999998</c:v>
                </c:pt>
                <c:pt idx="125">
                  <c:v>#N/A</c:v>
                </c:pt>
                <c:pt idx="126">
                  <c:v>-2.3136700000000001</c:v>
                </c:pt>
                <c:pt idx="127">
                  <c:v>-2.6214900000000001</c:v>
                </c:pt>
                <c:pt idx="128">
                  <c:v>-2.7241399999999998</c:v>
                </c:pt>
                <c:pt idx="129">
                  <c:v>-2.9976500000000001</c:v>
                </c:pt>
                <c:pt idx="130">
                  <c:v>#N/A</c:v>
                </c:pt>
                <c:pt idx="131">
                  <c:v>-3.1407600000000002</c:v>
                </c:pt>
                <c:pt idx="132">
                  <c:v>-2.6044499999999999</c:v>
                </c:pt>
                <c:pt idx="133">
                  <c:v>-2.5642900000000002</c:v>
                </c:pt>
                <c:pt idx="134">
                  <c:v>#N/A</c:v>
                </c:pt>
                <c:pt idx="135">
                  <c:v>-2.6963699999999999</c:v>
                </c:pt>
                <c:pt idx="136">
                  <c:v>-2.9410799999999999</c:v>
                </c:pt>
                <c:pt idx="137">
                  <c:v>-3.1156600000000001</c:v>
                </c:pt>
                <c:pt idx="138">
                  <c:v>#N/A</c:v>
                </c:pt>
                <c:pt idx="139">
                  <c:v>-2.9628999999999999</c:v>
                </c:pt>
                <c:pt idx="140">
                  <c:v>-2.6333299999999999</c:v>
                </c:pt>
                <c:pt idx="141">
                  <c:v>-1.84135</c:v>
                </c:pt>
                <c:pt idx="142">
                  <c:v>-2.4055900000000001</c:v>
                </c:pt>
                <c:pt idx="143">
                  <c:v>#N/A</c:v>
                </c:pt>
                <c:pt idx="144">
                  <c:v>-2.4770400000000001</c:v>
                </c:pt>
                <c:pt idx="145">
                  <c:v>-2.4129900000000002</c:v>
                </c:pt>
                <c:pt idx="146">
                  <c:v>-2.4997400000000001</c:v>
                </c:pt>
                <c:pt idx="147">
                  <c:v>#N/A</c:v>
                </c:pt>
                <c:pt idx="148">
                  <c:v>-2.3750599999999999</c:v>
                </c:pt>
                <c:pt idx="149">
                  <c:v>-2.5498500000000002</c:v>
                </c:pt>
                <c:pt idx="150">
                  <c:v>-2.6785899999999998</c:v>
                </c:pt>
                <c:pt idx="151">
                  <c:v>-2.7325900000000001</c:v>
                </c:pt>
                <c:pt idx="152">
                  <c:v>#N/A</c:v>
                </c:pt>
                <c:pt idx="153">
                  <c:v>-2.6444700000000001</c:v>
                </c:pt>
                <c:pt idx="154">
                  <c:v>-2.6987800000000002</c:v>
                </c:pt>
                <c:pt idx="155">
                  <c:v>-3.2789100000000002</c:v>
                </c:pt>
                <c:pt idx="156">
                  <c:v>-3.1101000000000001</c:v>
                </c:pt>
                <c:pt idx="157">
                  <c:v>#N/A</c:v>
                </c:pt>
                <c:pt idx="158">
                  <c:v>-3.35005</c:v>
                </c:pt>
                <c:pt idx="159">
                  <c:v>-2.9828100000000002</c:v>
                </c:pt>
                <c:pt idx="160">
                  <c:v>-2.4724400000000002</c:v>
                </c:pt>
                <c:pt idx="161">
                  <c:v>#N/A</c:v>
                </c:pt>
                <c:pt idx="162">
                  <c:v>-2.70452</c:v>
                </c:pt>
                <c:pt idx="163">
                  <c:v>-2.5235400000000001</c:v>
                </c:pt>
                <c:pt idx="164">
                  <c:v>-2.33189</c:v>
                </c:pt>
                <c:pt idx="165">
                  <c:v>-2.4966200000000001</c:v>
                </c:pt>
                <c:pt idx="166">
                  <c:v>#N/A</c:v>
                </c:pt>
                <c:pt idx="167">
                  <c:v>-3.7161300000000002</c:v>
                </c:pt>
                <c:pt idx="168">
                  <c:v>#N/A</c:v>
                </c:pt>
                <c:pt idx="169">
                  <c:v>-2.7546400000000002</c:v>
                </c:pt>
                <c:pt idx="170">
                  <c:v>-3.06081</c:v>
                </c:pt>
                <c:pt idx="171">
                  <c:v>#N/A</c:v>
                </c:pt>
                <c:pt idx="172">
                  <c:v>-2.7568100000000002</c:v>
                </c:pt>
                <c:pt idx="173">
                  <c:v>-2.8704999999999998</c:v>
                </c:pt>
                <c:pt idx="174">
                  <c:v>-2.3934899999999999</c:v>
                </c:pt>
                <c:pt idx="175">
                  <c:v>#N/A</c:v>
                </c:pt>
                <c:pt idx="176">
                  <c:v>-2.8367399999999998</c:v>
                </c:pt>
                <c:pt idx="177">
                  <c:v>-3.0976599999999999</c:v>
                </c:pt>
                <c:pt idx="178">
                  <c:v>-3.7375699999999998</c:v>
                </c:pt>
                <c:pt idx="179">
                  <c:v>-2.8297599999999998</c:v>
                </c:pt>
                <c:pt idx="180">
                  <c:v>#N/A</c:v>
                </c:pt>
                <c:pt idx="181">
                  <c:v>-2.5622699999999998</c:v>
                </c:pt>
                <c:pt idx="182">
                  <c:v>-2.5084599999999999</c:v>
                </c:pt>
                <c:pt idx="183">
                  <c:v>-2.2355399999999999</c:v>
                </c:pt>
                <c:pt idx="184">
                  <c:v>#N/A</c:v>
                </c:pt>
                <c:pt idx="185">
                  <c:v>-2.3428800000000001</c:v>
                </c:pt>
                <c:pt idx="186">
                  <c:v>-2.75387</c:v>
                </c:pt>
                <c:pt idx="187">
                  <c:v>-3.2086100000000002</c:v>
                </c:pt>
                <c:pt idx="188">
                  <c:v>-2.7276899999999999</c:v>
                </c:pt>
                <c:pt idx="189">
                  <c:v>#N/A</c:v>
                </c:pt>
                <c:pt idx="190">
                  <c:v>-2.8218700000000001</c:v>
                </c:pt>
                <c:pt idx="191">
                  <c:v>-3.3551099999999998</c:v>
                </c:pt>
                <c:pt idx="192">
                  <c:v>-2.9276300000000002</c:v>
                </c:pt>
                <c:pt idx="193">
                  <c:v>-3.0958399999999999</c:v>
                </c:pt>
                <c:pt idx="194">
                  <c:v>#N/A</c:v>
                </c:pt>
                <c:pt idx="195">
                  <c:v>-3.1463399999999999</c:v>
                </c:pt>
                <c:pt idx="196">
                  <c:v>-2.8446099999999999</c:v>
                </c:pt>
                <c:pt idx="197">
                  <c:v>-2.7055799999999999</c:v>
                </c:pt>
                <c:pt idx="198">
                  <c:v>#N/A</c:v>
                </c:pt>
                <c:pt idx="199">
                  <c:v>-3.2251099999999999</c:v>
                </c:pt>
                <c:pt idx="200">
                  <c:v>-3.2037499999999999</c:v>
                </c:pt>
                <c:pt idx="201">
                  <c:v>-2.84816</c:v>
                </c:pt>
                <c:pt idx="202">
                  <c:v>-2.3233100000000002</c:v>
                </c:pt>
                <c:pt idx="203">
                  <c:v>#N/A</c:v>
                </c:pt>
                <c:pt idx="204">
                  <c:v>-2.5013200000000002</c:v>
                </c:pt>
                <c:pt idx="205">
                  <c:v>-3.04068</c:v>
                </c:pt>
                <c:pt idx="206">
                  <c:v>-2.7211400000000001</c:v>
                </c:pt>
                <c:pt idx="207">
                  <c:v>#N/A</c:v>
                </c:pt>
                <c:pt idx="208">
                  <c:v>-3.04047</c:v>
                </c:pt>
                <c:pt idx="209">
                  <c:v>-3.3266399999999998</c:v>
                </c:pt>
                <c:pt idx="210">
                  <c:v>-2.8355299999999999</c:v>
                </c:pt>
                <c:pt idx="211">
                  <c:v>#N/A</c:v>
                </c:pt>
                <c:pt idx="212">
                  <c:v>-2.9020000000000001</c:v>
                </c:pt>
                <c:pt idx="213">
                  <c:v>-2.9796200000000002</c:v>
                </c:pt>
                <c:pt idx="214">
                  <c:v>-3.0873499999999998</c:v>
                </c:pt>
                <c:pt idx="215">
                  <c:v>-3.4917600000000002</c:v>
                </c:pt>
                <c:pt idx="216">
                  <c:v>#N/A</c:v>
                </c:pt>
                <c:pt idx="217">
                  <c:v>-3.5925699999999998</c:v>
                </c:pt>
                <c:pt idx="218">
                  <c:v>-3.4614099999999999</c:v>
                </c:pt>
                <c:pt idx="219">
                  <c:v>-3.1079300000000001</c:v>
                </c:pt>
                <c:pt idx="220">
                  <c:v>-2.7988300000000002</c:v>
                </c:pt>
                <c:pt idx="221">
                  <c:v>#N/A</c:v>
                </c:pt>
                <c:pt idx="222">
                  <c:v>-3.3797999999999999</c:v>
                </c:pt>
                <c:pt idx="223">
                  <c:v>-2.5446800000000001</c:v>
                </c:pt>
                <c:pt idx="224">
                  <c:v>-3.3207800000000001</c:v>
                </c:pt>
                <c:pt idx="225">
                  <c:v>#N/A</c:v>
                </c:pt>
                <c:pt idx="226">
                  <c:v>-2.9969100000000002</c:v>
                </c:pt>
                <c:pt idx="227">
                  <c:v>-3.2972899999999998</c:v>
                </c:pt>
                <c:pt idx="228">
                  <c:v>-2.8830100000000001</c:v>
                </c:pt>
                <c:pt idx="229">
                  <c:v>-2.5841699999999999</c:v>
                </c:pt>
                <c:pt idx="230">
                  <c:v>#N/A</c:v>
                </c:pt>
                <c:pt idx="231">
                  <c:v>-2.68337</c:v>
                </c:pt>
                <c:pt idx="232">
                  <c:v>-2.6778599999999999</c:v>
                </c:pt>
                <c:pt idx="233">
                  <c:v>-2.7963399999999998</c:v>
                </c:pt>
                <c:pt idx="234">
                  <c:v>#N/A</c:v>
                </c:pt>
                <c:pt idx="235">
                  <c:v>-3.2783199999999999</c:v>
                </c:pt>
                <c:pt idx="236">
                  <c:v>-3.6038299999999999</c:v>
                </c:pt>
                <c:pt idx="237">
                  <c:v>-3.92638</c:v>
                </c:pt>
                <c:pt idx="238">
                  <c:v>#N/A</c:v>
                </c:pt>
                <c:pt idx="239">
                  <c:v>-3.7204199999999998</c:v>
                </c:pt>
                <c:pt idx="240">
                  <c:v>-2.5655399999999999</c:v>
                </c:pt>
                <c:pt idx="241">
                  <c:v>#N/A</c:v>
                </c:pt>
                <c:pt idx="242">
                  <c:v>-2.50197</c:v>
                </c:pt>
                <c:pt idx="243">
                  <c:v>-2.8136999999999999</c:v>
                </c:pt>
                <c:pt idx="244">
                  <c:v>#N/A</c:v>
                </c:pt>
                <c:pt idx="245">
                  <c:v>-2.8893399999999998</c:v>
                </c:pt>
                <c:pt idx="246">
                  <c:v>-2.47377</c:v>
                </c:pt>
                <c:pt idx="247">
                  <c:v>-2.2162799999999998</c:v>
                </c:pt>
                <c:pt idx="248">
                  <c:v>-2.42401</c:v>
                </c:pt>
                <c:pt idx="249">
                  <c:v>#N/A</c:v>
                </c:pt>
                <c:pt idx="250">
                  <c:v>-2.2660900000000002</c:v>
                </c:pt>
                <c:pt idx="251">
                  <c:v>-2.1664500000000002</c:v>
                </c:pt>
                <c:pt idx="252">
                  <c:v>-2.2807200000000001</c:v>
                </c:pt>
                <c:pt idx="253">
                  <c:v>#N/A</c:v>
                </c:pt>
                <c:pt idx="254">
                  <c:v>-2.4213499999999999</c:v>
                </c:pt>
                <c:pt idx="255">
                  <c:v>-2.98217</c:v>
                </c:pt>
                <c:pt idx="256">
                  <c:v>-2.96496</c:v>
                </c:pt>
                <c:pt idx="257">
                  <c:v>#N/A</c:v>
                </c:pt>
                <c:pt idx="258">
                  <c:v>-3.0430799999999998</c:v>
                </c:pt>
                <c:pt idx="259">
                  <c:v>-2.7151800000000001</c:v>
                </c:pt>
                <c:pt idx="260">
                  <c:v>-2.9373900000000002</c:v>
                </c:pt>
                <c:pt idx="261">
                  <c:v>-2.80505</c:v>
                </c:pt>
                <c:pt idx="262">
                  <c:v>#N/A</c:v>
                </c:pt>
                <c:pt idx="263">
                  <c:v>-2.4641000000000002</c:v>
                </c:pt>
                <c:pt idx="264">
                  <c:v>-2.3090099999999998</c:v>
                </c:pt>
                <c:pt idx="265">
                  <c:v>-3.0738799999999999</c:v>
                </c:pt>
                <c:pt idx="266">
                  <c:v>#N/A</c:v>
                </c:pt>
                <c:pt idx="267">
                  <c:v>-2.4341599999999999</c:v>
                </c:pt>
                <c:pt idx="268">
                  <c:v>-2.47397</c:v>
                </c:pt>
                <c:pt idx="269">
                  <c:v>-2.2112400000000001</c:v>
                </c:pt>
                <c:pt idx="270">
                  <c:v>-2.7071700000000001</c:v>
                </c:pt>
                <c:pt idx="271">
                  <c:v>#N/A</c:v>
                </c:pt>
                <c:pt idx="272">
                  <c:v>-2.6438100000000002</c:v>
                </c:pt>
                <c:pt idx="273">
                  <c:v>-2.2840699999999998</c:v>
                </c:pt>
                <c:pt idx="274">
                  <c:v>-2.4673799999999999</c:v>
                </c:pt>
                <c:pt idx="275">
                  <c:v>#N/A</c:v>
                </c:pt>
                <c:pt idx="276">
                  <c:v>-2.3077100000000002</c:v>
                </c:pt>
                <c:pt idx="277">
                  <c:v>-2.5634299999999999</c:v>
                </c:pt>
                <c:pt idx="278">
                  <c:v>-2.8353100000000002</c:v>
                </c:pt>
                <c:pt idx="279">
                  <c:v>-2.8256399999999999</c:v>
                </c:pt>
                <c:pt idx="280">
                  <c:v>#N/A</c:v>
                </c:pt>
                <c:pt idx="281">
                  <c:v>-2.23482</c:v>
                </c:pt>
                <c:pt idx="282">
                  <c:v>-2.2834400000000001</c:v>
                </c:pt>
                <c:pt idx="283">
                  <c:v>-2.23549</c:v>
                </c:pt>
                <c:pt idx="284">
                  <c:v>-2.1432199999999999</c:v>
                </c:pt>
                <c:pt idx="285">
                  <c:v>#N/A</c:v>
                </c:pt>
                <c:pt idx="286">
                  <c:v>-2.2168800000000002</c:v>
                </c:pt>
                <c:pt idx="287">
                  <c:v>-2.8150200000000001</c:v>
                </c:pt>
                <c:pt idx="288">
                  <c:v>-2.2304900000000001</c:v>
                </c:pt>
                <c:pt idx="289">
                  <c:v>#N/A</c:v>
                </c:pt>
                <c:pt idx="290">
                  <c:v>-2.9849700000000001</c:v>
                </c:pt>
                <c:pt idx="291">
                  <c:v>-2.4308700000000001</c:v>
                </c:pt>
                <c:pt idx="292">
                  <c:v>-2.68269</c:v>
                </c:pt>
                <c:pt idx="293">
                  <c:v>-2.7164199999999998</c:v>
                </c:pt>
                <c:pt idx="294">
                  <c:v>#N/A</c:v>
                </c:pt>
                <c:pt idx="295">
                  <c:v>-2.8187899999999999</c:v>
                </c:pt>
                <c:pt idx="296">
                  <c:v>-2.9056700000000002</c:v>
                </c:pt>
                <c:pt idx="297">
                  <c:v>-2.5529099999999998</c:v>
                </c:pt>
                <c:pt idx="298">
                  <c:v>#N/A</c:v>
                </c:pt>
                <c:pt idx="299">
                  <c:v>-3.1554899999999999</c:v>
                </c:pt>
                <c:pt idx="300">
                  <c:v>-2.8776000000000002</c:v>
                </c:pt>
                <c:pt idx="301">
                  <c:v>-3.3545699999999998</c:v>
                </c:pt>
                <c:pt idx="302">
                  <c:v>-1.51328</c:v>
                </c:pt>
                <c:pt idx="303">
                  <c:v>#N/A</c:v>
                </c:pt>
                <c:pt idx="304">
                  <c:v>-1.96214</c:v>
                </c:pt>
                <c:pt idx="305">
                  <c:v>-2.46061</c:v>
                </c:pt>
                <c:pt idx="306">
                  <c:v>-2.15916</c:v>
                </c:pt>
                <c:pt idx="307">
                  <c:v>#N/A</c:v>
                </c:pt>
                <c:pt idx="308">
                  <c:v>-2.4623900000000001</c:v>
                </c:pt>
                <c:pt idx="309">
                  <c:v>-2.4160699999999999</c:v>
                </c:pt>
                <c:pt idx="310">
                  <c:v>-2.4366099999999999</c:v>
                </c:pt>
                <c:pt idx="311">
                  <c:v>#N/A</c:v>
                </c:pt>
                <c:pt idx="312">
                  <c:v>-2.1975799999999999</c:v>
                </c:pt>
                <c:pt idx="313">
                  <c:v>-2.1239699999999999</c:v>
                </c:pt>
                <c:pt idx="314">
                  <c:v>#N/A</c:v>
                </c:pt>
                <c:pt idx="315">
                  <c:v>-2.4205700000000001</c:v>
                </c:pt>
                <c:pt idx="316">
                  <c:v>-2.9651299999999998</c:v>
                </c:pt>
                <c:pt idx="317">
                  <c:v>-2.9907300000000001</c:v>
                </c:pt>
                <c:pt idx="318">
                  <c:v>#N/A</c:v>
                </c:pt>
                <c:pt idx="319">
                  <c:v>-3.0486900000000001</c:v>
                </c:pt>
                <c:pt idx="320">
                  <c:v>-3.2203900000000001</c:v>
                </c:pt>
                <c:pt idx="321">
                  <c:v>-2.7886000000000002</c:v>
                </c:pt>
                <c:pt idx="322">
                  <c:v>-2.2148400000000001</c:v>
                </c:pt>
                <c:pt idx="323">
                  <c:v>#N/A</c:v>
                </c:pt>
                <c:pt idx="324">
                  <c:v>-2.4614199999999999</c:v>
                </c:pt>
                <c:pt idx="325">
                  <c:v>-2.9894099999999999</c:v>
                </c:pt>
                <c:pt idx="326">
                  <c:v>-2.8685200000000002</c:v>
                </c:pt>
                <c:pt idx="327">
                  <c:v>#N/A</c:v>
                </c:pt>
                <c:pt idx="328">
                  <c:v>-2.5033500000000002</c:v>
                </c:pt>
                <c:pt idx="329">
                  <c:v>-2.7903799999999999</c:v>
                </c:pt>
                <c:pt idx="330">
                  <c:v>-2.5789</c:v>
                </c:pt>
                <c:pt idx="331">
                  <c:v>-2.6003799999999999</c:v>
                </c:pt>
                <c:pt idx="332">
                  <c:v>#N/A</c:v>
                </c:pt>
                <c:pt idx="333">
                  <c:v>-2.51301</c:v>
                </c:pt>
                <c:pt idx="334">
                  <c:v>-3.024</c:v>
                </c:pt>
                <c:pt idx="335">
                  <c:v>-2.72214</c:v>
                </c:pt>
                <c:pt idx="336">
                  <c:v>#N/A</c:v>
                </c:pt>
                <c:pt idx="337">
                  <c:v>-2.8700100000000002</c:v>
                </c:pt>
                <c:pt idx="338">
                  <c:v>-2.7071200000000002</c:v>
                </c:pt>
                <c:pt idx="339">
                  <c:v>-2.4829500000000002</c:v>
                </c:pt>
                <c:pt idx="340">
                  <c:v>#N/A</c:v>
                </c:pt>
                <c:pt idx="341">
                  <c:v>-2.6421700000000001</c:v>
                </c:pt>
                <c:pt idx="342">
                  <c:v>-2.5636100000000002</c:v>
                </c:pt>
                <c:pt idx="343">
                  <c:v>-2.49614</c:v>
                </c:pt>
                <c:pt idx="344">
                  <c:v>-2.0970300000000002</c:v>
                </c:pt>
                <c:pt idx="345">
                  <c:v>#N/A</c:v>
                </c:pt>
                <c:pt idx="346">
                  <c:v>-2.2719399999999998</c:v>
                </c:pt>
                <c:pt idx="347">
                  <c:v>-2.9089999999999998</c:v>
                </c:pt>
                <c:pt idx="348">
                  <c:v>-2.6768999999999998</c:v>
                </c:pt>
                <c:pt idx="349">
                  <c:v>-2.8232200000000001</c:v>
                </c:pt>
                <c:pt idx="350">
                  <c:v>#N/A</c:v>
                </c:pt>
                <c:pt idx="351">
                  <c:v>-2.7687900000000001</c:v>
                </c:pt>
                <c:pt idx="352">
                  <c:v>-2.54278</c:v>
                </c:pt>
                <c:pt idx="353">
                  <c:v>-2.8267000000000002</c:v>
                </c:pt>
                <c:pt idx="354">
                  <c:v>#N/A</c:v>
                </c:pt>
                <c:pt idx="355">
                  <c:v>-2.8923899999999998</c:v>
                </c:pt>
                <c:pt idx="356">
                  <c:v>-3.3294899999999998</c:v>
                </c:pt>
                <c:pt idx="357">
                  <c:v>-3.0095900000000002</c:v>
                </c:pt>
                <c:pt idx="358">
                  <c:v>#N/A</c:v>
                </c:pt>
                <c:pt idx="359">
                  <c:v>-2.7795800000000002</c:v>
                </c:pt>
                <c:pt idx="360">
                  <c:v>-2.9035600000000001</c:v>
                </c:pt>
                <c:pt idx="361">
                  <c:v>-2.5157799999999999</c:v>
                </c:pt>
                <c:pt idx="362">
                  <c:v>#N/A</c:v>
                </c:pt>
                <c:pt idx="363">
                  <c:v>-2.3805999999999998</c:v>
                </c:pt>
                <c:pt idx="364">
                  <c:v>-2.0626500000000001</c:v>
                </c:pt>
                <c:pt idx="365">
                  <c:v>-2.26824</c:v>
                </c:pt>
                <c:pt idx="366">
                  <c:v>#N/A</c:v>
                </c:pt>
                <c:pt idx="367">
                  <c:v>-2.5188999999999999</c:v>
                </c:pt>
                <c:pt idx="368">
                  <c:v>-2.3708999999999998</c:v>
                </c:pt>
                <c:pt idx="369">
                  <c:v>-2.30403</c:v>
                </c:pt>
                <c:pt idx="370">
                  <c:v>-2.6978399999999998</c:v>
                </c:pt>
                <c:pt idx="371">
                  <c:v>#N/A</c:v>
                </c:pt>
                <c:pt idx="372">
                  <c:v>-2.6978200000000001</c:v>
                </c:pt>
                <c:pt idx="373">
                  <c:v>-2.5571299999999999</c:v>
                </c:pt>
                <c:pt idx="374">
                  <c:v>-2.9818500000000001</c:v>
                </c:pt>
                <c:pt idx="375">
                  <c:v>#N/A</c:v>
                </c:pt>
                <c:pt idx="376">
                  <c:v>#N/A</c:v>
                </c:pt>
                <c:pt idx="377">
                  <c:v>-2.62601</c:v>
                </c:pt>
                <c:pt idx="378">
                  <c:v>-2.7338499999999999</c:v>
                </c:pt>
                <c:pt idx="379">
                  <c:v>#N/A</c:v>
                </c:pt>
                <c:pt idx="380">
                  <c:v>-2.9245100000000002</c:v>
                </c:pt>
                <c:pt idx="381">
                  <c:v>-2.83283</c:v>
                </c:pt>
                <c:pt idx="382">
                  <c:v>#N/A</c:v>
                </c:pt>
                <c:pt idx="383">
                  <c:v>-2.1712099999999999</c:v>
                </c:pt>
                <c:pt idx="384">
                  <c:v>-2.3744399999999999</c:v>
                </c:pt>
                <c:pt idx="385">
                  <c:v>#N/A</c:v>
                </c:pt>
                <c:pt idx="386">
                  <c:v>-2.1378599999999999</c:v>
                </c:pt>
                <c:pt idx="387">
                  <c:v>-2.5573299999999999</c:v>
                </c:pt>
                <c:pt idx="388">
                  <c:v>#N/A</c:v>
                </c:pt>
                <c:pt idx="389">
                  <c:v>-2.9946000000000002</c:v>
                </c:pt>
                <c:pt idx="390">
                  <c:v>-2.9091399999999998</c:v>
                </c:pt>
                <c:pt idx="391">
                  <c:v>-2.5727500000000001</c:v>
                </c:pt>
                <c:pt idx="392">
                  <c:v>-2.3723200000000002</c:v>
                </c:pt>
                <c:pt idx="393">
                  <c:v>#N/A</c:v>
                </c:pt>
                <c:pt idx="394">
                  <c:v>-2.63944</c:v>
                </c:pt>
                <c:pt idx="395">
                  <c:v>-2.9416799999999999</c:v>
                </c:pt>
                <c:pt idx="396">
                  <c:v>-3.0402200000000001</c:v>
                </c:pt>
                <c:pt idx="397">
                  <c:v>#N/A</c:v>
                </c:pt>
                <c:pt idx="398">
                  <c:v>-3.17021</c:v>
                </c:pt>
                <c:pt idx="399">
                  <c:v>-2.7522199999999999</c:v>
                </c:pt>
                <c:pt idx="400">
                  <c:v>-2.6001099999999999</c:v>
                </c:pt>
                <c:pt idx="401">
                  <c:v>#N/A</c:v>
                </c:pt>
                <c:pt idx="402">
                  <c:v>-2.3168199999999999</c:v>
                </c:pt>
                <c:pt idx="403">
                  <c:v>-2.36022</c:v>
                </c:pt>
                <c:pt idx="404">
                  <c:v>-2.1959399999999998</c:v>
                </c:pt>
                <c:pt idx="405">
                  <c:v>-2.4553699999999998</c:v>
                </c:pt>
                <c:pt idx="406">
                  <c:v>#N/A</c:v>
                </c:pt>
                <c:pt idx="407">
                  <c:v>-2.7406600000000001</c:v>
                </c:pt>
                <c:pt idx="408">
                  <c:v>-2.7529499999999998</c:v>
                </c:pt>
                <c:pt idx="409">
                  <c:v>-2.3361299999999998</c:v>
                </c:pt>
                <c:pt idx="410">
                  <c:v>-2.7366799999999998</c:v>
                </c:pt>
                <c:pt idx="411">
                  <c:v>#N/A</c:v>
                </c:pt>
                <c:pt idx="412">
                  <c:v>-2.4730400000000001</c:v>
                </c:pt>
                <c:pt idx="413">
                  <c:v>-2.42971</c:v>
                </c:pt>
                <c:pt idx="414">
                  <c:v>-2.94265</c:v>
                </c:pt>
                <c:pt idx="415">
                  <c:v>#N/A</c:v>
                </c:pt>
                <c:pt idx="416">
                  <c:v>-3.0297399999999999</c:v>
                </c:pt>
                <c:pt idx="417">
                  <c:v>-2.6928399999999999</c:v>
                </c:pt>
                <c:pt idx="418">
                  <c:v>-2.8161700000000001</c:v>
                </c:pt>
                <c:pt idx="419">
                  <c:v>#N/A</c:v>
                </c:pt>
                <c:pt idx="420">
                  <c:v>-2.7277900000000002</c:v>
                </c:pt>
                <c:pt idx="421">
                  <c:v>-2.0744699999999998</c:v>
                </c:pt>
                <c:pt idx="422">
                  <c:v>-1.85392</c:v>
                </c:pt>
                <c:pt idx="423">
                  <c:v>-2.14242</c:v>
                </c:pt>
                <c:pt idx="424">
                  <c:v>#N/A</c:v>
                </c:pt>
                <c:pt idx="425">
                  <c:v>-2.61937</c:v>
                </c:pt>
                <c:pt idx="426">
                  <c:v>-2.8901400000000002</c:v>
                </c:pt>
                <c:pt idx="427">
                  <c:v>-2.5929700000000002</c:v>
                </c:pt>
                <c:pt idx="428">
                  <c:v>#N/A</c:v>
                </c:pt>
                <c:pt idx="429">
                  <c:v>-2.8711600000000002</c:v>
                </c:pt>
                <c:pt idx="430">
                  <c:v>-2.5229599999999999</c:v>
                </c:pt>
                <c:pt idx="431">
                  <c:v>-2.4680499999999999</c:v>
                </c:pt>
                <c:pt idx="432">
                  <c:v>#N/A</c:v>
                </c:pt>
                <c:pt idx="433">
                  <c:v>-2.6574</c:v>
                </c:pt>
                <c:pt idx="434">
                  <c:v>-3.1677200000000001</c:v>
                </c:pt>
                <c:pt idx="435">
                  <c:v>-3.12155</c:v>
                </c:pt>
                <c:pt idx="436">
                  <c:v>-3.0144099999999998</c:v>
                </c:pt>
                <c:pt idx="437">
                  <c:v>#N/A</c:v>
                </c:pt>
                <c:pt idx="438">
                  <c:v>-2.9357700000000002</c:v>
                </c:pt>
                <c:pt idx="439">
                  <c:v>-2.5697000000000001</c:v>
                </c:pt>
                <c:pt idx="440">
                  <c:v>-2.5949</c:v>
                </c:pt>
                <c:pt idx="441">
                  <c:v>-2.7592400000000001</c:v>
                </c:pt>
                <c:pt idx="442">
                  <c:v>#N/A</c:v>
                </c:pt>
                <c:pt idx="443">
                  <c:v>-2.4632299999999998</c:v>
                </c:pt>
                <c:pt idx="444">
                  <c:v>-2.0154899999999998</c:v>
                </c:pt>
                <c:pt idx="445">
                  <c:v>-1.96855</c:v>
                </c:pt>
                <c:pt idx="446">
                  <c:v>#N/A</c:v>
                </c:pt>
                <c:pt idx="447">
                  <c:v>-2.2021000000000002</c:v>
                </c:pt>
                <c:pt idx="448">
                  <c:v>-2.7220599999999999</c:v>
                </c:pt>
                <c:pt idx="449">
                  <c:v>-2.7578299999999998</c:v>
                </c:pt>
                <c:pt idx="450">
                  <c:v>#N/A</c:v>
                </c:pt>
                <c:pt idx="451">
                  <c:v>-2.6547100000000001</c:v>
                </c:pt>
                <c:pt idx="452">
                  <c:v>-2.8459300000000001</c:v>
                </c:pt>
                <c:pt idx="453">
                  <c:v>-3.0535199999999998</c:v>
                </c:pt>
                <c:pt idx="454">
                  <c:v>#N/A</c:v>
                </c:pt>
                <c:pt idx="455">
                  <c:v>-2.6124100000000001</c:v>
                </c:pt>
                <c:pt idx="456">
                  <c:v>#N/A</c:v>
                </c:pt>
                <c:pt idx="457">
                  <c:v>-3.0825999999999998</c:v>
                </c:pt>
                <c:pt idx="458">
                  <c:v>-3.3422200000000002</c:v>
                </c:pt>
                <c:pt idx="459">
                  <c:v>#N/A</c:v>
                </c:pt>
                <c:pt idx="460">
                  <c:v>-3.0424099999999998</c:v>
                </c:pt>
                <c:pt idx="461">
                  <c:v>-2.3768500000000001</c:v>
                </c:pt>
                <c:pt idx="462">
                  <c:v>-2.2423199999999999</c:v>
                </c:pt>
                <c:pt idx="463">
                  <c:v>#N/A</c:v>
                </c:pt>
                <c:pt idx="464">
                  <c:v>-2.3969</c:v>
                </c:pt>
                <c:pt idx="465">
                  <c:v>-2.5242</c:v>
                </c:pt>
                <c:pt idx="466">
                  <c:v>-2.3589600000000002</c:v>
                </c:pt>
                <c:pt idx="467">
                  <c:v>-2.71509</c:v>
                </c:pt>
                <c:pt idx="468">
                  <c:v>#N/A</c:v>
                </c:pt>
                <c:pt idx="469">
                  <c:v>-2.9034</c:v>
                </c:pt>
                <c:pt idx="470">
                  <c:v>-2.6951200000000002</c:v>
                </c:pt>
                <c:pt idx="471">
                  <c:v>-2.8685200000000002</c:v>
                </c:pt>
                <c:pt idx="472">
                  <c:v>-2.9476200000000001</c:v>
                </c:pt>
                <c:pt idx="473">
                  <c:v>#N/A</c:v>
                </c:pt>
                <c:pt idx="474">
                  <c:v>-3.1449799999999999</c:v>
                </c:pt>
                <c:pt idx="475">
                  <c:v>-3.0341300000000002</c:v>
                </c:pt>
                <c:pt idx="476">
                  <c:v>-3.04847</c:v>
                </c:pt>
                <c:pt idx="477">
                  <c:v>#N/A</c:v>
                </c:pt>
                <c:pt idx="478">
                  <c:v>-3.2902100000000001</c:v>
                </c:pt>
                <c:pt idx="479">
                  <c:v>-2.7039</c:v>
                </c:pt>
                <c:pt idx="480">
                  <c:v>-2.2353700000000001</c:v>
                </c:pt>
                <c:pt idx="481">
                  <c:v>-2.52128</c:v>
                </c:pt>
                <c:pt idx="482">
                  <c:v>#N/A</c:v>
                </c:pt>
                <c:pt idx="483">
                  <c:v>-2.0132300000000001</c:v>
                </c:pt>
                <c:pt idx="484">
                  <c:v>-2.21956</c:v>
                </c:pt>
                <c:pt idx="485">
                  <c:v>-2.3252600000000001</c:v>
                </c:pt>
                <c:pt idx="486">
                  <c:v>#N/A</c:v>
                </c:pt>
                <c:pt idx="487">
                  <c:v>-2.7523300000000002</c:v>
                </c:pt>
                <c:pt idx="488">
                  <c:v>-2.8042600000000002</c:v>
                </c:pt>
                <c:pt idx="489">
                  <c:v>-2.9698799999999999</c:v>
                </c:pt>
                <c:pt idx="490">
                  <c:v>#N/A</c:v>
                </c:pt>
                <c:pt idx="491">
                  <c:v>-2.34504</c:v>
                </c:pt>
                <c:pt idx="492">
                  <c:v>-2.69617</c:v>
                </c:pt>
                <c:pt idx="493">
                  <c:v>-2.5969600000000002</c:v>
                </c:pt>
                <c:pt idx="494">
                  <c:v>-3.08927</c:v>
                </c:pt>
                <c:pt idx="495">
                  <c:v>#N/A</c:v>
                </c:pt>
                <c:pt idx="496">
                  <c:v>-3.2005300000000001</c:v>
                </c:pt>
                <c:pt idx="497">
                  <c:v>-2.9910199999999998</c:v>
                </c:pt>
                <c:pt idx="498">
                  <c:v>-2.6574399999999998</c:v>
                </c:pt>
                <c:pt idx="499">
                  <c:v>#N/A</c:v>
                </c:pt>
                <c:pt idx="500">
                  <c:v>-2.6324000000000001</c:v>
                </c:pt>
                <c:pt idx="501">
                  <c:v>-2.835</c:v>
                </c:pt>
                <c:pt idx="502">
                  <c:v>-2.6073200000000001</c:v>
                </c:pt>
                <c:pt idx="503">
                  <c:v>#N/A</c:v>
                </c:pt>
                <c:pt idx="504">
                  <c:v>-2.4374199999999999</c:v>
                </c:pt>
                <c:pt idx="505">
                  <c:v>-2.7623799999999998</c:v>
                </c:pt>
                <c:pt idx="506">
                  <c:v>-2.4555500000000001</c:v>
                </c:pt>
                <c:pt idx="507">
                  <c:v>-2.4921000000000002</c:v>
                </c:pt>
                <c:pt idx="508">
                  <c:v>#N/A</c:v>
                </c:pt>
                <c:pt idx="509">
                  <c:v>-2.3252799999999998</c:v>
                </c:pt>
                <c:pt idx="510">
                  <c:v>-2.5688300000000002</c:v>
                </c:pt>
                <c:pt idx="511">
                  <c:v>-2.64554</c:v>
                </c:pt>
                <c:pt idx="512">
                  <c:v>#N/A</c:v>
                </c:pt>
                <c:pt idx="513">
                  <c:v>-2.1387</c:v>
                </c:pt>
                <c:pt idx="514">
                  <c:v>-2.7558199999999999</c:v>
                </c:pt>
                <c:pt idx="515">
                  <c:v>-2.6164999999999998</c:v>
                </c:pt>
                <c:pt idx="516">
                  <c:v>-2.9536699999999998</c:v>
                </c:pt>
                <c:pt idx="517">
                  <c:v>#N/A</c:v>
                </c:pt>
                <c:pt idx="518">
                  <c:v>-3.1704300000000001</c:v>
                </c:pt>
                <c:pt idx="519">
                  <c:v>-3.05518</c:v>
                </c:pt>
                <c:pt idx="520">
                  <c:v>-2.17781</c:v>
                </c:pt>
                <c:pt idx="521">
                  <c:v>#N/A</c:v>
                </c:pt>
                <c:pt idx="522">
                  <c:v>-2.44252</c:v>
                </c:pt>
                <c:pt idx="523">
                  <c:v>-2.4146999999999998</c:v>
                </c:pt>
                <c:pt idx="524">
                  <c:v>-2.9084300000000001</c:v>
                </c:pt>
                <c:pt idx="525">
                  <c:v>-3.0244399999999998</c:v>
                </c:pt>
                <c:pt idx="526">
                  <c:v>#N/A</c:v>
                </c:pt>
                <c:pt idx="527">
                  <c:v>-3.1898</c:v>
                </c:pt>
                <c:pt idx="528">
                  <c:v>#N/A</c:v>
                </c:pt>
                <c:pt idx="529">
                  <c:v>-2.8105799999999999</c:v>
                </c:pt>
                <c:pt idx="530">
                  <c:v>-2.9441299999999999</c:v>
                </c:pt>
                <c:pt idx="531">
                  <c:v>#N/A</c:v>
                </c:pt>
                <c:pt idx="532">
                  <c:v>-2.9977299999999998</c:v>
                </c:pt>
                <c:pt idx="533">
                  <c:v>-3.0927199999999999</c:v>
                </c:pt>
                <c:pt idx="534">
                  <c:v>-3.0979299999999999</c:v>
                </c:pt>
                <c:pt idx="535">
                  <c:v>#N/A</c:v>
                </c:pt>
                <c:pt idx="536">
                  <c:v>-3.09294</c:v>
                </c:pt>
                <c:pt idx="537">
                  <c:v>-3.0305300000000002</c:v>
                </c:pt>
                <c:pt idx="538">
                  <c:v>-3.01824</c:v>
                </c:pt>
                <c:pt idx="539">
                  <c:v>#N/A</c:v>
                </c:pt>
                <c:pt idx="540">
                  <c:v>-2.9279999999999999</c:v>
                </c:pt>
                <c:pt idx="541">
                  <c:v>-3.1795100000000001</c:v>
                </c:pt>
                <c:pt idx="542">
                  <c:v>-2.4255300000000002</c:v>
                </c:pt>
                <c:pt idx="543">
                  <c:v>-2.36198</c:v>
                </c:pt>
                <c:pt idx="544">
                  <c:v>#N/A</c:v>
                </c:pt>
                <c:pt idx="545">
                  <c:v>-1.9558</c:v>
                </c:pt>
                <c:pt idx="546">
                  <c:v>-2.6516500000000001</c:v>
                </c:pt>
                <c:pt idx="547">
                  <c:v>-2.6651899999999999</c:v>
                </c:pt>
                <c:pt idx="548">
                  <c:v>#N/A</c:v>
                </c:pt>
                <c:pt idx="549">
                  <c:v>-2.71753</c:v>
                </c:pt>
                <c:pt idx="550">
                  <c:v>-3.0809899999999999</c:v>
                </c:pt>
                <c:pt idx="551">
                  <c:v>-2.5291100000000002</c:v>
                </c:pt>
                <c:pt idx="552">
                  <c:v>#N/A</c:v>
                </c:pt>
                <c:pt idx="553">
                  <c:v>-2.53844</c:v>
                </c:pt>
                <c:pt idx="554">
                  <c:v>-2.63415</c:v>
                </c:pt>
                <c:pt idx="555">
                  <c:v>-2.7046399999999999</c:v>
                </c:pt>
                <c:pt idx="556">
                  <c:v>-3.0872299999999999</c:v>
                </c:pt>
                <c:pt idx="557">
                  <c:v>#N/A</c:v>
                </c:pt>
                <c:pt idx="558">
                  <c:v>-2.9822600000000001</c:v>
                </c:pt>
                <c:pt idx="559">
                  <c:v>-2.7070799999999999</c:v>
                </c:pt>
                <c:pt idx="560">
                  <c:v>-2.4781599999999999</c:v>
                </c:pt>
                <c:pt idx="561">
                  <c:v>-2.3692500000000001</c:v>
                </c:pt>
                <c:pt idx="562">
                  <c:v>#N/A</c:v>
                </c:pt>
                <c:pt idx="563">
                  <c:v>-2.5860099999999999</c:v>
                </c:pt>
                <c:pt idx="564">
                  <c:v>-2.36639</c:v>
                </c:pt>
                <c:pt idx="565">
                  <c:v>-2.3206000000000002</c:v>
                </c:pt>
                <c:pt idx="566">
                  <c:v>#N/A</c:v>
                </c:pt>
                <c:pt idx="567">
                  <c:v>-2.4643700000000002</c:v>
                </c:pt>
                <c:pt idx="568">
                  <c:v>-2.9244599999999998</c:v>
                </c:pt>
                <c:pt idx="569">
                  <c:v>-2.7153399999999999</c:v>
                </c:pt>
                <c:pt idx="570">
                  <c:v>#N/A</c:v>
                </c:pt>
                <c:pt idx="571">
                  <c:v>-2.4707499999999998</c:v>
                </c:pt>
                <c:pt idx="572">
                  <c:v>-2.5259</c:v>
                </c:pt>
                <c:pt idx="573">
                  <c:v>-2.5965099999999999</c:v>
                </c:pt>
                <c:pt idx="574">
                  <c:v>-2.9872700000000001</c:v>
                </c:pt>
                <c:pt idx="575">
                  <c:v>#N/A</c:v>
                </c:pt>
                <c:pt idx="576">
                  <c:v>-2.9529399999999999</c:v>
                </c:pt>
                <c:pt idx="577">
                  <c:v>-2.9854799999999999</c:v>
                </c:pt>
                <c:pt idx="578">
                  <c:v>-2.78945</c:v>
                </c:pt>
                <c:pt idx="579">
                  <c:v>#N/A</c:v>
                </c:pt>
                <c:pt idx="580">
                  <c:v>-2.6353</c:v>
                </c:pt>
                <c:pt idx="581">
                  <c:v>-2.66065</c:v>
                </c:pt>
                <c:pt idx="582">
                  <c:v>-2.2347999999999999</c:v>
                </c:pt>
                <c:pt idx="583">
                  <c:v>#N/A</c:v>
                </c:pt>
                <c:pt idx="584">
                  <c:v>-2.39134</c:v>
                </c:pt>
                <c:pt idx="585">
                  <c:v>-2.819</c:v>
                </c:pt>
                <c:pt idx="586">
                  <c:v>-3.1331500000000001</c:v>
                </c:pt>
                <c:pt idx="587">
                  <c:v>-2.8075399999999999</c:v>
                </c:pt>
                <c:pt idx="588">
                  <c:v>#N/A</c:v>
                </c:pt>
                <c:pt idx="589">
                  <c:v>-2.5004900000000001</c:v>
                </c:pt>
                <c:pt idx="590">
                  <c:v>-2.1128900000000002</c:v>
                </c:pt>
                <c:pt idx="591">
                  <c:v>-2.31955</c:v>
                </c:pt>
                <c:pt idx="592">
                  <c:v>-2.5998600000000001</c:v>
                </c:pt>
                <c:pt idx="593">
                  <c:v>#N/A</c:v>
                </c:pt>
                <c:pt idx="594">
                  <c:v>-2.62127</c:v>
                </c:pt>
                <c:pt idx="595">
                  <c:v>-2.6121500000000002</c:v>
                </c:pt>
                <c:pt idx="596">
                  <c:v>-2.4663499999999998</c:v>
                </c:pt>
                <c:pt idx="597">
                  <c:v>#N/A</c:v>
                </c:pt>
                <c:pt idx="598">
                  <c:v>-2.5649600000000001</c:v>
                </c:pt>
                <c:pt idx="599">
                  <c:v>-2.5349699999999999</c:v>
                </c:pt>
                <c:pt idx="600">
                  <c:v>-2.04121</c:v>
                </c:pt>
                <c:pt idx="601">
                  <c:v>#N/A</c:v>
                </c:pt>
                <c:pt idx="602">
                  <c:v>-1.80823</c:v>
                </c:pt>
                <c:pt idx="603">
                  <c:v>-2.2827899999999999</c:v>
                </c:pt>
                <c:pt idx="604">
                  <c:v>-2.3955600000000001</c:v>
                </c:pt>
                <c:pt idx="605">
                  <c:v>-2.3072300000000001</c:v>
                </c:pt>
                <c:pt idx="606">
                  <c:v>#N/A</c:v>
                </c:pt>
                <c:pt idx="607">
                  <c:v>-2.8483000000000001</c:v>
                </c:pt>
                <c:pt idx="608">
                  <c:v>-2.9380999999999999</c:v>
                </c:pt>
                <c:pt idx="609">
                  <c:v>-3.01816</c:v>
                </c:pt>
                <c:pt idx="610">
                  <c:v>#N/A</c:v>
                </c:pt>
                <c:pt idx="611">
                  <c:v>-2.5381399999999998</c:v>
                </c:pt>
                <c:pt idx="612">
                  <c:v>-2.71421</c:v>
                </c:pt>
                <c:pt idx="613">
                  <c:v>-2.4146100000000001</c:v>
                </c:pt>
                <c:pt idx="614">
                  <c:v>-2.57606</c:v>
                </c:pt>
                <c:pt idx="615">
                  <c:v>#N/A</c:v>
                </c:pt>
                <c:pt idx="616">
                  <c:v>-2.8268399999999998</c:v>
                </c:pt>
                <c:pt idx="617">
                  <c:v>-2.2453699999999999</c:v>
                </c:pt>
                <c:pt idx="618">
                  <c:v>-2.3273999999999999</c:v>
                </c:pt>
                <c:pt idx="619">
                  <c:v>#N/A</c:v>
                </c:pt>
                <c:pt idx="620">
                  <c:v>-2.55362</c:v>
                </c:pt>
                <c:pt idx="621">
                  <c:v>-2.7218599999999999</c:v>
                </c:pt>
                <c:pt idx="622">
                  <c:v>-1.6953</c:v>
                </c:pt>
                <c:pt idx="623">
                  <c:v>-2.1498900000000001</c:v>
                </c:pt>
                <c:pt idx="624">
                  <c:v>#N/A</c:v>
                </c:pt>
                <c:pt idx="625">
                  <c:v>-2.2028500000000002</c:v>
                </c:pt>
                <c:pt idx="626">
                  <c:v>-2.6353599999999999</c:v>
                </c:pt>
                <c:pt idx="627">
                  <c:v>-2.6202999999999999</c:v>
                </c:pt>
                <c:pt idx="628">
                  <c:v>#N/A</c:v>
                </c:pt>
                <c:pt idx="629">
                  <c:v>-2.6353200000000001</c:v>
                </c:pt>
                <c:pt idx="630">
                  <c:v>-2.5210699999999999</c:v>
                </c:pt>
                <c:pt idx="631">
                  <c:v>-2.8426900000000002</c:v>
                </c:pt>
                <c:pt idx="632">
                  <c:v>#N/A</c:v>
                </c:pt>
                <c:pt idx="633">
                  <c:v>-2.62365</c:v>
                </c:pt>
                <c:pt idx="634">
                  <c:v>-2.6531199999999999</c:v>
                </c:pt>
                <c:pt idx="635">
                  <c:v>-2.8964300000000001</c:v>
                </c:pt>
                <c:pt idx="636">
                  <c:v>-2.8997700000000002</c:v>
                </c:pt>
                <c:pt idx="637">
                  <c:v>#N/A</c:v>
                </c:pt>
                <c:pt idx="638">
                  <c:v>-2.9675099999999999</c:v>
                </c:pt>
                <c:pt idx="639">
                  <c:v>-3.2888199999999999</c:v>
                </c:pt>
                <c:pt idx="640">
                  <c:v>-2.6278700000000002</c:v>
                </c:pt>
                <c:pt idx="641">
                  <c:v>#N/A</c:v>
                </c:pt>
                <c:pt idx="642">
                  <c:v>-2.6003699999999998</c:v>
                </c:pt>
                <c:pt idx="643">
                  <c:v>-2.35669</c:v>
                </c:pt>
                <c:pt idx="644">
                  <c:v>-2.4295499999999999</c:v>
                </c:pt>
                <c:pt idx="645">
                  <c:v>#N/A</c:v>
                </c:pt>
                <c:pt idx="646">
                  <c:v>-2.5817000000000001</c:v>
                </c:pt>
                <c:pt idx="647">
                  <c:v>-2.9847000000000001</c:v>
                </c:pt>
                <c:pt idx="648">
                  <c:v>-2.78409</c:v>
                </c:pt>
                <c:pt idx="649">
                  <c:v>-2.7489400000000002</c:v>
                </c:pt>
                <c:pt idx="650">
                  <c:v>#N/A</c:v>
                </c:pt>
                <c:pt idx="651">
                  <c:v>-2.4059599999999999</c:v>
                </c:pt>
                <c:pt idx="652">
                  <c:v>-2.5004599999999999</c:v>
                </c:pt>
                <c:pt idx="653">
                  <c:v>-2.0747499999999999</c:v>
                </c:pt>
                <c:pt idx="654">
                  <c:v>-2.3422900000000002</c:v>
                </c:pt>
                <c:pt idx="655">
                  <c:v>#N/A</c:v>
                </c:pt>
                <c:pt idx="656">
                  <c:v>-2.7876599999999998</c:v>
                </c:pt>
                <c:pt idx="657">
                  <c:v>-2.3814899999999999</c:v>
                </c:pt>
                <c:pt idx="658">
                  <c:v>-2.5104500000000001</c:v>
                </c:pt>
                <c:pt idx="659">
                  <c:v>#N/A</c:v>
                </c:pt>
                <c:pt idx="660">
                  <c:v>-2.4644300000000001</c:v>
                </c:pt>
                <c:pt idx="661">
                  <c:v>-2.6179600000000001</c:v>
                </c:pt>
                <c:pt idx="662">
                  <c:v>-2.2682799999999999</c:v>
                </c:pt>
                <c:pt idx="663">
                  <c:v>-2.3737499999999998</c:v>
                </c:pt>
                <c:pt idx="664">
                  <c:v>#N/A</c:v>
                </c:pt>
                <c:pt idx="665">
                  <c:v>-2.8155299999999999</c:v>
                </c:pt>
                <c:pt idx="666">
                  <c:v>-2.8902000000000001</c:v>
                </c:pt>
                <c:pt idx="667">
                  <c:v>-2.6066799999999999</c:v>
                </c:pt>
                <c:pt idx="668">
                  <c:v>#N/A</c:v>
                </c:pt>
                <c:pt idx="669">
                  <c:v>-2.62629</c:v>
                </c:pt>
                <c:pt idx="670">
                  <c:v>#N/A</c:v>
                </c:pt>
                <c:pt idx="671">
                  <c:v>-2.6743899999999998</c:v>
                </c:pt>
                <c:pt idx="672">
                  <c:v>-2.5281799999999999</c:v>
                </c:pt>
                <c:pt idx="673">
                  <c:v>#N/A</c:v>
                </c:pt>
                <c:pt idx="674">
                  <c:v>-2.64371</c:v>
                </c:pt>
                <c:pt idx="675">
                  <c:v>-2.7957200000000002</c:v>
                </c:pt>
                <c:pt idx="676">
                  <c:v>-2.31454</c:v>
                </c:pt>
                <c:pt idx="677">
                  <c:v>#N/A</c:v>
                </c:pt>
                <c:pt idx="678">
                  <c:v>-2.5295399999999999</c:v>
                </c:pt>
                <c:pt idx="679">
                  <c:v>-2.5703200000000002</c:v>
                </c:pt>
                <c:pt idx="680">
                  <c:v>-2.3285999999999998</c:v>
                </c:pt>
                <c:pt idx="681">
                  <c:v>#N/A</c:v>
                </c:pt>
                <c:pt idx="682">
                  <c:v>-2.2289599999999998</c:v>
                </c:pt>
                <c:pt idx="683">
                  <c:v>-2.3411300000000002</c:v>
                </c:pt>
                <c:pt idx="684">
                  <c:v>-2.5580500000000002</c:v>
                </c:pt>
                <c:pt idx="685">
                  <c:v>#N/A</c:v>
                </c:pt>
                <c:pt idx="686">
                  <c:v>-2.5082599999999999</c:v>
                </c:pt>
                <c:pt idx="687">
                  <c:v>-2.0489600000000001</c:v>
                </c:pt>
                <c:pt idx="688">
                  <c:v>-2.35425</c:v>
                </c:pt>
                <c:pt idx="689">
                  <c:v>#N/A</c:v>
                </c:pt>
                <c:pt idx="690">
                  <c:v>-2.7573500000000002</c:v>
                </c:pt>
                <c:pt idx="691">
                  <c:v>-2.7710900000000001</c:v>
                </c:pt>
                <c:pt idx="692">
                  <c:v>-2.72776</c:v>
                </c:pt>
                <c:pt idx="693">
                  <c:v>#N/A</c:v>
                </c:pt>
                <c:pt idx="694">
                  <c:v>-2.65469</c:v>
                </c:pt>
                <c:pt idx="695">
                  <c:v>-2.2841499999999999</c:v>
                </c:pt>
                <c:pt idx="696">
                  <c:v>-2.4434200000000001</c:v>
                </c:pt>
                <c:pt idx="697">
                  <c:v>#N/A</c:v>
                </c:pt>
                <c:pt idx="698">
                  <c:v>-2.53877</c:v>
                </c:pt>
                <c:pt idx="699">
                  <c:v>-2.6768399999999999</c:v>
                </c:pt>
                <c:pt idx="700">
                  <c:v>-2.5407500000000001</c:v>
                </c:pt>
                <c:pt idx="701">
                  <c:v>-2.1709299999999998</c:v>
                </c:pt>
                <c:pt idx="702">
                  <c:v>#N/A</c:v>
                </c:pt>
                <c:pt idx="703">
                  <c:v>-2.62507</c:v>
                </c:pt>
                <c:pt idx="704">
                  <c:v>-2.6106400000000001</c:v>
                </c:pt>
                <c:pt idx="705">
                  <c:v>-2.50102</c:v>
                </c:pt>
                <c:pt idx="706">
                  <c:v>#N/A</c:v>
                </c:pt>
                <c:pt idx="707">
                  <c:v>-2.43859</c:v>
                </c:pt>
                <c:pt idx="708">
                  <c:v>-2.7567400000000002</c:v>
                </c:pt>
                <c:pt idx="709">
                  <c:v>-2.61151</c:v>
                </c:pt>
                <c:pt idx="710">
                  <c:v>-2.2304300000000001</c:v>
                </c:pt>
                <c:pt idx="711">
                  <c:v>#N/A</c:v>
                </c:pt>
                <c:pt idx="712">
                  <c:v>-2.2296800000000001</c:v>
                </c:pt>
                <c:pt idx="713">
                  <c:v>-2.5476000000000001</c:v>
                </c:pt>
                <c:pt idx="714">
                  <c:v>-2.3835099999999998</c:v>
                </c:pt>
                <c:pt idx="715">
                  <c:v>-2.3440699999999999</c:v>
                </c:pt>
                <c:pt idx="716">
                  <c:v>#N/A</c:v>
                </c:pt>
                <c:pt idx="717">
                  <c:v>-2.7269000000000001</c:v>
                </c:pt>
                <c:pt idx="718">
                  <c:v>-2.3167599999999999</c:v>
                </c:pt>
                <c:pt idx="719">
                  <c:v>-2.46244</c:v>
                </c:pt>
                <c:pt idx="720">
                  <c:v>#N/A</c:v>
                </c:pt>
                <c:pt idx="721">
                  <c:v>-1.9797499999999999</c:v>
                </c:pt>
                <c:pt idx="722">
                  <c:v>-2.2904599999999999</c:v>
                </c:pt>
                <c:pt idx="723">
                  <c:v>-1.8398000000000001</c:v>
                </c:pt>
                <c:pt idx="724">
                  <c:v>#N/A</c:v>
                </c:pt>
                <c:pt idx="725">
                  <c:v>-2.1990799999999999</c:v>
                </c:pt>
                <c:pt idx="726">
                  <c:v>-2.5074100000000001</c:v>
                </c:pt>
                <c:pt idx="727">
                  <c:v>-2.3386100000000001</c:v>
                </c:pt>
                <c:pt idx="728">
                  <c:v>-2.1728100000000001</c:v>
                </c:pt>
                <c:pt idx="729">
                  <c:v>#N/A</c:v>
                </c:pt>
                <c:pt idx="730">
                  <c:v>-2.5108799999999998</c:v>
                </c:pt>
                <c:pt idx="731">
                  <c:v>-2.1206800000000001</c:v>
                </c:pt>
                <c:pt idx="732">
                  <c:v>-2.0095900000000002</c:v>
                </c:pt>
                <c:pt idx="733">
                  <c:v>#N/A</c:v>
                </c:pt>
                <c:pt idx="734">
                  <c:v>-2.9222399999999999</c:v>
                </c:pt>
                <c:pt idx="735">
                  <c:v>-2.7110400000000001</c:v>
                </c:pt>
                <c:pt idx="736">
                  <c:v>-2.62751</c:v>
                </c:pt>
                <c:pt idx="737">
                  <c:v>-3.0153799999999999</c:v>
                </c:pt>
                <c:pt idx="738">
                  <c:v>#N/A</c:v>
                </c:pt>
                <c:pt idx="739">
                  <c:v>-3.1329699999999998</c:v>
                </c:pt>
                <c:pt idx="740">
                  <c:v>#N/A</c:v>
                </c:pt>
                <c:pt idx="741">
                  <c:v>-2.8296399999999999</c:v>
                </c:pt>
                <c:pt idx="742">
                  <c:v>-2.7473700000000001</c:v>
                </c:pt>
                <c:pt idx="743">
                  <c:v>#N/A</c:v>
                </c:pt>
                <c:pt idx="744">
                  <c:v>-2.8938999999999999</c:v>
                </c:pt>
                <c:pt idx="745">
                  <c:v>-2.9258500000000001</c:v>
                </c:pt>
                <c:pt idx="746">
                  <c:v>-3.0472399999999999</c:v>
                </c:pt>
                <c:pt idx="747">
                  <c:v>#N/A</c:v>
                </c:pt>
                <c:pt idx="748">
                  <c:v>-2.7806999999999999</c:v>
                </c:pt>
                <c:pt idx="749">
                  <c:v>-2.62731</c:v>
                </c:pt>
                <c:pt idx="750">
                  <c:v>-2.7875800000000002</c:v>
                </c:pt>
                <c:pt idx="751">
                  <c:v>#N/A</c:v>
                </c:pt>
                <c:pt idx="752">
                  <c:v>-2.8127200000000001</c:v>
                </c:pt>
                <c:pt idx="753">
                  <c:v>-2.6351599999999999</c:v>
                </c:pt>
                <c:pt idx="754">
                  <c:v>-2.9777100000000001</c:v>
                </c:pt>
                <c:pt idx="755">
                  <c:v>-3.0248699999999999</c:v>
                </c:pt>
                <c:pt idx="756">
                  <c:v>#N/A</c:v>
                </c:pt>
                <c:pt idx="757">
                  <c:v>-2.7046000000000001</c:v>
                </c:pt>
                <c:pt idx="758">
                  <c:v>-2.99295</c:v>
                </c:pt>
                <c:pt idx="759">
                  <c:v>-2.3338399999999999</c:v>
                </c:pt>
                <c:pt idx="760">
                  <c:v>#N/A</c:v>
                </c:pt>
                <c:pt idx="761">
                  <c:v>-2.47431</c:v>
                </c:pt>
                <c:pt idx="762">
                  <c:v>-2.5625300000000002</c:v>
                </c:pt>
                <c:pt idx="763">
                  <c:v>-2.32599</c:v>
                </c:pt>
                <c:pt idx="764">
                  <c:v>#N/A</c:v>
                </c:pt>
                <c:pt idx="765">
                  <c:v>-3.0591400000000002</c:v>
                </c:pt>
                <c:pt idx="766">
                  <c:v>-3.27522</c:v>
                </c:pt>
                <c:pt idx="767">
                  <c:v>-2.7147199999999998</c:v>
                </c:pt>
                <c:pt idx="768">
                  <c:v>-2.6174499999999998</c:v>
                </c:pt>
                <c:pt idx="769">
                  <c:v>#N/A</c:v>
                </c:pt>
                <c:pt idx="770">
                  <c:v>-2.4605600000000001</c:v>
                </c:pt>
                <c:pt idx="771">
                  <c:v>-2.4685600000000001</c:v>
                </c:pt>
                <c:pt idx="772">
                  <c:v>-2.2177600000000002</c:v>
                </c:pt>
                <c:pt idx="773">
                  <c:v>#N/A</c:v>
                </c:pt>
                <c:pt idx="774">
                  <c:v>-2.5144199999999999</c:v>
                </c:pt>
                <c:pt idx="775">
                  <c:v>-2.8757000000000001</c:v>
                </c:pt>
                <c:pt idx="776">
                  <c:v>-2.90185</c:v>
                </c:pt>
                <c:pt idx="777">
                  <c:v>-2.6389499999999999</c:v>
                </c:pt>
                <c:pt idx="778">
                  <c:v>#N/A</c:v>
                </c:pt>
                <c:pt idx="779">
                  <c:v>-2.87758</c:v>
                </c:pt>
                <c:pt idx="780">
                  <c:v>-2.6140599999999998</c:v>
                </c:pt>
                <c:pt idx="781">
                  <c:v>-2.4509400000000001</c:v>
                </c:pt>
                <c:pt idx="782">
                  <c:v>#N/A</c:v>
                </c:pt>
                <c:pt idx="783">
                  <c:v>-2.6364299999999998</c:v>
                </c:pt>
                <c:pt idx="784">
                  <c:v>-2.6642800000000002</c:v>
                </c:pt>
                <c:pt idx="785">
                  <c:v>-2.6225800000000001</c:v>
                </c:pt>
                <c:pt idx="786">
                  <c:v>-2.4222299999999999</c:v>
                </c:pt>
                <c:pt idx="787">
                  <c:v>#N/A</c:v>
                </c:pt>
                <c:pt idx="788">
                  <c:v>-2.7503199999999999</c:v>
                </c:pt>
                <c:pt idx="789">
                  <c:v>-2.6984400000000002</c:v>
                </c:pt>
                <c:pt idx="790">
                  <c:v>-2.52617</c:v>
                </c:pt>
                <c:pt idx="791">
                  <c:v>#N/A</c:v>
                </c:pt>
                <c:pt idx="792">
                  <c:v>-2.45512</c:v>
                </c:pt>
                <c:pt idx="793">
                  <c:v>-2.3186300000000002</c:v>
                </c:pt>
                <c:pt idx="794">
                  <c:v>-2.7927499999999998</c:v>
                </c:pt>
                <c:pt idx="795">
                  <c:v>-2.7955999999999999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-3.0789200000000001</c:v>
                </c:pt>
                <c:pt idx="868">
                  <c:v>-2.8464399999999999</c:v>
                </c:pt>
                <c:pt idx="869">
                  <c:v>-2.59456</c:v>
                </c:pt>
                <c:pt idx="870">
                  <c:v>#N/A</c:v>
                </c:pt>
                <c:pt idx="871">
                  <c:v>-2.7459500000000001</c:v>
                </c:pt>
                <c:pt idx="872">
                  <c:v>-2.9657800000000001</c:v>
                </c:pt>
                <c:pt idx="873">
                  <c:v>-3.0792899999999999</c:v>
                </c:pt>
                <c:pt idx="874">
                  <c:v>#N/A</c:v>
                </c:pt>
                <c:pt idx="875">
                  <c:v>-3.1586699999999999</c:v>
                </c:pt>
                <c:pt idx="876">
                  <c:v>-3.1927500000000002</c:v>
                </c:pt>
                <c:pt idx="877">
                  <c:v>-2.8227500000000001</c:v>
                </c:pt>
                <c:pt idx="878">
                  <c:v>#N/A</c:v>
                </c:pt>
                <c:pt idx="879">
                  <c:v>-2.89818</c:v>
                </c:pt>
                <c:pt idx="880">
                  <c:v>-2.6751100000000001</c:v>
                </c:pt>
                <c:pt idx="881">
                  <c:v>-2.3487800000000001</c:v>
                </c:pt>
                <c:pt idx="882">
                  <c:v>-2.65673</c:v>
                </c:pt>
                <c:pt idx="883">
                  <c:v>#N/A</c:v>
                </c:pt>
                <c:pt idx="884">
                  <c:v>-2.4796999999999998</c:v>
                </c:pt>
                <c:pt idx="885">
                  <c:v>#N/A</c:v>
                </c:pt>
                <c:pt idx="886">
                  <c:v>-3.0463100000000001</c:v>
                </c:pt>
                <c:pt idx="887">
                  <c:v>-2.30199</c:v>
                </c:pt>
                <c:pt idx="888">
                  <c:v>-2.2167300000000001</c:v>
                </c:pt>
                <c:pt idx="889">
                  <c:v>#N/A</c:v>
                </c:pt>
                <c:pt idx="890">
                  <c:v>-2.4424399999999999</c:v>
                </c:pt>
                <c:pt idx="891">
                  <c:v>-2.4155199999999999</c:v>
                </c:pt>
                <c:pt idx="892">
                  <c:v>-2.5478000000000001</c:v>
                </c:pt>
                <c:pt idx="893">
                  <c:v>-3.06989</c:v>
                </c:pt>
                <c:pt idx="894">
                  <c:v>#N/A</c:v>
                </c:pt>
                <c:pt idx="895">
                  <c:v>-3.0405199999999999</c:v>
                </c:pt>
                <c:pt idx="896">
                  <c:v>-2.4973700000000001</c:v>
                </c:pt>
                <c:pt idx="897">
                  <c:v>-3.0006200000000001</c:v>
                </c:pt>
                <c:pt idx="898">
                  <c:v>#N/A</c:v>
                </c:pt>
                <c:pt idx="899">
                  <c:v>-2.55661</c:v>
                </c:pt>
                <c:pt idx="900">
                  <c:v>-2.5211199999999998</c:v>
                </c:pt>
                <c:pt idx="901">
                  <c:v>-2.0879799999999999</c:v>
                </c:pt>
                <c:pt idx="902">
                  <c:v>-2.41642</c:v>
                </c:pt>
                <c:pt idx="903">
                  <c:v>#N/A</c:v>
                </c:pt>
                <c:pt idx="904">
                  <c:v>-2.6798799999999998</c:v>
                </c:pt>
                <c:pt idx="905">
                  <c:v>-2.6858599999999999</c:v>
                </c:pt>
                <c:pt idx="906">
                  <c:v>-2.3339400000000001</c:v>
                </c:pt>
                <c:pt idx="907">
                  <c:v>#N/A</c:v>
                </c:pt>
                <c:pt idx="908">
                  <c:v>-2.5557699999999999</c:v>
                </c:pt>
                <c:pt idx="909">
                  <c:v>-2.7299799999999999</c:v>
                </c:pt>
                <c:pt idx="910">
                  <c:v>-2.5154200000000002</c:v>
                </c:pt>
                <c:pt idx="911">
                  <c:v>#N/A</c:v>
                </c:pt>
                <c:pt idx="912">
                  <c:v>-2.3664399999999999</c:v>
                </c:pt>
                <c:pt idx="913">
                  <c:v>-2.8399200000000002</c:v>
                </c:pt>
                <c:pt idx="914">
                  <c:v>-2.8160799999999999</c:v>
                </c:pt>
                <c:pt idx="915">
                  <c:v>-3.01579</c:v>
                </c:pt>
                <c:pt idx="916">
                  <c:v>#N/A</c:v>
                </c:pt>
                <c:pt idx="917">
                  <c:v>-3.2504400000000002</c:v>
                </c:pt>
                <c:pt idx="918">
                  <c:v>-3.0617100000000002</c:v>
                </c:pt>
                <c:pt idx="919">
                  <c:v>-2.4851700000000001</c:v>
                </c:pt>
                <c:pt idx="920">
                  <c:v>#N/A</c:v>
                </c:pt>
                <c:pt idx="921">
                  <c:v>-2.17788</c:v>
                </c:pt>
                <c:pt idx="922">
                  <c:v>-2.26431</c:v>
                </c:pt>
                <c:pt idx="923">
                  <c:v>-2.41269</c:v>
                </c:pt>
                <c:pt idx="924">
                  <c:v>#N/A</c:v>
                </c:pt>
                <c:pt idx="925">
                  <c:v>-2.4697800000000001</c:v>
                </c:pt>
                <c:pt idx="926">
                  <c:v>-3.3139799999999999</c:v>
                </c:pt>
                <c:pt idx="927">
                  <c:v>-3.1505200000000002</c:v>
                </c:pt>
                <c:pt idx="928">
                  <c:v>-3.1602899999999998</c:v>
                </c:pt>
                <c:pt idx="929">
                  <c:v>#N/A</c:v>
                </c:pt>
                <c:pt idx="930">
                  <c:v>-2.6524100000000002</c:v>
                </c:pt>
                <c:pt idx="931">
                  <c:v>-2.21733</c:v>
                </c:pt>
                <c:pt idx="932">
                  <c:v>-2.9050600000000002</c:v>
                </c:pt>
                <c:pt idx="933">
                  <c:v>#N/A</c:v>
                </c:pt>
                <c:pt idx="934">
                  <c:v>-2.79956</c:v>
                </c:pt>
                <c:pt idx="935">
                  <c:v>-3.3682699999999999</c:v>
                </c:pt>
                <c:pt idx="936">
                  <c:v>-3.4041100000000002</c:v>
                </c:pt>
                <c:pt idx="937">
                  <c:v>-2.8186499999999999</c:v>
                </c:pt>
                <c:pt idx="938">
                  <c:v>#N/A</c:v>
                </c:pt>
                <c:pt idx="939">
                  <c:v>-2.62846</c:v>
                </c:pt>
                <c:pt idx="940">
                  <c:v>-2.8465600000000002</c:v>
                </c:pt>
                <c:pt idx="941">
                  <c:v>-2.2063199999999998</c:v>
                </c:pt>
                <c:pt idx="942">
                  <c:v>#N/A</c:v>
                </c:pt>
                <c:pt idx="943">
                  <c:v>-2.5112800000000002</c:v>
                </c:pt>
                <c:pt idx="944">
                  <c:v>-2.62635</c:v>
                </c:pt>
                <c:pt idx="945">
                  <c:v>-2.4925299999999999</c:v>
                </c:pt>
                <c:pt idx="946">
                  <c:v>-2.52535</c:v>
                </c:pt>
                <c:pt idx="947">
                  <c:v>#N/A</c:v>
                </c:pt>
                <c:pt idx="948">
                  <c:v>-2.0417800000000002</c:v>
                </c:pt>
                <c:pt idx="949">
                  <c:v>-2.8266900000000001</c:v>
                </c:pt>
                <c:pt idx="950">
                  <c:v>-2.3372899999999999</c:v>
                </c:pt>
                <c:pt idx="951">
                  <c:v>#N/A</c:v>
                </c:pt>
                <c:pt idx="952">
                  <c:v>-2.5754000000000001</c:v>
                </c:pt>
                <c:pt idx="953">
                  <c:v>-2.7998799999999999</c:v>
                </c:pt>
                <c:pt idx="954">
                  <c:v>-3.14575</c:v>
                </c:pt>
                <c:pt idx="955">
                  <c:v>#N/A</c:v>
                </c:pt>
                <c:pt idx="956">
                  <c:v>-3.2086100000000002</c:v>
                </c:pt>
                <c:pt idx="957">
                  <c:v>-2.98109</c:v>
                </c:pt>
                <c:pt idx="958">
                  <c:v>-2.8602400000000001</c:v>
                </c:pt>
                <c:pt idx="959">
                  <c:v>-2.9519799999999998</c:v>
                </c:pt>
                <c:pt idx="960">
                  <c:v>#N/A</c:v>
                </c:pt>
                <c:pt idx="961">
                  <c:v>-2.71835</c:v>
                </c:pt>
                <c:pt idx="962">
                  <c:v>-2.9192499999999999</c:v>
                </c:pt>
                <c:pt idx="963">
                  <c:v>-2.6251799999999998</c:v>
                </c:pt>
                <c:pt idx="964">
                  <c:v>-2.6093700000000002</c:v>
                </c:pt>
                <c:pt idx="965">
                  <c:v>#N/A</c:v>
                </c:pt>
                <c:pt idx="966">
                  <c:v>-2.6694499999999999</c:v>
                </c:pt>
                <c:pt idx="967">
                  <c:v>-2.7928000000000002</c:v>
                </c:pt>
                <c:pt idx="968">
                  <c:v>-2.4301400000000002</c:v>
                </c:pt>
                <c:pt idx="969">
                  <c:v>#N/A</c:v>
                </c:pt>
                <c:pt idx="970">
                  <c:v>-2.64432</c:v>
                </c:pt>
                <c:pt idx="971">
                  <c:v>-2.86354</c:v>
                </c:pt>
                <c:pt idx="972">
                  <c:v>-2.3417699999999999</c:v>
                </c:pt>
                <c:pt idx="973">
                  <c:v>-2.7568199999999998</c:v>
                </c:pt>
                <c:pt idx="974">
                  <c:v>#N/A</c:v>
                </c:pt>
                <c:pt idx="975">
                  <c:v>-3.2794599999999998</c:v>
                </c:pt>
                <c:pt idx="976">
                  <c:v>-2.9555500000000001</c:v>
                </c:pt>
                <c:pt idx="977">
                  <c:v>-2.72553</c:v>
                </c:pt>
                <c:pt idx="978">
                  <c:v>#N/A</c:v>
                </c:pt>
                <c:pt idx="979">
                  <c:v>-2.5123199999999999</c:v>
                </c:pt>
                <c:pt idx="980">
                  <c:v>-2.6213899999999999</c:v>
                </c:pt>
                <c:pt idx="981">
                  <c:v>-2.0803199999999999</c:v>
                </c:pt>
                <c:pt idx="982">
                  <c:v>#N/A</c:v>
                </c:pt>
                <c:pt idx="983">
                  <c:v>-2.1341100000000002</c:v>
                </c:pt>
                <c:pt idx="984">
                  <c:v>-2.6947000000000001</c:v>
                </c:pt>
                <c:pt idx="985">
                  <c:v>-3.0041899999999999</c:v>
                </c:pt>
                <c:pt idx="986">
                  <c:v>#N/A</c:v>
                </c:pt>
                <c:pt idx="987">
                  <c:v>-3.3922400000000001</c:v>
                </c:pt>
                <c:pt idx="988">
                  <c:v>-2.8516300000000001</c:v>
                </c:pt>
                <c:pt idx="989">
                  <c:v>-2.9014000000000002</c:v>
                </c:pt>
                <c:pt idx="990">
                  <c:v>-2.8756900000000001</c:v>
                </c:pt>
                <c:pt idx="991">
                  <c:v>#N/A</c:v>
                </c:pt>
                <c:pt idx="992">
                  <c:v>-2.51668</c:v>
                </c:pt>
                <c:pt idx="993">
                  <c:v>-2.68648</c:v>
                </c:pt>
                <c:pt idx="994">
                  <c:v>-3.05897</c:v>
                </c:pt>
                <c:pt idx="995">
                  <c:v>-2.8925299999999998</c:v>
                </c:pt>
                <c:pt idx="996">
                  <c:v>#N/A</c:v>
                </c:pt>
                <c:pt idx="997">
                  <c:v>-2.9348100000000001</c:v>
                </c:pt>
                <c:pt idx="998">
                  <c:v>-2.9615300000000002</c:v>
                </c:pt>
                <c:pt idx="999">
                  <c:v>-2.2164700000000002</c:v>
                </c:pt>
                <c:pt idx="1000">
                  <c:v>#N/A</c:v>
                </c:pt>
                <c:pt idx="1001">
                  <c:v>-2.0471400000000002</c:v>
                </c:pt>
                <c:pt idx="1002">
                  <c:v>-2.3878300000000001</c:v>
                </c:pt>
                <c:pt idx="1003">
                  <c:v>-2.2216300000000002</c:v>
                </c:pt>
                <c:pt idx="1004">
                  <c:v>#N/A</c:v>
                </c:pt>
                <c:pt idx="1005">
                  <c:v>-2.4780099999999998</c:v>
                </c:pt>
                <c:pt idx="1006">
                  <c:v>-2.76166</c:v>
                </c:pt>
                <c:pt idx="1007">
                  <c:v>-3.5285500000000001</c:v>
                </c:pt>
                <c:pt idx="1008">
                  <c:v>-3.0277799999999999</c:v>
                </c:pt>
                <c:pt idx="1009">
                  <c:v>#N/A</c:v>
                </c:pt>
                <c:pt idx="1010">
                  <c:v>-2.4061699999999999</c:v>
                </c:pt>
                <c:pt idx="1011">
                  <c:v>-2.4147099999999999</c:v>
                </c:pt>
                <c:pt idx="1012">
                  <c:v>-2.7494499999999999</c:v>
                </c:pt>
                <c:pt idx="1013">
                  <c:v>#N/A</c:v>
                </c:pt>
                <c:pt idx="1014">
                  <c:v>-2.6242399999999999</c:v>
                </c:pt>
                <c:pt idx="1015">
                  <c:v>-3.1062500000000002</c:v>
                </c:pt>
                <c:pt idx="1016">
                  <c:v>-3.0733999999999999</c:v>
                </c:pt>
                <c:pt idx="1017">
                  <c:v>-2.6914600000000002</c:v>
                </c:pt>
                <c:pt idx="1018">
                  <c:v>#N/A</c:v>
                </c:pt>
                <c:pt idx="1019">
                  <c:v>-2.09429</c:v>
                </c:pt>
                <c:pt idx="1020">
                  <c:v>-1.98543</c:v>
                </c:pt>
                <c:pt idx="1021">
                  <c:v>-2.4283000000000001</c:v>
                </c:pt>
                <c:pt idx="1022">
                  <c:v>#N/A</c:v>
                </c:pt>
                <c:pt idx="1023">
                  <c:v>-2.2604600000000001</c:v>
                </c:pt>
                <c:pt idx="1024">
                  <c:v>-2.2003699999999999</c:v>
                </c:pt>
                <c:pt idx="1025">
                  <c:v>-2.80132</c:v>
                </c:pt>
                <c:pt idx="1026">
                  <c:v>#N/A</c:v>
                </c:pt>
                <c:pt idx="1027">
                  <c:v>-3.0359099999999999</c:v>
                </c:pt>
                <c:pt idx="1028">
                  <c:v>-2.7227899999999998</c:v>
                </c:pt>
                <c:pt idx="1029">
                  <c:v>#N/A</c:v>
                </c:pt>
                <c:pt idx="1030">
                  <c:v>-2.7696999999999998</c:v>
                </c:pt>
                <c:pt idx="1031">
                  <c:v>-2.3739300000000001</c:v>
                </c:pt>
                <c:pt idx="1032">
                  <c:v>-2.8041800000000001</c:v>
                </c:pt>
                <c:pt idx="1033">
                  <c:v>#N/A</c:v>
                </c:pt>
                <c:pt idx="1034">
                  <c:v>-2.8544800000000001</c:v>
                </c:pt>
                <c:pt idx="1035">
                  <c:v>-3.28172</c:v>
                </c:pt>
                <c:pt idx="1036">
                  <c:v>-3.2557299999999998</c:v>
                </c:pt>
                <c:pt idx="1037">
                  <c:v>#N/A</c:v>
                </c:pt>
                <c:pt idx="1038">
                  <c:v>-2.8603999999999998</c:v>
                </c:pt>
                <c:pt idx="1039">
                  <c:v>-2.1410100000000001</c:v>
                </c:pt>
                <c:pt idx="1040">
                  <c:v>-2.3770899999999999</c:v>
                </c:pt>
                <c:pt idx="1041">
                  <c:v>#N/A</c:v>
                </c:pt>
                <c:pt idx="1042">
                  <c:v>-2.0860799999999999</c:v>
                </c:pt>
                <c:pt idx="1043">
                  <c:v>-2.8048999999999999</c:v>
                </c:pt>
                <c:pt idx="1044">
                  <c:v>-2.64995</c:v>
                </c:pt>
                <c:pt idx="1045">
                  <c:v>#N/A</c:v>
                </c:pt>
                <c:pt idx="1046">
                  <c:v>-2.4898699999999998</c:v>
                </c:pt>
                <c:pt idx="1047">
                  <c:v>-2.6360800000000002</c:v>
                </c:pt>
                <c:pt idx="1048">
                  <c:v>-2.5318800000000001</c:v>
                </c:pt>
                <c:pt idx="1049">
                  <c:v>#N/A</c:v>
                </c:pt>
                <c:pt idx="1050">
                  <c:v>-2.48143</c:v>
                </c:pt>
                <c:pt idx="1051">
                  <c:v>-2.6410999999999998</c:v>
                </c:pt>
                <c:pt idx="1052">
                  <c:v>-2.99397</c:v>
                </c:pt>
                <c:pt idx="1053">
                  <c:v>#N/A</c:v>
                </c:pt>
                <c:pt idx="1054">
                  <c:v>-3.2277</c:v>
                </c:pt>
                <c:pt idx="1055">
                  <c:v>-3.3128099999999998</c:v>
                </c:pt>
                <c:pt idx="1056">
                  <c:v>-3.1488499999999999</c:v>
                </c:pt>
                <c:pt idx="1057">
                  <c:v>-2.4963600000000001</c:v>
                </c:pt>
                <c:pt idx="1058">
                  <c:v>#N/A</c:v>
                </c:pt>
                <c:pt idx="1059">
                  <c:v>-3.0001899999999999</c:v>
                </c:pt>
                <c:pt idx="1060">
                  <c:v>-2.4468000000000001</c:v>
                </c:pt>
                <c:pt idx="1061">
                  <c:v>-2.4389099999999999</c:v>
                </c:pt>
                <c:pt idx="1062">
                  <c:v>#N/A</c:v>
                </c:pt>
                <c:pt idx="1063">
                  <c:v>-2.14459</c:v>
                </c:pt>
                <c:pt idx="1064">
                  <c:v>-2.5692699999999999</c:v>
                </c:pt>
                <c:pt idx="1065">
                  <c:v>-2.6794899999999999</c:v>
                </c:pt>
                <c:pt idx="1066">
                  <c:v>-2.80905</c:v>
                </c:pt>
                <c:pt idx="1067">
                  <c:v>#N/A</c:v>
                </c:pt>
                <c:pt idx="1068">
                  <c:v>-2.94658</c:v>
                </c:pt>
                <c:pt idx="1069">
                  <c:v>-3.1675399999999998</c:v>
                </c:pt>
                <c:pt idx="1070">
                  <c:v>-3.0531199999999998</c:v>
                </c:pt>
                <c:pt idx="1071">
                  <c:v>#N/A</c:v>
                </c:pt>
                <c:pt idx="1072">
                  <c:v>-3.0176699999999999</c:v>
                </c:pt>
                <c:pt idx="1073">
                  <c:v>-2.84823</c:v>
                </c:pt>
                <c:pt idx="1074">
                  <c:v>-3.0264799999999998</c:v>
                </c:pt>
                <c:pt idx="1075">
                  <c:v>-3.4298999999999999</c:v>
                </c:pt>
                <c:pt idx="1076">
                  <c:v>#N/A</c:v>
                </c:pt>
                <c:pt idx="1077">
                  <c:v>-3.42293</c:v>
                </c:pt>
                <c:pt idx="1078">
                  <c:v>-3.2836699999999999</c:v>
                </c:pt>
                <c:pt idx="1079">
                  <c:v>-2.8080799999999999</c:v>
                </c:pt>
                <c:pt idx="1080">
                  <c:v>#N/A</c:v>
                </c:pt>
                <c:pt idx="1081">
                  <c:v>-2.7213799999999999</c:v>
                </c:pt>
                <c:pt idx="1082">
                  <c:v>-2.5407099999999998</c:v>
                </c:pt>
                <c:pt idx="1083">
                  <c:v>-3.3000400000000001</c:v>
                </c:pt>
                <c:pt idx="1084">
                  <c:v>-3.1019700000000001</c:v>
                </c:pt>
                <c:pt idx="1085">
                  <c:v>#N/A</c:v>
                </c:pt>
                <c:pt idx="1086">
                  <c:v>-2.5683400000000001</c:v>
                </c:pt>
                <c:pt idx="1087">
                  <c:v>-3.3345400000000001</c:v>
                </c:pt>
                <c:pt idx="1088">
                  <c:v>-3.09416</c:v>
                </c:pt>
                <c:pt idx="1089">
                  <c:v>-3.39663</c:v>
                </c:pt>
                <c:pt idx="1090">
                  <c:v>#N/A</c:v>
                </c:pt>
                <c:pt idx="1091">
                  <c:v>-3.4800599999999999</c:v>
                </c:pt>
                <c:pt idx="1092">
                  <c:v>-3.2985799999999998</c:v>
                </c:pt>
                <c:pt idx="1093">
                  <c:v>-3.3406199999999999</c:v>
                </c:pt>
                <c:pt idx="1094">
                  <c:v>#N/A</c:v>
                </c:pt>
                <c:pt idx="1095">
                  <c:v>-3.1871900000000002</c:v>
                </c:pt>
                <c:pt idx="1096">
                  <c:v>-3.3631600000000001</c:v>
                </c:pt>
                <c:pt idx="1097">
                  <c:v>-3.2035100000000001</c:v>
                </c:pt>
                <c:pt idx="1098">
                  <c:v>#N/A</c:v>
                </c:pt>
                <c:pt idx="1099">
                  <c:v>-3.12296</c:v>
                </c:pt>
                <c:pt idx="1100">
                  <c:v>-2.9283600000000001</c:v>
                </c:pt>
                <c:pt idx="1101">
                  <c:v>-2.72058</c:v>
                </c:pt>
                <c:pt idx="1102">
                  <c:v>-2.8480099999999999</c:v>
                </c:pt>
                <c:pt idx="1103">
                  <c:v>#N/A</c:v>
                </c:pt>
                <c:pt idx="1104">
                  <c:v>-2.9125100000000002</c:v>
                </c:pt>
                <c:pt idx="1105">
                  <c:v>-3.5744099999999999</c:v>
                </c:pt>
                <c:pt idx="1106">
                  <c:v>-3.46367</c:v>
                </c:pt>
                <c:pt idx="1107">
                  <c:v>#N/A</c:v>
                </c:pt>
                <c:pt idx="1108">
                  <c:v>-3.6820400000000002</c:v>
                </c:pt>
                <c:pt idx="1109">
                  <c:v>-3.1357200000000001</c:v>
                </c:pt>
                <c:pt idx="1110">
                  <c:v>-3.04793</c:v>
                </c:pt>
                <c:pt idx="1111">
                  <c:v>-3.27379</c:v>
                </c:pt>
                <c:pt idx="1112">
                  <c:v>#N/A</c:v>
                </c:pt>
                <c:pt idx="1113">
                  <c:v>-3.3601700000000001</c:v>
                </c:pt>
                <c:pt idx="1114">
                  <c:v>-3.5737899999999998</c:v>
                </c:pt>
                <c:pt idx="1115">
                  <c:v>-3.3486699999999998</c:v>
                </c:pt>
                <c:pt idx="1116">
                  <c:v>#N/A</c:v>
                </c:pt>
                <c:pt idx="1117">
                  <c:v>-3.1963699999999999</c:v>
                </c:pt>
                <c:pt idx="1118">
                  <c:v>-2.9881600000000001</c:v>
                </c:pt>
                <c:pt idx="1119">
                  <c:v>-2.9287999999999998</c:v>
                </c:pt>
                <c:pt idx="1120">
                  <c:v>#N/A</c:v>
                </c:pt>
                <c:pt idx="1121">
                  <c:v>-2.76389</c:v>
                </c:pt>
                <c:pt idx="1122">
                  <c:v>-2.92</c:v>
                </c:pt>
                <c:pt idx="1123">
                  <c:v>-2.9782899999999999</c:v>
                </c:pt>
                <c:pt idx="1124">
                  <c:v>-2.6897500000000001</c:v>
                </c:pt>
                <c:pt idx="1125">
                  <c:v>#N/A</c:v>
                </c:pt>
                <c:pt idx="1126">
                  <c:v>-2.99085</c:v>
                </c:pt>
                <c:pt idx="1127">
                  <c:v>-3.2602899999999999</c:v>
                </c:pt>
                <c:pt idx="1128">
                  <c:v>-3.4799699999999998</c:v>
                </c:pt>
                <c:pt idx="1129">
                  <c:v>#N/A</c:v>
                </c:pt>
                <c:pt idx="1130">
                  <c:v>-3.7358600000000002</c:v>
                </c:pt>
                <c:pt idx="1131">
                  <c:v>-3.4474100000000001</c:v>
                </c:pt>
                <c:pt idx="1132">
                  <c:v>-3.5209299999999999</c:v>
                </c:pt>
                <c:pt idx="1133">
                  <c:v>#N/A</c:v>
                </c:pt>
                <c:pt idx="1134">
                  <c:v>-3.58711</c:v>
                </c:pt>
                <c:pt idx="1135">
                  <c:v>-3.4527299999999999</c:v>
                </c:pt>
                <c:pt idx="1136">
                  <c:v>-3.8431000000000002</c:v>
                </c:pt>
                <c:pt idx="1137">
                  <c:v>-3.8608799999999999</c:v>
                </c:pt>
                <c:pt idx="1138">
                  <c:v>#N/A</c:v>
                </c:pt>
                <c:pt idx="1139">
                  <c:v>-3.16378</c:v>
                </c:pt>
                <c:pt idx="1140">
                  <c:v>-2.9318300000000002</c:v>
                </c:pt>
                <c:pt idx="1141">
                  <c:v>-3.0637799999999999</c:v>
                </c:pt>
                <c:pt idx="1142">
                  <c:v>#N/A</c:v>
                </c:pt>
                <c:pt idx="1143">
                  <c:v>-3.0051700000000001</c:v>
                </c:pt>
                <c:pt idx="1144">
                  <c:v>-3.1862400000000002</c:v>
                </c:pt>
                <c:pt idx="1145">
                  <c:v>-3.2801300000000002</c:v>
                </c:pt>
                <c:pt idx="1146">
                  <c:v>-3.17333</c:v>
                </c:pt>
                <c:pt idx="1147">
                  <c:v>#N/A</c:v>
                </c:pt>
                <c:pt idx="1148">
                  <c:v>-3.5636899999999998</c:v>
                </c:pt>
                <c:pt idx="1149">
                  <c:v>-3.0314399999999999</c:v>
                </c:pt>
                <c:pt idx="1150">
                  <c:v>-3.45044</c:v>
                </c:pt>
                <c:pt idx="1151">
                  <c:v>#N/A</c:v>
                </c:pt>
                <c:pt idx="1152">
                  <c:v>-3.1795</c:v>
                </c:pt>
                <c:pt idx="1153">
                  <c:v>-3.2620800000000001</c:v>
                </c:pt>
                <c:pt idx="1154">
                  <c:v>-3.6823899999999998</c:v>
                </c:pt>
                <c:pt idx="1155">
                  <c:v>#N/A</c:v>
                </c:pt>
                <c:pt idx="1156">
                  <c:v>-2.8592</c:v>
                </c:pt>
                <c:pt idx="1157">
                  <c:v>-2.90632</c:v>
                </c:pt>
                <c:pt idx="1158">
                  <c:v>-3.1304099999999999</c:v>
                </c:pt>
                <c:pt idx="1159">
                  <c:v>-3.59971</c:v>
                </c:pt>
                <c:pt idx="1160">
                  <c:v>#N/A</c:v>
                </c:pt>
                <c:pt idx="1161">
                  <c:v>-2.6973799999999999</c:v>
                </c:pt>
                <c:pt idx="1162">
                  <c:v>-3.0635699999999999</c:v>
                </c:pt>
                <c:pt idx="1163">
                  <c:v>-2.9575200000000001</c:v>
                </c:pt>
                <c:pt idx="1164">
                  <c:v>#N/A</c:v>
                </c:pt>
                <c:pt idx="1165">
                  <c:v>-2.9609299999999998</c:v>
                </c:pt>
                <c:pt idx="1166">
                  <c:v>-3.5214300000000001</c:v>
                </c:pt>
                <c:pt idx="1167">
                  <c:v>-3.5596000000000001</c:v>
                </c:pt>
                <c:pt idx="1168">
                  <c:v>#N/A</c:v>
                </c:pt>
                <c:pt idx="1169">
                  <c:v>-3.4426299999999999</c:v>
                </c:pt>
                <c:pt idx="1170">
                  <c:v>-3.52691</c:v>
                </c:pt>
                <c:pt idx="1171">
                  <c:v>#N/A</c:v>
                </c:pt>
                <c:pt idx="1172">
                  <c:v>-3.27129</c:v>
                </c:pt>
                <c:pt idx="1173">
                  <c:v>-3.5992700000000002</c:v>
                </c:pt>
                <c:pt idx="1174">
                  <c:v>#N/A</c:v>
                </c:pt>
                <c:pt idx="1175">
                  <c:v>-3.7402700000000002</c:v>
                </c:pt>
                <c:pt idx="1176">
                  <c:v>-3.49796</c:v>
                </c:pt>
                <c:pt idx="1177">
                  <c:v>-3.05471</c:v>
                </c:pt>
                <c:pt idx="1178">
                  <c:v>#N/A</c:v>
                </c:pt>
                <c:pt idx="1179">
                  <c:v>-2.4897</c:v>
                </c:pt>
                <c:pt idx="1180">
                  <c:v>-2.80003</c:v>
                </c:pt>
                <c:pt idx="1181">
                  <c:v>-2.8258800000000002</c:v>
                </c:pt>
                <c:pt idx="1182">
                  <c:v>-2.7176</c:v>
                </c:pt>
                <c:pt idx="1183">
                  <c:v>#N/A</c:v>
                </c:pt>
                <c:pt idx="1184">
                  <c:v>-2.7105299999999999</c:v>
                </c:pt>
                <c:pt idx="1185">
                  <c:v>-3.3034300000000001</c:v>
                </c:pt>
                <c:pt idx="1186">
                  <c:v>-3.2568100000000002</c:v>
                </c:pt>
                <c:pt idx="1187">
                  <c:v>#N/A</c:v>
                </c:pt>
                <c:pt idx="1188">
                  <c:v>-3.2265899999999998</c:v>
                </c:pt>
                <c:pt idx="1189">
                  <c:v>-3.1501999999999999</c:v>
                </c:pt>
                <c:pt idx="1190">
                  <c:v>-3.1263899999999998</c:v>
                </c:pt>
                <c:pt idx="1191">
                  <c:v>-3.08874</c:v>
                </c:pt>
                <c:pt idx="1192">
                  <c:v>#N/A</c:v>
                </c:pt>
                <c:pt idx="1193">
                  <c:v>-3.4477899999999999</c:v>
                </c:pt>
                <c:pt idx="1194">
                  <c:v>-3.4561799999999998</c:v>
                </c:pt>
                <c:pt idx="1195">
                  <c:v>-3.3833000000000002</c:v>
                </c:pt>
                <c:pt idx="1196">
                  <c:v>#N/A</c:v>
                </c:pt>
                <c:pt idx="1197">
                  <c:v>-3.0981800000000002</c:v>
                </c:pt>
                <c:pt idx="1198">
                  <c:v>-3.10697</c:v>
                </c:pt>
                <c:pt idx="1199">
                  <c:v>-2.8383699999999998</c:v>
                </c:pt>
                <c:pt idx="1200">
                  <c:v>#N/A</c:v>
                </c:pt>
                <c:pt idx="1201">
                  <c:v>-2.5966499999999999</c:v>
                </c:pt>
                <c:pt idx="1202">
                  <c:v>-2.5032800000000002</c:v>
                </c:pt>
                <c:pt idx="1203">
                  <c:v>-3.1887699999999999</c:v>
                </c:pt>
                <c:pt idx="1204">
                  <c:v>-2.6951499999999999</c:v>
                </c:pt>
                <c:pt idx="1205">
                  <c:v>#N/A</c:v>
                </c:pt>
                <c:pt idx="1206">
                  <c:v>-3.1264400000000001</c:v>
                </c:pt>
                <c:pt idx="1207">
                  <c:v>-2.7835200000000002</c:v>
                </c:pt>
                <c:pt idx="1208">
                  <c:v>-3.2167599999999998</c:v>
                </c:pt>
                <c:pt idx="1209">
                  <c:v>#N/A</c:v>
                </c:pt>
                <c:pt idx="1210">
                  <c:v>-2.9947900000000001</c:v>
                </c:pt>
                <c:pt idx="1211">
                  <c:v>-2.9491800000000001</c:v>
                </c:pt>
                <c:pt idx="1212">
                  <c:v>-3.38429</c:v>
                </c:pt>
                <c:pt idx="1213">
                  <c:v>-3.1263800000000002</c:v>
                </c:pt>
                <c:pt idx="1214">
                  <c:v>#N/A</c:v>
                </c:pt>
                <c:pt idx="1215">
                  <c:v>-3.3978000000000002</c:v>
                </c:pt>
                <c:pt idx="1216">
                  <c:v>-3.30925</c:v>
                </c:pt>
                <c:pt idx="1217">
                  <c:v>-3.1148699999999998</c:v>
                </c:pt>
                <c:pt idx="1218">
                  <c:v>#N/A</c:v>
                </c:pt>
                <c:pt idx="1219">
                  <c:v>-2.96922</c:v>
                </c:pt>
                <c:pt idx="1220">
                  <c:v>-2.7826900000000001</c:v>
                </c:pt>
                <c:pt idx="1221">
                  <c:v>-2.7006399999999999</c:v>
                </c:pt>
                <c:pt idx="1222">
                  <c:v>-2.6618300000000001</c:v>
                </c:pt>
                <c:pt idx="1223">
                  <c:v>#N/A</c:v>
                </c:pt>
                <c:pt idx="1224">
                  <c:v>-2.8130500000000001</c:v>
                </c:pt>
                <c:pt idx="1225">
                  <c:v>-3.51078</c:v>
                </c:pt>
                <c:pt idx="1226">
                  <c:v>-3.6200899999999998</c:v>
                </c:pt>
                <c:pt idx="1227">
                  <c:v>#N/A</c:v>
                </c:pt>
                <c:pt idx="1228">
                  <c:v>-3.5256799999999999</c:v>
                </c:pt>
                <c:pt idx="1229">
                  <c:v>-3.1285699999999999</c:v>
                </c:pt>
                <c:pt idx="1230">
                  <c:v>-3.04752</c:v>
                </c:pt>
                <c:pt idx="1231">
                  <c:v>-2.9518499999999999</c:v>
                </c:pt>
                <c:pt idx="1232">
                  <c:v>#N/A</c:v>
                </c:pt>
                <c:pt idx="1233">
                  <c:v>-3.4315799999999999</c:v>
                </c:pt>
                <c:pt idx="1234">
                  <c:v>-2.9399500000000001</c:v>
                </c:pt>
                <c:pt idx="1235">
                  <c:v>-2.7593999999999999</c:v>
                </c:pt>
                <c:pt idx="1236">
                  <c:v>#N/A</c:v>
                </c:pt>
                <c:pt idx="1237">
                  <c:v>-2.9427500000000002</c:v>
                </c:pt>
                <c:pt idx="1238">
                  <c:v>-3.11591</c:v>
                </c:pt>
                <c:pt idx="1239">
                  <c:v>-2.82274</c:v>
                </c:pt>
                <c:pt idx="1240">
                  <c:v>#N/A</c:v>
                </c:pt>
                <c:pt idx="1241">
                  <c:v>-2.9065099999999999</c:v>
                </c:pt>
                <c:pt idx="1242">
                  <c:v>-2.3747400000000001</c:v>
                </c:pt>
                <c:pt idx="1243">
                  <c:v>-2.5055200000000002</c:v>
                </c:pt>
                <c:pt idx="1244">
                  <c:v>#N/A</c:v>
                </c:pt>
                <c:pt idx="1245">
                  <c:v>-3.3688799999999999</c:v>
                </c:pt>
                <c:pt idx="1246">
                  <c:v>-3.0383900000000001</c:v>
                </c:pt>
                <c:pt idx="1247">
                  <c:v>-2.93398</c:v>
                </c:pt>
                <c:pt idx="1248">
                  <c:v>#N/A</c:v>
                </c:pt>
                <c:pt idx="1249">
                  <c:v>-2.9315600000000002</c:v>
                </c:pt>
                <c:pt idx="1250">
                  <c:v>-2.9344000000000001</c:v>
                </c:pt>
                <c:pt idx="1251">
                  <c:v>-2.98773</c:v>
                </c:pt>
                <c:pt idx="1252">
                  <c:v>#N/A</c:v>
                </c:pt>
                <c:pt idx="1253">
                  <c:v>-2.8887499999999999</c:v>
                </c:pt>
                <c:pt idx="1254">
                  <c:v>-3.3553700000000002</c:v>
                </c:pt>
                <c:pt idx="1255">
                  <c:v>-2.96218</c:v>
                </c:pt>
                <c:pt idx="1256">
                  <c:v>-3.4783200000000001</c:v>
                </c:pt>
                <c:pt idx="1257">
                  <c:v>#N/A</c:v>
                </c:pt>
                <c:pt idx="1258">
                  <c:v>-3.6277400000000002</c:v>
                </c:pt>
                <c:pt idx="1259">
                  <c:v>-2.92245</c:v>
                </c:pt>
                <c:pt idx="1260">
                  <c:v>-2.4522499999999998</c:v>
                </c:pt>
                <c:pt idx="1261">
                  <c:v>#N/A</c:v>
                </c:pt>
                <c:pt idx="1262">
                  <c:v>-2.4736600000000002</c:v>
                </c:pt>
                <c:pt idx="1263">
                  <c:v>-2.5766</c:v>
                </c:pt>
                <c:pt idx="1264">
                  <c:v>-3.0694699999999999</c:v>
                </c:pt>
                <c:pt idx="1265">
                  <c:v>#N/A</c:v>
                </c:pt>
                <c:pt idx="1266">
                  <c:v>-2.9665499999999998</c:v>
                </c:pt>
                <c:pt idx="1267">
                  <c:v>-3.12913</c:v>
                </c:pt>
                <c:pt idx="1268">
                  <c:v>-3.29298</c:v>
                </c:pt>
                <c:pt idx="1269">
                  <c:v>-3.20214</c:v>
                </c:pt>
                <c:pt idx="1270">
                  <c:v>#N/A</c:v>
                </c:pt>
                <c:pt idx="1271">
                  <c:v>-2.8936299999999999</c:v>
                </c:pt>
                <c:pt idx="1272">
                  <c:v>-3.26675</c:v>
                </c:pt>
                <c:pt idx="1273">
                  <c:v>-2.9773999999999998</c:v>
                </c:pt>
                <c:pt idx="1274">
                  <c:v>-3.1191200000000001</c:v>
                </c:pt>
                <c:pt idx="1275">
                  <c:v>#N/A</c:v>
                </c:pt>
                <c:pt idx="1276">
                  <c:v>-3.9299400000000002</c:v>
                </c:pt>
                <c:pt idx="1277">
                  <c:v>-3.62947</c:v>
                </c:pt>
                <c:pt idx="1278">
                  <c:v>-3.3904700000000001</c:v>
                </c:pt>
                <c:pt idx="1279">
                  <c:v>#N/A</c:v>
                </c:pt>
                <c:pt idx="1280">
                  <c:v>-2.7973599999999998</c:v>
                </c:pt>
                <c:pt idx="1281">
                  <c:v>-3.0505800000000001</c:v>
                </c:pt>
                <c:pt idx="1282">
                  <c:v>-2.9253200000000001</c:v>
                </c:pt>
                <c:pt idx="1283">
                  <c:v>#N/A</c:v>
                </c:pt>
                <c:pt idx="1284">
                  <c:v>-3.2717700000000001</c:v>
                </c:pt>
                <c:pt idx="1285">
                  <c:v>-3.06318</c:v>
                </c:pt>
                <c:pt idx="1286">
                  <c:v>-3.40564</c:v>
                </c:pt>
                <c:pt idx="1287">
                  <c:v>-3.4592399999999999</c:v>
                </c:pt>
                <c:pt idx="1288">
                  <c:v>#N/A</c:v>
                </c:pt>
                <c:pt idx="1289">
                  <c:v>-2.93831</c:v>
                </c:pt>
                <c:pt idx="1290">
                  <c:v>-2.9156599999999999</c:v>
                </c:pt>
                <c:pt idx="1291">
                  <c:v>-2.9777900000000002</c:v>
                </c:pt>
                <c:pt idx="1292">
                  <c:v>#N/A</c:v>
                </c:pt>
                <c:pt idx="1293">
                  <c:v>-3.0546500000000001</c:v>
                </c:pt>
                <c:pt idx="1294">
                  <c:v>-3.0508999999999999</c:v>
                </c:pt>
                <c:pt idx="1295">
                  <c:v>-3.18018</c:v>
                </c:pt>
                <c:pt idx="1296">
                  <c:v>-3.0859999999999999</c:v>
                </c:pt>
                <c:pt idx="1297">
                  <c:v>#N/A</c:v>
                </c:pt>
                <c:pt idx="1298">
                  <c:v>-3.0457900000000002</c:v>
                </c:pt>
                <c:pt idx="1299">
                  <c:v>-2.9862299999999999</c:v>
                </c:pt>
                <c:pt idx="1300">
                  <c:v>-2.6190099999999998</c:v>
                </c:pt>
                <c:pt idx="1301">
                  <c:v>#N/A</c:v>
                </c:pt>
                <c:pt idx="1302">
                  <c:v>-2.6044700000000001</c:v>
                </c:pt>
                <c:pt idx="1303">
                  <c:v>-3.2812199999999998</c:v>
                </c:pt>
                <c:pt idx="1304">
                  <c:v>-3.6445799999999999</c:v>
                </c:pt>
                <c:pt idx="1305">
                  <c:v>-2.9210600000000002</c:v>
                </c:pt>
                <c:pt idx="1306">
                  <c:v>#N/A</c:v>
                </c:pt>
                <c:pt idx="1307">
                  <c:v>-3.0889000000000002</c:v>
                </c:pt>
                <c:pt idx="1308">
                  <c:v>-3.0459299999999998</c:v>
                </c:pt>
                <c:pt idx="1309">
                  <c:v>-3.1434299999999999</c:v>
                </c:pt>
                <c:pt idx="1310">
                  <c:v>#N/A</c:v>
                </c:pt>
                <c:pt idx="1311">
                  <c:v>-3.0381399999999998</c:v>
                </c:pt>
                <c:pt idx="1312">
                  <c:v>-3.0975600000000001</c:v>
                </c:pt>
                <c:pt idx="1313">
                  <c:v>#N/A</c:v>
                </c:pt>
                <c:pt idx="1314">
                  <c:v>-3.46557</c:v>
                </c:pt>
                <c:pt idx="1315">
                  <c:v>#N/A</c:v>
                </c:pt>
                <c:pt idx="1316">
                  <c:v>-3.4834399999999999</c:v>
                </c:pt>
                <c:pt idx="1317">
                  <c:v>-3.1811799999999999</c:v>
                </c:pt>
                <c:pt idx="1318">
                  <c:v>-2.6177299999999999</c:v>
                </c:pt>
                <c:pt idx="1319">
                  <c:v>-3.0198999999999998</c:v>
                </c:pt>
                <c:pt idx="1320">
                  <c:v>#N/A</c:v>
                </c:pt>
                <c:pt idx="1321">
                  <c:v>-2.5700799999999999</c:v>
                </c:pt>
                <c:pt idx="1322">
                  <c:v>-2.7781600000000002</c:v>
                </c:pt>
                <c:pt idx="1323">
                  <c:v>-2.9600499999999998</c:v>
                </c:pt>
                <c:pt idx="1324">
                  <c:v>#N/A</c:v>
                </c:pt>
                <c:pt idx="1325">
                  <c:v>-3.2764899999999999</c:v>
                </c:pt>
                <c:pt idx="1326">
                  <c:v>-2.9171900000000002</c:v>
                </c:pt>
                <c:pt idx="1327">
                  <c:v>-3.3113600000000001</c:v>
                </c:pt>
                <c:pt idx="1328">
                  <c:v>#N/A</c:v>
                </c:pt>
                <c:pt idx="1329">
                  <c:v>-3.1842000000000001</c:v>
                </c:pt>
                <c:pt idx="1330">
                  <c:v>-3.1455000000000002</c:v>
                </c:pt>
                <c:pt idx="1331">
                  <c:v>-3.1663899999999998</c:v>
                </c:pt>
                <c:pt idx="1332">
                  <c:v>-3.4348299999999998</c:v>
                </c:pt>
                <c:pt idx="1333">
                  <c:v>#N/A</c:v>
                </c:pt>
                <c:pt idx="1334">
                  <c:v>-3.6452200000000001</c:v>
                </c:pt>
                <c:pt idx="1335">
                  <c:v>-3.9302000000000001</c:v>
                </c:pt>
                <c:pt idx="1336">
                  <c:v>-3.45777</c:v>
                </c:pt>
                <c:pt idx="1337">
                  <c:v>#N/A</c:v>
                </c:pt>
                <c:pt idx="1338">
                  <c:v>-3.7670300000000001</c:v>
                </c:pt>
                <c:pt idx="1339">
                  <c:v>-3.6183299999999998</c:v>
                </c:pt>
                <c:pt idx="1340">
                  <c:v>-3.3417599999999998</c:v>
                </c:pt>
                <c:pt idx="1341">
                  <c:v>#N/A</c:v>
                </c:pt>
                <c:pt idx="1342">
                  <c:v>-3.3075199999999998</c:v>
                </c:pt>
                <c:pt idx="1343">
                  <c:v>-3.43479</c:v>
                </c:pt>
                <c:pt idx="1344">
                  <c:v>-3.42761</c:v>
                </c:pt>
                <c:pt idx="1345">
                  <c:v>#N/A</c:v>
                </c:pt>
                <c:pt idx="1346">
                  <c:v>-3.4678300000000002</c:v>
                </c:pt>
                <c:pt idx="1347">
                  <c:v>-3.2659799999999999</c:v>
                </c:pt>
                <c:pt idx="1348">
                  <c:v>-3.2549000000000001</c:v>
                </c:pt>
                <c:pt idx="1349">
                  <c:v>-3.1856900000000001</c:v>
                </c:pt>
                <c:pt idx="1350">
                  <c:v>#N/A</c:v>
                </c:pt>
                <c:pt idx="1351">
                  <c:v>-3.0999099999999999</c:v>
                </c:pt>
                <c:pt idx="1352">
                  <c:v>-3.3092000000000001</c:v>
                </c:pt>
                <c:pt idx="1353">
                  <c:v>-3.40707</c:v>
                </c:pt>
                <c:pt idx="1354">
                  <c:v>#N/A</c:v>
                </c:pt>
                <c:pt idx="1355">
                  <c:v>-3.85832</c:v>
                </c:pt>
                <c:pt idx="1356">
                  <c:v>-3.5256599999999998</c:v>
                </c:pt>
                <c:pt idx="1357">
                  <c:v>-3.79331</c:v>
                </c:pt>
                <c:pt idx="1358">
                  <c:v>-2.7692899999999998</c:v>
                </c:pt>
                <c:pt idx="1359">
                  <c:v>#N/A</c:v>
                </c:pt>
                <c:pt idx="1360">
                  <c:v>-3.0039600000000002</c:v>
                </c:pt>
                <c:pt idx="1361">
                  <c:v>-2.7686199999999999</c:v>
                </c:pt>
                <c:pt idx="1362">
                  <c:v>-3.75434</c:v>
                </c:pt>
                <c:pt idx="1363">
                  <c:v>#N/A</c:v>
                </c:pt>
                <c:pt idx="1364">
                  <c:v>-2.8570700000000002</c:v>
                </c:pt>
                <c:pt idx="1365">
                  <c:v>-3.3220100000000001</c:v>
                </c:pt>
                <c:pt idx="1366">
                  <c:v>-3.0194899999999998</c:v>
                </c:pt>
                <c:pt idx="1367">
                  <c:v>-3.30552</c:v>
                </c:pt>
                <c:pt idx="1368">
                  <c:v>#N/A</c:v>
                </c:pt>
                <c:pt idx="1369">
                  <c:v>-3.0587300000000002</c:v>
                </c:pt>
                <c:pt idx="1370">
                  <c:v>-3.0653199999999998</c:v>
                </c:pt>
                <c:pt idx="1371">
                  <c:v>-3.2354799999999999</c:v>
                </c:pt>
                <c:pt idx="1372">
                  <c:v>#N/A</c:v>
                </c:pt>
                <c:pt idx="1373">
                  <c:v>-3.2103600000000001</c:v>
                </c:pt>
                <c:pt idx="1374">
                  <c:v>-3.8634400000000002</c:v>
                </c:pt>
                <c:pt idx="1375">
                  <c:v>-3.4527399999999999</c:v>
                </c:pt>
                <c:pt idx="1376">
                  <c:v>-3.1191499999999999</c:v>
                </c:pt>
                <c:pt idx="1377">
                  <c:v>#N/A</c:v>
                </c:pt>
                <c:pt idx="1378">
                  <c:v>-2.8988499999999999</c:v>
                </c:pt>
                <c:pt idx="1379">
                  <c:v>-3.00373</c:v>
                </c:pt>
                <c:pt idx="1380">
                  <c:v>-2.4764499999999998</c:v>
                </c:pt>
                <c:pt idx="1381">
                  <c:v>#N/A</c:v>
                </c:pt>
                <c:pt idx="1382">
                  <c:v>-2.5905399999999998</c:v>
                </c:pt>
                <c:pt idx="1383">
                  <c:v>-3.0622500000000001</c:v>
                </c:pt>
                <c:pt idx="1384">
                  <c:v>-2.7875700000000001</c:v>
                </c:pt>
                <c:pt idx="1385">
                  <c:v>#N/A</c:v>
                </c:pt>
                <c:pt idx="1386">
                  <c:v>-2.9320599999999999</c:v>
                </c:pt>
                <c:pt idx="1387">
                  <c:v>#N/A</c:v>
                </c:pt>
                <c:pt idx="1388">
                  <c:v>-2.7284199999999998</c:v>
                </c:pt>
                <c:pt idx="1389">
                  <c:v>-2.7628900000000001</c:v>
                </c:pt>
                <c:pt idx="1390">
                  <c:v>-2.8568500000000001</c:v>
                </c:pt>
                <c:pt idx="1391">
                  <c:v>#N/A</c:v>
                </c:pt>
                <c:pt idx="1392">
                  <c:v>-3.0207799999999998</c:v>
                </c:pt>
                <c:pt idx="1393">
                  <c:v>-3.2485599999999999</c:v>
                </c:pt>
                <c:pt idx="1394">
                  <c:v>-4.1031899999999997</c:v>
                </c:pt>
                <c:pt idx="1395">
                  <c:v>#N/A</c:v>
                </c:pt>
                <c:pt idx="1396">
                  <c:v>-3.1817199999999999</c:v>
                </c:pt>
                <c:pt idx="1397">
                  <c:v>-3.2575799999999999</c:v>
                </c:pt>
                <c:pt idx="1398">
                  <c:v>-2.7006899999999998</c:v>
                </c:pt>
                <c:pt idx="1399">
                  <c:v>-2.5929000000000002</c:v>
                </c:pt>
                <c:pt idx="1400">
                  <c:v>#N/A</c:v>
                </c:pt>
                <c:pt idx="1401">
                  <c:v>-2.7734700000000001</c:v>
                </c:pt>
                <c:pt idx="1402">
                  <c:v>-2.79297</c:v>
                </c:pt>
                <c:pt idx="1403">
                  <c:v>-2.4915400000000001</c:v>
                </c:pt>
                <c:pt idx="1404">
                  <c:v>-3.2684500000000001</c:v>
                </c:pt>
                <c:pt idx="1405">
                  <c:v>#N/A</c:v>
                </c:pt>
                <c:pt idx="1406">
                  <c:v>-2.92306</c:v>
                </c:pt>
                <c:pt idx="1407">
                  <c:v>-3.14236</c:v>
                </c:pt>
                <c:pt idx="1408">
                  <c:v>-1.9190499999999999</c:v>
                </c:pt>
                <c:pt idx="1409">
                  <c:v>#N/A</c:v>
                </c:pt>
                <c:pt idx="1410">
                  <c:v>-2.3176800000000002</c:v>
                </c:pt>
                <c:pt idx="1411">
                  <c:v>-2.4110100000000001</c:v>
                </c:pt>
                <c:pt idx="1412">
                  <c:v>-2.6907800000000002</c:v>
                </c:pt>
                <c:pt idx="1413">
                  <c:v>-2.8182700000000001</c:v>
                </c:pt>
                <c:pt idx="1414">
                  <c:v>#N/A</c:v>
                </c:pt>
                <c:pt idx="1415">
                  <c:v>-2.8945500000000002</c:v>
                </c:pt>
                <c:pt idx="1416">
                  <c:v>-3.2669899999999998</c:v>
                </c:pt>
                <c:pt idx="1417">
                  <c:v>-2.86666</c:v>
                </c:pt>
                <c:pt idx="1418">
                  <c:v>#N/A</c:v>
                </c:pt>
                <c:pt idx="1419">
                  <c:v>-2.79914</c:v>
                </c:pt>
                <c:pt idx="1420">
                  <c:v>-2.0869399999999998</c:v>
                </c:pt>
                <c:pt idx="1421">
                  <c:v>-1.9111</c:v>
                </c:pt>
                <c:pt idx="1422">
                  <c:v>#N/A</c:v>
                </c:pt>
                <c:pt idx="1423">
                  <c:v>-2.0740400000000001</c:v>
                </c:pt>
                <c:pt idx="1424">
                  <c:v>-1.90689</c:v>
                </c:pt>
                <c:pt idx="1425">
                  <c:v>-2.07741</c:v>
                </c:pt>
                <c:pt idx="1426">
                  <c:v>-2.25116</c:v>
                </c:pt>
                <c:pt idx="1427">
                  <c:v>#N/A</c:v>
                </c:pt>
                <c:pt idx="1428">
                  <c:v>-2.0742699999999998</c:v>
                </c:pt>
                <c:pt idx="1429">
                  <c:v>-2.1134300000000001</c:v>
                </c:pt>
                <c:pt idx="1430">
                  <c:v>-1.83501</c:v>
                </c:pt>
                <c:pt idx="1431">
                  <c:v>-1.7935300000000001</c:v>
                </c:pt>
                <c:pt idx="1432">
                  <c:v>#N/A</c:v>
                </c:pt>
                <c:pt idx="1433">
                  <c:v>-1.92248</c:v>
                </c:pt>
                <c:pt idx="1434">
                  <c:v>-2.4409399999999999</c:v>
                </c:pt>
                <c:pt idx="1435">
                  <c:v>-2.8048000000000002</c:v>
                </c:pt>
                <c:pt idx="1436">
                  <c:v>#N/A</c:v>
                </c:pt>
                <c:pt idx="1437">
                  <c:v>-2.1376400000000002</c:v>
                </c:pt>
                <c:pt idx="1438">
                  <c:v>-1.8991400000000001</c:v>
                </c:pt>
                <c:pt idx="1439">
                  <c:v>-1.9296199999999999</c:v>
                </c:pt>
                <c:pt idx="1440">
                  <c:v>#N/A</c:v>
                </c:pt>
                <c:pt idx="1441">
                  <c:v>-1.9641500000000001</c:v>
                </c:pt>
                <c:pt idx="1442">
                  <c:v>-2.1041300000000001</c:v>
                </c:pt>
                <c:pt idx="1443">
                  <c:v>-1.77322</c:v>
                </c:pt>
                <c:pt idx="1444">
                  <c:v>#N/A</c:v>
                </c:pt>
                <c:pt idx="1445">
                  <c:v>-2.3699599999999998</c:v>
                </c:pt>
                <c:pt idx="1446">
                  <c:v>-2.81142</c:v>
                </c:pt>
                <c:pt idx="1447">
                  <c:v>-1.93615</c:v>
                </c:pt>
                <c:pt idx="1448">
                  <c:v>-2.2010999999999998</c:v>
                </c:pt>
                <c:pt idx="1449">
                  <c:v>#N/A</c:v>
                </c:pt>
                <c:pt idx="1450">
                  <c:v>-2.12513</c:v>
                </c:pt>
                <c:pt idx="1451">
                  <c:v>-2.1380400000000002</c:v>
                </c:pt>
                <c:pt idx="1452">
                  <c:v>-2.2632300000000001</c:v>
                </c:pt>
                <c:pt idx="1453">
                  <c:v>#N/A</c:v>
                </c:pt>
                <c:pt idx="1454">
                  <c:v>-2.80661</c:v>
                </c:pt>
                <c:pt idx="1455">
                  <c:v>-2.2970899999999999</c:v>
                </c:pt>
                <c:pt idx="1456">
                  <c:v>-2.4578600000000002</c:v>
                </c:pt>
                <c:pt idx="1457">
                  <c:v>-1.89638</c:v>
                </c:pt>
                <c:pt idx="1458">
                  <c:v>#N/A</c:v>
                </c:pt>
                <c:pt idx="1459">
                  <c:v>-2.4475600000000002</c:v>
                </c:pt>
                <c:pt idx="1460">
                  <c:v>-1.4427099999999999</c:v>
                </c:pt>
                <c:pt idx="1461">
                  <c:v>-1.6037600000000001</c:v>
                </c:pt>
                <c:pt idx="1462">
                  <c:v>-2.1316299999999999</c:v>
                </c:pt>
                <c:pt idx="1463">
                  <c:v>#N/A</c:v>
                </c:pt>
                <c:pt idx="1464">
                  <c:v>-2.4488400000000001</c:v>
                </c:pt>
                <c:pt idx="1465">
                  <c:v>-2.23509</c:v>
                </c:pt>
                <c:pt idx="1466">
                  <c:v>-2.2105700000000001</c:v>
                </c:pt>
                <c:pt idx="1467">
                  <c:v>#N/A</c:v>
                </c:pt>
                <c:pt idx="1468">
                  <c:v>-2.02596</c:v>
                </c:pt>
                <c:pt idx="1469">
                  <c:v>-1.9110799999999999</c:v>
                </c:pt>
                <c:pt idx="1470">
                  <c:v>-1.57115</c:v>
                </c:pt>
                <c:pt idx="1471">
                  <c:v>-2.18343</c:v>
                </c:pt>
                <c:pt idx="1472">
                  <c:v>#N/A</c:v>
                </c:pt>
                <c:pt idx="1473">
                  <c:v>-2.4952299999999998</c:v>
                </c:pt>
                <c:pt idx="1474">
                  <c:v>-2.4479799999999998</c:v>
                </c:pt>
                <c:pt idx="1475">
                  <c:v>-2.7178</c:v>
                </c:pt>
                <c:pt idx="1476">
                  <c:v>#N/A</c:v>
                </c:pt>
                <c:pt idx="1477">
                  <c:v>-1.9216299999999999</c:v>
                </c:pt>
                <c:pt idx="1478">
                  <c:v>-2.0345800000000001</c:v>
                </c:pt>
                <c:pt idx="1479">
                  <c:v>-2.0426799999999998</c:v>
                </c:pt>
                <c:pt idx="1480">
                  <c:v>#N/A</c:v>
                </c:pt>
                <c:pt idx="1481">
                  <c:v>-1.87923</c:v>
                </c:pt>
                <c:pt idx="1482">
                  <c:v>-1.81731</c:v>
                </c:pt>
                <c:pt idx="1483">
                  <c:v>-1.9381699999999999</c:v>
                </c:pt>
                <c:pt idx="1484">
                  <c:v>-1.9536100000000001</c:v>
                </c:pt>
                <c:pt idx="1485">
                  <c:v>#N/A</c:v>
                </c:pt>
                <c:pt idx="1486">
                  <c:v>-2.3789899999999999</c:v>
                </c:pt>
                <c:pt idx="1487">
                  <c:v>-2.1796199999999999</c:v>
                </c:pt>
                <c:pt idx="1488">
                  <c:v>-1.9098999999999999</c:v>
                </c:pt>
                <c:pt idx="1489">
                  <c:v>#N/A</c:v>
                </c:pt>
                <c:pt idx="1490">
                  <c:v>-2.2391899999999998</c:v>
                </c:pt>
                <c:pt idx="1491">
                  <c:v>-2.11538</c:v>
                </c:pt>
                <c:pt idx="1492">
                  <c:v>-2.3803800000000002</c:v>
                </c:pt>
                <c:pt idx="1493">
                  <c:v>-2.3467199999999999</c:v>
                </c:pt>
                <c:pt idx="1494">
                  <c:v>#N/A</c:v>
                </c:pt>
                <c:pt idx="1495">
                  <c:v>-2.2674400000000001</c:v>
                </c:pt>
                <c:pt idx="1496">
                  <c:v>-2.3968099999999999</c:v>
                </c:pt>
                <c:pt idx="1497">
                  <c:v>-2.32552</c:v>
                </c:pt>
                <c:pt idx="1498">
                  <c:v>#N/A</c:v>
                </c:pt>
                <c:pt idx="1499">
                  <c:v>-2.3755099999999998</c:v>
                </c:pt>
                <c:pt idx="1500">
                  <c:v>-1.9679800000000001</c:v>
                </c:pt>
                <c:pt idx="1501">
                  <c:v>-1.67378</c:v>
                </c:pt>
                <c:pt idx="1502">
                  <c:v>-2.4107699999999999</c:v>
                </c:pt>
                <c:pt idx="1503">
                  <c:v>#N/A</c:v>
                </c:pt>
                <c:pt idx="1504">
                  <c:v>-1.80596</c:v>
                </c:pt>
                <c:pt idx="1505">
                  <c:v>-2.15612</c:v>
                </c:pt>
                <c:pt idx="1506">
                  <c:v>-2.0712299999999999</c:v>
                </c:pt>
                <c:pt idx="1507">
                  <c:v>#N/A</c:v>
                </c:pt>
                <c:pt idx="1508">
                  <c:v>-2.65171</c:v>
                </c:pt>
                <c:pt idx="1509">
                  <c:v>-2.3114599999999998</c:v>
                </c:pt>
                <c:pt idx="1510">
                  <c:v>-2.0157400000000001</c:v>
                </c:pt>
                <c:pt idx="1511">
                  <c:v>#N/A</c:v>
                </c:pt>
                <c:pt idx="1512">
                  <c:v>-2.47858</c:v>
                </c:pt>
                <c:pt idx="1513">
                  <c:v>-2.4700199999999999</c:v>
                </c:pt>
                <c:pt idx="1514">
                  <c:v>-2.3229600000000001</c:v>
                </c:pt>
                <c:pt idx="1515">
                  <c:v>#N/A</c:v>
                </c:pt>
                <c:pt idx="1516">
                  <c:v>-2.3093699999999999</c:v>
                </c:pt>
                <c:pt idx="1517">
                  <c:v>-2.6730999999999998</c:v>
                </c:pt>
                <c:pt idx="1518">
                  <c:v>-2.3917799999999998</c:v>
                </c:pt>
                <c:pt idx="1519">
                  <c:v>#N/A</c:v>
                </c:pt>
                <c:pt idx="1520">
                  <c:v>-1.81233</c:v>
                </c:pt>
                <c:pt idx="1521">
                  <c:v>-2.0346000000000002</c:v>
                </c:pt>
                <c:pt idx="1522">
                  <c:v>-1.69679</c:v>
                </c:pt>
                <c:pt idx="1523">
                  <c:v>-1.79382</c:v>
                </c:pt>
                <c:pt idx="1524">
                  <c:v>#N/A</c:v>
                </c:pt>
                <c:pt idx="1525">
                  <c:v>-1.75989</c:v>
                </c:pt>
                <c:pt idx="1526">
                  <c:v>-1.99081</c:v>
                </c:pt>
                <c:pt idx="1527">
                  <c:v>-2.0115099999999999</c:v>
                </c:pt>
                <c:pt idx="1528">
                  <c:v>#N/A</c:v>
                </c:pt>
                <c:pt idx="1529">
                  <c:v>-1.81013</c:v>
                </c:pt>
                <c:pt idx="1530">
                  <c:v>#N/A</c:v>
                </c:pt>
                <c:pt idx="1531">
                  <c:v>-1.64602</c:v>
                </c:pt>
                <c:pt idx="1532">
                  <c:v>-2.0968200000000001</c:v>
                </c:pt>
                <c:pt idx="1533">
                  <c:v>-2.2170999999999998</c:v>
                </c:pt>
                <c:pt idx="1534">
                  <c:v>#N/A</c:v>
                </c:pt>
                <c:pt idx="1535">
                  <c:v>-2.4474300000000002</c:v>
                </c:pt>
                <c:pt idx="1536">
                  <c:v>-1.82847</c:v>
                </c:pt>
                <c:pt idx="1537">
                  <c:v>-2.3306200000000001</c:v>
                </c:pt>
                <c:pt idx="1538">
                  <c:v>#N/A</c:v>
                </c:pt>
                <c:pt idx="1539">
                  <c:v>-1.99316</c:v>
                </c:pt>
                <c:pt idx="1540">
                  <c:v>-1.5896300000000001</c:v>
                </c:pt>
                <c:pt idx="1541">
                  <c:v>-1.72567</c:v>
                </c:pt>
                <c:pt idx="1542">
                  <c:v>-1.8607199999999999</c:v>
                </c:pt>
                <c:pt idx="1543">
                  <c:v>#N/A</c:v>
                </c:pt>
                <c:pt idx="1544">
                  <c:v>-2.0123600000000001</c:v>
                </c:pt>
                <c:pt idx="1545">
                  <c:v>-1.92367</c:v>
                </c:pt>
                <c:pt idx="1546">
                  <c:v>-1.80847</c:v>
                </c:pt>
                <c:pt idx="1547">
                  <c:v>#N/A</c:v>
                </c:pt>
                <c:pt idx="1548">
                  <c:v>-2.1050200000000001</c:v>
                </c:pt>
                <c:pt idx="1549">
                  <c:v>-1.8255699999999999</c:v>
                </c:pt>
                <c:pt idx="1550">
                  <c:v>-1.8567499999999999</c:v>
                </c:pt>
                <c:pt idx="1551">
                  <c:v>#N/A</c:v>
                </c:pt>
                <c:pt idx="1552">
                  <c:v>-2.2312400000000001</c:v>
                </c:pt>
                <c:pt idx="1553">
                  <c:v>-2.3162400000000001</c:v>
                </c:pt>
                <c:pt idx="1554">
                  <c:v>-2.4428299999999998</c:v>
                </c:pt>
                <c:pt idx="1555">
                  <c:v>-2.7719100000000001</c:v>
                </c:pt>
                <c:pt idx="1556">
                  <c:v>#N/A</c:v>
                </c:pt>
                <c:pt idx="1557">
                  <c:v>-2.3891200000000001</c:v>
                </c:pt>
                <c:pt idx="1558">
                  <c:v>-1.6989300000000001</c:v>
                </c:pt>
                <c:pt idx="1559">
                  <c:v>-1.7157800000000001</c:v>
                </c:pt>
                <c:pt idx="1560">
                  <c:v>-1.9293499999999999</c:v>
                </c:pt>
                <c:pt idx="1561">
                  <c:v>#N/A</c:v>
                </c:pt>
                <c:pt idx="1562">
                  <c:v>-2.20485</c:v>
                </c:pt>
                <c:pt idx="1563">
                  <c:v>-1.76278</c:v>
                </c:pt>
                <c:pt idx="1564">
                  <c:v>-2.1671900000000002</c:v>
                </c:pt>
                <c:pt idx="1565">
                  <c:v>#N/A</c:v>
                </c:pt>
                <c:pt idx="1566">
                  <c:v>-2.02528</c:v>
                </c:pt>
                <c:pt idx="1567">
                  <c:v>-2.0172599999999998</c:v>
                </c:pt>
                <c:pt idx="1568">
                  <c:v>-1.7773699999999999</c:v>
                </c:pt>
                <c:pt idx="1569">
                  <c:v>#N/A</c:v>
                </c:pt>
                <c:pt idx="1570">
                  <c:v>-2.1458400000000002</c:v>
                </c:pt>
                <c:pt idx="1571">
                  <c:v>-2.1354199999999999</c:v>
                </c:pt>
                <c:pt idx="1572">
                  <c:v>-2.2631899999999998</c:v>
                </c:pt>
                <c:pt idx="1573">
                  <c:v>#N/A</c:v>
                </c:pt>
                <c:pt idx="1574">
                  <c:v>-2.2427000000000001</c:v>
                </c:pt>
                <c:pt idx="1575">
                  <c:v>-1.8289200000000001</c:v>
                </c:pt>
                <c:pt idx="1576">
                  <c:v>-1.6479900000000001</c:v>
                </c:pt>
                <c:pt idx="1577">
                  <c:v>-1.9659199999999999</c:v>
                </c:pt>
                <c:pt idx="1578">
                  <c:v>#N/A</c:v>
                </c:pt>
                <c:pt idx="1579">
                  <c:v>-2.1615099999999998</c:v>
                </c:pt>
                <c:pt idx="1580">
                  <c:v>-1.7149799999999999</c:v>
                </c:pt>
                <c:pt idx="1581">
                  <c:v>-1.59311</c:v>
                </c:pt>
                <c:pt idx="1582">
                  <c:v>#N/A</c:v>
                </c:pt>
                <c:pt idx="1583">
                  <c:v>-1.8066199999999999</c:v>
                </c:pt>
                <c:pt idx="1584">
                  <c:v>-2.2225199999999998</c:v>
                </c:pt>
                <c:pt idx="1585">
                  <c:v>-2.2367699999999999</c:v>
                </c:pt>
                <c:pt idx="1586">
                  <c:v>-2.3218999999999999</c:v>
                </c:pt>
                <c:pt idx="1587">
                  <c:v>#N/A</c:v>
                </c:pt>
                <c:pt idx="1588">
                  <c:v>-2.2848999999999999</c:v>
                </c:pt>
                <c:pt idx="1589">
                  <c:v>-2.0893099999999998</c:v>
                </c:pt>
                <c:pt idx="1590">
                  <c:v>-2.4046599999999998</c:v>
                </c:pt>
                <c:pt idx="1591">
                  <c:v>-2.18336</c:v>
                </c:pt>
                <c:pt idx="1592">
                  <c:v>#N/A</c:v>
                </c:pt>
                <c:pt idx="1593">
                  <c:v>-2.5468099999999998</c:v>
                </c:pt>
                <c:pt idx="1594">
                  <c:v>-2.8664000000000001</c:v>
                </c:pt>
                <c:pt idx="1595">
                  <c:v>-2.7128399999999999</c:v>
                </c:pt>
                <c:pt idx="1596">
                  <c:v>#N/A</c:v>
                </c:pt>
                <c:pt idx="1597">
                  <c:v>-1.8621799999999999</c:v>
                </c:pt>
                <c:pt idx="1598">
                  <c:v>-1.8933800000000001</c:v>
                </c:pt>
                <c:pt idx="1599">
                  <c:v>#N/A</c:v>
                </c:pt>
                <c:pt idx="1600">
                  <c:v>-1.6163099999999999</c:v>
                </c:pt>
                <c:pt idx="1601">
                  <c:v>-1.8559699999999999</c:v>
                </c:pt>
                <c:pt idx="1602">
                  <c:v>#N/A</c:v>
                </c:pt>
                <c:pt idx="1603">
                  <c:v>-1.9203699999999999</c:v>
                </c:pt>
                <c:pt idx="1604">
                  <c:v>-1.8616699999999999</c:v>
                </c:pt>
                <c:pt idx="1605">
                  <c:v>#N/A</c:v>
                </c:pt>
                <c:pt idx="1606">
                  <c:v>-2.2343600000000001</c:v>
                </c:pt>
                <c:pt idx="1607">
                  <c:v>-2.2123499999999998</c:v>
                </c:pt>
                <c:pt idx="1608">
                  <c:v>-2.1849699999999999</c:v>
                </c:pt>
                <c:pt idx="1609">
                  <c:v>#N/A</c:v>
                </c:pt>
                <c:pt idx="1610">
                  <c:v>-1.9632799999999999</c:v>
                </c:pt>
                <c:pt idx="1611">
                  <c:v>-1.8715200000000001</c:v>
                </c:pt>
                <c:pt idx="1612">
                  <c:v>-2.4674499999999999</c:v>
                </c:pt>
                <c:pt idx="1613">
                  <c:v>-2.4938099999999999</c:v>
                </c:pt>
                <c:pt idx="1614">
                  <c:v>#N/A</c:v>
                </c:pt>
                <c:pt idx="1615">
                  <c:v>-2.7945700000000002</c:v>
                </c:pt>
                <c:pt idx="1616">
                  <c:v>-2.3524500000000002</c:v>
                </c:pt>
                <c:pt idx="1617">
                  <c:v>-2.3480699999999999</c:v>
                </c:pt>
                <c:pt idx="1618">
                  <c:v>-2.2039200000000001</c:v>
                </c:pt>
                <c:pt idx="1619">
                  <c:v>#N/A</c:v>
                </c:pt>
                <c:pt idx="1620">
                  <c:v>-1.6182700000000001</c:v>
                </c:pt>
                <c:pt idx="1621">
                  <c:v>-1.5471200000000001</c:v>
                </c:pt>
                <c:pt idx="1622">
                  <c:v>-1.7748900000000001</c:v>
                </c:pt>
                <c:pt idx="1623">
                  <c:v>#N/A</c:v>
                </c:pt>
                <c:pt idx="1624">
                  <c:v>-2.4597099999999998</c:v>
                </c:pt>
                <c:pt idx="1625">
                  <c:v>-2.26085</c:v>
                </c:pt>
                <c:pt idx="1626">
                  <c:v>-2.2294200000000002</c:v>
                </c:pt>
                <c:pt idx="1627">
                  <c:v>#N/A</c:v>
                </c:pt>
                <c:pt idx="1628">
                  <c:v>-2.0067300000000001</c:v>
                </c:pt>
                <c:pt idx="1629">
                  <c:v>-2.0913599999999999</c:v>
                </c:pt>
                <c:pt idx="1630">
                  <c:v>-2.1005400000000001</c:v>
                </c:pt>
                <c:pt idx="1631">
                  <c:v>#N/A</c:v>
                </c:pt>
                <c:pt idx="1632">
                  <c:v>-2.2866399999999998</c:v>
                </c:pt>
                <c:pt idx="1633">
                  <c:v>-2.5699900000000002</c:v>
                </c:pt>
                <c:pt idx="1634">
                  <c:v>-1.8152699999999999</c:v>
                </c:pt>
                <c:pt idx="1635">
                  <c:v>-2.42313</c:v>
                </c:pt>
                <c:pt idx="1636">
                  <c:v>#N/A</c:v>
                </c:pt>
                <c:pt idx="1637">
                  <c:v>-2.4455399999999998</c:v>
                </c:pt>
                <c:pt idx="1638">
                  <c:v>-2.21577</c:v>
                </c:pt>
                <c:pt idx="1639">
                  <c:v>-1.7067000000000001</c:v>
                </c:pt>
                <c:pt idx="1640">
                  <c:v>#N/A</c:v>
                </c:pt>
                <c:pt idx="1641">
                  <c:v>-1.42879</c:v>
                </c:pt>
                <c:pt idx="1642">
                  <c:v>-1.78447</c:v>
                </c:pt>
                <c:pt idx="1643">
                  <c:v>-1.85466</c:v>
                </c:pt>
                <c:pt idx="1644">
                  <c:v>-1.78234</c:v>
                </c:pt>
                <c:pt idx="1645">
                  <c:v>#N/A</c:v>
                </c:pt>
                <c:pt idx="1646">
                  <c:v>-2.2504200000000001</c:v>
                </c:pt>
                <c:pt idx="1647">
                  <c:v>-2.1758999999999999</c:v>
                </c:pt>
                <c:pt idx="1648">
                  <c:v>-2.1878700000000002</c:v>
                </c:pt>
                <c:pt idx="1649">
                  <c:v>#N/A</c:v>
                </c:pt>
                <c:pt idx="1650">
                  <c:v>-1.6843399999999999</c:v>
                </c:pt>
                <c:pt idx="1651">
                  <c:v>-1.9487300000000001</c:v>
                </c:pt>
                <c:pt idx="1652">
                  <c:v>-2.1967400000000001</c:v>
                </c:pt>
                <c:pt idx="1653">
                  <c:v>-2.4785699999999999</c:v>
                </c:pt>
                <c:pt idx="1654">
                  <c:v>#N/A</c:v>
                </c:pt>
                <c:pt idx="1655">
                  <c:v>-2.5888</c:v>
                </c:pt>
                <c:pt idx="1656">
                  <c:v>-1.70486</c:v>
                </c:pt>
                <c:pt idx="1657">
                  <c:v>-2.1294</c:v>
                </c:pt>
                <c:pt idx="1658">
                  <c:v>#N/A</c:v>
                </c:pt>
                <c:pt idx="1659">
                  <c:v>-1.82416</c:v>
                </c:pt>
                <c:pt idx="1660">
                  <c:v>-1.9522600000000001</c:v>
                </c:pt>
                <c:pt idx="1661">
                  <c:v>-2.01322</c:v>
                </c:pt>
                <c:pt idx="1662">
                  <c:v>-2.11774</c:v>
                </c:pt>
                <c:pt idx="1663">
                  <c:v>#N/A</c:v>
                </c:pt>
                <c:pt idx="1664">
                  <c:v>-2.20594</c:v>
                </c:pt>
                <c:pt idx="1665">
                  <c:v>-2.12371</c:v>
                </c:pt>
                <c:pt idx="1666">
                  <c:v>-1.5882499999999999</c:v>
                </c:pt>
                <c:pt idx="1667">
                  <c:v>#N/A</c:v>
                </c:pt>
                <c:pt idx="1668">
                  <c:v>-1.97603</c:v>
                </c:pt>
                <c:pt idx="1669">
                  <c:v>-1.9049100000000001</c:v>
                </c:pt>
                <c:pt idx="1670">
                  <c:v>-2.1213799999999998</c:v>
                </c:pt>
                <c:pt idx="1671">
                  <c:v>#N/A</c:v>
                </c:pt>
                <c:pt idx="1672">
                  <c:v>-2.1385100000000001</c:v>
                </c:pt>
                <c:pt idx="1673">
                  <c:v>#N/A</c:v>
                </c:pt>
                <c:pt idx="1674">
                  <c:v>-2.0405099999999998</c:v>
                </c:pt>
                <c:pt idx="1675">
                  <c:v>-2.5500500000000001</c:v>
                </c:pt>
                <c:pt idx="1676">
                  <c:v>-2.4908700000000001</c:v>
                </c:pt>
                <c:pt idx="1677">
                  <c:v>#N/A</c:v>
                </c:pt>
                <c:pt idx="1678">
                  <c:v>-1.78878</c:v>
                </c:pt>
                <c:pt idx="1679">
                  <c:v>-1.97098</c:v>
                </c:pt>
                <c:pt idx="1680">
                  <c:v>-1.9356800000000001</c:v>
                </c:pt>
                <c:pt idx="1681">
                  <c:v>-2.2638699999999998</c:v>
                </c:pt>
                <c:pt idx="1682">
                  <c:v>#N/A</c:v>
                </c:pt>
                <c:pt idx="1683">
                  <c:v>-1.7791600000000001</c:v>
                </c:pt>
                <c:pt idx="1684">
                  <c:v>-2.3338700000000001</c:v>
                </c:pt>
                <c:pt idx="1685">
                  <c:v>-1.9970600000000001</c:v>
                </c:pt>
                <c:pt idx="1686">
                  <c:v>#N/A</c:v>
                </c:pt>
                <c:pt idx="1687">
                  <c:v>-2.4185099999999999</c:v>
                </c:pt>
                <c:pt idx="1688">
                  <c:v>-2.2609900000000001</c:v>
                </c:pt>
                <c:pt idx="1689">
                  <c:v>-2.1611600000000002</c:v>
                </c:pt>
                <c:pt idx="1690">
                  <c:v>#N/A</c:v>
                </c:pt>
                <c:pt idx="1691">
                  <c:v>-2.2526899999999999</c:v>
                </c:pt>
                <c:pt idx="1692">
                  <c:v>-2.1064400000000001</c:v>
                </c:pt>
                <c:pt idx="1693">
                  <c:v>-2.6145700000000001</c:v>
                </c:pt>
                <c:pt idx="1694">
                  <c:v>-2.5946099999999999</c:v>
                </c:pt>
                <c:pt idx="1695">
                  <c:v>#N/A</c:v>
                </c:pt>
                <c:pt idx="1696">
                  <c:v>-2.65293</c:v>
                </c:pt>
                <c:pt idx="1697">
                  <c:v>-2.3000500000000001</c:v>
                </c:pt>
                <c:pt idx="1698">
                  <c:v>-2.4130699999999998</c:v>
                </c:pt>
                <c:pt idx="1699">
                  <c:v>#N/A</c:v>
                </c:pt>
                <c:pt idx="1700">
                  <c:v>-1.75424</c:v>
                </c:pt>
                <c:pt idx="1701">
                  <c:v>-1.6720699999999999</c:v>
                </c:pt>
                <c:pt idx="1702">
                  <c:v>-2.20628</c:v>
                </c:pt>
                <c:pt idx="1703">
                  <c:v>-2.5230800000000002</c:v>
                </c:pt>
                <c:pt idx="1704">
                  <c:v>#N/A</c:v>
                </c:pt>
                <c:pt idx="1705">
                  <c:v>-2.3666100000000001</c:v>
                </c:pt>
                <c:pt idx="1706">
                  <c:v>-2.24525</c:v>
                </c:pt>
                <c:pt idx="1707">
                  <c:v>-2.12609</c:v>
                </c:pt>
                <c:pt idx="1708">
                  <c:v>-2.07857</c:v>
                </c:pt>
                <c:pt idx="1709">
                  <c:v>#N/A</c:v>
                </c:pt>
                <c:pt idx="1710">
                  <c:v>-1.94879</c:v>
                </c:pt>
                <c:pt idx="1711">
                  <c:v>-2.1969699999999999</c:v>
                </c:pt>
                <c:pt idx="1712">
                  <c:v>-2.07138</c:v>
                </c:pt>
                <c:pt idx="1713">
                  <c:v>#N/A</c:v>
                </c:pt>
                <c:pt idx="1714">
                  <c:v>-2.3658000000000001</c:v>
                </c:pt>
                <c:pt idx="1715">
                  <c:v>-2.2995100000000002</c:v>
                </c:pt>
                <c:pt idx="1716">
                  <c:v>-2.2243599999999999</c:v>
                </c:pt>
                <c:pt idx="1717">
                  <c:v>#N/A</c:v>
                </c:pt>
                <c:pt idx="1718">
                  <c:v>-1.9539599999999999</c:v>
                </c:pt>
                <c:pt idx="1719">
                  <c:v>-1.64791</c:v>
                </c:pt>
                <c:pt idx="1720">
                  <c:v>-1.95356</c:v>
                </c:pt>
                <c:pt idx="1721">
                  <c:v>-1.76383</c:v>
                </c:pt>
                <c:pt idx="1722">
                  <c:v>#N/A</c:v>
                </c:pt>
                <c:pt idx="1723">
                  <c:v>-1.9277200000000001</c:v>
                </c:pt>
                <c:pt idx="1724">
                  <c:v>-2.1175000000000002</c:v>
                </c:pt>
                <c:pt idx="1725">
                  <c:v>-2.60202</c:v>
                </c:pt>
                <c:pt idx="1726">
                  <c:v>#N/A</c:v>
                </c:pt>
                <c:pt idx="1727">
                  <c:v>-2.4665699999999999</c:v>
                </c:pt>
                <c:pt idx="1728">
                  <c:v>-1.9846600000000001</c:v>
                </c:pt>
                <c:pt idx="1729">
                  <c:v>-2.0571700000000002</c:v>
                </c:pt>
                <c:pt idx="1730">
                  <c:v>-1.9356500000000001</c:v>
                </c:pt>
                <c:pt idx="1731">
                  <c:v>#N/A</c:v>
                </c:pt>
                <c:pt idx="1732">
                  <c:v>-2.1111599999999999</c:v>
                </c:pt>
                <c:pt idx="1733">
                  <c:v>-2.4308900000000002</c:v>
                </c:pt>
                <c:pt idx="1734">
                  <c:v>-2.5038999999999998</c:v>
                </c:pt>
                <c:pt idx="1735">
                  <c:v>#N/A</c:v>
                </c:pt>
                <c:pt idx="1736">
                  <c:v>-1.9125799999999999</c:v>
                </c:pt>
                <c:pt idx="1737">
                  <c:v>-1.91658</c:v>
                </c:pt>
                <c:pt idx="1738">
                  <c:v>-1.8835200000000001</c:v>
                </c:pt>
                <c:pt idx="1739">
                  <c:v>-1.8782700000000001</c:v>
                </c:pt>
                <c:pt idx="1740">
                  <c:v>#N/A</c:v>
                </c:pt>
                <c:pt idx="1741">
                  <c:v>-1.9540900000000001</c:v>
                </c:pt>
                <c:pt idx="1742">
                  <c:v>-2.12426</c:v>
                </c:pt>
                <c:pt idx="1743">
                  <c:v>-2.3511199999999999</c:v>
                </c:pt>
                <c:pt idx="1744">
                  <c:v>#N/A</c:v>
                </c:pt>
                <c:pt idx="1745">
                  <c:v>-1.6316299999999999</c:v>
                </c:pt>
                <c:pt idx="1746">
                  <c:v>-1.79623</c:v>
                </c:pt>
                <c:pt idx="1747">
                  <c:v>-1.9112</c:v>
                </c:pt>
                <c:pt idx="1748">
                  <c:v>#N/A</c:v>
                </c:pt>
                <c:pt idx="1749">
                  <c:v>-2.1783700000000001</c:v>
                </c:pt>
                <c:pt idx="1750">
                  <c:v>-2.19068</c:v>
                </c:pt>
                <c:pt idx="1751">
                  <c:v>-2.3197199999999998</c:v>
                </c:pt>
                <c:pt idx="1752">
                  <c:v>#N/A</c:v>
                </c:pt>
                <c:pt idx="1753">
                  <c:v>-2.5749399999999998</c:v>
                </c:pt>
                <c:pt idx="1754">
                  <c:v>-1.99292</c:v>
                </c:pt>
                <c:pt idx="1755">
                  <c:v>-2.13558</c:v>
                </c:pt>
                <c:pt idx="1756">
                  <c:v>#N/A</c:v>
                </c:pt>
                <c:pt idx="1757">
                  <c:v>-1.6528499999999999</c:v>
                </c:pt>
                <c:pt idx="1758">
                  <c:v>-2.27346</c:v>
                </c:pt>
                <c:pt idx="1759">
                  <c:v>-1.32575</c:v>
                </c:pt>
                <c:pt idx="1760">
                  <c:v>#N/A</c:v>
                </c:pt>
                <c:pt idx="1761">
                  <c:v>-1.4957</c:v>
                </c:pt>
                <c:pt idx="1762">
                  <c:v>-1.9126799999999999</c:v>
                </c:pt>
                <c:pt idx="1763">
                  <c:v>-1.7795000000000001</c:v>
                </c:pt>
                <c:pt idx="1764">
                  <c:v>-2.01017</c:v>
                </c:pt>
                <c:pt idx="1765">
                  <c:v>#N/A</c:v>
                </c:pt>
                <c:pt idx="1766">
                  <c:v>-2.03945</c:v>
                </c:pt>
                <c:pt idx="1767">
                  <c:v>-1.9725900000000001</c:v>
                </c:pt>
                <c:pt idx="1768">
                  <c:v>-1.88937</c:v>
                </c:pt>
                <c:pt idx="1769">
                  <c:v>#N/A</c:v>
                </c:pt>
                <c:pt idx="1770">
                  <c:v>-1.8726100000000001</c:v>
                </c:pt>
                <c:pt idx="1771">
                  <c:v>-2.1736</c:v>
                </c:pt>
                <c:pt idx="1772">
                  <c:v>-1.9467699999999999</c:v>
                </c:pt>
                <c:pt idx="1773">
                  <c:v>-2.18283</c:v>
                </c:pt>
                <c:pt idx="1774">
                  <c:v>#N/A</c:v>
                </c:pt>
                <c:pt idx="1775">
                  <c:v>-1.9211800000000001</c:v>
                </c:pt>
                <c:pt idx="1776">
                  <c:v>-1.6295500000000001</c:v>
                </c:pt>
                <c:pt idx="1777">
                  <c:v>-1.49339</c:v>
                </c:pt>
                <c:pt idx="1778">
                  <c:v>#N/A</c:v>
                </c:pt>
                <c:pt idx="1779">
                  <c:v>-1.75542</c:v>
                </c:pt>
                <c:pt idx="1780">
                  <c:v>-1.51014</c:v>
                </c:pt>
                <c:pt idx="1781">
                  <c:v>-1.36998</c:v>
                </c:pt>
                <c:pt idx="1782">
                  <c:v>-1.42641</c:v>
                </c:pt>
                <c:pt idx="1783">
                  <c:v>#N/A</c:v>
                </c:pt>
                <c:pt idx="1784">
                  <c:v>-1.7848200000000001</c:v>
                </c:pt>
                <c:pt idx="1785">
                  <c:v>-1.98448</c:v>
                </c:pt>
                <c:pt idx="1786">
                  <c:v>-1.81511</c:v>
                </c:pt>
                <c:pt idx="1787">
                  <c:v>#N/A</c:v>
                </c:pt>
                <c:pt idx="1788">
                  <c:v>-1.86036</c:v>
                </c:pt>
                <c:pt idx="1789">
                  <c:v>-2.00102</c:v>
                </c:pt>
                <c:pt idx="1790">
                  <c:v>-1.4315100000000001</c:v>
                </c:pt>
                <c:pt idx="1791">
                  <c:v>#N/A</c:v>
                </c:pt>
                <c:pt idx="1792">
                  <c:v>-1.81989</c:v>
                </c:pt>
                <c:pt idx="1793">
                  <c:v>-2.2692999999999999</c:v>
                </c:pt>
                <c:pt idx="1794">
                  <c:v>-2.1197599999999999</c:v>
                </c:pt>
                <c:pt idx="1795">
                  <c:v>-2.5672600000000001</c:v>
                </c:pt>
                <c:pt idx="1796">
                  <c:v>#N/A</c:v>
                </c:pt>
                <c:pt idx="1797">
                  <c:v>-2.66581</c:v>
                </c:pt>
                <c:pt idx="1798">
                  <c:v>-2.02684</c:v>
                </c:pt>
                <c:pt idx="1799">
                  <c:v>-1.8955299999999999</c:v>
                </c:pt>
                <c:pt idx="1800">
                  <c:v>#N/A</c:v>
                </c:pt>
                <c:pt idx="1801">
                  <c:v>-1.57151</c:v>
                </c:pt>
                <c:pt idx="1802">
                  <c:v>#N/A</c:v>
                </c:pt>
                <c:pt idx="1803">
                  <c:v>-2.0681799999999999</c:v>
                </c:pt>
                <c:pt idx="1804">
                  <c:v>-1.83063</c:v>
                </c:pt>
                <c:pt idx="1805">
                  <c:v>-2.0462699999999998</c:v>
                </c:pt>
                <c:pt idx="1806">
                  <c:v>-2.0643500000000001</c:v>
                </c:pt>
                <c:pt idx="1807">
                  <c:v>#N/A</c:v>
                </c:pt>
                <c:pt idx="1808">
                  <c:v>-2.43357</c:v>
                </c:pt>
                <c:pt idx="1809">
                  <c:v>-2.3256700000000001</c:v>
                </c:pt>
                <c:pt idx="1810">
                  <c:v>-1.8368</c:v>
                </c:pt>
                <c:pt idx="1811">
                  <c:v>#N/A</c:v>
                </c:pt>
                <c:pt idx="1812">
                  <c:v>-2.14425</c:v>
                </c:pt>
                <c:pt idx="1813">
                  <c:v>-2.3614199999999999</c:v>
                </c:pt>
                <c:pt idx="1814">
                  <c:v>#N/A</c:v>
                </c:pt>
                <c:pt idx="1815">
                  <c:v>-1.6919999999999999</c:v>
                </c:pt>
                <c:pt idx="1816">
                  <c:v>-2.1352699999999998</c:v>
                </c:pt>
                <c:pt idx="1817">
                  <c:v>#N/A</c:v>
                </c:pt>
                <c:pt idx="1818">
                  <c:v>-1.80043</c:v>
                </c:pt>
                <c:pt idx="1819">
                  <c:v>-1.4420299999999999</c:v>
                </c:pt>
                <c:pt idx="1820">
                  <c:v>#N/A</c:v>
                </c:pt>
                <c:pt idx="1821">
                  <c:v>-1.3843399999999999</c:v>
                </c:pt>
                <c:pt idx="1822">
                  <c:v>-2.0964900000000002</c:v>
                </c:pt>
                <c:pt idx="1823">
                  <c:v>-2.0345800000000001</c:v>
                </c:pt>
                <c:pt idx="1824">
                  <c:v>#N/A</c:v>
                </c:pt>
                <c:pt idx="1825">
                  <c:v>-1.56802</c:v>
                </c:pt>
                <c:pt idx="1826">
                  <c:v>-1.92378</c:v>
                </c:pt>
                <c:pt idx="1827">
                  <c:v>-1.87845</c:v>
                </c:pt>
                <c:pt idx="1828">
                  <c:v>-1.68588</c:v>
                </c:pt>
                <c:pt idx="1829">
                  <c:v>#N/A</c:v>
                </c:pt>
                <c:pt idx="1830">
                  <c:v>-1.6168100000000001</c:v>
                </c:pt>
                <c:pt idx="1831">
                  <c:v>-2.2401800000000001</c:v>
                </c:pt>
                <c:pt idx="1832">
                  <c:v>-2.4235600000000002</c:v>
                </c:pt>
                <c:pt idx="1833">
                  <c:v>#N/A</c:v>
                </c:pt>
                <c:pt idx="1834">
                  <c:v>-1.91683</c:v>
                </c:pt>
                <c:pt idx="1835">
                  <c:v>-1.92923</c:v>
                </c:pt>
                <c:pt idx="1836">
                  <c:v>-1.9146700000000001</c:v>
                </c:pt>
                <c:pt idx="1837">
                  <c:v>#N/A</c:v>
                </c:pt>
                <c:pt idx="1838">
                  <c:v>-1.52786</c:v>
                </c:pt>
                <c:pt idx="1839">
                  <c:v>-1.5507299999999999</c:v>
                </c:pt>
                <c:pt idx="1840">
                  <c:v>-1.8287</c:v>
                </c:pt>
                <c:pt idx="1841">
                  <c:v>-2.2349299999999999</c:v>
                </c:pt>
                <c:pt idx="1842">
                  <c:v>#N/A</c:v>
                </c:pt>
                <c:pt idx="1843">
                  <c:v>-1.8434699999999999</c:v>
                </c:pt>
                <c:pt idx="1844">
                  <c:v>-1.6069899999999999</c:v>
                </c:pt>
                <c:pt idx="1845">
                  <c:v>-2.02</c:v>
                </c:pt>
                <c:pt idx="1846">
                  <c:v>#N/A</c:v>
                </c:pt>
                <c:pt idx="1847">
                  <c:v>-1.6638200000000001</c:v>
                </c:pt>
                <c:pt idx="1848">
                  <c:v>-1.9923599999999999</c:v>
                </c:pt>
                <c:pt idx="1849">
                  <c:v>-1.7573000000000001</c:v>
                </c:pt>
                <c:pt idx="1850">
                  <c:v>#N/A</c:v>
                </c:pt>
                <c:pt idx="1851">
                  <c:v>-1.82314</c:v>
                </c:pt>
                <c:pt idx="1852">
                  <c:v>-1.69896</c:v>
                </c:pt>
                <c:pt idx="1853">
                  <c:v>-2.2626400000000002</c:v>
                </c:pt>
                <c:pt idx="1854">
                  <c:v>-2.11029</c:v>
                </c:pt>
                <c:pt idx="1855">
                  <c:v>#N/A</c:v>
                </c:pt>
                <c:pt idx="1856">
                  <c:v>-2.3072699999999999</c:v>
                </c:pt>
                <c:pt idx="1857">
                  <c:v>-1.62744</c:v>
                </c:pt>
                <c:pt idx="1858">
                  <c:v>-1.80636</c:v>
                </c:pt>
                <c:pt idx="1859">
                  <c:v>#N/A</c:v>
                </c:pt>
                <c:pt idx="1860">
                  <c:v>-1.62687</c:v>
                </c:pt>
                <c:pt idx="1861">
                  <c:v>-1.53691</c:v>
                </c:pt>
                <c:pt idx="1862">
                  <c:v>-1.93845</c:v>
                </c:pt>
                <c:pt idx="1863">
                  <c:v>-2.1469900000000002</c:v>
                </c:pt>
                <c:pt idx="1864">
                  <c:v>#N/A</c:v>
                </c:pt>
                <c:pt idx="1865">
                  <c:v>-1.9911000000000001</c:v>
                </c:pt>
                <c:pt idx="1866">
                  <c:v>-2.2143099999999998</c:v>
                </c:pt>
                <c:pt idx="1867">
                  <c:v>-2.2169500000000002</c:v>
                </c:pt>
                <c:pt idx="1868">
                  <c:v>#N/A</c:v>
                </c:pt>
                <c:pt idx="1869">
                  <c:v>-2.0061399999999998</c:v>
                </c:pt>
                <c:pt idx="1870">
                  <c:v>-1.9845900000000001</c:v>
                </c:pt>
                <c:pt idx="1871">
                  <c:v>-1.99482</c:v>
                </c:pt>
                <c:pt idx="1872">
                  <c:v>-2.4005299999999998</c:v>
                </c:pt>
                <c:pt idx="1873">
                  <c:v>#N/A</c:v>
                </c:pt>
                <c:pt idx="1874">
                  <c:v>-1.9558199999999999</c:v>
                </c:pt>
                <c:pt idx="1875">
                  <c:v>-1.94032</c:v>
                </c:pt>
                <c:pt idx="1876">
                  <c:v>-2.2377899999999999</c:v>
                </c:pt>
                <c:pt idx="1877">
                  <c:v>#N/A</c:v>
                </c:pt>
                <c:pt idx="1878">
                  <c:v>-2.2402700000000002</c:v>
                </c:pt>
                <c:pt idx="1879">
                  <c:v>-1.32843</c:v>
                </c:pt>
                <c:pt idx="1880">
                  <c:v>-1.5794600000000001</c:v>
                </c:pt>
                <c:pt idx="1881">
                  <c:v>-1.4964999999999999</c:v>
                </c:pt>
                <c:pt idx="1882">
                  <c:v>#N/A</c:v>
                </c:pt>
                <c:pt idx="1883">
                  <c:v>-1.6835199999999999</c:v>
                </c:pt>
                <c:pt idx="1884">
                  <c:v>-1.8225899999999999</c:v>
                </c:pt>
                <c:pt idx="1885">
                  <c:v>#N/A</c:v>
                </c:pt>
                <c:pt idx="1886">
                  <c:v>-1.91299</c:v>
                </c:pt>
                <c:pt idx="1887">
                  <c:v>-1.6005499999999999</c:v>
                </c:pt>
                <c:pt idx="1888">
                  <c:v>#N/A</c:v>
                </c:pt>
                <c:pt idx="1889">
                  <c:v>-1.6991499999999999</c:v>
                </c:pt>
                <c:pt idx="1890">
                  <c:v>-2.0996100000000002</c:v>
                </c:pt>
                <c:pt idx="1891">
                  <c:v>#N/A</c:v>
                </c:pt>
                <c:pt idx="1892">
                  <c:v>-1.8154999999999999</c:v>
                </c:pt>
                <c:pt idx="1893">
                  <c:v>-2.0956399999999999</c:v>
                </c:pt>
                <c:pt idx="1894">
                  <c:v>-1.79294</c:v>
                </c:pt>
                <c:pt idx="1895">
                  <c:v>-1.8036300000000001</c:v>
                </c:pt>
                <c:pt idx="1896">
                  <c:v>#N/A</c:v>
                </c:pt>
                <c:pt idx="1897">
                  <c:v>-1.7223200000000001</c:v>
                </c:pt>
                <c:pt idx="1898">
                  <c:v>-2.34728</c:v>
                </c:pt>
                <c:pt idx="1899">
                  <c:v>-1.26972</c:v>
                </c:pt>
                <c:pt idx="1900">
                  <c:v>#N/A</c:v>
                </c:pt>
                <c:pt idx="1901">
                  <c:v>-1.6995199999999999</c:v>
                </c:pt>
                <c:pt idx="1902">
                  <c:v>-1.8612599999999999</c:v>
                </c:pt>
                <c:pt idx="1903">
                  <c:v>-2.4129499999999999</c:v>
                </c:pt>
                <c:pt idx="1904">
                  <c:v>-2.3146200000000001</c:v>
                </c:pt>
                <c:pt idx="1905">
                  <c:v>#N/A</c:v>
                </c:pt>
                <c:pt idx="1906">
                  <c:v>-1.94906</c:v>
                </c:pt>
                <c:pt idx="1907">
                  <c:v>-2.2008700000000001</c:v>
                </c:pt>
                <c:pt idx="1908">
                  <c:v>-1.8471</c:v>
                </c:pt>
                <c:pt idx="1909">
                  <c:v>#N/A</c:v>
                </c:pt>
                <c:pt idx="1910">
                  <c:v>-1.81891</c:v>
                </c:pt>
                <c:pt idx="1911">
                  <c:v>-2.2021899999999999</c:v>
                </c:pt>
                <c:pt idx="1912">
                  <c:v>-2.1586699999999999</c:v>
                </c:pt>
                <c:pt idx="1913">
                  <c:v>-2.4742899999999999</c:v>
                </c:pt>
                <c:pt idx="1914">
                  <c:v>#N/A</c:v>
                </c:pt>
                <c:pt idx="1915">
                  <c:v>-2.4352100000000001</c:v>
                </c:pt>
                <c:pt idx="1916">
                  <c:v>-2.0120800000000001</c:v>
                </c:pt>
                <c:pt idx="1917">
                  <c:v>-1.6213900000000001</c:v>
                </c:pt>
                <c:pt idx="1918">
                  <c:v>#N/A</c:v>
                </c:pt>
                <c:pt idx="1919">
                  <c:v>-1.7500500000000001</c:v>
                </c:pt>
                <c:pt idx="1920">
                  <c:v>-2.0652400000000002</c:v>
                </c:pt>
                <c:pt idx="1921">
                  <c:v>-1.68899</c:v>
                </c:pt>
                <c:pt idx="1922">
                  <c:v>-1.9677899999999999</c:v>
                </c:pt>
                <c:pt idx="1923">
                  <c:v>#N/A</c:v>
                </c:pt>
                <c:pt idx="1924">
                  <c:v>-2.1288</c:v>
                </c:pt>
                <c:pt idx="1925">
                  <c:v>-2.5581399999999999</c:v>
                </c:pt>
                <c:pt idx="1926">
                  <c:v>-2.1194600000000001</c:v>
                </c:pt>
                <c:pt idx="1927">
                  <c:v>-2.0823800000000001</c:v>
                </c:pt>
                <c:pt idx="1928">
                  <c:v>#N/A</c:v>
                </c:pt>
                <c:pt idx="1929">
                  <c:v>-1.96566</c:v>
                </c:pt>
                <c:pt idx="1930">
                  <c:v>-2.0026700000000002</c:v>
                </c:pt>
                <c:pt idx="1931">
                  <c:v>-1.9557199999999999</c:v>
                </c:pt>
                <c:pt idx="1932">
                  <c:v>#N/A</c:v>
                </c:pt>
                <c:pt idx="1933">
                  <c:v>-1.98908</c:v>
                </c:pt>
                <c:pt idx="1934">
                  <c:v>-2.35711</c:v>
                </c:pt>
                <c:pt idx="1935">
                  <c:v>-1.95269</c:v>
                </c:pt>
                <c:pt idx="1936">
                  <c:v>#N/A</c:v>
                </c:pt>
                <c:pt idx="1937">
                  <c:v>-1.76007</c:v>
                </c:pt>
                <c:pt idx="1938">
                  <c:v>-1.89669</c:v>
                </c:pt>
                <c:pt idx="1939">
                  <c:v>-1.5283199999999999</c:v>
                </c:pt>
                <c:pt idx="1940">
                  <c:v>-1.3589800000000001</c:v>
                </c:pt>
                <c:pt idx="1941">
                  <c:v>#N/A</c:v>
                </c:pt>
                <c:pt idx="1942">
                  <c:v>-2.0282300000000002</c:v>
                </c:pt>
                <c:pt idx="1943">
                  <c:v>-2.3839999999999999</c:v>
                </c:pt>
                <c:pt idx="1944">
                  <c:v>-2.0340199999999999</c:v>
                </c:pt>
                <c:pt idx="1945">
                  <c:v>#N/A</c:v>
                </c:pt>
                <c:pt idx="1946">
                  <c:v>-1.65787</c:v>
                </c:pt>
                <c:pt idx="1947">
                  <c:v>-2.1848200000000002</c:v>
                </c:pt>
                <c:pt idx="1948">
                  <c:v>-2.1583999999999999</c:v>
                </c:pt>
                <c:pt idx="1949">
                  <c:v>-2.1334300000000002</c:v>
                </c:pt>
                <c:pt idx="1950">
                  <c:v>#N/A</c:v>
                </c:pt>
                <c:pt idx="1951">
                  <c:v>-2.2269199999999998</c:v>
                </c:pt>
                <c:pt idx="1952">
                  <c:v>-1.76633</c:v>
                </c:pt>
                <c:pt idx="1953">
                  <c:v>-1.79433</c:v>
                </c:pt>
                <c:pt idx="1954">
                  <c:v>#N/A</c:v>
                </c:pt>
                <c:pt idx="1955">
                  <c:v>-2.1368499999999999</c:v>
                </c:pt>
                <c:pt idx="1956">
                  <c:v>-1.6232200000000001</c:v>
                </c:pt>
                <c:pt idx="1957">
                  <c:v>#N/A</c:v>
                </c:pt>
                <c:pt idx="1958">
                  <c:v>-1.64018</c:v>
                </c:pt>
                <c:pt idx="1959">
                  <c:v>#N/A</c:v>
                </c:pt>
                <c:pt idx="1960">
                  <c:v>-1.4658</c:v>
                </c:pt>
                <c:pt idx="1961">
                  <c:v>-2.1337000000000002</c:v>
                </c:pt>
                <c:pt idx="1962">
                  <c:v>-1.7683</c:v>
                </c:pt>
                <c:pt idx="1963">
                  <c:v>#N/A</c:v>
                </c:pt>
                <c:pt idx="1964">
                  <c:v>-2.1708099999999999</c:v>
                </c:pt>
                <c:pt idx="1965">
                  <c:v>-2.41927</c:v>
                </c:pt>
                <c:pt idx="1966">
                  <c:v>-2.4642200000000001</c:v>
                </c:pt>
                <c:pt idx="1967">
                  <c:v>-1.59927</c:v>
                </c:pt>
                <c:pt idx="1968">
                  <c:v>#N/A</c:v>
                </c:pt>
                <c:pt idx="1969">
                  <c:v>-1.89147</c:v>
                </c:pt>
                <c:pt idx="1970">
                  <c:v>-1.7741199999999999</c:v>
                </c:pt>
                <c:pt idx="1971">
                  <c:v>-2.65618</c:v>
                </c:pt>
                <c:pt idx="1972">
                  <c:v>#N/A</c:v>
                </c:pt>
                <c:pt idx="1973">
                  <c:v>-2.5989</c:v>
                </c:pt>
                <c:pt idx="1974">
                  <c:v>-2.4133499999999999</c:v>
                </c:pt>
                <c:pt idx="1975">
                  <c:v>-2.29216</c:v>
                </c:pt>
                <c:pt idx="1976">
                  <c:v>-2.3093599999999999</c:v>
                </c:pt>
                <c:pt idx="1977">
                  <c:v>#N/A</c:v>
                </c:pt>
                <c:pt idx="1978">
                  <c:v>-2.82436</c:v>
                </c:pt>
                <c:pt idx="1979">
                  <c:v>-2.7044700000000002</c:v>
                </c:pt>
                <c:pt idx="1980">
                  <c:v>-2.2787000000000002</c:v>
                </c:pt>
                <c:pt idx="1981">
                  <c:v>#N/A</c:v>
                </c:pt>
                <c:pt idx="1982">
                  <c:v>-2.3663599999999998</c:v>
                </c:pt>
                <c:pt idx="1983">
                  <c:v>-2.4110299999999998</c:v>
                </c:pt>
                <c:pt idx="1984">
                  <c:v>-2.1620400000000002</c:v>
                </c:pt>
                <c:pt idx="1985">
                  <c:v>#N/A</c:v>
                </c:pt>
                <c:pt idx="1986">
                  <c:v>-1.7201299999999999</c:v>
                </c:pt>
                <c:pt idx="1987">
                  <c:v>-2.0991200000000001</c:v>
                </c:pt>
                <c:pt idx="1988">
                  <c:v>-1.39385</c:v>
                </c:pt>
                <c:pt idx="1989">
                  <c:v>-1.8523700000000001</c:v>
                </c:pt>
                <c:pt idx="1990">
                  <c:v>#N/A</c:v>
                </c:pt>
                <c:pt idx="1991">
                  <c:v>-1.5100100000000001</c:v>
                </c:pt>
                <c:pt idx="1992">
                  <c:v>-1.5468</c:v>
                </c:pt>
                <c:pt idx="1993">
                  <c:v>-1.6908000000000001</c:v>
                </c:pt>
                <c:pt idx="1994">
                  <c:v>#N/A</c:v>
                </c:pt>
                <c:pt idx="1995">
                  <c:v>-1.8348599999999999</c:v>
                </c:pt>
                <c:pt idx="1996">
                  <c:v>-2.5091000000000001</c:v>
                </c:pt>
                <c:pt idx="1997">
                  <c:v>-1.7381500000000001</c:v>
                </c:pt>
                <c:pt idx="1998">
                  <c:v>#N/A</c:v>
                </c:pt>
                <c:pt idx="1999">
                  <c:v>-1.4512</c:v>
                </c:pt>
                <c:pt idx="2000">
                  <c:v>-1.8709800000000001</c:v>
                </c:pt>
                <c:pt idx="2001">
                  <c:v>-2.3726600000000002</c:v>
                </c:pt>
                <c:pt idx="2002">
                  <c:v>#N/A</c:v>
                </c:pt>
                <c:pt idx="2003">
                  <c:v>-2.3627799999999999</c:v>
                </c:pt>
                <c:pt idx="2004">
                  <c:v>-2.4906999999999999</c:v>
                </c:pt>
                <c:pt idx="2005">
                  <c:v>-2.2069399999999999</c:v>
                </c:pt>
                <c:pt idx="2006">
                  <c:v>#N/A</c:v>
                </c:pt>
                <c:pt idx="2007">
                  <c:v>-2.27033</c:v>
                </c:pt>
                <c:pt idx="2008">
                  <c:v>-2.2700200000000001</c:v>
                </c:pt>
                <c:pt idx="2009">
                  <c:v>-2.1326800000000001</c:v>
                </c:pt>
                <c:pt idx="2010">
                  <c:v>#N/A</c:v>
                </c:pt>
                <c:pt idx="2011">
                  <c:v>-2.5876199999999998</c:v>
                </c:pt>
                <c:pt idx="2012">
                  <c:v>-2.6369400000000001</c:v>
                </c:pt>
                <c:pt idx="2013">
                  <c:v>-2.4980799999999999</c:v>
                </c:pt>
                <c:pt idx="2014">
                  <c:v>#N/A</c:v>
                </c:pt>
                <c:pt idx="2015">
                  <c:v>-2.5648300000000002</c:v>
                </c:pt>
                <c:pt idx="2016">
                  <c:v>-2.7009400000000001</c:v>
                </c:pt>
                <c:pt idx="2017">
                  <c:v>-1.9108799999999999</c:v>
                </c:pt>
                <c:pt idx="2018">
                  <c:v>-1.9696499999999999</c:v>
                </c:pt>
                <c:pt idx="2019">
                  <c:v>#N/A</c:v>
                </c:pt>
                <c:pt idx="2020">
                  <c:v>-1.93428</c:v>
                </c:pt>
                <c:pt idx="2021">
                  <c:v>-2.3732500000000001</c:v>
                </c:pt>
                <c:pt idx="2022">
                  <c:v>-2.1749000000000001</c:v>
                </c:pt>
                <c:pt idx="2023">
                  <c:v>#N/A</c:v>
                </c:pt>
                <c:pt idx="2024">
                  <c:v>-1.8720000000000001</c:v>
                </c:pt>
                <c:pt idx="2025">
                  <c:v>-2.1506699999999999</c:v>
                </c:pt>
                <c:pt idx="2026">
                  <c:v>-2.3718400000000002</c:v>
                </c:pt>
                <c:pt idx="2027">
                  <c:v>-2.1183299999999998</c:v>
                </c:pt>
                <c:pt idx="2028">
                  <c:v>#N/A</c:v>
                </c:pt>
                <c:pt idx="2029">
                  <c:v>-2.1221299999999998</c:v>
                </c:pt>
                <c:pt idx="2030">
                  <c:v>#N/A</c:v>
                </c:pt>
                <c:pt idx="2031">
                  <c:v>-2.5312399999999999</c:v>
                </c:pt>
                <c:pt idx="2032">
                  <c:v>-2.3826900000000002</c:v>
                </c:pt>
                <c:pt idx="2033">
                  <c:v>-2.5310299999999999</c:v>
                </c:pt>
                <c:pt idx="2034">
                  <c:v>#N/A</c:v>
                </c:pt>
                <c:pt idx="2035">
                  <c:v>-2.4922900000000001</c:v>
                </c:pt>
                <c:pt idx="2036">
                  <c:v>-2.1777600000000001</c:v>
                </c:pt>
                <c:pt idx="2037">
                  <c:v>-2.0723400000000001</c:v>
                </c:pt>
                <c:pt idx="2038">
                  <c:v>#N/A</c:v>
                </c:pt>
                <c:pt idx="2039">
                  <c:v>-1.93621</c:v>
                </c:pt>
                <c:pt idx="2040">
                  <c:v>-2.0468899999999999</c:v>
                </c:pt>
                <c:pt idx="2041">
                  <c:v>-2.4900699999999998</c:v>
                </c:pt>
                <c:pt idx="2042">
                  <c:v>-2.1206900000000002</c:v>
                </c:pt>
                <c:pt idx="2043">
                  <c:v>#N/A</c:v>
                </c:pt>
                <c:pt idx="2044">
                  <c:v>-1.5652699999999999</c:v>
                </c:pt>
                <c:pt idx="2045">
                  <c:v>-2.3205</c:v>
                </c:pt>
                <c:pt idx="2046">
                  <c:v>-1.86053</c:v>
                </c:pt>
                <c:pt idx="2047">
                  <c:v>#N/A</c:v>
                </c:pt>
                <c:pt idx="2048">
                  <c:v>-2.1461199999999998</c:v>
                </c:pt>
                <c:pt idx="2049">
                  <c:v>-1.7873300000000001</c:v>
                </c:pt>
                <c:pt idx="2050">
                  <c:v>-2.14967</c:v>
                </c:pt>
                <c:pt idx="2051">
                  <c:v>-1.74847</c:v>
                </c:pt>
                <c:pt idx="2052">
                  <c:v>#N/A</c:v>
                </c:pt>
                <c:pt idx="2053">
                  <c:v>-2.2570800000000002</c:v>
                </c:pt>
                <c:pt idx="2054">
                  <c:v>-2.50373</c:v>
                </c:pt>
                <c:pt idx="2055">
                  <c:v>-2.5870600000000001</c:v>
                </c:pt>
                <c:pt idx="2056">
                  <c:v>#N/A</c:v>
                </c:pt>
                <c:pt idx="2057">
                  <c:v>-1.6538200000000001</c:v>
                </c:pt>
                <c:pt idx="2058">
                  <c:v>-2.15341</c:v>
                </c:pt>
                <c:pt idx="2059">
                  <c:v>-1.80751</c:v>
                </c:pt>
                <c:pt idx="2060">
                  <c:v>-1.4165300000000001</c:v>
                </c:pt>
                <c:pt idx="2061">
                  <c:v>#N/A</c:v>
                </c:pt>
                <c:pt idx="2062">
                  <c:v>-1.76067</c:v>
                </c:pt>
                <c:pt idx="2063">
                  <c:v>-2.5597300000000001</c:v>
                </c:pt>
                <c:pt idx="2064">
                  <c:v>-1.87782</c:v>
                </c:pt>
                <c:pt idx="2065">
                  <c:v>#N/A</c:v>
                </c:pt>
                <c:pt idx="2066">
                  <c:v>-1.97403</c:v>
                </c:pt>
                <c:pt idx="2067">
                  <c:v>-1.4207399999999999</c:v>
                </c:pt>
                <c:pt idx="2068">
                  <c:v>-1.9810700000000001</c:v>
                </c:pt>
                <c:pt idx="2069">
                  <c:v>#N/A</c:v>
                </c:pt>
                <c:pt idx="2070">
                  <c:v>-2.0509400000000002</c:v>
                </c:pt>
                <c:pt idx="2071">
                  <c:v>-2.1636299999999999</c:v>
                </c:pt>
                <c:pt idx="2072">
                  <c:v>-2.3577499999999998</c:v>
                </c:pt>
                <c:pt idx="2073">
                  <c:v>-2.22648</c:v>
                </c:pt>
                <c:pt idx="2074">
                  <c:v>#N/A</c:v>
                </c:pt>
                <c:pt idx="2075">
                  <c:v>-2.3006899999999999</c:v>
                </c:pt>
                <c:pt idx="2076">
                  <c:v>-2.3463699999999998</c:v>
                </c:pt>
                <c:pt idx="2077">
                  <c:v>-2.12717</c:v>
                </c:pt>
                <c:pt idx="2078">
                  <c:v>#N/A</c:v>
                </c:pt>
                <c:pt idx="2079">
                  <c:v>-1.5101</c:v>
                </c:pt>
                <c:pt idx="2080">
                  <c:v>-1.5432999999999999</c:v>
                </c:pt>
                <c:pt idx="2081">
                  <c:v>-2.10798</c:v>
                </c:pt>
                <c:pt idx="2082">
                  <c:v>-2.21637</c:v>
                </c:pt>
                <c:pt idx="2083">
                  <c:v>#N/A</c:v>
                </c:pt>
                <c:pt idx="2084">
                  <c:v>-2.1788599999999998</c:v>
                </c:pt>
                <c:pt idx="2085">
                  <c:v>-2.1325500000000002</c:v>
                </c:pt>
                <c:pt idx="2086">
                  <c:v>-2.07124</c:v>
                </c:pt>
                <c:pt idx="2087">
                  <c:v>-1.8978200000000001</c:v>
                </c:pt>
                <c:pt idx="2088">
                  <c:v>#N/A</c:v>
                </c:pt>
                <c:pt idx="2089">
                  <c:v>-2.2756500000000002</c:v>
                </c:pt>
                <c:pt idx="2090">
                  <c:v>-2.2210899999999998</c:v>
                </c:pt>
                <c:pt idx="2091">
                  <c:v>-2.2192400000000001</c:v>
                </c:pt>
                <c:pt idx="2092">
                  <c:v>#N/A</c:v>
                </c:pt>
                <c:pt idx="2093">
                  <c:v>-2.5250900000000001</c:v>
                </c:pt>
                <c:pt idx="2094">
                  <c:v>-2.3272200000000001</c:v>
                </c:pt>
                <c:pt idx="2095">
                  <c:v>-1.80288</c:v>
                </c:pt>
                <c:pt idx="2096">
                  <c:v>#N/A</c:v>
                </c:pt>
                <c:pt idx="2097">
                  <c:v>-2.0133200000000002</c:v>
                </c:pt>
                <c:pt idx="2098">
                  <c:v>-1.4706900000000001</c:v>
                </c:pt>
                <c:pt idx="2099">
                  <c:v>-2.2008200000000002</c:v>
                </c:pt>
                <c:pt idx="2100">
                  <c:v>#N/A</c:v>
                </c:pt>
                <c:pt idx="2101">
                  <c:v>-2.0850300000000002</c:v>
                </c:pt>
                <c:pt idx="2102">
                  <c:v>-1.92903</c:v>
                </c:pt>
                <c:pt idx="2103">
                  <c:v>#N/A</c:v>
                </c:pt>
                <c:pt idx="2104">
                  <c:v>-2.0777299999999999</c:v>
                </c:pt>
                <c:pt idx="2105">
                  <c:v>-2.0928599999999999</c:v>
                </c:pt>
                <c:pt idx="2106">
                  <c:v>#N/A</c:v>
                </c:pt>
                <c:pt idx="2107">
                  <c:v>-1.93991</c:v>
                </c:pt>
                <c:pt idx="2108">
                  <c:v>-1.68289</c:v>
                </c:pt>
                <c:pt idx="2109">
                  <c:v>-1.94235</c:v>
                </c:pt>
                <c:pt idx="2110">
                  <c:v>-1.9601900000000001</c:v>
                </c:pt>
                <c:pt idx="2111">
                  <c:v>#N/A</c:v>
                </c:pt>
                <c:pt idx="2112">
                  <c:v>-2.2090200000000002</c:v>
                </c:pt>
                <c:pt idx="2113">
                  <c:v>-2.4189500000000002</c:v>
                </c:pt>
                <c:pt idx="2114">
                  <c:v>-2.1576</c:v>
                </c:pt>
                <c:pt idx="2115">
                  <c:v>#N/A</c:v>
                </c:pt>
                <c:pt idx="2116">
                  <c:v>-2.42042</c:v>
                </c:pt>
                <c:pt idx="2117">
                  <c:v>-1.83117</c:v>
                </c:pt>
                <c:pt idx="2118">
                  <c:v>-1.88687</c:v>
                </c:pt>
                <c:pt idx="2119">
                  <c:v>-2.0875499999999998</c:v>
                </c:pt>
                <c:pt idx="2120">
                  <c:v>#N/A</c:v>
                </c:pt>
                <c:pt idx="2121">
                  <c:v>-2.1539999999999999</c:v>
                </c:pt>
                <c:pt idx="2122">
                  <c:v>-1.90551</c:v>
                </c:pt>
                <c:pt idx="2123">
                  <c:v>-1.8619600000000001</c:v>
                </c:pt>
                <c:pt idx="2124">
                  <c:v>#N/A</c:v>
                </c:pt>
                <c:pt idx="2125">
                  <c:v>-2.3101400000000001</c:v>
                </c:pt>
                <c:pt idx="2126">
                  <c:v>-2.14981</c:v>
                </c:pt>
                <c:pt idx="2127">
                  <c:v>-2.0841599999999998</c:v>
                </c:pt>
                <c:pt idx="2128">
                  <c:v>-1.90744</c:v>
                </c:pt>
                <c:pt idx="2129">
                  <c:v>#N/A</c:v>
                </c:pt>
                <c:pt idx="2130">
                  <c:v>-2.0108100000000002</c:v>
                </c:pt>
                <c:pt idx="2131">
                  <c:v>-2.05966</c:v>
                </c:pt>
                <c:pt idx="2132">
                  <c:v>-2.15882</c:v>
                </c:pt>
                <c:pt idx="2133">
                  <c:v>#N/A</c:v>
                </c:pt>
                <c:pt idx="2134">
                  <c:v>-2.4048600000000002</c:v>
                </c:pt>
                <c:pt idx="2135">
                  <c:v>-2.3192300000000001</c:v>
                </c:pt>
                <c:pt idx="2136">
                  <c:v>-1.66675</c:v>
                </c:pt>
                <c:pt idx="2137">
                  <c:v>#N/A</c:v>
                </c:pt>
                <c:pt idx="2138">
                  <c:v>-1.8957999999999999</c:v>
                </c:pt>
                <c:pt idx="2139">
                  <c:v>-1.49665</c:v>
                </c:pt>
                <c:pt idx="2140">
                  <c:v>-1.6938599999999999</c:v>
                </c:pt>
                <c:pt idx="2141">
                  <c:v>-1.8762399999999999</c:v>
                </c:pt>
                <c:pt idx="2142">
                  <c:v>#N/A</c:v>
                </c:pt>
                <c:pt idx="2143">
                  <c:v>-2.3789199999999999</c:v>
                </c:pt>
                <c:pt idx="2144">
                  <c:v>-2.1070099999999998</c:v>
                </c:pt>
                <c:pt idx="2145">
                  <c:v>-1.7175199999999999</c:v>
                </c:pt>
                <c:pt idx="2146">
                  <c:v>-2.0357099999999999</c:v>
                </c:pt>
                <c:pt idx="2147">
                  <c:v>#N/A</c:v>
                </c:pt>
                <c:pt idx="2148">
                  <c:v>-1.8274900000000001</c:v>
                </c:pt>
                <c:pt idx="2149">
                  <c:v>-2.0049800000000002</c:v>
                </c:pt>
                <c:pt idx="2150">
                  <c:v>-1.93933</c:v>
                </c:pt>
                <c:pt idx="2151">
                  <c:v>#N/A</c:v>
                </c:pt>
                <c:pt idx="2152">
                  <c:v>-2.3273299999999999</c:v>
                </c:pt>
                <c:pt idx="2153">
                  <c:v>-1.63107</c:v>
                </c:pt>
                <c:pt idx="2154">
                  <c:v>-2.2138599999999999</c:v>
                </c:pt>
                <c:pt idx="2155">
                  <c:v>#N/A</c:v>
                </c:pt>
                <c:pt idx="2156">
                  <c:v>-2.6008800000000001</c:v>
                </c:pt>
                <c:pt idx="2157">
                  <c:v>-1.899</c:v>
                </c:pt>
                <c:pt idx="2158">
                  <c:v>-1.4346000000000001</c:v>
                </c:pt>
                <c:pt idx="2159">
                  <c:v>-1.5328900000000001</c:v>
                </c:pt>
                <c:pt idx="2160">
                  <c:v>#N/A</c:v>
                </c:pt>
                <c:pt idx="2161">
                  <c:v>-1.45764</c:v>
                </c:pt>
                <c:pt idx="2162">
                  <c:v>-1.7952600000000001</c:v>
                </c:pt>
                <c:pt idx="2163">
                  <c:v>-1.7964899999999999</c:v>
                </c:pt>
                <c:pt idx="2164">
                  <c:v>#N/A</c:v>
                </c:pt>
                <c:pt idx="2165">
                  <c:v>-1.94299</c:v>
                </c:pt>
                <c:pt idx="2166">
                  <c:v>-1.6660699999999999</c:v>
                </c:pt>
                <c:pt idx="2167">
                  <c:v>-1.8006</c:v>
                </c:pt>
                <c:pt idx="2168">
                  <c:v>-1.3852899999999999</c:v>
                </c:pt>
                <c:pt idx="2169">
                  <c:v>#N/A</c:v>
                </c:pt>
                <c:pt idx="2170">
                  <c:v>-1.58162</c:v>
                </c:pt>
                <c:pt idx="2171">
                  <c:v>-1.9412</c:v>
                </c:pt>
                <c:pt idx="2172">
                  <c:v>-2.3345699999999998</c:v>
                </c:pt>
                <c:pt idx="2173">
                  <c:v>-2.2490199999999998</c:v>
                </c:pt>
                <c:pt idx="2174">
                  <c:v>#N/A</c:v>
                </c:pt>
                <c:pt idx="2175">
                  <c:v>-1.7390399999999999</c:v>
                </c:pt>
                <c:pt idx="2176">
                  <c:v>-1.9848600000000001</c:v>
                </c:pt>
                <c:pt idx="2177">
                  <c:v>-1.63723</c:v>
                </c:pt>
                <c:pt idx="2178">
                  <c:v>#N/A</c:v>
                </c:pt>
                <c:pt idx="2179">
                  <c:v>-1.81098</c:v>
                </c:pt>
                <c:pt idx="2180">
                  <c:v>-1.4641900000000001</c:v>
                </c:pt>
                <c:pt idx="2181">
                  <c:v>-2.1152600000000001</c:v>
                </c:pt>
                <c:pt idx="2182">
                  <c:v>-2.0661399999999999</c:v>
                </c:pt>
                <c:pt idx="2183">
                  <c:v>#N/A</c:v>
                </c:pt>
                <c:pt idx="2184">
                  <c:v>-1.70923</c:v>
                </c:pt>
                <c:pt idx="2185">
                  <c:v>-1.4735199999999999</c:v>
                </c:pt>
                <c:pt idx="2186">
                  <c:v>-2.1750099999999999</c:v>
                </c:pt>
                <c:pt idx="2187">
                  <c:v>#N/A</c:v>
                </c:pt>
                <c:pt idx="2188">
                  <c:v>-1.8659699999999999</c:v>
                </c:pt>
                <c:pt idx="2189">
                  <c:v>-2.1268500000000001</c:v>
                </c:pt>
                <c:pt idx="2190">
                  <c:v>-2.08535</c:v>
                </c:pt>
                <c:pt idx="2191">
                  <c:v>-2.0309599999999999</c:v>
                </c:pt>
                <c:pt idx="2192">
                  <c:v>#N/A</c:v>
                </c:pt>
                <c:pt idx="2193">
                  <c:v>-2.0954700000000002</c:v>
                </c:pt>
                <c:pt idx="2194">
                  <c:v>-1.95587</c:v>
                </c:pt>
                <c:pt idx="2195">
                  <c:v>-2.0514800000000002</c:v>
                </c:pt>
                <c:pt idx="2196">
                  <c:v>#N/A</c:v>
                </c:pt>
                <c:pt idx="2197">
                  <c:v>-1.7246699999999999</c:v>
                </c:pt>
                <c:pt idx="2198">
                  <c:v>-1.8426400000000001</c:v>
                </c:pt>
                <c:pt idx="2199">
                  <c:v>-1.9699500000000001</c:v>
                </c:pt>
                <c:pt idx="2200">
                  <c:v>-1.6022400000000001</c:v>
                </c:pt>
                <c:pt idx="2201">
                  <c:v>#N/A</c:v>
                </c:pt>
                <c:pt idx="2202">
                  <c:v>-1.2624500000000001</c:v>
                </c:pt>
                <c:pt idx="2203">
                  <c:v>-1.7042200000000001</c:v>
                </c:pt>
                <c:pt idx="2204">
                  <c:v>-1.88829</c:v>
                </c:pt>
                <c:pt idx="2205">
                  <c:v>#N/A</c:v>
                </c:pt>
                <c:pt idx="2206">
                  <c:v>-1.7199800000000001</c:v>
                </c:pt>
                <c:pt idx="2207">
                  <c:v>-1.6390100000000001</c:v>
                </c:pt>
                <c:pt idx="2208">
                  <c:v>-1.52979</c:v>
                </c:pt>
                <c:pt idx="2209">
                  <c:v>#N/A</c:v>
                </c:pt>
                <c:pt idx="2210">
                  <c:v>-1.68269</c:v>
                </c:pt>
                <c:pt idx="2211">
                  <c:v>-1.76912</c:v>
                </c:pt>
                <c:pt idx="2212">
                  <c:v>-1.9663900000000001</c:v>
                </c:pt>
                <c:pt idx="2213">
                  <c:v>#N/A</c:v>
                </c:pt>
                <c:pt idx="2214">
                  <c:v>-2.3571800000000001</c:v>
                </c:pt>
                <c:pt idx="2215">
                  <c:v>-2.16032</c:v>
                </c:pt>
                <c:pt idx="2216">
                  <c:v>-2.07416</c:v>
                </c:pt>
                <c:pt idx="2217">
                  <c:v>-2.1169199999999999</c:v>
                </c:pt>
                <c:pt idx="2218">
                  <c:v>#N/A</c:v>
                </c:pt>
                <c:pt idx="2219">
                  <c:v>-1.6015699999999999</c:v>
                </c:pt>
                <c:pt idx="2220">
                  <c:v>-1.00484</c:v>
                </c:pt>
                <c:pt idx="2221">
                  <c:v>-1.5315700000000001</c:v>
                </c:pt>
                <c:pt idx="2222">
                  <c:v>#N/A</c:v>
                </c:pt>
                <c:pt idx="2223">
                  <c:v>-1.75888</c:v>
                </c:pt>
                <c:pt idx="2224">
                  <c:v>-1.68008</c:v>
                </c:pt>
                <c:pt idx="2225">
                  <c:v>-1.73769</c:v>
                </c:pt>
                <c:pt idx="2226">
                  <c:v>-2.05722</c:v>
                </c:pt>
                <c:pt idx="2227">
                  <c:v>#N/A</c:v>
                </c:pt>
                <c:pt idx="2228">
                  <c:v>-1.7706200000000001</c:v>
                </c:pt>
                <c:pt idx="2229">
                  <c:v>-1.4900899999999999</c:v>
                </c:pt>
                <c:pt idx="2230">
                  <c:v>-1.89534</c:v>
                </c:pt>
                <c:pt idx="2231">
                  <c:v>#N/A</c:v>
                </c:pt>
                <c:pt idx="2232">
                  <c:v>-2.1744699999999999</c:v>
                </c:pt>
                <c:pt idx="2233">
                  <c:v>-2.3474699999999999</c:v>
                </c:pt>
                <c:pt idx="2234">
                  <c:v>-2.53363</c:v>
                </c:pt>
                <c:pt idx="2235">
                  <c:v>#N/A</c:v>
                </c:pt>
                <c:pt idx="2236">
                  <c:v>-1.96607</c:v>
                </c:pt>
                <c:pt idx="2237">
                  <c:v>-1.7275499999999999</c:v>
                </c:pt>
                <c:pt idx="2238">
                  <c:v>-1.25335</c:v>
                </c:pt>
                <c:pt idx="2239">
                  <c:v>-1.40448</c:v>
                </c:pt>
                <c:pt idx="2240">
                  <c:v>#N/A</c:v>
                </c:pt>
                <c:pt idx="2241">
                  <c:v>-1.9031499999999999</c:v>
                </c:pt>
                <c:pt idx="2242">
                  <c:v>-1.39303</c:v>
                </c:pt>
                <c:pt idx="2243">
                  <c:v>-1.9366300000000001</c:v>
                </c:pt>
                <c:pt idx="2244">
                  <c:v>#N/A</c:v>
                </c:pt>
                <c:pt idx="2245">
                  <c:v>-1.82796</c:v>
                </c:pt>
                <c:pt idx="2246">
                  <c:v>-1.6432199999999999</c:v>
                </c:pt>
                <c:pt idx="2247">
                  <c:v>-1.7381500000000001</c:v>
                </c:pt>
                <c:pt idx="2248">
                  <c:v>#N/A</c:v>
                </c:pt>
                <c:pt idx="2249">
                  <c:v>-1.9251100000000001</c:v>
                </c:pt>
                <c:pt idx="2250">
                  <c:v>-2.18947</c:v>
                </c:pt>
                <c:pt idx="2251">
                  <c:v>-1.84894</c:v>
                </c:pt>
                <c:pt idx="2252">
                  <c:v>-2.0778300000000001</c:v>
                </c:pt>
                <c:pt idx="2253">
                  <c:v>#N/A</c:v>
                </c:pt>
                <c:pt idx="2254">
                  <c:v>-1.96241</c:v>
                </c:pt>
                <c:pt idx="2255">
                  <c:v>-1.99275</c:v>
                </c:pt>
                <c:pt idx="2256">
                  <c:v>-1.70123</c:v>
                </c:pt>
                <c:pt idx="2257">
                  <c:v>#N/A</c:v>
                </c:pt>
                <c:pt idx="2258">
                  <c:v>-1.86168</c:v>
                </c:pt>
                <c:pt idx="2259">
                  <c:v>-1.8012300000000001</c:v>
                </c:pt>
                <c:pt idx="2260">
                  <c:v>-1.53522</c:v>
                </c:pt>
                <c:pt idx="2261">
                  <c:v>#N/A</c:v>
                </c:pt>
                <c:pt idx="2262">
                  <c:v>-1.5144299999999999</c:v>
                </c:pt>
                <c:pt idx="2263">
                  <c:v>-1.8351</c:v>
                </c:pt>
                <c:pt idx="2264">
                  <c:v>-1.77433</c:v>
                </c:pt>
                <c:pt idx="2265">
                  <c:v>-1.9443699999999999</c:v>
                </c:pt>
                <c:pt idx="2266">
                  <c:v>#N/A</c:v>
                </c:pt>
                <c:pt idx="2267">
                  <c:v>-1.6992700000000001</c:v>
                </c:pt>
                <c:pt idx="2268">
                  <c:v>-1.81603</c:v>
                </c:pt>
                <c:pt idx="2269">
                  <c:v>-1.86117</c:v>
                </c:pt>
                <c:pt idx="2270">
                  <c:v>-1.91686</c:v>
                </c:pt>
                <c:pt idx="2271">
                  <c:v>#N/A</c:v>
                </c:pt>
                <c:pt idx="2272">
                  <c:v>-2.1744300000000001</c:v>
                </c:pt>
                <c:pt idx="2273">
                  <c:v>-1.6201700000000001</c:v>
                </c:pt>
                <c:pt idx="2274">
                  <c:v>-1.6068</c:v>
                </c:pt>
                <c:pt idx="2275">
                  <c:v>#N/A</c:v>
                </c:pt>
                <c:pt idx="2276">
                  <c:v>-1.66692</c:v>
                </c:pt>
                <c:pt idx="2277">
                  <c:v>-1.75078</c:v>
                </c:pt>
                <c:pt idx="2278">
                  <c:v>-1.0265599999999999</c:v>
                </c:pt>
                <c:pt idx="2279">
                  <c:v>-1.25353</c:v>
                </c:pt>
                <c:pt idx="2280">
                  <c:v>#N/A</c:v>
                </c:pt>
                <c:pt idx="2281">
                  <c:v>-1.5348299999999999</c:v>
                </c:pt>
                <c:pt idx="2282">
                  <c:v>-1.45665</c:v>
                </c:pt>
                <c:pt idx="2283">
                  <c:v>-1.49326</c:v>
                </c:pt>
                <c:pt idx="2284">
                  <c:v>#N/A</c:v>
                </c:pt>
                <c:pt idx="2285">
                  <c:v>-1.71011</c:v>
                </c:pt>
                <c:pt idx="2286">
                  <c:v>-2.0939899999999998</c:v>
                </c:pt>
                <c:pt idx="2287">
                  <c:v>-1.6462300000000001</c:v>
                </c:pt>
                <c:pt idx="2288">
                  <c:v>#N/A</c:v>
                </c:pt>
                <c:pt idx="2289">
                  <c:v>-1.7902100000000001</c:v>
                </c:pt>
                <c:pt idx="2290">
                  <c:v>-2.0991900000000001</c:v>
                </c:pt>
                <c:pt idx="2291">
                  <c:v>-2.2779500000000001</c:v>
                </c:pt>
                <c:pt idx="2292">
                  <c:v>#N/A</c:v>
                </c:pt>
                <c:pt idx="2293">
                  <c:v>-2.43527</c:v>
                </c:pt>
                <c:pt idx="2294">
                  <c:v>-2.1887799999999999</c:v>
                </c:pt>
                <c:pt idx="2295">
                  <c:v>-2.1997200000000001</c:v>
                </c:pt>
                <c:pt idx="2296">
                  <c:v>-1.4916700000000001</c:v>
                </c:pt>
                <c:pt idx="2297">
                  <c:v>#N/A</c:v>
                </c:pt>
                <c:pt idx="2298">
                  <c:v>-1.6952400000000001</c:v>
                </c:pt>
                <c:pt idx="2299">
                  <c:v>-1.31924</c:v>
                </c:pt>
                <c:pt idx="2300">
                  <c:v>-1.92567</c:v>
                </c:pt>
                <c:pt idx="2301">
                  <c:v>-1.4151100000000001</c:v>
                </c:pt>
                <c:pt idx="2302">
                  <c:v>#N/A</c:v>
                </c:pt>
                <c:pt idx="2303">
                  <c:v>-1.9512400000000001</c:v>
                </c:pt>
                <c:pt idx="2304">
                  <c:v>-2.1384300000000001</c:v>
                </c:pt>
                <c:pt idx="2305">
                  <c:v>-1.82765</c:v>
                </c:pt>
                <c:pt idx="2306">
                  <c:v>#N/A</c:v>
                </c:pt>
                <c:pt idx="2307">
                  <c:v>-2.0318700000000001</c:v>
                </c:pt>
                <c:pt idx="2308">
                  <c:v>-1.6563099999999999</c:v>
                </c:pt>
                <c:pt idx="2309">
                  <c:v>-1.7552000000000001</c:v>
                </c:pt>
                <c:pt idx="2310">
                  <c:v>#N/A</c:v>
                </c:pt>
                <c:pt idx="2311">
                  <c:v>-1.7622100000000001</c:v>
                </c:pt>
                <c:pt idx="2312">
                  <c:v>-1.9286399999999999</c:v>
                </c:pt>
                <c:pt idx="2313">
                  <c:v>-2.2437999999999998</c:v>
                </c:pt>
                <c:pt idx="2314">
                  <c:v>#N/A</c:v>
                </c:pt>
                <c:pt idx="2315">
                  <c:v>-2.6601499999999998</c:v>
                </c:pt>
                <c:pt idx="2316">
                  <c:v>-1.32178</c:v>
                </c:pt>
                <c:pt idx="2317">
                  <c:v>#N/A</c:v>
                </c:pt>
                <c:pt idx="2318">
                  <c:v>-1.43188</c:v>
                </c:pt>
                <c:pt idx="2319">
                  <c:v>-1.496</c:v>
                </c:pt>
                <c:pt idx="2320">
                  <c:v>#N/A</c:v>
                </c:pt>
                <c:pt idx="2321">
                  <c:v>-1.8067899999999999</c:v>
                </c:pt>
                <c:pt idx="2322">
                  <c:v>-2.37174</c:v>
                </c:pt>
                <c:pt idx="2323">
                  <c:v>-1.9628000000000001</c:v>
                </c:pt>
                <c:pt idx="2324">
                  <c:v>#N/A</c:v>
                </c:pt>
                <c:pt idx="2325">
                  <c:v>-2.0971899999999999</c:v>
                </c:pt>
                <c:pt idx="2326">
                  <c:v>-1.99993</c:v>
                </c:pt>
                <c:pt idx="2327">
                  <c:v>-1.70947</c:v>
                </c:pt>
                <c:pt idx="2328">
                  <c:v>-1.9026400000000001</c:v>
                </c:pt>
                <c:pt idx="2329">
                  <c:v>#N/A</c:v>
                </c:pt>
                <c:pt idx="2330">
                  <c:v>-2.2509299999999999</c:v>
                </c:pt>
                <c:pt idx="2331">
                  <c:v>-2.5316000000000001</c:v>
                </c:pt>
                <c:pt idx="2332">
                  <c:v>-2.4662799999999998</c:v>
                </c:pt>
                <c:pt idx="2333">
                  <c:v>-2.4130099999999999</c:v>
                </c:pt>
                <c:pt idx="2334">
                  <c:v>#N/A</c:v>
                </c:pt>
                <c:pt idx="2335">
                  <c:v>-2.0815399999999999</c:v>
                </c:pt>
                <c:pt idx="2336">
                  <c:v>-1.6787000000000001</c:v>
                </c:pt>
                <c:pt idx="2337">
                  <c:v>-1.19943</c:v>
                </c:pt>
                <c:pt idx="2338">
                  <c:v>#N/A</c:v>
                </c:pt>
                <c:pt idx="2339">
                  <c:v>-1.9231499999999999</c:v>
                </c:pt>
                <c:pt idx="2340">
                  <c:v>-1.3232200000000001</c:v>
                </c:pt>
                <c:pt idx="2341">
                  <c:v>-1.37866</c:v>
                </c:pt>
                <c:pt idx="2342">
                  <c:v>-1.58779</c:v>
                </c:pt>
                <c:pt idx="2343">
                  <c:v>#N/A</c:v>
                </c:pt>
                <c:pt idx="2344">
                  <c:v>-1.94712</c:v>
                </c:pt>
                <c:pt idx="2345">
                  <c:v>-1.89988</c:v>
                </c:pt>
                <c:pt idx="2346">
                  <c:v>-1.4796400000000001</c:v>
                </c:pt>
                <c:pt idx="2347">
                  <c:v>#N/A</c:v>
                </c:pt>
                <c:pt idx="2348">
                  <c:v>-1.89079</c:v>
                </c:pt>
                <c:pt idx="2349">
                  <c:v>-1.75701</c:v>
                </c:pt>
                <c:pt idx="2350">
                  <c:v>-2.3325399999999998</c:v>
                </c:pt>
                <c:pt idx="2351">
                  <c:v>-2.10154</c:v>
                </c:pt>
                <c:pt idx="2352">
                  <c:v>#N/A</c:v>
                </c:pt>
                <c:pt idx="2353">
                  <c:v>-2.30071</c:v>
                </c:pt>
                <c:pt idx="2354">
                  <c:v>-2.1867999999999999</c:v>
                </c:pt>
                <c:pt idx="2355">
                  <c:v>-1.9233199999999999</c:v>
                </c:pt>
                <c:pt idx="2356">
                  <c:v>#N/A</c:v>
                </c:pt>
                <c:pt idx="2357">
                  <c:v>-1.64157</c:v>
                </c:pt>
                <c:pt idx="2358">
                  <c:v>-1.232</c:v>
                </c:pt>
                <c:pt idx="2359">
                  <c:v>-1.3935200000000001</c:v>
                </c:pt>
                <c:pt idx="2360">
                  <c:v>-2.1511800000000001</c:v>
                </c:pt>
                <c:pt idx="2361">
                  <c:v>#N/A</c:v>
                </c:pt>
                <c:pt idx="2362">
                  <c:v>-1.4362200000000001</c:v>
                </c:pt>
                <c:pt idx="2363">
                  <c:v>-1.4635899999999999</c:v>
                </c:pt>
                <c:pt idx="2364">
                  <c:v>-1.6444000000000001</c:v>
                </c:pt>
                <c:pt idx="2365">
                  <c:v>#N/A</c:v>
                </c:pt>
                <c:pt idx="2366">
                  <c:v>-1.9956400000000001</c:v>
                </c:pt>
                <c:pt idx="2367">
                  <c:v>-1.8882099999999999</c:v>
                </c:pt>
                <c:pt idx="2368">
                  <c:v>-1.8880300000000001</c:v>
                </c:pt>
                <c:pt idx="2369">
                  <c:v>-2.0802100000000001</c:v>
                </c:pt>
                <c:pt idx="2370">
                  <c:v>#N/A</c:v>
                </c:pt>
                <c:pt idx="2371">
                  <c:v>-2.12595</c:v>
                </c:pt>
                <c:pt idx="2372">
                  <c:v>-1.94943</c:v>
                </c:pt>
                <c:pt idx="2373">
                  <c:v>-2.66107</c:v>
                </c:pt>
                <c:pt idx="2374">
                  <c:v>#N/A</c:v>
                </c:pt>
                <c:pt idx="2375">
                  <c:v>-2.6804100000000002</c:v>
                </c:pt>
                <c:pt idx="2376">
                  <c:v>-2.0360100000000001</c:v>
                </c:pt>
                <c:pt idx="2377">
                  <c:v>-1.8897699999999999</c:v>
                </c:pt>
                <c:pt idx="2378">
                  <c:v>-1.603</c:v>
                </c:pt>
                <c:pt idx="2379">
                  <c:v>#N/A</c:v>
                </c:pt>
                <c:pt idx="2380">
                  <c:v>-1.4884299999999999</c:v>
                </c:pt>
                <c:pt idx="2381">
                  <c:v>-1.8948100000000001</c:v>
                </c:pt>
                <c:pt idx="2382">
                  <c:v>-1.89577</c:v>
                </c:pt>
                <c:pt idx="2383">
                  <c:v>#N/A</c:v>
                </c:pt>
                <c:pt idx="2384">
                  <c:v>-1.92252</c:v>
                </c:pt>
                <c:pt idx="2385">
                  <c:v>-1.8420099999999999</c:v>
                </c:pt>
                <c:pt idx="2386">
                  <c:v>-2.4129</c:v>
                </c:pt>
                <c:pt idx="2387">
                  <c:v>#N/A</c:v>
                </c:pt>
                <c:pt idx="2388">
                  <c:v>-1.9202300000000001</c:v>
                </c:pt>
                <c:pt idx="2389">
                  <c:v>#N/A</c:v>
                </c:pt>
                <c:pt idx="2390">
                  <c:v>-2.11361</c:v>
                </c:pt>
                <c:pt idx="2391">
                  <c:v>-1.9148099999999999</c:v>
                </c:pt>
                <c:pt idx="2392">
                  <c:v>-1.8449599999999999</c:v>
                </c:pt>
                <c:pt idx="2393">
                  <c:v>#N/A</c:v>
                </c:pt>
                <c:pt idx="2394">
                  <c:v>-2.2746599999999999</c:v>
                </c:pt>
                <c:pt idx="2395">
                  <c:v>-2.41065</c:v>
                </c:pt>
                <c:pt idx="2396">
                  <c:v>-1.60185</c:v>
                </c:pt>
                <c:pt idx="2397">
                  <c:v>-1.4521299999999999</c:v>
                </c:pt>
                <c:pt idx="2398">
                  <c:v>#N/A</c:v>
                </c:pt>
                <c:pt idx="2399">
                  <c:v>-1.7994300000000001</c:v>
                </c:pt>
                <c:pt idx="2400">
                  <c:v>-1.77095</c:v>
                </c:pt>
                <c:pt idx="2401">
                  <c:v>-1.5882400000000001</c:v>
                </c:pt>
                <c:pt idx="2402">
                  <c:v>#N/A</c:v>
                </c:pt>
                <c:pt idx="2403">
                  <c:v>-2.0410400000000002</c:v>
                </c:pt>
                <c:pt idx="2404">
                  <c:v>-2.3732099999999998</c:v>
                </c:pt>
                <c:pt idx="2405">
                  <c:v>-2.1283099999999999</c:v>
                </c:pt>
                <c:pt idx="2406">
                  <c:v>#N/A</c:v>
                </c:pt>
                <c:pt idx="2407">
                  <c:v>-1.8287</c:v>
                </c:pt>
                <c:pt idx="2408">
                  <c:v>-1.84284</c:v>
                </c:pt>
                <c:pt idx="2409">
                  <c:v>-1.8976200000000001</c:v>
                </c:pt>
                <c:pt idx="2410">
                  <c:v>-2.1573799999999999</c:v>
                </c:pt>
                <c:pt idx="2411">
                  <c:v>#N/A</c:v>
                </c:pt>
                <c:pt idx="2412">
                  <c:v>-1.8917600000000001</c:v>
                </c:pt>
                <c:pt idx="2413">
                  <c:v>-2.20194</c:v>
                </c:pt>
                <c:pt idx="2414">
                  <c:v>-2.03382</c:v>
                </c:pt>
                <c:pt idx="2415">
                  <c:v>#N/A</c:v>
                </c:pt>
                <c:pt idx="2416">
                  <c:v>-1.6335200000000001</c:v>
                </c:pt>
                <c:pt idx="2417">
                  <c:v>-1.8370500000000001</c:v>
                </c:pt>
                <c:pt idx="2418">
                  <c:v>-1.5362499999999999</c:v>
                </c:pt>
                <c:pt idx="2419">
                  <c:v>-1.58789</c:v>
                </c:pt>
                <c:pt idx="2420">
                  <c:v>#N/A</c:v>
                </c:pt>
                <c:pt idx="2421">
                  <c:v>-1.6998200000000001</c:v>
                </c:pt>
                <c:pt idx="2422">
                  <c:v>-2.2410700000000001</c:v>
                </c:pt>
                <c:pt idx="2423">
                  <c:v>-1.9488799999999999</c:v>
                </c:pt>
                <c:pt idx="2424">
                  <c:v>#N/A</c:v>
                </c:pt>
                <c:pt idx="2425">
                  <c:v>-2.2643300000000002</c:v>
                </c:pt>
                <c:pt idx="2426">
                  <c:v>-2.0175399999999999</c:v>
                </c:pt>
                <c:pt idx="2427">
                  <c:v>-1.7846900000000001</c:v>
                </c:pt>
                <c:pt idx="2428">
                  <c:v>-1.8364499999999999</c:v>
                </c:pt>
                <c:pt idx="2429">
                  <c:v>#N/A</c:v>
                </c:pt>
                <c:pt idx="2430">
                  <c:v>-2.3734000000000002</c:v>
                </c:pt>
                <c:pt idx="2431">
                  <c:v>-2.7458900000000002</c:v>
                </c:pt>
                <c:pt idx="2432">
                  <c:v>-2.5548199999999999</c:v>
                </c:pt>
                <c:pt idx="2433">
                  <c:v>#N/A</c:v>
                </c:pt>
                <c:pt idx="2434">
                  <c:v>-2.5182500000000001</c:v>
                </c:pt>
                <c:pt idx="2435">
                  <c:v>-2.59904</c:v>
                </c:pt>
                <c:pt idx="2436">
                  <c:v>-2.1044900000000002</c:v>
                </c:pt>
                <c:pt idx="2437">
                  <c:v>-2.04542</c:v>
                </c:pt>
                <c:pt idx="2438">
                  <c:v>#N/A</c:v>
                </c:pt>
                <c:pt idx="2439">
                  <c:v>-1.8993500000000001</c:v>
                </c:pt>
                <c:pt idx="2440">
                  <c:v>-2.1684000000000001</c:v>
                </c:pt>
                <c:pt idx="2441">
                  <c:v>-1.8526</c:v>
                </c:pt>
                <c:pt idx="2442">
                  <c:v>#N/A</c:v>
                </c:pt>
                <c:pt idx="2443">
                  <c:v>-1.6473800000000001</c:v>
                </c:pt>
                <c:pt idx="2444">
                  <c:v>-2.62127</c:v>
                </c:pt>
                <c:pt idx="2445">
                  <c:v>-2.0385300000000002</c:v>
                </c:pt>
                <c:pt idx="2446">
                  <c:v>#N/A</c:v>
                </c:pt>
                <c:pt idx="2447">
                  <c:v>-2.2611500000000002</c:v>
                </c:pt>
                <c:pt idx="2448">
                  <c:v>-2.1598600000000001</c:v>
                </c:pt>
                <c:pt idx="2449">
                  <c:v>-2.3912399999999998</c:v>
                </c:pt>
                <c:pt idx="2450">
                  <c:v>#N/A</c:v>
                </c:pt>
                <c:pt idx="2451">
                  <c:v>-2.4129100000000001</c:v>
                </c:pt>
                <c:pt idx="2452">
                  <c:v>-2.3113800000000002</c:v>
                </c:pt>
                <c:pt idx="2453">
                  <c:v>-1.92011</c:v>
                </c:pt>
                <c:pt idx="2454">
                  <c:v>-2.3515999999999999</c:v>
                </c:pt>
                <c:pt idx="2455">
                  <c:v>#N/A</c:v>
                </c:pt>
                <c:pt idx="2456">
                  <c:v>-1.4461900000000001</c:v>
                </c:pt>
                <c:pt idx="2457">
                  <c:v>-1.8535200000000001</c:v>
                </c:pt>
                <c:pt idx="2458">
                  <c:v>-1.9815</c:v>
                </c:pt>
                <c:pt idx="2459">
                  <c:v>#N/A</c:v>
                </c:pt>
                <c:pt idx="2460">
                  <c:v>-2.0221</c:v>
                </c:pt>
                <c:pt idx="2461">
                  <c:v>#N/A</c:v>
                </c:pt>
                <c:pt idx="2462">
                  <c:v>-2.1716299999999999</c:v>
                </c:pt>
                <c:pt idx="2463">
                  <c:v>-1.7594000000000001</c:v>
                </c:pt>
                <c:pt idx="2464">
                  <c:v>-1.7505200000000001</c:v>
                </c:pt>
                <c:pt idx="2465">
                  <c:v>-2.2293500000000002</c:v>
                </c:pt>
                <c:pt idx="2466">
                  <c:v>#N/A</c:v>
                </c:pt>
                <c:pt idx="2467">
                  <c:v>-1.8593299999999999</c:v>
                </c:pt>
                <c:pt idx="2468">
                  <c:v>-2.2784900000000001</c:v>
                </c:pt>
                <c:pt idx="2469">
                  <c:v>-2.3860600000000001</c:v>
                </c:pt>
                <c:pt idx="2470">
                  <c:v>#N/A</c:v>
                </c:pt>
                <c:pt idx="2471">
                  <c:v>-1.7868599999999999</c:v>
                </c:pt>
                <c:pt idx="2472">
                  <c:v>-2.04094</c:v>
                </c:pt>
                <c:pt idx="2473">
                  <c:v>-2.2674599999999998</c:v>
                </c:pt>
                <c:pt idx="2474">
                  <c:v>-2.39527</c:v>
                </c:pt>
                <c:pt idx="2475">
                  <c:v>#N/A</c:v>
                </c:pt>
                <c:pt idx="2476">
                  <c:v>-1.81212</c:v>
                </c:pt>
                <c:pt idx="2477">
                  <c:v>-1.7847900000000001</c:v>
                </c:pt>
                <c:pt idx="2478">
                  <c:v>-1.72295</c:v>
                </c:pt>
                <c:pt idx="2479">
                  <c:v>#N/A</c:v>
                </c:pt>
                <c:pt idx="2480">
                  <c:v>-1.6172299999999999</c:v>
                </c:pt>
                <c:pt idx="2481">
                  <c:v>-1.8554999999999999</c:v>
                </c:pt>
                <c:pt idx="2482">
                  <c:v>-2.1793499999999999</c:v>
                </c:pt>
                <c:pt idx="2483">
                  <c:v>-1.86802</c:v>
                </c:pt>
                <c:pt idx="2484">
                  <c:v>#N/A</c:v>
                </c:pt>
                <c:pt idx="2485">
                  <c:v>-2.1517200000000001</c:v>
                </c:pt>
                <c:pt idx="2486">
                  <c:v>-1.7301599999999999</c:v>
                </c:pt>
                <c:pt idx="2487">
                  <c:v>-2.3202500000000001</c:v>
                </c:pt>
                <c:pt idx="2488">
                  <c:v>-2.0735700000000001</c:v>
                </c:pt>
                <c:pt idx="2489">
                  <c:v>#N/A</c:v>
                </c:pt>
                <c:pt idx="2490">
                  <c:v>-2.2198500000000001</c:v>
                </c:pt>
                <c:pt idx="2491">
                  <c:v>-2.1584699999999999</c:v>
                </c:pt>
                <c:pt idx="2492">
                  <c:v>-2.1153400000000002</c:v>
                </c:pt>
                <c:pt idx="2493">
                  <c:v>#N/A</c:v>
                </c:pt>
                <c:pt idx="2494">
                  <c:v>-2.0099900000000002</c:v>
                </c:pt>
                <c:pt idx="2495">
                  <c:v>-2.38062</c:v>
                </c:pt>
                <c:pt idx="2496">
                  <c:v>-2.1581800000000002</c:v>
                </c:pt>
                <c:pt idx="2497">
                  <c:v>#N/A</c:v>
                </c:pt>
                <c:pt idx="2498">
                  <c:v>-1.8484400000000001</c:v>
                </c:pt>
                <c:pt idx="2499">
                  <c:v>-1.73905</c:v>
                </c:pt>
                <c:pt idx="2500">
                  <c:v>-2.2919700000000001</c:v>
                </c:pt>
                <c:pt idx="2501">
                  <c:v>-2.41432</c:v>
                </c:pt>
                <c:pt idx="2502">
                  <c:v>#N/A</c:v>
                </c:pt>
                <c:pt idx="2503">
                  <c:v>-2.4785200000000001</c:v>
                </c:pt>
                <c:pt idx="2504">
                  <c:v>-2.6097399999999999</c:v>
                </c:pt>
                <c:pt idx="2505">
                  <c:v>-2.8445100000000001</c:v>
                </c:pt>
                <c:pt idx="2506">
                  <c:v>#N/A</c:v>
                </c:pt>
                <c:pt idx="2507">
                  <c:v>-2.0254500000000002</c:v>
                </c:pt>
                <c:pt idx="2508">
                  <c:v>-2.11511</c:v>
                </c:pt>
                <c:pt idx="2509">
                  <c:v>-1.9585300000000001</c:v>
                </c:pt>
                <c:pt idx="2510">
                  <c:v>-1.8664700000000001</c:v>
                </c:pt>
                <c:pt idx="2511">
                  <c:v>#N/A</c:v>
                </c:pt>
                <c:pt idx="2512">
                  <c:v>-2.3880499999999998</c:v>
                </c:pt>
                <c:pt idx="2513">
                  <c:v>#N/A</c:v>
                </c:pt>
                <c:pt idx="2514">
                  <c:v>-2.0002</c:v>
                </c:pt>
                <c:pt idx="2515">
                  <c:v>-1.6526000000000001</c:v>
                </c:pt>
                <c:pt idx="2516">
                  <c:v>#N/A</c:v>
                </c:pt>
                <c:pt idx="2517">
                  <c:v>-1.9690000000000001</c:v>
                </c:pt>
                <c:pt idx="2518">
                  <c:v>-1.65917</c:v>
                </c:pt>
                <c:pt idx="2519">
                  <c:v>-1.52837</c:v>
                </c:pt>
                <c:pt idx="2520">
                  <c:v>-1.8655200000000001</c:v>
                </c:pt>
                <c:pt idx="2521">
                  <c:v>#N/A</c:v>
                </c:pt>
                <c:pt idx="2522">
                  <c:v>-2.2011799999999999</c:v>
                </c:pt>
                <c:pt idx="2523">
                  <c:v>-2.0486900000000001</c:v>
                </c:pt>
                <c:pt idx="2524">
                  <c:v>-2.1409400000000001</c:v>
                </c:pt>
                <c:pt idx="2525">
                  <c:v>#N/A</c:v>
                </c:pt>
                <c:pt idx="2526">
                  <c:v>-1.94604</c:v>
                </c:pt>
                <c:pt idx="2527">
                  <c:v>-1.5572299999999999</c:v>
                </c:pt>
                <c:pt idx="2528">
                  <c:v>-1.9337</c:v>
                </c:pt>
                <c:pt idx="2529">
                  <c:v>-2.4136099999999998</c:v>
                </c:pt>
                <c:pt idx="2530">
                  <c:v>#N/A</c:v>
                </c:pt>
                <c:pt idx="2531">
                  <c:v>-2.3476300000000001</c:v>
                </c:pt>
                <c:pt idx="2532">
                  <c:v>#N/A</c:v>
                </c:pt>
                <c:pt idx="2533">
                  <c:v>-2.2650600000000001</c:v>
                </c:pt>
                <c:pt idx="2534">
                  <c:v>-2.3778999999999999</c:v>
                </c:pt>
                <c:pt idx="2535">
                  <c:v>#N/A</c:v>
                </c:pt>
                <c:pt idx="2536">
                  <c:v>-1.9374400000000001</c:v>
                </c:pt>
                <c:pt idx="2537">
                  <c:v>-1.94713</c:v>
                </c:pt>
                <c:pt idx="2538">
                  <c:v>-2.2340100000000001</c:v>
                </c:pt>
                <c:pt idx="2539">
                  <c:v>#N/A</c:v>
                </c:pt>
                <c:pt idx="2540">
                  <c:v>-1.9413199999999999</c:v>
                </c:pt>
                <c:pt idx="2541">
                  <c:v>-1.90781</c:v>
                </c:pt>
                <c:pt idx="2542">
                  <c:v>-1.4699199999999999</c:v>
                </c:pt>
                <c:pt idx="2543">
                  <c:v>-2.1196199999999998</c:v>
                </c:pt>
                <c:pt idx="2544">
                  <c:v>#N/A</c:v>
                </c:pt>
                <c:pt idx="2545">
                  <c:v>-1.84876</c:v>
                </c:pt>
                <c:pt idx="2546">
                  <c:v>-2.1429900000000002</c:v>
                </c:pt>
                <c:pt idx="2547">
                  <c:v>-2.0297399999999999</c:v>
                </c:pt>
                <c:pt idx="2548">
                  <c:v>#N/A</c:v>
                </c:pt>
                <c:pt idx="2549">
                  <c:v>-2.3665799999999999</c:v>
                </c:pt>
                <c:pt idx="2550">
                  <c:v>-2.0120800000000001</c:v>
                </c:pt>
                <c:pt idx="2551">
                  <c:v>-2.1881400000000002</c:v>
                </c:pt>
                <c:pt idx="2552">
                  <c:v>#N/A</c:v>
                </c:pt>
                <c:pt idx="2553">
                  <c:v>-2.4152</c:v>
                </c:pt>
                <c:pt idx="2554">
                  <c:v>-1.9635</c:v>
                </c:pt>
                <c:pt idx="2555">
                  <c:v>-2.0554299999999999</c:v>
                </c:pt>
                <c:pt idx="2556">
                  <c:v>#N/A</c:v>
                </c:pt>
                <c:pt idx="2557">
                  <c:v>-2.2113200000000002</c:v>
                </c:pt>
                <c:pt idx="2558">
                  <c:v>-2.61022</c:v>
                </c:pt>
                <c:pt idx="2559">
                  <c:v>-2.5205099999999998</c:v>
                </c:pt>
                <c:pt idx="2560">
                  <c:v>-2.0789300000000002</c:v>
                </c:pt>
                <c:pt idx="2561">
                  <c:v>#N/A</c:v>
                </c:pt>
                <c:pt idx="2562">
                  <c:v>-2.9802200000000001</c:v>
                </c:pt>
                <c:pt idx="2563">
                  <c:v>-2.6250499999999999</c:v>
                </c:pt>
                <c:pt idx="2564">
                  <c:v>-2.6711399999999998</c:v>
                </c:pt>
                <c:pt idx="2565">
                  <c:v>#N/A</c:v>
                </c:pt>
                <c:pt idx="2566">
                  <c:v>-2.0365500000000001</c:v>
                </c:pt>
                <c:pt idx="2567">
                  <c:v>-2.2312599999999998</c:v>
                </c:pt>
                <c:pt idx="2568">
                  <c:v>-1.4894099999999999</c:v>
                </c:pt>
                <c:pt idx="2569">
                  <c:v>#N/A</c:v>
                </c:pt>
                <c:pt idx="2570">
                  <c:v>-1.52115</c:v>
                </c:pt>
                <c:pt idx="2571">
                  <c:v>-1.4376800000000001</c:v>
                </c:pt>
                <c:pt idx="2572">
                  <c:v>-1.0323800000000001</c:v>
                </c:pt>
                <c:pt idx="2573">
                  <c:v>#N/A</c:v>
                </c:pt>
                <c:pt idx="2574">
                  <c:v>-1.16557</c:v>
                </c:pt>
                <c:pt idx="2575">
                  <c:v>-1.3382700000000001</c:v>
                </c:pt>
                <c:pt idx="2576">
                  <c:v>-1.6343300000000001</c:v>
                </c:pt>
                <c:pt idx="2577">
                  <c:v>-1.1948799999999999</c:v>
                </c:pt>
                <c:pt idx="2578">
                  <c:v>#N/A</c:v>
                </c:pt>
                <c:pt idx="2579">
                  <c:v>-1.57969</c:v>
                </c:pt>
                <c:pt idx="2580">
                  <c:v>-2.1056599999999999</c:v>
                </c:pt>
                <c:pt idx="2581">
                  <c:v>-1.8678399999999999</c:v>
                </c:pt>
                <c:pt idx="2582">
                  <c:v>-2.1561300000000001</c:v>
                </c:pt>
                <c:pt idx="2583">
                  <c:v>#N/A</c:v>
                </c:pt>
                <c:pt idx="2584">
                  <c:v>-2.59449</c:v>
                </c:pt>
                <c:pt idx="2585">
                  <c:v>-2.6862400000000002</c:v>
                </c:pt>
                <c:pt idx="2586">
                  <c:v>-2.3106900000000001</c:v>
                </c:pt>
                <c:pt idx="2587">
                  <c:v>#N/A</c:v>
                </c:pt>
                <c:pt idx="2588">
                  <c:v>-2.0009600000000001</c:v>
                </c:pt>
                <c:pt idx="2589">
                  <c:v>-2.13842</c:v>
                </c:pt>
                <c:pt idx="2590">
                  <c:v>-2.1826300000000001</c:v>
                </c:pt>
                <c:pt idx="2591">
                  <c:v>-2.5788899999999999</c:v>
                </c:pt>
                <c:pt idx="2592">
                  <c:v>#N/A</c:v>
                </c:pt>
                <c:pt idx="2593">
                  <c:v>-2.5476000000000001</c:v>
                </c:pt>
                <c:pt idx="2594">
                  <c:v>-2.0091800000000002</c:v>
                </c:pt>
                <c:pt idx="2595">
                  <c:v>-1.4269499999999999</c:v>
                </c:pt>
                <c:pt idx="2596">
                  <c:v>#N/A</c:v>
                </c:pt>
                <c:pt idx="2597">
                  <c:v>-1.15218</c:v>
                </c:pt>
                <c:pt idx="2598">
                  <c:v>-1.50742</c:v>
                </c:pt>
                <c:pt idx="2599">
                  <c:v>-1.2684200000000001</c:v>
                </c:pt>
                <c:pt idx="2600">
                  <c:v>-1.72719</c:v>
                </c:pt>
                <c:pt idx="2601">
                  <c:v>#N/A</c:v>
                </c:pt>
                <c:pt idx="2602">
                  <c:v>-1.9528300000000001</c:v>
                </c:pt>
                <c:pt idx="2603">
                  <c:v>-2.2156400000000001</c:v>
                </c:pt>
                <c:pt idx="2604">
                  <c:v>#N/A</c:v>
                </c:pt>
                <c:pt idx="2605">
                  <c:v>-2.54942</c:v>
                </c:pt>
                <c:pt idx="2606">
                  <c:v>-2.1827800000000002</c:v>
                </c:pt>
                <c:pt idx="2607">
                  <c:v>#N/A</c:v>
                </c:pt>
                <c:pt idx="2608">
                  <c:v>-2.43702</c:v>
                </c:pt>
                <c:pt idx="2609">
                  <c:v>-2.24566</c:v>
                </c:pt>
                <c:pt idx="2610">
                  <c:v>-2.2228400000000001</c:v>
                </c:pt>
                <c:pt idx="2611">
                  <c:v>#N/A</c:v>
                </c:pt>
                <c:pt idx="2612">
                  <c:v>-2.5425599999999999</c:v>
                </c:pt>
                <c:pt idx="2613">
                  <c:v>-2.43364</c:v>
                </c:pt>
                <c:pt idx="2614">
                  <c:v>-2.6739600000000001</c:v>
                </c:pt>
                <c:pt idx="2615">
                  <c:v>-1.4475199999999999</c:v>
                </c:pt>
                <c:pt idx="2616">
                  <c:v>#N/A</c:v>
                </c:pt>
                <c:pt idx="2617">
                  <c:v>-1.60791</c:v>
                </c:pt>
                <c:pt idx="2618">
                  <c:v>-1.4482900000000001</c:v>
                </c:pt>
                <c:pt idx="2619">
                  <c:v>-1.8769</c:v>
                </c:pt>
                <c:pt idx="2620">
                  <c:v>#N/A</c:v>
                </c:pt>
                <c:pt idx="2621">
                  <c:v>-1.7718100000000001</c:v>
                </c:pt>
                <c:pt idx="2622">
                  <c:v>-1.76441</c:v>
                </c:pt>
                <c:pt idx="2623">
                  <c:v>-1.7861499999999999</c:v>
                </c:pt>
                <c:pt idx="2624">
                  <c:v>-1.66069</c:v>
                </c:pt>
                <c:pt idx="2625">
                  <c:v>#N/A</c:v>
                </c:pt>
                <c:pt idx="2626">
                  <c:v>-2.0691899999999999</c:v>
                </c:pt>
                <c:pt idx="2627">
                  <c:v>-2.02352</c:v>
                </c:pt>
                <c:pt idx="2628">
                  <c:v>-2.05301</c:v>
                </c:pt>
                <c:pt idx="2629">
                  <c:v>#N/A</c:v>
                </c:pt>
                <c:pt idx="2630">
                  <c:v>-2.2694999999999999</c:v>
                </c:pt>
                <c:pt idx="2631">
                  <c:v>-2.3483499999999999</c:v>
                </c:pt>
                <c:pt idx="2632">
                  <c:v>-1.966</c:v>
                </c:pt>
                <c:pt idx="2633">
                  <c:v>#N/A</c:v>
                </c:pt>
                <c:pt idx="2634">
                  <c:v>-2.11836</c:v>
                </c:pt>
                <c:pt idx="2635">
                  <c:v>-2.0814900000000001</c:v>
                </c:pt>
                <c:pt idx="2636">
                  <c:v>-2.2870400000000002</c:v>
                </c:pt>
                <c:pt idx="2637">
                  <c:v>#N/A</c:v>
                </c:pt>
                <c:pt idx="2638">
                  <c:v>-1.83772</c:v>
                </c:pt>
                <c:pt idx="2639">
                  <c:v>-2.03714</c:v>
                </c:pt>
                <c:pt idx="2640">
                  <c:v>-1.71417</c:v>
                </c:pt>
                <c:pt idx="2641">
                  <c:v>-2.2522899999999999</c:v>
                </c:pt>
                <c:pt idx="2642">
                  <c:v>#N/A</c:v>
                </c:pt>
                <c:pt idx="2643">
                  <c:v>-2.1033599999999999</c:v>
                </c:pt>
                <c:pt idx="2644">
                  <c:v>-1.89828</c:v>
                </c:pt>
                <c:pt idx="2645">
                  <c:v>-2.3371400000000002</c:v>
                </c:pt>
                <c:pt idx="2646">
                  <c:v>-2.11558</c:v>
                </c:pt>
                <c:pt idx="2647">
                  <c:v>#N/A</c:v>
                </c:pt>
                <c:pt idx="2648">
                  <c:v>-2.0194000000000001</c:v>
                </c:pt>
                <c:pt idx="2649">
                  <c:v>-2.1008</c:v>
                </c:pt>
                <c:pt idx="2650">
                  <c:v>-2.3001499999999999</c:v>
                </c:pt>
                <c:pt idx="2651">
                  <c:v>#N/A</c:v>
                </c:pt>
                <c:pt idx="2652">
                  <c:v>-2.3383500000000002</c:v>
                </c:pt>
                <c:pt idx="2653">
                  <c:v>-2.2765599999999999</c:v>
                </c:pt>
                <c:pt idx="2654">
                  <c:v>-2.4471099999999999</c:v>
                </c:pt>
                <c:pt idx="2655">
                  <c:v>-1.8652899999999999</c:v>
                </c:pt>
                <c:pt idx="2656">
                  <c:v>#N/A</c:v>
                </c:pt>
                <c:pt idx="2657">
                  <c:v>-1.96132</c:v>
                </c:pt>
                <c:pt idx="2658">
                  <c:v>-1.8876599999999999</c:v>
                </c:pt>
                <c:pt idx="2659">
                  <c:v>-1.4937499999999999</c:v>
                </c:pt>
                <c:pt idx="2660">
                  <c:v>#N/A</c:v>
                </c:pt>
                <c:pt idx="2661">
                  <c:v>-1.7901800000000001</c:v>
                </c:pt>
                <c:pt idx="2662">
                  <c:v>-1.90822</c:v>
                </c:pt>
                <c:pt idx="2663">
                  <c:v>-2.4238499999999998</c:v>
                </c:pt>
                <c:pt idx="2664">
                  <c:v>-2.3903099999999999</c:v>
                </c:pt>
                <c:pt idx="2665">
                  <c:v>#N/A</c:v>
                </c:pt>
                <c:pt idx="2666">
                  <c:v>-2.4097300000000001</c:v>
                </c:pt>
                <c:pt idx="2667">
                  <c:v>-2.0375100000000002</c:v>
                </c:pt>
                <c:pt idx="2668">
                  <c:v>-1.9649399999999999</c:v>
                </c:pt>
                <c:pt idx="2669">
                  <c:v>#N/A</c:v>
                </c:pt>
                <c:pt idx="2670">
                  <c:v>-2.0070000000000001</c:v>
                </c:pt>
                <c:pt idx="2671">
                  <c:v>-2.3384900000000002</c:v>
                </c:pt>
                <c:pt idx="2672">
                  <c:v>-2.38483</c:v>
                </c:pt>
                <c:pt idx="2673">
                  <c:v>#N/A</c:v>
                </c:pt>
                <c:pt idx="2674">
                  <c:v>-2.0296400000000001</c:v>
                </c:pt>
                <c:pt idx="2675">
                  <c:v>-1.43729</c:v>
                </c:pt>
                <c:pt idx="2676">
                  <c:v>#N/A</c:v>
                </c:pt>
                <c:pt idx="2677">
                  <c:v>-1.5936300000000001</c:v>
                </c:pt>
                <c:pt idx="2678">
                  <c:v>-1.4050400000000001</c:v>
                </c:pt>
                <c:pt idx="2679">
                  <c:v>#N/A</c:v>
                </c:pt>
                <c:pt idx="2680">
                  <c:v>-2.1055700000000002</c:v>
                </c:pt>
                <c:pt idx="2681">
                  <c:v>-1.85284</c:v>
                </c:pt>
                <c:pt idx="2682">
                  <c:v>-1.8335600000000001</c:v>
                </c:pt>
                <c:pt idx="2683">
                  <c:v>#N/A</c:v>
                </c:pt>
                <c:pt idx="2684">
                  <c:v>-2.0900099999999999</c:v>
                </c:pt>
                <c:pt idx="2685">
                  <c:v>-2.2910499999999998</c:v>
                </c:pt>
                <c:pt idx="2686">
                  <c:v>-2.09789</c:v>
                </c:pt>
                <c:pt idx="2687">
                  <c:v>-1.72614</c:v>
                </c:pt>
                <c:pt idx="2688">
                  <c:v>#N/A</c:v>
                </c:pt>
                <c:pt idx="2689">
                  <c:v>-2.0851600000000001</c:v>
                </c:pt>
                <c:pt idx="2690">
                  <c:v>-1.9778800000000001</c:v>
                </c:pt>
                <c:pt idx="2691">
                  <c:v>-2.1855600000000002</c:v>
                </c:pt>
                <c:pt idx="2692">
                  <c:v>#N/A</c:v>
                </c:pt>
                <c:pt idx="2693">
                  <c:v>-2.3456100000000002</c:v>
                </c:pt>
                <c:pt idx="2694">
                  <c:v>-2.5312399999999999</c:v>
                </c:pt>
                <c:pt idx="2695">
                  <c:v>-1.37168</c:v>
                </c:pt>
                <c:pt idx="2696">
                  <c:v>-1.73716</c:v>
                </c:pt>
                <c:pt idx="2697">
                  <c:v>#N/A</c:v>
                </c:pt>
                <c:pt idx="2698">
                  <c:v>-1.75465</c:v>
                </c:pt>
                <c:pt idx="2699">
                  <c:v>-1.7494499999999999</c:v>
                </c:pt>
                <c:pt idx="2700">
                  <c:v>-1.88307</c:v>
                </c:pt>
                <c:pt idx="2701">
                  <c:v>-2.44415</c:v>
                </c:pt>
                <c:pt idx="2702">
                  <c:v>#N/A</c:v>
                </c:pt>
                <c:pt idx="2703">
                  <c:v>-1.57803</c:v>
                </c:pt>
                <c:pt idx="2704">
                  <c:v>-1.6622399999999999</c:v>
                </c:pt>
                <c:pt idx="2705">
                  <c:v>-1.7621500000000001</c:v>
                </c:pt>
                <c:pt idx="2706">
                  <c:v>#N/A</c:v>
                </c:pt>
                <c:pt idx="2707">
                  <c:v>-1.82646</c:v>
                </c:pt>
                <c:pt idx="2708">
                  <c:v>-2.0519099999999999</c:v>
                </c:pt>
                <c:pt idx="2709">
                  <c:v>-2.26471</c:v>
                </c:pt>
                <c:pt idx="2710">
                  <c:v>-2.3963800000000002</c:v>
                </c:pt>
                <c:pt idx="2711">
                  <c:v>#N/A</c:v>
                </c:pt>
                <c:pt idx="2712">
                  <c:v>-2.2427800000000002</c:v>
                </c:pt>
                <c:pt idx="2713">
                  <c:v>-2.1083099999999999</c:v>
                </c:pt>
                <c:pt idx="2714">
                  <c:v>-2.3342999999999998</c:v>
                </c:pt>
                <c:pt idx="2715">
                  <c:v>#N/A</c:v>
                </c:pt>
                <c:pt idx="2716">
                  <c:v>-1.8955500000000001</c:v>
                </c:pt>
                <c:pt idx="2717">
                  <c:v>-1.6415</c:v>
                </c:pt>
                <c:pt idx="2718">
                  <c:v>-1.7458</c:v>
                </c:pt>
                <c:pt idx="2719">
                  <c:v>-2.1344099999999999</c:v>
                </c:pt>
                <c:pt idx="2720">
                  <c:v>#N/A</c:v>
                </c:pt>
                <c:pt idx="2721">
                  <c:v>-1.77169</c:v>
                </c:pt>
                <c:pt idx="2722">
                  <c:v>-2.23508</c:v>
                </c:pt>
                <c:pt idx="2723">
                  <c:v>-2.4031899999999999</c:v>
                </c:pt>
                <c:pt idx="2724">
                  <c:v>#N/A</c:v>
                </c:pt>
                <c:pt idx="2725">
                  <c:v>-2.1208399999999998</c:v>
                </c:pt>
                <c:pt idx="2726">
                  <c:v>-2.0067699999999999</c:v>
                </c:pt>
                <c:pt idx="2727">
                  <c:v>-1.5648299999999999</c:v>
                </c:pt>
                <c:pt idx="2728">
                  <c:v>#N/A</c:v>
                </c:pt>
                <c:pt idx="2729">
                  <c:v>-1.8901600000000001</c:v>
                </c:pt>
                <c:pt idx="2730">
                  <c:v>-1.7305900000000001</c:v>
                </c:pt>
                <c:pt idx="2731">
                  <c:v>-2.1844700000000001</c:v>
                </c:pt>
                <c:pt idx="2732">
                  <c:v>-2.27671</c:v>
                </c:pt>
                <c:pt idx="2733">
                  <c:v>#N/A</c:v>
                </c:pt>
                <c:pt idx="2734">
                  <c:v>-1.5641</c:v>
                </c:pt>
                <c:pt idx="2735">
                  <c:v>-2.1080700000000001</c:v>
                </c:pt>
                <c:pt idx="2736">
                  <c:v>-2.2014399999999998</c:v>
                </c:pt>
                <c:pt idx="2737">
                  <c:v>-1.6911099999999999</c:v>
                </c:pt>
                <c:pt idx="2738">
                  <c:v>#N/A</c:v>
                </c:pt>
                <c:pt idx="2739">
                  <c:v>-1.5813900000000001</c:v>
                </c:pt>
                <c:pt idx="2740">
                  <c:v>-1.9753099999999999</c:v>
                </c:pt>
                <c:pt idx="2741">
                  <c:v>-2.2251599999999998</c:v>
                </c:pt>
                <c:pt idx="2742">
                  <c:v>#N/A</c:v>
                </c:pt>
                <c:pt idx="2743">
                  <c:v>-2.3722099999999999</c:v>
                </c:pt>
                <c:pt idx="2744">
                  <c:v>-2.1672099999999999</c:v>
                </c:pt>
                <c:pt idx="2745">
                  <c:v>-2.26329</c:v>
                </c:pt>
                <c:pt idx="2746">
                  <c:v>#N/A</c:v>
                </c:pt>
                <c:pt idx="2747">
                  <c:v>-2.0930399999999998</c:v>
                </c:pt>
                <c:pt idx="2748">
                  <c:v>-1.93082</c:v>
                </c:pt>
                <c:pt idx="2749">
                  <c:v>#N/A</c:v>
                </c:pt>
                <c:pt idx="2750">
                  <c:v>-2.0882499999999999</c:v>
                </c:pt>
                <c:pt idx="2751">
                  <c:v>-2.1458699999999999</c:v>
                </c:pt>
                <c:pt idx="2752">
                  <c:v>-2.1204000000000001</c:v>
                </c:pt>
                <c:pt idx="2753">
                  <c:v>#N/A</c:v>
                </c:pt>
                <c:pt idx="2754">
                  <c:v>-2.5316299999999998</c:v>
                </c:pt>
                <c:pt idx="2755">
                  <c:v>-2.1337700000000002</c:v>
                </c:pt>
                <c:pt idx="2756">
                  <c:v>-2.1015299999999999</c:v>
                </c:pt>
                <c:pt idx="2757">
                  <c:v>#N/A</c:v>
                </c:pt>
                <c:pt idx="2758">
                  <c:v>-1.7978000000000001</c:v>
                </c:pt>
                <c:pt idx="2759">
                  <c:v>-1.48115</c:v>
                </c:pt>
                <c:pt idx="2760">
                  <c:v>-1.9382200000000001</c:v>
                </c:pt>
                <c:pt idx="2761">
                  <c:v>-2.4427400000000001</c:v>
                </c:pt>
                <c:pt idx="2762">
                  <c:v>#N/A</c:v>
                </c:pt>
                <c:pt idx="2763">
                  <c:v>-2.1036000000000001</c:v>
                </c:pt>
                <c:pt idx="2764">
                  <c:v>-2.2102900000000001</c:v>
                </c:pt>
                <c:pt idx="2765">
                  <c:v>-1.5541100000000001</c:v>
                </c:pt>
                <c:pt idx="2766">
                  <c:v>-1.9916700000000001</c:v>
                </c:pt>
                <c:pt idx="2767">
                  <c:v>#N/A</c:v>
                </c:pt>
                <c:pt idx="2768">
                  <c:v>-1.7444200000000001</c:v>
                </c:pt>
                <c:pt idx="2769">
                  <c:v>-2.2054399999999998</c:v>
                </c:pt>
                <c:pt idx="2770">
                  <c:v>-2.5834100000000002</c:v>
                </c:pt>
                <c:pt idx="2771">
                  <c:v>#N/A</c:v>
                </c:pt>
                <c:pt idx="2772">
                  <c:v>-2.4821900000000001</c:v>
                </c:pt>
                <c:pt idx="2773">
                  <c:v>-2.1611799999999999</c:v>
                </c:pt>
                <c:pt idx="2774">
                  <c:v>-1.8596699999999999</c:v>
                </c:pt>
                <c:pt idx="2775">
                  <c:v>-1.9465399999999999</c:v>
                </c:pt>
                <c:pt idx="2776">
                  <c:v>#N/A</c:v>
                </c:pt>
                <c:pt idx="2777">
                  <c:v>-1.60084</c:v>
                </c:pt>
                <c:pt idx="2778">
                  <c:v>-1.9216200000000001</c:v>
                </c:pt>
                <c:pt idx="2779">
                  <c:v>-2.31731</c:v>
                </c:pt>
                <c:pt idx="2780">
                  <c:v>#N/A</c:v>
                </c:pt>
                <c:pt idx="2781">
                  <c:v>-1.99953</c:v>
                </c:pt>
                <c:pt idx="2782">
                  <c:v>-2.2046600000000001</c:v>
                </c:pt>
                <c:pt idx="2783">
                  <c:v>-1.8256699999999999</c:v>
                </c:pt>
                <c:pt idx="2784">
                  <c:v>#N/A</c:v>
                </c:pt>
                <c:pt idx="2785">
                  <c:v>-2.16276</c:v>
                </c:pt>
                <c:pt idx="2786">
                  <c:v>-1.71577</c:v>
                </c:pt>
                <c:pt idx="2787">
                  <c:v>-1.69678</c:v>
                </c:pt>
                <c:pt idx="2788">
                  <c:v>-1.68666</c:v>
                </c:pt>
                <c:pt idx="2789">
                  <c:v>#N/A</c:v>
                </c:pt>
                <c:pt idx="2790">
                  <c:v>-1.8544700000000001</c:v>
                </c:pt>
                <c:pt idx="2791">
                  <c:v>-2.2643200000000001</c:v>
                </c:pt>
                <c:pt idx="2792">
                  <c:v>-2.16709</c:v>
                </c:pt>
                <c:pt idx="2793">
                  <c:v>#N/A</c:v>
                </c:pt>
                <c:pt idx="2794">
                  <c:v>-2.1316000000000002</c:v>
                </c:pt>
                <c:pt idx="2795">
                  <c:v>-1.37323</c:v>
                </c:pt>
                <c:pt idx="2796">
                  <c:v>-1.7045999999999999</c:v>
                </c:pt>
                <c:pt idx="2797">
                  <c:v>#N/A</c:v>
                </c:pt>
                <c:pt idx="2798">
                  <c:v>-1.65361</c:v>
                </c:pt>
                <c:pt idx="2799">
                  <c:v>-1.7637799999999999</c:v>
                </c:pt>
                <c:pt idx="2800">
                  <c:v>-1.5617099999999999</c:v>
                </c:pt>
                <c:pt idx="2801">
                  <c:v>-2.31412</c:v>
                </c:pt>
                <c:pt idx="2802">
                  <c:v>#N/A</c:v>
                </c:pt>
                <c:pt idx="2803">
                  <c:v>-1.8591</c:v>
                </c:pt>
                <c:pt idx="2804">
                  <c:v>-1.89432</c:v>
                </c:pt>
                <c:pt idx="2805">
                  <c:v>-1.63032</c:v>
                </c:pt>
                <c:pt idx="2806">
                  <c:v>#N/A</c:v>
                </c:pt>
                <c:pt idx="2807">
                  <c:v>-2.0264199999999999</c:v>
                </c:pt>
                <c:pt idx="2808">
                  <c:v>-1.80718</c:v>
                </c:pt>
                <c:pt idx="2809">
                  <c:v>-1.7596400000000001</c:v>
                </c:pt>
                <c:pt idx="2810">
                  <c:v>-2.1388099999999999</c:v>
                </c:pt>
                <c:pt idx="2811">
                  <c:v>#N/A</c:v>
                </c:pt>
                <c:pt idx="2812">
                  <c:v>-2.0299200000000002</c:v>
                </c:pt>
                <c:pt idx="2813">
                  <c:v>-2.3967200000000002</c:v>
                </c:pt>
                <c:pt idx="2814">
                  <c:v>-1.84219</c:v>
                </c:pt>
                <c:pt idx="2815">
                  <c:v>#N/A</c:v>
                </c:pt>
                <c:pt idx="2816">
                  <c:v>-2.1104699999999998</c:v>
                </c:pt>
                <c:pt idx="2817">
                  <c:v>-2.0754299999999999</c:v>
                </c:pt>
                <c:pt idx="2818">
                  <c:v>#N/A</c:v>
                </c:pt>
                <c:pt idx="2819">
                  <c:v>-2.02902</c:v>
                </c:pt>
                <c:pt idx="2820">
                  <c:v>-1.65219</c:v>
                </c:pt>
                <c:pt idx="2821">
                  <c:v>#N/A</c:v>
                </c:pt>
                <c:pt idx="2822">
                  <c:v>-1.8550800000000001</c:v>
                </c:pt>
                <c:pt idx="2823">
                  <c:v>-1.5976399999999999</c:v>
                </c:pt>
                <c:pt idx="2824">
                  <c:v>-1.8786700000000001</c:v>
                </c:pt>
                <c:pt idx="2825">
                  <c:v>#N/A</c:v>
                </c:pt>
                <c:pt idx="2826">
                  <c:v>-1.9975400000000001</c:v>
                </c:pt>
                <c:pt idx="2827">
                  <c:v>-1.8715299999999999</c:v>
                </c:pt>
                <c:pt idx="2828">
                  <c:v>-2.2122099999999998</c:v>
                </c:pt>
                <c:pt idx="2829">
                  <c:v>-1.85711</c:v>
                </c:pt>
                <c:pt idx="2830">
                  <c:v>#N/A</c:v>
                </c:pt>
                <c:pt idx="2831">
                  <c:v>-2.4359899999999999</c:v>
                </c:pt>
                <c:pt idx="2832">
                  <c:v>-2.3043399999999998</c:v>
                </c:pt>
                <c:pt idx="2833">
                  <c:v>-2.24363</c:v>
                </c:pt>
                <c:pt idx="2834">
                  <c:v>-2.2621099999999998</c:v>
                </c:pt>
                <c:pt idx="2835">
                  <c:v>#N/A</c:v>
                </c:pt>
                <c:pt idx="2836">
                  <c:v>-1.9892099999999999</c:v>
                </c:pt>
                <c:pt idx="2837">
                  <c:v>-1.53623</c:v>
                </c:pt>
                <c:pt idx="2838">
                  <c:v>-1.78525</c:v>
                </c:pt>
                <c:pt idx="2839">
                  <c:v>#N/A</c:v>
                </c:pt>
                <c:pt idx="2840">
                  <c:v>-1.9020900000000001</c:v>
                </c:pt>
                <c:pt idx="2841">
                  <c:v>-2.6040199999999998</c:v>
                </c:pt>
                <c:pt idx="2842">
                  <c:v>-2.2731499999999998</c:v>
                </c:pt>
                <c:pt idx="2843">
                  <c:v>-2.2267100000000002</c:v>
                </c:pt>
                <c:pt idx="2844">
                  <c:v>#N/A</c:v>
                </c:pt>
                <c:pt idx="2845">
                  <c:v>-2.30362</c:v>
                </c:pt>
                <c:pt idx="2846">
                  <c:v>-1.5796699999999999</c:v>
                </c:pt>
                <c:pt idx="2847">
                  <c:v>-1.8645099999999999</c:v>
                </c:pt>
                <c:pt idx="2848">
                  <c:v>#N/A</c:v>
                </c:pt>
                <c:pt idx="2849">
                  <c:v>-2.3269799999999998</c:v>
                </c:pt>
                <c:pt idx="2850">
                  <c:v>-2.2614399999999999</c:v>
                </c:pt>
                <c:pt idx="2851">
                  <c:v>-2.3471700000000002</c:v>
                </c:pt>
                <c:pt idx="2852">
                  <c:v>#N/A</c:v>
                </c:pt>
                <c:pt idx="2853">
                  <c:v>-2.5193400000000001</c:v>
                </c:pt>
                <c:pt idx="2854">
                  <c:v>-2.2779199999999999</c:v>
                </c:pt>
                <c:pt idx="2855">
                  <c:v>-1.99132</c:v>
                </c:pt>
                <c:pt idx="2856">
                  <c:v>#N/A</c:v>
                </c:pt>
                <c:pt idx="2857">
                  <c:v>-1.6611400000000001</c:v>
                </c:pt>
                <c:pt idx="2858">
                  <c:v>-1.6023499999999999</c:v>
                </c:pt>
                <c:pt idx="2859">
                  <c:v>-2.18127</c:v>
                </c:pt>
                <c:pt idx="2860">
                  <c:v>-2.0797500000000002</c:v>
                </c:pt>
                <c:pt idx="2861">
                  <c:v>#N/A</c:v>
                </c:pt>
                <c:pt idx="2862">
                  <c:v>-1.94543</c:v>
                </c:pt>
                <c:pt idx="2863">
                  <c:v>-2.1953800000000001</c:v>
                </c:pt>
                <c:pt idx="2864">
                  <c:v>-2.0283099999999998</c:v>
                </c:pt>
                <c:pt idx="2865">
                  <c:v>#N/A</c:v>
                </c:pt>
                <c:pt idx="2866">
                  <c:v>-2.0574699999999999</c:v>
                </c:pt>
                <c:pt idx="2867">
                  <c:v>-1.74041</c:v>
                </c:pt>
                <c:pt idx="2868">
                  <c:v>-2.3336899999999998</c:v>
                </c:pt>
                <c:pt idx="2869">
                  <c:v>-2.1748500000000002</c:v>
                </c:pt>
                <c:pt idx="2870">
                  <c:v>#N/A</c:v>
                </c:pt>
                <c:pt idx="2871">
                  <c:v>-2.6988300000000001</c:v>
                </c:pt>
                <c:pt idx="2872">
                  <c:v>-2.5001000000000002</c:v>
                </c:pt>
                <c:pt idx="2873">
                  <c:v>-2.3052600000000001</c:v>
                </c:pt>
                <c:pt idx="2874">
                  <c:v>#N/A</c:v>
                </c:pt>
                <c:pt idx="2875">
                  <c:v>-1.77078</c:v>
                </c:pt>
                <c:pt idx="2876">
                  <c:v>-1.91872</c:v>
                </c:pt>
                <c:pt idx="2877">
                  <c:v>#N/A</c:v>
                </c:pt>
                <c:pt idx="2878">
                  <c:v>-2.1395400000000002</c:v>
                </c:pt>
                <c:pt idx="2879">
                  <c:v>-1.9657500000000001</c:v>
                </c:pt>
                <c:pt idx="2880">
                  <c:v>-1.81917</c:v>
                </c:pt>
                <c:pt idx="2881">
                  <c:v>-1.80596</c:v>
                </c:pt>
                <c:pt idx="2882">
                  <c:v>#N/A</c:v>
                </c:pt>
                <c:pt idx="2883">
                  <c:v>-2.51396</c:v>
                </c:pt>
                <c:pt idx="2884">
                  <c:v>-2.2129099999999999</c:v>
                </c:pt>
                <c:pt idx="2885">
                  <c:v>-1.68363</c:v>
                </c:pt>
                <c:pt idx="2886">
                  <c:v>#N/A</c:v>
                </c:pt>
                <c:pt idx="2887">
                  <c:v>-2.2065899999999998</c:v>
                </c:pt>
                <c:pt idx="2888">
                  <c:v>-2.09457</c:v>
                </c:pt>
                <c:pt idx="2889">
                  <c:v>-2.0929700000000002</c:v>
                </c:pt>
                <c:pt idx="2890">
                  <c:v>#N/A</c:v>
                </c:pt>
                <c:pt idx="2891">
                  <c:v>-2.5445700000000002</c:v>
                </c:pt>
                <c:pt idx="2892">
                  <c:v>-2.12174</c:v>
                </c:pt>
                <c:pt idx="2893">
                  <c:v>#N/A</c:v>
                </c:pt>
                <c:pt idx="2894">
                  <c:v>-2.3415900000000001</c:v>
                </c:pt>
                <c:pt idx="2895">
                  <c:v>-1.99149</c:v>
                </c:pt>
                <c:pt idx="2896">
                  <c:v>-1.7397199999999999</c:v>
                </c:pt>
                <c:pt idx="2897">
                  <c:v>-1.8905000000000001</c:v>
                </c:pt>
                <c:pt idx="2898">
                  <c:v>#N/A</c:v>
                </c:pt>
                <c:pt idx="2899">
                  <c:v>-1.83355</c:v>
                </c:pt>
                <c:pt idx="2900">
                  <c:v>-1.7132499999999999</c:v>
                </c:pt>
                <c:pt idx="2901">
                  <c:v>-2.0061499999999999</c:v>
                </c:pt>
                <c:pt idx="2902">
                  <c:v>#N/A</c:v>
                </c:pt>
                <c:pt idx="2903">
                  <c:v>-2.1801400000000002</c:v>
                </c:pt>
                <c:pt idx="2904">
                  <c:v>-1.5271699999999999</c:v>
                </c:pt>
                <c:pt idx="2905">
                  <c:v>-1.8564700000000001</c:v>
                </c:pt>
                <c:pt idx="2906">
                  <c:v>#N/A</c:v>
                </c:pt>
                <c:pt idx="2907">
                  <c:v>-1.76597</c:v>
                </c:pt>
                <c:pt idx="2908">
                  <c:v>-1.69435</c:v>
                </c:pt>
                <c:pt idx="2909">
                  <c:v>-1.9024300000000001</c:v>
                </c:pt>
                <c:pt idx="2910">
                  <c:v>#N/A</c:v>
                </c:pt>
                <c:pt idx="2911">
                  <c:v>-2.3759600000000001</c:v>
                </c:pt>
                <c:pt idx="2912">
                  <c:v>-2.3490700000000002</c:v>
                </c:pt>
                <c:pt idx="2913">
                  <c:v>-1.7596099999999999</c:v>
                </c:pt>
                <c:pt idx="2914">
                  <c:v>-1.90201</c:v>
                </c:pt>
                <c:pt idx="2915">
                  <c:v>#N/A</c:v>
                </c:pt>
                <c:pt idx="2916">
                  <c:v>-2.1201400000000001</c:v>
                </c:pt>
                <c:pt idx="2917">
                  <c:v>-1.7359</c:v>
                </c:pt>
                <c:pt idx="2918">
                  <c:v>-1.6316200000000001</c:v>
                </c:pt>
                <c:pt idx="2919">
                  <c:v>#N/A</c:v>
                </c:pt>
                <c:pt idx="2920">
                  <c:v>-1.63548</c:v>
                </c:pt>
                <c:pt idx="2921">
                  <c:v>-1.8565499999999999</c:v>
                </c:pt>
                <c:pt idx="2922">
                  <c:v>-1.90391</c:v>
                </c:pt>
                <c:pt idx="2923">
                  <c:v>#N/A</c:v>
                </c:pt>
                <c:pt idx="2924">
                  <c:v>-2.1696499999999999</c:v>
                </c:pt>
                <c:pt idx="2925">
                  <c:v>-1.93635</c:v>
                </c:pt>
                <c:pt idx="2926">
                  <c:v>-1.87812</c:v>
                </c:pt>
                <c:pt idx="2927">
                  <c:v>-1.7137</c:v>
                </c:pt>
                <c:pt idx="2928">
                  <c:v>#N/A</c:v>
                </c:pt>
                <c:pt idx="2929">
                  <c:v>-2.0861100000000001</c:v>
                </c:pt>
                <c:pt idx="2930">
                  <c:v>-1.94489</c:v>
                </c:pt>
                <c:pt idx="2931">
                  <c:v>-2.35846</c:v>
                </c:pt>
                <c:pt idx="2932">
                  <c:v>#N/A</c:v>
                </c:pt>
                <c:pt idx="2933">
                  <c:v>-2.9991599999999998</c:v>
                </c:pt>
                <c:pt idx="2934">
                  <c:v>-2.6232500000000001</c:v>
                </c:pt>
                <c:pt idx="2935">
                  <c:v>-1.97156</c:v>
                </c:pt>
                <c:pt idx="2936">
                  <c:v>-1.4560900000000001</c:v>
                </c:pt>
                <c:pt idx="2937">
                  <c:v>#N/A</c:v>
                </c:pt>
                <c:pt idx="2938">
                  <c:v>-1.34192</c:v>
                </c:pt>
                <c:pt idx="2939">
                  <c:v>-1.80687</c:v>
                </c:pt>
                <c:pt idx="2940">
                  <c:v>-2.2031200000000002</c:v>
                </c:pt>
                <c:pt idx="2941">
                  <c:v>#N/A</c:v>
                </c:pt>
                <c:pt idx="2942">
                  <c:v>-2.1177000000000001</c:v>
                </c:pt>
                <c:pt idx="2943">
                  <c:v>-2.1263200000000002</c:v>
                </c:pt>
                <c:pt idx="2944">
                  <c:v>-1.9449399999999999</c:v>
                </c:pt>
                <c:pt idx="2945">
                  <c:v>-1.76501</c:v>
                </c:pt>
                <c:pt idx="2946">
                  <c:v>#N/A</c:v>
                </c:pt>
                <c:pt idx="2947">
                  <c:v>-2.1609699999999998</c:v>
                </c:pt>
                <c:pt idx="2948">
                  <c:v>-2.5942599999999998</c:v>
                </c:pt>
                <c:pt idx="2949">
                  <c:v>-2.4601500000000001</c:v>
                </c:pt>
                <c:pt idx="2950">
                  <c:v>-2.6307299999999998</c:v>
                </c:pt>
                <c:pt idx="2951">
                  <c:v>#N/A</c:v>
                </c:pt>
                <c:pt idx="2952">
                  <c:v>-2.53403</c:v>
                </c:pt>
                <c:pt idx="2953">
                  <c:v>-2.22892</c:v>
                </c:pt>
                <c:pt idx="2954">
                  <c:v>-2.25989</c:v>
                </c:pt>
                <c:pt idx="2955">
                  <c:v>#N/A</c:v>
                </c:pt>
                <c:pt idx="2956">
                  <c:v>-2.3328899999999999</c:v>
                </c:pt>
                <c:pt idx="2957">
                  <c:v>-2.12344</c:v>
                </c:pt>
                <c:pt idx="2958">
                  <c:v>-2.4764300000000001</c:v>
                </c:pt>
                <c:pt idx="2959">
                  <c:v>#N/A</c:v>
                </c:pt>
                <c:pt idx="2960">
                  <c:v>-1.8172299999999999</c:v>
                </c:pt>
                <c:pt idx="2961">
                  <c:v>-2.3062800000000001</c:v>
                </c:pt>
                <c:pt idx="2962">
                  <c:v>#N/A</c:v>
                </c:pt>
                <c:pt idx="2963">
                  <c:v>-2.0956299999999999</c:v>
                </c:pt>
                <c:pt idx="2964">
                  <c:v>-2.1087500000000001</c:v>
                </c:pt>
                <c:pt idx="2965">
                  <c:v>#N/A</c:v>
                </c:pt>
                <c:pt idx="2966">
                  <c:v>#N/A</c:v>
                </c:pt>
                <c:pt idx="2967">
                  <c:v>#N/A</c:v>
                </c:pt>
                <c:pt idx="2968">
                  <c:v>#N/A</c:v>
                </c:pt>
                <c:pt idx="2969">
                  <c:v>#N/A</c:v>
                </c:pt>
                <c:pt idx="2970">
                  <c:v>#N/A</c:v>
                </c:pt>
                <c:pt idx="2971">
                  <c:v>#N/A</c:v>
                </c:pt>
                <c:pt idx="2972">
                  <c:v>#N/A</c:v>
                </c:pt>
                <c:pt idx="2973">
                  <c:v>#N/A</c:v>
                </c:pt>
                <c:pt idx="2974">
                  <c:v>#N/A</c:v>
                </c:pt>
                <c:pt idx="2975">
                  <c:v>#N/A</c:v>
                </c:pt>
                <c:pt idx="2976">
                  <c:v>#N/A</c:v>
                </c:pt>
                <c:pt idx="2977">
                  <c:v>#N/A</c:v>
                </c:pt>
                <c:pt idx="2978">
                  <c:v>#N/A</c:v>
                </c:pt>
                <c:pt idx="2979">
                  <c:v>#N/A</c:v>
                </c:pt>
                <c:pt idx="2980">
                  <c:v>#N/A</c:v>
                </c:pt>
                <c:pt idx="2981">
                  <c:v>#N/A</c:v>
                </c:pt>
                <c:pt idx="2982">
                  <c:v>#N/A</c:v>
                </c:pt>
                <c:pt idx="2983">
                  <c:v>#N/A</c:v>
                </c:pt>
                <c:pt idx="2984">
                  <c:v>#N/A</c:v>
                </c:pt>
                <c:pt idx="2985">
                  <c:v>#N/A</c:v>
                </c:pt>
                <c:pt idx="2986">
                  <c:v>#N/A</c:v>
                </c:pt>
                <c:pt idx="2987">
                  <c:v>-2.4236200000000001</c:v>
                </c:pt>
                <c:pt idx="2988">
                  <c:v>-2.4018099999999998</c:v>
                </c:pt>
                <c:pt idx="2989">
                  <c:v>#N/A</c:v>
                </c:pt>
                <c:pt idx="2990">
                  <c:v>-1.85253</c:v>
                </c:pt>
                <c:pt idx="2991">
                  <c:v>-2.0068000000000001</c:v>
                </c:pt>
                <c:pt idx="2992">
                  <c:v>-2.7898100000000001</c:v>
                </c:pt>
                <c:pt idx="2993">
                  <c:v>#N/A</c:v>
                </c:pt>
                <c:pt idx="2994">
                  <c:v>-2.4047800000000001</c:v>
                </c:pt>
                <c:pt idx="2995">
                  <c:v>-2.37513</c:v>
                </c:pt>
                <c:pt idx="2996">
                  <c:v>-1.5830599999999999</c:v>
                </c:pt>
                <c:pt idx="2997">
                  <c:v>#N/A</c:v>
                </c:pt>
                <c:pt idx="2998">
                  <c:v>-1.5676099999999999</c:v>
                </c:pt>
                <c:pt idx="2999">
                  <c:v>-1.7608900000000001</c:v>
                </c:pt>
                <c:pt idx="3000">
                  <c:v>-2.1302300000000001</c:v>
                </c:pt>
                <c:pt idx="3001">
                  <c:v>-2.15896</c:v>
                </c:pt>
                <c:pt idx="3002">
                  <c:v>#N/A</c:v>
                </c:pt>
                <c:pt idx="3003">
                  <c:v>-2.2625899999999999</c:v>
                </c:pt>
                <c:pt idx="3004">
                  <c:v>-2.4964300000000001</c:v>
                </c:pt>
                <c:pt idx="3005">
                  <c:v>-2.2412000000000001</c:v>
                </c:pt>
                <c:pt idx="3006">
                  <c:v>#N/A</c:v>
                </c:pt>
                <c:pt idx="3007">
                  <c:v>-2.2133400000000001</c:v>
                </c:pt>
                <c:pt idx="3008">
                  <c:v>-2.33447</c:v>
                </c:pt>
                <c:pt idx="3009">
                  <c:v>-2.4069699999999998</c:v>
                </c:pt>
                <c:pt idx="3010">
                  <c:v>-2.492</c:v>
                </c:pt>
                <c:pt idx="3011">
                  <c:v>#N/A</c:v>
                </c:pt>
                <c:pt idx="3012">
                  <c:v>-2.8517199999999998</c:v>
                </c:pt>
                <c:pt idx="3013">
                  <c:v>-2.0623800000000001</c:v>
                </c:pt>
                <c:pt idx="3014">
                  <c:v>-1.8231999999999999</c:v>
                </c:pt>
                <c:pt idx="3015">
                  <c:v>#N/A</c:v>
                </c:pt>
                <c:pt idx="3016">
                  <c:v>-1.7781199999999999</c:v>
                </c:pt>
                <c:pt idx="3017">
                  <c:v>-1.93228</c:v>
                </c:pt>
                <c:pt idx="3018">
                  <c:v>-1.4685600000000001</c:v>
                </c:pt>
                <c:pt idx="3019">
                  <c:v>-1.7949299999999999</c:v>
                </c:pt>
                <c:pt idx="3020">
                  <c:v>#N/A</c:v>
                </c:pt>
                <c:pt idx="3021">
                  <c:v>-2.1688200000000002</c:v>
                </c:pt>
                <c:pt idx="3022">
                  <c:v>-1.59443</c:v>
                </c:pt>
                <c:pt idx="3023">
                  <c:v>-1.8922099999999999</c:v>
                </c:pt>
                <c:pt idx="3024">
                  <c:v>#N/A</c:v>
                </c:pt>
                <c:pt idx="3025">
                  <c:v>-1.8079499999999999</c:v>
                </c:pt>
                <c:pt idx="3026">
                  <c:v>-2.0273400000000001</c:v>
                </c:pt>
                <c:pt idx="3027">
                  <c:v>-2.1267999999999998</c:v>
                </c:pt>
                <c:pt idx="3028">
                  <c:v>-2.1669399999999999</c:v>
                </c:pt>
                <c:pt idx="3029">
                  <c:v>#N/A</c:v>
                </c:pt>
                <c:pt idx="3030">
                  <c:v>-2.1720299999999999</c:v>
                </c:pt>
                <c:pt idx="3031">
                  <c:v>-2.2842500000000001</c:v>
                </c:pt>
                <c:pt idx="3032">
                  <c:v>-2.40509</c:v>
                </c:pt>
                <c:pt idx="3033">
                  <c:v>#N/A</c:v>
                </c:pt>
                <c:pt idx="3034">
                  <c:v>#N/A</c:v>
                </c:pt>
                <c:pt idx="3035">
                  <c:v>-1.5673299999999999</c:v>
                </c:pt>
                <c:pt idx="3036">
                  <c:v>-1.6925699999999999</c:v>
                </c:pt>
                <c:pt idx="3037">
                  <c:v>#N/A</c:v>
                </c:pt>
                <c:pt idx="3038">
                  <c:v>-1.27969</c:v>
                </c:pt>
                <c:pt idx="3039">
                  <c:v>-2.3385799999999999</c:v>
                </c:pt>
                <c:pt idx="3040">
                  <c:v>-2.2517399999999999</c:v>
                </c:pt>
                <c:pt idx="3041">
                  <c:v>-2.18282</c:v>
                </c:pt>
                <c:pt idx="3042">
                  <c:v>#N/A</c:v>
                </c:pt>
                <c:pt idx="3043">
                  <c:v>-2.2035900000000002</c:v>
                </c:pt>
                <c:pt idx="3044">
                  <c:v>-1.9736</c:v>
                </c:pt>
                <c:pt idx="3045">
                  <c:v>-1.8585199999999999</c:v>
                </c:pt>
                <c:pt idx="3046">
                  <c:v>#N/A</c:v>
                </c:pt>
                <c:pt idx="3047">
                  <c:v>-1.7917099999999999</c:v>
                </c:pt>
                <c:pt idx="3048">
                  <c:v>-2.3917799999999998</c:v>
                </c:pt>
                <c:pt idx="3049">
                  <c:v>-2.6468799999999999</c:v>
                </c:pt>
                <c:pt idx="3050">
                  <c:v>-2.9018099999999998</c:v>
                </c:pt>
                <c:pt idx="3051">
                  <c:v>#N/A</c:v>
                </c:pt>
                <c:pt idx="3052">
                  <c:v>-3.04874</c:v>
                </c:pt>
                <c:pt idx="3053">
                  <c:v>-2.5291600000000001</c:v>
                </c:pt>
                <c:pt idx="3054">
                  <c:v>-2.4835400000000001</c:v>
                </c:pt>
                <c:pt idx="3055">
                  <c:v>#N/A</c:v>
                </c:pt>
                <c:pt idx="3056">
                  <c:v>-2.5354299999999999</c:v>
                </c:pt>
                <c:pt idx="3057">
                  <c:v>-2.5188999999999999</c:v>
                </c:pt>
                <c:pt idx="3058">
                  <c:v>-2.06907</c:v>
                </c:pt>
                <c:pt idx="3059">
                  <c:v>-1.9335599999999999</c:v>
                </c:pt>
                <c:pt idx="3060">
                  <c:v>#N/A</c:v>
                </c:pt>
                <c:pt idx="3061">
                  <c:v>-2.64113</c:v>
                </c:pt>
                <c:pt idx="3062">
                  <c:v>-2.3419500000000002</c:v>
                </c:pt>
                <c:pt idx="3063">
                  <c:v>-2.5480800000000001</c:v>
                </c:pt>
                <c:pt idx="3064">
                  <c:v>#N/A</c:v>
                </c:pt>
                <c:pt idx="3065">
                  <c:v>-2.40238</c:v>
                </c:pt>
                <c:pt idx="3066">
                  <c:v>-2.2689400000000002</c:v>
                </c:pt>
                <c:pt idx="3067">
                  <c:v>-2.2379199999999999</c:v>
                </c:pt>
                <c:pt idx="3068">
                  <c:v>#N/A</c:v>
                </c:pt>
                <c:pt idx="3069">
                  <c:v>-2.77935</c:v>
                </c:pt>
                <c:pt idx="3070">
                  <c:v>-2.8214100000000002</c:v>
                </c:pt>
                <c:pt idx="3071">
                  <c:v>-2.7677499999999999</c:v>
                </c:pt>
                <c:pt idx="3072">
                  <c:v>-2.5058600000000002</c:v>
                </c:pt>
                <c:pt idx="3073">
                  <c:v>#N/A</c:v>
                </c:pt>
                <c:pt idx="3074">
                  <c:v>-2.3464200000000002</c:v>
                </c:pt>
                <c:pt idx="3075">
                  <c:v>-2.2948499999999998</c:v>
                </c:pt>
                <c:pt idx="3076">
                  <c:v>-1.84823</c:v>
                </c:pt>
                <c:pt idx="3077">
                  <c:v>-1.7751600000000001</c:v>
                </c:pt>
                <c:pt idx="3078">
                  <c:v>#N/A</c:v>
                </c:pt>
                <c:pt idx="3079">
                  <c:v>-2.3352300000000001</c:v>
                </c:pt>
                <c:pt idx="3080">
                  <c:v>-1.9581</c:v>
                </c:pt>
                <c:pt idx="3081">
                  <c:v>-1.83141</c:v>
                </c:pt>
                <c:pt idx="3082">
                  <c:v>#N/A</c:v>
                </c:pt>
                <c:pt idx="3083">
                  <c:v>-1.9502600000000001</c:v>
                </c:pt>
                <c:pt idx="3084">
                  <c:v>-2.3425600000000002</c:v>
                </c:pt>
                <c:pt idx="3085">
                  <c:v>-2.2162999999999999</c:v>
                </c:pt>
                <c:pt idx="3086">
                  <c:v>#N/A</c:v>
                </c:pt>
                <c:pt idx="3087">
                  <c:v>-2.5742099999999999</c:v>
                </c:pt>
                <c:pt idx="3088">
                  <c:v>-2.4177399999999998</c:v>
                </c:pt>
                <c:pt idx="3089">
                  <c:v>-2.2140200000000001</c:v>
                </c:pt>
                <c:pt idx="3090">
                  <c:v>-2.5380799999999999</c:v>
                </c:pt>
                <c:pt idx="3091">
                  <c:v>#N/A</c:v>
                </c:pt>
                <c:pt idx="3092">
                  <c:v>-2.8795500000000001</c:v>
                </c:pt>
                <c:pt idx="3093">
                  <c:v>-2.64852</c:v>
                </c:pt>
                <c:pt idx="3094">
                  <c:v>-2.1788500000000002</c:v>
                </c:pt>
                <c:pt idx="3095">
                  <c:v>#N/A</c:v>
                </c:pt>
                <c:pt idx="3096">
                  <c:v>-1.99075</c:v>
                </c:pt>
                <c:pt idx="3097">
                  <c:v>-1.8467</c:v>
                </c:pt>
                <c:pt idx="3098">
                  <c:v>-1.74553</c:v>
                </c:pt>
                <c:pt idx="3099">
                  <c:v>-2.0284200000000001</c:v>
                </c:pt>
                <c:pt idx="3100">
                  <c:v>#N/A</c:v>
                </c:pt>
                <c:pt idx="3101">
                  <c:v>-2.48373</c:v>
                </c:pt>
                <c:pt idx="3102">
                  <c:v>-2.0689700000000002</c:v>
                </c:pt>
                <c:pt idx="3103">
                  <c:v>-2.3823599999999998</c:v>
                </c:pt>
                <c:pt idx="3104">
                  <c:v>#N/A</c:v>
                </c:pt>
                <c:pt idx="3105">
                  <c:v>-1.8912899999999999</c:v>
                </c:pt>
                <c:pt idx="3106">
                  <c:v>-2.0088300000000001</c:v>
                </c:pt>
                <c:pt idx="3107">
                  <c:v>#N/A</c:v>
                </c:pt>
                <c:pt idx="3108">
                  <c:v>-2.2933699999999999</c:v>
                </c:pt>
                <c:pt idx="3109">
                  <c:v>-2.0106000000000002</c:v>
                </c:pt>
                <c:pt idx="3110">
                  <c:v>#N/A</c:v>
                </c:pt>
                <c:pt idx="3111">
                  <c:v>-2.76797</c:v>
                </c:pt>
                <c:pt idx="3112">
                  <c:v>-2.63917</c:v>
                </c:pt>
                <c:pt idx="3113">
                  <c:v>-2.26241</c:v>
                </c:pt>
                <c:pt idx="3114">
                  <c:v>-1.42439</c:v>
                </c:pt>
                <c:pt idx="3115">
                  <c:v>#N/A</c:v>
                </c:pt>
                <c:pt idx="3116">
                  <c:v>-1.63635</c:v>
                </c:pt>
                <c:pt idx="3117">
                  <c:v>-1.38093</c:v>
                </c:pt>
                <c:pt idx="3118">
                  <c:v>-2.11592</c:v>
                </c:pt>
                <c:pt idx="3119">
                  <c:v>#N/A</c:v>
                </c:pt>
                <c:pt idx="3120">
                  <c:v>-1.93797</c:v>
                </c:pt>
                <c:pt idx="3121">
                  <c:v>-2.4144600000000001</c:v>
                </c:pt>
                <c:pt idx="3122">
                  <c:v>-2.2571699999999999</c:v>
                </c:pt>
                <c:pt idx="3123">
                  <c:v>#N/A</c:v>
                </c:pt>
                <c:pt idx="3124">
                  <c:v>-2.3686400000000001</c:v>
                </c:pt>
                <c:pt idx="3125">
                  <c:v>-2.0891299999999999</c:v>
                </c:pt>
                <c:pt idx="3126">
                  <c:v>-2.2101099999999998</c:v>
                </c:pt>
                <c:pt idx="3127">
                  <c:v>-2.2648000000000001</c:v>
                </c:pt>
                <c:pt idx="3128">
                  <c:v>#N/A</c:v>
                </c:pt>
                <c:pt idx="3129">
                  <c:v>-2.4947300000000001</c:v>
                </c:pt>
                <c:pt idx="3130">
                  <c:v>-2.48062</c:v>
                </c:pt>
                <c:pt idx="3131">
                  <c:v>-2.2573300000000001</c:v>
                </c:pt>
                <c:pt idx="3132">
                  <c:v>#N/A</c:v>
                </c:pt>
                <c:pt idx="3133">
                  <c:v>-2.2498800000000001</c:v>
                </c:pt>
                <c:pt idx="3134">
                  <c:v>-2.0034999999999998</c:v>
                </c:pt>
                <c:pt idx="3135">
                  <c:v>-2.2916599999999998</c:v>
                </c:pt>
                <c:pt idx="3136">
                  <c:v>-2.6497199999999999</c:v>
                </c:pt>
                <c:pt idx="3137">
                  <c:v>#N/A</c:v>
                </c:pt>
                <c:pt idx="3138">
                  <c:v>-3.76437</c:v>
                </c:pt>
                <c:pt idx="3139">
                  <c:v>-3.30185</c:v>
                </c:pt>
                <c:pt idx="3140">
                  <c:v>-3.4811999999999999</c:v>
                </c:pt>
                <c:pt idx="3141">
                  <c:v>-2.9514399999999998</c:v>
                </c:pt>
                <c:pt idx="3142">
                  <c:v>#N/A</c:v>
                </c:pt>
                <c:pt idx="3143">
                  <c:v>-2.5971000000000002</c:v>
                </c:pt>
                <c:pt idx="3144">
                  <c:v>-2.5792000000000002</c:v>
                </c:pt>
                <c:pt idx="3145">
                  <c:v>-2.1922999999999999</c:v>
                </c:pt>
                <c:pt idx="3146">
                  <c:v>#N/A</c:v>
                </c:pt>
                <c:pt idx="3147">
                  <c:v>-2.1835900000000001</c:v>
                </c:pt>
                <c:pt idx="3148">
                  <c:v>-1.63788</c:v>
                </c:pt>
                <c:pt idx="3149">
                  <c:v>-1.34921</c:v>
                </c:pt>
                <c:pt idx="3150">
                  <c:v>#N/A</c:v>
                </c:pt>
                <c:pt idx="3151">
                  <c:v>-0.79232899999999995</c:v>
                </c:pt>
                <c:pt idx="3152">
                  <c:v>-0.89367099999999999</c:v>
                </c:pt>
                <c:pt idx="3153">
                  <c:v>-0.83768900000000002</c:v>
                </c:pt>
                <c:pt idx="3154">
                  <c:v>#N/A</c:v>
                </c:pt>
                <c:pt idx="3155">
                  <c:v>-0.91049500000000005</c:v>
                </c:pt>
                <c:pt idx="3156">
                  <c:v>-0.91896100000000003</c:v>
                </c:pt>
                <c:pt idx="3157">
                  <c:v>-1.6595899999999999</c:v>
                </c:pt>
                <c:pt idx="3158">
                  <c:v>-2.30498</c:v>
                </c:pt>
                <c:pt idx="3159">
                  <c:v>#N/A</c:v>
                </c:pt>
                <c:pt idx="3160">
                  <c:v>-2.0736300000000001</c:v>
                </c:pt>
                <c:pt idx="3161">
                  <c:v>-2.25379</c:v>
                </c:pt>
                <c:pt idx="3162">
                  <c:v>-2.32152</c:v>
                </c:pt>
                <c:pt idx="3163">
                  <c:v>#N/A</c:v>
                </c:pt>
                <c:pt idx="3164">
                  <c:v>-3.1577099999999998</c:v>
                </c:pt>
                <c:pt idx="3165">
                  <c:v>-2.9059200000000001</c:v>
                </c:pt>
                <c:pt idx="3166">
                  <c:v>-2.73509</c:v>
                </c:pt>
                <c:pt idx="3167">
                  <c:v>-2.3351500000000001</c:v>
                </c:pt>
                <c:pt idx="3168">
                  <c:v>#N/A</c:v>
                </c:pt>
                <c:pt idx="3169">
                  <c:v>-2.2274500000000002</c:v>
                </c:pt>
                <c:pt idx="3170">
                  <c:v>-2.64737</c:v>
                </c:pt>
                <c:pt idx="3171">
                  <c:v>-2.0307300000000001</c:v>
                </c:pt>
                <c:pt idx="3172">
                  <c:v>-1.9741899999999999</c:v>
                </c:pt>
                <c:pt idx="3173">
                  <c:v>#N/A</c:v>
                </c:pt>
                <c:pt idx="3174">
                  <c:v>-1.6531899999999999</c:v>
                </c:pt>
                <c:pt idx="3175">
                  <c:v>-1.5057400000000001</c:v>
                </c:pt>
                <c:pt idx="3176">
                  <c:v>-1.3089900000000001</c:v>
                </c:pt>
                <c:pt idx="3177">
                  <c:v>#N/A</c:v>
                </c:pt>
                <c:pt idx="3178">
                  <c:v>-1.85711</c:v>
                </c:pt>
                <c:pt idx="3179">
                  <c:v>#N/A</c:v>
                </c:pt>
                <c:pt idx="3180">
                  <c:v>-1.4251799999999999</c:v>
                </c:pt>
                <c:pt idx="3181">
                  <c:v>-1.4529099999999999</c:v>
                </c:pt>
                <c:pt idx="3182">
                  <c:v>-2.4580899999999999</c:v>
                </c:pt>
                <c:pt idx="3183">
                  <c:v>#N/A</c:v>
                </c:pt>
                <c:pt idx="3184">
                  <c:v>-2.2511199999999998</c:v>
                </c:pt>
                <c:pt idx="3185">
                  <c:v>-2.2486000000000002</c:v>
                </c:pt>
                <c:pt idx="3186">
                  <c:v>-1.88046</c:v>
                </c:pt>
                <c:pt idx="3187">
                  <c:v>-2.2605</c:v>
                </c:pt>
                <c:pt idx="3188">
                  <c:v>#N/A</c:v>
                </c:pt>
                <c:pt idx="3189">
                  <c:v>-2.23732</c:v>
                </c:pt>
                <c:pt idx="3190">
                  <c:v>-2.6594099999999998</c:v>
                </c:pt>
                <c:pt idx="3191">
                  <c:v>-2.7720500000000001</c:v>
                </c:pt>
                <c:pt idx="3192">
                  <c:v>#N/A</c:v>
                </c:pt>
                <c:pt idx="3193">
                  <c:v>-2.7996500000000002</c:v>
                </c:pt>
                <c:pt idx="3194">
                  <c:v>-2.01084</c:v>
                </c:pt>
                <c:pt idx="3195">
                  <c:v>-2.1570200000000002</c:v>
                </c:pt>
                <c:pt idx="3196">
                  <c:v>#N/A</c:v>
                </c:pt>
                <c:pt idx="3197">
                  <c:v>-1.6395500000000001</c:v>
                </c:pt>
                <c:pt idx="3198">
                  <c:v>-1.22679</c:v>
                </c:pt>
                <c:pt idx="3199">
                  <c:v>-1.58863</c:v>
                </c:pt>
                <c:pt idx="3200">
                  <c:v>-2.5124900000000001</c:v>
                </c:pt>
                <c:pt idx="3201">
                  <c:v>#N/A</c:v>
                </c:pt>
                <c:pt idx="3202">
                  <c:v>-2.06528</c:v>
                </c:pt>
                <c:pt idx="3203">
                  <c:v>-2.51031</c:v>
                </c:pt>
                <c:pt idx="3204">
                  <c:v>-1.7326999999999999</c:v>
                </c:pt>
                <c:pt idx="3205">
                  <c:v>#N/A</c:v>
                </c:pt>
                <c:pt idx="3206">
                  <c:v>-1.8387500000000001</c:v>
                </c:pt>
                <c:pt idx="3207">
                  <c:v>-1.75461</c:v>
                </c:pt>
                <c:pt idx="3208">
                  <c:v>-2.0598299999999998</c:v>
                </c:pt>
                <c:pt idx="3209">
                  <c:v>-2.2621199999999999</c:v>
                </c:pt>
                <c:pt idx="3210">
                  <c:v>#N/A</c:v>
                </c:pt>
                <c:pt idx="3211">
                  <c:v>-2.25543</c:v>
                </c:pt>
                <c:pt idx="3212">
                  <c:v>-2.3330099999999998</c:v>
                </c:pt>
                <c:pt idx="3213">
                  <c:v>-1.90249</c:v>
                </c:pt>
                <c:pt idx="3214">
                  <c:v>#N/A</c:v>
                </c:pt>
                <c:pt idx="3215">
                  <c:v>-2.0019399999999998</c:v>
                </c:pt>
                <c:pt idx="3216">
                  <c:v>-1.3395600000000001</c:v>
                </c:pt>
                <c:pt idx="3217">
                  <c:v>-1.4703900000000001</c:v>
                </c:pt>
                <c:pt idx="3218">
                  <c:v>-2.0009899999999998</c:v>
                </c:pt>
                <c:pt idx="3219">
                  <c:v>#N/A</c:v>
                </c:pt>
                <c:pt idx="3220">
                  <c:v>-1.91927</c:v>
                </c:pt>
                <c:pt idx="3221">
                  <c:v>-1.6583699999999999</c:v>
                </c:pt>
                <c:pt idx="3222">
                  <c:v>-1.8833599999999999</c:v>
                </c:pt>
                <c:pt idx="3223">
                  <c:v>#N/A</c:v>
                </c:pt>
                <c:pt idx="3224">
                  <c:v>-1.98603</c:v>
                </c:pt>
                <c:pt idx="3225">
                  <c:v>-1.6102000000000001</c:v>
                </c:pt>
                <c:pt idx="3226">
                  <c:v>-1.6446400000000001</c:v>
                </c:pt>
                <c:pt idx="3227">
                  <c:v>#N/A</c:v>
                </c:pt>
                <c:pt idx="3228">
                  <c:v>-1.87713</c:v>
                </c:pt>
                <c:pt idx="3229">
                  <c:v>-1.80508</c:v>
                </c:pt>
                <c:pt idx="3230">
                  <c:v>-1.9956100000000001</c:v>
                </c:pt>
                <c:pt idx="3231">
                  <c:v>-2.4100100000000002</c:v>
                </c:pt>
                <c:pt idx="3232">
                  <c:v>#N/A</c:v>
                </c:pt>
                <c:pt idx="3233">
                  <c:v>-1.55298</c:v>
                </c:pt>
                <c:pt idx="3234">
                  <c:v>-1.5366</c:v>
                </c:pt>
                <c:pt idx="3235">
                  <c:v>-1.7282900000000001</c:v>
                </c:pt>
                <c:pt idx="3236">
                  <c:v>#N/A</c:v>
                </c:pt>
                <c:pt idx="3237">
                  <c:v>-1.8596600000000001</c:v>
                </c:pt>
                <c:pt idx="3238">
                  <c:v>-1.7012700000000001</c:v>
                </c:pt>
                <c:pt idx="3239">
                  <c:v>-1.7860199999999999</c:v>
                </c:pt>
                <c:pt idx="3240">
                  <c:v>-1.7782899999999999</c:v>
                </c:pt>
                <c:pt idx="3241">
                  <c:v>#N/A</c:v>
                </c:pt>
                <c:pt idx="3242">
                  <c:v>-1.93926</c:v>
                </c:pt>
                <c:pt idx="3243">
                  <c:v>-2.0020799999999999</c:v>
                </c:pt>
                <c:pt idx="3244">
                  <c:v>-1.8371599999999999</c:v>
                </c:pt>
                <c:pt idx="3245">
                  <c:v>#N/A</c:v>
                </c:pt>
                <c:pt idx="3246">
                  <c:v>-1.82799</c:v>
                </c:pt>
                <c:pt idx="3247">
                  <c:v>-1.5836699999999999</c:v>
                </c:pt>
                <c:pt idx="3248">
                  <c:v>-1.65869</c:v>
                </c:pt>
                <c:pt idx="3249">
                  <c:v>#N/A</c:v>
                </c:pt>
                <c:pt idx="3250">
                  <c:v>-2.0996000000000001</c:v>
                </c:pt>
                <c:pt idx="3251">
                  <c:v>-2.3843299999999998</c:v>
                </c:pt>
                <c:pt idx="3252">
                  <c:v>-1.95556</c:v>
                </c:pt>
                <c:pt idx="3253">
                  <c:v>#N/A</c:v>
                </c:pt>
                <c:pt idx="3254">
                  <c:v>-1.72946</c:v>
                </c:pt>
                <c:pt idx="3255">
                  <c:v>-2.0636800000000002</c:v>
                </c:pt>
                <c:pt idx="3256">
                  <c:v>-1.2982199999999999</c:v>
                </c:pt>
                <c:pt idx="3257">
                  <c:v>#N/A</c:v>
                </c:pt>
                <c:pt idx="3258">
                  <c:v>-1.67764</c:v>
                </c:pt>
                <c:pt idx="3259">
                  <c:v>-1.38412</c:v>
                </c:pt>
                <c:pt idx="3260">
                  <c:v>-1.85168</c:v>
                </c:pt>
                <c:pt idx="3261">
                  <c:v>-2.1555200000000001</c:v>
                </c:pt>
                <c:pt idx="3262">
                  <c:v>#N/A</c:v>
                </c:pt>
                <c:pt idx="3263">
                  <c:v>-1.98231</c:v>
                </c:pt>
                <c:pt idx="3264">
                  <c:v>-1.7568699999999999</c:v>
                </c:pt>
                <c:pt idx="3265">
                  <c:v>-1.47149</c:v>
                </c:pt>
                <c:pt idx="3266">
                  <c:v>-1.70794</c:v>
                </c:pt>
                <c:pt idx="3267">
                  <c:v>#N/A</c:v>
                </c:pt>
                <c:pt idx="3268">
                  <c:v>-1.8577300000000001</c:v>
                </c:pt>
                <c:pt idx="3269">
                  <c:v>-2.32578</c:v>
                </c:pt>
                <c:pt idx="3270">
                  <c:v>-2.3183600000000002</c:v>
                </c:pt>
                <c:pt idx="3271">
                  <c:v>#N/A</c:v>
                </c:pt>
                <c:pt idx="3272">
                  <c:v>-2.6241699999999999</c:v>
                </c:pt>
                <c:pt idx="3273">
                  <c:v>-2.02013</c:v>
                </c:pt>
                <c:pt idx="3274">
                  <c:v>-2.0595300000000001</c:v>
                </c:pt>
                <c:pt idx="3275">
                  <c:v>-1.5445599999999999</c:v>
                </c:pt>
                <c:pt idx="3276">
                  <c:v>#N/A</c:v>
                </c:pt>
                <c:pt idx="3277">
                  <c:v>-1.7413099999999999</c:v>
                </c:pt>
                <c:pt idx="3278">
                  <c:v>-1.73492</c:v>
                </c:pt>
                <c:pt idx="3279">
                  <c:v>-1.7020999999999999</c:v>
                </c:pt>
                <c:pt idx="3280">
                  <c:v>#N/A</c:v>
                </c:pt>
                <c:pt idx="3281">
                  <c:v>-1.7473799999999999</c:v>
                </c:pt>
                <c:pt idx="3282">
                  <c:v>-2.5472100000000002</c:v>
                </c:pt>
                <c:pt idx="3283">
                  <c:v>-2.1810100000000001</c:v>
                </c:pt>
                <c:pt idx="3284">
                  <c:v>#N/A</c:v>
                </c:pt>
                <c:pt idx="3285">
                  <c:v>-1.4222600000000001</c:v>
                </c:pt>
                <c:pt idx="3286">
                  <c:v>-1.44875</c:v>
                </c:pt>
                <c:pt idx="3287">
                  <c:v>-1.51729</c:v>
                </c:pt>
                <c:pt idx="3288">
                  <c:v>-2.10066</c:v>
                </c:pt>
                <c:pt idx="3289">
                  <c:v>#N/A</c:v>
                </c:pt>
                <c:pt idx="3290">
                  <c:v>-2.2997399999999999</c:v>
                </c:pt>
                <c:pt idx="3291">
                  <c:v>-2.25299</c:v>
                </c:pt>
                <c:pt idx="3292">
                  <c:v>-2.0910199999999999</c:v>
                </c:pt>
                <c:pt idx="3293">
                  <c:v>-1.6633</c:v>
                </c:pt>
                <c:pt idx="3294">
                  <c:v>#N/A</c:v>
                </c:pt>
                <c:pt idx="3295">
                  <c:v>-1.78098</c:v>
                </c:pt>
                <c:pt idx="3296">
                  <c:v>-1.7272700000000001</c:v>
                </c:pt>
                <c:pt idx="3297">
                  <c:v>-1.40269</c:v>
                </c:pt>
                <c:pt idx="3298">
                  <c:v>#N/A</c:v>
                </c:pt>
                <c:pt idx="3299">
                  <c:v>-1.8555600000000001</c:v>
                </c:pt>
                <c:pt idx="3300">
                  <c:v>-2.0361600000000002</c:v>
                </c:pt>
                <c:pt idx="3301">
                  <c:v>-1.8748400000000001</c:v>
                </c:pt>
                <c:pt idx="3302">
                  <c:v>#N/A</c:v>
                </c:pt>
                <c:pt idx="3303">
                  <c:v>-1.53308</c:v>
                </c:pt>
                <c:pt idx="3304">
                  <c:v>-1.66117</c:v>
                </c:pt>
                <c:pt idx="3305">
                  <c:v>-1.93679</c:v>
                </c:pt>
                <c:pt idx="3306">
                  <c:v>#N/A</c:v>
                </c:pt>
                <c:pt idx="3307">
                  <c:v>-1.81786</c:v>
                </c:pt>
                <c:pt idx="3308">
                  <c:v>-1.7535499999999999</c:v>
                </c:pt>
                <c:pt idx="3309">
                  <c:v>-2.4418500000000001</c:v>
                </c:pt>
                <c:pt idx="3310">
                  <c:v>-1.8227100000000001</c:v>
                </c:pt>
                <c:pt idx="3311">
                  <c:v>#N/A</c:v>
                </c:pt>
                <c:pt idx="3312">
                  <c:v>-2.18764</c:v>
                </c:pt>
                <c:pt idx="3313">
                  <c:v>-2.0009000000000001</c:v>
                </c:pt>
                <c:pt idx="3314">
                  <c:v>-1.8666</c:v>
                </c:pt>
                <c:pt idx="3315">
                  <c:v>#N/A</c:v>
                </c:pt>
                <c:pt idx="3316">
                  <c:v>-1.72522</c:v>
                </c:pt>
                <c:pt idx="3317">
                  <c:v>-1.79375</c:v>
                </c:pt>
                <c:pt idx="3318">
                  <c:v>-2.22417</c:v>
                </c:pt>
                <c:pt idx="3319">
                  <c:v>-1.9640299999999999</c:v>
                </c:pt>
                <c:pt idx="3320">
                  <c:v>#N/A</c:v>
                </c:pt>
                <c:pt idx="3321">
                  <c:v>-1.4718100000000001</c:v>
                </c:pt>
                <c:pt idx="3322">
                  <c:v>#N/A</c:v>
                </c:pt>
                <c:pt idx="3323">
                  <c:v>-1.44943</c:v>
                </c:pt>
                <c:pt idx="3324">
                  <c:v>-1.51851</c:v>
                </c:pt>
                <c:pt idx="3325">
                  <c:v>-1.84276</c:v>
                </c:pt>
                <c:pt idx="3326">
                  <c:v>#N/A</c:v>
                </c:pt>
                <c:pt idx="3327">
                  <c:v>-1.9001600000000001</c:v>
                </c:pt>
                <c:pt idx="3328">
                  <c:v>-1.79003</c:v>
                </c:pt>
                <c:pt idx="3329">
                  <c:v>-2.3412700000000002</c:v>
                </c:pt>
                <c:pt idx="3330">
                  <c:v>-1.68486</c:v>
                </c:pt>
                <c:pt idx="3331">
                  <c:v>#N/A</c:v>
                </c:pt>
                <c:pt idx="3332">
                  <c:v>-2.0442800000000001</c:v>
                </c:pt>
                <c:pt idx="3333">
                  <c:v>-2.28064</c:v>
                </c:pt>
                <c:pt idx="3334">
                  <c:v>-2.2138499999999999</c:v>
                </c:pt>
                <c:pt idx="3335">
                  <c:v>#N/A</c:v>
                </c:pt>
                <c:pt idx="3336">
                  <c:v>-1.4733799999999999</c:v>
                </c:pt>
                <c:pt idx="3337">
                  <c:v>-1.38978</c:v>
                </c:pt>
                <c:pt idx="3338">
                  <c:v>-1.6521699999999999</c:v>
                </c:pt>
                <c:pt idx="3339">
                  <c:v>-1.60816</c:v>
                </c:pt>
                <c:pt idx="3340">
                  <c:v>#N/A</c:v>
                </c:pt>
                <c:pt idx="3341">
                  <c:v>-1.5757699999999999</c:v>
                </c:pt>
                <c:pt idx="3342">
                  <c:v>-1.84762</c:v>
                </c:pt>
                <c:pt idx="3343">
                  <c:v>-1.79362</c:v>
                </c:pt>
                <c:pt idx="3344">
                  <c:v>#N/A</c:v>
                </c:pt>
                <c:pt idx="3345">
                  <c:v>-1.59443</c:v>
                </c:pt>
                <c:pt idx="3346">
                  <c:v>-1.4933000000000001</c:v>
                </c:pt>
                <c:pt idx="3347">
                  <c:v>-2.1489199999999999</c:v>
                </c:pt>
                <c:pt idx="3348">
                  <c:v>#N/A</c:v>
                </c:pt>
                <c:pt idx="3349">
                  <c:v>-1.9004300000000001</c:v>
                </c:pt>
                <c:pt idx="3350">
                  <c:v>-2.3608500000000001</c:v>
                </c:pt>
                <c:pt idx="3351">
                  <c:v>-1.9419200000000001</c:v>
                </c:pt>
                <c:pt idx="3352">
                  <c:v>-1.9501599999999999</c:v>
                </c:pt>
                <c:pt idx="3353">
                  <c:v>#N/A</c:v>
                </c:pt>
                <c:pt idx="3354">
                  <c:v>-2.0879599999999998</c:v>
                </c:pt>
                <c:pt idx="3355">
                  <c:v>-1.6923999999999999</c:v>
                </c:pt>
                <c:pt idx="3356">
                  <c:v>-1.7611600000000001</c:v>
                </c:pt>
                <c:pt idx="3357">
                  <c:v>-1.4477599999999999</c:v>
                </c:pt>
                <c:pt idx="3358">
                  <c:v>#N/A</c:v>
                </c:pt>
                <c:pt idx="3359">
                  <c:v>-1.5845</c:v>
                </c:pt>
                <c:pt idx="3360">
                  <c:v>-2.4018199999999998</c:v>
                </c:pt>
                <c:pt idx="3361">
                  <c:v>-2.12174</c:v>
                </c:pt>
                <c:pt idx="3362">
                  <c:v>#N/A</c:v>
                </c:pt>
                <c:pt idx="3363">
                  <c:v>-2.0502099999999999</c:v>
                </c:pt>
                <c:pt idx="3364">
                  <c:v>-2.1263200000000002</c:v>
                </c:pt>
                <c:pt idx="3365">
                  <c:v>-2.0670000000000002</c:v>
                </c:pt>
                <c:pt idx="3366">
                  <c:v>-1.93896</c:v>
                </c:pt>
                <c:pt idx="3367">
                  <c:v>#N/A</c:v>
                </c:pt>
                <c:pt idx="3368">
                  <c:v>-2.0780599999999998</c:v>
                </c:pt>
                <c:pt idx="3369">
                  <c:v>-2.2632099999999999</c:v>
                </c:pt>
                <c:pt idx="3370">
                  <c:v>-2.4809199999999998</c:v>
                </c:pt>
                <c:pt idx="3371">
                  <c:v>#N/A</c:v>
                </c:pt>
                <c:pt idx="3372">
                  <c:v>-2.3390300000000002</c:v>
                </c:pt>
                <c:pt idx="3373">
                  <c:v>-2.3242699999999998</c:v>
                </c:pt>
                <c:pt idx="3374">
                  <c:v>-2.1178499999999998</c:v>
                </c:pt>
                <c:pt idx="3375">
                  <c:v>#N/A</c:v>
                </c:pt>
                <c:pt idx="3376">
                  <c:v>-1.7782199999999999</c:v>
                </c:pt>
                <c:pt idx="3377">
                  <c:v>-1.8709499999999999</c:v>
                </c:pt>
                <c:pt idx="3378">
                  <c:v>-2.2405499999999998</c:v>
                </c:pt>
                <c:pt idx="3379">
                  <c:v>-2.00508</c:v>
                </c:pt>
                <c:pt idx="3380">
                  <c:v>#N/A</c:v>
                </c:pt>
                <c:pt idx="3381">
                  <c:v>-1.9157</c:v>
                </c:pt>
                <c:pt idx="3382">
                  <c:v>-1.8379700000000001</c:v>
                </c:pt>
                <c:pt idx="3383">
                  <c:v>-1.6718500000000001</c:v>
                </c:pt>
                <c:pt idx="3384">
                  <c:v>#N/A</c:v>
                </c:pt>
                <c:pt idx="3385">
                  <c:v>-1.87032</c:v>
                </c:pt>
                <c:pt idx="3386">
                  <c:v>-2.1338400000000002</c:v>
                </c:pt>
                <c:pt idx="3387">
                  <c:v>-2.26451</c:v>
                </c:pt>
                <c:pt idx="3388">
                  <c:v>-2.2352300000000001</c:v>
                </c:pt>
                <c:pt idx="3389">
                  <c:v>#N/A</c:v>
                </c:pt>
                <c:pt idx="3390">
                  <c:v>-2.2284899999999999</c:v>
                </c:pt>
                <c:pt idx="3391">
                  <c:v>-2.0639400000000001</c:v>
                </c:pt>
                <c:pt idx="3392">
                  <c:v>#N/A</c:v>
                </c:pt>
                <c:pt idx="3393">
                  <c:v>-1.8983399999999999</c:v>
                </c:pt>
                <c:pt idx="3394">
                  <c:v>#N/A</c:v>
                </c:pt>
                <c:pt idx="3395">
                  <c:v>-1.9469700000000001</c:v>
                </c:pt>
                <c:pt idx="3396">
                  <c:v>-1.78722</c:v>
                </c:pt>
                <c:pt idx="3397">
                  <c:v>-1.53118</c:v>
                </c:pt>
                <c:pt idx="3398">
                  <c:v>-2.2251500000000002</c:v>
                </c:pt>
                <c:pt idx="3399">
                  <c:v>#N/A</c:v>
                </c:pt>
                <c:pt idx="3400">
                  <c:v>-2.1450200000000001</c:v>
                </c:pt>
                <c:pt idx="3401">
                  <c:v>-1.8888799999999999</c:v>
                </c:pt>
                <c:pt idx="3402">
                  <c:v>-1.5594300000000001</c:v>
                </c:pt>
                <c:pt idx="3403">
                  <c:v>#N/A</c:v>
                </c:pt>
                <c:pt idx="3404">
                  <c:v>-1.7617499999999999</c:v>
                </c:pt>
                <c:pt idx="3405">
                  <c:v>-2.1047099999999999</c:v>
                </c:pt>
                <c:pt idx="3406">
                  <c:v>-2.11286</c:v>
                </c:pt>
                <c:pt idx="3407">
                  <c:v>-2.1702900000000001</c:v>
                </c:pt>
                <c:pt idx="3408">
                  <c:v>#N/A</c:v>
                </c:pt>
                <c:pt idx="3409">
                  <c:v>-2.1737799999999998</c:v>
                </c:pt>
                <c:pt idx="3410">
                  <c:v>-2.5053899999999998</c:v>
                </c:pt>
                <c:pt idx="3411">
                  <c:v>-2.1104500000000002</c:v>
                </c:pt>
                <c:pt idx="3412">
                  <c:v>#N/A</c:v>
                </c:pt>
                <c:pt idx="3413">
                  <c:v>-2.7911100000000002</c:v>
                </c:pt>
                <c:pt idx="3414">
                  <c:v>-1.81108</c:v>
                </c:pt>
                <c:pt idx="3415">
                  <c:v>-1.5353699999999999</c:v>
                </c:pt>
                <c:pt idx="3416">
                  <c:v>-1.8314699999999999</c:v>
                </c:pt>
                <c:pt idx="3417">
                  <c:v>#N/A</c:v>
                </c:pt>
                <c:pt idx="3418">
                  <c:v>-2.0045600000000001</c:v>
                </c:pt>
                <c:pt idx="3419">
                  <c:v>-1.6603699999999999</c:v>
                </c:pt>
                <c:pt idx="3420">
                  <c:v>-2.4496000000000002</c:v>
                </c:pt>
                <c:pt idx="3421">
                  <c:v>-2.2891699999999999</c:v>
                </c:pt>
                <c:pt idx="3422">
                  <c:v>#N/A</c:v>
                </c:pt>
                <c:pt idx="3423">
                  <c:v>-2.1939199999999999</c:v>
                </c:pt>
                <c:pt idx="3424">
                  <c:v>-1.6023400000000001</c:v>
                </c:pt>
                <c:pt idx="3425">
                  <c:v>-2.2524500000000001</c:v>
                </c:pt>
                <c:pt idx="3426">
                  <c:v>#N/A</c:v>
                </c:pt>
                <c:pt idx="3427">
                  <c:v>-2.0706600000000002</c:v>
                </c:pt>
                <c:pt idx="3428">
                  <c:v>-1.9840800000000001</c:v>
                </c:pt>
                <c:pt idx="3429">
                  <c:v>-2.4547400000000001</c:v>
                </c:pt>
                <c:pt idx="3430">
                  <c:v>#N/A</c:v>
                </c:pt>
                <c:pt idx="3431">
                  <c:v>-2.1465700000000001</c:v>
                </c:pt>
                <c:pt idx="3432">
                  <c:v>-1.9362900000000001</c:v>
                </c:pt>
                <c:pt idx="3433">
                  <c:v>-1.98878</c:v>
                </c:pt>
                <c:pt idx="3434">
                  <c:v>-2.2776100000000001</c:v>
                </c:pt>
                <c:pt idx="3435">
                  <c:v>#N/A</c:v>
                </c:pt>
                <c:pt idx="3436">
                  <c:v>-2.2041200000000001</c:v>
                </c:pt>
                <c:pt idx="3437">
                  <c:v>-1.57847</c:v>
                </c:pt>
                <c:pt idx="3438">
                  <c:v>-1.81179</c:v>
                </c:pt>
                <c:pt idx="3439">
                  <c:v>#N/A</c:v>
                </c:pt>
                <c:pt idx="3440">
                  <c:v>-1.5722100000000001</c:v>
                </c:pt>
                <c:pt idx="3441">
                  <c:v>-1.9914400000000001</c:v>
                </c:pt>
                <c:pt idx="3442">
                  <c:v>-1.7597</c:v>
                </c:pt>
                <c:pt idx="3443">
                  <c:v>#N/A</c:v>
                </c:pt>
                <c:pt idx="3444">
                  <c:v>-2.2262</c:v>
                </c:pt>
                <c:pt idx="3445">
                  <c:v>-1.99522</c:v>
                </c:pt>
                <c:pt idx="3446">
                  <c:v>-1.9367000000000001</c:v>
                </c:pt>
                <c:pt idx="3447">
                  <c:v>-1.6949399999999999</c:v>
                </c:pt>
                <c:pt idx="3448">
                  <c:v>#N/A</c:v>
                </c:pt>
                <c:pt idx="3449">
                  <c:v>-2.0017900000000002</c:v>
                </c:pt>
                <c:pt idx="3450">
                  <c:v>-2.0354399999999999</c:v>
                </c:pt>
                <c:pt idx="3451">
                  <c:v>-2.36368</c:v>
                </c:pt>
                <c:pt idx="3452">
                  <c:v>#N/A</c:v>
                </c:pt>
                <c:pt idx="3453">
                  <c:v>-2.4956</c:v>
                </c:pt>
                <c:pt idx="3454">
                  <c:v>-1.50447</c:v>
                </c:pt>
                <c:pt idx="3455">
                  <c:v>-1.3207199999999999</c:v>
                </c:pt>
                <c:pt idx="3456">
                  <c:v>-1.512</c:v>
                </c:pt>
                <c:pt idx="3457">
                  <c:v>#N/A</c:v>
                </c:pt>
                <c:pt idx="3458">
                  <c:v>-1.9912700000000001</c:v>
                </c:pt>
                <c:pt idx="3459">
                  <c:v>-1.98847</c:v>
                </c:pt>
                <c:pt idx="3460">
                  <c:v>-2.0812200000000001</c:v>
                </c:pt>
                <c:pt idx="3461">
                  <c:v>#N/A</c:v>
                </c:pt>
                <c:pt idx="3462">
                  <c:v>-1.90455</c:v>
                </c:pt>
                <c:pt idx="3463">
                  <c:v>-1.9589099999999999</c:v>
                </c:pt>
                <c:pt idx="3464">
                  <c:v>#N/A</c:v>
                </c:pt>
                <c:pt idx="3465">
                  <c:v>-1.8838999999999999</c:v>
                </c:pt>
                <c:pt idx="3466">
                  <c:v>-1.70875</c:v>
                </c:pt>
                <c:pt idx="3467">
                  <c:v>#N/A</c:v>
                </c:pt>
                <c:pt idx="3468">
                  <c:v>-2.0101300000000002</c:v>
                </c:pt>
                <c:pt idx="3469">
                  <c:v>-2.56168</c:v>
                </c:pt>
                <c:pt idx="3470">
                  <c:v>#N/A</c:v>
                </c:pt>
                <c:pt idx="3471">
                  <c:v>-2.45783</c:v>
                </c:pt>
                <c:pt idx="3472">
                  <c:v>-2.1031200000000001</c:v>
                </c:pt>
                <c:pt idx="3473">
                  <c:v>-1.91821</c:v>
                </c:pt>
                <c:pt idx="3474">
                  <c:v>-1.99729</c:v>
                </c:pt>
                <c:pt idx="3475">
                  <c:v>#N/A</c:v>
                </c:pt>
                <c:pt idx="3476">
                  <c:v>-1.5721099999999999</c:v>
                </c:pt>
                <c:pt idx="3477">
                  <c:v>-1.32968</c:v>
                </c:pt>
                <c:pt idx="3478">
                  <c:v>-1.71618</c:v>
                </c:pt>
                <c:pt idx="3479">
                  <c:v>#N/A</c:v>
                </c:pt>
                <c:pt idx="3480">
                  <c:v>-2.2198699999999998</c:v>
                </c:pt>
                <c:pt idx="3481">
                  <c:v>-2.0921099999999999</c:v>
                </c:pt>
                <c:pt idx="3482">
                  <c:v>-2.1311599999999999</c:v>
                </c:pt>
                <c:pt idx="3483">
                  <c:v>-1.7269300000000001</c:v>
                </c:pt>
                <c:pt idx="3484">
                  <c:v>#N/A</c:v>
                </c:pt>
                <c:pt idx="3485">
                  <c:v>-1.7540100000000001</c:v>
                </c:pt>
                <c:pt idx="3486">
                  <c:v>-1.5803499999999999</c:v>
                </c:pt>
                <c:pt idx="3487">
                  <c:v>-1.9779</c:v>
                </c:pt>
                <c:pt idx="3488">
                  <c:v>#N/A</c:v>
                </c:pt>
                <c:pt idx="3489">
                  <c:v>-2.4064899999999998</c:v>
                </c:pt>
                <c:pt idx="3490">
                  <c:v>-2.7513100000000001</c:v>
                </c:pt>
                <c:pt idx="3491">
                  <c:v>-2.1943800000000002</c:v>
                </c:pt>
                <c:pt idx="3492">
                  <c:v>-2.2472300000000001</c:v>
                </c:pt>
                <c:pt idx="3493">
                  <c:v>#N/A</c:v>
                </c:pt>
                <c:pt idx="3494">
                  <c:v>-1.8319399999999999</c:v>
                </c:pt>
                <c:pt idx="3495">
                  <c:v>-1.7510699999999999</c:v>
                </c:pt>
                <c:pt idx="3496">
                  <c:v>-1.53718</c:v>
                </c:pt>
                <c:pt idx="3497">
                  <c:v>#N/A</c:v>
                </c:pt>
                <c:pt idx="3498">
                  <c:v>-1.7313000000000001</c:v>
                </c:pt>
                <c:pt idx="3499">
                  <c:v>-1.6369400000000001</c:v>
                </c:pt>
                <c:pt idx="3500">
                  <c:v>-1.6442699999999999</c:v>
                </c:pt>
                <c:pt idx="3501">
                  <c:v>#N/A</c:v>
                </c:pt>
                <c:pt idx="3502">
                  <c:v>-1.89439</c:v>
                </c:pt>
                <c:pt idx="3503">
                  <c:v>-1.9705900000000001</c:v>
                </c:pt>
                <c:pt idx="3504">
                  <c:v>-2.1863999999999999</c:v>
                </c:pt>
                <c:pt idx="3505">
                  <c:v>#N/A</c:v>
                </c:pt>
                <c:pt idx="3506">
                  <c:v>-1.65774</c:v>
                </c:pt>
                <c:pt idx="3507">
                  <c:v>-2.3081399999999999</c:v>
                </c:pt>
                <c:pt idx="3508">
                  <c:v>-1.8778300000000001</c:v>
                </c:pt>
                <c:pt idx="3509">
                  <c:v>-2.0298799999999999</c:v>
                </c:pt>
                <c:pt idx="3510">
                  <c:v>#N/A</c:v>
                </c:pt>
                <c:pt idx="3511">
                  <c:v>-2.5329299999999999</c:v>
                </c:pt>
                <c:pt idx="3512">
                  <c:v>-2.2749199999999998</c:v>
                </c:pt>
                <c:pt idx="3513">
                  <c:v>-1.32073</c:v>
                </c:pt>
                <c:pt idx="3514">
                  <c:v>-1.8589500000000001</c:v>
                </c:pt>
                <c:pt idx="3515">
                  <c:v>#N/A</c:v>
                </c:pt>
                <c:pt idx="3516">
                  <c:v>-1.3077099999999999</c:v>
                </c:pt>
                <c:pt idx="3517">
                  <c:v>-1.7496799999999999</c:v>
                </c:pt>
                <c:pt idx="3518">
                  <c:v>-1.75105</c:v>
                </c:pt>
                <c:pt idx="3519">
                  <c:v>#N/A</c:v>
                </c:pt>
                <c:pt idx="3520">
                  <c:v>-2.1911700000000001</c:v>
                </c:pt>
                <c:pt idx="3521">
                  <c:v>-1.7777700000000001</c:v>
                </c:pt>
                <c:pt idx="3522">
                  <c:v>-1.6317600000000001</c:v>
                </c:pt>
                <c:pt idx="3523">
                  <c:v>#N/A</c:v>
                </c:pt>
                <c:pt idx="3524">
                  <c:v>-1.55619</c:v>
                </c:pt>
                <c:pt idx="3525">
                  <c:v>-1.9783999999999999</c:v>
                </c:pt>
                <c:pt idx="3526">
                  <c:v>-1.6458699999999999</c:v>
                </c:pt>
                <c:pt idx="3527">
                  <c:v>-2.3258899999999998</c:v>
                </c:pt>
                <c:pt idx="3528">
                  <c:v>#N/A</c:v>
                </c:pt>
                <c:pt idx="3529">
                  <c:v>-2.2907600000000001</c:v>
                </c:pt>
                <c:pt idx="3530">
                  <c:v>-1.43103</c:v>
                </c:pt>
                <c:pt idx="3531">
                  <c:v>-1.9254800000000001</c:v>
                </c:pt>
                <c:pt idx="3532">
                  <c:v>#N/A</c:v>
                </c:pt>
                <c:pt idx="3533">
                  <c:v>-1.5255000000000001</c:v>
                </c:pt>
                <c:pt idx="3534">
                  <c:v>-1.96275</c:v>
                </c:pt>
                <c:pt idx="3535">
                  <c:v>-1.45095</c:v>
                </c:pt>
                <c:pt idx="3536">
                  <c:v>#N/A</c:v>
                </c:pt>
                <c:pt idx="3537">
                  <c:v>-1.76979</c:v>
                </c:pt>
                <c:pt idx="3538">
                  <c:v>-1.6967099999999999</c:v>
                </c:pt>
                <c:pt idx="3539">
                  <c:v>-2.0904500000000001</c:v>
                </c:pt>
                <c:pt idx="3540">
                  <c:v>#N/A</c:v>
                </c:pt>
                <c:pt idx="3541">
                  <c:v>-1.5475300000000001</c:v>
                </c:pt>
                <c:pt idx="3542">
                  <c:v>-2.0691899999999999</c:v>
                </c:pt>
                <c:pt idx="3543">
                  <c:v>-2.0741399999999999</c:v>
                </c:pt>
                <c:pt idx="3544">
                  <c:v>-1.6918800000000001</c:v>
                </c:pt>
                <c:pt idx="3545">
                  <c:v>#N/A</c:v>
                </c:pt>
                <c:pt idx="3546">
                  <c:v>-2.1394799999999998</c:v>
                </c:pt>
                <c:pt idx="3547">
                  <c:v>-2.4249700000000001</c:v>
                </c:pt>
                <c:pt idx="3548">
                  <c:v>-2.2987700000000002</c:v>
                </c:pt>
                <c:pt idx="3549">
                  <c:v>#N/A</c:v>
                </c:pt>
                <c:pt idx="3550">
                  <c:v>-2.3143699999999998</c:v>
                </c:pt>
                <c:pt idx="3551">
                  <c:v>-2.2276600000000002</c:v>
                </c:pt>
                <c:pt idx="3552">
                  <c:v>-2.6191399999999998</c:v>
                </c:pt>
                <c:pt idx="3553">
                  <c:v>#N/A</c:v>
                </c:pt>
                <c:pt idx="3554">
                  <c:v>-1.5157700000000001</c:v>
                </c:pt>
                <c:pt idx="3555">
                  <c:v>-1.3675600000000001</c:v>
                </c:pt>
                <c:pt idx="3556">
                  <c:v>-1.04878</c:v>
                </c:pt>
                <c:pt idx="3557">
                  <c:v>-1.6360600000000001</c:v>
                </c:pt>
                <c:pt idx="3558">
                  <c:v>#N/A</c:v>
                </c:pt>
                <c:pt idx="3559">
                  <c:v>-1.3894</c:v>
                </c:pt>
                <c:pt idx="3560">
                  <c:v>-1.7084900000000001</c:v>
                </c:pt>
                <c:pt idx="3561">
                  <c:v>-2.1204999999999998</c:v>
                </c:pt>
                <c:pt idx="3562">
                  <c:v>#N/A</c:v>
                </c:pt>
                <c:pt idx="3563">
                  <c:v>-1.4126399999999999</c:v>
                </c:pt>
                <c:pt idx="3564">
                  <c:v>-1.73055</c:v>
                </c:pt>
                <c:pt idx="3565">
                  <c:v>-1.6115999999999999</c:v>
                </c:pt>
                <c:pt idx="3566">
                  <c:v>-1.9468700000000001</c:v>
                </c:pt>
                <c:pt idx="3567">
                  <c:v>#N/A</c:v>
                </c:pt>
                <c:pt idx="3568">
                  <c:v>-1.58213</c:v>
                </c:pt>
                <c:pt idx="3569">
                  <c:v>-2.3442799999999999</c:v>
                </c:pt>
                <c:pt idx="3570">
                  <c:v>-2.1747200000000002</c:v>
                </c:pt>
                <c:pt idx="3571">
                  <c:v>-1.8592200000000001</c:v>
                </c:pt>
                <c:pt idx="3572">
                  <c:v>#N/A</c:v>
                </c:pt>
                <c:pt idx="3573">
                  <c:v>-1.6801999999999999</c:v>
                </c:pt>
                <c:pt idx="3574">
                  <c:v>-1.8652299999999999</c:v>
                </c:pt>
                <c:pt idx="3575">
                  <c:v>-1.25353</c:v>
                </c:pt>
                <c:pt idx="3576">
                  <c:v>#N/A</c:v>
                </c:pt>
                <c:pt idx="3577">
                  <c:v>-1.32514</c:v>
                </c:pt>
                <c:pt idx="3578">
                  <c:v>-1.7351700000000001</c:v>
                </c:pt>
                <c:pt idx="3579">
                  <c:v>-2.4521500000000001</c:v>
                </c:pt>
                <c:pt idx="3580">
                  <c:v>-1.88304</c:v>
                </c:pt>
                <c:pt idx="3581">
                  <c:v>#N/A</c:v>
                </c:pt>
                <c:pt idx="3582">
                  <c:v>-1.8322700000000001</c:v>
                </c:pt>
                <c:pt idx="3583">
                  <c:v>-2.19807</c:v>
                </c:pt>
                <c:pt idx="3584">
                  <c:v>-1.7825899999999999</c:v>
                </c:pt>
                <c:pt idx="3585">
                  <c:v>#N/A</c:v>
                </c:pt>
                <c:pt idx="3586">
                  <c:v>-2.12521</c:v>
                </c:pt>
                <c:pt idx="3587">
                  <c:v>-2.5301300000000002</c:v>
                </c:pt>
                <c:pt idx="3588">
                  <c:v>-2.4580099999999998</c:v>
                </c:pt>
                <c:pt idx="3589">
                  <c:v>#N/A</c:v>
                </c:pt>
                <c:pt idx="3590">
                  <c:v>-2.3624000000000001</c:v>
                </c:pt>
                <c:pt idx="3591">
                  <c:v>-2.3447200000000001</c:v>
                </c:pt>
                <c:pt idx="3592">
                  <c:v>-1.9456199999999999</c:v>
                </c:pt>
                <c:pt idx="3593">
                  <c:v>#N/A</c:v>
                </c:pt>
                <c:pt idx="3594">
                  <c:v>-1.97689</c:v>
                </c:pt>
                <c:pt idx="3595">
                  <c:v>-1.7070700000000001</c:v>
                </c:pt>
                <c:pt idx="3596">
                  <c:v>-1.8003100000000001</c:v>
                </c:pt>
                <c:pt idx="3597">
                  <c:v>-2.0646599999999999</c:v>
                </c:pt>
                <c:pt idx="3598">
                  <c:v>#N/A</c:v>
                </c:pt>
                <c:pt idx="3599">
                  <c:v>-1.71526</c:v>
                </c:pt>
                <c:pt idx="3600">
                  <c:v>-1.69841</c:v>
                </c:pt>
                <c:pt idx="3601">
                  <c:v>-2.08189</c:v>
                </c:pt>
                <c:pt idx="3602">
                  <c:v>-2.0438200000000002</c:v>
                </c:pt>
                <c:pt idx="3603">
                  <c:v>#N/A</c:v>
                </c:pt>
                <c:pt idx="3604">
                  <c:v>-2.2291699999999999</c:v>
                </c:pt>
                <c:pt idx="3605">
                  <c:v>-2.3361399999999999</c:v>
                </c:pt>
                <c:pt idx="3606">
                  <c:v>-2.0372599999999998</c:v>
                </c:pt>
                <c:pt idx="3607">
                  <c:v>#N/A</c:v>
                </c:pt>
                <c:pt idx="3608">
                  <c:v>-1.95722</c:v>
                </c:pt>
                <c:pt idx="3609">
                  <c:v>-2.0816599999999998</c:v>
                </c:pt>
                <c:pt idx="3610">
                  <c:v>#N/A</c:v>
                </c:pt>
                <c:pt idx="3611">
                  <c:v>-2.06148</c:v>
                </c:pt>
                <c:pt idx="3612">
                  <c:v>-2.0437799999999999</c:v>
                </c:pt>
                <c:pt idx="3613">
                  <c:v>#N/A</c:v>
                </c:pt>
                <c:pt idx="3614">
                  <c:v>-1.94712</c:v>
                </c:pt>
                <c:pt idx="3615">
                  <c:v>-1.4521299999999999</c:v>
                </c:pt>
                <c:pt idx="3616">
                  <c:v>-1.4440599999999999</c:v>
                </c:pt>
                <c:pt idx="3617">
                  <c:v>-1.78003</c:v>
                </c:pt>
                <c:pt idx="3618">
                  <c:v>#N/A</c:v>
                </c:pt>
                <c:pt idx="3619">
                  <c:v>-1.4034</c:v>
                </c:pt>
                <c:pt idx="3620">
                  <c:v>-1.9388799999999999</c:v>
                </c:pt>
                <c:pt idx="3621">
                  <c:v>-1.9340299999999999</c:v>
                </c:pt>
                <c:pt idx="3622">
                  <c:v>#N/A</c:v>
                </c:pt>
                <c:pt idx="3623">
                  <c:v>-1.8028</c:v>
                </c:pt>
                <c:pt idx="3624">
                  <c:v>-1.8894500000000001</c:v>
                </c:pt>
                <c:pt idx="3625">
                  <c:v>-1.9570399999999999</c:v>
                </c:pt>
                <c:pt idx="3626">
                  <c:v>#N/A</c:v>
                </c:pt>
                <c:pt idx="3627">
                  <c:v>-2.01288</c:v>
                </c:pt>
                <c:pt idx="3628">
                  <c:v>-2.3275800000000002</c:v>
                </c:pt>
                <c:pt idx="3629">
                  <c:v>-2.4435199999999999</c:v>
                </c:pt>
                <c:pt idx="3630">
                  <c:v>#N/A</c:v>
                </c:pt>
                <c:pt idx="3631">
                  <c:v>-2.3600300000000001</c:v>
                </c:pt>
                <c:pt idx="3632">
                  <c:v>-2.2068500000000002</c:v>
                </c:pt>
                <c:pt idx="3633">
                  <c:v>-1.37009</c:v>
                </c:pt>
                <c:pt idx="3634">
                  <c:v>-1.5162199999999999</c:v>
                </c:pt>
                <c:pt idx="3635">
                  <c:v>#N/A</c:v>
                </c:pt>
                <c:pt idx="3636">
                  <c:v>-1.6428499999999999</c:v>
                </c:pt>
                <c:pt idx="3637">
                  <c:v>-2.0836199999999998</c:v>
                </c:pt>
                <c:pt idx="3638">
                  <c:v>-1.73316</c:v>
                </c:pt>
                <c:pt idx="3639">
                  <c:v>#N/A</c:v>
                </c:pt>
                <c:pt idx="3640">
                  <c:v>-2.16682</c:v>
                </c:pt>
                <c:pt idx="3641">
                  <c:v>-2.2314600000000002</c:v>
                </c:pt>
                <c:pt idx="3642">
                  <c:v>-1.42885</c:v>
                </c:pt>
                <c:pt idx="3643">
                  <c:v>-1.7791300000000001</c:v>
                </c:pt>
                <c:pt idx="3644">
                  <c:v>#N/A</c:v>
                </c:pt>
                <c:pt idx="3645">
                  <c:v>-2.1305200000000002</c:v>
                </c:pt>
                <c:pt idx="3646">
                  <c:v>-2.0670000000000002</c:v>
                </c:pt>
                <c:pt idx="3647">
                  <c:v>-2.1930800000000001</c:v>
                </c:pt>
                <c:pt idx="3648">
                  <c:v>#N/A</c:v>
                </c:pt>
                <c:pt idx="3649">
                  <c:v>-2.5601799999999999</c:v>
                </c:pt>
                <c:pt idx="3650">
                  <c:v>-2.07247</c:v>
                </c:pt>
                <c:pt idx="3651">
                  <c:v>-1.9094599999999999</c:v>
                </c:pt>
                <c:pt idx="3652">
                  <c:v>-2.14134</c:v>
                </c:pt>
                <c:pt idx="3653">
                  <c:v>#N/A</c:v>
                </c:pt>
                <c:pt idx="3654">
                  <c:v>-2.2077200000000001</c:v>
                </c:pt>
                <c:pt idx="3655">
                  <c:v>-1.4688699999999999</c:v>
                </c:pt>
                <c:pt idx="3656">
                  <c:v>-1.2957099999999999</c:v>
                </c:pt>
                <c:pt idx="3657">
                  <c:v>#N/A</c:v>
                </c:pt>
                <c:pt idx="3658">
                  <c:v>-1.6717200000000001</c:v>
                </c:pt>
                <c:pt idx="3659">
                  <c:v>-1.8961699999999999</c:v>
                </c:pt>
                <c:pt idx="3660">
                  <c:v>-2.0603500000000001</c:v>
                </c:pt>
                <c:pt idx="3661">
                  <c:v>#N/A</c:v>
                </c:pt>
                <c:pt idx="3662">
                  <c:v>-2.1775600000000002</c:v>
                </c:pt>
                <c:pt idx="3663">
                  <c:v>-2.25407</c:v>
                </c:pt>
                <c:pt idx="3664">
                  <c:v>-2.1005600000000002</c:v>
                </c:pt>
                <c:pt idx="3665">
                  <c:v>-1.9373899999999999</c:v>
                </c:pt>
                <c:pt idx="3666">
                  <c:v>#N/A</c:v>
                </c:pt>
                <c:pt idx="3667">
                  <c:v>-2.2156899999999999</c:v>
                </c:pt>
                <c:pt idx="3668">
                  <c:v>-2.2078899999999999</c:v>
                </c:pt>
                <c:pt idx="3669">
                  <c:v>-2.3732899999999999</c:v>
                </c:pt>
                <c:pt idx="3670">
                  <c:v>-1.9864900000000001</c:v>
                </c:pt>
                <c:pt idx="3671">
                  <c:v>#N/A</c:v>
                </c:pt>
                <c:pt idx="3672">
                  <c:v>-2.3555299999999999</c:v>
                </c:pt>
                <c:pt idx="3673">
                  <c:v>-1.3100799999999999</c:v>
                </c:pt>
                <c:pt idx="3674">
                  <c:v>-1.4392199999999999</c:v>
                </c:pt>
                <c:pt idx="3675">
                  <c:v>#N/A</c:v>
                </c:pt>
                <c:pt idx="3676">
                  <c:v>-1.6429800000000001</c:v>
                </c:pt>
                <c:pt idx="3677">
                  <c:v>-1.6476500000000001</c:v>
                </c:pt>
                <c:pt idx="3678">
                  <c:v>-1.37954</c:v>
                </c:pt>
                <c:pt idx="3679">
                  <c:v>-1.7705599999999999</c:v>
                </c:pt>
                <c:pt idx="3680">
                  <c:v>#N/A</c:v>
                </c:pt>
                <c:pt idx="3681">
                  <c:v>-1.89418</c:v>
                </c:pt>
                <c:pt idx="3682">
                  <c:v>#N/A</c:v>
                </c:pt>
                <c:pt idx="3683">
                  <c:v>-2.3330899999999999</c:v>
                </c:pt>
                <c:pt idx="3684">
                  <c:v>-2.20364</c:v>
                </c:pt>
                <c:pt idx="3685">
                  <c:v>-2.2392699999999999</c:v>
                </c:pt>
                <c:pt idx="3686">
                  <c:v>#N/A</c:v>
                </c:pt>
                <c:pt idx="3687">
                  <c:v>-2.3762300000000001</c:v>
                </c:pt>
                <c:pt idx="3688">
                  <c:v>-2.44347</c:v>
                </c:pt>
                <c:pt idx="3689">
                  <c:v>-2.4077700000000002</c:v>
                </c:pt>
                <c:pt idx="3690">
                  <c:v>#N/A</c:v>
                </c:pt>
                <c:pt idx="3691">
                  <c:v>-2.4591699999999999</c:v>
                </c:pt>
                <c:pt idx="3692">
                  <c:v>-1.94123</c:v>
                </c:pt>
                <c:pt idx="3693">
                  <c:v>-1.6382399999999999</c:v>
                </c:pt>
                <c:pt idx="3694">
                  <c:v>-1.8561799999999999</c:v>
                </c:pt>
                <c:pt idx="3695">
                  <c:v>#N/A</c:v>
                </c:pt>
                <c:pt idx="3696">
                  <c:v>-1.8356600000000001</c:v>
                </c:pt>
                <c:pt idx="3697">
                  <c:v>-1.7887599999999999</c:v>
                </c:pt>
                <c:pt idx="3698">
                  <c:v>-1.77183</c:v>
                </c:pt>
                <c:pt idx="3699">
                  <c:v>-1.6250599999999999</c:v>
                </c:pt>
                <c:pt idx="3700">
                  <c:v>#N/A</c:v>
                </c:pt>
                <c:pt idx="3701">
                  <c:v>-1.9609399999999999</c:v>
                </c:pt>
                <c:pt idx="3702">
                  <c:v>-2.13191</c:v>
                </c:pt>
                <c:pt idx="3703">
                  <c:v>-2.00644</c:v>
                </c:pt>
                <c:pt idx="3704">
                  <c:v>#N/A</c:v>
                </c:pt>
                <c:pt idx="3705">
                  <c:v>-2.1900599999999999</c:v>
                </c:pt>
                <c:pt idx="3706">
                  <c:v>-1.9131800000000001</c:v>
                </c:pt>
                <c:pt idx="3707">
                  <c:v>-2.2686299999999999</c:v>
                </c:pt>
                <c:pt idx="3708">
                  <c:v>#N/A</c:v>
                </c:pt>
                <c:pt idx="3709">
                  <c:v>-2.1970800000000001</c:v>
                </c:pt>
                <c:pt idx="3710">
                  <c:v>-2.57355</c:v>
                </c:pt>
                <c:pt idx="3711">
                  <c:v>-2.10562</c:v>
                </c:pt>
                <c:pt idx="3712">
                  <c:v>-2.1981099999999998</c:v>
                </c:pt>
                <c:pt idx="3713">
                  <c:v>#N/A</c:v>
                </c:pt>
                <c:pt idx="3714">
                  <c:v>-2.02549</c:v>
                </c:pt>
                <c:pt idx="3715">
                  <c:v>-1.46671</c:v>
                </c:pt>
                <c:pt idx="3716">
                  <c:v>-1.4219999999999999</c:v>
                </c:pt>
                <c:pt idx="3717">
                  <c:v>#N/A</c:v>
                </c:pt>
                <c:pt idx="3718">
                  <c:v>-2.44259</c:v>
                </c:pt>
                <c:pt idx="3719">
                  <c:v>-3.0899100000000002</c:v>
                </c:pt>
                <c:pt idx="3720">
                  <c:v>-2.80003</c:v>
                </c:pt>
                <c:pt idx="3721">
                  <c:v>#N/A</c:v>
                </c:pt>
                <c:pt idx="3722">
                  <c:v>-2.2715299999999998</c:v>
                </c:pt>
                <c:pt idx="3723">
                  <c:v>-1.7179</c:v>
                </c:pt>
                <c:pt idx="3724">
                  <c:v>-2.2665600000000001</c:v>
                </c:pt>
                <c:pt idx="3725">
                  <c:v>#N/A</c:v>
                </c:pt>
                <c:pt idx="3726">
                  <c:v>-1.57561</c:v>
                </c:pt>
                <c:pt idx="3727">
                  <c:v>-2.0589300000000001</c:v>
                </c:pt>
                <c:pt idx="3728">
                  <c:v>-1.7872399999999999</c:v>
                </c:pt>
                <c:pt idx="3729">
                  <c:v>-1.5072300000000001</c:v>
                </c:pt>
                <c:pt idx="3730">
                  <c:v>#N/A</c:v>
                </c:pt>
                <c:pt idx="3731">
                  <c:v>-1.80522</c:v>
                </c:pt>
                <c:pt idx="3732">
                  <c:v>-1.2418400000000001</c:v>
                </c:pt>
                <c:pt idx="3733">
                  <c:v>-1.3017000000000001</c:v>
                </c:pt>
                <c:pt idx="3734">
                  <c:v>#N/A</c:v>
                </c:pt>
                <c:pt idx="3735">
                  <c:v>-0.61445799999999995</c:v>
                </c:pt>
                <c:pt idx="3736">
                  <c:v>-1.00684</c:v>
                </c:pt>
                <c:pt idx="3737">
                  <c:v>-1.7298100000000001</c:v>
                </c:pt>
                <c:pt idx="3738">
                  <c:v>-1.60762</c:v>
                </c:pt>
                <c:pt idx="3739">
                  <c:v>#N/A</c:v>
                </c:pt>
                <c:pt idx="3740">
                  <c:v>-1.96991</c:v>
                </c:pt>
                <c:pt idx="3741">
                  <c:v>-2.45181</c:v>
                </c:pt>
                <c:pt idx="3742">
                  <c:v>-2.0297100000000001</c:v>
                </c:pt>
                <c:pt idx="3743">
                  <c:v>#N/A</c:v>
                </c:pt>
                <c:pt idx="3744">
                  <c:v>-2.2258399999999998</c:v>
                </c:pt>
                <c:pt idx="3745">
                  <c:v>-2.18499</c:v>
                </c:pt>
                <c:pt idx="3746">
                  <c:v>-2.0763099999999999</c:v>
                </c:pt>
                <c:pt idx="3747">
                  <c:v>#N/A</c:v>
                </c:pt>
                <c:pt idx="3748">
                  <c:v>-2.4085299999999998</c:v>
                </c:pt>
                <c:pt idx="3749">
                  <c:v>-2.2420800000000001</c:v>
                </c:pt>
                <c:pt idx="3750">
                  <c:v>-1.9713099999999999</c:v>
                </c:pt>
                <c:pt idx="3751">
                  <c:v>-2.2334200000000002</c:v>
                </c:pt>
                <c:pt idx="3752">
                  <c:v>#N/A</c:v>
                </c:pt>
                <c:pt idx="3753">
                  <c:v>-1.7339800000000001</c:v>
                </c:pt>
                <c:pt idx="3754">
                  <c:v>-1.15039</c:v>
                </c:pt>
                <c:pt idx="3755">
                  <c:v>#N/A</c:v>
                </c:pt>
                <c:pt idx="3756">
                  <c:v>-1.22841</c:v>
                </c:pt>
                <c:pt idx="3757">
                  <c:v>-1.65137</c:v>
                </c:pt>
                <c:pt idx="3758">
                  <c:v>-1.3491</c:v>
                </c:pt>
                <c:pt idx="3759">
                  <c:v>#N/A</c:v>
                </c:pt>
                <c:pt idx="3760">
                  <c:v>-1.6888700000000001</c:v>
                </c:pt>
                <c:pt idx="3761">
                  <c:v>-1.98478</c:v>
                </c:pt>
                <c:pt idx="3762">
                  <c:v>-1.5994999999999999</c:v>
                </c:pt>
                <c:pt idx="3763">
                  <c:v>-1.9529799999999999</c:v>
                </c:pt>
                <c:pt idx="3764">
                  <c:v>#N/A</c:v>
                </c:pt>
                <c:pt idx="3765">
                  <c:v>-1.9428700000000001</c:v>
                </c:pt>
                <c:pt idx="3766">
                  <c:v>-2.4594800000000001</c:v>
                </c:pt>
                <c:pt idx="3767">
                  <c:v>-2.4462299999999999</c:v>
                </c:pt>
                <c:pt idx="3768">
                  <c:v>#N/A</c:v>
                </c:pt>
                <c:pt idx="3769">
                  <c:v>-2.6549299999999998</c:v>
                </c:pt>
                <c:pt idx="3770">
                  <c:v>-2.2769200000000001</c:v>
                </c:pt>
                <c:pt idx="3771">
                  <c:v>-1.84572</c:v>
                </c:pt>
                <c:pt idx="3772">
                  <c:v>#N/A</c:v>
                </c:pt>
                <c:pt idx="3773">
                  <c:v>-1.8255999999999999</c:v>
                </c:pt>
                <c:pt idx="3774">
                  <c:v>-1.77328</c:v>
                </c:pt>
                <c:pt idx="3775">
                  <c:v>-1.6056999999999999</c:v>
                </c:pt>
                <c:pt idx="3776">
                  <c:v>-1.64696</c:v>
                </c:pt>
                <c:pt idx="3777">
                  <c:v>#N/A</c:v>
                </c:pt>
                <c:pt idx="3778">
                  <c:v>-1.4753700000000001</c:v>
                </c:pt>
                <c:pt idx="3779">
                  <c:v>-1.2515400000000001</c:v>
                </c:pt>
                <c:pt idx="3780">
                  <c:v>-1.41693</c:v>
                </c:pt>
                <c:pt idx="3781">
                  <c:v>#N/A</c:v>
                </c:pt>
                <c:pt idx="3782">
                  <c:v>-1.8341000000000001</c:v>
                </c:pt>
                <c:pt idx="3783">
                  <c:v>-2.0767500000000001</c:v>
                </c:pt>
                <c:pt idx="3784">
                  <c:v>-1.6117300000000001</c:v>
                </c:pt>
                <c:pt idx="3785">
                  <c:v>-1.80657</c:v>
                </c:pt>
                <c:pt idx="3786">
                  <c:v>#N/A</c:v>
                </c:pt>
                <c:pt idx="3787">
                  <c:v>-2.0453399999999999</c:v>
                </c:pt>
                <c:pt idx="3788">
                  <c:v>-2.5223900000000001</c:v>
                </c:pt>
                <c:pt idx="3789">
                  <c:v>-2.532</c:v>
                </c:pt>
                <c:pt idx="3790">
                  <c:v>-2.0300600000000002</c:v>
                </c:pt>
                <c:pt idx="3791">
                  <c:v>#N/A</c:v>
                </c:pt>
                <c:pt idx="3792">
                  <c:v>-2.2489599999999998</c:v>
                </c:pt>
                <c:pt idx="3793">
                  <c:v>-1.99441</c:v>
                </c:pt>
                <c:pt idx="3794">
                  <c:v>-1.60314</c:v>
                </c:pt>
                <c:pt idx="3795">
                  <c:v>#N/A</c:v>
                </c:pt>
                <c:pt idx="3796">
                  <c:v>-1.6435999999999999</c:v>
                </c:pt>
                <c:pt idx="3797">
                  <c:v>-1.80524</c:v>
                </c:pt>
                <c:pt idx="3798">
                  <c:v>-2.11429</c:v>
                </c:pt>
                <c:pt idx="3799">
                  <c:v>#N/A</c:v>
                </c:pt>
                <c:pt idx="3800">
                  <c:v>-1.83602</c:v>
                </c:pt>
                <c:pt idx="3801">
                  <c:v>-1.7435499999999999</c:v>
                </c:pt>
                <c:pt idx="3802">
                  <c:v>-2.0225399999999998</c:v>
                </c:pt>
                <c:pt idx="3803">
                  <c:v>-1.4969600000000001</c:v>
                </c:pt>
                <c:pt idx="3804">
                  <c:v>#N/A</c:v>
                </c:pt>
                <c:pt idx="3805">
                  <c:v>-1.7596700000000001</c:v>
                </c:pt>
                <c:pt idx="3806">
                  <c:v>-2.63279</c:v>
                </c:pt>
                <c:pt idx="3807">
                  <c:v>-2.2414299999999998</c:v>
                </c:pt>
                <c:pt idx="3808">
                  <c:v>#N/A</c:v>
                </c:pt>
                <c:pt idx="3809">
                  <c:v>-2.5271699999999999</c:v>
                </c:pt>
                <c:pt idx="3810">
                  <c:v>-2.69625</c:v>
                </c:pt>
                <c:pt idx="3811">
                  <c:v>-2.7997000000000001</c:v>
                </c:pt>
                <c:pt idx="3812">
                  <c:v>-1.83266</c:v>
                </c:pt>
                <c:pt idx="3813">
                  <c:v>#N/A</c:v>
                </c:pt>
                <c:pt idx="3814">
                  <c:v>-2.0982699999999999</c:v>
                </c:pt>
                <c:pt idx="3815">
                  <c:v>-1.57978</c:v>
                </c:pt>
                <c:pt idx="3816">
                  <c:v>-1.5732600000000001</c:v>
                </c:pt>
                <c:pt idx="3817">
                  <c:v>#N/A</c:v>
                </c:pt>
                <c:pt idx="3818">
                  <c:v>-1.9368799999999999</c:v>
                </c:pt>
                <c:pt idx="3819">
                  <c:v>-2.43066</c:v>
                </c:pt>
                <c:pt idx="3820">
                  <c:v>-1.88445</c:v>
                </c:pt>
                <c:pt idx="3821">
                  <c:v>-2.36911</c:v>
                </c:pt>
                <c:pt idx="3822">
                  <c:v>#N/A</c:v>
                </c:pt>
                <c:pt idx="3823">
                  <c:v>-1.67309</c:v>
                </c:pt>
                <c:pt idx="3824">
                  <c:v>#N/A</c:v>
                </c:pt>
                <c:pt idx="3825">
                  <c:v>-1.9734700000000001</c:v>
                </c:pt>
                <c:pt idx="3826">
                  <c:v>#N/A</c:v>
                </c:pt>
                <c:pt idx="3827">
                  <c:v>-2.1930999999999998</c:v>
                </c:pt>
                <c:pt idx="3828">
                  <c:v>-2.6207600000000002</c:v>
                </c:pt>
                <c:pt idx="3829">
                  <c:v>-2.1928999999999998</c:v>
                </c:pt>
                <c:pt idx="3830">
                  <c:v>-2.2253799999999999</c:v>
                </c:pt>
                <c:pt idx="3831">
                  <c:v>#N/A</c:v>
                </c:pt>
                <c:pt idx="3832">
                  <c:v>-1.8582700000000001</c:v>
                </c:pt>
                <c:pt idx="3833">
                  <c:v>-2.0358900000000002</c:v>
                </c:pt>
                <c:pt idx="3834">
                  <c:v>-1.3252600000000001</c:v>
                </c:pt>
                <c:pt idx="3835">
                  <c:v>#N/A</c:v>
                </c:pt>
                <c:pt idx="3836">
                  <c:v>-1.6499200000000001</c:v>
                </c:pt>
                <c:pt idx="3837">
                  <c:v>-2.2060900000000001</c:v>
                </c:pt>
                <c:pt idx="3838">
                  <c:v>-1.95085</c:v>
                </c:pt>
                <c:pt idx="3839">
                  <c:v>#N/A</c:v>
                </c:pt>
                <c:pt idx="3840">
                  <c:v>-1.98227</c:v>
                </c:pt>
                <c:pt idx="3841">
                  <c:v>-2.1794699999999998</c:v>
                </c:pt>
                <c:pt idx="3842">
                  <c:v>-2.3501300000000001</c:v>
                </c:pt>
                <c:pt idx="3843">
                  <c:v>-1.77041</c:v>
                </c:pt>
                <c:pt idx="3844">
                  <c:v>#N/A</c:v>
                </c:pt>
                <c:pt idx="3845">
                  <c:v>-1.9848300000000001</c:v>
                </c:pt>
                <c:pt idx="3846">
                  <c:v>-2.5543300000000002</c:v>
                </c:pt>
                <c:pt idx="3847">
                  <c:v>-2.2346900000000001</c:v>
                </c:pt>
                <c:pt idx="3848">
                  <c:v>#N/A</c:v>
                </c:pt>
                <c:pt idx="3849">
                  <c:v>-2.4434200000000001</c:v>
                </c:pt>
                <c:pt idx="3850">
                  <c:v>-2.35527</c:v>
                </c:pt>
                <c:pt idx="3851">
                  <c:v>-2.3449300000000002</c:v>
                </c:pt>
                <c:pt idx="3852">
                  <c:v>#N/A</c:v>
                </c:pt>
                <c:pt idx="3853">
                  <c:v>-1.5704800000000001</c:v>
                </c:pt>
                <c:pt idx="3854">
                  <c:v>-1.49166</c:v>
                </c:pt>
                <c:pt idx="3855">
                  <c:v>-1.7307900000000001</c:v>
                </c:pt>
                <c:pt idx="3856">
                  <c:v>-1.9266799999999999</c:v>
                </c:pt>
                <c:pt idx="3857">
                  <c:v>#N/A</c:v>
                </c:pt>
                <c:pt idx="3858">
                  <c:v>-1.7569300000000001</c:v>
                </c:pt>
                <c:pt idx="3859">
                  <c:v>-2.2458499999999999</c:v>
                </c:pt>
                <c:pt idx="3860">
                  <c:v>-2.1074999999999999</c:v>
                </c:pt>
                <c:pt idx="3861">
                  <c:v>#N/A</c:v>
                </c:pt>
                <c:pt idx="3862">
                  <c:v>-2.1901199999999998</c:v>
                </c:pt>
                <c:pt idx="3863">
                  <c:v>-2.3036400000000001</c:v>
                </c:pt>
                <c:pt idx="3864">
                  <c:v>-2.5569199999999999</c:v>
                </c:pt>
                <c:pt idx="3865">
                  <c:v>-2.0235599999999998</c:v>
                </c:pt>
                <c:pt idx="3866">
                  <c:v>#N/A</c:v>
                </c:pt>
                <c:pt idx="3867">
                  <c:v>-2.3631500000000001</c:v>
                </c:pt>
                <c:pt idx="3868">
                  <c:v>-2.55558</c:v>
                </c:pt>
                <c:pt idx="3869">
                  <c:v>-2.4244400000000002</c:v>
                </c:pt>
                <c:pt idx="3870">
                  <c:v>#N/A</c:v>
                </c:pt>
                <c:pt idx="3871">
                  <c:v>-2.38015</c:v>
                </c:pt>
                <c:pt idx="3872">
                  <c:v>-1.7060999999999999</c:v>
                </c:pt>
                <c:pt idx="3873">
                  <c:v>-1.9875400000000001</c:v>
                </c:pt>
                <c:pt idx="3874">
                  <c:v>#N/A</c:v>
                </c:pt>
                <c:pt idx="3875">
                  <c:v>-1.2724500000000001</c:v>
                </c:pt>
                <c:pt idx="3876">
                  <c:v>-1.6987699999999999</c:v>
                </c:pt>
                <c:pt idx="3877">
                  <c:v>-1.98912</c:v>
                </c:pt>
                <c:pt idx="3878">
                  <c:v>#N/A</c:v>
                </c:pt>
                <c:pt idx="3879">
                  <c:v>-2.3752499999999999</c:v>
                </c:pt>
                <c:pt idx="3880">
                  <c:v>-1.78556</c:v>
                </c:pt>
                <c:pt idx="3881">
                  <c:v>-2.0385200000000001</c:v>
                </c:pt>
                <c:pt idx="3882">
                  <c:v>-2.2099099999999998</c:v>
                </c:pt>
                <c:pt idx="3883">
                  <c:v>#N/A</c:v>
                </c:pt>
                <c:pt idx="3884">
                  <c:v>-1.95034</c:v>
                </c:pt>
                <c:pt idx="3885">
                  <c:v>-2.3609599999999999</c:v>
                </c:pt>
                <c:pt idx="3886">
                  <c:v>-2.6808900000000002</c:v>
                </c:pt>
                <c:pt idx="3887">
                  <c:v>#N/A</c:v>
                </c:pt>
                <c:pt idx="3888">
                  <c:v>-2.6865399999999999</c:v>
                </c:pt>
                <c:pt idx="3889">
                  <c:v>-2.4727800000000002</c:v>
                </c:pt>
                <c:pt idx="3890">
                  <c:v>-2.4163000000000001</c:v>
                </c:pt>
                <c:pt idx="3891">
                  <c:v>-2.5635300000000001</c:v>
                </c:pt>
                <c:pt idx="3892">
                  <c:v>#N/A</c:v>
                </c:pt>
                <c:pt idx="3893">
                  <c:v>-1.5255300000000001</c:v>
                </c:pt>
                <c:pt idx="3894">
                  <c:v>-1.8233600000000001</c:v>
                </c:pt>
                <c:pt idx="3895">
                  <c:v>-1.79271</c:v>
                </c:pt>
                <c:pt idx="3896">
                  <c:v>#N/A</c:v>
                </c:pt>
                <c:pt idx="3897">
                  <c:v>-1.5567500000000001</c:v>
                </c:pt>
                <c:pt idx="3898">
                  <c:v>-2.3814500000000001</c:v>
                </c:pt>
                <c:pt idx="3899">
                  <c:v>#N/A</c:v>
                </c:pt>
                <c:pt idx="3900">
                  <c:v>-2.2170200000000002</c:v>
                </c:pt>
                <c:pt idx="3901">
                  <c:v>-2.0319500000000001</c:v>
                </c:pt>
                <c:pt idx="3902">
                  <c:v>-1.8887799999999999</c:v>
                </c:pt>
                <c:pt idx="3903">
                  <c:v>#N/A</c:v>
                </c:pt>
                <c:pt idx="3904">
                  <c:v>-2.1351800000000001</c:v>
                </c:pt>
                <c:pt idx="3905">
                  <c:v>-2.0926800000000001</c:v>
                </c:pt>
                <c:pt idx="3906">
                  <c:v>-2.4216299999999999</c:v>
                </c:pt>
                <c:pt idx="3907">
                  <c:v>-2.8029700000000002</c:v>
                </c:pt>
                <c:pt idx="3908">
                  <c:v>#N/A</c:v>
                </c:pt>
                <c:pt idx="3909">
                  <c:v>-2.5302099999999998</c:v>
                </c:pt>
                <c:pt idx="3910">
                  <c:v>-2.41927</c:v>
                </c:pt>
                <c:pt idx="3911">
                  <c:v>-2.2433399999999999</c:v>
                </c:pt>
                <c:pt idx="3912">
                  <c:v>#N/A</c:v>
                </c:pt>
                <c:pt idx="3913">
                  <c:v>-2.07497</c:v>
                </c:pt>
                <c:pt idx="3914">
                  <c:v>-1.7443</c:v>
                </c:pt>
                <c:pt idx="3915">
                  <c:v>-2.0131600000000001</c:v>
                </c:pt>
                <c:pt idx="3916">
                  <c:v>#N/A</c:v>
                </c:pt>
                <c:pt idx="3917">
                  <c:v>-2.1380400000000002</c:v>
                </c:pt>
                <c:pt idx="3918">
                  <c:v>-1.9072199999999999</c:v>
                </c:pt>
                <c:pt idx="3919">
                  <c:v>-1.87914</c:v>
                </c:pt>
                <c:pt idx="3920">
                  <c:v>-2.2536900000000002</c:v>
                </c:pt>
                <c:pt idx="3921">
                  <c:v>#N/A</c:v>
                </c:pt>
                <c:pt idx="3922">
                  <c:v>-2.2750300000000001</c:v>
                </c:pt>
                <c:pt idx="3923">
                  <c:v>-2.0600399999999999</c:v>
                </c:pt>
                <c:pt idx="3924">
                  <c:v>-1.9457500000000001</c:v>
                </c:pt>
                <c:pt idx="3925">
                  <c:v>#N/A</c:v>
                </c:pt>
                <c:pt idx="3926">
                  <c:v>-1.7946200000000001</c:v>
                </c:pt>
                <c:pt idx="3927">
                  <c:v>-2.1090599999999999</c:v>
                </c:pt>
                <c:pt idx="3928">
                  <c:v>-2.7303999999999999</c:v>
                </c:pt>
                <c:pt idx="3929">
                  <c:v>-2.6786400000000001</c:v>
                </c:pt>
                <c:pt idx="3930">
                  <c:v>#N/A</c:v>
                </c:pt>
                <c:pt idx="3931">
                  <c:v>-2.3258399999999999</c:v>
                </c:pt>
                <c:pt idx="3932">
                  <c:v>-2.16818</c:v>
                </c:pt>
                <c:pt idx="3933">
                  <c:v>-1.9210499999999999</c:v>
                </c:pt>
                <c:pt idx="3934">
                  <c:v>#N/A</c:v>
                </c:pt>
                <c:pt idx="3935">
                  <c:v>-2.0161699999999998</c:v>
                </c:pt>
                <c:pt idx="3936">
                  <c:v>-2.0291199999999998</c:v>
                </c:pt>
                <c:pt idx="3937">
                  <c:v>#N/A</c:v>
                </c:pt>
                <c:pt idx="3938">
                  <c:v>-1.8684700000000001</c:v>
                </c:pt>
                <c:pt idx="3939">
                  <c:v>-2.29569</c:v>
                </c:pt>
                <c:pt idx="3940">
                  <c:v>#N/A</c:v>
                </c:pt>
                <c:pt idx="3941">
                  <c:v>-2.0939800000000002</c:v>
                </c:pt>
                <c:pt idx="3942">
                  <c:v>-1.8768400000000001</c:v>
                </c:pt>
                <c:pt idx="3943">
                  <c:v>-2.2029700000000001</c:v>
                </c:pt>
                <c:pt idx="3944">
                  <c:v>-2.3321700000000001</c:v>
                </c:pt>
                <c:pt idx="3945">
                  <c:v>#N/A</c:v>
                </c:pt>
                <c:pt idx="3946">
                  <c:v>-2.8094999999999999</c:v>
                </c:pt>
                <c:pt idx="3947">
                  <c:v>-2.45296</c:v>
                </c:pt>
                <c:pt idx="3948">
                  <c:v>-2.40937</c:v>
                </c:pt>
                <c:pt idx="3949">
                  <c:v>#N/A</c:v>
                </c:pt>
                <c:pt idx="3950">
                  <c:v>-2.63489</c:v>
                </c:pt>
                <c:pt idx="3951">
                  <c:v>-1.38626</c:v>
                </c:pt>
                <c:pt idx="3952">
                  <c:v>-1.4760500000000001</c:v>
                </c:pt>
                <c:pt idx="3953">
                  <c:v>#N/A</c:v>
                </c:pt>
                <c:pt idx="3954">
                  <c:v>-1.7259199999999999</c:v>
                </c:pt>
                <c:pt idx="3955">
                  <c:v>-1.67035</c:v>
                </c:pt>
                <c:pt idx="3956">
                  <c:v>-2.0658500000000002</c:v>
                </c:pt>
                <c:pt idx="3957">
                  <c:v>#N/A</c:v>
                </c:pt>
                <c:pt idx="3958">
                  <c:v>-1.61883</c:v>
                </c:pt>
                <c:pt idx="3959">
                  <c:v>-1.8133900000000001</c:v>
                </c:pt>
                <c:pt idx="3960">
                  <c:v>-1.8615999999999999</c:v>
                </c:pt>
                <c:pt idx="3961">
                  <c:v>-1.7849699999999999</c:v>
                </c:pt>
                <c:pt idx="3962">
                  <c:v>#N/A</c:v>
                </c:pt>
                <c:pt idx="3963">
                  <c:v>-2.07151</c:v>
                </c:pt>
                <c:pt idx="3964">
                  <c:v>-2.1939000000000002</c:v>
                </c:pt>
                <c:pt idx="3965">
                  <c:v>-1.75424</c:v>
                </c:pt>
                <c:pt idx="3966">
                  <c:v>#N/A</c:v>
                </c:pt>
                <c:pt idx="3967">
                  <c:v>-2.4343599999999999</c:v>
                </c:pt>
                <c:pt idx="3968">
                  <c:v>#N/A</c:v>
                </c:pt>
                <c:pt idx="3969">
                  <c:v>-2.2794099999999999</c:v>
                </c:pt>
                <c:pt idx="3970">
                  <c:v>-2.33081</c:v>
                </c:pt>
                <c:pt idx="3971">
                  <c:v>#N/A</c:v>
                </c:pt>
                <c:pt idx="3972">
                  <c:v>-2.4574699999999998</c:v>
                </c:pt>
                <c:pt idx="3973">
                  <c:v>-2.23427</c:v>
                </c:pt>
                <c:pt idx="3974">
                  <c:v>-1.1655800000000001</c:v>
                </c:pt>
                <c:pt idx="3975">
                  <c:v>-1.46052</c:v>
                </c:pt>
                <c:pt idx="3976">
                  <c:v>#N/A</c:v>
                </c:pt>
                <c:pt idx="3977">
                  <c:v>-1.63083</c:v>
                </c:pt>
                <c:pt idx="3978">
                  <c:v>-2.0336400000000001</c:v>
                </c:pt>
                <c:pt idx="3979">
                  <c:v>-2.1721400000000002</c:v>
                </c:pt>
                <c:pt idx="3980">
                  <c:v>#N/A</c:v>
                </c:pt>
                <c:pt idx="3981">
                  <c:v>-2.2552099999999999</c:v>
                </c:pt>
                <c:pt idx="3982">
                  <c:v>-1.85484</c:v>
                </c:pt>
                <c:pt idx="3983">
                  <c:v>-2.0622799999999999</c:v>
                </c:pt>
                <c:pt idx="3984">
                  <c:v>#N/A</c:v>
                </c:pt>
                <c:pt idx="3985">
                  <c:v>-2.1283799999999999</c:v>
                </c:pt>
                <c:pt idx="3986">
                  <c:v>-2.5146700000000002</c:v>
                </c:pt>
                <c:pt idx="3987">
                  <c:v>-2.3313999999999999</c:v>
                </c:pt>
                <c:pt idx="3988">
                  <c:v>-2.1036899999999998</c:v>
                </c:pt>
                <c:pt idx="3989">
                  <c:v>#N/A</c:v>
                </c:pt>
                <c:pt idx="3990">
                  <c:v>-2.30538</c:v>
                </c:pt>
                <c:pt idx="3991">
                  <c:v>-2.0922000000000001</c:v>
                </c:pt>
                <c:pt idx="3992">
                  <c:v>-2.1746400000000001</c:v>
                </c:pt>
                <c:pt idx="3993">
                  <c:v>#N/A</c:v>
                </c:pt>
                <c:pt idx="3994">
                  <c:v>-2.16662</c:v>
                </c:pt>
                <c:pt idx="3995">
                  <c:v>-2.1173500000000001</c:v>
                </c:pt>
                <c:pt idx="3996">
                  <c:v>-1.7553700000000001</c:v>
                </c:pt>
                <c:pt idx="3997">
                  <c:v>-2.01267</c:v>
                </c:pt>
                <c:pt idx="3998">
                  <c:v>#N/A</c:v>
                </c:pt>
                <c:pt idx="3999">
                  <c:v>-1.99987</c:v>
                </c:pt>
                <c:pt idx="4000">
                  <c:v>-2.5096500000000002</c:v>
                </c:pt>
                <c:pt idx="4001">
                  <c:v>-2.3199299999999998</c:v>
                </c:pt>
                <c:pt idx="4002">
                  <c:v>#N/A</c:v>
                </c:pt>
                <c:pt idx="4003">
                  <c:v>-2.3877000000000002</c:v>
                </c:pt>
                <c:pt idx="4004">
                  <c:v>-3.0236999999999998</c:v>
                </c:pt>
                <c:pt idx="4005">
                  <c:v>-2.3880699999999999</c:v>
                </c:pt>
                <c:pt idx="4006">
                  <c:v>-2.6222699999999999</c:v>
                </c:pt>
                <c:pt idx="4007">
                  <c:v>#N/A</c:v>
                </c:pt>
                <c:pt idx="4008">
                  <c:v>-2.68533</c:v>
                </c:pt>
                <c:pt idx="4009">
                  <c:v>-2.7927399999999998</c:v>
                </c:pt>
                <c:pt idx="4010">
                  <c:v>-2.2240099999999998</c:v>
                </c:pt>
                <c:pt idx="4011">
                  <c:v>-1.9489300000000001</c:v>
                </c:pt>
                <c:pt idx="4012">
                  <c:v>#N/A</c:v>
                </c:pt>
                <c:pt idx="4013">
                  <c:v>-1.9043300000000001</c:v>
                </c:pt>
                <c:pt idx="4014">
                  <c:v>-1.8923099999999999</c:v>
                </c:pt>
                <c:pt idx="4015">
                  <c:v>-2.2718500000000001</c:v>
                </c:pt>
                <c:pt idx="4016">
                  <c:v>#N/A</c:v>
                </c:pt>
                <c:pt idx="4017">
                  <c:v>-2.6752400000000001</c:v>
                </c:pt>
                <c:pt idx="4018">
                  <c:v>-2.2434699999999999</c:v>
                </c:pt>
                <c:pt idx="4019">
                  <c:v>-1.9441600000000001</c:v>
                </c:pt>
                <c:pt idx="4020">
                  <c:v>#N/A</c:v>
                </c:pt>
                <c:pt idx="4021">
                  <c:v>-2.1777799999999998</c:v>
                </c:pt>
                <c:pt idx="4022">
                  <c:v>-2.3821699999999999</c:v>
                </c:pt>
                <c:pt idx="4023">
                  <c:v>-2.46801</c:v>
                </c:pt>
                <c:pt idx="4024">
                  <c:v>-2.69868</c:v>
                </c:pt>
                <c:pt idx="4025">
                  <c:v>#N/A</c:v>
                </c:pt>
                <c:pt idx="4026">
                  <c:v>-2.8462999999999998</c:v>
                </c:pt>
                <c:pt idx="4027">
                  <c:v>-2.93519</c:v>
                </c:pt>
                <c:pt idx="4028">
                  <c:v>-3.3878699999999999</c:v>
                </c:pt>
                <c:pt idx="4029">
                  <c:v>#N/A</c:v>
                </c:pt>
                <c:pt idx="4030">
                  <c:v>-2.6913999999999998</c:v>
                </c:pt>
                <c:pt idx="4031">
                  <c:v>-3.1985000000000001</c:v>
                </c:pt>
                <c:pt idx="4032">
                  <c:v>-2.0824400000000001</c:v>
                </c:pt>
                <c:pt idx="4033">
                  <c:v>-1.88001</c:v>
                </c:pt>
                <c:pt idx="4034">
                  <c:v>#N/A</c:v>
                </c:pt>
                <c:pt idx="4035">
                  <c:v>-1.65879</c:v>
                </c:pt>
                <c:pt idx="4036">
                  <c:v>-1.6043499999999999</c:v>
                </c:pt>
                <c:pt idx="4037">
                  <c:v>-1.9074599999999999</c:v>
                </c:pt>
                <c:pt idx="4038">
                  <c:v>#N/A</c:v>
                </c:pt>
                <c:pt idx="4039">
                  <c:v>-1.8855200000000001</c:v>
                </c:pt>
                <c:pt idx="4040">
                  <c:v>-1.7321500000000001</c:v>
                </c:pt>
                <c:pt idx="4041">
                  <c:v>#N/A</c:v>
                </c:pt>
                <c:pt idx="4042">
                  <c:v>-2.0848300000000002</c:v>
                </c:pt>
                <c:pt idx="4043">
                  <c:v>-2.1008200000000001</c:v>
                </c:pt>
                <c:pt idx="4044">
                  <c:v>#N/A</c:v>
                </c:pt>
                <c:pt idx="4045">
                  <c:v>-2.2390500000000002</c:v>
                </c:pt>
                <c:pt idx="4046">
                  <c:v>-2.51532</c:v>
                </c:pt>
                <c:pt idx="4047">
                  <c:v>-2.43283</c:v>
                </c:pt>
                <c:pt idx="4048">
                  <c:v>-2.3986000000000001</c:v>
                </c:pt>
                <c:pt idx="4049">
                  <c:v>#N/A</c:v>
                </c:pt>
                <c:pt idx="4050">
                  <c:v>-2.8055099999999999</c:v>
                </c:pt>
                <c:pt idx="4051">
                  <c:v>-2.7503000000000002</c:v>
                </c:pt>
                <c:pt idx="4052">
                  <c:v>-2.2676599999999998</c:v>
                </c:pt>
                <c:pt idx="4053">
                  <c:v>#N/A</c:v>
                </c:pt>
                <c:pt idx="4054">
                  <c:v>-1.96261</c:v>
                </c:pt>
                <c:pt idx="4055">
                  <c:v>-2.0115500000000002</c:v>
                </c:pt>
                <c:pt idx="4056">
                  <c:v>-2.1517599999999999</c:v>
                </c:pt>
                <c:pt idx="4057">
                  <c:v>#N/A</c:v>
                </c:pt>
                <c:pt idx="4058">
                  <c:v>-1.9104000000000001</c:v>
                </c:pt>
                <c:pt idx="4059">
                  <c:v>-2.1148799999999999</c:v>
                </c:pt>
                <c:pt idx="4060">
                  <c:v>-2.65341</c:v>
                </c:pt>
                <c:pt idx="4061">
                  <c:v>#N/A</c:v>
                </c:pt>
                <c:pt idx="4062">
                  <c:v>-2.1622699999999999</c:v>
                </c:pt>
                <c:pt idx="4063">
                  <c:v>-2.1941299999999999</c:v>
                </c:pt>
                <c:pt idx="4064">
                  <c:v>-1.97966</c:v>
                </c:pt>
                <c:pt idx="4065">
                  <c:v>-2.06366</c:v>
                </c:pt>
                <c:pt idx="4066">
                  <c:v>#N/A</c:v>
                </c:pt>
                <c:pt idx="4067">
                  <c:v>-2.0747800000000001</c:v>
                </c:pt>
                <c:pt idx="4068">
                  <c:v>-2.3819300000000001</c:v>
                </c:pt>
                <c:pt idx="4069">
                  <c:v>-2.4884300000000001</c:v>
                </c:pt>
                <c:pt idx="4070">
                  <c:v>-2.31968</c:v>
                </c:pt>
                <c:pt idx="4071">
                  <c:v>#N/A</c:v>
                </c:pt>
                <c:pt idx="4072">
                  <c:v>-2.0552700000000002</c:v>
                </c:pt>
                <c:pt idx="4073">
                  <c:v>-2.56908</c:v>
                </c:pt>
                <c:pt idx="4074">
                  <c:v>-1.9559599999999999</c:v>
                </c:pt>
                <c:pt idx="4075">
                  <c:v>#N/A</c:v>
                </c:pt>
                <c:pt idx="4076">
                  <c:v>-1.8536900000000001</c:v>
                </c:pt>
                <c:pt idx="4077">
                  <c:v>-1.9070800000000001</c:v>
                </c:pt>
                <c:pt idx="4078">
                  <c:v>-2.1373000000000002</c:v>
                </c:pt>
                <c:pt idx="4079">
                  <c:v>-2.3146599999999999</c:v>
                </c:pt>
                <c:pt idx="4080">
                  <c:v>#N/A</c:v>
                </c:pt>
                <c:pt idx="4081">
                  <c:v>-1.9385300000000001</c:v>
                </c:pt>
                <c:pt idx="4082">
                  <c:v>-2.1111900000000001</c:v>
                </c:pt>
                <c:pt idx="4083">
                  <c:v>-2.2854000000000001</c:v>
                </c:pt>
                <c:pt idx="4084">
                  <c:v>#N/A</c:v>
                </c:pt>
                <c:pt idx="4085">
                  <c:v>-2.0069499999999998</c:v>
                </c:pt>
                <c:pt idx="4086">
                  <c:v>-2.0866099999999999</c:v>
                </c:pt>
                <c:pt idx="4087">
                  <c:v>-2.1176300000000001</c:v>
                </c:pt>
                <c:pt idx="4088">
                  <c:v>#N/A</c:v>
                </c:pt>
                <c:pt idx="4089">
                  <c:v>-2.3624100000000001</c:v>
                </c:pt>
                <c:pt idx="4090">
                  <c:v>-2.20383</c:v>
                </c:pt>
                <c:pt idx="4091">
                  <c:v>-2.6394799999999998</c:v>
                </c:pt>
                <c:pt idx="4092">
                  <c:v>#N/A</c:v>
                </c:pt>
                <c:pt idx="4093">
                  <c:v>-2.1947000000000001</c:v>
                </c:pt>
                <c:pt idx="4094">
                  <c:v>-1.8780699999999999</c:v>
                </c:pt>
                <c:pt idx="4095">
                  <c:v>-1.7030400000000001</c:v>
                </c:pt>
                <c:pt idx="4096">
                  <c:v>-2.2668300000000001</c:v>
                </c:pt>
                <c:pt idx="4097">
                  <c:v>#N/A</c:v>
                </c:pt>
                <c:pt idx="4098">
                  <c:v>-1.6869000000000001</c:v>
                </c:pt>
                <c:pt idx="4099">
                  <c:v>-1.93136</c:v>
                </c:pt>
                <c:pt idx="4100">
                  <c:v>-2.2680899999999999</c:v>
                </c:pt>
                <c:pt idx="4101">
                  <c:v>-2.0831499999999998</c:v>
                </c:pt>
                <c:pt idx="4102">
                  <c:v>#N/A</c:v>
                </c:pt>
                <c:pt idx="4103">
                  <c:v>-2.2543899999999999</c:v>
                </c:pt>
                <c:pt idx="4104">
                  <c:v>-1.88469</c:v>
                </c:pt>
                <c:pt idx="4105">
                  <c:v>-2.4439500000000001</c:v>
                </c:pt>
                <c:pt idx="4106">
                  <c:v>#N/A</c:v>
                </c:pt>
                <c:pt idx="4107">
                  <c:v>-2.2178900000000001</c:v>
                </c:pt>
                <c:pt idx="4108">
                  <c:v>-2.7463700000000002</c:v>
                </c:pt>
                <c:pt idx="4109">
                  <c:v>-2.4867300000000001</c:v>
                </c:pt>
                <c:pt idx="4110">
                  <c:v>-1.98804</c:v>
                </c:pt>
                <c:pt idx="4111">
                  <c:v>#N/A</c:v>
                </c:pt>
                <c:pt idx="4112">
                  <c:v>-1.70678</c:v>
                </c:pt>
                <c:pt idx="4113">
                  <c:v>#N/A</c:v>
                </c:pt>
                <c:pt idx="4114">
                  <c:v>-1.71197</c:v>
                </c:pt>
                <c:pt idx="4115">
                  <c:v>-1.78138</c:v>
                </c:pt>
                <c:pt idx="4116">
                  <c:v>-2.5499700000000001</c:v>
                </c:pt>
                <c:pt idx="4117">
                  <c:v>#N/A</c:v>
                </c:pt>
                <c:pt idx="4118">
                  <c:v>-2.1080199999999998</c:v>
                </c:pt>
                <c:pt idx="4119">
                  <c:v>-2.2209699999999999</c:v>
                </c:pt>
                <c:pt idx="4120">
                  <c:v>-2.0694400000000002</c:v>
                </c:pt>
                <c:pt idx="4121">
                  <c:v>#N/A</c:v>
                </c:pt>
                <c:pt idx="4122">
                  <c:v>-1.9509000000000001</c:v>
                </c:pt>
                <c:pt idx="4123">
                  <c:v>-2.1981799999999998</c:v>
                </c:pt>
                <c:pt idx="4124">
                  <c:v>-2.1781999999999999</c:v>
                </c:pt>
                <c:pt idx="4125">
                  <c:v>-2.22499</c:v>
                </c:pt>
                <c:pt idx="4126">
                  <c:v>#N/A</c:v>
                </c:pt>
                <c:pt idx="4127">
                  <c:v>-1.8518699999999999</c:v>
                </c:pt>
                <c:pt idx="4128">
                  <c:v>-2.2475800000000001</c:v>
                </c:pt>
                <c:pt idx="4129">
                  <c:v>-2.3077200000000002</c:v>
                </c:pt>
                <c:pt idx="4130">
                  <c:v>#N/A</c:v>
                </c:pt>
                <c:pt idx="4131">
                  <c:v>-2.6754600000000002</c:v>
                </c:pt>
                <c:pt idx="4132">
                  <c:v>-2.0657999999999999</c:v>
                </c:pt>
                <c:pt idx="4133">
                  <c:v>-2.0537299999999998</c:v>
                </c:pt>
                <c:pt idx="4134">
                  <c:v>-1.7636700000000001</c:v>
                </c:pt>
                <c:pt idx="4135">
                  <c:v>#N/A</c:v>
                </c:pt>
                <c:pt idx="4136">
                  <c:v>-1.33185</c:v>
                </c:pt>
                <c:pt idx="4137">
                  <c:v>-1.8246100000000001</c:v>
                </c:pt>
                <c:pt idx="4138">
                  <c:v>-2.5449700000000002</c:v>
                </c:pt>
                <c:pt idx="4139">
                  <c:v>#N/A</c:v>
                </c:pt>
                <c:pt idx="4140">
                  <c:v>-1.6997199999999999</c:v>
                </c:pt>
                <c:pt idx="4141">
                  <c:v>-2.3181799999999999</c:v>
                </c:pt>
                <c:pt idx="4142">
                  <c:v>-1.69797</c:v>
                </c:pt>
                <c:pt idx="4143">
                  <c:v>-1.7918499999999999</c:v>
                </c:pt>
                <c:pt idx="4144">
                  <c:v>#N/A</c:v>
                </c:pt>
                <c:pt idx="4145">
                  <c:v>-1.7336800000000001</c:v>
                </c:pt>
                <c:pt idx="4146">
                  <c:v>-1.7524500000000001</c:v>
                </c:pt>
                <c:pt idx="4147">
                  <c:v>-2.4600399999999998</c:v>
                </c:pt>
                <c:pt idx="4148">
                  <c:v>#N/A</c:v>
                </c:pt>
                <c:pt idx="4149">
                  <c:v>-1.9159900000000001</c:v>
                </c:pt>
                <c:pt idx="4150">
                  <c:v>-1.69374</c:v>
                </c:pt>
                <c:pt idx="4151">
                  <c:v>-1.9137500000000001</c:v>
                </c:pt>
                <c:pt idx="4152">
                  <c:v>#N/A</c:v>
                </c:pt>
                <c:pt idx="4153">
                  <c:v>-1.95044</c:v>
                </c:pt>
                <c:pt idx="4154">
                  <c:v>-1.5865100000000001</c:v>
                </c:pt>
                <c:pt idx="4155">
                  <c:v>-1.9474400000000001</c:v>
                </c:pt>
                <c:pt idx="4156">
                  <c:v>-1.93634</c:v>
                </c:pt>
                <c:pt idx="4157">
                  <c:v>#N/A</c:v>
                </c:pt>
                <c:pt idx="4158">
                  <c:v>-1.7120299999999999</c:v>
                </c:pt>
                <c:pt idx="4159">
                  <c:v>-2.2476400000000001</c:v>
                </c:pt>
                <c:pt idx="4160">
                  <c:v>-2.3238400000000001</c:v>
                </c:pt>
                <c:pt idx="4161">
                  <c:v>-1.63205</c:v>
                </c:pt>
                <c:pt idx="4162">
                  <c:v>#N/A</c:v>
                </c:pt>
                <c:pt idx="4163">
                  <c:v>-1.9789300000000001</c:v>
                </c:pt>
                <c:pt idx="4164">
                  <c:v>-1.7020999999999999</c:v>
                </c:pt>
                <c:pt idx="4165">
                  <c:v>-2.0113099999999999</c:v>
                </c:pt>
                <c:pt idx="4166">
                  <c:v>#N/A</c:v>
                </c:pt>
                <c:pt idx="4167">
                  <c:v>-1.9978400000000001</c:v>
                </c:pt>
                <c:pt idx="4168">
                  <c:v>-2.41432</c:v>
                </c:pt>
                <c:pt idx="4169">
                  <c:v>-2.3389600000000002</c:v>
                </c:pt>
                <c:pt idx="4170">
                  <c:v>#N/A</c:v>
                </c:pt>
                <c:pt idx="4171">
                  <c:v>-2.3197700000000001</c:v>
                </c:pt>
                <c:pt idx="4172">
                  <c:v>-1.4119299999999999</c:v>
                </c:pt>
                <c:pt idx="4173">
                  <c:v>-1.7253700000000001</c:v>
                </c:pt>
                <c:pt idx="4174">
                  <c:v>#N/A</c:v>
                </c:pt>
                <c:pt idx="4175">
                  <c:v>-1.65086</c:v>
                </c:pt>
                <c:pt idx="4176">
                  <c:v>-1.8769499999999999</c:v>
                </c:pt>
                <c:pt idx="4177">
                  <c:v>-1.9958</c:v>
                </c:pt>
                <c:pt idx="4178">
                  <c:v>-2.26938</c:v>
                </c:pt>
                <c:pt idx="4179">
                  <c:v>#N/A</c:v>
                </c:pt>
                <c:pt idx="4180">
                  <c:v>-1.7373099999999999</c:v>
                </c:pt>
                <c:pt idx="4181">
                  <c:v>-1.56928</c:v>
                </c:pt>
                <c:pt idx="4182">
                  <c:v>-1.5293699999999999</c:v>
                </c:pt>
                <c:pt idx="4183">
                  <c:v>#N/A</c:v>
                </c:pt>
                <c:pt idx="4184">
                  <c:v>-1.3575900000000001</c:v>
                </c:pt>
                <c:pt idx="4185">
                  <c:v>#N/A</c:v>
                </c:pt>
                <c:pt idx="4186">
                  <c:v>-1.85192</c:v>
                </c:pt>
                <c:pt idx="4187">
                  <c:v>-2.12323</c:v>
                </c:pt>
                <c:pt idx="4188">
                  <c:v>-2.56717</c:v>
                </c:pt>
                <c:pt idx="4189">
                  <c:v>#N/A</c:v>
                </c:pt>
                <c:pt idx="4190">
                  <c:v>-2.2054999999999998</c:v>
                </c:pt>
                <c:pt idx="4191">
                  <c:v>-2.5514000000000001</c:v>
                </c:pt>
                <c:pt idx="4192">
                  <c:v>-1.47309</c:v>
                </c:pt>
                <c:pt idx="4193">
                  <c:v>-1.5863700000000001</c:v>
                </c:pt>
                <c:pt idx="4194">
                  <c:v>#N/A</c:v>
                </c:pt>
                <c:pt idx="4195">
                  <c:v>-2.10154</c:v>
                </c:pt>
                <c:pt idx="4196">
                  <c:v>-1.8574900000000001</c:v>
                </c:pt>
                <c:pt idx="4197">
                  <c:v>-1.8678699999999999</c:v>
                </c:pt>
                <c:pt idx="4198">
                  <c:v>#N/A</c:v>
                </c:pt>
                <c:pt idx="4199">
                  <c:v>-1.72505</c:v>
                </c:pt>
                <c:pt idx="4200">
                  <c:v>-1.7430699999999999</c:v>
                </c:pt>
                <c:pt idx="4201">
                  <c:v>-1.7394000000000001</c:v>
                </c:pt>
                <c:pt idx="4202">
                  <c:v>-2.0644200000000001</c:v>
                </c:pt>
                <c:pt idx="4203">
                  <c:v>#N/A</c:v>
                </c:pt>
                <c:pt idx="4204">
                  <c:v>-1.92862</c:v>
                </c:pt>
                <c:pt idx="4205">
                  <c:v>-2.1685699999999999</c:v>
                </c:pt>
                <c:pt idx="4206">
                  <c:v>-2.1001500000000002</c:v>
                </c:pt>
                <c:pt idx="4207">
                  <c:v>#N/A</c:v>
                </c:pt>
                <c:pt idx="4208">
                  <c:v>-2.4502100000000002</c:v>
                </c:pt>
                <c:pt idx="4209">
                  <c:v>-2.12479</c:v>
                </c:pt>
                <c:pt idx="4210">
                  <c:v>-2.4086799999999999</c:v>
                </c:pt>
                <c:pt idx="4211">
                  <c:v>-1.9840100000000001</c:v>
                </c:pt>
                <c:pt idx="4212">
                  <c:v>#N/A</c:v>
                </c:pt>
                <c:pt idx="4213">
                  <c:v>-2.2403200000000001</c:v>
                </c:pt>
                <c:pt idx="4214">
                  <c:v>-1.5918399999999999</c:v>
                </c:pt>
                <c:pt idx="4215">
                  <c:v>-1.8685099999999999</c:v>
                </c:pt>
                <c:pt idx="4216">
                  <c:v>#N/A</c:v>
                </c:pt>
                <c:pt idx="4217">
                  <c:v>-2.1791100000000001</c:v>
                </c:pt>
                <c:pt idx="4218">
                  <c:v>-2.2874099999999999</c:v>
                </c:pt>
                <c:pt idx="4219">
                  <c:v>-2.0818699999999999</c:v>
                </c:pt>
                <c:pt idx="4220">
                  <c:v>#N/A</c:v>
                </c:pt>
                <c:pt idx="4221">
                  <c:v>-2.1958700000000002</c:v>
                </c:pt>
                <c:pt idx="4222">
                  <c:v>-2.1844800000000002</c:v>
                </c:pt>
                <c:pt idx="4223">
                  <c:v>-2.16893</c:v>
                </c:pt>
                <c:pt idx="4224">
                  <c:v>-2.3784200000000002</c:v>
                </c:pt>
                <c:pt idx="4225">
                  <c:v>#N/A</c:v>
                </c:pt>
                <c:pt idx="4226">
                  <c:v>-2.1050300000000002</c:v>
                </c:pt>
                <c:pt idx="4227">
                  <c:v>-2.4357500000000001</c:v>
                </c:pt>
                <c:pt idx="4228">
                  <c:v>-2.1397599999999999</c:v>
                </c:pt>
                <c:pt idx="4229">
                  <c:v>#N/A</c:v>
                </c:pt>
                <c:pt idx="4230">
                  <c:v>-2.21563</c:v>
                </c:pt>
                <c:pt idx="4231">
                  <c:v>-2.02162</c:v>
                </c:pt>
                <c:pt idx="4232">
                  <c:v>-2.5356399999999999</c:v>
                </c:pt>
                <c:pt idx="4233">
                  <c:v>-1.9520200000000001</c:v>
                </c:pt>
                <c:pt idx="4234">
                  <c:v>#N/A</c:v>
                </c:pt>
                <c:pt idx="4235">
                  <c:v>-1.98319</c:v>
                </c:pt>
                <c:pt idx="4236">
                  <c:v>-2.1563300000000001</c:v>
                </c:pt>
                <c:pt idx="4237">
                  <c:v>-1.95566</c:v>
                </c:pt>
                <c:pt idx="4238">
                  <c:v>#N/A</c:v>
                </c:pt>
                <c:pt idx="4239">
                  <c:v>-1.93001</c:v>
                </c:pt>
                <c:pt idx="4240">
                  <c:v>-2.33</c:v>
                </c:pt>
                <c:pt idx="4241">
                  <c:v>-2.2226900000000001</c:v>
                </c:pt>
                <c:pt idx="4242">
                  <c:v>-2.0246300000000002</c:v>
                </c:pt>
                <c:pt idx="4243">
                  <c:v>#N/A</c:v>
                </c:pt>
                <c:pt idx="4244">
                  <c:v>-2.0580599999999998</c:v>
                </c:pt>
                <c:pt idx="4245">
                  <c:v>-2.1070600000000002</c:v>
                </c:pt>
                <c:pt idx="4246">
                  <c:v>-2.2984499999999999</c:v>
                </c:pt>
                <c:pt idx="4247">
                  <c:v>#N/A</c:v>
                </c:pt>
                <c:pt idx="4248">
                  <c:v>-2.4871699999999999</c:v>
                </c:pt>
                <c:pt idx="4249">
                  <c:v>-2.50603</c:v>
                </c:pt>
                <c:pt idx="4250">
                  <c:v>-2.1065399999999999</c:v>
                </c:pt>
                <c:pt idx="4251">
                  <c:v>#N/A</c:v>
                </c:pt>
                <c:pt idx="4252">
                  <c:v>-1.6869799999999999</c:v>
                </c:pt>
                <c:pt idx="4253">
                  <c:v>-2.2269600000000001</c:v>
                </c:pt>
                <c:pt idx="4254">
                  <c:v>-1.98603</c:v>
                </c:pt>
                <c:pt idx="4255">
                  <c:v>#N/A</c:v>
                </c:pt>
                <c:pt idx="4256">
                  <c:v>-1.9414100000000001</c:v>
                </c:pt>
                <c:pt idx="4257">
                  <c:v>#N/A</c:v>
                </c:pt>
                <c:pt idx="4258">
                  <c:v>-2.1784400000000002</c:v>
                </c:pt>
                <c:pt idx="4259">
                  <c:v>-2.00929</c:v>
                </c:pt>
                <c:pt idx="4260">
                  <c:v>-2.1267</c:v>
                </c:pt>
                <c:pt idx="4261">
                  <c:v>#N/A</c:v>
                </c:pt>
                <c:pt idx="4262">
                  <c:v>-2.1697500000000001</c:v>
                </c:pt>
                <c:pt idx="4263">
                  <c:v>-1.91029</c:v>
                </c:pt>
                <c:pt idx="4264">
                  <c:v>-2.1522600000000001</c:v>
                </c:pt>
                <c:pt idx="4265">
                  <c:v>-2.4023599999999998</c:v>
                </c:pt>
                <c:pt idx="4266">
                  <c:v>#N/A</c:v>
                </c:pt>
                <c:pt idx="4267">
                  <c:v>-2.2225999999999999</c:v>
                </c:pt>
                <c:pt idx="4268">
                  <c:v>-2.4856099999999999</c:v>
                </c:pt>
                <c:pt idx="4269">
                  <c:v>-2.4124599999999998</c:v>
                </c:pt>
                <c:pt idx="4270">
                  <c:v>#N/A</c:v>
                </c:pt>
                <c:pt idx="4271">
                  <c:v>-2.5291000000000001</c:v>
                </c:pt>
                <c:pt idx="4272">
                  <c:v>-1.7719100000000001</c:v>
                </c:pt>
                <c:pt idx="4273">
                  <c:v>-2.1488</c:v>
                </c:pt>
                <c:pt idx="4274">
                  <c:v>-1.8474299999999999</c:v>
                </c:pt>
                <c:pt idx="4275">
                  <c:v>#N/A</c:v>
                </c:pt>
                <c:pt idx="4276">
                  <c:v>-2.0179900000000002</c:v>
                </c:pt>
                <c:pt idx="4277">
                  <c:v>-2.0183399999999998</c:v>
                </c:pt>
                <c:pt idx="4278">
                  <c:v>-2.1876099999999998</c:v>
                </c:pt>
                <c:pt idx="4279">
                  <c:v>#N/A</c:v>
                </c:pt>
                <c:pt idx="4280">
                  <c:v>-2.3063600000000002</c:v>
                </c:pt>
                <c:pt idx="4281">
                  <c:v>-1.5148299999999999</c:v>
                </c:pt>
                <c:pt idx="4282">
                  <c:v>-1.8781300000000001</c:v>
                </c:pt>
                <c:pt idx="4283">
                  <c:v>#N/A</c:v>
                </c:pt>
                <c:pt idx="4284">
                  <c:v>-1.77057</c:v>
                </c:pt>
                <c:pt idx="4285">
                  <c:v>-2.28504</c:v>
                </c:pt>
                <c:pt idx="4286">
                  <c:v>-2.2292100000000001</c:v>
                </c:pt>
                <c:pt idx="4287">
                  <c:v>#N/A</c:v>
                </c:pt>
                <c:pt idx="4288">
                  <c:v>-2.4617200000000001</c:v>
                </c:pt>
                <c:pt idx="4289">
                  <c:v>-2.6460400000000002</c:v>
                </c:pt>
                <c:pt idx="4290">
                  <c:v>-2.2224400000000002</c:v>
                </c:pt>
                <c:pt idx="4291">
                  <c:v>#N/A</c:v>
                </c:pt>
                <c:pt idx="4292">
                  <c:v>-1.88622</c:v>
                </c:pt>
                <c:pt idx="4293">
                  <c:v>-2.3610699999999998</c:v>
                </c:pt>
                <c:pt idx="4294">
                  <c:v>-2.59395</c:v>
                </c:pt>
                <c:pt idx="4295">
                  <c:v>-2.0908899999999999</c:v>
                </c:pt>
                <c:pt idx="4296">
                  <c:v>#N/A</c:v>
                </c:pt>
                <c:pt idx="4297">
                  <c:v>-2.18587</c:v>
                </c:pt>
                <c:pt idx="4298">
                  <c:v>-2.1143700000000001</c:v>
                </c:pt>
                <c:pt idx="4299">
                  <c:v>-2.81101</c:v>
                </c:pt>
                <c:pt idx="4300">
                  <c:v>#N/A</c:v>
                </c:pt>
                <c:pt idx="4301">
                  <c:v>-2.8776799999999998</c:v>
                </c:pt>
                <c:pt idx="4302">
                  <c:v>-2.8948999999999998</c:v>
                </c:pt>
                <c:pt idx="4303">
                  <c:v>-2.5988099999999998</c:v>
                </c:pt>
                <c:pt idx="4304">
                  <c:v>-2.2470599999999998</c:v>
                </c:pt>
                <c:pt idx="4305">
                  <c:v>#N/A</c:v>
                </c:pt>
                <c:pt idx="4306">
                  <c:v>-1.7968</c:v>
                </c:pt>
                <c:pt idx="4307">
                  <c:v>-2.0829200000000001</c:v>
                </c:pt>
                <c:pt idx="4308">
                  <c:v>-1.7899499999999999</c:v>
                </c:pt>
                <c:pt idx="4309">
                  <c:v>#N/A</c:v>
                </c:pt>
                <c:pt idx="4310">
                  <c:v>-1.93818</c:v>
                </c:pt>
                <c:pt idx="4311">
                  <c:v>-2.0064600000000001</c:v>
                </c:pt>
                <c:pt idx="4312">
                  <c:v>-1.3063199999999999</c:v>
                </c:pt>
                <c:pt idx="4313">
                  <c:v>#N/A</c:v>
                </c:pt>
                <c:pt idx="4314">
                  <c:v>-0.81096900000000005</c:v>
                </c:pt>
                <c:pt idx="4315">
                  <c:v>-1.02929</c:v>
                </c:pt>
                <c:pt idx="4316">
                  <c:v>-1.41194</c:v>
                </c:pt>
                <c:pt idx="4317">
                  <c:v>-1.7313099999999999</c:v>
                </c:pt>
                <c:pt idx="4318">
                  <c:v>#N/A</c:v>
                </c:pt>
                <c:pt idx="4319">
                  <c:v>-2.0324599999999999</c:v>
                </c:pt>
                <c:pt idx="4320">
                  <c:v>-2.44936</c:v>
                </c:pt>
                <c:pt idx="4321">
                  <c:v>-2.6752600000000002</c:v>
                </c:pt>
                <c:pt idx="4322">
                  <c:v>-2.4984299999999999</c:v>
                </c:pt>
                <c:pt idx="4323">
                  <c:v>#N/A</c:v>
                </c:pt>
                <c:pt idx="4324">
                  <c:v>-2.4525000000000001</c:v>
                </c:pt>
                <c:pt idx="4325">
                  <c:v>-2.6644399999999999</c:v>
                </c:pt>
                <c:pt idx="4326">
                  <c:v>-2.8085599999999999</c:v>
                </c:pt>
                <c:pt idx="4327">
                  <c:v>#N/A</c:v>
                </c:pt>
                <c:pt idx="4328">
                  <c:v>-3.2071800000000001</c:v>
                </c:pt>
                <c:pt idx="4329">
                  <c:v>#N/A</c:v>
                </c:pt>
                <c:pt idx="4330">
                  <c:v>-2.7638699999999998</c:v>
                </c:pt>
                <c:pt idx="4331">
                  <c:v>-2.5658699999999999</c:v>
                </c:pt>
                <c:pt idx="4332">
                  <c:v>-2.1345800000000001</c:v>
                </c:pt>
                <c:pt idx="4333">
                  <c:v>#N/A</c:v>
                </c:pt>
                <c:pt idx="4334">
                  <c:v>-1.5442400000000001</c:v>
                </c:pt>
                <c:pt idx="4335">
                  <c:v>-1.4924500000000001</c:v>
                </c:pt>
                <c:pt idx="4336">
                  <c:v>-1.7044999999999999</c:v>
                </c:pt>
                <c:pt idx="4337">
                  <c:v>-1.7656400000000001</c:v>
                </c:pt>
                <c:pt idx="4338">
                  <c:v>#N/A</c:v>
                </c:pt>
                <c:pt idx="4339">
                  <c:v>-2.0507300000000002</c:v>
                </c:pt>
                <c:pt idx="4340">
                  <c:v>-2.2835000000000001</c:v>
                </c:pt>
                <c:pt idx="4341">
                  <c:v>-2.0317799999999999</c:v>
                </c:pt>
                <c:pt idx="4342">
                  <c:v>#N/A</c:v>
                </c:pt>
                <c:pt idx="4343">
                  <c:v>-2.0938699999999999</c:v>
                </c:pt>
                <c:pt idx="4344">
                  <c:v>-1.8509599999999999</c:v>
                </c:pt>
                <c:pt idx="4345">
                  <c:v>-2.3355700000000001</c:v>
                </c:pt>
                <c:pt idx="4346">
                  <c:v>-2.17178</c:v>
                </c:pt>
                <c:pt idx="4347">
                  <c:v>#N/A</c:v>
                </c:pt>
                <c:pt idx="4348">
                  <c:v>-2.4558200000000001</c:v>
                </c:pt>
                <c:pt idx="4349">
                  <c:v>-2.9372600000000002</c:v>
                </c:pt>
                <c:pt idx="4350">
                  <c:v>-2.92726</c:v>
                </c:pt>
                <c:pt idx="4351">
                  <c:v>-1.8437300000000001</c:v>
                </c:pt>
                <c:pt idx="4352">
                  <c:v>#N/A</c:v>
                </c:pt>
                <c:pt idx="4353">
                  <c:v>-2.1382400000000001</c:v>
                </c:pt>
                <c:pt idx="4354">
                  <c:v>-1.7078599999999999</c:v>
                </c:pt>
                <c:pt idx="4355">
                  <c:v>-2.0579299999999998</c:v>
                </c:pt>
                <c:pt idx="4356">
                  <c:v>#N/A</c:v>
                </c:pt>
                <c:pt idx="4357">
                  <c:v>-1.8349200000000001</c:v>
                </c:pt>
                <c:pt idx="4358">
                  <c:v>-2.16066</c:v>
                </c:pt>
                <c:pt idx="4359">
                  <c:v>-1.5442499999999999</c:v>
                </c:pt>
                <c:pt idx="4360">
                  <c:v>-1.9434800000000001</c:v>
                </c:pt>
                <c:pt idx="4361">
                  <c:v>#N/A</c:v>
                </c:pt>
                <c:pt idx="4362">
                  <c:v>-1.9669700000000001</c:v>
                </c:pt>
                <c:pt idx="4363">
                  <c:v>-2.1431499999999999</c:v>
                </c:pt>
                <c:pt idx="4364">
                  <c:v>-2.0571299999999999</c:v>
                </c:pt>
                <c:pt idx="4365">
                  <c:v>#N/A</c:v>
                </c:pt>
                <c:pt idx="4366">
                  <c:v>-2.31027</c:v>
                </c:pt>
                <c:pt idx="4367">
                  <c:v>-1.9926299999999999</c:v>
                </c:pt>
                <c:pt idx="4368">
                  <c:v>-2.1798099999999998</c:v>
                </c:pt>
                <c:pt idx="4369">
                  <c:v>-2.1537199999999999</c:v>
                </c:pt>
                <c:pt idx="4370">
                  <c:v>#N/A</c:v>
                </c:pt>
                <c:pt idx="4371">
                  <c:v>-2.2427700000000002</c:v>
                </c:pt>
                <c:pt idx="4372">
                  <c:v>-2.0778099999999999</c:v>
                </c:pt>
                <c:pt idx="4373">
                  <c:v>-1.383</c:v>
                </c:pt>
                <c:pt idx="4374">
                  <c:v>#N/A</c:v>
                </c:pt>
                <c:pt idx="4375">
                  <c:v>-1.9649700000000001</c:v>
                </c:pt>
                <c:pt idx="4376">
                  <c:v>-1.89882</c:v>
                </c:pt>
                <c:pt idx="4377">
                  <c:v>-2.0032399999999999</c:v>
                </c:pt>
                <c:pt idx="4378">
                  <c:v>-2.0198399999999999</c:v>
                </c:pt>
                <c:pt idx="4379">
                  <c:v>#N/A</c:v>
                </c:pt>
                <c:pt idx="4380">
                  <c:v>-2.1446499999999999</c:v>
                </c:pt>
                <c:pt idx="4381">
                  <c:v>-2.3583099999999999</c:v>
                </c:pt>
                <c:pt idx="4382">
                  <c:v>-1.87354</c:v>
                </c:pt>
                <c:pt idx="4383">
                  <c:v>#N/A</c:v>
                </c:pt>
                <c:pt idx="4384">
                  <c:v>-1.94411</c:v>
                </c:pt>
                <c:pt idx="4385">
                  <c:v>-2.34178</c:v>
                </c:pt>
                <c:pt idx="4386">
                  <c:v>-2.1442999999999999</c:v>
                </c:pt>
                <c:pt idx="4387">
                  <c:v>-2.4976699999999998</c:v>
                </c:pt>
                <c:pt idx="4388">
                  <c:v>#N/A</c:v>
                </c:pt>
                <c:pt idx="4389">
                  <c:v>-2.3137400000000001</c:v>
                </c:pt>
                <c:pt idx="4390">
                  <c:v>-1.7832300000000001</c:v>
                </c:pt>
                <c:pt idx="4391">
                  <c:v>-1.9956499999999999</c:v>
                </c:pt>
                <c:pt idx="4392">
                  <c:v>#N/A</c:v>
                </c:pt>
                <c:pt idx="4393">
                  <c:v>-1.5902400000000001</c:v>
                </c:pt>
                <c:pt idx="4394">
                  <c:v>-1.6976599999999999</c:v>
                </c:pt>
                <c:pt idx="4395">
                  <c:v>-1.5832200000000001</c:v>
                </c:pt>
                <c:pt idx="4396">
                  <c:v>-1.52474</c:v>
                </c:pt>
                <c:pt idx="4397">
                  <c:v>#N/A</c:v>
                </c:pt>
                <c:pt idx="4398">
                  <c:v>-2.2393299999999998</c:v>
                </c:pt>
                <c:pt idx="4399">
                  <c:v>#N/A</c:v>
                </c:pt>
                <c:pt idx="4400">
                  <c:v>-2.10867</c:v>
                </c:pt>
                <c:pt idx="4401">
                  <c:v>-2.2388599999999999</c:v>
                </c:pt>
                <c:pt idx="4402">
                  <c:v>#N/A</c:v>
                </c:pt>
                <c:pt idx="4403">
                  <c:v>-2.1632500000000001</c:v>
                </c:pt>
                <c:pt idx="4404">
                  <c:v>-2.1202100000000002</c:v>
                </c:pt>
                <c:pt idx="4405">
                  <c:v>#N/A</c:v>
                </c:pt>
                <c:pt idx="4406">
                  <c:v>-1.9916499999999999</c:v>
                </c:pt>
                <c:pt idx="4407">
                  <c:v>-2.43187</c:v>
                </c:pt>
                <c:pt idx="4408">
                  <c:v>-2.8039399999999999</c:v>
                </c:pt>
                <c:pt idx="4409">
                  <c:v>-2.38835</c:v>
                </c:pt>
                <c:pt idx="4410">
                  <c:v>#N/A</c:v>
                </c:pt>
                <c:pt idx="4411">
                  <c:v>-2.4431500000000002</c:v>
                </c:pt>
                <c:pt idx="4412">
                  <c:v>-2.1543600000000001</c:v>
                </c:pt>
                <c:pt idx="4413">
                  <c:v>-1.2698400000000001</c:v>
                </c:pt>
                <c:pt idx="4414">
                  <c:v>#N/A</c:v>
                </c:pt>
                <c:pt idx="4415">
                  <c:v>-1.24397</c:v>
                </c:pt>
                <c:pt idx="4416">
                  <c:v>-1.5343500000000001</c:v>
                </c:pt>
                <c:pt idx="4417">
                  <c:v>-2.2336</c:v>
                </c:pt>
                <c:pt idx="4418">
                  <c:v>-1.54742</c:v>
                </c:pt>
                <c:pt idx="4419">
                  <c:v>#N/A</c:v>
                </c:pt>
                <c:pt idx="4420">
                  <c:v>-1.9805600000000001</c:v>
                </c:pt>
                <c:pt idx="4421">
                  <c:v>-2.0802800000000001</c:v>
                </c:pt>
                <c:pt idx="4422">
                  <c:v>-1.8906000000000001</c:v>
                </c:pt>
                <c:pt idx="4423">
                  <c:v>#N/A</c:v>
                </c:pt>
                <c:pt idx="4424">
                  <c:v>-1.7630600000000001</c:v>
                </c:pt>
                <c:pt idx="4425">
                  <c:v>-2.10507</c:v>
                </c:pt>
                <c:pt idx="4426">
                  <c:v>-2.0635599999999998</c:v>
                </c:pt>
                <c:pt idx="4427">
                  <c:v>-2.4138500000000001</c:v>
                </c:pt>
                <c:pt idx="4428">
                  <c:v>#N/A</c:v>
                </c:pt>
                <c:pt idx="4429">
                  <c:v>-2.5581399999999999</c:v>
                </c:pt>
                <c:pt idx="4430">
                  <c:v>-2.1355599999999999</c:v>
                </c:pt>
                <c:pt idx="4431">
                  <c:v>-1.9600299999999999</c:v>
                </c:pt>
                <c:pt idx="4432">
                  <c:v>#N/A</c:v>
                </c:pt>
                <c:pt idx="4433">
                  <c:v>-1.36564</c:v>
                </c:pt>
                <c:pt idx="4434">
                  <c:v>-1.9798199999999999</c:v>
                </c:pt>
                <c:pt idx="4435">
                  <c:v>-1.4384699999999999</c:v>
                </c:pt>
                <c:pt idx="4436">
                  <c:v>#N/A</c:v>
                </c:pt>
                <c:pt idx="4437">
                  <c:v>-1.51031</c:v>
                </c:pt>
                <c:pt idx="4438">
                  <c:v>-1.9426699999999999</c:v>
                </c:pt>
                <c:pt idx="4439">
                  <c:v>-2.3523999999999998</c:v>
                </c:pt>
                <c:pt idx="4440">
                  <c:v>-2.2492999999999999</c:v>
                </c:pt>
                <c:pt idx="4441">
                  <c:v>#N/A</c:v>
                </c:pt>
                <c:pt idx="4442">
                  <c:v>-1.9615400000000001</c:v>
                </c:pt>
                <c:pt idx="4443">
                  <c:v>-1.8520000000000001</c:v>
                </c:pt>
                <c:pt idx="4444">
                  <c:v>-2.0169999999999999</c:v>
                </c:pt>
                <c:pt idx="4445">
                  <c:v>-2.5457900000000002</c:v>
                </c:pt>
                <c:pt idx="4446">
                  <c:v>#N/A</c:v>
                </c:pt>
                <c:pt idx="4447">
                  <c:v>-2.4899100000000001</c:v>
                </c:pt>
                <c:pt idx="4448">
                  <c:v>-1.9486300000000001</c:v>
                </c:pt>
                <c:pt idx="4449">
                  <c:v>-1.9474</c:v>
                </c:pt>
                <c:pt idx="4450">
                  <c:v>#N/A</c:v>
                </c:pt>
                <c:pt idx="4451">
                  <c:v>-2.0172400000000001</c:v>
                </c:pt>
                <c:pt idx="4452">
                  <c:v>-1.76166</c:v>
                </c:pt>
                <c:pt idx="4453">
                  <c:v>-1.50956</c:v>
                </c:pt>
                <c:pt idx="4454">
                  <c:v>#N/A</c:v>
                </c:pt>
                <c:pt idx="4455">
                  <c:v>-1.67845</c:v>
                </c:pt>
                <c:pt idx="4456">
                  <c:v>-2.2854000000000001</c:v>
                </c:pt>
                <c:pt idx="4457">
                  <c:v>-2.1655000000000002</c:v>
                </c:pt>
                <c:pt idx="4458">
                  <c:v>-2.2018200000000001</c:v>
                </c:pt>
                <c:pt idx="4459">
                  <c:v>#N/A</c:v>
                </c:pt>
                <c:pt idx="4460">
                  <c:v>-1.7135100000000001</c:v>
                </c:pt>
                <c:pt idx="4461">
                  <c:v>-1.8401700000000001</c:v>
                </c:pt>
                <c:pt idx="4462">
                  <c:v>-1.47401</c:v>
                </c:pt>
                <c:pt idx="4463">
                  <c:v>#N/A</c:v>
                </c:pt>
                <c:pt idx="4464">
                  <c:v>-1.8804700000000001</c:v>
                </c:pt>
                <c:pt idx="4465">
                  <c:v>-2.65482</c:v>
                </c:pt>
                <c:pt idx="4466">
                  <c:v>-2.5338799999999999</c:v>
                </c:pt>
                <c:pt idx="4467">
                  <c:v>-2.5715499999999998</c:v>
                </c:pt>
                <c:pt idx="4468">
                  <c:v>#N/A</c:v>
                </c:pt>
                <c:pt idx="4469">
                  <c:v>-2.5703900000000002</c:v>
                </c:pt>
                <c:pt idx="4470">
                  <c:v>-2.1905999999999999</c:v>
                </c:pt>
                <c:pt idx="4471">
                  <c:v>#N/A</c:v>
                </c:pt>
                <c:pt idx="4472">
                  <c:v>-1.7445200000000001</c:v>
                </c:pt>
                <c:pt idx="4473">
                  <c:v>-1.40591</c:v>
                </c:pt>
                <c:pt idx="4474">
                  <c:v>-1.6283799999999999</c:v>
                </c:pt>
                <c:pt idx="4475">
                  <c:v>#N/A</c:v>
                </c:pt>
                <c:pt idx="4476">
                  <c:v>-1.9081999999999999</c:v>
                </c:pt>
                <c:pt idx="4477">
                  <c:v>-1.84232</c:v>
                </c:pt>
                <c:pt idx="4478">
                  <c:v>-1.7428600000000001</c:v>
                </c:pt>
                <c:pt idx="4479">
                  <c:v>#N/A</c:v>
                </c:pt>
                <c:pt idx="4480">
                  <c:v>-2.03335</c:v>
                </c:pt>
                <c:pt idx="4481">
                  <c:v>-1.91967</c:v>
                </c:pt>
                <c:pt idx="4482">
                  <c:v>-1.87842</c:v>
                </c:pt>
                <c:pt idx="4483">
                  <c:v>-1.5248699999999999</c:v>
                </c:pt>
                <c:pt idx="4484">
                  <c:v>#N/A</c:v>
                </c:pt>
                <c:pt idx="4485">
                  <c:v>-1.95841</c:v>
                </c:pt>
                <c:pt idx="4486">
                  <c:v>-1.9260299999999999</c:v>
                </c:pt>
                <c:pt idx="4487">
                  <c:v>-2.28139</c:v>
                </c:pt>
                <c:pt idx="4488">
                  <c:v>#N/A</c:v>
                </c:pt>
                <c:pt idx="4489">
                  <c:v>-2.3325200000000001</c:v>
                </c:pt>
                <c:pt idx="4490">
                  <c:v>-1.7387600000000001</c:v>
                </c:pt>
                <c:pt idx="4491">
                  <c:v>-1.825</c:v>
                </c:pt>
                <c:pt idx="4492">
                  <c:v>-1.6380600000000001</c:v>
                </c:pt>
                <c:pt idx="4493">
                  <c:v>#N/A</c:v>
                </c:pt>
                <c:pt idx="4494">
                  <c:v>-1.9291700000000001</c:v>
                </c:pt>
                <c:pt idx="4495">
                  <c:v>-1.5531299999999999</c:v>
                </c:pt>
                <c:pt idx="4496">
                  <c:v>-2.1506400000000001</c:v>
                </c:pt>
                <c:pt idx="4497">
                  <c:v>#N/A</c:v>
                </c:pt>
                <c:pt idx="4498">
                  <c:v>-1.889</c:v>
                </c:pt>
                <c:pt idx="4499">
                  <c:v>-2.34233</c:v>
                </c:pt>
                <c:pt idx="4500">
                  <c:v>-1.93567</c:v>
                </c:pt>
                <c:pt idx="4501">
                  <c:v>-2.0242200000000001</c:v>
                </c:pt>
                <c:pt idx="4502">
                  <c:v>#N/A</c:v>
                </c:pt>
                <c:pt idx="4503">
                  <c:v>-2.0978500000000002</c:v>
                </c:pt>
                <c:pt idx="4504">
                  <c:v>-2.0560399999999999</c:v>
                </c:pt>
                <c:pt idx="4505">
                  <c:v>-1.8854599999999999</c:v>
                </c:pt>
                <c:pt idx="4506">
                  <c:v>#N/A</c:v>
                </c:pt>
                <c:pt idx="4507">
                  <c:v>-2.51756</c:v>
                </c:pt>
                <c:pt idx="4508">
                  <c:v>-2.3535699999999999</c:v>
                </c:pt>
                <c:pt idx="4509">
                  <c:v>-2.2855400000000001</c:v>
                </c:pt>
                <c:pt idx="4510">
                  <c:v>-2.5706600000000002</c:v>
                </c:pt>
                <c:pt idx="4511">
                  <c:v>#N/A</c:v>
                </c:pt>
                <c:pt idx="4512">
                  <c:v>-1.76535</c:v>
                </c:pt>
                <c:pt idx="4513">
                  <c:v>-1.53173</c:v>
                </c:pt>
                <c:pt idx="4514">
                  <c:v>-1.55986</c:v>
                </c:pt>
                <c:pt idx="4515">
                  <c:v>#N/A</c:v>
                </c:pt>
                <c:pt idx="4516">
                  <c:v>-2.08324</c:v>
                </c:pt>
                <c:pt idx="4517">
                  <c:v>-2.0612300000000001</c:v>
                </c:pt>
                <c:pt idx="4518">
                  <c:v>-2.2749000000000001</c:v>
                </c:pt>
                <c:pt idx="4519">
                  <c:v>-2.0455199999999998</c:v>
                </c:pt>
                <c:pt idx="4520">
                  <c:v>#N/A</c:v>
                </c:pt>
                <c:pt idx="4521">
                  <c:v>-2.1524999999999999</c:v>
                </c:pt>
                <c:pt idx="4522">
                  <c:v>-2.0991499999999998</c:v>
                </c:pt>
                <c:pt idx="4523">
                  <c:v>-2.3599199999999998</c:v>
                </c:pt>
                <c:pt idx="4524">
                  <c:v>#N/A</c:v>
                </c:pt>
                <c:pt idx="4525">
                  <c:v>-2.3902100000000002</c:v>
                </c:pt>
                <c:pt idx="4526">
                  <c:v>-2.75604</c:v>
                </c:pt>
                <c:pt idx="4527">
                  <c:v>-2.61069</c:v>
                </c:pt>
                <c:pt idx="4528">
                  <c:v>#N/A</c:v>
                </c:pt>
                <c:pt idx="4529">
                  <c:v>-2.43737</c:v>
                </c:pt>
                <c:pt idx="4530">
                  <c:v>-2.3823699999999999</c:v>
                </c:pt>
                <c:pt idx="4531">
                  <c:v>-1.9671799999999999</c:v>
                </c:pt>
                <c:pt idx="4532">
                  <c:v>#N/A</c:v>
                </c:pt>
                <c:pt idx="4533">
                  <c:v>-1.4812399999999999</c:v>
                </c:pt>
                <c:pt idx="4534">
                  <c:v>-2.1029599999999999</c:v>
                </c:pt>
                <c:pt idx="4535">
                  <c:v>-2.0814900000000001</c:v>
                </c:pt>
                <c:pt idx="4536">
                  <c:v>-2.0780599999999998</c:v>
                </c:pt>
                <c:pt idx="4537">
                  <c:v>#N/A</c:v>
                </c:pt>
                <c:pt idx="4538">
                  <c:v>-1.96166</c:v>
                </c:pt>
                <c:pt idx="4539">
                  <c:v>-2.4169399999999999</c:v>
                </c:pt>
                <c:pt idx="4540">
                  <c:v>-2.34775</c:v>
                </c:pt>
                <c:pt idx="4541">
                  <c:v>#N/A</c:v>
                </c:pt>
                <c:pt idx="4542">
                  <c:v>-2.1791700000000001</c:v>
                </c:pt>
                <c:pt idx="4543">
                  <c:v>-2.27319</c:v>
                </c:pt>
                <c:pt idx="4544">
                  <c:v>-2.3828800000000001</c:v>
                </c:pt>
                <c:pt idx="4545">
                  <c:v>-2.6585899999999998</c:v>
                </c:pt>
                <c:pt idx="4546">
                  <c:v>#N/A</c:v>
                </c:pt>
                <c:pt idx="4547">
                  <c:v>-2.50745</c:v>
                </c:pt>
                <c:pt idx="4548">
                  <c:v>-2.6362199999999998</c:v>
                </c:pt>
                <c:pt idx="4549">
                  <c:v>-2.07674</c:v>
                </c:pt>
                <c:pt idx="4550">
                  <c:v>#N/A</c:v>
                </c:pt>
                <c:pt idx="4551">
                  <c:v>-2.2847499999999998</c:v>
                </c:pt>
                <c:pt idx="4552">
                  <c:v>-2.1951499999999999</c:v>
                </c:pt>
                <c:pt idx="4553">
                  <c:v>-1.9997799999999999</c:v>
                </c:pt>
                <c:pt idx="4554">
                  <c:v>#N/A</c:v>
                </c:pt>
                <c:pt idx="4555">
                  <c:v>-2.0590099999999998</c:v>
                </c:pt>
                <c:pt idx="4556">
                  <c:v>-2.3559199999999998</c:v>
                </c:pt>
                <c:pt idx="4557">
                  <c:v>-2.58846</c:v>
                </c:pt>
                <c:pt idx="4558">
                  <c:v>-2.0686399999999998</c:v>
                </c:pt>
                <c:pt idx="4559">
                  <c:v>#N/A</c:v>
                </c:pt>
                <c:pt idx="4560">
                  <c:v>-2.28294</c:v>
                </c:pt>
                <c:pt idx="4561">
                  <c:v>-2.7101600000000001</c:v>
                </c:pt>
                <c:pt idx="4562">
                  <c:v>-2.4872399999999999</c:v>
                </c:pt>
                <c:pt idx="4563">
                  <c:v>#N/A</c:v>
                </c:pt>
                <c:pt idx="4564">
                  <c:v>-2.3502100000000001</c:v>
                </c:pt>
                <c:pt idx="4565">
                  <c:v>-2.6941999999999999</c:v>
                </c:pt>
                <c:pt idx="4566">
                  <c:v>-2.49926</c:v>
                </c:pt>
                <c:pt idx="4567">
                  <c:v>-2.4930699999999999</c:v>
                </c:pt>
                <c:pt idx="4568">
                  <c:v>#N/A</c:v>
                </c:pt>
                <c:pt idx="4569">
                  <c:v>-2.3302100000000001</c:v>
                </c:pt>
                <c:pt idx="4570">
                  <c:v>-2.6981299999999999</c:v>
                </c:pt>
                <c:pt idx="4571">
                  <c:v>-2.0894300000000001</c:v>
                </c:pt>
                <c:pt idx="4572">
                  <c:v>-2.23793</c:v>
                </c:pt>
                <c:pt idx="4573">
                  <c:v>#N/A</c:v>
                </c:pt>
                <c:pt idx="4574">
                  <c:v>-2.27643</c:v>
                </c:pt>
                <c:pt idx="4575">
                  <c:v>-2.6006399999999998</c:v>
                </c:pt>
                <c:pt idx="4576">
                  <c:v>-1.98454</c:v>
                </c:pt>
                <c:pt idx="4577">
                  <c:v>#N/A</c:v>
                </c:pt>
                <c:pt idx="4578">
                  <c:v>-2.48278</c:v>
                </c:pt>
                <c:pt idx="4579">
                  <c:v>-2.4859599999999999</c:v>
                </c:pt>
                <c:pt idx="4580">
                  <c:v>-2.9123700000000001</c:v>
                </c:pt>
                <c:pt idx="4581">
                  <c:v>#N/A</c:v>
                </c:pt>
                <c:pt idx="4582">
                  <c:v>-2.65842</c:v>
                </c:pt>
                <c:pt idx="4583">
                  <c:v>-2.1652999999999998</c:v>
                </c:pt>
                <c:pt idx="4584">
                  <c:v>-2.7471199999999998</c:v>
                </c:pt>
                <c:pt idx="4585">
                  <c:v>-2.3613499999999998</c:v>
                </c:pt>
                <c:pt idx="4586">
                  <c:v>#N/A</c:v>
                </c:pt>
                <c:pt idx="4587">
                  <c:v>-2.63313</c:v>
                </c:pt>
                <c:pt idx="4588">
                  <c:v>-2.28877</c:v>
                </c:pt>
                <c:pt idx="4589">
                  <c:v>-2.2581000000000002</c:v>
                </c:pt>
                <c:pt idx="4590">
                  <c:v>#N/A</c:v>
                </c:pt>
                <c:pt idx="4591">
                  <c:v>-2.1754500000000001</c:v>
                </c:pt>
                <c:pt idx="4592">
                  <c:v>-2.3557600000000001</c:v>
                </c:pt>
                <c:pt idx="4593">
                  <c:v>-1.9319599999999999</c:v>
                </c:pt>
                <c:pt idx="4594">
                  <c:v>-2.02406</c:v>
                </c:pt>
                <c:pt idx="4595">
                  <c:v>#N/A</c:v>
                </c:pt>
                <c:pt idx="4596">
                  <c:v>-2.2703799999999998</c:v>
                </c:pt>
                <c:pt idx="4597">
                  <c:v>-2.4716900000000002</c:v>
                </c:pt>
                <c:pt idx="4598">
                  <c:v>-2.4262000000000001</c:v>
                </c:pt>
                <c:pt idx="4599">
                  <c:v>#N/A</c:v>
                </c:pt>
                <c:pt idx="4600">
                  <c:v>-2.5629200000000001</c:v>
                </c:pt>
                <c:pt idx="4601">
                  <c:v>-2.3739300000000001</c:v>
                </c:pt>
                <c:pt idx="4602">
                  <c:v>-2.2705799999999998</c:v>
                </c:pt>
                <c:pt idx="4603">
                  <c:v>-2.2366199999999998</c:v>
                </c:pt>
                <c:pt idx="4604">
                  <c:v>#N/A</c:v>
                </c:pt>
                <c:pt idx="4605">
                  <c:v>-2.22553</c:v>
                </c:pt>
                <c:pt idx="4606">
                  <c:v>-2.45566</c:v>
                </c:pt>
                <c:pt idx="4607">
                  <c:v>-3.24037</c:v>
                </c:pt>
                <c:pt idx="4608">
                  <c:v>#N/A</c:v>
                </c:pt>
                <c:pt idx="4609">
                  <c:v>-2.92353</c:v>
                </c:pt>
                <c:pt idx="4610">
                  <c:v>-2.78085</c:v>
                </c:pt>
                <c:pt idx="4611">
                  <c:v>-2.2816999999999998</c:v>
                </c:pt>
                <c:pt idx="4612">
                  <c:v>#N/A</c:v>
                </c:pt>
                <c:pt idx="4613">
                  <c:v>-2.01023</c:v>
                </c:pt>
                <c:pt idx="4614">
                  <c:v>#N/A</c:v>
                </c:pt>
                <c:pt idx="4615">
                  <c:v>-2.0609700000000002</c:v>
                </c:pt>
                <c:pt idx="4616">
                  <c:v>#N/A</c:v>
                </c:pt>
                <c:pt idx="4617">
                  <c:v>-2.6100099999999999</c:v>
                </c:pt>
                <c:pt idx="4618">
                  <c:v>-2.6111800000000001</c:v>
                </c:pt>
                <c:pt idx="4619">
                  <c:v>-2.24804</c:v>
                </c:pt>
                <c:pt idx="4620">
                  <c:v>-2.2772299999999999</c:v>
                </c:pt>
                <c:pt idx="4621">
                  <c:v>#N/A</c:v>
                </c:pt>
                <c:pt idx="4622">
                  <c:v>-2.23447</c:v>
                </c:pt>
                <c:pt idx="4623">
                  <c:v>-2.2926899999999999</c:v>
                </c:pt>
                <c:pt idx="4624">
                  <c:v>#N/A</c:v>
                </c:pt>
                <c:pt idx="4625">
                  <c:v>-2.6710400000000001</c:v>
                </c:pt>
                <c:pt idx="4626">
                  <c:v>-2.3001100000000001</c:v>
                </c:pt>
                <c:pt idx="4627">
                  <c:v>-2.8466100000000001</c:v>
                </c:pt>
                <c:pt idx="4628">
                  <c:v>-2.4749400000000001</c:v>
                </c:pt>
                <c:pt idx="4629">
                  <c:v>#N/A</c:v>
                </c:pt>
                <c:pt idx="4630">
                  <c:v>-2.6917599999999999</c:v>
                </c:pt>
                <c:pt idx="4631">
                  <c:v>-2.1142500000000002</c:v>
                </c:pt>
                <c:pt idx="4632">
                  <c:v>-2.0628899999999999</c:v>
                </c:pt>
                <c:pt idx="4633">
                  <c:v>-2.3855200000000001</c:v>
                </c:pt>
                <c:pt idx="4634">
                  <c:v>#N/A</c:v>
                </c:pt>
                <c:pt idx="4635">
                  <c:v>-2.23902</c:v>
                </c:pt>
                <c:pt idx="4636">
                  <c:v>-2.3656899999999998</c:v>
                </c:pt>
                <c:pt idx="4637">
                  <c:v>-2.5535299999999999</c:v>
                </c:pt>
                <c:pt idx="4638">
                  <c:v>#N/A</c:v>
                </c:pt>
                <c:pt idx="4639">
                  <c:v>-2.9117999999999999</c:v>
                </c:pt>
                <c:pt idx="4640">
                  <c:v>-2.94028</c:v>
                </c:pt>
                <c:pt idx="4641">
                  <c:v>-2.4786100000000002</c:v>
                </c:pt>
                <c:pt idx="4642">
                  <c:v>#N/A</c:v>
                </c:pt>
                <c:pt idx="4643">
                  <c:v>-2.5487799999999998</c:v>
                </c:pt>
                <c:pt idx="4644">
                  <c:v>-2.5139300000000002</c:v>
                </c:pt>
                <c:pt idx="4645">
                  <c:v>-2.7240700000000002</c:v>
                </c:pt>
                <c:pt idx="4646">
                  <c:v>-2.9683999999999999</c:v>
                </c:pt>
                <c:pt idx="4647">
                  <c:v>#N/A</c:v>
                </c:pt>
                <c:pt idx="4648">
                  <c:v>-3.2799399999999999</c:v>
                </c:pt>
                <c:pt idx="4649">
                  <c:v>-3.0924399999999999</c:v>
                </c:pt>
                <c:pt idx="4650">
                  <c:v>#N/A</c:v>
                </c:pt>
                <c:pt idx="4651">
                  <c:v>-2.1697099999999998</c:v>
                </c:pt>
                <c:pt idx="4652">
                  <c:v>-2.0879699999999999</c:v>
                </c:pt>
                <c:pt idx="4653">
                  <c:v>-2.0227900000000001</c:v>
                </c:pt>
                <c:pt idx="4654">
                  <c:v>#N/A</c:v>
                </c:pt>
                <c:pt idx="4655">
                  <c:v>-2.0965799999999999</c:v>
                </c:pt>
                <c:pt idx="4656">
                  <c:v>-2.1131500000000001</c:v>
                </c:pt>
                <c:pt idx="4657">
                  <c:v>-2.8431700000000002</c:v>
                </c:pt>
                <c:pt idx="4658">
                  <c:v>-3.04766</c:v>
                </c:pt>
                <c:pt idx="4659">
                  <c:v>#N/A</c:v>
                </c:pt>
                <c:pt idx="4660">
                  <c:v>-3.0812200000000001</c:v>
                </c:pt>
                <c:pt idx="4661">
                  <c:v>-2.4339900000000001</c:v>
                </c:pt>
                <c:pt idx="4662">
                  <c:v>-2.6492800000000001</c:v>
                </c:pt>
                <c:pt idx="4663">
                  <c:v>#N/A</c:v>
                </c:pt>
                <c:pt idx="4664">
                  <c:v>-2.5005099999999998</c:v>
                </c:pt>
                <c:pt idx="4665">
                  <c:v>-2.99437</c:v>
                </c:pt>
                <c:pt idx="4666">
                  <c:v>-2.9370699999999998</c:v>
                </c:pt>
                <c:pt idx="4667">
                  <c:v>#N/A</c:v>
                </c:pt>
                <c:pt idx="4668">
                  <c:v>-2.8017500000000002</c:v>
                </c:pt>
                <c:pt idx="4669">
                  <c:v>-2.4647000000000001</c:v>
                </c:pt>
                <c:pt idx="4670">
                  <c:v>-2.8682799999999999</c:v>
                </c:pt>
                <c:pt idx="4671">
                  <c:v>-2.83873</c:v>
                </c:pt>
                <c:pt idx="4672">
                  <c:v>#N/A</c:v>
                </c:pt>
                <c:pt idx="4673">
                  <c:v>-2.1210800000000001</c:v>
                </c:pt>
                <c:pt idx="4674">
                  <c:v>-2.3490500000000001</c:v>
                </c:pt>
                <c:pt idx="4675">
                  <c:v>-2.5166599999999999</c:v>
                </c:pt>
                <c:pt idx="4676">
                  <c:v>#N/A</c:v>
                </c:pt>
                <c:pt idx="4677">
                  <c:v>-2.80816</c:v>
                </c:pt>
                <c:pt idx="4678">
                  <c:v>-2.54366</c:v>
                </c:pt>
                <c:pt idx="4679">
                  <c:v>-2.7743500000000001</c:v>
                </c:pt>
                <c:pt idx="4680">
                  <c:v>-2.9966400000000002</c:v>
                </c:pt>
                <c:pt idx="4681">
                  <c:v>#N/A</c:v>
                </c:pt>
                <c:pt idx="4682">
                  <c:v>-2.6854900000000002</c:v>
                </c:pt>
                <c:pt idx="4683">
                  <c:v>-2.4186000000000001</c:v>
                </c:pt>
                <c:pt idx="4684">
                  <c:v>-2.5398900000000002</c:v>
                </c:pt>
                <c:pt idx="4685">
                  <c:v>#N/A</c:v>
                </c:pt>
                <c:pt idx="4686">
                  <c:v>-2.36205</c:v>
                </c:pt>
                <c:pt idx="4687">
                  <c:v>-2.6545700000000001</c:v>
                </c:pt>
                <c:pt idx="4688">
                  <c:v>#N/A</c:v>
                </c:pt>
                <c:pt idx="4689">
                  <c:v>-3.1813600000000002</c:v>
                </c:pt>
                <c:pt idx="4690">
                  <c:v>-2.7835399999999999</c:v>
                </c:pt>
                <c:pt idx="4691">
                  <c:v>-3.0064199999999999</c:v>
                </c:pt>
                <c:pt idx="4692">
                  <c:v>#N/A</c:v>
                </c:pt>
                <c:pt idx="4693">
                  <c:v>-2.2804099999999998</c:v>
                </c:pt>
                <c:pt idx="4694">
                  <c:v>-2.4487399999999999</c:v>
                </c:pt>
                <c:pt idx="4695">
                  <c:v>-2.35453</c:v>
                </c:pt>
                <c:pt idx="4696">
                  <c:v>#N/A</c:v>
                </c:pt>
                <c:pt idx="4697">
                  <c:v>-3.2719200000000002</c:v>
                </c:pt>
                <c:pt idx="4698">
                  <c:v>-3.2394400000000001</c:v>
                </c:pt>
                <c:pt idx="4699">
                  <c:v>-3.1498900000000001</c:v>
                </c:pt>
                <c:pt idx="4700">
                  <c:v>#N/A</c:v>
                </c:pt>
                <c:pt idx="4701">
                  <c:v>-2.8938700000000002</c:v>
                </c:pt>
                <c:pt idx="4702">
                  <c:v>-2.2445400000000002</c:v>
                </c:pt>
                <c:pt idx="4703">
                  <c:v>-2.5505900000000001</c:v>
                </c:pt>
                <c:pt idx="4704">
                  <c:v>#N/A</c:v>
                </c:pt>
                <c:pt idx="4705">
                  <c:v>-2.8072900000000001</c:v>
                </c:pt>
                <c:pt idx="4706">
                  <c:v>-2.84606</c:v>
                </c:pt>
                <c:pt idx="4707">
                  <c:v>-2.9308200000000002</c:v>
                </c:pt>
                <c:pt idx="4708">
                  <c:v>-2.88246</c:v>
                </c:pt>
                <c:pt idx="4709">
                  <c:v>#N/A</c:v>
                </c:pt>
                <c:pt idx="4710">
                  <c:v>-2.9614600000000002</c:v>
                </c:pt>
                <c:pt idx="4711">
                  <c:v>-2.0243199999999999</c:v>
                </c:pt>
                <c:pt idx="4712">
                  <c:v>-2.10202</c:v>
                </c:pt>
                <c:pt idx="4713">
                  <c:v>#N/A</c:v>
                </c:pt>
                <c:pt idx="4714">
                  <c:v>-2.3260200000000002</c:v>
                </c:pt>
                <c:pt idx="4715">
                  <c:v>-3.0080200000000001</c:v>
                </c:pt>
                <c:pt idx="4716">
                  <c:v>-2.6942599999999999</c:v>
                </c:pt>
                <c:pt idx="4717">
                  <c:v>-2.6895099999999998</c:v>
                </c:pt>
                <c:pt idx="4718">
                  <c:v>#N/A</c:v>
                </c:pt>
                <c:pt idx="4719">
                  <c:v>-2.8407200000000001</c:v>
                </c:pt>
                <c:pt idx="4720">
                  <c:v>-2.5162300000000002</c:v>
                </c:pt>
                <c:pt idx="4721">
                  <c:v>-2.8805499999999999</c:v>
                </c:pt>
                <c:pt idx="4722">
                  <c:v>-2.6265000000000001</c:v>
                </c:pt>
                <c:pt idx="4723">
                  <c:v>#N/A</c:v>
                </c:pt>
                <c:pt idx="4724">
                  <c:v>-2.5787599999999999</c:v>
                </c:pt>
                <c:pt idx="4725">
                  <c:v>-3.1875800000000001</c:v>
                </c:pt>
                <c:pt idx="4726">
                  <c:v>-3.0146099999999998</c:v>
                </c:pt>
                <c:pt idx="4727">
                  <c:v>#N/A</c:v>
                </c:pt>
                <c:pt idx="4728">
                  <c:v>-3.1136300000000001</c:v>
                </c:pt>
                <c:pt idx="4729">
                  <c:v>-2.8355800000000002</c:v>
                </c:pt>
                <c:pt idx="4730">
                  <c:v>-2.4725999999999999</c:v>
                </c:pt>
                <c:pt idx="4731">
                  <c:v>-2.8009400000000002</c:v>
                </c:pt>
                <c:pt idx="4732">
                  <c:v>#N/A</c:v>
                </c:pt>
                <c:pt idx="4733">
                  <c:v>-2.5894200000000001</c:v>
                </c:pt>
                <c:pt idx="4734">
                  <c:v>-2.3590800000000001</c:v>
                </c:pt>
                <c:pt idx="4735">
                  <c:v>-2.6805099999999999</c:v>
                </c:pt>
                <c:pt idx="4736">
                  <c:v>#N/A</c:v>
                </c:pt>
                <c:pt idx="4737">
                  <c:v>-2.7999000000000001</c:v>
                </c:pt>
                <c:pt idx="4738">
                  <c:v>-2.7557200000000002</c:v>
                </c:pt>
                <c:pt idx="4739">
                  <c:v>-2.8486199999999999</c:v>
                </c:pt>
                <c:pt idx="4740">
                  <c:v>#N/A</c:v>
                </c:pt>
                <c:pt idx="4741">
                  <c:v>-2.2756500000000002</c:v>
                </c:pt>
                <c:pt idx="4742">
                  <c:v>-2.8002199999999999</c:v>
                </c:pt>
                <c:pt idx="4743">
                  <c:v>-2.80037</c:v>
                </c:pt>
                <c:pt idx="4744">
                  <c:v>-2.91323</c:v>
                </c:pt>
                <c:pt idx="4745">
                  <c:v>#N/A</c:v>
                </c:pt>
                <c:pt idx="4746">
                  <c:v>-3.2836699999999999</c:v>
                </c:pt>
                <c:pt idx="4747">
                  <c:v>-3.2157499999999999</c:v>
                </c:pt>
                <c:pt idx="4748">
                  <c:v>-3.43479</c:v>
                </c:pt>
                <c:pt idx="4749">
                  <c:v>#N/A</c:v>
                </c:pt>
                <c:pt idx="4750">
                  <c:v>-3.5150299999999999</c:v>
                </c:pt>
                <c:pt idx="4751">
                  <c:v>-3.1172599999999999</c:v>
                </c:pt>
                <c:pt idx="4752">
                  <c:v>-2.4946899999999999</c:v>
                </c:pt>
                <c:pt idx="4753">
                  <c:v>-2.6396299999999999</c:v>
                </c:pt>
                <c:pt idx="4754">
                  <c:v>#N/A</c:v>
                </c:pt>
                <c:pt idx="4755">
                  <c:v>-2.75068</c:v>
                </c:pt>
                <c:pt idx="4756">
                  <c:v>-3.39323</c:v>
                </c:pt>
                <c:pt idx="4757">
                  <c:v>#N/A</c:v>
                </c:pt>
                <c:pt idx="4758">
                  <c:v>-3.3296000000000001</c:v>
                </c:pt>
                <c:pt idx="4759">
                  <c:v>#N/A</c:v>
                </c:pt>
                <c:pt idx="4760">
                  <c:v>-3.0448599999999999</c:v>
                </c:pt>
                <c:pt idx="4761">
                  <c:v>-2.6361500000000002</c:v>
                </c:pt>
                <c:pt idx="4762">
                  <c:v>#N/A</c:v>
                </c:pt>
                <c:pt idx="4763">
                  <c:v>-2.5114100000000001</c:v>
                </c:pt>
                <c:pt idx="4764">
                  <c:v>-2.794</c:v>
                </c:pt>
                <c:pt idx="4765">
                  <c:v>-2.7046399999999999</c:v>
                </c:pt>
                <c:pt idx="4766">
                  <c:v>-3.3397100000000002</c:v>
                </c:pt>
                <c:pt idx="4767">
                  <c:v>#N/A</c:v>
                </c:pt>
                <c:pt idx="4768">
                  <c:v>-3.2487499999999998</c:v>
                </c:pt>
                <c:pt idx="4769">
                  <c:v>-3.0010400000000002</c:v>
                </c:pt>
                <c:pt idx="4770">
                  <c:v>-2.7087300000000001</c:v>
                </c:pt>
                <c:pt idx="4771">
                  <c:v>#N/A</c:v>
                </c:pt>
                <c:pt idx="4772">
                  <c:v>-2.6774900000000001</c:v>
                </c:pt>
                <c:pt idx="4773">
                  <c:v>-2.71305</c:v>
                </c:pt>
                <c:pt idx="4774">
                  <c:v>-3.04819</c:v>
                </c:pt>
                <c:pt idx="4775">
                  <c:v>#N/A</c:v>
                </c:pt>
                <c:pt idx="4776">
                  <c:v>-2.5765699999999998</c:v>
                </c:pt>
                <c:pt idx="4777">
                  <c:v>-2.8930899999999999</c:v>
                </c:pt>
                <c:pt idx="4778">
                  <c:v>-2.9015599999999999</c:v>
                </c:pt>
                <c:pt idx="4779">
                  <c:v>-2.4577399999999998</c:v>
                </c:pt>
                <c:pt idx="4780">
                  <c:v>#N/A</c:v>
                </c:pt>
                <c:pt idx="4781">
                  <c:v>-2.84327</c:v>
                </c:pt>
                <c:pt idx="4782">
                  <c:v>-2.9232</c:v>
                </c:pt>
                <c:pt idx="4783">
                  <c:v>-2.96434</c:v>
                </c:pt>
                <c:pt idx="4784">
                  <c:v>#N/A</c:v>
                </c:pt>
                <c:pt idx="4785">
                  <c:v>-3.3220900000000002</c:v>
                </c:pt>
                <c:pt idx="4786">
                  <c:v>-3.5821900000000002</c:v>
                </c:pt>
                <c:pt idx="4787">
                  <c:v>-3.4239199999999999</c:v>
                </c:pt>
                <c:pt idx="4788">
                  <c:v>-3.0789200000000001</c:v>
                </c:pt>
                <c:pt idx="4789">
                  <c:v>#N/A</c:v>
                </c:pt>
                <c:pt idx="4790">
                  <c:v>-3.1497000000000002</c:v>
                </c:pt>
                <c:pt idx="4791">
                  <c:v>-2.6553200000000001</c:v>
                </c:pt>
                <c:pt idx="4792">
                  <c:v>-2.4544199999999998</c:v>
                </c:pt>
                <c:pt idx="4793">
                  <c:v>#N/A</c:v>
                </c:pt>
                <c:pt idx="4794">
                  <c:v>-2.9527700000000001</c:v>
                </c:pt>
                <c:pt idx="4795">
                  <c:v>-2.7187899999999998</c:v>
                </c:pt>
                <c:pt idx="4796">
                  <c:v>-2.81609</c:v>
                </c:pt>
                <c:pt idx="4797">
                  <c:v>#N/A</c:v>
                </c:pt>
                <c:pt idx="4798">
                  <c:v>-3.3333300000000001</c:v>
                </c:pt>
                <c:pt idx="4799">
                  <c:v>-3.3230900000000001</c:v>
                </c:pt>
                <c:pt idx="4800">
                  <c:v>-3.04365</c:v>
                </c:pt>
                <c:pt idx="4801">
                  <c:v>#N/A</c:v>
                </c:pt>
                <c:pt idx="4802">
                  <c:v>-2.6333199999999999</c:v>
                </c:pt>
                <c:pt idx="4803">
                  <c:v>-2.5723099999999999</c:v>
                </c:pt>
                <c:pt idx="4804">
                  <c:v>-3.17441</c:v>
                </c:pt>
                <c:pt idx="4805">
                  <c:v>-3.2677299999999998</c:v>
                </c:pt>
                <c:pt idx="4806">
                  <c:v>#N/A</c:v>
                </c:pt>
                <c:pt idx="4807">
                  <c:v>-3.5535999999999999</c:v>
                </c:pt>
                <c:pt idx="4808">
                  <c:v>-3.5054099999999999</c:v>
                </c:pt>
                <c:pt idx="4809">
                  <c:v>-3.65293</c:v>
                </c:pt>
                <c:pt idx="4810">
                  <c:v>#N/A</c:v>
                </c:pt>
                <c:pt idx="4811">
                  <c:v>-2.8108499999999998</c:v>
                </c:pt>
                <c:pt idx="4812">
                  <c:v>-2.7386599999999999</c:v>
                </c:pt>
                <c:pt idx="4813">
                  <c:v>-2.8238799999999999</c:v>
                </c:pt>
                <c:pt idx="4814">
                  <c:v>-3.2376299999999998</c:v>
                </c:pt>
                <c:pt idx="4815">
                  <c:v>#N/A</c:v>
                </c:pt>
                <c:pt idx="4816">
                  <c:v>-3.3175300000000001</c:v>
                </c:pt>
                <c:pt idx="4817">
                  <c:v>-2.48949</c:v>
                </c:pt>
                <c:pt idx="4818">
                  <c:v>-3.5333399999999999</c:v>
                </c:pt>
                <c:pt idx="4819">
                  <c:v>#N/A</c:v>
                </c:pt>
                <c:pt idx="4820">
                  <c:v>-2.9331399999999999</c:v>
                </c:pt>
                <c:pt idx="4821">
                  <c:v>-2.64141</c:v>
                </c:pt>
                <c:pt idx="4822">
                  <c:v>-3.0173399999999999</c:v>
                </c:pt>
                <c:pt idx="4823">
                  <c:v>#N/A</c:v>
                </c:pt>
                <c:pt idx="4824">
                  <c:v>-2.9901</c:v>
                </c:pt>
                <c:pt idx="4825">
                  <c:v>-3.2724700000000002</c:v>
                </c:pt>
                <c:pt idx="4826">
                  <c:v>-3.1920299999999999</c:v>
                </c:pt>
                <c:pt idx="4827">
                  <c:v>-3.7488299999999999</c:v>
                </c:pt>
                <c:pt idx="4828">
                  <c:v>#N/A</c:v>
                </c:pt>
                <c:pt idx="4829">
                  <c:v>-3.1594000000000002</c:v>
                </c:pt>
                <c:pt idx="4830">
                  <c:v>#N/A</c:v>
                </c:pt>
                <c:pt idx="4831">
                  <c:v>-3.0617999999999999</c:v>
                </c:pt>
                <c:pt idx="4832">
                  <c:v>#N/A</c:v>
                </c:pt>
                <c:pt idx="4833">
                  <c:v>-2.7821400000000001</c:v>
                </c:pt>
                <c:pt idx="4834">
                  <c:v>-2.7218499999999999</c:v>
                </c:pt>
                <c:pt idx="4835">
                  <c:v>-2.5997499999999998</c:v>
                </c:pt>
                <c:pt idx="4836">
                  <c:v>#N/A</c:v>
                </c:pt>
                <c:pt idx="4837">
                  <c:v>-3.2436199999999999</c:v>
                </c:pt>
                <c:pt idx="4838">
                  <c:v>-3.0907100000000001</c:v>
                </c:pt>
                <c:pt idx="4839">
                  <c:v>-3.3178999999999998</c:v>
                </c:pt>
                <c:pt idx="4840">
                  <c:v>#N/A</c:v>
                </c:pt>
                <c:pt idx="4841">
                  <c:v>-2.5788199999999999</c:v>
                </c:pt>
                <c:pt idx="4842">
                  <c:v>-3.2896100000000001</c:v>
                </c:pt>
                <c:pt idx="4843">
                  <c:v>-3.0339</c:v>
                </c:pt>
                <c:pt idx="4844">
                  <c:v>-2.9473699999999998</c:v>
                </c:pt>
                <c:pt idx="4845">
                  <c:v>#N/A</c:v>
                </c:pt>
                <c:pt idx="4846">
                  <c:v>-2.8750800000000001</c:v>
                </c:pt>
                <c:pt idx="4847">
                  <c:v>-3.1282899999999998</c:v>
                </c:pt>
                <c:pt idx="4848">
                  <c:v>-3.1632199999999999</c:v>
                </c:pt>
                <c:pt idx="4849">
                  <c:v>-3.0848399999999998</c:v>
                </c:pt>
                <c:pt idx="4850">
                  <c:v>#N/A</c:v>
                </c:pt>
                <c:pt idx="4851">
                  <c:v>-2.97288</c:v>
                </c:pt>
                <c:pt idx="4852">
                  <c:v>-2.4921700000000002</c:v>
                </c:pt>
                <c:pt idx="4853">
                  <c:v>-2.3993600000000002</c:v>
                </c:pt>
                <c:pt idx="4854">
                  <c:v>#N/A</c:v>
                </c:pt>
                <c:pt idx="4855">
                  <c:v>-2.8024800000000001</c:v>
                </c:pt>
                <c:pt idx="4856">
                  <c:v>-2.6577999999999999</c:v>
                </c:pt>
                <c:pt idx="4857">
                  <c:v>-3.1134200000000001</c:v>
                </c:pt>
                <c:pt idx="4858">
                  <c:v>#N/A</c:v>
                </c:pt>
                <c:pt idx="4859">
                  <c:v>-2.9624600000000001</c:v>
                </c:pt>
                <c:pt idx="4860">
                  <c:v>-3.0066099999999998</c:v>
                </c:pt>
                <c:pt idx="4861">
                  <c:v>-2.9763299999999999</c:v>
                </c:pt>
                <c:pt idx="4862">
                  <c:v>-2.7801800000000001</c:v>
                </c:pt>
                <c:pt idx="4863">
                  <c:v>#N/A</c:v>
                </c:pt>
                <c:pt idx="4864">
                  <c:v>-3.6127199999999999</c:v>
                </c:pt>
                <c:pt idx="4865">
                  <c:v>-2.9305400000000001</c:v>
                </c:pt>
                <c:pt idx="4866">
                  <c:v>-3.2093400000000001</c:v>
                </c:pt>
                <c:pt idx="4867">
                  <c:v>#N/A</c:v>
                </c:pt>
                <c:pt idx="4868">
                  <c:v>-3.5621700000000001</c:v>
                </c:pt>
                <c:pt idx="4869">
                  <c:v>-3.0294099999999999</c:v>
                </c:pt>
                <c:pt idx="4870">
                  <c:v>-2.5761099999999999</c:v>
                </c:pt>
                <c:pt idx="4871">
                  <c:v>-2.8249499999999999</c:v>
                </c:pt>
                <c:pt idx="4872">
                  <c:v>#N/A</c:v>
                </c:pt>
                <c:pt idx="4873">
                  <c:v>-3.0280300000000002</c:v>
                </c:pt>
                <c:pt idx="4874">
                  <c:v>-2.79827</c:v>
                </c:pt>
                <c:pt idx="4875">
                  <c:v>-2.6575199999999999</c:v>
                </c:pt>
                <c:pt idx="4876">
                  <c:v>#N/A</c:v>
                </c:pt>
                <c:pt idx="4877">
                  <c:v>-4.40456</c:v>
                </c:pt>
                <c:pt idx="4878">
                  <c:v>-4.8396299999999997</c:v>
                </c:pt>
                <c:pt idx="4879">
                  <c:v>-4.05809</c:v>
                </c:pt>
                <c:pt idx="4880">
                  <c:v>-3.9349099999999999</c:v>
                </c:pt>
                <c:pt idx="4881">
                  <c:v>#N/A</c:v>
                </c:pt>
                <c:pt idx="4882">
                  <c:v>-3.1898399999999998</c:v>
                </c:pt>
                <c:pt idx="4883">
                  <c:v>-2.9150100000000001</c:v>
                </c:pt>
                <c:pt idx="4884">
                  <c:v>-4.0016100000000003</c:v>
                </c:pt>
                <c:pt idx="4885">
                  <c:v>#N/A</c:v>
                </c:pt>
                <c:pt idx="4886">
                  <c:v>-3.5278100000000001</c:v>
                </c:pt>
                <c:pt idx="4887">
                  <c:v>-3.0710199999999999</c:v>
                </c:pt>
                <c:pt idx="4888">
                  <c:v>-3.1930900000000002</c:v>
                </c:pt>
                <c:pt idx="4889">
                  <c:v>-1.5587299999999999</c:v>
                </c:pt>
                <c:pt idx="4890">
                  <c:v>#N/A</c:v>
                </c:pt>
                <c:pt idx="4891">
                  <c:v>-1.98343</c:v>
                </c:pt>
                <c:pt idx="4892">
                  <c:v>-0.68371400000000004</c:v>
                </c:pt>
                <c:pt idx="4893">
                  <c:v>-0.87964399999999998</c:v>
                </c:pt>
                <c:pt idx="4894">
                  <c:v>#N/A</c:v>
                </c:pt>
                <c:pt idx="4895">
                  <c:v>-1.8465400000000001</c:v>
                </c:pt>
                <c:pt idx="4896">
                  <c:v>-2.2079</c:v>
                </c:pt>
                <c:pt idx="4897">
                  <c:v>-2.9470000000000001</c:v>
                </c:pt>
                <c:pt idx="4898">
                  <c:v>#N/A</c:v>
                </c:pt>
                <c:pt idx="4899">
                  <c:v>-2.6756099999999998</c:v>
                </c:pt>
                <c:pt idx="4900">
                  <c:v>-3.0286900000000001</c:v>
                </c:pt>
                <c:pt idx="4901">
                  <c:v>-2.8965900000000002</c:v>
                </c:pt>
                <c:pt idx="4902">
                  <c:v>-2.7280000000000002</c:v>
                </c:pt>
                <c:pt idx="4903">
                  <c:v>#N/A</c:v>
                </c:pt>
                <c:pt idx="4904">
                  <c:v>-3.42814</c:v>
                </c:pt>
                <c:pt idx="4905">
                  <c:v>-3.7849200000000001</c:v>
                </c:pt>
                <c:pt idx="4906">
                  <c:v>-3.6131899999999999</c:v>
                </c:pt>
                <c:pt idx="4907">
                  <c:v>-3.79542</c:v>
                </c:pt>
                <c:pt idx="4908">
                  <c:v>#N/A</c:v>
                </c:pt>
                <c:pt idx="4909">
                  <c:v>-3.0478700000000001</c:v>
                </c:pt>
                <c:pt idx="4910">
                  <c:v>-2.73942</c:v>
                </c:pt>
                <c:pt idx="4911">
                  <c:v>-2.411</c:v>
                </c:pt>
                <c:pt idx="4912">
                  <c:v>#N/A</c:v>
                </c:pt>
                <c:pt idx="4913">
                  <c:v>-2.45547</c:v>
                </c:pt>
                <c:pt idx="4914">
                  <c:v>-2.3498899999999998</c:v>
                </c:pt>
                <c:pt idx="4915">
                  <c:v>-2.62235</c:v>
                </c:pt>
                <c:pt idx="4916">
                  <c:v>-2.29392</c:v>
                </c:pt>
                <c:pt idx="4917">
                  <c:v>#N/A</c:v>
                </c:pt>
                <c:pt idx="4918">
                  <c:v>-2.5922100000000001</c:v>
                </c:pt>
                <c:pt idx="4919">
                  <c:v>-2.6694200000000001</c:v>
                </c:pt>
                <c:pt idx="4920">
                  <c:v>-2.79365</c:v>
                </c:pt>
                <c:pt idx="4921">
                  <c:v>#N/A</c:v>
                </c:pt>
                <c:pt idx="4922">
                  <c:v>-3.0346199999999999</c:v>
                </c:pt>
                <c:pt idx="4923">
                  <c:v>-2.5003700000000002</c:v>
                </c:pt>
                <c:pt idx="4924">
                  <c:v>-2.9876299999999998</c:v>
                </c:pt>
                <c:pt idx="4925">
                  <c:v>-2.73298</c:v>
                </c:pt>
                <c:pt idx="4926">
                  <c:v>#N/A</c:v>
                </c:pt>
                <c:pt idx="4927">
                  <c:v>-3.0607600000000001</c:v>
                </c:pt>
                <c:pt idx="4928">
                  <c:v>-3.1893199999999999</c:v>
                </c:pt>
                <c:pt idx="4929">
                  <c:v>-3.6109</c:v>
                </c:pt>
                <c:pt idx="4930">
                  <c:v>#N/A</c:v>
                </c:pt>
                <c:pt idx="4931">
                  <c:v>-3.2363200000000001</c:v>
                </c:pt>
                <c:pt idx="4932">
                  <c:v>-2.2949799999999998</c:v>
                </c:pt>
                <c:pt idx="4933">
                  <c:v>-2.4397500000000001</c:v>
                </c:pt>
                <c:pt idx="4934">
                  <c:v>-2.9455499999999999</c:v>
                </c:pt>
                <c:pt idx="4935">
                  <c:v>#N/A</c:v>
                </c:pt>
                <c:pt idx="4936">
                  <c:v>-2.3525999999999998</c:v>
                </c:pt>
                <c:pt idx="4937">
                  <c:v>-2.6623800000000002</c:v>
                </c:pt>
                <c:pt idx="4938">
                  <c:v>-2.9159999999999999</c:v>
                </c:pt>
                <c:pt idx="4939">
                  <c:v>-2.3222</c:v>
                </c:pt>
                <c:pt idx="4940">
                  <c:v>#N/A</c:v>
                </c:pt>
                <c:pt idx="4941">
                  <c:v>-3.0907100000000001</c:v>
                </c:pt>
                <c:pt idx="4942">
                  <c:v>-2.9278200000000001</c:v>
                </c:pt>
                <c:pt idx="4943">
                  <c:v>-3.2558199999999999</c:v>
                </c:pt>
                <c:pt idx="4944">
                  <c:v>#N/A</c:v>
                </c:pt>
                <c:pt idx="4945">
                  <c:v>-2.3472599999999999</c:v>
                </c:pt>
                <c:pt idx="4946">
                  <c:v>-2.53044</c:v>
                </c:pt>
                <c:pt idx="4947">
                  <c:v>-2.3316599999999998</c:v>
                </c:pt>
                <c:pt idx="4948">
                  <c:v>-0.66628600000000004</c:v>
                </c:pt>
                <c:pt idx="4949">
                  <c:v>#N/A</c:v>
                </c:pt>
                <c:pt idx="4950">
                  <c:v>0.96987400000000001</c:v>
                </c:pt>
                <c:pt idx="4951">
                  <c:v>0.87374799999999997</c:v>
                </c:pt>
                <c:pt idx="4952">
                  <c:v>5.1213199999999999</c:v>
                </c:pt>
                <c:pt idx="4953">
                  <c:v>#N/A</c:v>
                </c:pt>
                <c:pt idx="4954">
                  <c:v>8.8969100000000001</c:v>
                </c:pt>
                <c:pt idx="4955">
                  <c:v>11.4259</c:v>
                </c:pt>
                <c:pt idx="4956">
                  <c:v>13.760899999999999</c:v>
                </c:pt>
                <c:pt idx="4957">
                  <c:v>#N/A</c:v>
                </c:pt>
                <c:pt idx="4958">
                  <c:v>15.0428</c:v>
                </c:pt>
                <c:pt idx="4959">
                  <c:v>16.999099999999999</c:v>
                </c:pt>
                <c:pt idx="4960">
                  <c:v>17.872699999999998</c:v>
                </c:pt>
                <c:pt idx="4961">
                  <c:v>18.6038</c:v>
                </c:pt>
                <c:pt idx="4962">
                  <c:v>#N/A</c:v>
                </c:pt>
                <c:pt idx="4963">
                  <c:v>19.4482</c:v>
                </c:pt>
                <c:pt idx="4964">
                  <c:v>20.577999999999999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0.13278100000000001</c:v>
                </c:pt>
                <c:pt idx="5035">
                  <c:v>#N/A</c:v>
                </c:pt>
                <c:pt idx="5036">
                  <c:v>0.19689799999999999</c:v>
                </c:pt>
                <c:pt idx="5037">
                  <c:v>0.104125</c:v>
                </c:pt>
                <c:pt idx="5038">
                  <c:v>0.62617</c:v>
                </c:pt>
                <c:pt idx="5039">
                  <c:v>#N/A</c:v>
                </c:pt>
                <c:pt idx="5040">
                  <c:v>0.261154</c:v>
                </c:pt>
                <c:pt idx="5041">
                  <c:v>0.19573499999999999</c:v>
                </c:pt>
                <c:pt idx="5042">
                  <c:v>0.28636200000000001</c:v>
                </c:pt>
                <c:pt idx="5043">
                  <c:v>#N/A</c:v>
                </c:pt>
                <c:pt idx="5044">
                  <c:v>0.40645300000000001</c:v>
                </c:pt>
                <c:pt idx="5045">
                  <c:v>1.0506500000000001</c:v>
                </c:pt>
                <c:pt idx="5046">
                  <c:v>#N/A</c:v>
                </c:pt>
                <c:pt idx="5047">
                  <c:v>1.7149300000000001</c:v>
                </c:pt>
                <c:pt idx="5048">
                  <c:v>2.2953700000000001</c:v>
                </c:pt>
                <c:pt idx="5049">
                  <c:v>3.5859299999999998</c:v>
                </c:pt>
                <c:pt idx="5050">
                  <c:v>#N/A</c:v>
                </c:pt>
                <c:pt idx="5051">
                  <c:v>5.7046900000000003</c:v>
                </c:pt>
                <c:pt idx="5052">
                  <c:v>7.22044</c:v>
                </c:pt>
                <c:pt idx="5053">
                  <c:v>8.8209999999999997</c:v>
                </c:pt>
                <c:pt idx="5054">
                  <c:v>10.8796</c:v>
                </c:pt>
                <c:pt idx="5055">
                  <c:v>#N/A</c:v>
                </c:pt>
                <c:pt idx="5056">
                  <c:v>14.1938</c:v>
                </c:pt>
                <c:pt idx="5057">
                  <c:v>16.4511</c:v>
                </c:pt>
                <c:pt idx="5058">
                  <c:v>17.3901</c:v>
                </c:pt>
                <c:pt idx="5059">
                  <c:v>#N/A</c:v>
                </c:pt>
                <c:pt idx="5060">
                  <c:v>18.5749</c:v>
                </c:pt>
                <c:pt idx="5061">
                  <c:v>21.2835</c:v>
                </c:pt>
                <c:pt idx="5062">
                  <c:v>21.182099999999998</c:v>
                </c:pt>
                <c:pt idx="5063">
                  <c:v>22.776900000000001</c:v>
                </c:pt>
                <c:pt idx="5064">
                  <c:v>#N/A</c:v>
                </c:pt>
                <c:pt idx="5065">
                  <c:v>22.407900000000001</c:v>
                </c:pt>
                <c:pt idx="5066">
                  <c:v>22.935300000000002</c:v>
                </c:pt>
                <c:pt idx="5067">
                  <c:v>23.624700000000001</c:v>
                </c:pt>
                <c:pt idx="5068">
                  <c:v>22.296600000000002</c:v>
                </c:pt>
                <c:pt idx="5069">
                  <c:v>#N/A</c:v>
                </c:pt>
                <c:pt idx="5070">
                  <c:v>21.632000000000001</c:v>
                </c:pt>
                <c:pt idx="5071">
                  <c:v>22.0307</c:v>
                </c:pt>
                <c:pt idx="5072">
                  <c:v>21.026</c:v>
                </c:pt>
                <c:pt idx="5073">
                  <c:v>#N/A</c:v>
                </c:pt>
                <c:pt idx="5074">
                  <c:v>20.281600000000001</c:v>
                </c:pt>
                <c:pt idx="5075">
                  <c:v>19.219200000000001</c:v>
                </c:pt>
                <c:pt idx="5076">
                  <c:v>16.640499999999999</c:v>
                </c:pt>
                <c:pt idx="5077">
                  <c:v>#N/A</c:v>
                </c:pt>
                <c:pt idx="5078">
                  <c:v>14.614000000000001</c:v>
                </c:pt>
                <c:pt idx="5079">
                  <c:v>12.299799999999999</c:v>
                </c:pt>
                <c:pt idx="5080">
                  <c:v>9.9103600000000007</c:v>
                </c:pt>
                <c:pt idx="5081">
                  <c:v>9.1836500000000001</c:v>
                </c:pt>
                <c:pt idx="5082">
                  <c:v>#N/A</c:v>
                </c:pt>
                <c:pt idx="5083">
                  <c:v>6.2144300000000001</c:v>
                </c:pt>
                <c:pt idx="5084">
                  <c:v>5.6809599999999998</c:v>
                </c:pt>
                <c:pt idx="5085">
                  <c:v>4.31351</c:v>
                </c:pt>
                <c:pt idx="5086">
                  <c:v>#N/A</c:v>
                </c:pt>
                <c:pt idx="5087">
                  <c:v>3.22254</c:v>
                </c:pt>
                <c:pt idx="5088">
                  <c:v>1.8651899999999999</c:v>
                </c:pt>
                <c:pt idx="5089">
                  <c:v>1.45082</c:v>
                </c:pt>
                <c:pt idx="5090">
                  <c:v>#N/A</c:v>
                </c:pt>
                <c:pt idx="5091">
                  <c:v>0.98968</c:v>
                </c:pt>
                <c:pt idx="5092">
                  <c:v>1.84874</c:v>
                </c:pt>
                <c:pt idx="5093">
                  <c:v>1.41472</c:v>
                </c:pt>
                <c:pt idx="5094">
                  <c:v>1.3973800000000001</c:v>
                </c:pt>
                <c:pt idx="5095">
                  <c:v>#N/A</c:v>
                </c:pt>
                <c:pt idx="5096">
                  <c:v>1.9907699999999999</c:v>
                </c:pt>
                <c:pt idx="5097">
                  <c:v>1.9016599999999999</c:v>
                </c:pt>
                <c:pt idx="5098">
                  <c:v>1.6495200000000001</c:v>
                </c:pt>
                <c:pt idx="5099">
                  <c:v>2.18207</c:v>
                </c:pt>
                <c:pt idx="5100">
                  <c:v>#N/A</c:v>
                </c:pt>
                <c:pt idx="5101">
                  <c:v>1.9098900000000001</c:v>
                </c:pt>
                <c:pt idx="5102">
                  <c:v>2.0015299999999998</c:v>
                </c:pt>
                <c:pt idx="5103">
                  <c:v>2.6595599999999999</c:v>
                </c:pt>
                <c:pt idx="5104">
                  <c:v>#N/A</c:v>
                </c:pt>
                <c:pt idx="5105">
                  <c:v>3.8044899999999999</c:v>
                </c:pt>
                <c:pt idx="5106">
                  <c:v>4.2116699999999998</c:v>
                </c:pt>
                <c:pt idx="5107">
                  <c:v>4.2597199999999997</c:v>
                </c:pt>
                <c:pt idx="5108">
                  <c:v>4.1561399999999997</c:v>
                </c:pt>
                <c:pt idx="5109">
                  <c:v>#N/A</c:v>
                </c:pt>
                <c:pt idx="5110">
                  <c:v>3.62256</c:v>
                </c:pt>
                <c:pt idx="5111">
                  <c:v>3.1859299999999999</c:v>
                </c:pt>
                <c:pt idx="5112">
                  <c:v>2.8443999999999998</c:v>
                </c:pt>
                <c:pt idx="5113">
                  <c:v>#N/A</c:v>
                </c:pt>
                <c:pt idx="5114">
                  <c:v>3.0383900000000001</c:v>
                </c:pt>
                <c:pt idx="5115">
                  <c:v>2.8225500000000001</c:v>
                </c:pt>
                <c:pt idx="5116">
                  <c:v>2.7947000000000002</c:v>
                </c:pt>
                <c:pt idx="5117">
                  <c:v>#N/A</c:v>
                </c:pt>
                <c:pt idx="5118">
                  <c:v>2.8193000000000001</c:v>
                </c:pt>
                <c:pt idx="5119">
                  <c:v>2.4880399999999998</c:v>
                </c:pt>
                <c:pt idx="5120">
                  <c:v>2.8826200000000002</c:v>
                </c:pt>
                <c:pt idx="5121">
                  <c:v>#N/A</c:v>
                </c:pt>
                <c:pt idx="5122">
                  <c:v>#N/A</c:v>
                </c:pt>
                <c:pt idx="5123">
                  <c:v>#N/A</c:v>
                </c:pt>
                <c:pt idx="5124">
                  <c:v>#N/A</c:v>
                </c:pt>
                <c:pt idx="5125">
                  <c:v>#N/A</c:v>
                </c:pt>
                <c:pt idx="5126">
                  <c:v>#N/A</c:v>
                </c:pt>
                <c:pt idx="5127">
                  <c:v>#N/A</c:v>
                </c:pt>
                <c:pt idx="5128">
                  <c:v>#N/A</c:v>
                </c:pt>
                <c:pt idx="5129">
                  <c:v>#N/A</c:v>
                </c:pt>
                <c:pt idx="5130">
                  <c:v>#N/A</c:v>
                </c:pt>
                <c:pt idx="5131">
                  <c:v>#N/A</c:v>
                </c:pt>
                <c:pt idx="5132">
                  <c:v>#N/A</c:v>
                </c:pt>
                <c:pt idx="5133">
                  <c:v>#N/A</c:v>
                </c:pt>
                <c:pt idx="5134">
                  <c:v>#N/A</c:v>
                </c:pt>
                <c:pt idx="5135">
                  <c:v>#N/A</c:v>
                </c:pt>
                <c:pt idx="5136">
                  <c:v>#N/A</c:v>
                </c:pt>
                <c:pt idx="5137">
                  <c:v>#N/A</c:v>
                </c:pt>
                <c:pt idx="5138">
                  <c:v>#N/A</c:v>
                </c:pt>
                <c:pt idx="5139">
                  <c:v>#N/A</c:v>
                </c:pt>
                <c:pt idx="5140">
                  <c:v>#N/A</c:v>
                </c:pt>
                <c:pt idx="5141">
                  <c:v>#N/A</c:v>
                </c:pt>
                <c:pt idx="5142">
                  <c:v>#N/A</c:v>
                </c:pt>
                <c:pt idx="5143">
                  <c:v>4.4728700000000003</c:v>
                </c:pt>
                <c:pt idx="5144">
                  <c:v>3.3865799999999999</c:v>
                </c:pt>
                <c:pt idx="5145">
                  <c:v>#N/A</c:v>
                </c:pt>
                <c:pt idx="5146">
                  <c:v>4.0384099999999998</c:v>
                </c:pt>
                <c:pt idx="5147">
                  <c:v>3.5129600000000001</c:v>
                </c:pt>
                <c:pt idx="5148">
                  <c:v>3.34524</c:v>
                </c:pt>
                <c:pt idx="5149">
                  <c:v>#N/A</c:v>
                </c:pt>
                <c:pt idx="5150">
                  <c:v>3.5199799999999999</c:v>
                </c:pt>
                <c:pt idx="5151">
                  <c:v>3.6251600000000002</c:v>
                </c:pt>
                <c:pt idx="5152">
                  <c:v>4.3124900000000004</c:v>
                </c:pt>
                <c:pt idx="5153">
                  <c:v>3.40367</c:v>
                </c:pt>
                <c:pt idx="5154">
                  <c:v>#N/A</c:v>
                </c:pt>
                <c:pt idx="5155">
                  <c:v>3.6877499999999999</c:v>
                </c:pt>
                <c:pt idx="5156">
                  <c:v>2.8828100000000001</c:v>
                </c:pt>
                <c:pt idx="5157">
                  <c:v>2.0319500000000001</c:v>
                </c:pt>
                <c:pt idx="5158">
                  <c:v>1.6153299999999999</c:v>
                </c:pt>
                <c:pt idx="5159">
                  <c:v>#N/A</c:v>
                </c:pt>
                <c:pt idx="5160">
                  <c:v>0.94359300000000002</c:v>
                </c:pt>
                <c:pt idx="5161">
                  <c:v>1.36574</c:v>
                </c:pt>
                <c:pt idx="5162">
                  <c:v>2.03132</c:v>
                </c:pt>
                <c:pt idx="5163">
                  <c:v>#N/A</c:v>
                </c:pt>
                <c:pt idx="5164">
                  <c:v>1.75187</c:v>
                </c:pt>
                <c:pt idx="5165">
                  <c:v>2.5182899999999999</c:v>
                </c:pt>
                <c:pt idx="5166">
                  <c:v>2.5776400000000002</c:v>
                </c:pt>
                <c:pt idx="5167">
                  <c:v>2.2939400000000001</c:v>
                </c:pt>
                <c:pt idx="5168">
                  <c:v>#N/A</c:v>
                </c:pt>
                <c:pt idx="5169">
                  <c:v>2.1076100000000002</c:v>
                </c:pt>
                <c:pt idx="5170">
                  <c:v>2.76471</c:v>
                </c:pt>
                <c:pt idx="5171">
                  <c:v>3.0202499999999999</c:v>
                </c:pt>
                <c:pt idx="5172">
                  <c:v>#N/A</c:v>
                </c:pt>
                <c:pt idx="5173">
                  <c:v>3.3359399999999999</c:v>
                </c:pt>
                <c:pt idx="5174">
                  <c:v>4.0715399999999997</c:v>
                </c:pt>
                <c:pt idx="5175">
                  <c:v>4.0809600000000001</c:v>
                </c:pt>
                <c:pt idx="5176">
                  <c:v>#N/A</c:v>
                </c:pt>
                <c:pt idx="5177">
                  <c:v>3.7825000000000002</c:v>
                </c:pt>
                <c:pt idx="5178">
                  <c:v>2.8424299999999998</c:v>
                </c:pt>
                <c:pt idx="5179">
                  <c:v>3.0266299999999999</c:v>
                </c:pt>
                <c:pt idx="5180">
                  <c:v>2.27711</c:v>
                </c:pt>
                <c:pt idx="5181">
                  <c:v>#N/A</c:v>
                </c:pt>
                <c:pt idx="5182">
                  <c:v>2.0753900000000001</c:v>
                </c:pt>
                <c:pt idx="5183">
                  <c:v>2.3382100000000001</c:v>
                </c:pt>
                <c:pt idx="5184">
                  <c:v>2.7284600000000001</c:v>
                </c:pt>
                <c:pt idx="5185">
                  <c:v>#N/A</c:v>
                </c:pt>
                <c:pt idx="5186">
                  <c:v>2.7573099999999999</c:v>
                </c:pt>
                <c:pt idx="5187">
                  <c:v>3.0039199999999999</c:v>
                </c:pt>
                <c:pt idx="5188">
                  <c:v>2.6958600000000001</c:v>
                </c:pt>
                <c:pt idx="5189">
                  <c:v>#N/A</c:v>
                </c:pt>
                <c:pt idx="5190">
                  <c:v>2.69861</c:v>
                </c:pt>
                <c:pt idx="5191">
                  <c:v>2.8226499999999999</c:v>
                </c:pt>
                <c:pt idx="5192">
                  <c:v>#N/A</c:v>
                </c:pt>
                <c:pt idx="5193">
                  <c:v>3.0109900000000001</c:v>
                </c:pt>
                <c:pt idx="5194">
                  <c:v>2.68337</c:v>
                </c:pt>
                <c:pt idx="5195">
                  <c:v>2.98217</c:v>
                </c:pt>
                <c:pt idx="5196">
                  <c:v>#N/A</c:v>
                </c:pt>
                <c:pt idx="5197">
                  <c:v>3.12731</c:v>
                </c:pt>
                <c:pt idx="5198">
                  <c:v>2.6214</c:v>
                </c:pt>
                <c:pt idx="5199">
                  <c:v>2.9906999999999999</c:v>
                </c:pt>
                <c:pt idx="5200">
                  <c:v>#N/A</c:v>
                </c:pt>
                <c:pt idx="5201">
                  <c:v>2.9940199999999999</c:v>
                </c:pt>
                <c:pt idx="5202">
                  <c:v>3.13775</c:v>
                </c:pt>
                <c:pt idx="5203">
                  <c:v>2.62432</c:v>
                </c:pt>
                <c:pt idx="5204">
                  <c:v>2.7419500000000001</c:v>
                </c:pt>
                <c:pt idx="5205">
                  <c:v>#N/A</c:v>
                </c:pt>
                <c:pt idx="5206">
                  <c:v>3.0315699999999999</c:v>
                </c:pt>
                <c:pt idx="5207">
                  <c:v>2.7777400000000001</c:v>
                </c:pt>
                <c:pt idx="5208">
                  <c:v>2.96008</c:v>
                </c:pt>
                <c:pt idx="5209">
                  <c:v>#N/A</c:v>
                </c:pt>
                <c:pt idx="5210">
                  <c:v>2.9041199999999998</c:v>
                </c:pt>
                <c:pt idx="5211">
                  <c:v>3.1948400000000001</c:v>
                </c:pt>
                <c:pt idx="5212">
                  <c:v>3.1287199999999999</c:v>
                </c:pt>
                <c:pt idx="5213">
                  <c:v>3.2710300000000001</c:v>
                </c:pt>
                <c:pt idx="5214">
                  <c:v>#N/A</c:v>
                </c:pt>
                <c:pt idx="5215">
                  <c:v>3.2446700000000002</c:v>
                </c:pt>
                <c:pt idx="5216">
                  <c:v>2.5620699999999998</c:v>
                </c:pt>
                <c:pt idx="5217">
                  <c:v>2.6345499999999999</c:v>
                </c:pt>
                <c:pt idx="5218">
                  <c:v>2.5598800000000002</c:v>
                </c:pt>
                <c:pt idx="5219">
                  <c:v>#N/A</c:v>
                </c:pt>
                <c:pt idx="5220">
                  <c:v>2.2708300000000001</c:v>
                </c:pt>
                <c:pt idx="5221">
                  <c:v>3.0184199999999999</c:v>
                </c:pt>
                <c:pt idx="5222">
                  <c:v>2.9762200000000001</c:v>
                </c:pt>
                <c:pt idx="5223">
                  <c:v>#N/A</c:v>
                </c:pt>
                <c:pt idx="5224">
                  <c:v>2.5821800000000001</c:v>
                </c:pt>
                <c:pt idx="5225">
                  <c:v>3.04183</c:v>
                </c:pt>
                <c:pt idx="5226">
                  <c:v>2.90584</c:v>
                </c:pt>
                <c:pt idx="5227">
                  <c:v>2.86978</c:v>
                </c:pt>
                <c:pt idx="5228">
                  <c:v>#N/A</c:v>
                </c:pt>
                <c:pt idx="5229">
                  <c:v>2.8098200000000002</c:v>
                </c:pt>
                <c:pt idx="5230">
                  <c:v>2.7969499999999998</c:v>
                </c:pt>
                <c:pt idx="5231">
                  <c:v>2.6220300000000001</c:v>
                </c:pt>
                <c:pt idx="5232">
                  <c:v>#N/A</c:v>
                </c:pt>
                <c:pt idx="5233">
                  <c:v>2.6775899999999999</c:v>
                </c:pt>
                <c:pt idx="5234">
                  <c:v>2.5365500000000001</c:v>
                </c:pt>
                <c:pt idx="5235">
                  <c:v>3.2215500000000001</c:v>
                </c:pt>
                <c:pt idx="5236">
                  <c:v>#N/A</c:v>
                </c:pt>
                <c:pt idx="5237">
                  <c:v>2.9564900000000001</c:v>
                </c:pt>
                <c:pt idx="5238">
                  <c:v>2.3783599999999998</c:v>
                </c:pt>
                <c:pt idx="5239">
                  <c:v>2.3406400000000001</c:v>
                </c:pt>
                <c:pt idx="5240">
                  <c:v>2.4696699999999998</c:v>
                </c:pt>
                <c:pt idx="5241">
                  <c:v>#N/A</c:v>
                </c:pt>
                <c:pt idx="5242">
                  <c:v>2.02949</c:v>
                </c:pt>
                <c:pt idx="5243">
                  <c:v>2.7759800000000001</c:v>
                </c:pt>
                <c:pt idx="5244">
                  <c:v>2.9064899999999998</c:v>
                </c:pt>
                <c:pt idx="5245">
                  <c:v>#N/A</c:v>
                </c:pt>
                <c:pt idx="5246">
                  <c:v>3.3763399999999999</c:v>
                </c:pt>
                <c:pt idx="5247">
                  <c:v>2.80246</c:v>
                </c:pt>
                <c:pt idx="5248">
                  <c:v>2.9584800000000002</c:v>
                </c:pt>
                <c:pt idx="5249">
                  <c:v>2.96075</c:v>
                </c:pt>
                <c:pt idx="5250">
                  <c:v>#N/A</c:v>
                </c:pt>
                <c:pt idx="5251">
                  <c:v>2.4421400000000002</c:v>
                </c:pt>
                <c:pt idx="5252">
                  <c:v>2.7530199999999998</c:v>
                </c:pt>
                <c:pt idx="5253">
                  <c:v>2.5891700000000002</c:v>
                </c:pt>
                <c:pt idx="5254">
                  <c:v>#N/A</c:v>
                </c:pt>
                <c:pt idx="5255">
                  <c:v>2.7444299999999999</c:v>
                </c:pt>
                <c:pt idx="5256">
                  <c:v>2.3693900000000001</c:v>
                </c:pt>
                <c:pt idx="5257">
                  <c:v>3.1410900000000002</c:v>
                </c:pt>
                <c:pt idx="5258">
                  <c:v>#N/A</c:v>
                </c:pt>
                <c:pt idx="5259">
                  <c:v>2.25942</c:v>
                </c:pt>
                <c:pt idx="5260">
                  <c:v>2.6559300000000001</c:v>
                </c:pt>
                <c:pt idx="5261">
                  <c:v>#N/A</c:v>
                </c:pt>
                <c:pt idx="5262">
                  <c:v>2.7777599999999998</c:v>
                </c:pt>
                <c:pt idx="5263">
                  <c:v>2.62012</c:v>
                </c:pt>
                <c:pt idx="5264">
                  <c:v>#N/A</c:v>
                </c:pt>
                <c:pt idx="5265">
                  <c:v>2.7282799999999998</c:v>
                </c:pt>
                <c:pt idx="5266">
                  <c:v>2.70424</c:v>
                </c:pt>
                <c:pt idx="5267">
                  <c:v>3.14594</c:v>
                </c:pt>
                <c:pt idx="5268">
                  <c:v>#N/A</c:v>
                </c:pt>
                <c:pt idx="5269">
                  <c:v>3.0979899999999998</c:v>
                </c:pt>
                <c:pt idx="5270">
                  <c:v>2.7847400000000002</c:v>
                </c:pt>
                <c:pt idx="5271">
                  <c:v>3.0324800000000001</c:v>
                </c:pt>
                <c:pt idx="5272">
                  <c:v>3.17448</c:v>
                </c:pt>
                <c:pt idx="5273">
                  <c:v>#N/A</c:v>
                </c:pt>
                <c:pt idx="5274">
                  <c:v>3.2704599999999999</c:v>
                </c:pt>
                <c:pt idx="5275">
                  <c:v>2.7059000000000002</c:v>
                </c:pt>
                <c:pt idx="5276">
                  <c:v>2.3634900000000001</c:v>
                </c:pt>
                <c:pt idx="5277">
                  <c:v>#N/A</c:v>
                </c:pt>
                <c:pt idx="5278">
                  <c:v>2.5615999999999999</c:v>
                </c:pt>
                <c:pt idx="5279">
                  <c:v>2.3864200000000002</c:v>
                </c:pt>
                <c:pt idx="5280">
                  <c:v>2.2998599999999998</c:v>
                </c:pt>
                <c:pt idx="5281">
                  <c:v>2.7761300000000002</c:v>
                </c:pt>
                <c:pt idx="5282">
                  <c:v>#N/A</c:v>
                </c:pt>
                <c:pt idx="5283">
                  <c:v>2.48393</c:v>
                </c:pt>
                <c:pt idx="5284">
                  <c:v>2.7817099999999999</c:v>
                </c:pt>
                <c:pt idx="5285">
                  <c:v>2.4325000000000001</c:v>
                </c:pt>
                <c:pt idx="5286">
                  <c:v>2.8454700000000002</c:v>
                </c:pt>
                <c:pt idx="5287">
                  <c:v>#N/A</c:v>
                </c:pt>
                <c:pt idx="5288">
                  <c:v>2.3285800000000001</c:v>
                </c:pt>
                <c:pt idx="5289">
                  <c:v>2.60799</c:v>
                </c:pt>
                <c:pt idx="5290">
                  <c:v>2.5372699999999999</c:v>
                </c:pt>
                <c:pt idx="5291">
                  <c:v>#N/A</c:v>
                </c:pt>
                <c:pt idx="5292">
                  <c:v>3.3802099999999999</c:v>
                </c:pt>
                <c:pt idx="5293">
                  <c:v>2.91534</c:v>
                </c:pt>
                <c:pt idx="5294">
                  <c:v>3.2540800000000001</c:v>
                </c:pt>
                <c:pt idx="5295">
                  <c:v>#N/A</c:v>
                </c:pt>
                <c:pt idx="5296">
                  <c:v>3.1779199999999999</c:v>
                </c:pt>
                <c:pt idx="5297">
                  <c:v>2.8158699999999999</c:v>
                </c:pt>
                <c:pt idx="5298">
                  <c:v>1.9817499999999999</c:v>
                </c:pt>
                <c:pt idx="5299">
                  <c:v>1.96244</c:v>
                </c:pt>
                <c:pt idx="5300">
                  <c:v>#N/A</c:v>
                </c:pt>
                <c:pt idx="5301">
                  <c:v>2.77406</c:v>
                </c:pt>
                <c:pt idx="5302">
                  <c:v>2.68242</c:v>
                </c:pt>
                <c:pt idx="5303">
                  <c:v>2.8395999999999999</c:v>
                </c:pt>
                <c:pt idx="5304">
                  <c:v>#N/A</c:v>
                </c:pt>
                <c:pt idx="5305">
                  <c:v>3.3734799999999998</c:v>
                </c:pt>
                <c:pt idx="5306">
                  <c:v>3.23664</c:v>
                </c:pt>
                <c:pt idx="5307">
                  <c:v>3.22485</c:v>
                </c:pt>
                <c:pt idx="5308">
                  <c:v>2.9314100000000001</c:v>
                </c:pt>
                <c:pt idx="5309">
                  <c:v>#N/A</c:v>
                </c:pt>
                <c:pt idx="5310">
                  <c:v>2.8020399999999999</c:v>
                </c:pt>
                <c:pt idx="5311">
                  <c:v>2.7153299999999998</c:v>
                </c:pt>
                <c:pt idx="5312">
                  <c:v>2.89716</c:v>
                </c:pt>
                <c:pt idx="5313">
                  <c:v>3.0573700000000001</c:v>
                </c:pt>
                <c:pt idx="5314">
                  <c:v>#N/A</c:v>
                </c:pt>
                <c:pt idx="5315">
                  <c:v>3.0811500000000001</c:v>
                </c:pt>
                <c:pt idx="5316">
                  <c:v>2.8089499999999998</c:v>
                </c:pt>
                <c:pt idx="5317">
                  <c:v>2.7288899999999998</c:v>
                </c:pt>
                <c:pt idx="5318">
                  <c:v>#N/A</c:v>
                </c:pt>
                <c:pt idx="5319">
                  <c:v>2.53301</c:v>
                </c:pt>
                <c:pt idx="5320">
                  <c:v>2.2029000000000001</c:v>
                </c:pt>
                <c:pt idx="5321">
                  <c:v>1.95991</c:v>
                </c:pt>
                <c:pt idx="5322">
                  <c:v>#N/A</c:v>
                </c:pt>
                <c:pt idx="5323">
                  <c:v>2.4251399999999999</c:v>
                </c:pt>
                <c:pt idx="5324">
                  <c:v>2.8433899999999999</c:v>
                </c:pt>
                <c:pt idx="5325">
                  <c:v>3.0038999999999998</c:v>
                </c:pt>
                <c:pt idx="5326">
                  <c:v>#N/A</c:v>
                </c:pt>
                <c:pt idx="5327">
                  <c:v>2.8999000000000001</c:v>
                </c:pt>
                <c:pt idx="5328">
                  <c:v>3.0661200000000002</c:v>
                </c:pt>
                <c:pt idx="5329">
                  <c:v>2.8079399999999999</c:v>
                </c:pt>
                <c:pt idx="5330">
                  <c:v>#N/A</c:v>
                </c:pt>
                <c:pt idx="5331">
                  <c:v>2.9766900000000001</c:v>
                </c:pt>
                <c:pt idx="5332">
                  <c:v>2.9700299999999999</c:v>
                </c:pt>
                <c:pt idx="5333">
                  <c:v>3.3851499999999999</c:v>
                </c:pt>
                <c:pt idx="5334">
                  <c:v>#N/A</c:v>
                </c:pt>
                <c:pt idx="5335">
                  <c:v>2.91736</c:v>
                </c:pt>
                <c:pt idx="5336">
                  <c:v>3.1640799999999998</c:v>
                </c:pt>
                <c:pt idx="5337">
                  <c:v>2.9659599999999999</c:v>
                </c:pt>
                <c:pt idx="5338">
                  <c:v>2.80132</c:v>
                </c:pt>
                <c:pt idx="5339">
                  <c:v>#N/A</c:v>
                </c:pt>
                <c:pt idx="5340">
                  <c:v>2.6284999999999998</c:v>
                </c:pt>
                <c:pt idx="5341">
                  <c:v>2.55281</c:v>
                </c:pt>
                <c:pt idx="5342">
                  <c:v>2.7973599999999998</c:v>
                </c:pt>
                <c:pt idx="5343">
                  <c:v>#N/A</c:v>
                </c:pt>
                <c:pt idx="5344">
                  <c:v>2.2707799999999998</c:v>
                </c:pt>
                <c:pt idx="5345">
                  <c:v>2.25122</c:v>
                </c:pt>
                <c:pt idx="5346">
                  <c:v>2.5722399999999999</c:v>
                </c:pt>
                <c:pt idx="5347">
                  <c:v>2.4070100000000001</c:v>
                </c:pt>
                <c:pt idx="5348">
                  <c:v>#N/A</c:v>
                </c:pt>
                <c:pt idx="5349">
                  <c:v>2.5026000000000002</c:v>
                </c:pt>
                <c:pt idx="5350">
                  <c:v>2.7149200000000002</c:v>
                </c:pt>
                <c:pt idx="5351">
                  <c:v>2.8196500000000002</c:v>
                </c:pt>
                <c:pt idx="5352">
                  <c:v>#N/A</c:v>
                </c:pt>
                <c:pt idx="5353">
                  <c:v>2.79677</c:v>
                </c:pt>
                <c:pt idx="5354">
                  <c:v>2.8038500000000002</c:v>
                </c:pt>
                <c:pt idx="5355">
                  <c:v>3.1055600000000001</c:v>
                </c:pt>
                <c:pt idx="5356">
                  <c:v>2.7506599999999999</c:v>
                </c:pt>
                <c:pt idx="5357">
                  <c:v>#N/A</c:v>
                </c:pt>
                <c:pt idx="5358">
                  <c:v>2.09483</c:v>
                </c:pt>
                <c:pt idx="5359">
                  <c:v>2.3921899999999998</c:v>
                </c:pt>
                <c:pt idx="5360">
                  <c:v>2.7877299999999998</c:v>
                </c:pt>
                <c:pt idx="5361">
                  <c:v>#N/A</c:v>
                </c:pt>
                <c:pt idx="5362">
                  <c:v>2.8373499999999998</c:v>
                </c:pt>
                <c:pt idx="5363">
                  <c:v>2.7187199999999998</c:v>
                </c:pt>
                <c:pt idx="5364">
                  <c:v>3.0188000000000001</c:v>
                </c:pt>
                <c:pt idx="5365">
                  <c:v>3.0269499999999998</c:v>
                </c:pt>
                <c:pt idx="5366">
                  <c:v>#N/A</c:v>
                </c:pt>
                <c:pt idx="5367">
                  <c:v>2.58833</c:v>
                </c:pt>
                <c:pt idx="5368">
                  <c:v>2.5564</c:v>
                </c:pt>
                <c:pt idx="5369">
                  <c:v>2.4331800000000001</c:v>
                </c:pt>
                <c:pt idx="5370">
                  <c:v>#N/A</c:v>
                </c:pt>
                <c:pt idx="5371">
                  <c:v>2.2968600000000001</c:v>
                </c:pt>
                <c:pt idx="5372">
                  <c:v>2.7446600000000001</c:v>
                </c:pt>
                <c:pt idx="5373">
                  <c:v>2.8199000000000001</c:v>
                </c:pt>
                <c:pt idx="5374">
                  <c:v>2.8155999999999999</c:v>
                </c:pt>
                <c:pt idx="5375">
                  <c:v>#N/A</c:v>
                </c:pt>
                <c:pt idx="5376">
                  <c:v>2.6668799999999999</c:v>
                </c:pt>
                <c:pt idx="5377">
                  <c:v>2.70722</c:v>
                </c:pt>
                <c:pt idx="5378">
                  <c:v>2.3280699999999999</c:v>
                </c:pt>
                <c:pt idx="5379">
                  <c:v>#N/A</c:v>
                </c:pt>
                <c:pt idx="5380">
                  <c:v>2.15829</c:v>
                </c:pt>
                <c:pt idx="5381">
                  <c:v>1.7878499999999999</c:v>
                </c:pt>
                <c:pt idx="5382">
                  <c:v>2.56318</c:v>
                </c:pt>
                <c:pt idx="5383">
                  <c:v>2.55416</c:v>
                </c:pt>
                <c:pt idx="5384">
                  <c:v>#N/A</c:v>
                </c:pt>
                <c:pt idx="5385">
                  <c:v>2.7161300000000002</c:v>
                </c:pt>
                <c:pt idx="5386">
                  <c:v>2.9765999999999999</c:v>
                </c:pt>
                <c:pt idx="5387">
                  <c:v>2.6901600000000001</c:v>
                </c:pt>
                <c:pt idx="5388">
                  <c:v>#N/A</c:v>
                </c:pt>
                <c:pt idx="5389">
                  <c:v>2.3288199999999999</c:v>
                </c:pt>
                <c:pt idx="5390">
                  <c:v>2.7056200000000001</c:v>
                </c:pt>
                <c:pt idx="5391">
                  <c:v>2.7205599999999999</c:v>
                </c:pt>
                <c:pt idx="5392">
                  <c:v>#N/A</c:v>
                </c:pt>
                <c:pt idx="5393">
                  <c:v>2.9182199999999998</c:v>
                </c:pt>
                <c:pt idx="5394">
                  <c:v>2.9227599999999998</c:v>
                </c:pt>
                <c:pt idx="5395">
                  <c:v>2.8475000000000001</c:v>
                </c:pt>
                <c:pt idx="5396">
                  <c:v>2.6469999999999998</c:v>
                </c:pt>
                <c:pt idx="5397">
                  <c:v>#N/A</c:v>
                </c:pt>
                <c:pt idx="5398">
                  <c:v>2.0294400000000001</c:v>
                </c:pt>
                <c:pt idx="5399">
                  <c:v>1.75051</c:v>
                </c:pt>
                <c:pt idx="5400">
                  <c:v>#N/A</c:v>
                </c:pt>
                <c:pt idx="5401">
                  <c:v>2.21218</c:v>
                </c:pt>
                <c:pt idx="5402">
                  <c:v>2.28756</c:v>
                </c:pt>
                <c:pt idx="5403">
                  <c:v>#N/A</c:v>
                </c:pt>
                <c:pt idx="5404">
                  <c:v>2.4343499999999998</c:v>
                </c:pt>
                <c:pt idx="5405">
                  <c:v>2.60405</c:v>
                </c:pt>
                <c:pt idx="5406">
                  <c:v>2.85948</c:v>
                </c:pt>
                <c:pt idx="5407">
                  <c:v>#N/A</c:v>
                </c:pt>
                <c:pt idx="5408">
                  <c:v>2.8197399999999999</c:v>
                </c:pt>
                <c:pt idx="5409">
                  <c:v>2.7742300000000002</c:v>
                </c:pt>
                <c:pt idx="5410">
                  <c:v>3.3621400000000001</c:v>
                </c:pt>
                <c:pt idx="5411">
                  <c:v>#N/A</c:v>
                </c:pt>
                <c:pt idx="5412">
                  <c:v>3.1954400000000001</c:v>
                </c:pt>
                <c:pt idx="5413">
                  <c:v>3.3422299999999998</c:v>
                </c:pt>
                <c:pt idx="5414">
                  <c:v>3.0934900000000001</c:v>
                </c:pt>
                <c:pt idx="5415">
                  <c:v>2.8315600000000001</c:v>
                </c:pt>
                <c:pt idx="5416">
                  <c:v>#N/A</c:v>
                </c:pt>
                <c:pt idx="5417">
                  <c:v>2.5116499999999999</c:v>
                </c:pt>
                <c:pt idx="5418">
                  <c:v>2.3599000000000001</c:v>
                </c:pt>
                <c:pt idx="5419">
                  <c:v>2.20167</c:v>
                </c:pt>
                <c:pt idx="5420">
                  <c:v>#N/A</c:v>
                </c:pt>
                <c:pt idx="5421">
                  <c:v>2.7241200000000001</c:v>
                </c:pt>
                <c:pt idx="5422">
                  <c:v>2.6416599999999999</c:v>
                </c:pt>
                <c:pt idx="5423">
                  <c:v>2.42456</c:v>
                </c:pt>
                <c:pt idx="5424">
                  <c:v>2.5722100000000001</c:v>
                </c:pt>
                <c:pt idx="5425">
                  <c:v>#N/A</c:v>
                </c:pt>
                <c:pt idx="5426">
                  <c:v>2.30687</c:v>
                </c:pt>
                <c:pt idx="5427">
                  <c:v>2.75665</c:v>
                </c:pt>
                <c:pt idx="5428">
                  <c:v>2.8331499999999998</c:v>
                </c:pt>
                <c:pt idx="5429">
                  <c:v>#N/A</c:v>
                </c:pt>
                <c:pt idx="5430">
                  <c:v>3.0251999999999999</c:v>
                </c:pt>
                <c:pt idx="5431">
                  <c:v>2.8461699999999999</c:v>
                </c:pt>
                <c:pt idx="5432">
                  <c:v>2.8148300000000002</c:v>
                </c:pt>
                <c:pt idx="5433">
                  <c:v>#N/A</c:v>
                </c:pt>
                <c:pt idx="5434">
                  <c:v>2.7989700000000002</c:v>
                </c:pt>
                <c:pt idx="5435">
                  <c:v>3.0670500000000001</c:v>
                </c:pt>
                <c:pt idx="5436">
                  <c:v>2.6221199999999998</c:v>
                </c:pt>
                <c:pt idx="5437">
                  <c:v>2.6011500000000001</c:v>
                </c:pt>
                <c:pt idx="5438">
                  <c:v>#N/A</c:v>
                </c:pt>
                <c:pt idx="5439">
                  <c:v>2.4269099999999999</c:v>
                </c:pt>
                <c:pt idx="5440">
                  <c:v>2.4847700000000001</c:v>
                </c:pt>
                <c:pt idx="5441">
                  <c:v>2.30552</c:v>
                </c:pt>
                <c:pt idx="5442">
                  <c:v>2.90306</c:v>
                </c:pt>
                <c:pt idx="5443">
                  <c:v>#N/A</c:v>
                </c:pt>
                <c:pt idx="5444">
                  <c:v>3.1177899999999998</c:v>
                </c:pt>
                <c:pt idx="5445">
                  <c:v>2.8780299999999999</c:v>
                </c:pt>
                <c:pt idx="5446">
                  <c:v>2.6536900000000001</c:v>
                </c:pt>
                <c:pt idx="5447">
                  <c:v>#N/A</c:v>
                </c:pt>
                <c:pt idx="5448">
                  <c:v>2.8501500000000002</c:v>
                </c:pt>
                <c:pt idx="5449">
                  <c:v>2.8336999999999999</c:v>
                </c:pt>
                <c:pt idx="5450">
                  <c:v>2.5640999999999998</c:v>
                </c:pt>
                <c:pt idx="5451">
                  <c:v>3.76172</c:v>
                </c:pt>
                <c:pt idx="5452">
                  <c:v>#N/A</c:v>
                </c:pt>
                <c:pt idx="5453">
                  <c:v>3.15524</c:v>
                </c:pt>
                <c:pt idx="5454">
                  <c:v>3.2671899999999998</c:v>
                </c:pt>
                <c:pt idx="5455">
                  <c:v>2.69157</c:v>
                </c:pt>
                <c:pt idx="5456">
                  <c:v>#N/A</c:v>
                </c:pt>
                <c:pt idx="5457">
                  <c:v>2.4962</c:v>
                </c:pt>
                <c:pt idx="5458">
                  <c:v>2.31732</c:v>
                </c:pt>
                <c:pt idx="5459">
                  <c:v>2.55185</c:v>
                </c:pt>
                <c:pt idx="5460">
                  <c:v>#N/A</c:v>
                </c:pt>
                <c:pt idx="5461">
                  <c:v>1.88635</c:v>
                </c:pt>
                <c:pt idx="5462">
                  <c:v>2.3464900000000002</c:v>
                </c:pt>
                <c:pt idx="5463">
                  <c:v>1.97058</c:v>
                </c:pt>
                <c:pt idx="5464">
                  <c:v>#N/A</c:v>
                </c:pt>
                <c:pt idx="5465">
                  <c:v>2.3693200000000001</c:v>
                </c:pt>
                <c:pt idx="5466">
                  <c:v>2.66892</c:v>
                </c:pt>
                <c:pt idx="5467">
                  <c:v>2.64846</c:v>
                </c:pt>
                <c:pt idx="5468">
                  <c:v>2.6926700000000001</c:v>
                </c:pt>
                <c:pt idx="5469">
                  <c:v>#N/A</c:v>
                </c:pt>
                <c:pt idx="5470">
                  <c:v>2.5577999999999999</c:v>
                </c:pt>
                <c:pt idx="5471">
                  <c:v>2.5324</c:v>
                </c:pt>
                <c:pt idx="5472">
                  <c:v>2.7063700000000002</c:v>
                </c:pt>
                <c:pt idx="5473">
                  <c:v>#N/A</c:v>
                </c:pt>
                <c:pt idx="5474">
                  <c:v>2.46252</c:v>
                </c:pt>
                <c:pt idx="5475">
                  <c:v>3.1143800000000001</c:v>
                </c:pt>
                <c:pt idx="5476">
                  <c:v>#N/A</c:v>
                </c:pt>
                <c:pt idx="5477">
                  <c:v>2.8093400000000002</c:v>
                </c:pt>
                <c:pt idx="5478">
                  <c:v>2.3486400000000001</c:v>
                </c:pt>
                <c:pt idx="5479">
                  <c:v>1.9869600000000001</c:v>
                </c:pt>
                <c:pt idx="5480">
                  <c:v>2.40842</c:v>
                </c:pt>
                <c:pt idx="5481">
                  <c:v>#N/A</c:v>
                </c:pt>
                <c:pt idx="5482">
                  <c:v>2.1863800000000002</c:v>
                </c:pt>
                <c:pt idx="5483">
                  <c:v>2.3362699999999998</c:v>
                </c:pt>
                <c:pt idx="5484">
                  <c:v>2.6591800000000001</c:v>
                </c:pt>
                <c:pt idx="5485">
                  <c:v>#N/A</c:v>
                </c:pt>
                <c:pt idx="5486">
                  <c:v>2.3278099999999999</c:v>
                </c:pt>
                <c:pt idx="5487">
                  <c:v>2.2055500000000001</c:v>
                </c:pt>
                <c:pt idx="5488">
                  <c:v>2.12934</c:v>
                </c:pt>
                <c:pt idx="5489">
                  <c:v>#N/A</c:v>
                </c:pt>
                <c:pt idx="5490">
                  <c:v>2.6107800000000001</c:v>
                </c:pt>
                <c:pt idx="5491">
                  <c:v>2.77556</c:v>
                </c:pt>
                <c:pt idx="5492">
                  <c:v>2.9321999999999999</c:v>
                </c:pt>
                <c:pt idx="5493">
                  <c:v>2.64045</c:v>
                </c:pt>
                <c:pt idx="5494">
                  <c:v>#N/A</c:v>
                </c:pt>
                <c:pt idx="5495">
                  <c:v>2.5722900000000002</c:v>
                </c:pt>
                <c:pt idx="5496">
                  <c:v>2.1439599999999999</c:v>
                </c:pt>
                <c:pt idx="5497">
                  <c:v>1.5639700000000001</c:v>
                </c:pt>
                <c:pt idx="5498">
                  <c:v>2.1097299999999999</c:v>
                </c:pt>
                <c:pt idx="5499">
                  <c:v>#N/A</c:v>
                </c:pt>
                <c:pt idx="5500">
                  <c:v>2.05694</c:v>
                </c:pt>
                <c:pt idx="5501">
                  <c:v>1.9025000000000001</c:v>
                </c:pt>
                <c:pt idx="5502">
                  <c:v>2.24505</c:v>
                </c:pt>
                <c:pt idx="5503">
                  <c:v>#N/A</c:v>
                </c:pt>
                <c:pt idx="5504">
                  <c:v>2.4657300000000002</c:v>
                </c:pt>
                <c:pt idx="5505">
                  <c:v>2.3501099999999999</c:v>
                </c:pt>
                <c:pt idx="5506">
                  <c:v>2.4016999999999999</c:v>
                </c:pt>
                <c:pt idx="5507">
                  <c:v>2.32646</c:v>
                </c:pt>
                <c:pt idx="5508">
                  <c:v>#N/A</c:v>
                </c:pt>
                <c:pt idx="5509">
                  <c:v>1.90066</c:v>
                </c:pt>
                <c:pt idx="5510">
                  <c:v>2.4585699999999999</c:v>
                </c:pt>
                <c:pt idx="5511">
                  <c:v>2.8615900000000001</c:v>
                </c:pt>
                <c:pt idx="5512">
                  <c:v>#N/A</c:v>
                </c:pt>
                <c:pt idx="5513">
                  <c:v>3.0189499999999998</c:v>
                </c:pt>
                <c:pt idx="5514">
                  <c:v>2.7349600000000001</c:v>
                </c:pt>
                <c:pt idx="5515">
                  <c:v>2.5198</c:v>
                </c:pt>
                <c:pt idx="5516">
                  <c:v>2.17028</c:v>
                </c:pt>
                <c:pt idx="5517">
                  <c:v>#N/A</c:v>
                </c:pt>
                <c:pt idx="5518">
                  <c:v>1.6027100000000001</c:v>
                </c:pt>
                <c:pt idx="5519">
                  <c:v>1.2078599999999999</c:v>
                </c:pt>
                <c:pt idx="5520">
                  <c:v>1.74234</c:v>
                </c:pt>
                <c:pt idx="5521">
                  <c:v>#N/A</c:v>
                </c:pt>
                <c:pt idx="5522">
                  <c:v>1.94611</c:v>
                </c:pt>
                <c:pt idx="5523">
                  <c:v>2.5451600000000001</c:v>
                </c:pt>
                <c:pt idx="5524">
                  <c:v>1.9810700000000001</c:v>
                </c:pt>
                <c:pt idx="5525">
                  <c:v>#N/A</c:v>
                </c:pt>
                <c:pt idx="5526">
                  <c:v>2.5110899999999998</c:v>
                </c:pt>
                <c:pt idx="5527">
                  <c:v>2.54976</c:v>
                </c:pt>
                <c:pt idx="5528">
                  <c:v>2.2276899999999999</c:v>
                </c:pt>
                <c:pt idx="5529">
                  <c:v>2.4332099999999999</c:v>
                </c:pt>
                <c:pt idx="5530">
                  <c:v>#N/A</c:v>
                </c:pt>
                <c:pt idx="5531">
                  <c:v>2.0041600000000002</c:v>
                </c:pt>
                <c:pt idx="5532">
                  <c:v>1.61321</c:v>
                </c:pt>
                <c:pt idx="5533">
                  <c:v>2.46408</c:v>
                </c:pt>
                <c:pt idx="5534">
                  <c:v>#N/A</c:v>
                </c:pt>
                <c:pt idx="5535">
                  <c:v>2.9432</c:v>
                </c:pt>
                <c:pt idx="5536">
                  <c:v>2.48468</c:v>
                </c:pt>
                <c:pt idx="5537">
                  <c:v>2.2355800000000001</c:v>
                </c:pt>
                <c:pt idx="5538">
                  <c:v>1.7555499999999999</c:v>
                </c:pt>
                <c:pt idx="5539">
                  <c:v>#N/A</c:v>
                </c:pt>
                <c:pt idx="5540">
                  <c:v>1.5493600000000001</c:v>
                </c:pt>
                <c:pt idx="5541">
                  <c:v>1.5523800000000001</c:v>
                </c:pt>
                <c:pt idx="5542">
                  <c:v>1.7224999999999999</c:v>
                </c:pt>
                <c:pt idx="5543">
                  <c:v>#N/A</c:v>
                </c:pt>
                <c:pt idx="5544">
                  <c:v>2.4293200000000001</c:v>
                </c:pt>
                <c:pt idx="5545">
                  <c:v>2.6373600000000001</c:v>
                </c:pt>
                <c:pt idx="5546">
                  <c:v>#N/A</c:v>
                </c:pt>
                <c:pt idx="5547">
                  <c:v>2.6934</c:v>
                </c:pt>
                <c:pt idx="5548">
                  <c:v>#N/A</c:v>
                </c:pt>
                <c:pt idx="5549">
                  <c:v>2.56419</c:v>
                </c:pt>
                <c:pt idx="5550">
                  <c:v>2.4522599999999999</c:v>
                </c:pt>
                <c:pt idx="5551">
                  <c:v>2.73421</c:v>
                </c:pt>
                <c:pt idx="5552">
                  <c:v>#N/A</c:v>
                </c:pt>
                <c:pt idx="5553">
                  <c:v>2.33385</c:v>
                </c:pt>
                <c:pt idx="5554">
                  <c:v>2.0897199999999998</c:v>
                </c:pt>
                <c:pt idx="5555">
                  <c:v>1.86538</c:v>
                </c:pt>
                <c:pt idx="5556">
                  <c:v>#N/A</c:v>
                </c:pt>
                <c:pt idx="5557">
                  <c:v>2.5567700000000002</c:v>
                </c:pt>
                <c:pt idx="5558">
                  <c:v>2.28857</c:v>
                </c:pt>
                <c:pt idx="5559">
                  <c:v>2.1010200000000001</c:v>
                </c:pt>
                <c:pt idx="5560">
                  <c:v>2.50936</c:v>
                </c:pt>
                <c:pt idx="5561">
                  <c:v>#N/A</c:v>
                </c:pt>
                <c:pt idx="5562">
                  <c:v>2.2333099999999999</c:v>
                </c:pt>
                <c:pt idx="5563">
                  <c:v>1.9180900000000001</c:v>
                </c:pt>
                <c:pt idx="5564">
                  <c:v>2.4377599999999999</c:v>
                </c:pt>
                <c:pt idx="5565">
                  <c:v>1.94645</c:v>
                </c:pt>
                <c:pt idx="5566">
                  <c:v>#N/A</c:v>
                </c:pt>
                <c:pt idx="5567">
                  <c:v>2.2768099999999998</c:v>
                </c:pt>
                <c:pt idx="5568">
                  <c:v>2.70004</c:v>
                </c:pt>
                <c:pt idx="5569">
                  <c:v>2.16614</c:v>
                </c:pt>
                <c:pt idx="5570">
                  <c:v>#N/A</c:v>
                </c:pt>
                <c:pt idx="5571">
                  <c:v>2.72858</c:v>
                </c:pt>
                <c:pt idx="5572">
                  <c:v>2.4958200000000001</c:v>
                </c:pt>
                <c:pt idx="5573">
                  <c:v>2.9112399999999998</c:v>
                </c:pt>
                <c:pt idx="5574">
                  <c:v>#N/A</c:v>
                </c:pt>
                <c:pt idx="5575">
                  <c:v>2.66818</c:v>
                </c:pt>
                <c:pt idx="5576">
                  <c:v>1.7031000000000001</c:v>
                </c:pt>
                <c:pt idx="5577">
                  <c:v>1.3355999999999999</c:v>
                </c:pt>
                <c:pt idx="5578">
                  <c:v>1.65696</c:v>
                </c:pt>
                <c:pt idx="5579">
                  <c:v>#N/A</c:v>
                </c:pt>
                <c:pt idx="5580">
                  <c:v>1.58752</c:v>
                </c:pt>
                <c:pt idx="5581">
                  <c:v>2.37296</c:v>
                </c:pt>
                <c:pt idx="5582">
                  <c:v>2.6015899999999998</c:v>
                </c:pt>
                <c:pt idx="5583">
                  <c:v>#N/A</c:v>
                </c:pt>
                <c:pt idx="5584">
                  <c:v>2.5183</c:v>
                </c:pt>
                <c:pt idx="5585">
                  <c:v>2.37215</c:v>
                </c:pt>
                <c:pt idx="5586">
                  <c:v>2.3910399999999998</c:v>
                </c:pt>
                <c:pt idx="5587">
                  <c:v>2.0471200000000001</c:v>
                </c:pt>
                <c:pt idx="5588">
                  <c:v>#N/A</c:v>
                </c:pt>
                <c:pt idx="5589">
                  <c:v>2.0728900000000001</c:v>
                </c:pt>
                <c:pt idx="5590">
                  <c:v>2.13808</c:v>
                </c:pt>
                <c:pt idx="5591">
                  <c:v>3.0546899999999999</c:v>
                </c:pt>
                <c:pt idx="5592">
                  <c:v>#N/A</c:v>
                </c:pt>
                <c:pt idx="5593">
                  <c:v>2.7907099999999998</c:v>
                </c:pt>
                <c:pt idx="5594">
                  <c:v>2.59076</c:v>
                </c:pt>
                <c:pt idx="5595">
                  <c:v>2.4584600000000001</c:v>
                </c:pt>
                <c:pt idx="5596">
                  <c:v>#N/A</c:v>
                </c:pt>
                <c:pt idx="5597">
                  <c:v>2.3687</c:v>
                </c:pt>
                <c:pt idx="5598">
                  <c:v>2.0854699999999999</c:v>
                </c:pt>
                <c:pt idx="5599">
                  <c:v>1.84334</c:v>
                </c:pt>
                <c:pt idx="5600">
                  <c:v>#N/A</c:v>
                </c:pt>
                <c:pt idx="5601">
                  <c:v>1.20932</c:v>
                </c:pt>
                <c:pt idx="5602">
                  <c:v>1.84941</c:v>
                </c:pt>
                <c:pt idx="5603">
                  <c:v>1.8581399999999999</c:v>
                </c:pt>
                <c:pt idx="5604">
                  <c:v>2.6512099999999998</c:v>
                </c:pt>
                <c:pt idx="5605">
                  <c:v>#N/A</c:v>
                </c:pt>
                <c:pt idx="5606">
                  <c:v>2.7977799999999999</c:v>
                </c:pt>
                <c:pt idx="5607">
                  <c:v>2.5142500000000001</c:v>
                </c:pt>
                <c:pt idx="5608">
                  <c:v>2.3394400000000002</c:v>
                </c:pt>
                <c:pt idx="5609">
                  <c:v>#N/A</c:v>
                </c:pt>
                <c:pt idx="5610">
                  <c:v>1.9785900000000001</c:v>
                </c:pt>
                <c:pt idx="5611">
                  <c:v>2.4833799999999999</c:v>
                </c:pt>
                <c:pt idx="5612">
                  <c:v>2.23692</c:v>
                </c:pt>
                <c:pt idx="5613">
                  <c:v>2.21217</c:v>
                </c:pt>
                <c:pt idx="5614">
                  <c:v>#N/A</c:v>
                </c:pt>
                <c:pt idx="5615">
                  <c:v>2.51647</c:v>
                </c:pt>
                <c:pt idx="5616">
                  <c:v>2.8105799999999999</c:v>
                </c:pt>
                <c:pt idx="5617">
                  <c:v>#N/A</c:v>
                </c:pt>
                <c:pt idx="5618">
                  <c:v>2.3607399999999998</c:v>
                </c:pt>
                <c:pt idx="5619">
                  <c:v>2.2038000000000002</c:v>
                </c:pt>
                <c:pt idx="5620">
                  <c:v>1.9026099999999999</c:v>
                </c:pt>
                <c:pt idx="5621">
                  <c:v>2.0717599999999998</c:v>
                </c:pt>
                <c:pt idx="5622">
                  <c:v>#N/A</c:v>
                </c:pt>
                <c:pt idx="5623">
                  <c:v>2.1193900000000001</c:v>
                </c:pt>
                <c:pt idx="5624">
                  <c:v>1.97289</c:v>
                </c:pt>
                <c:pt idx="5625">
                  <c:v>2.2972600000000001</c:v>
                </c:pt>
                <c:pt idx="5626">
                  <c:v>#N/A</c:v>
                </c:pt>
                <c:pt idx="5627">
                  <c:v>2.8430800000000001</c:v>
                </c:pt>
                <c:pt idx="5628">
                  <c:v>2.4004699999999999</c:v>
                </c:pt>
                <c:pt idx="5629">
                  <c:v>3.0481400000000001</c:v>
                </c:pt>
                <c:pt idx="5630">
                  <c:v>#N/A</c:v>
                </c:pt>
                <c:pt idx="5631">
                  <c:v>2.8795099999999998</c:v>
                </c:pt>
                <c:pt idx="5632">
                  <c:v>2.5025200000000001</c:v>
                </c:pt>
                <c:pt idx="5633">
                  <c:v>2.0153699999999999</c:v>
                </c:pt>
                <c:pt idx="5634">
                  <c:v>#N/A</c:v>
                </c:pt>
                <c:pt idx="5635">
                  <c:v>1.8122400000000001</c:v>
                </c:pt>
                <c:pt idx="5636">
                  <c:v>2.03288</c:v>
                </c:pt>
                <c:pt idx="5637">
                  <c:v>#N/A</c:v>
                </c:pt>
                <c:pt idx="5638">
                  <c:v>1.2621100000000001</c:v>
                </c:pt>
                <c:pt idx="5639">
                  <c:v>1.80952</c:v>
                </c:pt>
                <c:pt idx="5640">
                  <c:v>2.40286</c:v>
                </c:pt>
                <c:pt idx="5641">
                  <c:v>2.4149500000000002</c:v>
                </c:pt>
                <c:pt idx="5642">
                  <c:v>#N/A</c:v>
                </c:pt>
                <c:pt idx="5643">
                  <c:v>1.7571600000000001</c:v>
                </c:pt>
                <c:pt idx="5644">
                  <c:v>2.1257299999999999</c:v>
                </c:pt>
                <c:pt idx="5645">
                  <c:v>2.2365599999999999</c:v>
                </c:pt>
                <c:pt idx="5646">
                  <c:v>#N/A</c:v>
                </c:pt>
                <c:pt idx="5647">
                  <c:v>2.0817899999999998</c:v>
                </c:pt>
                <c:pt idx="5648">
                  <c:v>2.3840499999999998</c:v>
                </c:pt>
                <c:pt idx="5649">
                  <c:v>2.7990499999999998</c:v>
                </c:pt>
                <c:pt idx="5650">
                  <c:v>2.8419599999999998</c:v>
                </c:pt>
                <c:pt idx="5651">
                  <c:v>#N/A</c:v>
                </c:pt>
                <c:pt idx="5652">
                  <c:v>2.60623</c:v>
                </c:pt>
                <c:pt idx="5653">
                  <c:v>3.1522999999999999</c:v>
                </c:pt>
                <c:pt idx="5654">
                  <c:v>2.5926100000000001</c:v>
                </c:pt>
                <c:pt idx="5655">
                  <c:v>2.3196599999999998</c:v>
                </c:pt>
                <c:pt idx="5656">
                  <c:v>#N/A</c:v>
                </c:pt>
                <c:pt idx="5657">
                  <c:v>1.56873</c:v>
                </c:pt>
                <c:pt idx="5658">
                  <c:v>1.63175</c:v>
                </c:pt>
                <c:pt idx="5659">
                  <c:v>1.42727</c:v>
                </c:pt>
                <c:pt idx="5660">
                  <c:v>#N/A</c:v>
                </c:pt>
                <c:pt idx="5661">
                  <c:v>1.87046</c:v>
                </c:pt>
                <c:pt idx="5662">
                  <c:v>2.5314399999999999</c:v>
                </c:pt>
                <c:pt idx="5663">
                  <c:v>2.1609699999999998</c:v>
                </c:pt>
                <c:pt idx="5664">
                  <c:v>2.35955</c:v>
                </c:pt>
                <c:pt idx="5665">
                  <c:v>#N/A</c:v>
                </c:pt>
                <c:pt idx="5666">
                  <c:v>2.1040899999999998</c:v>
                </c:pt>
                <c:pt idx="5667">
                  <c:v>2.0649700000000002</c:v>
                </c:pt>
                <c:pt idx="5668">
                  <c:v>2.2249599999999998</c:v>
                </c:pt>
                <c:pt idx="5669">
                  <c:v>#N/A</c:v>
                </c:pt>
                <c:pt idx="5670">
                  <c:v>1.99855</c:v>
                </c:pt>
                <c:pt idx="5671">
                  <c:v>1.90232</c:v>
                </c:pt>
                <c:pt idx="5672">
                  <c:v>2.11</c:v>
                </c:pt>
                <c:pt idx="5673">
                  <c:v>2.31365</c:v>
                </c:pt>
                <c:pt idx="5674">
                  <c:v>#N/A</c:v>
                </c:pt>
                <c:pt idx="5675">
                  <c:v>2.66933</c:v>
                </c:pt>
                <c:pt idx="5676">
                  <c:v>2.4095599999999999</c:v>
                </c:pt>
                <c:pt idx="5677">
                  <c:v>2.1255899999999999</c:v>
                </c:pt>
                <c:pt idx="5678">
                  <c:v>#N/A</c:v>
                </c:pt>
                <c:pt idx="5679">
                  <c:v>1.77213</c:v>
                </c:pt>
                <c:pt idx="5680">
                  <c:v>1.6396599999999999</c:v>
                </c:pt>
                <c:pt idx="5681">
                  <c:v>1.5931999999999999</c:v>
                </c:pt>
                <c:pt idx="5682">
                  <c:v>#N/A</c:v>
                </c:pt>
                <c:pt idx="5683">
                  <c:v>2.3261500000000002</c:v>
                </c:pt>
                <c:pt idx="5684">
                  <c:v>2.35202</c:v>
                </c:pt>
                <c:pt idx="5685">
                  <c:v>2.7566000000000002</c:v>
                </c:pt>
                <c:pt idx="5686">
                  <c:v>2.6330399999999998</c:v>
                </c:pt>
                <c:pt idx="5687">
                  <c:v>#N/A</c:v>
                </c:pt>
                <c:pt idx="5688">
                  <c:v>2.45716</c:v>
                </c:pt>
                <c:pt idx="5689">
                  <c:v>2.4378000000000002</c:v>
                </c:pt>
                <c:pt idx="5690">
                  <c:v>2.3059699999999999</c:v>
                </c:pt>
                <c:pt idx="5691">
                  <c:v>2.2173099999999999</c:v>
                </c:pt>
                <c:pt idx="5692">
                  <c:v>#N/A</c:v>
                </c:pt>
                <c:pt idx="5693">
                  <c:v>2.2092700000000001</c:v>
                </c:pt>
                <c:pt idx="5694">
                  <c:v>1.6925600000000001</c:v>
                </c:pt>
                <c:pt idx="5695">
                  <c:v>#N/A</c:v>
                </c:pt>
                <c:pt idx="5696">
                  <c:v>1.9003399999999999</c:v>
                </c:pt>
                <c:pt idx="5697">
                  <c:v>1.81488</c:v>
                </c:pt>
                <c:pt idx="5698">
                  <c:v>1.9260999999999999</c:v>
                </c:pt>
                <c:pt idx="5699">
                  <c:v>2.14039</c:v>
                </c:pt>
                <c:pt idx="5700">
                  <c:v>#N/A</c:v>
                </c:pt>
                <c:pt idx="5701">
                  <c:v>2.0346299999999999</c:v>
                </c:pt>
                <c:pt idx="5702">
                  <c:v>1.7015899999999999</c:v>
                </c:pt>
                <c:pt idx="5703">
                  <c:v>1.8040099999999999</c:v>
                </c:pt>
                <c:pt idx="5704">
                  <c:v>#N/A</c:v>
                </c:pt>
                <c:pt idx="5705">
                  <c:v>2.1197400000000002</c:v>
                </c:pt>
                <c:pt idx="5706">
                  <c:v>2.2115499999999999</c:v>
                </c:pt>
                <c:pt idx="5707">
                  <c:v>2.7535599999999998</c:v>
                </c:pt>
                <c:pt idx="5708">
                  <c:v>2.7424499999999998</c:v>
                </c:pt>
                <c:pt idx="5709">
                  <c:v>#N/A</c:v>
                </c:pt>
                <c:pt idx="5710">
                  <c:v>2.60249</c:v>
                </c:pt>
                <c:pt idx="5711">
                  <c:v>2.93398</c:v>
                </c:pt>
                <c:pt idx="5712">
                  <c:v>2.2745600000000001</c:v>
                </c:pt>
                <c:pt idx="5713">
                  <c:v>#N/A</c:v>
                </c:pt>
                <c:pt idx="5714">
                  <c:v>2.44177</c:v>
                </c:pt>
                <c:pt idx="5715">
                  <c:v>2.4582600000000001</c:v>
                </c:pt>
                <c:pt idx="5716">
                  <c:v>1.5299499999999999</c:v>
                </c:pt>
                <c:pt idx="5717">
                  <c:v>1.7624</c:v>
                </c:pt>
                <c:pt idx="5718">
                  <c:v>#N/A</c:v>
                </c:pt>
                <c:pt idx="5719">
                  <c:v>1.5761799999999999</c:v>
                </c:pt>
                <c:pt idx="5720">
                  <c:v>2.22098</c:v>
                </c:pt>
                <c:pt idx="5721">
                  <c:v>1.9884200000000001</c:v>
                </c:pt>
                <c:pt idx="5722">
                  <c:v>2.5102199999999999</c:v>
                </c:pt>
                <c:pt idx="5723">
                  <c:v>#N/A</c:v>
                </c:pt>
                <c:pt idx="5724">
                  <c:v>2.1239699999999999</c:v>
                </c:pt>
                <c:pt idx="5725">
                  <c:v>2.3777900000000001</c:v>
                </c:pt>
                <c:pt idx="5726">
                  <c:v>2.8665699999999998</c:v>
                </c:pt>
                <c:pt idx="5727">
                  <c:v>#N/A</c:v>
                </c:pt>
                <c:pt idx="5728">
                  <c:v>2.56684</c:v>
                </c:pt>
                <c:pt idx="5729">
                  <c:v>3.0556000000000001</c:v>
                </c:pt>
                <c:pt idx="5730">
                  <c:v>2.8342999999999998</c:v>
                </c:pt>
                <c:pt idx="5731">
                  <c:v>#N/A</c:v>
                </c:pt>
                <c:pt idx="5732">
                  <c:v>2.7004299999999999</c:v>
                </c:pt>
                <c:pt idx="5733">
                  <c:v>2.4733200000000002</c:v>
                </c:pt>
                <c:pt idx="5734">
                  <c:v>2.8753099999999998</c:v>
                </c:pt>
                <c:pt idx="5735">
                  <c:v>2.2204700000000002</c:v>
                </c:pt>
                <c:pt idx="5736">
                  <c:v>#N/A</c:v>
                </c:pt>
                <c:pt idx="5737">
                  <c:v>1.7774399999999999</c:v>
                </c:pt>
                <c:pt idx="5738">
                  <c:v>1.6933100000000001</c:v>
                </c:pt>
                <c:pt idx="5739">
                  <c:v>1.10571</c:v>
                </c:pt>
                <c:pt idx="5740">
                  <c:v>#N/A</c:v>
                </c:pt>
                <c:pt idx="5741">
                  <c:v>0.90377799999999997</c:v>
                </c:pt>
                <c:pt idx="5742">
                  <c:v>1.5003</c:v>
                </c:pt>
                <c:pt idx="5743">
                  <c:v>1.9262900000000001</c:v>
                </c:pt>
                <c:pt idx="5744">
                  <c:v>2.8301699999999999</c:v>
                </c:pt>
                <c:pt idx="5745">
                  <c:v>#N/A</c:v>
                </c:pt>
                <c:pt idx="5746">
                  <c:v>2.5177900000000002</c:v>
                </c:pt>
                <c:pt idx="5747">
                  <c:v>2.3322500000000002</c:v>
                </c:pt>
                <c:pt idx="5748">
                  <c:v>2.2276899999999999</c:v>
                </c:pt>
                <c:pt idx="5749">
                  <c:v>#N/A</c:v>
                </c:pt>
                <c:pt idx="5750">
                  <c:v>2.08569</c:v>
                </c:pt>
                <c:pt idx="5751">
                  <c:v>2.8669799999999999</c:v>
                </c:pt>
                <c:pt idx="5752">
                  <c:v>2.0304700000000002</c:v>
                </c:pt>
                <c:pt idx="5753">
                  <c:v>2.7328999999999999</c:v>
                </c:pt>
                <c:pt idx="5754">
                  <c:v>#N/A</c:v>
                </c:pt>
                <c:pt idx="5755">
                  <c:v>2.56772</c:v>
                </c:pt>
                <c:pt idx="5756">
                  <c:v>2.7990699999999999</c:v>
                </c:pt>
                <c:pt idx="5757">
                  <c:v>2.1052900000000001</c:v>
                </c:pt>
                <c:pt idx="5758">
                  <c:v>#N/A</c:v>
                </c:pt>
                <c:pt idx="5759">
                  <c:v>1.79573</c:v>
                </c:pt>
                <c:pt idx="5760">
                  <c:v>1.9011</c:v>
                </c:pt>
                <c:pt idx="5761">
                  <c:v>#N/A</c:v>
                </c:pt>
                <c:pt idx="5762">
                  <c:v>2.25597</c:v>
                </c:pt>
                <c:pt idx="5763">
                  <c:v>1.9463900000000001</c:v>
                </c:pt>
                <c:pt idx="5764">
                  <c:v>#N/A</c:v>
                </c:pt>
                <c:pt idx="5765">
                  <c:v>2.3582700000000001</c:v>
                </c:pt>
                <c:pt idx="5766">
                  <c:v>2.2265600000000001</c:v>
                </c:pt>
                <c:pt idx="5767">
                  <c:v>2.53857</c:v>
                </c:pt>
                <c:pt idx="5768">
                  <c:v>2.5672100000000002</c:v>
                </c:pt>
                <c:pt idx="5769">
                  <c:v>#N/A</c:v>
                </c:pt>
                <c:pt idx="5770">
                  <c:v>2.4701200000000001</c:v>
                </c:pt>
                <c:pt idx="5771">
                  <c:v>2.8928400000000001</c:v>
                </c:pt>
                <c:pt idx="5772">
                  <c:v>3.2190099999999999</c:v>
                </c:pt>
                <c:pt idx="5773">
                  <c:v>#N/A</c:v>
                </c:pt>
                <c:pt idx="5774">
                  <c:v>2.2123400000000002</c:v>
                </c:pt>
                <c:pt idx="5775">
                  <c:v>1.51074</c:v>
                </c:pt>
                <c:pt idx="5776">
                  <c:v>2.17896</c:v>
                </c:pt>
                <c:pt idx="5777">
                  <c:v>1.97709</c:v>
                </c:pt>
                <c:pt idx="5778">
                  <c:v>#N/A</c:v>
                </c:pt>
                <c:pt idx="5779">
                  <c:v>2.0591200000000001</c:v>
                </c:pt>
                <c:pt idx="5780">
                  <c:v>2.17476</c:v>
                </c:pt>
                <c:pt idx="5781">
                  <c:v>1.9343999999999999</c:v>
                </c:pt>
                <c:pt idx="5782">
                  <c:v>#N/A</c:v>
                </c:pt>
                <c:pt idx="5783">
                  <c:v>1.9540200000000001</c:v>
                </c:pt>
                <c:pt idx="5784">
                  <c:v>2.1551</c:v>
                </c:pt>
                <c:pt idx="5785">
                  <c:v>2.0548500000000001</c:v>
                </c:pt>
                <c:pt idx="5786">
                  <c:v>#N/A</c:v>
                </c:pt>
                <c:pt idx="5787">
                  <c:v>1.82297</c:v>
                </c:pt>
                <c:pt idx="5788">
                  <c:v>1.95055</c:v>
                </c:pt>
                <c:pt idx="5789">
                  <c:v>2.2975300000000001</c:v>
                </c:pt>
                <c:pt idx="5790">
                  <c:v>#N/A</c:v>
                </c:pt>
                <c:pt idx="5791">
                  <c:v>2.2601399999999998</c:v>
                </c:pt>
                <c:pt idx="5792">
                  <c:v>2.40103</c:v>
                </c:pt>
                <c:pt idx="5793">
                  <c:v>2.7127500000000002</c:v>
                </c:pt>
                <c:pt idx="5794">
                  <c:v>#N/A</c:v>
                </c:pt>
                <c:pt idx="5795">
                  <c:v>2.8307000000000002</c:v>
                </c:pt>
                <c:pt idx="5796">
                  <c:v>1.81982</c:v>
                </c:pt>
                <c:pt idx="5797">
                  <c:v>1.50926</c:v>
                </c:pt>
                <c:pt idx="5798">
                  <c:v>1.1468499999999999</c:v>
                </c:pt>
                <c:pt idx="5799">
                  <c:v>#N/A</c:v>
                </c:pt>
                <c:pt idx="5800">
                  <c:v>1.8686100000000001</c:v>
                </c:pt>
                <c:pt idx="5801">
                  <c:v>2.2080000000000002</c:v>
                </c:pt>
                <c:pt idx="5802">
                  <c:v>2.2867999999999999</c:v>
                </c:pt>
                <c:pt idx="5803">
                  <c:v>#N/A</c:v>
                </c:pt>
                <c:pt idx="5804">
                  <c:v>2.5096099999999999</c:v>
                </c:pt>
                <c:pt idx="5805">
                  <c:v>2.2626300000000001</c:v>
                </c:pt>
                <c:pt idx="5806">
                  <c:v>2.0113400000000001</c:v>
                </c:pt>
                <c:pt idx="5807">
                  <c:v>1.7077199999999999</c:v>
                </c:pt>
                <c:pt idx="5808">
                  <c:v>#N/A</c:v>
                </c:pt>
                <c:pt idx="5809">
                  <c:v>1.8557399999999999</c:v>
                </c:pt>
                <c:pt idx="5810">
                  <c:v>1.7192799999999999</c:v>
                </c:pt>
                <c:pt idx="5811">
                  <c:v>1.82104</c:v>
                </c:pt>
                <c:pt idx="5812">
                  <c:v>2.3321900000000002</c:v>
                </c:pt>
                <c:pt idx="5813">
                  <c:v>#N/A</c:v>
                </c:pt>
                <c:pt idx="5814">
                  <c:v>2.38083</c:v>
                </c:pt>
                <c:pt idx="5815">
                  <c:v>2.2633899999999998</c:v>
                </c:pt>
                <c:pt idx="5816">
                  <c:v>#N/A</c:v>
                </c:pt>
                <c:pt idx="5817">
                  <c:v>1.6008500000000001</c:v>
                </c:pt>
                <c:pt idx="5818">
                  <c:v>2.1337199999999998</c:v>
                </c:pt>
                <c:pt idx="5819">
                  <c:v>1.52173</c:v>
                </c:pt>
                <c:pt idx="5820">
                  <c:v>#N/A</c:v>
                </c:pt>
                <c:pt idx="5821">
                  <c:v>1.63269</c:v>
                </c:pt>
                <c:pt idx="5822">
                  <c:v>1.3733</c:v>
                </c:pt>
                <c:pt idx="5823">
                  <c:v>1.9034599999999999</c:v>
                </c:pt>
                <c:pt idx="5824">
                  <c:v>2.51383</c:v>
                </c:pt>
                <c:pt idx="5825">
                  <c:v>#N/A</c:v>
                </c:pt>
                <c:pt idx="5826">
                  <c:v>2.4741</c:v>
                </c:pt>
                <c:pt idx="5827">
                  <c:v>2.6163799999999999</c:v>
                </c:pt>
                <c:pt idx="5828">
                  <c:v>2.39642</c:v>
                </c:pt>
                <c:pt idx="5829">
                  <c:v>#N/A</c:v>
                </c:pt>
                <c:pt idx="5830">
                  <c:v>2.35602</c:v>
                </c:pt>
                <c:pt idx="5831">
                  <c:v>2.0958999999999999</c:v>
                </c:pt>
                <c:pt idx="5832">
                  <c:v>#N/A</c:v>
                </c:pt>
                <c:pt idx="5833">
                  <c:v>1.94356</c:v>
                </c:pt>
                <c:pt idx="5834">
                  <c:v>2.20146</c:v>
                </c:pt>
                <c:pt idx="5835">
                  <c:v>#N/A</c:v>
                </c:pt>
                <c:pt idx="5836">
                  <c:v>2.1237699999999999</c:v>
                </c:pt>
                <c:pt idx="5837">
                  <c:v>1.92733</c:v>
                </c:pt>
                <c:pt idx="5838">
                  <c:v>2.1335099999999998</c:v>
                </c:pt>
                <c:pt idx="5839">
                  <c:v>2.1286299999999998</c:v>
                </c:pt>
                <c:pt idx="5840">
                  <c:v>#N/A</c:v>
                </c:pt>
                <c:pt idx="5841">
                  <c:v>1.8908100000000001</c:v>
                </c:pt>
                <c:pt idx="5842">
                  <c:v>1.7498100000000001</c:v>
                </c:pt>
                <c:pt idx="5843">
                  <c:v>1.66455</c:v>
                </c:pt>
                <c:pt idx="5844">
                  <c:v>#N/A</c:v>
                </c:pt>
                <c:pt idx="5845">
                  <c:v>1.8058399999999999</c:v>
                </c:pt>
                <c:pt idx="5846">
                  <c:v>2.1592799999999999</c:v>
                </c:pt>
                <c:pt idx="5847">
                  <c:v>2.4432</c:v>
                </c:pt>
                <c:pt idx="5848">
                  <c:v>#N/A</c:v>
                </c:pt>
                <c:pt idx="5849">
                  <c:v>2.2711100000000002</c:v>
                </c:pt>
                <c:pt idx="5850">
                  <c:v>2.5045000000000002</c:v>
                </c:pt>
                <c:pt idx="5851">
                  <c:v>2.43886</c:v>
                </c:pt>
                <c:pt idx="5852">
                  <c:v>2.6605400000000001</c:v>
                </c:pt>
                <c:pt idx="5853">
                  <c:v>#N/A</c:v>
                </c:pt>
                <c:pt idx="5854">
                  <c:v>2.3099799999999999</c:v>
                </c:pt>
                <c:pt idx="5855">
                  <c:v>2.0906699999999998</c:v>
                </c:pt>
                <c:pt idx="5856">
                  <c:v>1.58525</c:v>
                </c:pt>
                <c:pt idx="5857">
                  <c:v>#N/A</c:v>
                </c:pt>
                <c:pt idx="5858">
                  <c:v>1.9597</c:v>
                </c:pt>
                <c:pt idx="5859">
                  <c:v>1.9857199999999999</c:v>
                </c:pt>
                <c:pt idx="5860">
                  <c:v>2.0850200000000001</c:v>
                </c:pt>
                <c:pt idx="5861">
                  <c:v>#N/A</c:v>
                </c:pt>
                <c:pt idx="5862">
                  <c:v>2.4144299999999999</c:v>
                </c:pt>
                <c:pt idx="5863">
                  <c:v>2.35039</c:v>
                </c:pt>
                <c:pt idx="5864">
                  <c:v>2.4000400000000002</c:v>
                </c:pt>
                <c:pt idx="5865">
                  <c:v>1.62686</c:v>
                </c:pt>
                <c:pt idx="5866">
                  <c:v>#N/A</c:v>
                </c:pt>
                <c:pt idx="5867">
                  <c:v>1.4740899999999999</c:v>
                </c:pt>
                <c:pt idx="5868">
                  <c:v>1.91815</c:v>
                </c:pt>
                <c:pt idx="5869">
                  <c:v>2.0398900000000002</c:v>
                </c:pt>
                <c:pt idx="5870">
                  <c:v>2.6476299999999999</c:v>
                </c:pt>
                <c:pt idx="5871">
                  <c:v>#N/A</c:v>
                </c:pt>
                <c:pt idx="5872">
                  <c:v>2.4276599999999999</c:v>
                </c:pt>
                <c:pt idx="5873">
                  <c:v>2.2860299999999998</c:v>
                </c:pt>
                <c:pt idx="5874">
                  <c:v>2.5453800000000002</c:v>
                </c:pt>
                <c:pt idx="5875">
                  <c:v>#N/A</c:v>
                </c:pt>
                <c:pt idx="5876">
                  <c:v>2.4026100000000001</c:v>
                </c:pt>
                <c:pt idx="5877">
                  <c:v>1.9687699999999999</c:v>
                </c:pt>
                <c:pt idx="5878">
                  <c:v>1.78085</c:v>
                </c:pt>
                <c:pt idx="5879">
                  <c:v>1.86507</c:v>
                </c:pt>
                <c:pt idx="5880">
                  <c:v>#N/A</c:v>
                </c:pt>
                <c:pt idx="5881">
                  <c:v>1.6061799999999999</c:v>
                </c:pt>
                <c:pt idx="5882">
                  <c:v>1.8051900000000001</c:v>
                </c:pt>
                <c:pt idx="5883">
                  <c:v>2.7039300000000002</c:v>
                </c:pt>
                <c:pt idx="5884">
                  <c:v>#N/A</c:v>
                </c:pt>
                <c:pt idx="5885">
                  <c:v>2.4398300000000002</c:v>
                </c:pt>
                <c:pt idx="5886">
                  <c:v>2.5491600000000001</c:v>
                </c:pt>
                <c:pt idx="5887">
                  <c:v>2.4677600000000002</c:v>
                </c:pt>
                <c:pt idx="5888">
                  <c:v>#N/A</c:v>
                </c:pt>
                <c:pt idx="5889">
                  <c:v>2.3188399999999998</c:v>
                </c:pt>
                <c:pt idx="5890">
                  <c:v>2.0510299999999999</c:v>
                </c:pt>
                <c:pt idx="5891">
                  <c:v>1.8447199999999999</c:v>
                </c:pt>
                <c:pt idx="5892">
                  <c:v>2.3254899999999998</c:v>
                </c:pt>
                <c:pt idx="5893">
                  <c:v>#N/A</c:v>
                </c:pt>
                <c:pt idx="5894">
                  <c:v>2.7350500000000002</c:v>
                </c:pt>
                <c:pt idx="5895">
                  <c:v>2.3797199999999998</c:v>
                </c:pt>
                <c:pt idx="5896">
                  <c:v>1.8564099999999999</c:v>
                </c:pt>
                <c:pt idx="5897">
                  <c:v>#N/A</c:v>
                </c:pt>
                <c:pt idx="5898">
                  <c:v>2.2746499999999998</c:v>
                </c:pt>
                <c:pt idx="5899">
                  <c:v>2.1537099999999998</c:v>
                </c:pt>
                <c:pt idx="5900">
                  <c:v>1.4802200000000001</c:v>
                </c:pt>
                <c:pt idx="5901">
                  <c:v>1.7688299999999999</c:v>
                </c:pt>
                <c:pt idx="5902">
                  <c:v>#N/A</c:v>
                </c:pt>
                <c:pt idx="5903">
                  <c:v>2.24512</c:v>
                </c:pt>
                <c:pt idx="5904">
                  <c:v>#N/A</c:v>
                </c:pt>
                <c:pt idx="5905">
                  <c:v>2.1322199999999998</c:v>
                </c:pt>
                <c:pt idx="5906">
                  <c:v>#N/A</c:v>
                </c:pt>
                <c:pt idx="5907">
                  <c:v>2.5155799999999999</c:v>
                </c:pt>
                <c:pt idx="5908">
                  <c:v>2.33318</c:v>
                </c:pt>
                <c:pt idx="5909">
                  <c:v>2.8245300000000002</c:v>
                </c:pt>
                <c:pt idx="5910">
                  <c:v>2.7213799999999999</c:v>
                </c:pt>
                <c:pt idx="5911">
                  <c:v>#N/A</c:v>
                </c:pt>
                <c:pt idx="5912">
                  <c:v>2.26342</c:v>
                </c:pt>
                <c:pt idx="5913">
                  <c:v>2.0856499999999998</c:v>
                </c:pt>
                <c:pt idx="5914">
                  <c:v>2.5695399999999999</c:v>
                </c:pt>
                <c:pt idx="5915">
                  <c:v>#N/A</c:v>
                </c:pt>
                <c:pt idx="5916">
                  <c:v>2.5569199999999999</c:v>
                </c:pt>
                <c:pt idx="5917">
                  <c:v>2.29772</c:v>
                </c:pt>
                <c:pt idx="5918">
                  <c:v>1.88812</c:v>
                </c:pt>
                <c:pt idx="5919">
                  <c:v>#N/A</c:v>
                </c:pt>
                <c:pt idx="5920">
                  <c:v>2.6781299999999999</c:v>
                </c:pt>
                <c:pt idx="5921">
                  <c:v>2.4727100000000002</c:v>
                </c:pt>
                <c:pt idx="5922">
                  <c:v>2.3699400000000002</c:v>
                </c:pt>
                <c:pt idx="5923">
                  <c:v>1.9626999999999999</c:v>
                </c:pt>
                <c:pt idx="5924">
                  <c:v>#N/A</c:v>
                </c:pt>
                <c:pt idx="5925">
                  <c:v>1.7531099999999999</c:v>
                </c:pt>
                <c:pt idx="5926">
                  <c:v>1.4593100000000001</c:v>
                </c:pt>
                <c:pt idx="5927">
                  <c:v>1.6093200000000001</c:v>
                </c:pt>
                <c:pt idx="5928">
                  <c:v>#N/A</c:v>
                </c:pt>
                <c:pt idx="5929">
                  <c:v>2.0083799999999998</c:v>
                </c:pt>
                <c:pt idx="5930">
                  <c:v>2.2872699999999999</c:v>
                </c:pt>
                <c:pt idx="5931">
                  <c:v>2.2883499999999999</c:v>
                </c:pt>
                <c:pt idx="5932">
                  <c:v>2.4051499999999999</c:v>
                </c:pt>
                <c:pt idx="5933">
                  <c:v>#N/A</c:v>
                </c:pt>
                <c:pt idx="5934">
                  <c:v>2.6310799999999999</c:v>
                </c:pt>
                <c:pt idx="5935">
                  <c:v>1.9262300000000001</c:v>
                </c:pt>
                <c:pt idx="5936">
                  <c:v>2.0107900000000001</c:v>
                </c:pt>
                <c:pt idx="5937">
                  <c:v>1.8011299999999999</c:v>
                </c:pt>
                <c:pt idx="5938">
                  <c:v>#N/A</c:v>
                </c:pt>
                <c:pt idx="5939">
                  <c:v>1.7980100000000001</c:v>
                </c:pt>
                <c:pt idx="5940">
                  <c:v>1.9396199999999999</c:v>
                </c:pt>
                <c:pt idx="5941">
                  <c:v>2.6589700000000001</c:v>
                </c:pt>
                <c:pt idx="5942">
                  <c:v>#N/A</c:v>
                </c:pt>
                <c:pt idx="5943">
                  <c:v>2.9339300000000001</c:v>
                </c:pt>
                <c:pt idx="5944">
                  <c:v>3.1431300000000002</c:v>
                </c:pt>
                <c:pt idx="5945">
                  <c:v>2.78721</c:v>
                </c:pt>
                <c:pt idx="5946">
                  <c:v>#N/A</c:v>
                </c:pt>
                <c:pt idx="5947">
                  <c:v>2.34524</c:v>
                </c:pt>
                <c:pt idx="5948">
                  <c:v>2.1945700000000001</c:v>
                </c:pt>
                <c:pt idx="5949">
                  <c:v>1.80027</c:v>
                </c:pt>
                <c:pt idx="5950">
                  <c:v>#N/A</c:v>
                </c:pt>
                <c:pt idx="5951">
                  <c:v>2.2796599999999998</c:v>
                </c:pt>
                <c:pt idx="5952">
                  <c:v>2.8310200000000001</c:v>
                </c:pt>
                <c:pt idx="5953">
                  <c:v>2.5294099999999999</c:v>
                </c:pt>
                <c:pt idx="5954">
                  <c:v>#N/A</c:v>
                </c:pt>
                <c:pt idx="5955">
                  <c:v>2.40448</c:v>
                </c:pt>
                <c:pt idx="5956">
                  <c:v>2.18526</c:v>
                </c:pt>
                <c:pt idx="5957">
                  <c:v>1.9541299999999999</c:v>
                </c:pt>
                <c:pt idx="5958">
                  <c:v>1.70783</c:v>
                </c:pt>
                <c:pt idx="5959">
                  <c:v>#N/A</c:v>
                </c:pt>
                <c:pt idx="5960">
                  <c:v>1.5957600000000001</c:v>
                </c:pt>
                <c:pt idx="5961">
                  <c:v>1.5785400000000001</c:v>
                </c:pt>
                <c:pt idx="5962">
                  <c:v>2.33643</c:v>
                </c:pt>
                <c:pt idx="5963">
                  <c:v>2.3239299999999998</c:v>
                </c:pt>
                <c:pt idx="5964">
                  <c:v>#N/A</c:v>
                </c:pt>
                <c:pt idx="5965">
                  <c:v>2.7547999999999999</c:v>
                </c:pt>
                <c:pt idx="5966">
                  <c:v>2.6688499999999999</c:v>
                </c:pt>
                <c:pt idx="5967">
                  <c:v>2.5200300000000002</c:v>
                </c:pt>
                <c:pt idx="5968">
                  <c:v>#N/A</c:v>
                </c:pt>
                <c:pt idx="5969">
                  <c:v>2.6136400000000002</c:v>
                </c:pt>
                <c:pt idx="5970">
                  <c:v>2.2362000000000002</c:v>
                </c:pt>
                <c:pt idx="5971">
                  <c:v>1.89123</c:v>
                </c:pt>
                <c:pt idx="5972">
                  <c:v>1.7225299999999999</c:v>
                </c:pt>
                <c:pt idx="5973">
                  <c:v>#N/A</c:v>
                </c:pt>
                <c:pt idx="5974">
                  <c:v>2.1194500000000001</c:v>
                </c:pt>
                <c:pt idx="5975">
                  <c:v>#N/A</c:v>
                </c:pt>
                <c:pt idx="5976">
                  <c:v>2.6755900000000001</c:v>
                </c:pt>
                <c:pt idx="5977">
                  <c:v>2.5256799999999999</c:v>
                </c:pt>
                <c:pt idx="5978">
                  <c:v>#N/A</c:v>
                </c:pt>
                <c:pt idx="5979">
                  <c:v>1.99681</c:v>
                </c:pt>
                <c:pt idx="5980">
                  <c:v>1.6660200000000001</c:v>
                </c:pt>
                <c:pt idx="5981">
                  <c:v>1.8730899999999999</c:v>
                </c:pt>
                <c:pt idx="5982">
                  <c:v>#N/A</c:v>
                </c:pt>
                <c:pt idx="5983">
                  <c:v>1.7270300000000001</c:v>
                </c:pt>
                <c:pt idx="5984">
                  <c:v>1.7075400000000001</c:v>
                </c:pt>
                <c:pt idx="5985">
                  <c:v>1.6028500000000001</c:v>
                </c:pt>
                <c:pt idx="5986">
                  <c:v>#N/A</c:v>
                </c:pt>
                <c:pt idx="5987">
                  <c:v>2.11537</c:v>
                </c:pt>
                <c:pt idx="5988">
                  <c:v>2.2578100000000001</c:v>
                </c:pt>
                <c:pt idx="5989">
                  <c:v>2.2334700000000001</c:v>
                </c:pt>
                <c:pt idx="5990">
                  <c:v>#N/A</c:v>
                </c:pt>
                <c:pt idx="5991">
                  <c:v>2.59077</c:v>
                </c:pt>
                <c:pt idx="5992">
                  <c:v>1.90306</c:v>
                </c:pt>
                <c:pt idx="5993">
                  <c:v>2.0390299999999999</c:v>
                </c:pt>
                <c:pt idx="5994">
                  <c:v>1.65126</c:v>
                </c:pt>
                <c:pt idx="5995">
                  <c:v>#N/A</c:v>
                </c:pt>
                <c:pt idx="5996">
                  <c:v>2.0265</c:v>
                </c:pt>
                <c:pt idx="5997">
                  <c:v>2.30497</c:v>
                </c:pt>
                <c:pt idx="5998">
                  <c:v>1.98993</c:v>
                </c:pt>
                <c:pt idx="5999">
                  <c:v>#N/A</c:v>
                </c:pt>
                <c:pt idx="6000">
                  <c:v>1.9504699999999999</c:v>
                </c:pt>
                <c:pt idx="6001">
                  <c:v>2.1418400000000002</c:v>
                </c:pt>
                <c:pt idx="6002">
                  <c:v>2.6626300000000001</c:v>
                </c:pt>
                <c:pt idx="6003">
                  <c:v>#N/A</c:v>
                </c:pt>
                <c:pt idx="6004">
                  <c:v>2.2495699999999998</c:v>
                </c:pt>
                <c:pt idx="6005">
                  <c:v>1.94631</c:v>
                </c:pt>
                <c:pt idx="6006">
                  <c:v>1.83569</c:v>
                </c:pt>
                <c:pt idx="6007">
                  <c:v>1.7428999999999999</c:v>
                </c:pt>
                <c:pt idx="6008">
                  <c:v>#N/A</c:v>
                </c:pt>
                <c:pt idx="6009">
                  <c:v>2.1320000000000001</c:v>
                </c:pt>
                <c:pt idx="6010">
                  <c:v>2.27149</c:v>
                </c:pt>
                <c:pt idx="6011">
                  <c:v>2.5130599999999998</c:v>
                </c:pt>
                <c:pt idx="6012">
                  <c:v>#N/A</c:v>
                </c:pt>
                <c:pt idx="6013">
                  <c:v>2.5397799999999999</c:v>
                </c:pt>
                <c:pt idx="6014">
                  <c:v>2.6258300000000001</c:v>
                </c:pt>
                <c:pt idx="6015">
                  <c:v>1.99559</c:v>
                </c:pt>
                <c:pt idx="6016">
                  <c:v>1.7809699999999999</c:v>
                </c:pt>
                <c:pt idx="6017">
                  <c:v>#N/A</c:v>
                </c:pt>
                <c:pt idx="6018">
                  <c:v>1.3921600000000001</c:v>
                </c:pt>
                <c:pt idx="6019">
                  <c:v>1.20044</c:v>
                </c:pt>
                <c:pt idx="6020">
                  <c:v>1.6339600000000001</c:v>
                </c:pt>
                <c:pt idx="6021">
                  <c:v>#N/A</c:v>
                </c:pt>
                <c:pt idx="6022">
                  <c:v>1.4555499999999999</c:v>
                </c:pt>
                <c:pt idx="6023">
                  <c:v>2.1672400000000001</c:v>
                </c:pt>
                <c:pt idx="6024">
                  <c:v>2.1565599999999998</c:v>
                </c:pt>
                <c:pt idx="6025">
                  <c:v>2.4684699999999999</c:v>
                </c:pt>
                <c:pt idx="6026">
                  <c:v>#N/A</c:v>
                </c:pt>
                <c:pt idx="6027">
                  <c:v>2.5174699999999999</c:v>
                </c:pt>
                <c:pt idx="6028">
                  <c:v>1.8171200000000001</c:v>
                </c:pt>
                <c:pt idx="6029">
                  <c:v>1.9292400000000001</c:v>
                </c:pt>
                <c:pt idx="6030">
                  <c:v>1.7939400000000001</c:v>
                </c:pt>
                <c:pt idx="6031">
                  <c:v>#N/A</c:v>
                </c:pt>
                <c:pt idx="6032">
                  <c:v>2.2270699999999999</c:v>
                </c:pt>
                <c:pt idx="6033">
                  <c:v>2.4114300000000002</c:v>
                </c:pt>
                <c:pt idx="6034">
                  <c:v>2.3207</c:v>
                </c:pt>
                <c:pt idx="6035">
                  <c:v>#N/A</c:v>
                </c:pt>
                <c:pt idx="6036">
                  <c:v>2.41011</c:v>
                </c:pt>
                <c:pt idx="6037">
                  <c:v>2.36537</c:v>
                </c:pt>
                <c:pt idx="6038">
                  <c:v>1.4248400000000001</c:v>
                </c:pt>
                <c:pt idx="6039">
                  <c:v>#N/A</c:v>
                </c:pt>
                <c:pt idx="6040">
                  <c:v>1.36076</c:v>
                </c:pt>
                <c:pt idx="6041">
                  <c:v>1.9335599999999999</c:v>
                </c:pt>
                <c:pt idx="6042">
                  <c:v>1.8193900000000001</c:v>
                </c:pt>
                <c:pt idx="6043">
                  <c:v>1.4172499999999999</c:v>
                </c:pt>
                <c:pt idx="6044">
                  <c:v>#N/A</c:v>
                </c:pt>
                <c:pt idx="6045">
                  <c:v>2.1144599999999998</c:v>
                </c:pt>
                <c:pt idx="6046">
                  <c:v>#N/A</c:v>
                </c:pt>
                <c:pt idx="6047">
                  <c:v>2.2530899999999998</c:v>
                </c:pt>
                <c:pt idx="6048">
                  <c:v>2.5054599999999998</c:v>
                </c:pt>
                <c:pt idx="6049">
                  <c:v>2.09693</c:v>
                </c:pt>
                <c:pt idx="6050">
                  <c:v>#N/A</c:v>
                </c:pt>
                <c:pt idx="6051">
                  <c:v>1.8784799999999999</c:v>
                </c:pt>
                <c:pt idx="6052">
                  <c:v>2.3233600000000001</c:v>
                </c:pt>
                <c:pt idx="6053">
                  <c:v>1.9106300000000001</c:v>
                </c:pt>
                <c:pt idx="6054">
                  <c:v>#N/A</c:v>
                </c:pt>
                <c:pt idx="6055">
                  <c:v>1.94679</c:v>
                </c:pt>
                <c:pt idx="6056">
                  <c:v>2.1644700000000001</c:v>
                </c:pt>
                <c:pt idx="6057">
                  <c:v>2.3603700000000001</c:v>
                </c:pt>
                <c:pt idx="6058">
                  <c:v>2.5032999999999999</c:v>
                </c:pt>
                <c:pt idx="6059">
                  <c:v>#N/A</c:v>
                </c:pt>
                <c:pt idx="6060">
                  <c:v>1.8511</c:v>
                </c:pt>
                <c:pt idx="6061">
                  <c:v>2.4826999999999999</c:v>
                </c:pt>
                <c:pt idx="6062">
                  <c:v>2.4104800000000002</c:v>
                </c:pt>
                <c:pt idx="6063">
                  <c:v>1.9244399999999999</c:v>
                </c:pt>
                <c:pt idx="6064">
                  <c:v>#N/A</c:v>
                </c:pt>
                <c:pt idx="6065">
                  <c:v>1.92865</c:v>
                </c:pt>
                <c:pt idx="6066">
                  <c:v>2.1430099999999999</c:v>
                </c:pt>
                <c:pt idx="6067">
                  <c:v>2.1620599999999999</c:v>
                </c:pt>
                <c:pt idx="6068">
                  <c:v>#N/A</c:v>
                </c:pt>
                <c:pt idx="6069">
                  <c:v>2.3017300000000001</c:v>
                </c:pt>
                <c:pt idx="6070">
                  <c:v>3.0043099999999998</c:v>
                </c:pt>
                <c:pt idx="6071">
                  <c:v>2.6303399999999999</c:v>
                </c:pt>
                <c:pt idx="6072">
                  <c:v>#N/A</c:v>
                </c:pt>
                <c:pt idx="6073">
                  <c:v>2.4894099999999999</c:v>
                </c:pt>
                <c:pt idx="6074">
                  <c:v>#N/A</c:v>
                </c:pt>
                <c:pt idx="6075">
                  <c:v>2.17062</c:v>
                </c:pt>
                <c:pt idx="6076">
                  <c:v>1.4877199999999999</c:v>
                </c:pt>
                <c:pt idx="6077">
                  <c:v>1.87056</c:v>
                </c:pt>
                <c:pt idx="6078">
                  <c:v>#N/A</c:v>
                </c:pt>
                <c:pt idx="6079">
                  <c:v>2.0412599999999999</c:v>
                </c:pt>
                <c:pt idx="6080">
                  <c:v>2.1953</c:v>
                </c:pt>
                <c:pt idx="6081">
                  <c:v>2.8241700000000001</c:v>
                </c:pt>
                <c:pt idx="6082">
                  <c:v>2.74586</c:v>
                </c:pt>
                <c:pt idx="6083">
                  <c:v>#N/A</c:v>
                </c:pt>
                <c:pt idx="6084">
                  <c:v>2.7529699999999999</c:v>
                </c:pt>
                <c:pt idx="6085">
                  <c:v>2.2956300000000001</c:v>
                </c:pt>
                <c:pt idx="6086">
                  <c:v>1.9637199999999999</c:v>
                </c:pt>
                <c:pt idx="6087">
                  <c:v>1.9220299999999999</c:v>
                </c:pt>
                <c:pt idx="6088">
                  <c:v>#N/A</c:v>
                </c:pt>
                <c:pt idx="6089">
                  <c:v>1.8132299999999999</c:v>
                </c:pt>
                <c:pt idx="6090">
                  <c:v>2.6382099999999999</c:v>
                </c:pt>
                <c:pt idx="6091">
                  <c:v>2.8344499999999999</c:v>
                </c:pt>
                <c:pt idx="6092">
                  <c:v>#N/A</c:v>
                </c:pt>
                <c:pt idx="6093">
                  <c:v>2.6017100000000002</c:v>
                </c:pt>
                <c:pt idx="6094">
                  <c:v>2.5458400000000001</c:v>
                </c:pt>
                <c:pt idx="6095">
                  <c:v>2.7021999999999999</c:v>
                </c:pt>
                <c:pt idx="6096">
                  <c:v>#N/A</c:v>
                </c:pt>
                <c:pt idx="6097">
                  <c:v>1.9867300000000001</c:v>
                </c:pt>
                <c:pt idx="6098">
                  <c:v>1.6919599999999999</c:v>
                </c:pt>
                <c:pt idx="6099">
                  <c:v>1.2754300000000001</c:v>
                </c:pt>
                <c:pt idx="6100">
                  <c:v>#N/A</c:v>
                </c:pt>
                <c:pt idx="6101">
                  <c:v>1.7640800000000001</c:v>
                </c:pt>
                <c:pt idx="6102">
                  <c:v>1.8907099999999999</c:v>
                </c:pt>
                <c:pt idx="6103">
                  <c:v>2.15584</c:v>
                </c:pt>
                <c:pt idx="6104">
                  <c:v>#N/A</c:v>
                </c:pt>
                <c:pt idx="6105">
                  <c:v>2.6485099999999999</c:v>
                </c:pt>
                <c:pt idx="6106">
                  <c:v>2.6073499999999998</c:v>
                </c:pt>
                <c:pt idx="6107">
                  <c:v>2.5542600000000002</c:v>
                </c:pt>
                <c:pt idx="6108">
                  <c:v>2.32945</c:v>
                </c:pt>
                <c:pt idx="6109">
                  <c:v>#N/A</c:v>
                </c:pt>
                <c:pt idx="6110">
                  <c:v>2.1166100000000001</c:v>
                </c:pt>
                <c:pt idx="6111">
                  <c:v>2.3416899999999998</c:v>
                </c:pt>
                <c:pt idx="6112">
                  <c:v>2.14811</c:v>
                </c:pt>
                <c:pt idx="6113">
                  <c:v>#N/A</c:v>
                </c:pt>
                <c:pt idx="6114">
                  <c:v>2.7262599999999999</c:v>
                </c:pt>
                <c:pt idx="6115">
                  <c:v>2.4322300000000001</c:v>
                </c:pt>
                <c:pt idx="6116">
                  <c:v>2.0798800000000002</c:v>
                </c:pt>
                <c:pt idx="6117">
                  <c:v>2.62941</c:v>
                </c:pt>
                <c:pt idx="6118">
                  <c:v>#N/A</c:v>
                </c:pt>
                <c:pt idx="6119">
                  <c:v>2.22445</c:v>
                </c:pt>
                <c:pt idx="6120">
                  <c:v>1.9032100000000001</c:v>
                </c:pt>
                <c:pt idx="6121">
                  <c:v>1.8658699999999999</c:v>
                </c:pt>
                <c:pt idx="6122">
                  <c:v>1.9737499999999999</c:v>
                </c:pt>
                <c:pt idx="6123">
                  <c:v>#N/A</c:v>
                </c:pt>
                <c:pt idx="6124">
                  <c:v>2.1086499999999999</c:v>
                </c:pt>
                <c:pt idx="6125">
                  <c:v>2.2749700000000002</c:v>
                </c:pt>
                <c:pt idx="6126">
                  <c:v>2.5317699999999999</c:v>
                </c:pt>
                <c:pt idx="6127">
                  <c:v>#N/A</c:v>
                </c:pt>
                <c:pt idx="6128">
                  <c:v>2.3252199999999998</c:v>
                </c:pt>
                <c:pt idx="6129">
                  <c:v>2.57037</c:v>
                </c:pt>
                <c:pt idx="6130">
                  <c:v>2.4146100000000001</c:v>
                </c:pt>
                <c:pt idx="6131">
                  <c:v>#N/A</c:v>
                </c:pt>
                <c:pt idx="6132">
                  <c:v>2.45444</c:v>
                </c:pt>
                <c:pt idx="6133">
                  <c:v>2.4299599999999999</c:v>
                </c:pt>
                <c:pt idx="6134">
                  <c:v>1.8866700000000001</c:v>
                </c:pt>
                <c:pt idx="6135">
                  <c:v>1.8448500000000001</c:v>
                </c:pt>
                <c:pt idx="6136">
                  <c:v>#N/A</c:v>
                </c:pt>
                <c:pt idx="6137">
                  <c:v>1.90916</c:v>
                </c:pt>
                <c:pt idx="6138">
                  <c:v>1.6372500000000001</c:v>
                </c:pt>
                <c:pt idx="6139">
                  <c:v>2.4299900000000001</c:v>
                </c:pt>
                <c:pt idx="6140">
                  <c:v>#N/A</c:v>
                </c:pt>
                <c:pt idx="6141">
                  <c:v>2.54298</c:v>
                </c:pt>
                <c:pt idx="6142">
                  <c:v>2.6035699999999999</c:v>
                </c:pt>
                <c:pt idx="6143">
                  <c:v>2.3132100000000002</c:v>
                </c:pt>
                <c:pt idx="6144">
                  <c:v>1.86548</c:v>
                </c:pt>
                <c:pt idx="6145">
                  <c:v>#N/A</c:v>
                </c:pt>
                <c:pt idx="6146">
                  <c:v>1.83483</c:v>
                </c:pt>
                <c:pt idx="6147">
                  <c:v>2.2097899999999999</c:v>
                </c:pt>
                <c:pt idx="6148">
                  <c:v>2.36273</c:v>
                </c:pt>
                <c:pt idx="6149">
                  <c:v>#N/A</c:v>
                </c:pt>
                <c:pt idx="6150">
                  <c:v>3.12039</c:v>
                </c:pt>
                <c:pt idx="6151">
                  <c:v>2.9972099999999999</c:v>
                </c:pt>
                <c:pt idx="6152">
                  <c:v>2.7337199999999999</c:v>
                </c:pt>
                <c:pt idx="6153">
                  <c:v>2.55321</c:v>
                </c:pt>
                <c:pt idx="6154">
                  <c:v>#N/A</c:v>
                </c:pt>
                <c:pt idx="6155">
                  <c:v>2.1732999999999998</c:v>
                </c:pt>
                <c:pt idx="6156">
                  <c:v>1.49604</c:v>
                </c:pt>
                <c:pt idx="6157">
                  <c:v>1.8156300000000001</c:v>
                </c:pt>
                <c:pt idx="6158">
                  <c:v>#N/A</c:v>
                </c:pt>
                <c:pt idx="6159">
                  <c:v>1.60626</c:v>
                </c:pt>
                <c:pt idx="6160">
                  <c:v>2.2332399999999999</c:v>
                </c:pt>
                <c:pt idx="6161">
                  <c:v>1.74438</c:v>
                </c:pt>
                <c:pt idx="6162">
                  <c:v>2.47851</c:v>
                </c:pt>
                <c:pt idx="6163">
                  <c:v>#N/A</c:v>
                </c:pt>
                <c:pt idx="6164">
                  <c:v>2.69123</c:v>
                </c:pt>
                <c:pt idx="6165">
                  <c:v>2.2699600000000002</c:v>
                </c:pt>
                <c:pt idx="6166">
                  <c:v>2.3976500000000001</c:v>
                </c:pt>
                <c:pt idx="6167">
                  <c:v>#N/A</c:v>
                </c:pt>
                <c:pt idx="6168">
                  <c:v>1.7364999999999999</c:v>
                </c:pt>
                <c:pt idx="6169">
                  <c:v>2.1522299999999999</c:v>
                </c:pt>
                <c:pt idx="6170">
                  <c:v>2.2867500000000001</c:v>
                </c:pt>
                <c:pt idx="6171">
                  <c:v>#N/A</c:v>
                </c:pt>
                <c:pt idx="6172">
                  <c:v>3.04636</c:v>
                </c:pt>
                <c:pt idx="6173">
                  <c:v>3.1064600000000002</c:v>
                </c:pt>
                <c:pt idx="6174">
                  <c:v>2.62608</c:v>
                </c:pt>
                <c:pt idx="6175">
                  <c:v>2.3650799999999998</c:v>
                </c:pt>
                <c:pt idx="6176">
                  <c:v>#N/A</c:v>
                </c:pt>
                <c:pt idx="6177">
                  <c:v>2.2999999999999998</c:v>
                </c:pt>
                <c:pt idx="6178">
                  <c:v>1.8709899999999999</c:v>
                </c:pt>
                <c:pt idx="6179">
                  <c:v>1.7483</c:v>
                </c:pt>
                <c:pt idx="6180">
                  <c:v>2.42103</c:v>
                </c:pt>
                <c:pt idx="6181">
                  <c:v>#N/A</c:v>
                </c:pt>
                <c:pt idx="6182">
                  <c:v>2.19597</c:v>
                </c:pt>
                <c:pt idx="6183">
                  <c:v>1.8685700000000001</c:v>
                </c:pt>
                <c:pt idx="6184">
                  <c:v>2.64453</c:v>
                </c:pt>
                <c:pt idx="6185">
                  <c:v>#N/A</c:v>
                </c:pt>
                <c:pt idx="6186">
                  <c:v>2.4883600000000001</c:v>
                </c:pt>
                <c:pt idx="6187">
                  <c:v>2.6569400000000001</c:v>
                </c:pt>
                <c:pt idx="6188">
                  <c:v>2.2581500000000001</c:v>
                </c:pt>
                <c:pt idx="6189">
                  <c:v>#N/A</c:v>
                </c:pt>
                <c:pt idx="6190">
                  <c:v>2.8758499999999998</c:v>
                </c:pt>
                <c:pt idx="6191">
                  <c:v>#N/A</c:v>
                </c:pt>
                <c:pt idx="6192">
                  <c:v>2.8292999999999999</c:v>
                </c:pt>
                <c:pt idx="6193">
                  <c:v>1.8182100000000001</c:v>
                </c:pt>
                <c:pt idx="6194">
                  <c:v>2.4989699999999999</c:v>
                </c:pt>
                <c:pt idx="6195">
                  <c:v>1.8446</c:v>
                </c:pt>
                <c:pt idx="6196">
                  <c:v>#N/A</c:v>
                </c:pt>
                <c:pt idx="6197">
                  <c:v>2.51756</c:v>
                </c:pt>
                <c:pt idx="6198">
                  <c:v>2.3426900000000002</c:v>
                </c:pt>
                <c:pt idx="6199">
                  <c:v>2.0716100000000002</c:v>
                </c:pt>
                <c:pt idx="6200">
                  <c:v>#N/A</c:v>
                </c:pt>
                <c:pt idx="6201">
                  <c:v>2.6272199999999999</c:v>
                </c:pt>
                <c:pt idx="6202">
                  <c:v>2.3416399999999999</c:v>
                </c:pt>
                <c:pt idx="6203">
                  <c:v>2.0533600000000001</c:v>
                </c:pt>
                <c:pt idx="6204">
                  <c:v>#N/A</c:v>
                </c:pt>
                <c:pt idx="6205">
                  <c:v>1.73491</c:v>
                </c:pt>
                <c:pt idx="6206">
                  <c:v>2.2063700000000002</c:v>
                </c:pt>
                <c:pt idx="6207">
                  <c:v>2.4134199999999999</c:v>
                </c:pt>
                <c:pt idx="6208">
                  <c:v>2.3179799999999999</c:v>
                </c:pt>
                <c:pt idx="6209">
                  <c:v>#N/A</c:v>
                </c:pt>
                <c:pt idx="6210">
                  <c:v>2.94014</c:v>
                </c:pt>
                <c:pt idx="6211">
                  <c:v>2.6707999999999998</c:v>
                </c:pt>
                <c:pt idx="6212">
                  <c:v>2.4214500000000001</c:v>
                </c:pt>
                <c:pt idx="6213">
                  <c:v>#N/A</c:v>
                </c:pt>
                <c:pt idx="6214">
                  <c:v>1.90384</c:v>
                </c:pt>
                <c:pt idx="6215">
                  <c:v>1.93835</c:v>
                </c:pt>
                <c:pt idx="6216">
                  <c:v>1.8154399999999999</c:v>
                </c:pt>
                <c:pt idx="6217">
                  <c:v>1.6961900000000001</c:v>
                </c:pt>
                <c:pt idx="6218">
                  <c:v>#N/A</c:v>
                </c:pt>
                <c:pt idx="6219">
                  <c:v>2.1522299999999999</c:v>
                </c:pt>
                <c:pt idx="6220">
                  <c:v>2.2379699999999998</c:v>
                </c:pt>
                <c:pt idx="6221">
                  <c:v>2.5749499999999999</c:v>
                </c:pt>
                <c:pt idx="6222">
                  <c:v>#N/A</c:v>
                </c:pt>
                <c:pt idx="6223">
                  <c:v>2.5800900000000002</c:v>
                </c:pt>
                <c:pt idx="6224">
                  <c:v>2.4472700000000001</c:v>
                </c:pt>
                <c:pt idx="6225">
                  <c:v>1.9418200000000001</c:v>
                </c:pt>
                <c:pt idx="6226">
                  <c:v>#N/A</c:v>
                </c:pt>
                <c:pt idx="6227">
                  <c:v>1.8308800000000001</c:v>
                </c:pt>
                <c:pt idx="6228">
                  <c:v>2.51268</c:v>
                </c:pt>
                <c:pt idx="6229">
                  <c:v>2.5389400000000002</c:v>
                </c:pt>
                <c:pt idx="6230">
                  <c:v>#N/A</c:v>
                </c:pt>
                <c:pt idx="6231">
                  <c:v>2.7419099999999998</c:v>
                </c:pt>
                <c:pt idx="6232">
                  <c:v>3.1215700000000002</c:v>
                </c:pt>
                <c:pt idx="6233">
                  <c:v>3.2095699999999998</c:v>
                </c:pt>
                <c:pt idx="6234">
                  <c:v>2.5452400000000002</c:v>
                </c:pt>
                <c:pt idx="6235">
                  <c:v>#N/A</c:v>
                </c:pt>
                <c:pt idx="6236">
                  <c:v>2.1164999999999998</c:v>
                </c:pt>
                <c:pt idx="6237">
                  <c:v>2.3199900000000002</c:v>
                </c:pt>
                <c:pt idx="6238">
                  <c:v>1.8162100000000001</c:v>
                </c:pt>
                <c:pt idx="6239">
                  <c:v>#N/A</c:v>
                </c:pt>
                <c:pt idx="6240">
                  <c:v>2.00482</c:v>
                </c:pt>
                <c:pt idx="6241">
                  <c:v>1.55406</c:v>
                </c:pt>
                <c:pt idx="6242">
                  <c:v>2.64682</c:v>
                </c:pt>
                <c:pt idx="6243">
                  <c:v>2.3445999999999998</c:v>
                </c:pt>
                <c:pt idx="6244">
                  <c:v>#N/A</c:v>
                </c:pt>
                <c:pt idx="6245">
                  <c:v>2.6835800000000001</c:v>
                </c:pt>
                <c:pt idx="6246">
                  <c:v>2.4870399999999999</c:v>
                </c:pt>
                <c:pt idx="6247">
                  <c:v>2.4526300000000001</c:v>
                </c:pt>
                <c:pt idx="6248">
                  <c:v>2.2530800000000002</c:v>
                </c:pt>
                <c:pt idx="6249">
                  <c:v>#N/A</c:v>
                </c:pt>
                <c:pt idx="6250">
                  <c:v>2.2138599999999999</c:v>
                </c:pt>
                <c:pt idx="6251">
                  <c:v>2.5076299999999998</c:v>
                </c:pt>
                <c:pt idx="6252">
                  <c:v>2.3473199999999999</c:v>
                </c:pt>
                <c:pt idx="6253">
                  <c:v>#N/A</c:v>
                </c:pt>
                <c:pt idx="6254">
                  <c:v>2.95852</c:v>
                </c:pt>
                <c:pt idx="6255">
                  <c:v>2.76511</c:v>
                </c:pt>
                <c:pt idx="6256">
                  <c:v>2.4269099999999999</c:v>
                </c:pt>
                <c:pt idx="6257">
                  <c:v>2.1003699999999998</c:v>
                </c:pt>
                <c:pt idx="6258">
                  <c:v>#N/A</c:v>
                </c:pt>
                <c:pt idx="6259">
                  <c:v>2.379</c:v>
                </c:pt>
                <c:pt idx="6260">
                  <c:v>2.6486999999999998</c:v>
                </c:pt>
                <c:pt idx="6261">
                  <c:v>#N/A</c:v>
                </c:pt>
                <c:pt idx="6262">
                  <c:v>2.2156600000000002</c:v>
                </c:pt>
                <c:pt idx="6263">
                  <c:v>2.4950700000000001</c:v>
                </c:pt>
                <c:pt idx="6264">
                  <c:v>#N/A</c:v>
                </c:pt>
                <c:pt idx="6265">
                  <c:v>2.80593</c:v>
                </c:pt>
                <c:pt idx="6266">
                  <c:v>2.75326</c:v>
                </c:pt>
                <c:pt idx="6267">
                  <c:v>2.5006300000000001</c:v>
                </c:pt>
                <c:pt idx="6268">
                  <c:v>#N/A</c:v>
                </c:pt>
                <c:pt idx="6269">
                  <c:v>2.38626</c:v>
                </c:pt>
                <c:pt idx="6270">
                  <c:v>2.1942200000000001</c:v>
                </c:pt>
                <c:pt idx="6271">
                  <c:v>2.6353200000000001</c:v>
                </c:pt>
                <c:pt idx="6272">
                  <c:v>#N/A</c:v>
                </c:pt>
                <c:pt idx="6273">
                  <c:v>2.03363</c:v>
                </c:pt>
                <c:pt idx="6274">
                  <c:v>1.9713099999999999</c:v>
                </c:pt>
                <c:pt idx="6275">
                  <c:v>1.9883</c:v>
                </c:pt>
                <c:pt idx="6276">
                  <c:v>2.1464599999999998</c:v>
                </c:pt>
                <c:pt idx="6277">
                  <c:v>#N/A</c:v>
                </c:pt>
                <c:pt idx="6278">
                  <c:v>1.9737899999999999</c:v>
                </c:pt>
                <c:pt idx="6279">
                  <c:v>2.3569900000000001</c:v>
                </c:pt>
                <c:pt idx="6280">
                  <c:v>2.4645299999999999</c:v>
                </c:pt>
                <c:pt idx="6281">
                  <c:v>2.1863999999999999</c:v>
                </c:pt>
                <c:pt idx="6282">
                  <c:v>#N/A</c:v>
                </c:pt>
                <c:pt idx="6283">
                  <c:v>2.2896399999999999</c:v>
                </c:pt>
                <c:pt idx="6284">
                  <c:v>2.1166</c:v>
                </c:pt>
                <c:pt idx="6285">
                  <c:v>2.2190300000000001</c:v>
                </c:pt>
                <c:pt idx="6286">
                  <c:v>#N/A</c:v>
                </c:pt>
                <c:pt idx="6287">
                  <c:v>2.1840700000000002</c:v>
                </c:pt>
                <c:pt idx="6288">
                  <c:v>2.7747000000000002</c:v>
                </c:pt>
                <c:pt idx="6289">
                  <c:v>3.3837700000000002</c:v>
                </c:pt>
                <c:pt idx="6290">
                  <c:v>#N/A</c:v>
                </c:pt>
                <c:pt idx="6291">
                  <c:v>2.4944999999999999</c:v>
                </c:pt>
                <c:pt idx="6292">
                  <c:v>2.0807699999999998</c:v>
                </c:pt>
                <c:pt idx="6293">
                  <c:v>3.0089199999999998</c:v>
                </c:pt>
                <c:pt idx="6294">
                  <c:v>#N/A</c:v>
                </c:pt>
                <c:pt idx="6295">
                  <c:v>2.2590699999999999</c:v>
                </c:pt>
                <c:pt idx="6296">
                  <c:v>1.9580500000000001</c:v>
                </c:pt>
                <c:pt idx="6297">
                  <c:v>1.45994</c:v>
                </c:pt>
                <c:pt idx="6298">
                  <c:v>1.9230799999999999</c:v>
                </c:pt>
                <c:pt idx="6299">
                  <c:v>#N/A</c:v>
                </c:pt>
                <c:pt idx="6300">
                  <c:v>2.0287500000000001</c:v>
                </c:pt>
                <c:pt idx="6301">
                  <c:v>1.7988200000000001</c:v>
                </c:pt>
                <c:pt idx="6302">
                  <c:v>2.5766300000000002</c:v>
                </c:pt>
                <c:pt idx="6303">
                  <c:v>#N/A</c:v>
                </c:pt>
                <c:pt idx="6304">
                  <c:v>2.6546699999999999</c:v>
                </c:pt>
                <c:pt idx="6305">
                  <c:v>3.2682199999999999</c:v>
                </c:pt>
                <c:pt idx="6306">
                  <c:v>3.1536499999999998</c:v>
                </c:pt>
                <c:pt idx="6307">
                  <c:v>3.0394999999999999</c:v>
                </c:pt>
                <c:pt idx="6308">
                  <c:v>#N/A</c:v>
                </c:pt>
                <c:pt idx="6309">
                  <c:v>2.7252999999999998</c:v>
                </c:pt>
                <c:pt idx="6310">
                  <c:v>3.1443300000000001</c:v>
                </c:pt>
                <c:pt idx="6311">
                  <c:v>3.2084899999999998</c:v>
                </c:pt>
                <c:pt idx="6312">
                  <c:v>2.6436799999999998</c:v>
                </c:pt>
                <c:pt idx="6313">
                  <c:v>#N/A</c:v>
                </c:pt>
                <c:pt idx="6314">
                  <c:v>1.99607</c:v>
                </c:pt>
                <c:pt idx="6315">
                  <c:v>1.7778700000000001</c:v>
                </c:pt>
                <c:pt idx="6316">
                  <c:v>1.3815999999999999</c:v>
                </c:pt>
                <c:pt idx="6317">
                  <c:v>#N/A</c:v>
                </c:pt>
                <c:pt idx="6318">
                  <c:v>1.0924</c:v>
                </c:pt>
                <c:pt idx="6319">
                  <c:v>0.30248199999999997</c:v>
                </c:pt>
                <c:pt idx="6320">
                  <c:v>1.0806500000000001</c:v>
                </c:pt>
                <c:pt idx="6321">
                  <c:v>0.62872700000000004</c:v>
                </c:pt>
                <c:pt idx="6322">
                  <c:v>#N/A</c:v>
                </c:pt>
                <c:pt idx="6323">
                  <c:v>1.28291</c:v>
                </c:pt>
                <c:pt idx="6324">
                  <c:v>1.50505</c:v>
                </c:pt>
                <c:pt idx="6325">
                  <c:v>2.15225</c:v>
                </c:pt>
                <c:pt idx="6326">
                  <c:v>#N/A</c:v>
                </c:pt>
                <c:pt idx="6327">
                  <c:v>2.7104699999999999</c:v>
                </c:pt>
                <c:pt idx="6328">
                  <c:v>2.41635</c:v>
                </c:pt>
                <c:pt idx="6329">
                  <c:v>2.6461999999999999</c:v>
                </c:pt>
                <c:pt idx="6330">
                  <c:v>#N/A</c:v>
                </c:pt>
                <c:pt idx="6331">
                  <c:v>2.6333799999999998</c:v>
                </c:pt>
                <c:pt idx="6332">
                  <c:v>2.8031600000000001</c:v>
                </c:pt>
                <c:pt idx="6333">
                  <c:v>#N/A</c:v>
                </c:pt>
                <c:pt idx="6334">
                  <c:v>2.55158</c:v>
                </c:pt>
                <c:pt idx="6335">
                  <c:v>2.7878400000000001</c:v>
                </c:pt>
                <c:pt idx="6336">
                  <c:v>2.8427600000000002</c:v>
                </c:pt>
                <c:pt idx="6337">
                  <c:v>#N/A</c:v>
                </c:pt>
                <c:pt idx="6338">
                  <c:v>2.4045399999999999</c:v>
                </c:pt>
                <c:pt idx="6339">
                  <c:v>2.0210400000000002</c:v>
                </c:pt>
                <c:pt idx="6340">
                  <c:v>2.0057900000000002</c:v>
                </c:pt>
                <c:pt idx="6341">
                  <c:v>#N/A</c:v>
                </c:pt>
                <c:pt idx="6342">
                  <c:v>1.68862</c:v>
                </c:pt>
                <c:pt idx="6343">
                  <c:v>1.85971</c:v>
                </c:pt>
                <c:pt idx="6344">
                  <c:v>1.58972</c:v>
                </c:pt>
                <c:pt idx="6345">
                  <c:v>1.5390200000000001</c:v>
                </c:pt>
                <c:pt idx="6346">
                  <c:v>#N/A</c:v>
                </c:pt>
                <c:pt idx="6347">
                  <c:v>1.7448900000000001</c:v>
                </c:pt>
                <c:pt idx="6348">
                  <c:v>2.1772399999999998</c:v>
                </c:pt>
                <c:pt idx="6349">
                  <c:v>2.3787099999999999</c:v>
                </c:pt>
                <c:pt idx="6350">
                  <c:v>#N/A</c:v>
                </c:pt>
                <c:pt idx="6351">
                  <c:v>2.35277</c:v>
                </c:pt>
                <c:pt idx="6352">
                  <c:v>2.19794</c:v>
                </c:pt>
                <c:pt idx="6353">
                  <c:v>2.3475600000000001</c:v>
                </c:pt>
                <c:pt idx="6354">
                  <c:v>#N/A</c:v>
                </c:pt>
                <c:pt idx="6355">
                  <c:v>1.9445600000000001</c:v>
                </c:pt>
                <c:pt idx="6356">
                  <c:v>1.7939000000000001</c:v>
                </c:pt>
                <c:pt idx="6357">
                  <c:v>1.68625</c:v>
                </c:pt>
                <c:pt idx="6358">
                  <c:v>#N/A</c:v>
                </c:pt>
                <c:pt idx="6359">
                  <c:v>1.97464</c:v>
                </c:pt>
                <c:pt idx="6360">
                  <c:v>2.8803200000000002</c:v>
                </c:pt>
                <c:pt idx="6361">
                  <c:v>3.2411400000000001</c:v>
                </c:pt>
                <c:pt idx="6362">
                  <c:v>#N/A</c:v>
                </c:pt>
                <c:pt idx="6363">
                  <c:v>2.4520499999999998</c:v>
                </c:pt>
                <c:pt idx="6364">
                  <c:v>2.4127299999999998</c:v>
                </c:pt>
                <c:pt idx="6365">
                  <c:v>1.9486300000000001</c:v>
                </c:pt>
                <c:pt idx="6366">
                  <c:v>1.9255100000000001</c:v>
                </c:pt>
                <c:pt idx="6367">
                  <c:v>#N/A</c:v>
                </c:pt>
                <c:pt idx="6368">
                  <c:v>2.2063100000000002</c:v>
                </c:pt>
                <c:pt idx="6369">
                  <c:v>2.3799299999999999</c:v>
                </c:pt>
                <c:pt idx="6370">
                  <c:v>2.6585299999999998</c:v>
                </c:pt>
                <c:pt idx="6371">
                  <c:v>2.3271899999999999</c:v>
                </c:pt>
                <c:pt idx="6372">
                  <c:v>#N/A</c:v>
                </c:pt>
                <c:pt idx="6373">
                  <c:v>2.5451899999999998</c:v>
                </c:pt>
                <c:pt idx="6374">
                  <c:v>2.29419</c:v>
                </c:pt>
                <c:pt idx="6375">
                  <c:v>1.67832</c:v>
                </c:pt>
                <c:pt idx="6376">
                  <c:v>#N/A</c:v>
                </c:pt>
                <c:pt idx="6377">
                  <c:v>1.2216</c:v>
                </c:pt>
                <c:pt idx="6378">
                  <c:v>1.4186399999999999</c:v>
                </c:pt>
                <c:pt idx="6379">
                  <c:v>1.0785800000000001</c:v>
                </c:pt>
                <c:pt idx="6380">
                  <c:v>2.1219100000000002</c:v>
                </c:pt>
                <c:pt idx="6381">
                  <c:v>#N/A</c:v>
                </c:pt>
                <c:pt idx="6382">
                  <c:v>2.92001</c:v>
                </c:pt>
                <c:pt idx="6383">
                  <c:v>3.0557400000000001</c:v>
                </c:pt>
                <c:pt idx="6384">
                  <c:v>2.4178899999999999</c:v>
                </c:pt>
                <c:pt idx="6385">
                  <c:v>#N/A</c:v>
                </c:pt>
                <c:pt idx="6386">
                  <c:v>2.4877500000000001</c:v>
                </c:pt>
                <c:pt idx="6387">
                  <c:v>2.3019099999999999</c:v>
                </c:pt>
                <c:pt idx="6388">
                  <c:v>2.3240799999999999</c:v>
                </c:pt>
                <c:pt idx="6389">
                  <c:v>2.91038</c:v>
                </c:pt>
                <c:pt idx="6390">
                  <c:v>#N/A</c:v>
                </c:pt>
                <c:pt idx="6391">
                  <c:v>2.15204</c:v>
                </c:pt>
                <c:pt idx="6392">
                  <c:v>2.5807600000000002</c:v>
                </c:pt>
                <c:pt idx="6393">
                  <c:v>2.2229199999999998</c:v>
                </c:pt>
                <c:pt idx="6394">
                  <c:v>#N/A</c:v>
                </c:pt>
                <c:pt idx="6395">
                  <c:v>2.4740700000000002</c:v>
                </c:pt>
                <c:pt idx="6396">
                  <c:v>2.3071299999999999</c:v>
                </c:pt>
                <c:pt idx="6397">
                  <c:v>1.67638</c:v>
                </c:pt>
                <c:pt idx="6398">
                  <c:v>1.8412500000000001</c:v>
                </c:pt>
                <c:pt idx="6399">
                  <c:v>#N/A</c:v>
                </c:pt>
                <c:pt idx="6400">
                  <c:v>1.5465</c:v>
                </c:pt>
                <c:pt idx="6401">
                  <c:v>1.0431900000000001</c:v>
                </c:pt>
                <c:pt idx="6402">
                  <c:v>2.1077699999999999</c:v>
                </c:pt>
                <c:pt idx="6403">
                  <c:v>#N/A</c:v>
                </c:pt>
                <c:pt idx="6404">
                  <c:v>2.2472099999999999</c:v>
                </c:pt>
                <c:pt idx="6405">
                  <c:v>2.4250099999999999</c:v>
                </c:pt>
                <c:pt idx="6406">
                  <c:v>#N/A</c:v>
                </c:pt>
                <c:pt idx="6407">
                  <c:v>2.4466600000000001</c:v>
                </c:pt>
                <c:pt idx="6408">
                  <c:v>2.5343499999999999</c:v>
                </c:pt>
                <c:pt idx="6409">
                  <c:v>2.4839600000000002</c:v>
                </c:pt>
                <c:pt idx="6410">
                  <c:v>#N/A</c:v>
                </c:pt>
                <c:pt idx="6411">
                  <c:v>1.98156</c:v>
                </c:pt>
                <c:pt idx="6412">
                  <c:v>2.3027600000000001</c:v>
                </c:pt>
                <c:pt idx="6413">
                  <c:v>1.87317</c:v>
                </c:pt>
                <c:pt idx="6414">
                  <c:v>#N/A</c:v>
                </c:pt>
                <c:pt idx="6415">
                  <c:v>2.09565</c:v>
                </c:pt>
                <c:pt idx="6416">
                  <c:v>2.22845</c:v>
                </c:pt>
                <c:pt idx="6417">
                  <c:v>1.8370200000000001</c:v>
                </c:pt>
                <c:pt idx="6418">
                  <c:v>2.2938100000000001</c:v>
                </c:pt>
                <c:pt idx="6419">
                  <c:v>#N/A</c:v>
                </c:pt>
                <c:pt idx="6420">
                  <c:v>1.8136000000000001</c:v>
                </c:pt>
                <c:pt idx="6421">
                  <c:v>2.12574</c:v>
                </c:pt>
                <c:pt idx="6422">
                  <c:v>2.1968999999999999</c:v>
                </c:pt>
                <c:pt idx="6423">
                  <c:v>#N/A</c:v>
                </c:pt>
                <c:pt idx="6424">
                  <c:v>2.04758</c:v>
                </c:pt>
                <c:pt idx="6425">
                  <c:v>2.18852</c:v>
                </c:pt>
                <c:pt idx="6426">
                  <c:v>2.1632199999999999</c:v>
                </c:pt>
                <c:pt idx="6427">
                  <c:v>2.6982300000000001</c:v>
                </c:pt>
                <c:pt idx="6428">
                  <c:v>#N/A</c:v>
                </c:pt>
                <c:pt idx="6429">
                  <c:v>2.9008799999999999</c:v>
                </c:pt>
                <c:pt idx="6430">
                  <c:v>2.6949999999999998</c:v>
                </c:pt>
                <c:pt idx="6431">
                  <c:v>2.4668299999999999</c:v>
                </c:pt>
                <c:pt idx="6432">
                  <c:v>2.5680999999999998</c:v>
                </c:pt>
                <c:pt idx="6433">
                  <c:v>#N/A</c:v>
                </c:pt>
                <c:pt idx="6434">
                  <c:v>1.78329</c:v>
                </c:pt>
                <c:pt idx="6435">
                  <c:v>1.11812</c:v>
                </c:pt>
                <c:pt idx="6436">
                  <c:v>1.5294099999999999</c:v>
                </c:pt>
                <c:pt idx="6437">
                  <c:v>#N/A</c:v>
                </c:pt>
                <c:pt idx="6438">
                  <c:v>1.4806999999999999</c:v>
                </c:pt>
                <c:pt idx="6439">
                  <c:v>1.4240600000000001</c:v>
                </c:pt>
                <c:pt idx="6440">
                  <c:v>1.64412</c:v>
                </c:pt>
                <c:pt idx="6441">
                  <c:v>2.17679</c:v>
                </c:pt>
                <c:pt idx="6442">
                  <c:v>#N/A</c:v>
                </c:pt>
                <c:pt idx="6443">
                  <c:v>2.8781599999999998</c:v>
                </c:pt>
                <c:pt idx="6444">
                  <c:v>2.43425</c:v>
                </c:pt>
                <c:pt idx="6445">
                  <c:v>2.1459199999999998</c:v>
                </c:pt>
                <c:pt idx="6446">
                  <c:v>#N/A</c:v>
                </c:pt>
                <c:pt idx="6447">
                  <c:v>1.89192</c:v>
                </c:pt>
                <c:pt idx="6448">
                  <c:v>1.7977700000000001</c:v>
                </c:pt>
                <c:pt idx="6449">
                  <c:v>2.4234599999999999</c:v>
                </c:pt>
                <c:pt idx="6450">
                  <c:v>#N/A</c:v>
                </c:pt>
                <c:pt idx="6451">
                  <c:v>2.98705</c:v>
                </c:pt>
                <c:pt idx="6452">
                  <c:v>2.7508499999999998</c:v>
                </c:pt>
                <c:pt idx="6453">
                  <c:v>2.5545499999999999</c:v>
                </c:pt>
                <c:pt idx="6454">
                  <c:v>2.55071</c:v>
                </c:pt>
                <c:pt idx="6455">
                  <c:v>#N/A</c:v>
                </c:pt>
                <c:pt idx="6456">
                  <c:v>1.9667699999999999</c:v>
                </c:pt>
                <c:pt idx="6457">
                  <c:v>1.44682</c:v>
                </c:pt>
                <c:pt idx="6458">
                  <c:v>1.5523100000000001</c:v>
                </c:pt>
                <c:pt idx="6459">
                  <c:v>1.74265</c:v>
                </c:pt>
                <c:pt idx="6460">
                  <c:v>#N/A</c:v>
                </c:pt>
                <c:pt idx="6461">
                  <c:v>2.1877200000000001</c:v>
                </c:pt>
                <c:pt idx="6462">
                  <c:v>2.2378300000000002</c:v>
                </c:pt>
                <c:pt idx="6463">
                  <c:v>2.7657699999999998</c:v>
                </c:pt>
                <c:pt idx="6464">
                  <c:v>#N/A</c:v>
                </c:pt>
                <c:pt idx="6465">
                  <c:v>2.6015700000000002</c:v>
                </c:pt>
                <c:pt idx="6466">
                  <c:v>2.4154800000000001</c:v>
                </c:pt>
                <c:pt idx="6467">
                  <c:v>2.6985000000000001</c:v>
                </c:pt>
                <c:pt idx="6468">
                  <c:v>#N/A</c:v>
                </c:pt>
                <c:pt idx="6469">
                  <c:v>2.4500700000000002</c:v>
                </c:pt>
                <c:pt idx="6470">
                  <c:v>2.5228000000000002</c:v>
                </c:pt>
                <c:pt idx="6471">
                  <c:v>2.1402899999999998</c:v>
                </c:pt>
                <c:pt idx="6472">
                  <c:v>#N/A</c:v>
                </c:pt>
                <c:pt idx="6473">
                  <c:v>2.62887</c:v>
                </c:pt>
                <c:pt idx="6474">
                  <c:v>2.5486900000000001</c:v>
                </c:pt>
                <c:pt idx="6475">
                  <c:v>2.3732700000000002</c:v>
                </c:pt>
                <c:pt idx="6476">
                  <c:v>#N/A</c:v>
                </c:pt>
                <c:pt idx="6477">
                  <c:v>2.1257600000000001</c:v>
                </c:pt>
                <c:pt idx="6478">
                  <c:v>#N/A</c:v>
                </c:pt>
                <c:pt idx="6479">
                  <c:v>1.6224000000000001</c:v>
                </c:pt>
                <c:pt idx="6480">
                  <c:v>1.9544999999999999</c:v>
                </c:pt>
                <c:pt idx="6481">
                  <c:v>2.7744599999999999</c:v>
                </c:pt>
                <c:pt idx="6482">
                  <c:v>#N/A</c:v>
                </c:pt>
                <c:pt idx="6483">
                  <c:v>2.6583800000000002</c:v>
                </c:pt>
                <c:pt idx="6484">
                  <c:v>2.0050500000000002</c:v>
                </c:pt>
                <c:pt idx="6485">
                  <c:v>2.56392</c:v>
                </c:pt>
                <c:pt idx="6486">
                  <c:v>#N/A</c:v>
                </c:pt>
                <c:pt idx="6487">
                  <c:v>2.4025099999999999</c:v>
                </c:pt>
                <c:pt idx="6488">
                  <c:v>2.70444</c:v>
                </c:pt>
                <c:pt idx="6489">
                  <c:v>3.15367</c:v>
                </c:pt>
                <c:pt idx="6490">
                  <c:v>2.2513299999999998</c:v>
                </c:pt>
                <c:pt idx="6491">
                  <c:v>#N/A</c:v>
                </c:pt>
                <c:pt idx="6492">
                  <c:v>2.0390600000000001</c:v>
                </c:pt>
                <c:pt idx="6493">
                  <c:v>1.56782</c:v>
                </c:pt>
                <c:pt idx="6494">
                  <c:v>1.8075300000000001</c:v>
                </c:pt>
                <c:pt idx="6495">
                  <c:v>#N/A</c:v>
                </c:pt>
                <c:pt idx="6496">
                  <c:v>1.65924</c:v>
                </c:pt>
                <c:pt idx="6497">
                  <c:v>1.9003099999999999</c:v>
                </c:pt>
                <c:pt idx="6498">
                  <c:v>2.0154299999999998</c:v>
                </c:pt>
                <c:pt idx="6499">
                  <c:v>2.1262400000000001</c:v>
                </c:pt>
                <c:pt idx="6500">
                  <c:v>#N/A</c:v>
                </c:pt>
                <c:pt idx="6501">
                  <c:v>1.91906</c:v>
                </c:pt>
                <c:pt idx="6502">
                  <c:v>2.1852399999999998</c:v>
                </c:pt>
                <c:pt idx="6503">
                  <c:v>2.2203300000000001</c:v>
                </c:pt>
                <c:pt idx="6504">
                  <c:v>#N/A</c:v>
                </c:pt>
                <c:pt idx="6505">
                  <c:v>2.3053900000000001</c:v>
                </c:pt>
                <c:pt idx="6506">
                  <c:v>2.22959</c:v>
                </c:pt>
                <c:pt idx="6507">
                  <c:v>2.3388399999999998</c:v>
                </c:pt>
                <c:pt idx="6508">
                  <c:v>#N/A</c:v>
                </c:pt>
                <c:pt idx="6509">
                  <c:v>2.5846300000000002</c:v>
                </c:pt>
                <c:pt idx="6510">
                  <c:v>2.76444</c:v>
                </c:pt>
                <c:pt idx="6511">
                  <c:v>3.01084</c:v>
                </c:pt>
                <c:pt idx="6512">
                  <c:v>3.13517</c:v>
                </c:pt>
                <c:pt idx="6513">
                  <c:v>#N/A</c:v>
                </c:pt>
                <c:pt idx="6514">
                  <c:v>2.4985400000000002</c:v>
                </c:pt>
                <c:pt idx="6515">
                  <c:v>1.4931000000000001</c:v>
                </c:pt>
                <c:pt idx="6516">
                  <c:v>1.84432</c:v>
                </c:pt>
                <c:pt idx="6517">
                  <c:v>#N/A</c:v>
                </c:pt>
                <c:pt idx="6518">
                  <c:v>1.6262799999999999</c:v>
                </c:pt>
                <c:pt idx="6519">
                  <c:v>1.8408800000000001</c:v>
                </c:pt>
                <c:pt idx="6520">
                  <c:v>2.2923499999999999</c:v>
                </c:pt>
                <c:pt idx="6521">
                  <c:v>2.34857</c:v>
                </c:pt>
                <c:pt idx="6522">
                  <c:v>#N/A</c:v>
                </c:pt>
                <c:pt idx="6523">
                  <c:v>2.57084</c:v>
                </c:pt>
                <c:pt idx="6524">
                  <c:v>2.0093100000000002</c:v>
                </c:pt>
                <c:pt idx="6525">
                  <c:v>2.3600699999999999</c:v>
                </c:pt>
                <c:pt idx="6526">
                  <c:v>2.2067899999999998</c:v>
                </c:pt>
                <c:pt idx="6527">
                  <c:v>#N/A</c:v>
                </c:pt>
                <c:pt idx="6528">
                  <c:v>1.9603999999999999</c:v>
                </c:pt>
                <c:pt idx="6529">
                  <c:v>2.0716999999999999</c:v>
                </c:pt>
                <c:pt idx="6530">
                  <c:v>2.1431</c:v>
                </c:pt>
                <c:pt idx="6531">
                  <c:v>#N/A</c:v>
                </c:pt>
                <c:pt idx="6532">
                  <c:v>2.2113900000000002</c:v>
                </c:pt>
                <c:pt idx="6533">
                  <c:v>3.1375999999999999</c:v>
                </c:pt>
                <c:pt idx="6534">
                  <c:v>2.6004999999999998</c:v>
                </c:pt>
                <c:pt idx="6535">
                  <c:v>#N/A</c:v>
                </c:pt>
                <c:pt idx="6536">
                  <c:v>2.34992</c:v>
                </c:pt>
                <c:pt idx="6537">
                  <c:v>1.5615000000000001</c:v>
                </c:pt>
                <c:pt idx="6538">
                  <c:v>1.3725400000000001</c:v>
                </c:pt>
                <c:pt idx="6539">
                  <c:v>1.6061300000000001</c:v>
                </c:pt>
                <c:pt idx="6540">
                  <c:v>#N/A</c:v>
                </c:pt>
                <c:pt idx="6541">
                  <c:v>2.0539499999999999</c:v>
                </c:pt>
                <c:pt idx="6542">
                  <c:v>2.4119299999999999</c:v>
                </c:pt>
                <c:pt idx="6543">
                  <c:v>2.6242100000000002</c:v>
                </c:pt>
                <c:pt idx="6544">
                  <c:v>#N/A</c:v>
                </c:pt>
                <c:pt idx="6545">
                  <c:v>2.24187</c:v>
                </c:pt>
                <c:pt idx="6546">
                  <c:v>2.4119899999999999</c:v>
                </c:pt>
                <c:pt idx="6547">
                  <c:v>#N/A</c:v>
                </c:pt>
                <c:pt idx="6548">
                  <c:v>2.2575599999999998</c:v>
                </c:pt>
                <c:pt idx="6549">
                  <c:v>2.04542</c:v>
                </c:pt>
                <c:pt idx="6550">
                  <c:v>#N/A</c:v>
                </c:pt>
                <c:pt idx="6551">
                  <c:v>2.1596899999999999</c:v>
                </c:pt>
                <c:pt idx="6552">
                  <c:v>1.99217</c:v>
                </c:pt>
                <c:pt idx="6553">
                  <c:v>1.50135</c:v>
                </c:pt>
                <c:pt idx="6554">
                  <c:v>1.7295100000000001</c:v>
                </c:pt>
                <c:pt idx="6555">
                  <c:v>#N/A</c:v>
                </c:pt>
                <c:pt idx="6556">
                  <c:v>1.9095500000000001</c:v>
                </c:pt>
                <c:pt idx="6557">
                  <c:v>1.42187</c:v>
                </c:pt>
                <c:pt idx="6558">
                  <c:v>2.19129</c:v>
                </c:pt>
                <c:pt idx="6559">
                  <c:v>2.5959599999999998</c:v>
                </c:pt>
                <c:pt idx="6560">
                  <c:v>#N/A</c:v>
                </c:pt>
                <c:pt idx="6561">
                  <c:v>2.3557600000000001</c:v>
                </c:pt>
                <c:pt idx="6562">
                  <c:v>1.9117900000000001</c:v>
                </c:pt>
                <c:pt idx="6563">
                  <c:v>1.8428</c:v>
                </c:pt>
                <c:pt idx="6564">
                  <c:v>#N/A</c:v>
                </c:pt>
                <c:pt idx="6565">
                  <c:v>2.19678</c:v>
                </c:pt>
                <c:pt idx="6566">
                  <c:v>2.5824699999999998</c:v>
                </c:pt>
                <c:pt idx="6567">
                  <c:v>2.9861499999999999</c:v>
                </c:pt>
                <c:pt idx="6568">
                  <c:v>2.6810800000000001</c:v>
                </c:pt>
                <c:pt idx="6569">
                  <c:v>#N/A</c:v>
                </c:pt>
                <c:pt idx="6570">
                  <c:v>2.9831599999999998</c:v>
                </c:pt>
                <c:pt idx="6571">
                  <c:v>2.6402100000000002</c:v>
                </c:pt>
                <c:pt idx="6572">
                  <c:v>2.5869399999999998</c:v>
                </c:pt>
                <c:pt idx="6573">
                  <c:v>#N/A</c:v>
                </c:pt>
                <c:pt idx="6574">
                  <c:v>2.2877000000000001</c:v>
                </c:pt>
                <c:pt idx="6575">
                  <c:v>1.42062</c:v>
                </c:pt>
                <c:pt idx="6576">
                  <c:v>2.0818699999999999</c:v>
                </c:pt>
                <c:pt idx="6577">
                  <c:v>1.9623900000000001</c:v>
                </c:pt>
                <c:pt idx="6578">
                  <c:v>#N/A</c:v>
                </c:pt>
                <c:pt idx="6579">
                  <c:v>1.8720000000000001</c:v>
                </c:pt>
                <c:pt idx="6580">
                  <c:v>2.6564399999999999</c:v>
                </c:pt>
                <c:pt idx="6581">
                  <c:v>2.4698000000000002</c:v>
                </c:pt>
                <c:pt idx="6582">
                  <c:v>#N/A</c:v>
                </c:pt>
                <c:pt idx="6583">
                  <c:v>2.55661</c:v>
                </c:pt>
                <c:pt idx="6584">
                  <c:v>2.1538499999999998</c:v>
                </c:pt>
                <c:pt idx="6585">
                  <c:v>2.0878199999999998</c:v>
                </c:pt>
                <c:pt idx="6586">
                  <c:v>2.07959</c:v>
                </c:pt>
                <c:pt idx="6587">
                  <c:v>#N/A</c:v>
                </c:pt>
                <c:pt idx="6588">
                  <c:v>2.0367199999999999</c:v>
                </c:pt>
                <c:pt idx="6589">
                  <c:v>2.6541800000000002</c:v>
                </c:pt>
                <c:pt idx="6590">
                  <c:v>2.84036</c:v>
                </c:pt>
                <c:pt idx="6591">
                  <c:v>#N/A</c:v>
                </c:pt>
                <c:pt idx="6592">
                  <c:v>2.57633</c:v>
                </c:pt>
                <c:pt idx="6593">
                  <c:v>2.3433700000000002</c:v>
                </c:pt>
                <c:pt idx="6594">
                  <c:v>2.4151699999999998</c:v>
                </c:pt>
                <c:pt idx="6595">
                  <c:v>#N/A</c:v>
                </c:pt>
                <c:pt idx="6596">
                  <c:v>1.99108</c:v>
                </c:pt>
                <c:pt idx="6597">
                  <c:v>1.85571</c:v>
                </c:pt>
                <c:pt idx="6598">
                  <c:v>1.56304</c:v>
                </c:pt>
                <c:pt idx="6599">
                  <c:v>1.9494499999999999</c:v>
                </c:pt>
                <c:pt idx="6600">
                  <c:v>#N/A</c:v>
                </c:pt>
                <c:pt idx="6601">
                  <c:v>2.2005300000000001</c:v>
                </c:pt>
                <c:pt idx="6602">
                  <c:v>2.31914</c:v>
                </c:pt>
                <c:pt idx="6603">
                  <c:v>2.8712800000000001</c:v>
                </c:pt>
                <c:pt idx="6604">
                  <c:v>#N/A</c:v>
                </c:pt>
                <c:pt idx="6605">
                  <c:v>2.4960100000000001</c:v>
                </c:pt>
                <c:pt idx="6606">
                  <c:v>2.1921200000000001</c:v>
                </c:pt>
                <c:pt idx="6607">
                  <c:v>2.2390099999999999</c:v>
                </c:pt>
                <c:pt idx="6608">
                  <c:v>1.7805200000000001</c:v>
                </c:pt>
                <c:pt idx="6609">
                  <c:v>#N/A</c:v>
                </c:pt>
                <c:pt idx="6610">
                  <c:v>2.0464000000000002</c:v>
                </c:pt>
                <c:pt idx="6611">
                  <c:v>1.8240000000000001</c:v>
                </c:pt>
                <c:pt idx="6612">
                  <c:v>2.10087</c:v>
                </c:pt>
                <c:pt idx="6613">
                  <c:v>#N/A</c:v>
                </c:pt>
                <c:pt idx="6614">
                  <c:v>2.3620800000000002</c:v>
                </c:pt>
                <c:pt idx="6615">
                  <c:v>1.7570399999999999</c:v>
                </c:pt>
                <c:pt idx="6616">
                  <c:v>1.7275700000000001</c:v>
                </c:pt>
                <c:pt idx="6617">
                  <c:v>2.11368</c:v>
                </c:pt>
                <c:pt idx="6618">
                  <c:v>#N/A</c:v>
                </c:pt>
                <c:pt idx="6619">
                  <c:v>1.7653300000000001</c:v>
                </c:pt>
                <c:pt idx="6620">
                  <c:v>1.8564799999999999</c:v>
                </c:pt>
                <c:pt idx="6621">
                  <c:v>#N/A</c:v>
                </c:pt>
                <c:pt idx="6622">
                  <c:v>1.8052699999999999</c:v>
                </c:pt>
                <c:pt idx="6623">
                  <c:v>2.0819800000000002</c:v>
                </c:pt>
                <c:pt idx="6624">
                  <c:v>#N/A</c:v>
                </c:pt>
                <c:pt idx="6625">
                  <c:v>2.55802</c:v>
                </c:pt>
                <c:pt idx="6626">
                  <c:v>2.7389899999999998</c:v>
                </c:pt>
                <c:pt idx="6627">
                  <c:v>2.2263700000000002</c:v>
                </c:pt>
                <c:pt idx="6628">
                  <c:v>#N/A</c:v>
                </c:pt>
                <c:pt idx="6629">
                  <c:v>2.7426400000000002</c:v>
                </c:pt>
                <c:pt idx="6630">
                  <c:v>2.3896000000000002</c:v>
                </c:pt>
                <c:pt idx="6631">
                  <c:v>1.8070200000000001</c:v>
                </c:pt>
                <c:pt idx="6632">
                  <c:v>#N/A</c:v>
                </c:pt>
                <c:pt idx="6633">
                  <c:v>2.3399800000000002</c:v>
                </c:pt>
                <c:pt idx="6634">
                  <c:v>1.9465600000000001</c:v>
                </c:pt>
                <c:pt idx="6635">
                  <c:v>1.5628500000000001</c:v>
                </c:pt>
                <c:pt idx="6636">
                  <c:v>#N/A</c:v>
                </c:pt>
                <c:pt idx="6637">
                  <c:v>1.57633</c:v>
                </c:pt>
                <c:pt idx="6638">
                  <c:v>1.89825</c:v>
                </c:pt>
                <c:pt idx="6639">
                  <c:v>1.74248</c:v>
                </c:pt>
                <c:pt idx="6640">
                  <c:v>1.9766600000000001</c:v>
                </c:pt>
                <c:pt idx="6641">
                  <c:v>#N/A</c:v>
                </c:pt>
                <c:pt idx="6642">
                  <c:v>1.9025300000000001</c:v>
                </c:pt>
                <c:pt idx="6643">
                  <c:v>2.1743700000000001</c:v>
                </c:pt>
                <c:pt idx="6644">
                  <c:v>2.1448</c:v>
                </c:pt>
                <c:pt idx="6645">
                  <c:v>1.7045600000000001</c:v>
                </c:pt>
                <c:pt idx="6646">
                  <c:v>#N/A</c:v>
                </c:pt>
                <c:pt idx="6647">
                  <c:v>2.3828900000000002</c:v>
                </c:pt>
                <c:pt idx="6648">
                  <c:v>2.3876300000000001</c:v>
                </c:pt>
                <c:pt idx="6649">
                  <c:v>2.6133299999999999</c:v>
                </c:pt>
                <c:pt idx="6650">
                  <c:v>#N/A</c:v>
                </c:pt>
                <c:pt idx="6651">
                  <c:v>2.4892400000000001</c:v>
                </c:pt>
                <c:pt idx="6652">
                  <c:v>2.9445299999999999</c:v>
                </c:pt>
                <c:pt idx="6653">
                  <c:v>2.0982799999999999</c:v>
                </c:pt>
                <c:pt idx="6654">
                  <c:v>1.8678699999999999</c:v>
                </c:pt>
                <c:pt idx="6655">
                  <c:v>#N/A</c:v>
                </c:pt>
                <c:pt idx="6656">
                  <c:v>1.4022600000000001</c:v>
                </c:pt>
                <c:pt idx="6657">
                  <c:v>1.50339</c:v>
                </c:pt>
                <c:pt idx="6658">
                  <c:v>1.2874000000000001</c:v>
                </c:pt>
                <c:pt idx="6659">
                  <c:v>#N/A</c:v>
                </c:pt>
                <c:pt idx="6660">
                  <c:v>1.5494600000000001</c:v>
                </c:pt>
                <c:pt idx="6661">
                  <c:v>2.0482300000000002</c:v>
                </c:pt>
                <c:pt idx="6662">
                  <c:v>2.4461400000000002</c:v>
                </c:pt>
                <c:pt idx="6663">
                  <c:v>#N/A</c:v>
                </c:pt>
                <c:pt idx="6664">
                  <c:v>1.7139200000000001</c:v>
                </c:pt>
                <c:pt idx="6665">
                  <c:v>1.8226199999999999</c:v>
                </c:pt>
                <c:pt idx="6666">
                  <c:v>1.8457600000000001</c:v>
                </c:pt>
                <c:pt idx="6667">
                  <c:v>1.57473</c:v>
                </c:pt>
                <c:pt idx="6668">
                  <c:v>#N/A</c:v>
                </c:pt>
                <c:pt idx="6669">
                  <c:v>1.96302</c:v>
                </c:pt>
                <c:pt idx="6670">
                  <c:v>1.9664999999999999</c:v>
                </c:pt>
                <c:pt idx="6671">
                  <c:v>2.1575199999999999</c:v>
                </c:pt>
                <c:pt idx="6672">
                  <c:v>#N/A</c:v>
                </c:pt>
                <c:pt idx="6673">
                  <c:v>2.1379299999999999</c:v>
                </c:pt>
                <c:pt idx="6674">
                  <c:v>2.26946</c:v>
                </c:pt>
                <c:pt idx="6675">
                  <c:v>1.8239700000000001</c:v>
                </c:pt>
                <c:pt idx="6676">
                  <c:v>1.6647700000000001</c:v>
                </c:pt>
                <c:pt idx="6677">
                  <c:v>#N/A</c:v>
                </c:pt>
                <c:pt idx="6678">
                  <c:v>1.9604299999999999</c:v>
                </c:pt>
                <c:pt idx="6679">
                  <c:v>1.6573100000000001</c:v>
                </c:pt>
                <c:pt idx="6680">
                  <c:v>2.2932700000000001</c:v>
                </c:pt>
                <c:pt idx="6681">
                  <c:v>#N/A</c:v>
                </c:pt>
                <c:pt idx="6682">
                  <c:v>1.8241499999999999</c:v>
                </c:pt>
                <c:pt idx="6683">
                  <c:v>2.5153400000000001</c:v>
                </c:pt>
                <c:pt idx="6684">
                  <c:v>2.4712999999999998</c:v>
                </c:pt>
                <c:pt idx="6685">
                  <c:v>2.59727</c:v>
                </c:pt>
                <c:pt idx="6686">
                  <c:v>#N/A</c:v>
                </c:pt>
                <c:pt idx="6687">
                  <c:v>2.2932199999999998</c:v>
                </c:pt>
                <c:pt idx="6688">
                  <c:v>1.9805999999999999</c:v>
                </c:pt>
                <c:pt idx="6689">
                  <c:v>1.83586</c:v>
                </c:pt>
                <c:pt idx="6690">
                  <c:v>#N/A</c:v>
                </c:pt>
                <c:pt idx="6691">
                  <c:v>2.1056900000000001</c:v>
                </c:pt>
                <c:pt idx="6692">
                  <c:v>#N/A</c:v>
                </c:pt>
                <c:pt idx="6693">
                  <c:v>2.0532900000000001</c:v>
                </c:pt>
                <c:pt idx="6694">
                  <c:v>1.66723</c:v>
                </c:pt>
                <c:pt idx="6695">
                  <c:v>#N/A</c:v>
                </c:pt>
                <c:pt idx="6696">
                  <c:v>1.8326800000000001</c:v>
                </c:pt>
                <c:pt idx="6697">
                  <c:v>1.73644</c:v>
                </c:pt>
                <c:pt idx="6698">
                  <c:v>1.73939</c:v>
                </c:pt>
                <c:pt idx="6699">
                  <c:v>#N/A</c:v>
                </c:pt>
                <c:pt idx="6700">
                  <c:v>2.3064200000000001</c:v>
                </c:pt>
                <c:pt idx="6701">
                  <c:v>2.4540099999999998</c:v>
                </c:pt>
                <c:pt idx="6702">
                  <c:v>2.41736</c:v>
                </c:pt>
                <c:pt idx="6703">
                  <c:v>#N/A</c:v>
                </c:pt>
                <c:pt idx="6704">
                  <c:v>1.9621299999999999</c:v>
                </c:pt>
                <c:pt idx="6705">
                  <c:v>2.15672</c:v>
                </c:pt>
                <c:pt idx="6706">
                  <c:v>2.24627</c:v>
                </c:pt>
                <c:pt idx="6707">
                  <c:v>2.32775</c:v>
                </c:pt>
                <c:pt idx="6708">
                  <c:v>#N/A</c:v>
                </c:pt>
                <c:pt idx="6709">
                  <c:v>3.0348199999999999</c:v>
                </c:pt>
                <c:pt idx="6710">
                  <c:v>1.88544</c:v>
                </c:pt>
                <c:pt idx="6711">
                  <c:v>2.1301600000000001</c:v>
                </c:pt>
                <c:pt idx="6712">
                  <c:v>#N/A</c:v>
                </c:pt>
                <c:pt idx="6713">
                  <c:v>1.66113</c:v>
                </c:pt>
                <c:pt idx="6714">
                  <c:v>2.0808300000000002</c:v>
                </c:pt>
                <c:pt idx="6715">
                  <c:v>1.67503</c:v>
                </c:pt>
                <c:pt idx="6716">
                  <c:v>1.5690500000000001</c:v>
                </c:pt>
                <c:pt idx="6717">
                  <c:v>#N/A</c:v>
                </c:pt>
                <c:pt idx="6718">
                  <c:v>1.8769199999999999</c:v>
                </c:pt>
                <c:pt idx="6719">
                  <c:v>1.84822</c:v>
                </c:pt>
                <c:pt idx="6720">
                  <c:v>2.3028</c:v>
                </c:pt>
                <c:pt idx="6721">
                  <c:v>#N/A</c:v>
                </c:pt>
                <c:pt idx="6722">
                  <c:v>2.29772</c:v>
                </c:pt>
                <c:pt idx="6723">
                  <c:v>2.22403</c:v>
                </c:pt>
                <c:pt idx="6724">
                  <c:v>2.0723699999999998</c:v>
                </c:pt>
                <c:pt idx="6725">
                  <c:v>1.71984</c:v>
                </c:pt>
                <c:pt idx="6726">
                  <c:v>#N/A</c:v>
                </c:pt>
                <c:pt idx="6727">
                  <c:v>2.2690700000000001</c:v>
                </c:pt>
                <c:pt idx="6728">
                  <c:v>2.0093899999999998</c:v>
                </c:pt>
                <c:pt idx="6729">
                  <c:v>2.3119700000000001</c:v>
                </c:pt>
                <c:pt idx="6730">
                  <c:v>#N/A</c:v>
                </c:pt>
                <c:pt idx="6731">
                  <c:v>2.7634400000000001</c:v>
                </c:pt>
                <c:pt idx="6732">
                  <c:v>2.1518700000000002</c:v>
                </c:pt>
                <c:pt idx="6733">
                  <c:v>2.0036499999999999</c:v>
                </c:pt>
                <c:pt idx="6734">
                  <c:v>1.62392</c:v>
                </c:pt>
                <c:pt idx="6735">
                  <c:v>#N/A</c:v>
                </c:pt>
                <c:pt idx="6736">
                  <c:v>1.62388</c:v>
                </c:pt>
                <c:pt idx="6737">
                  <c:v>1.8656299999999999</c:v>
                </c:pt>
                <c:pt idx="6738">
                  <c:v>1.5345200000000001</c:v>
                </c:pt>
                <c:pt idx="6739">
                  <c:v>1.73689</c:v>
                </c:pt>
                <c:pt idx="6740">
                  <c:v>#N/A</c:v>
                </c:pt>
                <c:pt idx="6741">
                  <c:v>2.0854499999999998</c:v>
                </c:pt>
                <c:pt idx="6742">
                  <c:v>2.08195</c:v>
                </c:pt>
                <c:pt idx="6743">
                  <c:v>2.51946</c:v>
                </c:pt>
                <c:pt idx="6744">
                  <c:v>#N/A</c:v>
                </c:pt>
                <c:pt idx="6745">
                  <c:v>2.6801200000000001</c:v>
                </c:pt>
                <c:pt idx="6746">
                  <c:v>2.4090699999999998</c:v>
                </c:pt>
                <c:pt idx="6747">
                  <c:v>1.7196400000000001</c:v>
                </c:pt>
                <c:pt idx="6748">
                  <c:v>#N/A</c:v>
                </c:pt>
                <c:pt idx="6749">
                  <c:v>2.1057600000000001</c:v>
                </c:pt>
                <c:pt idx="6750">
                  <c:v>2.25482</c:v>
                </c:pt>
                <c:pt idx="6751">
                  <c:v>2.2116500000000001</c:v>
                </c:pt>
                <c:pt idx="6752">
                  <c:v>2.6055899999999999</c:v>
                </c:pt>
                <c:pt idx="6753">
                  <c:v>#N/A</c:v>
                </c:pt>
                <c:pt idx="6754">
                  <c:v>2.19597</c:v>
                </c:pt>
                <c:pt idx="6755">
                  <c:v>1.91943</c:v>
                </c:pt>
                <c:pt idx="6756">
                  <c:v>1.54138</c:v>
                </c:pt>
                <c:pt idx="6757">
                  <c:v>#N/A</c:v>
                </c:pt>
                <c:pt idx="6758">
                  <c:v>1.514</c:v>
                </c:pt>
                <c:pt idx="6759">
                  <c:v>2.2595399999999999</c:v>
                </c:pt>
                <c:pt idx="6760">
                  <c:v>2.6829999999999998</c:v>
                </c:pt>
                <c:pt idx="6761">
                  <c:v>2.38442</c:v>
                </c:pt>
                <c:pt idx="6762">
                  <c:v>#N/A</c:v>
                </c:pt>
                <c:pt idx="6763">
                  <c:v>2.0837400000000001</c:v>
                </c:pt>
                <c:pt idx="6764">
                  <c:v>2.3797700000000002</c:v>
                </c:pt>
                <c:pt idx="6765">
                  <c:v>#N/A</c:v>
                </c:pt>
                <c:pt idx="6766">
                  <c:v>2.2484199999999999</c:v>
                </c:pt>
                <c:pt idx="6767">
                  <c:v>#N/A</c:v>
                </c:pt>
                <c:pt idx="6768">
                  <c:v>2.2093600000000002</c:v>
                </c:pt>
                <c:pt idx="6769">
                  <c:v>2.2566600000000001</c:v>
                </c:pt>
                <c:pt idx="6770">
                  <c:v>2.3901400000000002</c:v>
                </c:pt>
                <c:pt idx="6771">
                  <c:v>2.31291</c:v>
                </c:pt>
                <c:pt idx="6772">
                  <c:v>#N/A</c:v>
                </c:pt>
                <c:pt idx="6773">
                  <c:v>1.51911</c:v>
                </c:pt>
                <c:pt idx="6774">
                  <c:v>1.6927300000000001</c:v>
                </c:pt>
                <c:pt idx="6775">
                  <c:v>2.1839</c:v>
                </c:pt>
                <c:pt idx="6776">
                  <c:v>#N/A</c:v>
                </c:pt>
                <c:pt idx="6777">
                  <c:v>1.5704499999999999</c:v>
                </c:pt>
                <c:pt idx="6778">
                  <c:v>2.0130699999999999</c:v>
                </c:pt>
                <c:pt idx="6779">
                  <c:v>2.3049900000000001</c:v>
                </c:pt>
                <c:pt idx="6780">
                  <c:v>2.8422499999999999</c:v>
                </c:pt>
                <c:pt idx="6781">
                  <c:v>#N/A</c:v>
                </c:pt>
                <c:pt idx="6782">
                  <c:v>2.7398099999999999</c:v>
                </c:pt>
                <c:pt idx="6783">
                  <c:v>2.4218899999999999</c:v>
                </c:pt>
                <c:pt idx="6784">
                  <c:v>1.9094100000000001</c:v>
                </c:pt>
                <c:pt idx="6785">
                  <c:v>#N/A</c:v>
                </c:pt>
                <c:pt idx="6786">
                  <c:v>1.9076500000000001</c:v>
                </c:pt>
                <c:pt idx="6787">
                  <c:v>#N/A</c:v>
                </c:pt>
                <c:pt idx="6788">
                  <c:v>1.8890899999999999</c:v>
                </c:pt>
                <c:pt idx="6789">
                  <c:v>2.5326900000000001</c:v>
                </c:pt>
                <c:pt idx="6790">
                  <c:v>2.8927999999999998</c:v>
                </c:pt>
                <c:pt idx="6791">
                  <c:v>2.7605400000000002</c:v>
                </c:pt>
                <c:pt idx="6792">
                  <c:v>#N/A</c:v>
                </c:pt>
                <c:pt idx="6793">
                  <c:v>2.1403300000000001</c:v>
                </c:pt>
                <c:pt idx="6794">
                  <c:v>1.7234799999999999</c:v>
                </c:pt>
                <c:pt idx="6795">
                  <c:v>1.80433</c:v>
                </c:pt>
                <c:pt idx="6796">
                  <c:v>#N/A</c:v>
                </c:pt>
                <c:pt idx="6797">
                  <c:v>1.5753200000000001</c:v>
                </c:pt>
                <c:pt idx="6798">
                  <c:v>1.99857</c:v>
                </c:pt>
                <c:pt idx="6799">
                  <c:v>2.6200299999999999</c:v>
                </c:pt>
                <c:pt idx="6800">
                  <c:v>#N/A</c:v>
                </c:pt>
                <c:pt idx="6801">
                  <c:v>2.5948699999999998</c:v>
                </c:pt>
                <c:pt idx="6802">
                  <c:v>2.7557800000000001</c:v>
                </c:pt>
                <c:pt idx="6803">
                  <c:v>2.4671699999999999</c:v>
                </c:pt>
                <c:pt idx="6804">
                  <c:v>2.30776</c:v>
                </c:pt>
                <c:pt idx="6805">
                  <c:v>#N/A</c:v>
                </c:pt>
                <c:pt idx="6806">
                  <c:v>2.42815</c:v>
                </c:pt>
                <c:pt idx="6807">
                  <c:v>2.3506900000000002</c:v>
                </c:pt>
                <c:pt idx="6808">
                  <c:v>3.1830400000000001</c:v>
                </c:pt>
                <c:pt idx="6809">
                  <c:v>#N/A</c:v>
                </c:pt>
                <c:pt idx="6810">
                  <c:v>2.4108999999999998</c:v>
                </c:pt>
                <c:pt idx="6811">
                  <c:v>2.3152599999999999</c:v>
                </c:pt>
                <c:pt idx="6812">
                  <c:v>2.5255700000000001</c:v>
                </c:pt>
                <c:pt idx="6813">
                  <c:v>2.4520499999999998</c:v>
                </c:pt>
                <c:pt idx="6814">
                  <c:v>#N/A</c:v>
                </c:pt>
                <c:pt idx="6815">
                  <c:v>1.9150499999999999</c:v>
                </c:pt>
                <c:pt idx="6816">
                  <c:v>1.5758000000000001</c:v>
                </c:pt>
                <c:pt idx="6817">
                  <c:v>2.0543100000000001</c:v>
                </c:pt>
                <c:pt idx="6818">
                  <c:v>#N/A</c:v>
                </c:pt>
                <c:pt idx="6819">
                  <c:v>2.00312</c:v>
                </c:pt>
                <c:pt idx="6820">
                  <c:v>2.37398</c:v>
                </c:pt>
                <c:pt idx="6821">
                  <c:v>2.3917600000000001</c:v>
                </c:pt>
                <c:pt idx="6822">
                  <c:v>#N/A</c:v>
                </c:pt>
                <c:pt idx="6823">
                  <c:v>2.2239599999999999</c:v>
                </c:pt>
                <c:pt idx="6824">
                  <c:v>2.4975200000000002</c:v>
                </c:pt>
                <c:pt idx="6825">
                  <c:v>2.1865999999999999</c:v>
                </c:pt>
                <c:pt idx="6826">
                  <c:v>1.77041</c:v>
                </c:pt>
                <c:pt idx="6827">
                  <c:v>#N/A</c:v>
                </c:pt>
                <c:pt idx="6828">
                  <c:v>2.3409</c:v>
                </c:pt>
                <c:pt idx="6829">
                  <c:v>2.3501300000000001</c:v>
                </c:pt>
                <c:pt idx="6830">
                  <c:v>2.77399</c:v>
                </c:pt>
                <c:pt idx="6831">
                  <c:v>#N/A</c:v>
                </c:pt>
                <c:pt idx="6832">
                  <c:v>2.0525799999999998</c:v>
                </c:pt>
                <c:pt idx="6833">
                  <c:v>2.10182</c:v>
                </c:pt>
                <c:pt idx="6834">
                  <c:v>1.43625</c:v>
                </c:pt>
                <c:pt idx="6835">
                  <c:v>2.02624</c:v>
                </c:pt>
                <c:pt idx="6836">
                  <c:v>#N/A</c:v>
                </c:pt>
                <c:pt idx="6837">
                  <c:v>1.79087</c:v>
                </c:pt>
                <c:pt idx="6838">
                  <c:v>2.2593399999999999</c:v>
                </c:pt>
                <c:pt idx="6839">
                  <c:v>2.1316199999999998</c:v>
                </c:pt>
                <c:pt idx="6840">
                  <c:v>#N/A</c:v>
                </c:pt>
                <c:pt idx="6841">
                  <c:v>2.0485000000000002</c:v>
                </c:pt>
                <c:pt idx="6842">
                  <c:v>2.2121</c:v>
                </c:pt>
                <c:pt idx="6843">
                  <c:v>1.9075200000000001</c:v>
                </c:pt>
                <c:pt idx="6844">
                  <c:v>#N/A</c:v>
                </c:pt>
                <c:pt idx="6845">
                  <c:v>2.31914</c:v>
                </c:pt>
                <c:pt idx="6846">
                  <c:v>2.0518000000000001</c:v>
                </c:pt>
                <c:pt idx="6847">
                  <c:v>2.0892499999999998</c:v>
                </c:pt>
                <c:pt idx="6848">
                  <c:v>#N/A</c:v>
                </c:pt>
                <c:pt idx="6849">
                  <c:v>2.1775600000000002</c:v>
                </c:pt>
                <c:pt idx="6850">
                  <c:v>2.37059</c:v>
                </c:pt>
                <c:pt idx="6851">
                  <c:v>2.5343200000000001</c:v>
                </c:pt>
                <c:pt idx="6852">
                  <c:v>2.1116600000000001</c:v>
                </c:pt>
                <c:pt idx="6853">
                  <c:v>#N/A</c:v>
                </c:pt>
                <c:pt idx="6854">
                  <c:v>2.04156</c:v>
                </c:pt>
                <c:pt idx="6855">
                  <c:v>1.67906</c:v>
                </c:pt>
                <c:pt idx="6856">
                  <c:v>1.53118</c:v>
                </c:pt>
                <c:pt idx="6857">
                  <c:v>#N/A</c:v>
                </c:pt>
                <c:pt idx="6858">
                  <c:v>1.51248</c:v>
                </c:pt>
                <c:pt idx="6859">
                  <c:v>2.37643</c:v>
                </c:pt>
                <c:pt idx="6860">
                  <c:v>2.6618900000000001</c:v>
                </c:pt>
                <c:pt idx="6861">
                  <c:v>2.47688</c:v>
                </c:pt>
                <c:pt idx="6862">
                  <c:v>#N/A</c:v>
                </c:pt>
                <c:pt idx="6863">
                  <c:v>2.0180199999999999</c:v>
                </c:pt>
                <c:pt idx="6864">
                  <c:v>1.97346</c:v>
                </c:pt>
                <c:pt idx="6865">
                  <c:v>1.8613599999999999</c:v>
                </c:pt>
                <c:pt idx="6866">
                  <c:v>2.5760399999999999</c:v>
                </c:pt>
                <c:pt idx="6867">
                  <c:v>#N/A</c:v>
                </c:pt>
                <c:pt idx="6868">
                  <c:v>2.2109800000000002</c:v>
                </c:pt>
                <c:pt idx="6869">
                  <c:v>2.50624</c:v>
                </c:pt>
                <c:pt idx="6870">
                  <c:v>2.2634099999999999</c:v>
                </c:pt>
                <c:pt idx="6871">
                  <c:v>#N/A</c:v>
                </c:pt>
                <c:pt idx="6872">
                  <c:v>2.5826699999999998</c:v>
                </c:pt>
                <c:pt idx="6873">
                  <c:v>2.02671</c:v>
                </c:pt>
                <c:pt idx="6874">
                  <c:v>1.6661300000000001</c:v>
                </c:pt>
                <c:pt idx="6875">
                  <c:v>#N/A</c:v>
                </c:pt>
                <c:pt idx="6876">
                  <c:v>1.8089</c:v>
                </c:pt>
                <c:pt idx="6877">
                  <c:v>1.8269899999999999</c:v>
                </c:pt>
                <c:pt idx="6878">
                  <c:v>1.7349000000000001</c:v>
                </c:pt>
                <c:pt idx="6879">
                  <c:v>1.47376</c:v>
                </c:pt>
                <c:pt idx="6880">
                  <c:v>#N/A</c:v>
                </c:pt>
                <c:pt idx="6881">
                  <c:v>2.1471200000000001</c:v>
                </c:pt>
                <c:pt idx="6882">
                  <c:v>2.33433</c:v>
                </c:pt>
                <c:pt idx="6883">
                  <c:v>2.4440200000000001</c:v>
                </c:pt>
                <c:pt idx="6884">
                  <c:v>#N/A</c:v>
                </c:pt>
                <c:pt idx="6885">
                  <c:v>3.5570200000000001</c:v>
                </c:pt>
                <c:pt idx="6886">
                  <c:v>2.94563</c:v>
                </c:pt>
                <c:pt idx="6887">
                  <c:v>3.7299699999999998</c:v>
                </c:pt>
                <c:pt idx="6888">
                  <c:v>#N/A</c:v>
                </c:pt>
                <c:pt idx="6889">
                  <c:v>3.6177199999999998</c:v>
                </c:pt>
                <c:pt idx="6890">
                  <c:v>4.2275600000000004</c:v>
                </c:pt>
                <c:pt idx="6891">
                  <c:v>3.60025</c:v>
                </c:pt>
                <c:pt idx="6892">
                  <c:v>3.0683799999999999</c:v>
                </c:pt>
                <c:pt idx="6893">
                  <c:v>#N/A</c:v>
                </c:pt>
                <c:pt idx="6894">
                  <c:v>3.0956999999999999</c:v>
                </c:pt>
                <c:pt idx="6895">
                  <c:v>2.8923100000000002</c:v>
                </c:pt>
                <c:pt idx="6896">
                  <c:v>2.0106000000000002</c:v>
                </c:pt>
                <c:pt idx="6897">
                  <c:v>1.6856</c:v>
                </c:pt>
                <c:pt idx="6898">
                  <c:v>#N/A</c:v>
                </c:pt>
                <c:pt idx="6899">
                  <c:v>1.43201</c:v>
                </c:pt>
                <c:pt idx="6900">
                  <c:v>1.36019</c:v>
                </c:pt>
                <c:pt idx="6901">
                  <c:v>0.85911400000000004</c:v>
                </c:pt>
                <c:pt idx="6902">
                  <c:v>#N/A</c:v>
                </c:pt>
                <c:pt idx="6903">
                  <c:v>1.3703000000000001</c:v>
                </c:pt>
                <c:pt idx="6904">
                  <c:v>1.26065</c:v>
                </c:pt>
                <c:pt idx="6905">
                  <c:v>1.2135899999999999</c:v>
                </c:pt>
                <c:pt idx="6906">
                  <c:v>#N/A</c:v>
                </c:pt>
                <c:pt idx="6907">
                  <c:v>1.6997800000000001</c:v>
                </c:pt>
                <c:pt idx="6908">
                  <c:v>#N/A</c:v>
                </c:pt>
                <c:pt idx="6909">
                  <c:v>1.72525</c:v>
                </c:pt>
                <c:pt idx="6910">
                  <c:v>2.80084</c:v>
                </c:pt>
                <c:pt idx="6911">
                  <c:v>2.8531399999999998</c:v>
                </c:pt>
                <c:pt idx="6912">
                  <c:v>#N/A</c:v>
                </c:pt>
                <c:pt idx="6913">
                  <c:v>3.1000100000000002</c:v>
                </c:pt>
                <c:pt idx="6914">
                  <c:v>2.5135399999999999</c:v>
                </c:pt>
                <c:pt idx="6915">
                  <c:v>2.6792699999999998</c:v>
                </c:pt>
                <c:pt idx="6916">
                  <c:v>#N/A</c:v>
                </c:pt>
                <c:pt idx="6917">
                  <c:v>2.80945</c:v>
                </c:pt>
                <c:pt idx="6918">
                  <c:v>2.2035300000000002</c:v>
                </c:pt>
                <c:pt idx="6919">
                  <c:v>2.34463</c:v>
                </c:pt>
                <c:pt idx="6920">
                  <c:v>#N/A</c:v>
                </c:pt>
                <c:pt idx="6921">
                  <c:v>2.8566400000000001</c:v>
                </c:pt>
                <c:pt idx="6922">
                  <c:v>2.5195799999999999</c:v>
                </c:pt>
                <c:pt idx="6923">
                  <c:v>2.3482500000000002</c:v>
                </c:pt>
                <c:pt idx="6924">
                  <c:v>#N/A</c:v>
                </c:pt>
                <c:pt idx="6925">
                  <c:v>2.5633699999999999</c:v>
                </c:pt>
                <c:pt idx="6926">
                  <c:v>2.2200799999999998</c:v>
                </c:pt>
                <c:pt idx="6927">
                  <c:v>2.1011000000000002</c:v>
                </c:pt>
                <c:pt idx="6928">
                  <c:v>2.8131200000000001</c:v>
                </c:pt>
                <c:pt idx="6929">
                  <c:v>#N/A</c:v>
                </c:pt>
                <c:pt idx="6930">
                  <c:v>3.08921</c:v>
                </c:pt>
                <c:pt idx="6931">
                  <c:v>2.4955599999999998</c:v>
                </c:pt>
                <c:pt idx="6932">
                  <c:v>2.4697300000000002</c:v>
                </c:pt>
                <c:pt idx="6933">
                  <c:v>#N/A</c:v>
                </c:pt>
                <c:pt idx="6934">
                  <c:v>1.9077599999999999</c:v>
                </c:pt>
                <c:pt idx="6935">
                  <c:v>2.1160299999999999</c:v>
                </c:pt>
                <c:pt idx="6936">
                  <c:v>1.74021</c:v>
                </c:pt>
                <c:pt idx="6937">
                  <c:v>2.03708</c:v>
                </c:pt>
                <c:pt idx="6938">
                  <c:v>#N/A</c:v>
                </c:pt>
                <c:pt idx="6939">
                  <c:v>2.2450299999999999</c:v>
                </c:pt>
                <c:pt idx="6940">
                  <c:v>2.3777900000000001</c:v>
                </c:pt>
                <c:pt idx="6941">
                  <c:v>2.8207499999999999</c:v>
                </c:pt>
                <c:pt idx="6942">
                  <c:v>#N/A</c:v>
                </c:pt>
                <c:pt idx="6943">
                  <c:v>2.5721400000000001</c:v>
                </c:pt>
                <c:pt idx="6944">
                  <c:v>2.6309499999999999</c:v>
                </c:pt>
                <c:pt idx="6945">
                  <c:v>2.4653700000000001</c:v>
                </c:pt>
                <c:pt idx="6946">
                  <c:v>#N/A</c:v>
                </c:pt>
                <c:pt idx="6947">
                  <c:v>2.70587</c:v>
                </c:pt>
                <c:pt idx="6948">
                  <c:v>2.6207400000000001</c:v>
                </c:pt>
                <c:pt idx="6949">
                  <c:v>2.4909400000000002</c:v>
                </c:pt>
                <c:pt idx="6950">
                  <c:v>2.4470700000000001</c:v>
                </c:pt>
                <c:pt idx="6951">
                  <c:v>#N/A</c:v>
                </c:pt>
                <c:pt idx="6952">
                  <c:v>2.79779</c:v>
                </c:pt>
                <c:pt idx="6953">
                  <c:v>2.4003000000000001</c:v>
                </c:pt>
                <c:pt idx="6954">
                  <c:v>1.87666</c:v>
                </c:pt>
                <c:pt idx="6955">
                  <c:v>#N/A</c:v>
                </c:pt>
                <c:pt idx="6956">
                  <c:v>2.27427</c:v>
                </c:pt>
                <c:pt idx="6957">
                  <c:v>1.81284</c:v>
                </c:pt>
                <c:pt idx="6958">
                  <c:v>2.0463800000000001</c:v>
                </c:pt>
                <c:pt idx="6959">
                  <c:v>2.0172500000000002</c:v>
                </c:pt>
                <c:pt idx="6960">
                  <c:v>#N/A</c:v>
                </c:pt>
                <c:pt idx="6961">
                  <c:v>2.7115800000000001</c:v>
                </c:pt>
                <c:pt idx="6962">
                  <c:v>2.0821200000000002</c:v>
                </c:pt>
                <c:pt idx="6963">
                  <c:v>2.2568000000000001</c:v>
                </c:pt>
                <c:pt idx="6964">
                  <c:v>#N/A</c:v>
                </c:pt>
                <c:pt idx="6965">
                  <c:v>2.8473600000000001</c:v>
                </c:pt>
                <c:pt idx="6966">
                  <c:v>2.60839</c:v>
                </c:pt>
                <c:pt idx="6967">
                  <c:v>2.0621100000000001</c:v>
                </c:pt>
                <c:pt idx="6968">
                  <c:v>2.3260100000000001</c:v>
                </c:pt>
                <c:pt idx="6969">
                  <c:v>#N/A</c:v>
                </c:pt>
                <c:pt idx="6970">
                  <c:v>2.27277</c:v>
                </c:pt>
                <c:pt idx="6971">
                  <c:v>2.4086400000000001</c:v>
                </c:pt>
                <c:pt idx="6972">
                  <c:v>1.72187</c:v>
                </c:pt>
                <c:pt idx="6973">
                  <c:v>#N/A</c:v>
                </c:pt>
                <c:pt idx="6974">
                  <c:v>1.72986</c:v>
                </c:pt>
                <c:pt idx="6975">
                  <c:v>1.94214</c:v>
                </c:pt>
                <c:pt idx="6976">
                  <c:v>1.7074</c:v>
                </c:pt>
                <c:pt idx="6977">
                  <c:v>#N/A</c:v>
                </c:pt>
                <c:pt idx="6978">
                  <c:v>1.70783</c:v>
                </c:pt>
                <c:pt idx="6979">
                  <c:v>1.71268</c:v>
                </c:pt>
                <c:pt idx="6980">
                  <c:v>#N/A</c:v>
                </c:pt>
                <c:pt idx="6981">
                  <c:v>2.3674400000000002</c:v>
                </c:pt>
                <c:pt idx="6982">
                  <c:v>#N/A</c:v>
                </c:pt>
                <c:pt idx="6983">
                  <c:v>2.1535000000000002</c:v>
                </c:pt>
                <c:pt idx="6984">
                  <c:v>2.25088</c:v>
                </c:pt>
                <c:pt idx="6985">
                  <c:v>2.5657800000000002</c:v>
                </c:pt>
                <c:pt idx="6986">
                  <c:v>#N/A</c:v>
                </c:pt>
                <c:pt idx="6987">
                  <c:v>2.6030099999999998</c:v>
                </c:pt>
                <c:pt idx="6988">
                  <c:v>2.6672600000000002</c:v>
                </c:pt>
                <c:pt idx="6989">
                  <c:v>2.63863</c:v>
                </c:pt>
                <c:pt idx="6990">
                  <c:v>2.5526499999999999</c:v>
                </c:pt>
                <c:pt idx="6991">
                  <c:v>#N/A</c:v>
                </c:pt>
                <c:pt idx="6992">
                  <c:v>2.5843400000000001</c:v>
                </c:pt>
                <c:pt idx="6993">
                  <c:v>2.2758799999999999</c:v>
                </c:pt>
                <c:pt idx="6994">
                  <c:v>1.5559799999999999</c:v>
                </c:pt>
                <c:pt idx="6995">
                  <c:v>#N/A</c:v>
                </c:pt>
                <c:pt idx="6996">
                  <c:v>1.53918</c:v>
                </c:pt>
                <c:pt idx="6997">
                  <c:v>2.0811000000000002</c:v>
                </c:pt>
                <c:pt idx="6998">
                  <c:v>2.44319</c:v>
                </c:pt>
                <c:pt idx="6999">
                  <c:v>2.1810200000000002</c:v>
                </c:pt>
                <c:pt idx="7000">
                  <c:v>#N/A</c:v>
                </c:pt>
                <c:pt idx="7001">
                  <c:v>2.9408099999999999</c:v>
                </c:pt>
                <c:pt idx="7002">
                  <c:v>2.7007599999999998</c:v>
                </c:pt>
                <c:pt idx="7003">
                  <c:v>2.3325499999999999</c:v>
                </c:pt>
                <c:pt idx="7004">
                  <c:v>#N/A</c:v>
                </c:pt>
                <c:pt idx="7005">
                  <c:v>2.5388199999999999</c:v>
                </c:pt>
                <c:pt idx="7006">
                  <c:v>2.1823199999999998</c:v>
                </c:pt>
                <c:pt idx="7007">
                  <c:v>2.5221</c:v>
                </c:pt>
                <c:pt idx="7008">
                  <c:v>2.5204900000000001</c:v>
                </c:pt>
                <c:pt idx="7009">
                  <c:v>#N/A</c:v>
                </c:pt>
                <c:pt idx="7010">
                  <c:v>2.9162599999999999</c:v>
                </c:pt>
                <c:pt idx="7011">
                  <c:v>2.6575000000000002</c:v>
                </c:pt>
                <c:pt idx="7012">
                  <c:v>2.05423</c:v>
                </c:pt>
                <c:pt idx="7013">
                  <c:v>#N/A</c:v>
                </c:pt>
                <c:pt idx="7014">
                  <c:v>1.7425299999999999</c:v>
                </c:pt>
                <c:pt idx="7015">
                  <c:v>1.73603</c:v>
                </c:pt>
                <c:pt idx="7016">
                  <c:v>1.8905799999999999</c:v>
                </c:pt>
                <c:pt idx="7017">
                  <c:v>#N/A</c:v>
                </c:pt>
                <c:pt idx="7018">
                  <c:v>2.02224</c:v>
                </c:pt>
                <c:pt idx="7019">
                  <c:v>2.8495599999999999</c:v>
                </c:pt>
                <c:pt idx="7020">
                  <c:v>2.40178</c:v>
                </c:pt>
                <c:pt idx="7021">
                  <c:v>2.5540799999999999</c:v>
                </c:pt>
                <c:pt idx="7022">
                  <c:v>#N/A</c:v>
                </c:pt>
                <c:pt idx="7023">
                  <c:v>2.8076400000000001</c:v>
                </c:pt>
                <c:pt idx="7024">
                  <c:v>2.5061599999999999</c:v>
                </c:pt>
                <c:pt idx="7025">
                  <c:v>2.3807100000000001</c:v>
                </c:pt>
                <c:pt idx="7026">
                  <c:v>2.32389</c:v>
                </c:pt>
                <c:pt idx="7027">
                  <c:v>#N/A</c:v>
                </c:pt>
                <c:pt idx="7028">
                  <c:v>2.6798899999999999</c:v>
                </c:pt>
                <c:pt idx="7029">
                  <c:v>2.24071</c:v>
                </c:pt>
                <c:pt idx="7030">
                  <c:v>2.1390099999999999</c:v>
                </c:pt>
                <c:pt idx="7031">
                  <c:v>#N/A</c:v>
                </c:pt>
                <c:pt idx="7032">
                  <c:v>2.37521</c:v>
                </c:pt>
                <c:pt idx="7033">
                  <c:v>2.1431399999999998</c:v>
                </c:pt>
                <c:pt idx="7034">
                  <c:v>1.91042</c:v>
                </c:pt>
                <c:pt idx="7035">
                  <c:v>#N/A</c:v>
                </c:pt>
                <c:pt idx="7036">
                  <c:v>1.76902</c:v>
                </c:pt>
                <c:pt idx="7037">
                  <c:v>1.80148</c:v>
                </c:pt>
                <c:pt idx="7038">
                  <c:v>2.0464899999999999</c:v>
                </c:pt>
                <c:pt idx="7039">
                  <c:v>1.94095</c:v>
                </c:pt>
                <c:pt idx="7040">
                  <c:v>#N/A</c:v>
                </c:pt>
                <c:pt idx="7041">
                  <c:v>2.1618599999999999</c:v>
                </c:pt>
                <c:pt idx="7042">
                  <c:v>2.4775700000000001</c:v>
                </c:pt>
                <c:pt idx="7043">
                  <c:v>2.45764</c:v>
                </c:pt>
                <c:pt idx="7044">
                  <c:v>#N/A</c:v>
                </c:pt>
                <c:pt idx="7045">
                  <c:v>2.2817099999999999</c:v>
                </c:pt>
                <c:pt idx="7046">
                  <c:v>2.8194599999999999</c:v>
                </c:pt>
                <c:pt idx="7047">
                  <c:v>2.65598</c:v>
                </c:pt>
                <c:pt idx="7048">
                  <c:v>#N/A</c:v>
                </c:pt>
                <c:pt idx="7049">
                  <c:v>2.5642100000000001</c:v>
                </c:pt>
                <c:pt idx="7050">
                  <c:v>2.6510899999999999</c:v>
                </c:pt>
                <c:pt idx="7051">
                  <c:v>2.4921700000000002</c:v>
                </c:pt>
                <c:pt idx="7052">
                  <c:v>1.86269</c:v>
                </c:pt>
                <c:pt idx="7053">
                  <c:v>#N/A</c:v>
                </c:pt>
                <c:pt idx="7054">
                  <c:v>1.6781900000000001</c:v>
                </c:pt>
                <c:pt idx="7055">
                  <c:v>2.3397899999999998</c:v>
                </c:pt>
                <c:pt idx="7056">
                  <c:v>1.65846</c:v>
                </c:pt>
                <c:pt idx="7057">
                  <c:v>#N/A</c:v>
                </c:pt>
                <c:pt idx="7058">
                  <c:v>1.9853700000000001</c:v>
                </c:pt>
                <c:pt idx="7059">
                  <c:v>2.0353699999999999</c:v>
                </c:pt>
                <c:pt idx="7060">
                  <c:v>2.4295499999999999</c:v>
                </c:pt>
                <c:pt idx="7061">
                  <c:v>2.21434</c:v>
                </c:pt>
                <c:pt idx="7062">
                  <c:v>#N/A</c:v>
                </c:pt>
                <c:pt idx="7063">
                  <c:v>2.5239199999999999</c:v>
                </c:pt>
                <c:pt idx="7064">
                  <c:v>2.3098700000000001</c:v>
                </c:pt>
                <c:pt idx="7065">
                  <c:v>2.1474600000000001</c:v>
                </c:pt>
                <c:pt idx="7066">
                  <c:v>#N/A</c:v>
                </c:pt>
                <c:pt idx="7067">
                  <c:v>2.1465399999999999</c:v>
                </c:pt>
                <c:pt idx="7068">
                  <c:v>2.7382300000000002</c:v>
                </c:pt>
                <c:pt idx="7069">
                  <c:v>3.0885500000000001</c:v>
                </c:pt>
                <c:pt idx="7070">
                  <c:v>2.7611599999999998</c:v>
                </c:pt>
                <c:pt idx="7071">
                  <c:v>#N/A</c:v>
                </c:pt>
                <c:pt idx="7072">
                  <c:v>2.5045000000000002</c:v>
                </c:pt>
                <c:pt idx="7073">
                  <c:v>1.9176800000000001</c:v>
                </c:pt>
                <c:pt idx="7074">
                  <c:v>1.77721</c:v>
                </c:pt>
                <c:pt idx="7075">
                  <c:v>#N/A</c:v>
                </c:pt>
                <c:pt idx="7076">
                  <c:v>1.4256</c:v>
                </c:pt>
                <c:pt idx="7077">
                  <c:v>2.55531</c:v>
                </c:pt>
                <c:pt idx="7078">
                  <c:v>2.0477500000000002</c:v>
                </c:pt>
                <c:pt idx="7079">
                  <c:v>2.0442999999999998</c:v>
                </c:pt>
                <c:pt idx="7080">
                  <c:v>#N/A</c:v>
                </c:pt>
                <c:pt idx="7081">
                  <c:v>2.48095</c:v>
                </c:pt>
                <c:pt idx="7082">
                  <c:v>2.6850999999999998</c:v>
                </c:pt>
                <c:pt idx="7083">
                  <c:v>2.2959700000000001</c:v>
                </c:pt>
                <c:pt idx="7084">
                  <c:v>2.0468899999999999</c:v>
                </c:pt>
                <c:pt idx="7085">
                  <c:v>#N/A</c:v>
                </c:pt>
                <c:pt idx="7086">
                  <c:v>2.39317</c:v>
                </c:pt>
                <c:pt idx="7087">
                  <c:v>1.6662699999999999</c:v>
                </c:pt>
                <c:pt idx="7088">
                  <c:v>2.0205500000000001</c:v>
                </c:pt>
                <c:pt idx="7089">
                  <c:v>#N/A</c:v>
                </c:pt>
                <c:pt idx="7090">
                  <c:v>2.3041800000000001</c:v>
                </c:pt>
                <c:pt idx="7091">
                  <c:v>2.6497099999999998</c:v>
                </c:pt>
                <c:pt idx="7092">
                  <c:v>2.5230999999999999</c:v>
                </c:pt>
                <c:pt idx="7093">
                  <c:v>#N/A</c:v>
                </c:pt>
                <c:pt idx="7094">
                  <c:v>2.0260400000000001</c:v>
                </c:pt>
                <c:pt idx="7095">
                  <c:v>2.00739</c:v>
                </c:pt>
                <c:pt idx="7096">
                  <c:v>2.16046</c:v>
                </c:pt>
                <c:pt idx="7097">
                  <c:v>1.46052</c:v>
                </c:pt>
                <c:pt idx="7098">
                  <c:v>#N/A</c:v>
                </c:pt>
                <c:pt idx="7099">
                  <c:v>2.3868499999999999</c:v>
                </c:pt>
                <c:pt idx="7100">
                  <c:v>2.69468</c:v>
                </c:pt>
                <c:pt idx="7101">
                  <c:v>3.1276099999999998</c:v>
                </c:pt>
                <c:pt idx="7102">
                  <c:v>#N/A</c:v>
                </c:pt>
                <c:pt idx="7103">
                  <c:v>2.5937299999999999</c:v>
                </c:pt>
                <c:pt idx="7104">
                  <c:v>2.5471499999999998</c:v>
                </c:pt>
                <c:pt idx="7105">
                  <c:v>2.65062</c:v>
                </c:pt>
                <c:pt idx="7106">
                  <c:v>2.5374699999999999</c:v>
                </c:pt>
                <c:pt idx="7107">
                  <c:v>#N/A</c:v>
                </c:pt>
                <c:pt idx="7108">
                  <c:v>2.5606300000000002</c:v>
                </c:pt>
                <c:pt idx="7109">
                  <c:v>2.1395900000000001</c:v>
                </c:pt>
                <c:pt idx="7110">
                  <c:v>2.5063300000000002</c:v>
                </c:pt>
                <c:pt idx="7111">
                  <c:v>#N/A</c:v>
                </c:pt>
                <c:pt idx="7112">
                  <c:v>1.8546100000000001</c:v>
                </c:pt>
                <c:pt idx="7113">
                  <c:v>2.4956299999999998</c:v>
                </c:pt>
                <c:pt idx="7114">
                  <c:v>2.5877400000000002</c:v>
                </c:pt>
                <c:pt idx="7115">
                  <c:v>#N/A</c:v>
                </c:pt>
                <c:pt idx="7116">
                  <c:v>2.2006000000000001</c:v>
                </c:pt>
                <c:pt idx="7117">
                  <c:v>2.31697</c:v>
                </c:pt>
                <c:pt idx="7118">
                  <c:v>1.8295999999999999</c:v>
                </c:pt>
                <c:pt idx="7119">
                  <c:v>1.85494</c:v>
                </c:pt>
                <c:pt idx="7120">
                  <c:v>#N/A</c:v>
                </c:pt>
                <c:pt idx="7121">
                  <c:v>2.08521</c:v>
                </c:pt>
                <c:pt idx="7122">
                  <c:v>2.37412</c:v>
                </c:pt>
                <c:pt idx="7123">
                  <c:v>2.64323</c:v>
                </c:pt>
                <c:pt idx="7124">
                  <c:v>#N/A</c:v>
                </c:pt>
                <c:pt idx="7125">
                  <c:v>2.65917</c:v>
                </c:pt>
                <c:pt idx="7126">
                  <c:v>2.9675199999999999</c:v>
                </c:pt>
                <c:pt idx="7127">
                  <c:v>2.5581</c:v>
                </c:pt>
                <c:pt idx="7128">
                  <c:v>2.20242</c:v>
                </c:pt>
                <c:pt idx="7129">
                  <c:v>#N/A</c:v>
                </c:pt>
                <c:pt idx="7130">
                  <c:v>2.8318099999999999</c:v>
                </c:pt>
                <c:pt idx="7131">
                  <c:v>2.5586600000000002</c:v>
                </c:pt>
                <c:pt idx="7132">
                  <c:v>2.0274899999999998</c:v>
                </c:pt>
                <c:pt idx="7133">
                  <c:v>#N/A</c:v>
                </c:pt>
                <c:pt idx="7134">
                  <c:v>1.58518</c:v>
                </c:pt>
                <c:pt idx="7135">
                  <c:v>2.3687499999999999</c:v>
                </c:pt>
                <c:pt idx="7136">
                  <c:v>2.2244100000000002</c:v>
                </c:pt>
                <c:pt idx="7137">
                  <c:v>#N/A</c:v>
                </c:pt>
                <c:pt idx="7138">
                  <c:v>2.5644800000000001</c:v>
                </c:pt>
                <c:pt idx="7139">
                  <c:v>2.59796</c:v>
                </c:pt>
                <c:pt idx="7140">
                  <c:v>2.1175600000000001</c:v>
                </c:pt>
                <c:pt idx="7141">
                  <c:v>2.0799300000000001</c:v>
                </c:pt>
                <c:pt idx="7142">
                  <c:v>#N/A</c:v>
                </c:pt>
                <c:pt idx="7143">
                  <c:v>1.7382599999999999</c:v>
                </c:pt>
                <c:pt idx="7144">
                  <c:v>1.7962400000000001</c:v>
                </c:pt>
                <c:pt idx="7145">
                  <c:v>1.7311000000000001</c:v>
                </c:pt>
                <c:pt idx="7146">
                  <c:v>2.5047299999999999</c:v>
                </c:pt>
                <c:pt idx="7147">
                  <c:v>#N/A</c:v>
                </c:pt>
                <c:pt idx="7148">
                  <c:v>2.8762799999999999</c:v>
                </c:pt>
                <c:pt idx="7149">
                  <c:v>2.8298800000000002</c:v>
                </c:pt>
                <c:pt idx="7150">
                  <c:v>2.3585199999999999</c:v>
                </c:pt>
                <c:pt idx="7151">
                  <c:v>#N/A</c:v>
                </c:pt>
                <c:pt idx="7152">
                  <c:v>2.8729499999999999</c:v>
                </c:pt>
                <c:pt idx="7153">
                  <c:v>2.1278800000000002</c:v>
                </c:pt>
                <c:pt idx="7154">
                  <c:v>2.0025200000000001</c:v>
                </c:pt>
                <c:pt idx="7155">
                  <c:v>1.3235399999999999</c:v>
                </c:pt>
                <c:pt idx="7156">
                  <c:v>#N/A</c:v>
                </c:pt>
                <c:pt idx="7157">
                  <c:v>1.643</c:v>
                </c:pt>
                <c:pt idx="7158">
                  <c:v>2.3692099999999998</c:v>
                </c:pt>
                <c:pt idx="7159">
                  <c:v>2.4488599999999998</c:v>
                </c:pt>
                <c:pt idx="7160">
                  <c:v>#N/A</c:v>
                </c:pt>
                <c:pt idx="7161">
                  <c:v>2.86103</c:v>
                </c:pt>
                <c:pt idx="7162">
                  <c:v>2.4145400000000001</c:v>
                </c:pt>
                <c:pt idx="7163">
                  <c:v>2.3472599999999999</c:v>
                </c:pt>
                <c:pt idx="7164">
                  <c:v>#N/A</c:v>
                </c:pt>
                <c:pt idx="7165">
                  <c:v>2.1029300000000002</c:v>
                </c:pt>
                <c:pt idx="7166">
                  <c:v>2.10805</c:v>
                </c:pt>
                <c:pt idx="7167">
                  <c:v>1.81542</c:v>
                </c:pt>
                <c:pt idx="7168">
                  <c:v>2.20261</c:v>
                </c:pt>
                <c:pt idx="7169">
                  <c:v>#N/A</c:v>
                </c:pt>
                <c:pt idx="7170">
                  <c:v>2.4939100000000001</c:v>
                </c:pt>
                <c:pt idx="7171">
                  <c:v>2.62751</c:v>
                </c:pt>
                <c:pt idx="7172">
                  <c:v>2.3799600000000001</c:v>
                </c:pt>
                <c:pt idx="7173">
                  <c:v>#N/A</c:v>
                </c:pt>
                <c:pt idx="7174">
                  <c:v>1.82081</c:v>
                </c:pt>
                <c:pt idx="7175">
                  <c:v>2.09992</c:v>
                </c:pt>
                <c:pt idx="7176">
                  <c:v>1.87361</c:v>
                </c:pt>
                <c:pt idx="7177">
                  <c:v>1.42658</c:v>
                </c:pt>
                <c:pt idx="7178">
                  <c:v>#N/A</c:v>
                </c:pt>
                <c:pt idx="7179">
                  <c:v>1.5689500000000001</c:v>
                </c:pt>
                <c:pt idx="7180">
                  <c:v>1.97021</c:v>
                </c:pt>
                <c:pt idx="7181">
                  <c:v>2.4863400000000002</c:v>
                </c:pt>
                <c:pt idx="7182">
                  <c:v>#N/A</c:v>
                </c:pt>
                <c:pt idx="7183">
                  <c:v>2.6991499999999999</c:v>
                </c:pt>
                <c:pt idx="7184">
                  <c:v>2.6645599999999998</c:v>
                </c:pt>
                <c:pt idx="7185">
                  <c:v>2.5160900000000002</c:v>
                </c:pt>
                <c:pt idx="7186">
                  <c:v>#N/A</c:v>
                </c:pt>
                <c:pt idx="7187">
                  <c:v>2.3782700000000001</c:v>
                </c:pt>
                <c:pt idx="7188">
                  <c:v>1.84941</c:v>
                </c:pt>
                <c:pt idx="7189">
                  <c:v>2.1569600000000002</c:v>
                </c:pt>
                <c:pt idx="7190">
                  <c:v>#N/A</c:v>
                </c:pt>
                <c:pt idx="7191">
                  <c:v>2.4034399999999998</c:v>
                </c:pt>
                <c:pt idx="7192">
                  <c:v>#N/A</c:v>
                </c:pt>
                <c:pt idx="7193">
                  <c:v>2.6269399999999998</c:v>
                </c:pt>
                <c:pt idx="7194">
                  <c:v>1.78016</c:v>
                </c:pt>
                <c:pt idx="7195">
                  <c:v>1.9356100000000001</c:v>
                </c:pt>
                <c:pt idx="7196">
                  <c:v>#N/A</c:v>
                </c:pt>
                <c:pt idx="7197">
                  <c:v>2.2000099999999998</c:v>
                </c:pt>
                <c:pt idx="7198">
                  <c:v>2.0257100000000001</c:v>
                </c:pt>
                <c:pt idx="7199">
                  <c:v>1.64001</c:v>
                </c:pt>
                <c:pt idx="7200">
                  <c:v>1.7404599999999999</c:v>
                </c:pt>
                <c:pt idx="7201">
                  <c:v>#N/A</c:v>
                </c:pt>
                <c:pt idx="7202">
                  <c:v>1.96021</c:v>
                </c:pt>
                <c:pt idx="7203">
                  <c:v>1.96123</c:v>
                </c:pt>
                <c:pt idx="7204">
                  <c:v>1.99518</c:v>
                </c:pt>
                <c:pt idx="7205">
                  <c:v>2.1046999999999998</c:v>
                </c:pt>
                <c:pt idx="7206">
                  <c:v>#N/A</c:v>
                </c:pt>
                <c:pt idx="7207">
                  <c:v>2.3255699999999999</c:v>
                </c:pt>
                <c:pt idx="7208">
                  <c:v>2.4258299999999999</c:v>
                </c:pt>
                <c:pt idx="7209">
                  <c:v>3.1556799999999998</c:v>
                </c:pt>
                <c:pt idx="7210">
                  <c:v>#N/A</c:v>
                </c:pt>
                <c:pt idx="7211">
                  <c:v>2.56839</c:v>
                </c:pt>
                <c:pt idx="7212">
                  <c:v>2.1543199999999998</c:v>
                </c:pt>
                <c:pt idx="7213">
                  <c:v>1.7778700000000001</c:v>
                </c:pt>
                <c:pt idx="7214">
                  <c:v>#N/A</c:v>
                </c:pt>
                <c:pt idx="7215">
                  <c:v>1.79603</c:v>
                </c:pt>
                <c:pt idx="7216">
                  <c:v>1.80331</c:v>
                </c:pt>
                <c:pt idx="7217">
                  <c:v>1.94208</c:v>
                </c:pt>
                <c:pt idx="7218">
                  <c:v>2.5358100000000001</c:v>
                </c:pt>
                <c:pt idx="7219">
                  <c:v>#N/A</c:v>
                </c:pt>
                <c:pt idx="7220">
                  <c:v>2.5371299999999999</c:v>
                </c:pt>
                <c:pt idx="7221">
                  <c:v>2.6699700000000002</c:v>
                </c:pt>
                <c:pt idx="7222">
                  <c:v>2.4945599999999999</c:v>
                </c:pt>
                <c:pt idx="7223">
                  <c:v>#N/A</c:v>
                </c:pt>
                <c:pt idx="7224">
                  <c:v>2.3195899999999998</c:v>
                </c:pt>
                <c:pt idx="7225">
                  <c:v>2.2998599999999998</c:v>
                </c:pt>
                <c:pt idx="7226">
                  <c:v>2.27162</c:v>
                </c:pt>
                <c:pt idx="7227">
                  <c:v>#N/A</c:v>
                </c:pt>
                <c:pt idx="7228">
                  <c:v>2.6162100000000001</c:v>
                </c:pt>
                <c:pt idx="7229">
                  <c:v>2.32315</c:v>
                </c:pt>
                <c:pt idx="7230">
                  <c:v>2.55383</c:v>
                </c:pt>
                <c:pt idx="7231">
                  <c:v>2.4900000000000002</c:v>
                </c:pt>
                <c:pt idx="7232">
                  <c:v>#N/A</c:v>
                </c:pt>
                <c:pt idx="7233">
                  <c:v>2.7836099999999999</c:v>
                </c:pt>
                <c:pt idx="7234">
                  <c:v>1.79114</c:v>
                </c:pt>
                <c:pt idx="7235">
                  <c:v>1.58216</c:v>
                </c:pt>
                <c:pt idx="7236">
                  <c:v>1.4073899999999999</c:v>
                </c:pt>
                <c:pt idx="7237">
                  <c:v>#N/A</c:v>
                </c:pt>
                <c:pt idx="7238">
                  <c:v>1.7696499999999999</c:v>
                </c:pt>
                <c:pt idx="7239">
                  <c:v>1.9982</c:v>
                </c:pt>
                <c:pt idx="7240">
                  <c:v>2.5228199999999998</c:v>
                </c:pt>
                <c:pt idx="7241">
                  <c:v>#N/A</c:v>
                </c:pt>
                <c:pt idx="7242">
                  <c:v>2.61164</c:v>
                </c:pt>
                <c:pt idx="7243">
                  <c:v>2.3089499999999998</c:v>
                </c:pt>
                <c:pt idx="7244">
                  <c:v>2.31589</c:v>
                </c:pt>
                <c:pt idx="7245">
                  <c:v>2.2971900000000001</c:v>
                </c:pt>
                <c:pt idx="7246">
                  <c:v>#N/A</c:v>
                </c:pt>
                <c:pt idx="7247">
                  <c:v>2.16865</c:v>
                </c:pt>
                <c:pt idx="7248">
                  <c:v>1.9097900000000001</c:v>
                </c:pt>
                <c:pt idx="7249">
                  <c:v>2.34904</c:v>
                </c:pt>
                <c:pt idx="7250">
                  <c:v>#N/A</c:v>
                </c:pt>
                <c:pt idx="7251">
                  <c:v>2.5287099999999998</c:v>
                </c:pt>
                <c:pt idx="7252">
                  <c:v>2.06446</c:v>
                </c:pt>
                <c:pt idx="7253">
                  <c:v>1.9979499999999999</c:v>
                </c:pt>
                <c:pt idx="7254">
                  <c:v>#N/A</c:v>
                </c:pt>
                <c:pt idx="7255">
                  <c:v>1.9406399999999999</c:v>
                </c:pt>
                <c:pt idx="7256">
                  <c:v>2.2214999999999998</c:v>
                </c:pt>
                <c:pt idx="7257">
                  <c:v>2.00779</c:v>
                </c:pt>
                <c:pt idx="7258">
                  <c:v>1.5831</c:v>
                </c:pt>
                <c:pt idx="7259">
                  <c:v>#N/A</c:v>
                </c:pt>
                <c:pt idx="7260">
                  <c:v>1.94167</c:v>
                </c:pt>
                <c:pt idx="7261">
                  <c:v>1.9086000000000001</c:v>
                </c:pt>
                <c:pt idx="7262">
                  <c:v>2.22879</c:v>
                </c:pt>
                <c:pt idx="7263">
                  <c:v>#N/A</c:v>
                </c:pt>
                <c:pt idx="7264">
                  <c:v>2.2204600000000001</c:v>
                </c:pt>
                <c:pt idx="7265">
                  <c:v>#N/A</c:v>
                </c:pt>
                <c:pt idx="7266">
                  <c:v>2.6926999999999999</c:v>
                </c:pt>
                <c:pt idx="7267">
                  <c:v>2.3127900000000001</c:v>
                </c:pt>
                <c:pt idx="7268">
                  <c:v>2.6724600000000001</c:v>
                </c:pt>
                <c:pt idx="7269">
                  <c:v>2.2115100000000001</c:v>
                </c:pt>
                <c:pt idx="7270">
                  <c:v>#N/A</c:v>
                </c:pt>
                <c:pt idx="7271">
                  <c:v>2.4222600000000001</c:v>
                </c:pt>
                <c:pt idx="7272">
                  <c:v>1.8295999999999999</c:v>
                </c:pt>
                <c:pt idx="7273">
                  <c:v>1.31741</c:v>
                </c:pt>
                <c:pt idx="7274">
                  <c:v>#N/A</c:v>
                </c:pt>
                <c:pt idx="7275">
                  <c:v>1.8831199999999999</c:v>
                </c:pt>
                <c:pt idx="7276">
                  <c:v>2.2193700000000001</c:v>
                </c:pt>
                <c:pt idx="7277">
                  <c:v>#N/A</c:v>
                </c:pt>
                <c:pt idx="7278">
                  <c:v>#N/A</c:v>
                </c:pt>
                <c:pt idx="7279">
                  <c:v>#N/A</c:v>
                </c:pt>
                <c:pt idx="7280">
                  <c:v>#N/A</c:v>
                </c:pt>
                <c:pt idx="7281">
                  <c:v>#N/A</c:v>
                </c:pt>
                <c:pt idx="7282">
                  <c:v>#N/A</c:v>
                </c:pt>
                <c:pt idx="7283">
                  <c:v>#N/A</c:v>
                </c:pt>
                <c:pt idx="7284">
                  <c:v>#N/A</c:v>
                </c:pt>
                <c:pt idx="7285">
                  <c:v>#N/A</c:v>
                </c:pt>
                <c:pt idx="7286">
                  <c:v>#N/A</c:v>
                </c:pt>
                <c:pt idx="7287">
                  <c:v>#N/A</c:v>
                </c:pt>
                <c:pt idx="7288">
                  <c:v>#N/A</c:v>
                </c:pt>
                <c:pt idx="7289">
                  <c:v>#N/A</c:v>
                </c:pt>
                <c:pt idx="7290">
                  <c:v>#N/A</c:v>
                </c:pt>
                <c:pt idx="7291">
                  <c:v>#N/A</c:v>
                </c:pt>
                <c:pt idx="7292">
                  <c:v>#N/A</c:v>
                </c:pt>
                <c:pt idx="7293">
                  <c:v>#N/A</c:v>
                </c:pt>
                <c:pt idx="7294">
                  <c:v>#N/A</c:v>
                </c:pt>
                <c:pt idx="7295">
                  <c:v>#N/A</c:v>
                </c:pt>
                <c:pt idx="7296">
                  <c:v>#N/A</c:v>
                </c:pt>
                <c:pt idx="7297">
                  <c:v>#N/A</c:v>
                </c:pt>
                <c:pt idx="7298">
                  <c:v>#N/A</c:v>
                </c:pt>
                <c:pt idx="7299">
                  <c:v>1.7598499999999999</c:v>
                </c:pt>
                <c:pt idx="7300">
                  <c:v>2.3056299999999998</c:v>
                </c:pt>
                <c:pt idx="7301">
                  <c:v>2.6783000000000001</c:v>
                </c:pt>
                <c:pt idx="7302">
                  <c:v>#N/A</c:v>
                </c:pt>
                <c:pt idx="7303">
                  <c:v>2.30246</c:v>
                </c:pt>
                <c:pt idx="7304">
                  <c:v>2.1784599999999998</c:v>
                </c:pt>
                <c:pt idx="7305">
                  <c:v>2.01885</c:v>
                </c:pt>
                <c:pt idx="7306">
                  <c:v>#N/A</c:v>
                </c:pt>
                <c:pt idx="7307">
                  <c:v>1.88836</c:v>
                </c:pt>
                <c:pt idx="7308">
                  <c:v>2.2104599999999999</c:v>
                </c:pt>
                <c:pt idx="7309">
                  <c:v>3.08684</c:v>
                </c:pt>
                <c:pt idx="7310">
                  <c:v>2.5351300000000001</c:v>
                </c:pt>
                <c:pt idx="7311">
                  <c:v>#N/A</c:v>
                </c:pt>
                <c:pt idx="7312">
                  <c:v>2.63984</c:v>
                </c:pt>
                <c:pt idx="7313">
                  <c:v>2.0587300000000002</c:v>
                </c:pt>
                <c:pt idx="7314">
                  <c:v>2.0596100000000002</c:v>
                </c:pt>
                <c:pt idx="7315">
                  <c:v>#N/A</c:v>
                </c:pt>
                <c:pt idx="7316">
                  <c:v>1.62904</c:v>
                </c:pt>
                <c:pt idx="7317">
                  <c:v>1.2884</c:v>
                </c:pt>
                <c:pt idx="7318">
                  <c:v>1.8623700000000001</c:v>
                </c:pt>
                <c:pt idx="7319">
                  <c:v>2.0252699999999999</c:v>
                </c:pt>
                <c:pt idx="7320">
                  <c:v>#N/A</c:v>
                </c:pt>
                <c:pt idx="7321">
                  <c:v>2.1981199999999999</c:v>
                </c:pt>
                <c:pt idx="7322">
                  <c:v>1.87978</c:v>
                </c:pt>
                <c:pt idx="7323">
                  <c:v>2.27949</c:v>
                </c:pt>
                <c:pt idx="7324">
                  <c:v>#N/A</c:v>
                </c:pt>
                <c:pt idx="7325">
                  <c:v>2.7200099999999998</c:v>
                </c:pt>
                <c:pt idx="7326">
                  <c:v>2.5484100000000001</c:v>
                </c:pt>
                <c:pt idx="7327">
                  <c:v>2.8111100000000002</c:v>
                </c:pt>
                <c:pt idx="7328">
                  <c:v>2.2287499999999998</c:v>
                </c:pt>
                <c:pt idx="7329">
                  <c:v>#N/A</c:v>
                </c:pt>
                <c:pt idx="7330">
                  <c:v>1.7156800000000001</c:v>
                </c:pt>
                <c:pt idx="7331">
                  <c:v>2.4494400000000001</c:v>
                </c:pt>
                <c:pt idx="7332">
                  <c:v>2.5300699999999998</c:v>
                </c:pt>
                <c:pt idx="7333">
                  <c:v>2.2036199999999999</c:v>
                </c:pt>
                <c:pt idx="7334">
                  <c:v>#N/A</c:v>
                </c:pt>
                <c:pt idx="7335">
                  <c:v>2.5160900000000002</c:v>
                </c:pt>
                <c:pt idx="7336">
                  <c:v>#N/A</c:v>
                </c:pt>
                <c:pt idx="7337">
                  <c:v>2.2811300000000001</c:v>
                </c:pt>
                <c:pt idx="7338">
                  <c:v>2.5036299999999998</c:v>
                </c:pt>
                <c:pt idx="7339">
                  <c:v>#N/A</c:v>
                </c:pt>
                <c:pt idx="7340">
                  <c:v>2.5379399999999999</c:v>
                </c:pt>
                <c:pt idx="7341">
                  <c:v>2.18309</c:v>
                </c:pt>
                <c:pt idx="7342">
                  <c:v>2.0005299999999999</c:v>
                </c:pt>
                <c:pt idx="7343">
                  <c:v>2.1499799999999998</c:v>
                </c:pt>
                <c:pt idx="7344">
                  <c:v>#N/A</c:v>
                </c:pt>
                <c:pt idx="7345">
                  <c:v>2.4677500000000001</c:v>
                </c:pt>
                <c:pt idx="7346">
                  <c:v>2.3197399999999999</c:v>
                </c:pt>
                <c:pt idx="7347">
                  <c:v>3.1399699999999999</c:v>
                </c:pt>
                <c:pt idx="7348">
                  <c:v>#N/A</c:v>
                </c:pt>
                <c:pt idx="7349">
                  <c:v>2.5849899999999999</c:v>
                </c:pt>
                <c:pt idx="7350">
                  <c:v>2.2549399999999999</c:v>
                </c:pt>
                <c:pt idx="7351">
                  <c:v>1.8780699999999999</c:v>
                </c:pt>
                <c:pt idx="7352">
                  <c:v>2.0616500000000002</c:v>
                </c:pt>
                <c:pt idx="7353">
                  <c:v>#N/A</c:v>
                </c:pt>
                <c:pt idx="7354">
                  <c:v>1.74404</c:v>
                </c:pt>
                <c:pt idx="7355">
                  <c:v>1.4727699999999999</c:v>
                </c:pt>
                <c:pt idx="7356">
                  <c:v>2.1728399999999999</c:v>
                </c:pt>
                <c:pt idx="7357">
                  <c:v>#N/A</c:v>
                </c:pt>
                <c:pt idx="7358">
                  <c:v>2.14316</c:v>
                </c:pt>
                <c:pt idx="7359">
                  <c:v>2.2323300000000001</c:v>
                </c:pt>
                <c:pt idx="7360">
                  <c:v>2.7689599999999999</c:v>
                </c:pt>
                <c:pt idx="7361">
                  <c:v>2.0961400000000001</c:v>
                </c:pt>
                <c:pt idx="7362">
                  <c:v>#N/A</c:v>
                </c:pt>
                <c:pt idx="7363">
                  <c:v>2.12235</c:v>
                </c:pt>
                <c:pt idx="7364">
                  <c:v>2.1496599999999999</c:v>
                </c:pt>
                <c:pt idx="7365">
                  <c:v>2.2979799999999999</c:v>
                </c:pt>
                <c:pt idx="7366">
                  <c:v>#N/A</c:v>
                </c:pt>
                <c:pt idx="7367">
                  <c:v>2.5351499999999998</c:v>
                </c:pt>
                <c:pt idx="7368">
                  <c:v>2.8897200000000001</c:v>
                </c:pt>
                <c:pt idx="7369">
                  <c:v>2.5426700000000002</c:v>
                </c:pt>
                <c:pt idx="7370">
                  <c:v>#N/A</c:v>
                </c:pt>
                <c:pt idx="7371">
                  <c:v>3.1790799999999999</c:v>
                </c:pt>
                <c:pt idx="7372">
                  <c:v>2.3759800000000002</c:v>
                </c:pt>
                <c:pt idx="7373">
                  <c:v>1.87707</c:v>
                </c:pt>
                <c:pt idx="7374">
                  <c:v>#N/A</c:v>
                </c:pt>
                <c:pt idx="7375">
                  <c:v>1.08222</c:v>
                </c:pt>
                <c:pt idx="7376">
                  <c:v>1.5015499999999999</c:v>
                </c:pt>
                <c:pt idx="7377">
                  <c:v>1.7196899999999999</c:v>
                </c:pt>
                <c:pt idx="7378">
                  <c:v>#N/A</c:v>
                </c:pt>
                <c:pt idx="7379">
                  <c:v>1.79823</c:v>
                </c:pt>
                <c:pt idx="7380">
                  <c:v>2.4285100000000002</c:v>
                </c:pt>
                <c:pt idx="7381">
                  <c:v>2.5697700000000001</c:v>
                </c:pt>
                <c:pt idx="7382">
                  <c:v>2.26925</c:v>
                </c:pt>
                <c:pt idx="7383">
                  <c:v>#N/A</c:v>
                </c:pt>
                <c:pt idx="7384">
                  <c:v>2.1446499999999999</c:v>
                </c:pt>
                <c:pt idx="7385">
                  <c:v>2.3672200000000001</c:v>
                </c:pt>
                <c:pt idx="7386">
                  <c:v>1.9374800000000001</c:v>
                </c:pt>
                <c:pt idx="7387">
                  <c:v>#N/A</c:v>
                </c:pt>
                <c:pt idx="7388">
                  <c:v>2.01213</c:v>
                </c:pt>
                <c:pt idx="7389">
                  <c:v>2.0436399999999999</c:v>
                </c:pt>
                <c:pt idx="7390">
                  <c:v>2.79297</c:v>
                </c:pt>
                <c:pt idx="7391">
                  <c:v>2.3805299999999998</c:v>
                </c:pt>
                <c:pt idx="7392">
                  <c:v>#N/A</c:v>
                </c:pt>
                <c:pt idx="7393">
                  <c:v>2.2052299999999998</c:v>
                </c:pt>
                <c:pt idx="7394">
                  <c:v>2.1461999999999999</c:v>
                </c:pt>
                <c:pt idx="7395">
                  <c:v>1.8318000000000001</c:v>
                </c:pt>
                <c:pt idx="7396">
                  <c:v>#N/A</c:v>
                </c:pt>
                <c:pt idx="7397">
                  <c:v>1.4456500000000001</c:v>
                </c:pt>
                <c:pt idx="7398">
                  <c:v>1.53146</c:v>
                </c:pt>
                <c:pt idx="7399">
                  <c:v>2.08365</c:v>
                </c:pt>
                <c:pt idx="7400">
                  <c:v>#N/A</c:v>
                </c:pt>
                <c:pt idx="7401">
                  <c:v>2.31494</c:v>
                </c:pt>
                <c:pt idx="7402">
                  <c:v>1.93255</c:v>
                </c:pt>
                <c:pt idx="7403">
                  <c:v>2.2511399999999999</c:v>
                </c:pt>
                <c:pt idx="7404">
                  <c:v>2.2867600000000001</c:v>
                </c:pt>
                <c:pt idx="7405">
                  <c:v>#N/A</c:v>
                </c:pt>
                <c:pt idx="7406">
                  <c:v>2.1405099999999999</c:v>
                </c:pt>
                <c:pt idx="7407">
                  <c:v>2.4332600000000002</c:v>
                </c:pt>
                <c:pt idx="7408">
                  <c:v>#N/A</c:v>
                </c:pt>
                <c:pt idx="7409">
                  <c:v>2.7393200000000002</c:v>
                </c:pt>
                <c:pt idx="7410">
                  <c:v>2.2993600000000001</c:v>
                </c:pt>
                <c:pt idx="7411">
                  <c:v>2.1733899999999999</c:v>
                </c:pt>
                <c:pt idx="7412">
                  <c:v>#N/A</c:v>
                </c:pt>
                <c:pt idx="7413">
                  <c:v>1.8178300000000001</c:v>
                </c:pt>
                <c:pt idx="7414">
                  <c:v>2.1994400000000001</c:v>
                </c:pt>
                <c:pt idx="7415">
                  <c:v>1.79088</c:v>
                </c:pt>
                <c:pt idx="7416">
                  <c:v>2.3380200000000002</c:v>
                </c:pt>
                <c:pt idx="7417">
                  <c:v>#N/A</c:v>
                </c:pt>
                <c:pt idx="7418">
                  <c:v>2.5200900000000002</c:v>
                </c:pt>
                <c:pt idx="7419">
                  <c:v>1.9816199999999999</c:v>
                </c:pt>
                <c:pt idx="7420">
                  <c:v>2.0956399999999999</c:v>
                </c:pt>
                <c:pt idx="7421">
                  <c:v>#N/A</c:v>
                </c:pt>
                <c:pt idx="7422">
                  <c:v>1.77742</c:v>
                </c:pt>
                <c:pt idx="7423">
                  <c:v>2.1334599999999999</c:v>
                </c:pt>
                <c:pt idx="7424">
                  <c:v>2.4138299999999999</c:v>
                </c:pt>
                <c:pt idx="7425">
                  <c:v>2.3117200000000002</c:v>
                </c:pt>
                <c:pt idx="7426">
                  <c:v>#N/A</c:v>
                </c:pt>
                <c:pt idx="7427">
                  <c:v>2.7545199999999999</c:v>
                </c:pt>
                <c:pt idx="7428">
                  <c:v>2.6037499999999998</c:v>
                </c:pt>
                <c:pt idx="7429">
                  <c:v>2.0193599999999998</c:v>
                </c:pt>
                <c:pt idx="7430">
                  <c:v>#N/A</c:v>
                </c:pt>
                <c:pt idx="7431">
                  <c:v>2.10581</c:v>
                </c:pt>
                <c:pt idx="7432">
                  <c:v>2.2937500000000002</c:v>
                </c:pt>
                <c:pt idx="7433">
                  <c:v>1.6794</c:v>
                </c:pt>
                <c:pt idx="7434">
                  <c:v>#N/A</c:v>
                </c:pt>
                <c:pt idx="7435">
                  <c:v>1.53833</c:v>
                </c:pt>
                <c:pt idx="7436">
                  <c:v>1.5722400000000001</c:v>
                </c:pt>
                <c:pt idx="7437">
                  <c:v>1.9709700000000001</c:v>
                </c:pt>
                <c:pt idx="7438">
                  <c:v>2.17875</c:v>
                </c:pt>
                <c:pt idx="7439">
                  <c:v>#N/A</c:v>
                </c:pt>
                <c:pt idx="7440">
                  <c:v>2.6777099999999998</c:v>
                </c:pt>
                <c:pt idx="7441">
                  <c:v>2.5259299999999998</c:v>
                </c:pt>
                <c:pt idx="7442">
                  <c:v>2.2565200000000001</c:v>
                </c:pt>
                <c:pt idx="7443">
                  <c:v>#N/A</c:v>
                </c:pt>
                <c:pt idx="7444">
                  <c:v>2.06298</c:v>
                </c:pt>
                <c:pt idx="7445">
                  <c:v>2.2407300000000001</c:v>
                </c:pt>
                <c:pt idx="7446">
                  <c:v>2.16425</c:v>
                </c:pt>
                <c:pt idx="7447">
                  <c:v>#N/A</c:v>
                </c:pt>
                <c:pt idx="7448">
                  <c:v>2.4667699999999999</c:v>
                </c:pt>
                <c:pt idx="7449">
                  <c:v>3.0458599999999998</c:v>
                </c:pt>
                <c:pt idx="7450">
                  <c:v>2.8590100000000001</c:v>
                </c:pt>
                <c:pt idx="7451">
                  <c:v>2.43777</c:v>
                </c:pt>
                <c:pt idx="7452">
                  <c:v>#N/A</c:v>
                </c:pt>
                <c:pt idx="7453">
                  <c:v>1.99363</c:v>
                </c:pt>
                <c:pt idx="7454">
                  <c:v>1.7226699999999999</c:v>
                </c:pt>
                <c:pt idx="7455">
                  <c:v>1.9719599999999999</c:v>
                </c:pt>
                <c:pt idx="7456">
                  <c:v>1.81775</c:v>
                </c:pt>
                <c:pt idx="7457">
                  <c:v>#N/A</c:v>
                </c:pt>
                <c:pt idx="7458">
                  <c:v>1.9359599999999999</c:v>
                </c:pt>
                <c:pt idx="7459">
                  <c:v>2.0172099999999999</c:v>
                </c:pt>
                <c:pt idx="7460">
                  <c:v>2.46638</c:v>
                </c:pt>
                <c:pt idx="7461">
                  <c:v>#N/A</c:v>
                </c:pt>
                <c:pt idx="7462">
                  <c:v>2.1636000000000002</c:v>
                </c:pt>
                <c:pt idx="7463">
                  <c:v>2.4374899999999999</c:v>
                </c:pt>
                <c:pt idx="7464">
                  <c:v>2.0313699999999999</c:v>
                </c:pt>
                <c:pt idx="7465">
                  <c:v>#N/A</c:v>
                </c:pt>
                <c:pt idx="7466">
                  <c:v>2.1947000000000001</c:v>
                </c:pt>
                <c:pt idx="7467">
                  <c:v>2.52888</c:v>
                </c:pt>
                <c:pt idx="7468">
                  <c:v>3.0142699999999998</c:v>
                </c:pt>
                <c:pt idx="7469">
                  <c:v>3.4512200000000002</c:v>
                </c:pt>
                <c:pt idx="7470">
                  <c:v>#N/A</c:v>
                </c:pt>
                <c:pt idx="7471">
                  <c:v>3.4990000000000001</c:v>
                </c:pt>
                <c:pt idx="7472">
                  <c:v>2.94217</c:v>
                </c:pt>
                <c:pt idx="7473">
                  <c:v>2.4487899999999998</c:v>
                </c:pt>
                <c:pt idx="7474">
                  <c:v>#N/A</c:v>
                </c:pt>
                <c:pt idx="7475">
                  <c:v>1.9756899999999999</c:v>
                </c:pt>
                <c:pt idx="7476">
                  <c:v>1.3103899999999999</c:v>
                </c:pt>
                <c:pt idx="7477">
                  <c:v>1.4591099999999999</c:v>
                </c:pt>
                <c:pt idx="7478">
                  <c:v>#N/A</c:v>
                </c:pt>
                <c:pt idx="7479">
                  <c:v>1.38907</c:v>
                </c:pt>
                <c:pt idx="7480">
                  <c:v>#N/A</c:v>
                </c:pt>
                <c:pt idx="7481">
                  <c:v>1.4857400000000001</c:v>
                </c:pt>
                <c:pt idx="7482">
                  <c:v>1.4124099999999999</c:v>
                </c:pt>
                <c:pt idx="7483">
                  <c:v>1.68719</c:v>
                </c:pt>
                <c:pt idx="7484">
                  <c:v>#N/A</c:v>
                </c:pt>
                <c:pt idx="7485">
                  <c:v>1.7976000000000001</c:v>
                </c:pt>
                <c:pt idx="7486">
                  <c:v>1.76162</c:v>
                </c:pt>
                <c:pt idx="7487">
                  <c:v>1.84934</c:v>
                </c:pt>
                <c:pt idx="7488">
                  <c:v>#N/A</c:v>
                </c:pt>
                <c:pt idx="7489">
                  <c:v>2.4577499999999999</c:v>
                </c:pt>
                <c:pt idx="7490">
                  <c:v>2.5844299999999998</c:v>
                </c:pt>
                <c:pt idx="7491">
                  <c:v>2.0577200000000002</c:v>
                </c:pt>
                <c:pt idx="7492">
                  <c:v>#N/A</c:v>
                </c:pt>
                <c:pt idx="7493">
                  <c:v>1.92187</c:v>
                </c:pt>
                <c:pt idx="7494">
                  <c:v>2.0674600000000001</c:v>
                </c:pt>
                <c:pt idx="7495">
                  <c:v>2.14174</c:v>
                </c:pt>
                <c:pt idx="7496">
                  <c:v>1.8391999999999999</c:v>
                </c:pt>
                <c:pt idx="7497">
                  <c:v>#N/A</c:v>
                </c:pt>
                <c:pt idx="7498">
                  <c:v>2.0525500000000001</c:v>
                </c:pt>
                <c:pt idx="7499">
                  <c:v>2.2985600000000002</c:v>
                </c:pt>
                <c:pt idx="7500">
                  <c:v>2.6366200000000002</c:v>
                </c:pt>
                <c:pt idx="7501">
                  <c:v>#N/A</c:v>
                </c:pt>
                <c:pt idx="7502">
                  <c:v>1.77515</c:v>
                </c:pt>
                <c:pt idx="7503">
                  <c:v>2.1441499999999998</c:v>
                </c:pt>
                <c:pt idx="7504">
                  <c:v>1.57376</c:v>
                </c:pt>
                <c:pt idx="7505">
                  <c:v>#N/A</c:v>
                </c:pt>
                <c:pt idx="7506">
                  <c:v>1.85155</c:v>
                </c:pt>
                <c:pt idx="7507">
                  <c:v>1.93171</c:v>
                </c:pt>
                <c:pt idx="7508">
                  <c:v>2.3988700000000001</c:v>
                </c:pt>
                <c:pt idx="7509">
                  <c:v>#N/A</c:v>
                </c:pt>
                <c:pt idx="7510">
                  <c:v>2.3669799999999999</c:v>
                </c:pt>
                <c:pt idx="7511">
                  <c:v>2.0687099999999998</c:v>
                </c:pt>
                <c:pt idx="7512">
                  <c:v>1.82524</c:v>
                </c:pt>
                <c:pt idx="7513">
                  <c:v>1.8852500000000001</c:v>
                </c:pt>
                <c:pt idx="7514">
                  <c:v>#N/A</c:v>
                </c:pt>
                <c:pt idx="7515">
                  <c:v>1.5345899999999999</c:v>
                </c:pt>
                <c:pt idx="7516">
                  <c:v>1.7727200000000001</c:v>
                </c:pt>
                <c:pt idx="7517">
                  <c:v>2.39005</c:v>
                </c:pt>
                <c:pt idx="7518">
                  <c:v>2.5690900000000001</c:v>
                </c:pt>
                <c:pt idx="7519">
                  <c:v>#N/A</c:v>
                </c:pt>
                <c:pt idx="7520">
                  <c:v>2.6502500000000002</c:v>
                </c:pt>
                <c:pt idx="7521">
                  <c:v>2.5106899999999999</c:v>
                </c:pt>
                <c:pt idx="7522">
                  <c:v>2.5452699999999999</c:v>
                </c:pt>
                <c:pt idx="7523">
                  <c:v>#N/A</c:v>
                </c:pt>
                <c:pt idx="7524">
                  <c:v>2.1303700000000001</c:v>
                </c:pt>
                <c:pt idx="7525">
                  <c:v>2.3355000000000001</c:v>
                </c:pt>
                <c:pt idx="7526">
                  <c:v>1.7595499999999999</c:v>
                </c:pt>
                <c:pt idx="7527">
                  <c:v>2.1445500000000002</c:v>
                </c:pt>
                <c:pt idx="7528">
                  <c:v>#N/A</c:v>
                </c:pt>
                <c:pt idx="7529">
                  <c:v>1.8444799999999999</c:v>
                </c:pt>
                <c:pt idx="7530">
                  <c:v>2.6137800000000002</c:v>
                </c:pt>
                <c:pt idx="7531">
                  <c:v>2.2442700000000002</c:v>
                </c:pt>
                <c:pt idx="7532">
                  <c:v>#N/A</c:v>
                </c:pt>
                <c:pt idx="7533">
                  <c:v>1.9602599999999999</c:v>
                </c:pt>
                <c:pt idx="7534">
                  <c:v>2.0593699999999999</c:v>
                </c:pt>
                <c:pt idx="7535">
                  <c:v>1.51722</c:v>
                </c:pt>
                <c:pt idx="7536">
                  <c:v>1.52267</c:v>
                </c:pt>
                <c:pt idx="7537">
                  <c:v>#N/A</c:v>
                </c:pt>
                <c:pt idx="7538">
                  <c:v>2.0502199999999999</c:v>
                </c:pt>
                <c:pt idx="7539">
                  <c:v>1.61134</c:v>
                </c:pt>
                <c:pt idx="7540">
                  <c:v>2.36591</c:v>
                </c:pt>
                <c:pt idx="7541">
                  <c:v>#N/A</c:v>
                </c:pt>
                <c:pt idx="7542">
                  <c:v>1.81785</c:v>
                </c:pt>
                <c:pt idx="7543">
                  <c:v>2.5889500000000001</c:v>
                </c:pt>
                <c:pt idx="7544">
                  <c:v>2.6795300000000002</c:v>
                </c:pt>
                <c:pt idx="7545">
                  <c:v>2.3956</c:v>
                </c:pt>
                <c:pt idx="7546">
                  <c:v>#N/A</c:v>
                </c:pt>
                <c:pt idx="7547">
                  <c:v>2.6955</c:v>
                </c:pt>
                <c:pt idx="7548">
                  <c:v>1.98021</c:v>
                </c:pt>
                <c:pt idx="7549">
                  <c:v>2.2889499999999998</c:v>
                </c:pt>
                <c:pt idx="7550">
                  <c:v>#N/A</c:v>
                </c:pt>
                <c:pt idx="7551">
                  <c:v>2.03274</c:v>
                </c:pt>
                <c:pt idx="7552">
                  <c:v>#N/A</c:v>
                </c:pt>
                <c:pt idx="7553">
                  <c:v>1.8417699999999999</c:v>
                </c:pt>
                <c:pt idx="7554">
                  <c:v>1.7518199999999999</c:v>
                </c:pt>
                <c:pt idx="7555">
                  <c:v>2.0059399999999998</c:v>
                </c:pt>
                <c:pt idx="7556">
                  <c:v>#N/A</c:v>
                </c:pt>
                <c:pt idx="7557">
                  <c:v>1.99149</c:v>
                </c:pt>
                <c:pt idx="7558">
                  <c:v>1.90124</c:v>
                </c:pt>
                <c:pt idx="7559">
                  <c:v>2.4232399999999998</c:v>
                </c:pt>
                <c:pt idx="7560">
                  <c:v>#N/A</c:v>
                </c:pt>
                <c:pt idx="7561">
                  <c:v>1.7927599999999999</c:v>
                </c:pt>
                <c:pt idx="7562">
                  <c:v>1.78877</c:v>
                </c:pt>
                <c:pt idx="7563">
                  <c:v>1.9185300000000001</c:v>
                </c:pt>
                <c:pt idx="7564">
                  <c:v>2.2547899999999998</c:v>
                </c:pt>
                <c:pt idx="7565">
                  <c:v>#N/A</c:v>
                </c:pt>
                <c:pt idx="7566">
                  <c:v>2.45268</c:v>
                </c:pt>
                <c:pt idx="7567">
                  <c:v>2.4903</c:v>
                </c:pt>
                <c:pt idx="7568">
                  <c:v>2.6011000000000002</c:v>
                </c:pt>
                <c:pt idx="7569">
                  <c:v>#N/A</c:v>
                </c:pt>
                <c:pt idx="7570">
                  <c:v>2.03809</c:v>
                </c:pt>
                <c:pt idx="7571">
                  <c:v>1.8926700000000001</c:v>
                </c:pt>
                <c:pt idx="7572">
                  <c:v>2.2242099999999998</c:v>
                </c:pt>
                <c:pt idx="7573">
                  <c:v>#N/A</c:v>
                </c:pt>
                <c:pt idx="7574">
                  <c:v>1.8444199999999999</c:v>
                </c:pt>
                <c:pt idx="7575">
                  <c:v>1.70122</c:v>
                </c:pt>
                <c:pt idx="7576">
                  <c:v>1.3659600000000001</c:v>
                </c:pt>
                <c:pt idx="7577">
                  <c:v>2.2079599999999999</c:v>
                </c:pt>
                <c:pt idx="7578">
                  <c:v>#N/A</c:v>
                </c:pt>
                <c:pt idx="7579">
                  <c:v>2.5500699999999998</c:v>
                </c:pt>
                <c:pt idx="7580">
                  <c:v>2.4923500000000001</c:v>
                </c:pt>
                <c:pt idx="7581">
                  <c:v>2.56149</c:v>
                </c:pt>
                <c:pt idx="7582">
                  <c:v>2.0434999999999999</c:v>
                </c:pt>
                <c:pt idx="7583">
                  <c:v>#N/A</c:v>
                </c:pt>
                <c:pt idx="7584">
                  <c:v>1.5442499999999999</c:v>
                </c:pt>
                <c:pt idx="7585">
                  <c:v>1.6275200000000001</c:v>
                </c:pt>
                <c:pt idx="7586">
                  <c:v>2.5135100000000001</c:v>
                </c:pt>
                <c:pt idx="7587">
                  <c:v>#N/A</c:v>
                </c:pt>
                <c:pt idx="7588">
                  <c:v>2.2271399999999999</c:v>
                </c:pt>
                <c:pt idx="7589">
                  <c:v>2.2782800000000001</c:v>
                </c:pt>
                <c:pt idx="7590">
                  <c:v>2.50861</c:v>
                </c:pt>
                <c:pt idx="7591">
                  <c:v>#N/A</c:v>
                </c:pt>
                <c:pt idx="7592">
                  <c:v>2.246</c:v>
                </c:pt>
                <c:pt idx="7593">
                  <c:v>1.7043299999999999</c:v>
                </c:pt>
                <c:pt idx="7594">
                  <c:v>1.3017799999999999</c:v>
                </c:pt>
                <c:pt idx="7595">
                  <c:v>1.56572</c:v>
                </c:pt>
                <c:pt idx="7596">
                  <c:v>#N/A</c:v>
                </c:pt>
                <c:pt idx="7597">
                  <c:v>1.6904399999999999</c:v>
                </c:pt>
                <c:pt idx="7598">
                  <c:v>1.7467200000000001</c:v>
                </c:pt>
                <c:pt idx="7599">
                  <c:v>1.9504900000000001</c:v>
                </c:pt>
                <c:pt idx="7600">
                  <c:v>#N/A</c:v>
                </c:pt>
                <c:pt idx="7601">
                  <c:v>2.0596199999999998</c:v>
                </c:pt>
                <c:pt idx="7602">
                  <c:v>2.5133700000000001</c:v>
                </c:pt>
                <c:pt idx="7603">
                  <c:v>1.89991</c:v>
                </c:pt>
                <c:pt idx="7604">
                  <c:v>#N/A</c:v>
                </c:pt>
                <c:pt idx="7605">
                  <c:v>2.31698</c:v>
                </c:pt>
                <c:pt idx="7606">
                  <c:v>2.0203099999999998</c:v>
                </c:pt>
                <c:pt idx="7607">
                  <c:v>1.6974</c:v>
                </c:pt>
                <c:pt idx="7608">
                  <c:v>1.8286899999999999</c:v>
                </c:pt>
                <c:pt idx="7609">
                  <c:v>#N/A</c:v>
                </c:pt>
                <c:pt idx="7610">
                  <c:v>2.34789</c:v>
                </c:pt>
                <c:pt idx="7611">
                  <c:v>2.1146099999999999</c:v>
                </c:pt>
                <c:pt idx="7612">
                  <c:v>2.2341799999999998</c:v>
                </c:pt>
                <c:pt idx="7613">
                  <c:v>#N/A</c:v>
                </c:pt>
                <c:pt idx="7614">
                  <c:v>2.2695500000000002</c:v>
                </c:pt>
                <c:pt idx="7615">
                  <c:v>1.8642300000000001</c:v>
                </c:pt>
                <c:pt idx="7616">
                  <c:v>1.8402799999999999</c:v>
                </c:pt>
                <c:pt idx="7617">
                  <c:v>2.12798</c:v>
                </c:pt>
                <c:pt idx="7618">
                  <c:v>#N/A</c:v>
                </c:pt>
                <c:pt idx="7619">
                  <c:v>2.0977899999999998</c:v>
                </c:pt>
                <c:pt idx="7620">
                  <c:v>1.9164099999999999</c:v>
                </c:pt>
                <c:pt idx="7621">
                  <c:v>#N/A</c:v>
                </c:pt>
                <c:pt idx="7622">
                  <c:v>1.9827300000000001</c:v>
                </c:pt>
                <c:pt idx="7623">
                  <c:v>#N/A</c:v>
                </c:pt>
                <c:pt idx="7624">
                  <c:v>2.37663</c:v>
                </c:pt>
                <c:pt idx="7625">
                  <c:v>2.5305</c:v>
                </c:pt>
                <c:pt idx="7626">
                  <c:v>3.0630000000000002</c:v>
                </c:pt>
                <c:pt idx="7627">
                  <c:v>#N/A</c:v>
                </c:pt>
                <c:pt idx="7628">
                  <c:v>2.6810100000000001</c:v>
                </c:pt>
                <c:pt idx="7629">
                  <c:v>2.0354000000000001</c:v>
                </c:pt>
                <c:pt idx="7630">
                  <c:v>1.7202999999999999</c:v>
                </c:pt>
                <c:pt idx="7631">
                  <c:v>#N/A</c:v>
                </c:pt>
                <c:pt idx="7632">
                  <c:v>1.86076</c:v>
                </c:pt>
                <c:pt idx="7633">
                  <c:v>1.7276100000000001</c:v>
                </c:pt>
                <c:pt idx="7634">
                  <c:v>1.51973</c:v>
                </c:pt>
                <c:pt idx="7635">
                  <c:v>2.2665299999999999</c:v>
                </c:pt>
                <c:pt idx="7636">
                  <c:v>#N/A</c:v>
                </c:pt>
                <c:pt idx="7637">
                  <c:v>2.22417</c:v>
                </c:pt>
                <c:pt idx="7638">
                  <c:v>2.3511099999999998</c:v>
                </c:pt>
                <c:pt idx="7639">
                  <c:v>2.5973000000000002</c:v>
                </c:pt>
                <c:pt idx="7640">
                  <c:v>2.3461400000000001</c:v>
                </c:pt>
                <c:pt idx="7641">
                  <c:v>#N/A</c:v>
                </c:pt>
                <c:pt idx="7642">
                  <c:v>2.1959900000000001</c:v>
                </c:pt>
                <c:pt idx="7643">
                  <c:v>1.6931700000000001</c:v>
                </c:pt>
                <c:pt idx="7644">
                  <c:v>2.1774399999999998</c:v>
                </c:pt>
                <c:pt idx="7645">
                  <c:v>#N/A</c:v>
                </c:pt>
                <c:pt idx="7646">
                  <c:v>2.0160499999999999</c:v>
                </c:pt>
                <c:pt idx="7647">
                  <c:v>2.8451</c:v>
                </c:pt>
                <c:pt idx="7648">
                  <c:v>3.04671</c:v>
                </c:pt>
                <c:pt idx="7649">
                  <c:v>2.9382999999999999</c:v>
                </c:pt>
                <c:pt idx="7650">
                  <c:v>#N/A</c:v>
                </c:pt>
                <c:pt idx="7651">
                  <c:v>2.07897</c:v>
                </c:pt>
                <c:pt idx="7652">
                  <c:v>1.4570399999999999</c:v>
                </c:pt>
                <c:pt idx="7653">
                  <c:v>1.93146</c:v>
                </c:pt>
                <c:pt idx="7654">
                  <c:v>#N/A</c:v>
                </c:pt>
                <c:pt idx="7655">
                  <c:v>1.0713699999999999</c:v>
                </c:pt>
                <c:pt idx="7656">
                  <c:v>1.75946</c:v>
                </c:pt>
                <c:pt idx="7657">
                  <c:v>2.2679</c:v>
                </c:pt>
                <c:pt idx="7658">
                  <c:v>#N/A</c:v>
                </c:pt>
                <c:pt idx="7659">
                  <c:v>2.0550799999999998</c:v>
                </c:pt>
                <c:pt idx="7660">
                  <c:v>2.0710999999999999</c:v>
                </c:pt>
                <c:pt idx="7661">
                  <c:v>2.5152399999999999</c:v>
                </c:pt>
                <c:pt idx="7662">
                  <c:v>2.1579000000000002</c:v>
                </c:pt>
                <c:pt idx="7663">
                  <c:v>#N/A</c:v>
                </c:pt>
                <c:pt idx="7664">
                  <c:v>2.3928699999999998</c:v>
                </c:pt>
                <c:pt idx="7665">
                  <c:v>2.00841</c:v>
                </c:pt>
                <c:pt idx="7666">
                  <c:v>1.82426</c:v>
                </c:pt>
                <c:pt idx="7667">
                  <c:v>#N/A</c:v>
                </c:pt>
                <c:pt idx="7668">
                  <c:v>2.0292500000000002</c:v>
                </c:pt>
                <c:pt idx="7669">
                  <c:v>2.5463900000000002</c:v>
                </c:pt>
                <c:pt idx="7670">
                  <c:v>2.97994</c:v>
                </c:pt>
                <c:pt idx="7671">
                  <c:v>2.6525400000000001</c:v>
                </c:pt>
                <c:pt idx="7672">
                  <c:v>#N/A</c:v>
                </c:pt>
                <c:pt idx="7673">
                  <c:v>2.10087</c:v>
                </c:pt>
                <c:pt idx="7674">
                  <c:v>1.41553</c:v>
                </c:pt>
                <c:pt idx="7675">
                  <c:v>1.3097099999999999</c:v>
                </c:pt>
                <c:pt idx="7676">
                  <c:v>#N/A</c:v>
                </c:pt>
                <c:pt idx="7677">
                  <c:v>1.32084</c:v>
                </c:pt>
                <c:pt idx="7678">
                  <c:v>1.77617</c:v>
                </c:pt>
                <c:pt idx="7679">
                  <c:v>1.7117500000000001</c:v>
                </c:pt>
                <c:pt idx="7680">
                  <c:v>#N/A</c:v>
                </c:pt>
                <c:pt idx="7681">
                  <c:v>1.9928900000000001</c:v>
                </c:pt>
                <c:pt idx="7682">
                  <c:v>2.4293399999999998</c:v>
                </c:pt>
                <c:pt idx="7683">
                  <c:v>2.1835300000000002</c:v>
                </c:pt>
                <c:pt idx="7684">
                  <c:v>2.5499999999999998</c:v>
                </c:pt>
                <c:pt idx="7685">
                  <c:v>#N/A</c:v>
                </c:pt>
                <c:pt idx="7686">
                  <c:v>2.1805300000000001</c:v>
                </c:pt>
                <c:pt idx="7687">
                  <c:v>2.1208800000000001</c:v>
                </c:pt>
                <c:pt idx="7688">
                  <c:v>2.2069100000000001</c:v>
                </c:pt>
                <c:pt idx="7689">
                  <c:v>#N/A</c:v>
                </c:pt>
                <c:pt idx="7690">
                  <c:v>2.1097199999999998</c:v>
                </c:pt>
                <c:pt idx="7691">
                  <c:v>1.7388600000000001</c:v>
                </c:pt>
                <c:pt idx="7692">
                  <c:v>1.61703</c:v>
                </c:pt>
                <c:pt idx="7693">
                  <c:v>#N/A</c:v>
                </c:pt>
                <c:pt idx="7694">
                  <c:v>2.02203</c:v>
                </c:pt>
                <c:pt idx="7695">
                  <c:v>2.2874699999999999</c:v>
                </c:pt>
                <c:pt idx="7696">
                  <c:v>#N/A</c:v>
                </c:pt>
                <c:pt idx="7697">
                  <c:v>2.5912700000000002</c:v>
                </c:pt>
                <c:pt idx="7698">
                  <c:v>2.1720899999999999</c:v>
                </c:pt>
                <c:pt idx="7699">
                  <c:v>1.7010700000000001</c:v>
                </c:pt>
                <c:pt idx="7700">
                  <c:v>#N/A</c:v>
                </c:pt>
                <c:pt idx="7701">
                  <c:v>1.7733699999999999</c:v>
                </c:pt>
                <c:pt idx="7702">
                  <c:v>1.79375</c:v>
                </c:pt>
                <c:pt idx="7703">
                  <c:v>2.1969799999999999</c:v>
                </c:pt>
                <c:pt idx="7704">
                  <c:v>#N/A</c:v>
                </c:pt>
                <c:pt idx="7705">
                  <c:v>2.6558199999999998</c:v>
                </c:pt>
                <c:pt idx="7706">
                  <c:v>2.7576900000000002</c:v>
                </c:pt>
                <c:pt idx="7707">
                  <c:v>2.7684600000000001</c:v>
                </c:pt>
                <c:pt idx="7708">
                  <c:v>2.3822000000000001</c:v>
                </c:pt>
                <c:pt idx="7709">
                  <c:v>#N/A</c:v>
                </c:pt>
                <c:pt idx="7710">
                  <c:v>2.2013600000000002</c:v>
                </c:pt>
                <c:pt idx="7711">
                  <c:v>1.74962</c:v>
                </c:pt>
                <c:pt idx="7712">
                  <c:v>1.0969199999999999</c:v>
                </c:pt>
                <c:pt idx="7713">
                  <c:v>#N/A</c:v>
                </c:pt>
                <c:pt idx="7714">
                  <c:v>1.4133100000000001</c:v>
                </c:pt>
                <c:pt idx="7715">
                  <c:v>1.25929</c:v>
                </c:pt>
                <c:pt idx="7716">
                  <c:v>1.70434</c:v>
                </c:pt>
                <c:pt idx="7717">
                  <c:v>#N/A</c:v>
                </c:pt>
                <c:pt idx="7718">
                  <c:v>1.4879899999999999</c:v>
                </c:pt>
                <c:pt idx="7719">
                  <c:v>2.3241499999999999</c:v>
                </c:pt>
                <c:pt idx="7720">
                  <c:v>2.2101500000000001</c:v>
                </c:pt>
                <c:pt idx="7721">
                  <c:v>2.2413799999999999</c:v>
                </c:pt>
                <c:pt idx="7722">
                  <c:v>#N/A</c:v>
                </c:pt>
                <c:pt idx="7723">
                  <c:v>2.2333699999999999</c:v>
                </c:pt>
                <c:pt idx="7724">
                  <c:v>1.7826900000000001</c:v>
                </c:pt>
                <c:pt idx="7725">
                  <c:v>2.1908799999999999</c:v>
                </c:pt>
                <c:pt idx="7726">
                  <c:v>#N/A</c:v>
                </c:pt>
                <c:pt idx="7727">
                  <c:v>2.3148900000000001</c:v>
                </c:pt>
                <c:pt idx="7728">
                  <c:v>3.3561800000000002</c:v>
                </c:pt>
                <c:pt idx="7729">
                  <c:v>3.1458900000000001</c:v>
                </c:pt>
                <c:pt idx="7730">
                  <c:v>#N/A</c:v>
                </c:pt>
                <c:pt idx="7731">
                  <c:v>2.4567000000000001</c:v>
                </c:pt>
                <c:pt idx="7732">
                  <c:v>2.1278700000000002</c:v>
                </c:pt>
                <c:pt idx="7733">
                  <c:v>2.2279300000000002</c:v>
                </c:pt>
                <c:pt idx="7734">
                  <c:v>1.8396699999999999</c:v>
                </c:pt>
                <c:pt idx="7735">
                  <c:v>#N/A</c:v>
                </c:pt>
                <c:pt idx="7736">
                  <c:v>1.91</c:v>
                </c:pt>
                <c:pt idx="7737">
                  <c:v>1.8784799999999999</c:v>
                </c:pt>
                <c:pt idx="7738">
                  <c:v>2.02963</c:v>
                </c:pt>
                <c:pt idx="7739">
                  <c:v>1.9974499999999999</c:v>
                </c:pt>
                <c:pt idx="7740">
                  <c:v>#N/A</c:v>
                </c:pt>
                <c:pt idx="7741">
                  <c:v>2.4847899999999998</c:v>
                </c:pt>
                <c:pt idx="7742">
                  <c:v>2.47776</c:v>
                </c:pt>
                <c:pt idx="7743">
                  <c:v>2.4787300000000001</c:v>
                </c:pt>
                <c:pt idx="7744">
                  <c:v>#N/A</c:v>
                </c:pt>
                <c:pt idx="7745">
                  <c:v>2.2220599999999999</c:v>
                </c:pt>
                <c:pt idx="7746">
                  <c:v>1.84379</c:v>
                </c:pt>
                <c:pt idx="7747">
                  <c:v>1.7328600000000001</c:v>
                </c:pt>
                <c:pt idx="7748">
                  <c:v>1.5593300000000001</c:v>
                </c:pt>
                <c:pt idx="7749">
                  <c:v>#N/A</c:v>
                </c:pt>
                <c:pt idx="7750">
                  <c:v>2.3582100000000001</c:v>
                </c:pt>
                <c:pt idx="7751">
                  <c:v>2.0152800000000002</c:v>
                </c:pt>
                <c:pt idx="7752">
                  <c:v>2.0907</c:v>
                </c:pt>
                <c:pt idx="7753">
                  <c:v>#N/A</c:v>
                </c:pt>
                <c:pt idx="7754">
                  <c:v>2.2135799999999999</c:v>
                </c:pt>
                <c:pt idx="7755">
                  <c:v>2.3519700000000001</c:v>
                </c:pt>
                <c:pt idx="7756">
                  <c:v>2.0370599999999999</c:v>
                </c:pt>
                <c:pt idx="7757">
                  <c:v>#N/A</c:v>
                </c:pt>
                <c:pt idx="7758">
                  <c:v>1.78589</c:v>
                </c:pt>
                <c:pt idx="7759">
                  <c:v>2.2652600000000001</c:v>
                </c:pt>
                <c:pt idx="7760">
                  <c:v>2.2722199999999999</c:v>
                </c:pt>
                <c:pt idx="7761">
                  <c:v>1.89222</c:v>
                </c:pt>
                <c:pt idx="7762">
                  <c:v>#N/A</c:v>
                </c:pt>
                <c:pt idx="7763">
                  <c:v>2.2871100000000002</c:v>
                </c:pt>
                <c:pt idx="7764">
                  <c:v>2.60805</c:v>
                </c:pt>
                <c:pt idx="7765">
                  <c:v>2.7779199999999999</c:v>
                </c:pt>
                <c:pt idx="7766">
                  <c:v>2.9402499999999998</c:v>
                </c:pt>
                <c:pt idx="7767">
                  <c:v>#N/A</c:v>
                </c:pt>
                <c:pt idx="7768">
                  <c:v>2.3593899999999999</c:v>
                </c:pt>
                <c:pt idx="7769">
                  <c:v>1.95485</c:v>
                </c:pt>
                <c:pt idx="7770">
                  <c:v>1.60483</c:v>
                </c:pt>
                <c:pt idx="7771">
                  <c:v>#N/A</c:v>
                </c:pt>
                <c:pt idx="7772">
                  <c:v>1.7897799999999999</c:v>
                </c:pt>
                <c:pt idx="7773">
                  <c:v>1.7285299999999999</c:v>
                </c:pt>
                <c:pt idx="7774">
                  <c:v>1.7948900000000001</c:v>
                </c:pt>
                <c:pt idx="7775">
                  <c:v>#N/A</c:v>
                </c:pt>
                <c:pt idx="7776">
                  <c:v>1.51417</c:v>
                </c:pt>
                <c:pt idx="7777">
                  <c:v>1.7567999999999999</c:v>
                </c:pt>
                <c:pt idx="7778">
                  <c:v>1.9664299999999999</c:v>
                </c:pt>
                <c:pt idx="7779">
                  <c:v>2.24817</c:v>
                </c:pt>
                <c:pt idx="7780">
                  <c:v>#N/A</c:v>
                </c:pt>
                <c:pt idx="7781">
                  <c:v>2.17109</c:v>
                </c:pt>
                <c:pt idx="7782">
                  <c:v>2.03579</c:v>
                </c:pt>
                <c:pt idx="7783">
                  <c:v>2.0452599999999999</c:v>
                </c:pt>
                <c:pt idx="7784">
                  <c:v>#N/A</c:v>
                </c:pt>
                <c:pt idx="7785">
                  <c:v>1.90008</c:v>
                </c:pt>
                <c:pt idx="7786">
                  <c:v>2.2820100000000001</c:v>
                </c:pt>
                <c:pt idx="7787">
                  <c:v>2.7317999999999998</c:v>
                </c:pt>
                <c:pt idx="7788">
                  <c:v>2.76688</c:v>
                </c:pt>
                <c:pt idx="7789">
                  <c:v>#N/A</c:v>
                </c:pt>
                <c:pt idx="7790">
                  <c:v>2.5819399999999999</c:v>
                </c:pt>
                <c:pt idx="7791">
                  <c:v>2.2029800000000002</c:v>
                </c:pt>
                <c:pt idx="7792">
                  <c:v>1.30911</c:v>
                </c:pt>
                <c:pt idx="7793">
                  <c:v>#N/A</c:v>
                </c:pt>
                <c:pt idx="7794">
                  <c:v>1.9561299999999999</c:v>
                </c:pt>
                <c:pt idx="7795">
                  <c:v>1.65401</c:v>
                </c:pt>
                <c:pt idx="7796">
                  <c:v>1.63174</c:v>
                </c:pt>
                <c:pt idx="7797">
                  <c:v>1.6782300000000001</c:v>
                </c:pt>
                <c:pt idx="7798">
                  <c:v>#N/A</c:v>
                </c:pt>
                <c:pt idx="7799">
                  <c:v>2.1482600000000001</c:v>
                </c:pt>
                <c:pt idx="7800">
                  <c:v>2.0298500000000002</c:v>
                </c:pt>
                <c:pt idx="7801">
                  <c:v>2.3532600000000001</c:v>
                </c:pt>
                <c:pt idx="7802">
                  <c:v>#N/A</c:v>
                </c:pt>
                <c:pt idx="7803">
                  <c:v>2.3424100000000001</c:v>
                </c:pt>
                <c:pt idx="7804">
                  <c:v>2.1249699999999998</c:v>
                </c:pt>
                <c:pt idx="7805">
                  <c:v>1.7107000000000001</c:v>
                </c:pt>
                <c:pt idx="7806">
                  <c:v>#N/A</c:v>
                </c:pt>
                <c:pt idx="7807">
                  <c:v>1.6290800000000001</c:v>
                </c:pt>
                <c:pt idx="7808">
                  <c:v>2.0779800000000002</c:v>
                </c:pt>
                <c:pt idx="7809">
                  <c:v>2.0990799999999998</c:v>
                </c:pt>
                <c:pt idx="7810">
                  <c:v>2.23577</c:v>
                </c:pt>
                <c:pt idx="7811">
                  <c:v>#N/A</c:v>
                </c:pt>
                <c:pt idx="7812">
                  <c:v>2.21529</c:v>
                </c:pt>
                <c:pt idx="7813">
                  <c:v>2.1262699999999999</c:v>
                </c:pt>
                <c:pt idx="7814">
                  <c:v>1.7540500000000001</c:v>
                </c:pt>
                <c:pt idx="7815">
                  <c:v>#N/A</c:v>
                </c:pt>
                <c:pt idx="7816">
                  <c:v>1.26745</c:v>
                </c:pt>
                <c:pt idx="7817">
                  <c:v>1.3526100000000001</c:v>
                </c:pt>
                <c:pt idx="7818">
                  <c:v>2.0190299999999999</c:v>
                </c:pt>
                <c:pt idx="7819">
                  <c:v>#N/A</c:v>
                </c:pt>
                <c:pt idx="7820">
                  <c:v>2.14859</c:v>
                </c:pt>
                <c:pt idx="7821">
                  <c:v>2.2553999999999998</c:v>
                </c:pt>
                <c:pt idx="7822">
                  <c:v>2.1891699999999998</c:v>
                </c:pt>
                <c:pt idx="7823">
                  <c:v>2.11009</c:v>
                </c:pt>
                <c:pt idx="7824">
                  <c:v>#N/A</c:v>
                </c:pt>
                <c:pt idx="7825">
                  <c:v>1.8401000000000001</c:v>
                </c:pt>
                <c:pt idx="7826">
                  <c:v>2.21218</c:v>
                </c:pt>
                <c:pt idx="7827">
                  <c:v>2.3108399999999998</c:v>
                </c:pt>
                <c:pt idx="7828">
                  <c:v>1.3912199999999999</c:v>
                </c:pt>
                <c:pt idx="7829">
                  <c:v>#N/A</c:v>
                </c:pt>
                <c:pt idx="7830">
                  <c:v>1.27633</c:v>
                </c:pt>
                <c:pt idx="7831">
                  <c:v>1.7752399999999999</c:v>
                </c:pt>
                <c:pt idx="7832">
                  <c:v>1.60507</c:v>
                </c:pt>
                <c:pt idx="7833">
                  <c:v>#N/A</c:v>
                </c:pt>
                <c:pt idx="7834">
                  <c:v>1.70292</c:v>
                </c:pt>
                <c:pt idx="7835">
                  <c:v>1.8875500000000001</c:v>
                </c:pt>
                <c:pt idx="7836">
                  <c:v>#N/A</c:v>
                </c:pt>
                <c:pt idx="7837">
                  <c:v>2.3123300000000002</c:v>
                </c:pt>
                <c:pt idx="7838">
                  <c:v>2.1106400000000001</c:v>
                </c:pt>
                <c:pt idx="7839">
                  <c:v>#N/A</c:v>
                </c:pt>
                <c:pt idx="7840">
                  <c:v>2.13706</c:v>
                </c:pt>
                <c:pt idx="7841">
                  <c:v>1.9758100000000001</c:v>
                </c:pt>
                <c:pt idx="7842">
                  <c:v>2.2215500000000001</c:v>
                </c:pt>
                <c:pt idx="7843">
                  <c:v>#N/A</c:v>
                </c:pt>
                <c:pt idx="7844">
                  <c:v>2.2869000000000002</c:v>
                </c:pt>
                <c:pt idx="7845">
                  <c:v>2.2456</c:v>
                </c:pt>
                <c:pt idx="7846">
                  <c:v>1.9234100000000001</c:v>
                </c:pt>
                <c:pt idx="7847">
                  <c:v>#N/A</c:v>
                </c:pt>
                <c:pt idx="7848">
                  <c:v>2.6865100000000002</c:v>
                </c:pt>
                <c:pt idx="7849">
                  <c:v>1.9040600000000001</c:v>
                </c:pt>
                <c:pt idx="7850">
                  <c:v>1.6715100000000001</c:v>
                </c:pt>
                <c:pt idx="7851">
                  <c:v>#N/A</c:v>
                </c:pt>
                <c:pt idx="7852">
                  <c:v>1.45377</c:v>
                </c:pt>
                <c:pt idx="7853">
                  <c:v>1.3815900000000001</c:v>
                </c:pt>
                <c:pt idx="7854">
                  <c:v>1.8274699999999999</c:v>
                </c:pt>
                <c:pt idx="7855">
                  <c:v>#N/A</c:v>
                </c:pt>
                <c:pt idx="7856">
                  <c:v>1.5573900000000001</c:v>
                </c:pt>
                <c:pt idx="7857">
                  <c:v>2.3197800000000002</c:v>
                </c:pt>
                <c:pt idx="7858">
                  <c:v>2.15279</c:v>
                </c:pt>
                <c:pt idx="7859">
                  <c:v>2.1425200000000002</c:v>
                </c:pt>
                <c:pt idx="7860">
                  <c:v>#N/A</c:v>
                </c:pt>
                <c:pt idx="7861">
                  <c:v>1.99135</c:v>
                </c:pt>
                <c:pt idx="7862">
                  <c:v>2.1996799999999999</c:v>
                </c:pt>
                <c:pt idx="7863">
                  <c:v>2.3736299999999999</c:v>
                </c:pt>
                <c:pt idx="7864">
                  <c:v>#N/A</c:v>
                </c:pt>
                <c:pt idx="7865">
                  <c:v>2.3382499999999999</c:v>
                </c:pt>
                <c:pt idx="7866">
                  <c:v>2.7170100000000001</c:v>
                </c:pt>
                <c:pt idx="7867">
                  <c:v>2.35494</c:v>
                </c:pt>
                <c:pt idx="7868">
                  <c:v>#N/A</c:v>
                </c:pt>
                <c:pt idx="7869">
                  <c:v>2.1153599999999999</c:v>
                </c:pt>
                <c:pt idx="7870">
                  <c:v>1.9912700000000001</c:v>
                </c:pt>
                <c:pt idx="7871">
                  <c:v>1.96255</c:v>
                </c:pt>
                <c:pt idx="7872">
                  <c:v>1.9618</c:v>
                </c:pt>
                <c:pt idx="7873">
                  <c:v>#N/A</c:v>
                </c:pt>
                <c:pt idx="7874">
                  <c:v>1.4184699999999999</c:v>
                </c:pt>
                <c:pt idx="7875">
                  <c:v>1.6539699999999999</c:v>
                </c:pt>
                <c:pt idx="7876">
                  <c:v>1.93564</c:v>
                </c:pt>
                <c:pt idx="7877">
                  <c:v>#N/A</c:v>
                </c:pt>
                <c:pt idx="7878">
                  <c:v>1.9823599999999999</c:v>
                </c:pt>
                <c:pt idx="7879">
                  <c:v>2.21454</c:v>
                </c:pt>
                <c:pt idx="7880">
                  <c:v>2.3229899999999999</c:v>
                </c:pt>
                <c:pt idx="7881">
                  <c:v>2.31236</c:v>
                </c:pt>
                <c:pt idx="7882">
                  <c:v>#N/A</c:v>
                </c:pt>
                <c:pt idx="7883">
                  <c:v>2.20607</c:v>
                </c:pt>
                <c:pt idx="7884">
                  <c:v>2.2518899999999999</c:v>
                </c:pt>
                <c:pt idx="7885">
                  <c:v>2.31196</c:v>
                </c:pt>
                <c:pt idx="7886">
                  <c:v>#N/A</c:v>
                </c:pt>
                <c:pt idx="7887">
                  <c:v>2.4990600000000001</c:v>
                </c:pt>
                <c:pt idx="7888">
                  <c:v>2.1145200000000002</c:v>
                </c:pt>
                <c:pt idx="7889">
                  <c:v>2.41073</c:v>
                </c:pt>
                <c:pt idx="7890">
                  <c:v>1.92778</c:v>
                </c:pt>
                <c:pt idx="7891">
                  <c:v>#N/A</c:v>
                </c:pt>
                <c:pt idx="7892">
                  <c:v>1.4394100000000001</c:v>
                </c:pt>
                <c:pt idx="7893">
                  <c:v>1.92794</c:v>
                </c:pt>
                <c:pt idx="7894">
                  <c:v>1.6100099999999999</c:v>
                </c:pt>
                <c:pt idx="7895">
                  <c:v>#N/A</c:v>
                </c:pt>
                <c:pt idx="7896">
                  <c:v>1.79664</c:v>
                </c:pt>
                <c:pt idx="7897">
                  <c:v>1.63504</c:v>
                </c:pt>
                <c:pt idx="7898">
                  <c:v>2.23793</c:v>
                </c:pt>
                <c:pt idx="7899">
                  <c:v>2.0483899999999999</c:v>
                </c:pt>
                <c:pt idx="7900">
                  <c:v>#N/A</c:v>
                </c:pt>
                <c:pt idx="7901">
                  <c:v>2.2020499999999998</c:v>
                </c:pt>
                <c:pt idx="7902">
                  <c:v>2.23773</c:v>
                </c:pt>
                <c:pt idx="7903">
                  <c:v>2.3403399999999999</c:v>
                </c:pt>
                <c:pt idx="7904">
                  <c:v>#N/A</c:v>
                </c:pt>
                <c:pt idx="7905">
                  <c:v>2.3776700000000002</c:v>
                </c:pt>
                <c:pt idx="7906">
                  <c:v>2.3236400000000001</c:v>
                </c:pt>
                <c:pt idx="7907">
                  <c:v>2.7478500000000001</c:v>
                </c:pt>
                <c:pt idx="7908">
                  <c:v>#N/A</c:v>
                </c:pt>
                <c:pt idx="7909">
                  <c:v>2.11734</c:v>
                </c:pt>
                <c:pt idx="7910">
                  <c:v>2.1065100000000001</c:v>
                </c:pt>
                <c:pt idx="7911">
                  <c:v>1.82609</c:v>
                </c:pt>
                <c:pt idx="7912">
                  <c:v>#N/A</c:v>
                </c:pt>
                <c:pt idx="7913">
                  <c:v>2.04758</c:v>
                </c:pt>
                <c:pt idx="7914">
                  <c:v>1.63636</c:v>
                </c:pt>
                <c:pt idx="7915">
                  <c:v>1.88897</c:v>
                </c:pt>
                <c:pt idx="7916">
                  <c:v>2.3472900000000001</c:v>
                </c:pt>
                <c:pt idx="7917">
                  <c:v>#N/A</c:v>
                </c:pt>
                <c:pt idx="7918">
                  <c:v>2.4468700000000001</c:v>
                </c:pt>
                <c:pt idx="7919">
                  <c:v>2.1443599999999998</c:v>
                </c:pt>
                <c:pt idx="7920">
                  <c:v>2.3510499999999999</c:v>
                </c:pt>
                <c:pt idx="7921">
                  <c:v>1.93771</c:v>
                </c:pt>
                <c:pt idx="7922">
                  <c:v>#N/A</c:v>
                </c:pt>
                <c:pt idx="7923">
                  <c:v>2.1601900000000001</c:v>
                </c:pt>
                <c:pt idx="7924">
                  <c:v>2.1566900000000002</c:v>
                </c:pt>
                <c:pt idx="7925">
                  <c:v>2.25034</c:v>
                </c:pt>
                <c:pt idx="7926">
                  <c:v>#N/A</c:v>
                </c:pt>
                <c:pt idx="7927">
                  <c:v>3.0393699999999999</c:v>
                </c:pt>
                <c:pt idx="7928">
                  <c:v>2.5033699999999999</c:v>
                </c:pt>
                <c:pt idx="7929">
                  <c:v>2.5880000000000001</c:v>
                </c:pt>
                <c:pt idx="7930">
                  <c:v>2.4159700000000002</c:v>
                </c:pt>
                <c:pt idx="7931">
                  <c:v>#N/A</c:v>
                </c:pt>
                <c:pt idx="7932">
                  <c:v>1.73072</c:v>
                </c:pt>
                <c:pt idx="7933">
                  <c:v>1.8478699999999999</c:v>
                </c:pt>
                <c:pt idx="7934">
                  <c:v>2.2269299999999999</c:v>
                </c:pt>
                <c:pt idx="7935">
                  <c:v>#N/A</c:v>
                </c:pt>
                <c:pt idx="7936">
                  <c:v>2.1263399999999999</c:v>
                </c:pt>
                <c:pt idx="7937">
                  <c:v>2.4751699999999999</c:v>
                </c:pt>
                <c:pt idx="7938">
                  <c:v>2.40909</c:v>
                </c:pt>
                <c:pt idx="7939">
                  <c:v>3.0313599999999998</c:v>
                </c:pt>
                <c:pt idx="7940">
                  <c:v>#N/A</c:v>
                </c:pt>
                <c:pt idx="7941">
                  <c:v>2.4001600000000001</c:v>
                </c:pt>
                <c:pt idx="7942">
                  <c:v>2.3456899999999998</c:v>
                </c:pt>
                <c:pt idx="7943">
                  <c:v>2.2253099999999999</c:v>
                </c:pt>
                <c:pt idx="7944">
                  <c:v>#N/A</c:v>
                </c:pt>
                <c:pt idx="7945">
                  <c:v>2.4958200000000001</c:v>
                </c:pt>
                <c:pt idx="7946">
                  <c:v>2.7473800000000002</c:v>
                </c:pt>
                <c:pt idx="7947">
                  <c:v>2.5678100000000001</c:v>
                </c:pt>
                <c:pt idx="7948">
                  <c:v>#N/A</c:v>
                </c:pt>
                <c:pt idx="7949">
                  <c:v>2.3585400000000001</c:v>
                </c:pt>
                <c:pt idx="7950">
                  <c:v>2.2783799999999998</c:v>
                </c:pt>
                <c:pt idx="7951">
                  <c:v>2.3302999999999998</c:v>
                </c:pt>
                <c:pt idx="7952">
                  <c:v>1.64472</c:v>
                </c:pt>
                <c:pt idx="7953">
                  <c:v>#N/A</c:v>
                </c:pt>
                <c:pt idx="7954">
                  <c:v>1.6998599999999999</c:v>
                </c:pt>
                <c:pt idx="7955">
                  <c:v>1.8222100000000001</c:v>
                </c:pt>
                <c:pt idx="7956">
                  <c:v>1.9874499999999999</c:v>
                </c:pt>
                <c:pt idx="7957">
                  <c:v>#N/A</c:v>
                </c:pt>
                <c:pt idx="7958">
                  <c:v>2.3233600000000001</c:v>
                </c:pt>
                <c:pt idx="7959">
                  <c:v>2.2990300000000001</c:v>
                </c:pt>
                <c:pt idx="7960">
                  <c:v>2.69285</c:v>
                </c:pt>
                <c:pt idx="7961">
                  <c:v>2.4507699999999999</c:v>
                </c:pt>
                <c:pt idx="7962">
                  <c:v>#N/A</c:v>
                </c:pt>
                <c:pt idx="7963">
                  <c:v>2.4858099999999999</c:v>
                </c:pt>
                <c:pt idx="7964">
                  <c:v>2.51735</c:v>
                </c:pt>
                <c:pt idx="7965">
                  <c:v>2.3369300000000002</c:v>
                </c:pt>
                <c:pt idx="7966">
                  <c:v>#N/A</c:v>
                </c:pt>
                <c:pt idx="7967">
                  <c:v>2.4238599999999999</c:v>
                </c:pt>
                <c:pt idx="7968">
                  <c:v>2.9590900000000002</c:v>
                </c:pt>
                <c:pt idx="7969">
                  <c:v>2.75082</c:v>
                </c:pt>
                <c:pt idx="7970">
                  <c:v>#N/A</c:v>
                </c:pt>
                <c:pt idx="7971">
                  <c:v>2.2734399999999999</c:v>
                </c:pt>
                <c:pt idx="7972">
                  <c:v>1.6454800000000001</c:v>
                </c:pt>
                <c:pt idx="7973">
                  <c:v>1.8093600000000001</c:v>
                </c:pt>
                <c:pt idx="7974">
                  <c:v>2.23529</c:v>
                </c:pt>
                <c:pt idx="7975">
                  <c:v>#N/A</c:v>
                </c:pt>
                <c:pt idx="7976">
                  <c:v>1.8690100000000001</c:v>
                </c:pt>
                <c:pt idx="7977">
                  <c:v>2.1460400000000002</c:v>
                </c:pt>
                <c:pt idx="7978">
                  <c:v>#N/A</c:v>
                </c:pt>
                <c:pt idx="7979">
                  <c:v>2.08941</c:v>
                </c:pt>
                <c:pt idx="7980">
                  <c:v>#N/A</c:v>
                </c:pt>
                <c:pt idx="7981">
                  <c:v>2.0119099999999999</c:v>
                </c:pt>
                <c:pt idx="7982">
                  <c:v>2.2783099999999998</c:v>
                </c:pt>
                <c:pt idx="7983">
                  <c:v>2.2271399999999999</c:v>
                </c:pt>
                <c:pt idx="7984">
                  <c:v>2.2352699999999999</c:v>
                </c:pt>
                <c:pt idx="7985">
                  <c:v>#N/A</c:v>
                </c:pt>
                <c:pt idx="7986">
                  <c:v>2.4409700000000001</c:v>
                </c:pt>
                <c:pt idx="7987">
                  <c:v>2.43648</c:v>
                </c:pt>
                <c:pt idx="7988">
                  <c:v>2.61707</c:v>
                </c:pt>
                <c:pt idx="7989">
                  <c:v>#N/A</c:v>
                </c:pt>
                <c:pt idx="7990">
                  <c:v>2.40707</c:v>
                </c:pt>
                <c:pt idx="7991">
                  <c:v>2.2568700000000002</c:v>
                </c:pt>
                <c:pt idx="7992">
                  <c:v>1.8429599999999999</c:v>
                </c:pt>
                <c:pt idx="7993">
                  <c:v>1.5436300000000001</c:v>
                </c:pt>
                <c:pt idx="7994">
                  <c:v>#N/A</c:v>
                </c:pt>
                <c:pt idx="7995">
                  <c:v>2.0313300000000001</c:v>
                </c:pt>
                <c:pt idx="7996">
                  <c:v>2.24979</c:v>
                </c:pt>
                <c:pt idx="7997">
                  <c:v>2.2245400000000002</c:v>
                </c:pt>
                <c:pt idx="7998">
                  <c:v>#N/A</c:v>
                </c:pt>
                <c:pt idx="7999">
                  <c:v>2.351</c:v>
                </c:pt>
                <c:pt idx="8000">
                  <c:v>1.76857</c:v>
                </c:pt>
                <c:pt idx="8001">
                  <c:v>2.21285</c:v>
                </c:pt>
                <c:pt idx="8002">
                  <c:v>1.9924599999999999</c:v>
                </c:pt>
                <c:pt idx="8003">
                  <c:v>#N/A</c:v>
                </c:pt>
                <c:pt idx="8004">
                  <c:v>2.2427199999999998</c:v>
                </c:pt>
                <c:pt idx="8005">
                  <c:v>2.1295999999999999</c:v>
                </c:pt>
                <c:pt idx="8006">
                  <c:v>1.7308600000000001</c:v>
                </c:pt>
                <c:pt idx="8007">
                  <c:v>#N/A</c:v>
                </c:pt>
                <c:pt idx="8008">
                  <c:v>2.5560499999999999</c:v>
                </c:pt>
                <c:pt idx="8009">
                  <c:v>2.4276399999999998</c:v>
                </c:pt>
                <c:pt idx="8010">
                  <c:v>2.24641</c:v>
                </c:pt>
                <c:pt idx="8011">
                  <c:v>2.0313300000000001</c:v>
                </c:pt>
                <c:pt idx="8012">
                  <c:v>#N/A</c:v>
                </c:pt>
                <c:pt idx="8013">
                  <c:v>1.96719</c:v>
                </c:pt>
                <c:pt idx="8014">
                  <c:v>2.09368</c:v>
                </c:pt>
                <c:pt idx="8015">
                  <c:v>1.5980000000000001</c:v>
                </c:pt>
                <c:pt idx="8016">
                  <c:v>#N/A</c:v>
                </c:pt>
                <c:pt idx="8017">
                  <c:v>1.7557700000000001</c:v>
                </c:pt>
                <c:pt idx="8018">
                  <c:v>2.3289599999999999</c:v>
                </c:pt>
                <c:pt idx="8019">
                  <c:v>2.4312399999999998</c:v>
                </c:pt>
                <c:pt idx="8020">
                  <c:v>#N/A</c:v>
                </c:pt>
                <c:pt idx="8021">
                  <c:v>2.4205700000000001</c:v>
                </c:pt>
                <c:pt idx="8022">
                  <c:v>2.5132699999999999</c:v>
                </c:pt>
                <c:pt idx="8023">
                  <c:v>1.91029</c:v>
                </c:pt>
                <c:pt idx="8024">
                  <c:v>#N/A</c:v>
                </c:pt>
                <c:pt idx="8025">
                  <c:v>2.2288399999999999</c:v>
                </c:pt>
                <c:pt idx="8026">
                  <c:v>2.2055699999999998</c:v>
                </c:pt>
                <c:pt idx="8027">
                  <c:v>2.4708199999999998</c:v>
                </c:pt>
                <c:pt idx="8028">
                  <c:v>#N/A</c:v>
                </c:pt>
                <c:pt idx="8029">
                  <c:v>2.4773200000000002</c:v>
                </c:pt>
                <c:pt idx="8030">
                  <c:v>2.2279200000000001</c:v>
                </c:pt>
                <c:pt idx="8031">
                  <c:v>1.7946299999999999</c:v>
                </c:pt>
                <c:pt idx="8032">
                  <c:v>1.54861</c:v>
                </c:pt>
                <c:pt idx="8033">
                  <c:v>#N/A</c:v>
                </c:pt>
                <c:pt idx="8034">
                  <c:v>2.04705</c:v>
                </c:pt>
                <c:pt idx="8035">
                  <c:v>1.51888</c:v>
                </c:pt>
                <c:pt idx="8036">
                  <c:v>2.6016699999999999</c:v>
                </c:pt>
                <c:pt idx="8037">
                  <c:v>#N/A</c:v>
                </c:pt>
                <c:pt idx="8038">
                  <c:v>2.8044699999999998</c:v>
                </c:pt>
                <c:pt idx="8039">
                  <c:v>2.0646399999999998</c:v>
                </c:pt>
                <c:pt idx="8040">
                  <c:v>2.4869599999999998</c:v>
                </c:pt>
                <c:pt idx="8041">
                  <c:v>2.4840800000000001</c:v>
                </c:pt>
                <c:pt idx="8042">
                  <c:v>#N/A</c:v>
                </c:pt>
                <c:pt idx="8043">
                  <c:v>2.5609999999999999</c:v>
                </c:pt>
                <c:pt idx="8044">
                  <c:v>2.4775</c:v>
                </c:pt>
                <c:pt idx="8045">
                  <c:v>2.48271</c:v>
                </c:pt>
                <c:pt idx="8046">
                  <c:v>2.8140299999999998</c:v>
                </c:pt>
                <c:pt idx="8047">
                  <c:v>#N/A</c:v>
                </c:pt>
                <c:pt idx="8048">
                  <c:v>2.58697</c:v>
                </c:pt>
                <c:pt idx="8049">
                  <c:v>2.7118899999999999</c:v>
                </c:pt>
                <c:pt idx="8050">
                  <c:v>#N/A</c:v>
                </c:pt>
                <c:pt idx="8051">
                  <c:v>2.30206</c:v>
                </c:pt>
                <c:pt idx="8052">
                  <c:v>#N/A</c:v>
                </c:pt>
                <c:pt idx="8053">
                  <c:v>2.02617</c:v>
                </c:pt>
                <c:pt idx="8054">
                  <c:v>2.6167899999999999</c:v>
                </c:pt>
                <c:pt idx="8055">
                  <c:v>1.5860099999999999</c:v>
                </c:pt>
                <c:pt idx="8056">
                  <c:v>#N/A</c:v>
                </c:pt>
                <c:pt idx="8057">
                  <c:v>1.9242900000000001</c:v>
                </c:pt>
                <c:pt idx="8058">
                  <c:v>1.85408</c:v>
                </c:pt>
                <c:pt idx="8059">
                  <c:v>1.86178</c:v>
                </c:pt>
                <c:pt idx="8060">
                  <c:v>1.77173</c:v>
                </c:pt>
                <c:pt idx="8061">
                  <c:v>#N/A</c:v>
                </c:pt>
                <c:pt idx="8062">
                  <c:v>1.7964800000000001</c:v>
                </c:pt>
                <c:pt idx="8063">
                  <c:v>1.4612799999999999</c:v>
                </c:pt>
                <c:pt idx="8064">
                  <c:v>1.71441</c:v>
                </c:pt>
                <c:pt idx="8065">
                  <c:v>#N/A</c:v>
                </c:pt>
                <c:pt idx="8066">
                  <c:v>2.5261800000000001</c:v>
                </c:pt>
                <c:pt idx="8067">
                  <c:v>1.87157</c:v>
                </c:pt>
                <c:pt idx="8068">
                  <c:v>1.7101200000000001</c:v>
                </c:pt>
                <c:pt idx="8069">
                  <c:v>2.1561599999999999</c:v>
                </c:pt>
                <c:pt idx="8070">
                  <c:v>#N/A</c:v>
                </c:pt>
                <c:pt idx="8071">
                  <c:v>2.4165100000000002</c:v>
                </c:pt>
                <c:pt idx="8072">
                  <c:v>2.3817599999999999</c:v>
                </c:pt>
                <c:pt idx="8073">
                  <c:v>1.8797999999999999</c:v>
                </c:pt>
                <c:pt idx="8074">
                  <c:v>#N/A</c:v>
                </c:pt>
                <c:pt idx="8075">
                  <c:v>2.0844800000000001</c:v>
                </c:pt>
                <c:pt idx="8076">
                  <c:v>2.3174000000000001</c:v>
                </c:pt>
                <c:pt idx="8077">
                  <c:v>2.6456400000000002</c:v>
                </c:pt>
                <c:pt idx="8078">
                  <c:v>2.6529400000000001</c:v>
                </c:pt>
                <c:pt idx="8079">
                  <c:v>#N/A</c:v>
                </c:pt>
                <c:pt idx="8080">
                  <c:v>2.2639300000000002</c:v>
                </c:pt>
                <c:pt idx="8081">
                  <c:v>2.5387300000000002</c:v>
                </c:pt>
                <c:pt idx="8082">
                  <c:v>2.6684800000000002</c:v>
                </c:pt>
                <c:pt idx="8083">
                  <c:v>#N/A</c:v>
                </c:pt>
                <c:pt idx="8084">
                  <c:v>2.48631</c:v>
                </c:pt>
                <c:pt idx="8085">
                  <c:v>2.3691599999999999</c:v>
                </c:pt>
                <c:pt idx="8086">
                  <c:v>2.1146699999999998</c:v>
                </c:pt>
                <c:pt idx="8087">
                  <c:v>2.16127</c:v>
                </c:pt>
                <c:pt idx="8088">
                  <c:v>#N/A</c:v>
                </c:pt>
                <c:pt idx="8089">
                  <c:v>2.2864300000000002</c:v>
                </c:pt>
                <c:pt idx="8090">
                  <c:v>1.8043400000000001</c:v>
                </c:pt>
                <c:pt idx="8091">
                  <c:v>1.7942400000000001</c:v>
                </c:pt>
                <c:pt idx="8092">
                  <c:v>#N/A</c:v>
                </c:pt>
                <c:pt idx="8093">
                  <c:v>2.11137</c:v>
                </c:pt>
                <c:pt idx="8094">
                  <c:v>1.8522799999999999</c:v>
                </c:pt>
                <c:pt idx="8095">
                  <c:v>1.5542</c:v>
                </c:pt>
                <c:pt idx="8096">
                  <c:v>1.8800300000000001</c:v>
                </c:pt>
                <c:pt idx="8097">
                  <c:v>#N/A</c:v>
                </c:pt>
                <c:pt idx="8098">
                  <c:v>1.86493</c:v>
                </c:pt>
                <c:pt idx="8099">
                  <c:v>2.1342500000000002</c:v>
                </c:pt>
                <c:pt idx="8100">
                  <c:v>2.55742</c:v>
                </c:pt>
                <c:pt idx="8101">
                  <c:v>#N/A</c:v>
                </c:pt>
                <c:pt idx="8102">
                  <c:v>2.50474</c:v>
                </c:pt>
                <c:pt idx="8103">
                  <c:v>2.4263499999999998</c:v>
                </c:pt>
                <c:pt idx="8104">
                  <c:v>2.3363</c:v>
                </c:pt>
                <c:pt idx="8105">
                  <c:v>2.2253799999999999</c:v>
                </c:pt>
                <c:pt idx="8106">
                  <c:v>#N/A</c:v>
                </c:pt>
                <c:pt idx="8107">
                  <c:v>2.40971</c:v>
                </c:pt>
                <c:pt idx="8108">
                  <c:v>2.2225000000000001</c:v>
                </c:pt>
                <c:pt idx="8109">
                  <c:v>2.40029</c:v>
                </c:pt>
                <c:pt idx="8110">
                  <c:v>#N/A</c:v>
                </c:pt>
                <c:pt idx="8111">
                  <c:v>1.91696</c:v>
                </c:pt>
                <c:pt idx="8112">
                  <c:v>2.1153599999999999</c:v>
                </c:pt>
                <c:pt idx="8113">
                  <c:v>1.7301200000000001</c:v>
                </c:pt>
                <c:pt idx="8114">
                  <c:v>#N/A</c:v>
                </c:pt>
                <c:pt idx="8115">
                  <c:v>2.30715</c:v>
                </c:pt>
                <c:pt idx="8116">
                  <c:v>1.8993199999999999</c:v>
                </c:pt>
                <c:pt idx="8117">
                  <c:v>2.09436</c:v>
                </c:pt>
                <c:pt idx="8118">
                  <c:v>1.63192</c:v>
                </c:pt>
                <c:pt idx="8119">
                  <c:v>#N/A</c:v>
                </c:pt>
                <c:pt idx="8120">
                  <c:v>1.86703</c:v>
                </c:pt>
                <c:pt idx="8121">
                  <c:v>1.64022</c:v>
                </c:pt>
                <c:pt idx="8122">
                  <c:v>#N/A</c:v>
                </c:pt>
                <c:pt idx="8123">
                  <c:v>2.3246899999999999</c:v>
                </c:pt>
                <c:pt idx="8124">
                  <c:v>2.2197399999999998</c:v>
                </c:pt>
                <c:pt idx="8125">
                  <c:v>#N/A</c:v>
                </c:pt>
                <c:pt idx="8126">
                  <c:v>2.8261699999999998</c:v>
                </c:pt>
                <c:pt idx="8127">
                  <c:v>2.3709600000000002</c:v>
                </c:pt>
                <c:pt idx="8128">
                  <c:v>1.96526</c:v>
                </c:pt>
                <c:pt idx="8129">
                  <c:v>1.9413</c:v>
                </c:pt>
                <c:pt idx="8130">
                  <c:v>#N/A</c:v>
                </c:pt>
                <c:pt idx="8131">
                  <c:v>1.84395</c:v>
                </c:pt>
                <c:pt idx="8132">
                  <c:v>1.4301200000000001</c:v>
                </c:pt>
                <c:pt idx="8133">
                  <c:v>1.61239</c:v>
                </c:pt>
                <c:pt idx="8134">
                  <c:v>#N/A</c:v>
                </c:pt>
                <c:pt idx="8135">
                  <c:v>1.6489</c:v>
                </c:pt>
                <c:pt idx="8136">
                  <c:v>2.5934499999999998</c:v>
                </c:pt>
                <c:pt idx="8137">
                  <c:v>2.4568400000000001</c:v>
                </c:pt>
                <c:pt idx="8138">
                  <c:v>2.3260200000000002</c:v>
                </c:pt>
                <c:pt idx="8139">
                  <c:v>#N/A</c:v>
                </c:pt>
                <c:pt idx="8140">
                  <c:v>2.15821</c:v>
                </c:pt>
                <c:pt idx="8141">
                  <c:v>2.43032</c:v>
                </c:pt>
                <c:pt idx="8142">
                  <c:v>2.1234000000000002</c:v>
                </c:pt>
                <c:pt idx="8143">
                  <c:v>2.1321300000000001</c:v>
                </c:pt>
                <c:pt idx="8144">
                  <c:v>#N/A</c:v>
                </c:pt>
                <c:pt idx="8145">
                  <c:v>2.0040399999999998</c:v>
                </c:pt>
                <c:pt idx="8146">
                  <c:v>2.0048300000000001</c:v>
                </c:pt>
                <c:pt idx="8147">
                  <c:v>2.9712700000000001</c:v>
                </c:pt>
                <c:pt idx="8148">
                  <c:v>#N/A</c:v>
                </c:pt>
                <c:pt idx="8149">
                  <c:v>2.7967</c:v>
                </c:pt>
                <c:pt idx="8150">
                  <c:v>2.3590900000000001</c:v>
                </c:pt>
                <c:pt idx="8151">
                  <c:v>1.75407</c:v>
                </c:pt>
                <c:pt idx="8152">
                  <c:v>1.8405100000000001</c:v>
                </c:pt>
                <c:pt idx="8153">
                  <c:v>#N/A</c:v>
                </c:pt>
                <c:pt idx="8154">
                  <c:v>1.4150400000000001</c:v>
                </c:pt>
                <c:pt idx="8155">
                  <c:v>0.88219899999999996</c:v>
                </c:pt>
                <c:pt idx="8156">
                  <c:v>1.94068</c:v>
                </c:pt>
                <c:pt idx="8157">
                  <c:v>#N/A</c:v>
                </c:pt>
                <c:pt idx="8158">
                  <c:v>1.9802200000000001</c:v>
                </c:pt>
                <c:pt idx="8159">
                  <c:v>2.7355399999999999</c:v>
                </c:pt>
                <c:pt idx="8160">
                  <c:v>2.1357200000000001</c:v>
                </c:pt>
                <c:pt idx="8161">
                  <c:v>2.30585</c:v>
                </c:pt>
                <c:pt idx="8162">
                  <c:v>#N/A</c:v>
                </c:pt>
                <c:pt idx="8163">
                  <c:v>2.0604100000000001</c:v>
                </c:pt>
                <c:pt idx="8164">
                  <c:v>1.80348</c:v>
                </c:pt>
                <c:pt idx="8165">
                  <c:v>2.1480199999999998</c:v>
                </c:pt>
                <c:pt idx="8166">
                  <c:v>#N/A</c:v>
                </c:pt>
                <c:pt idx="8167">
                  <c:v>1.5238499999999999</c:v>
                </c:pt>
                <c:pt idx="8168">
                  <c:v>2.3752900000000001</c:v>
                </c:pt>
                <c:pt idx="8169">
                  <c:v>2.1953</c:v>
                </c:pt>
                <c:pt idx="8170">
                  <c:v>#N/A</c:v>
                </c:pt>
                <c:pt idx="8171">
                  <c:v>2.33304</c:v>
                </c:pt>
                <c:pt idx="8172">
                  <c:v>2.0072899999999998</c:v>
                </c:pt>
                <c:pt idx="8173">
                  <c:v>1.7403</c:v>
                </c:pt>
                <c:pt idx="8174">
                  <c:v>1.4972000000000001</c:v>
                </c:pt>
                <c:pt idx="8175">
                  <c:v>#N/A</c:v>
                </c:pt>
                <c:pt idx="8176">
                  <c:v>1.9505699999999999</c:v>
                </c:pt>
                <c:pt idx="8177">
                  <c:v>1.6974100000000001</c:v>
                </c:pt>
                <c:pt idx="8178">
                  <c:v>1.9637800000000001</c:v>
                </c:pt>
                <c:pt idx="8179">
                  <c:v>#N/A</c:v>
                </c:pt>
                <c:pt idx="8180">
                  <c:v>2.2521900000000001</c:v>
                </c:pt>
                <c:pt idx="8181">
                  <c:v>2.1943600000000001</c:v>
                </c:pt>
                <c:pt idx="8182">
                  <c:v>2.45208</c:v>
                </c:pt>
                <c:pt idx="8183">
                  <c:v>2.4463200000000001</c:v>
                </c:pt>
                <c:pt idx="8184">
                  <c:v>#N/A</c:v>
                </c:pt>
                <c:pt idx="8185">
                  <c:v>2.0732400000000002</c:v>
                </c:pt>
                <c:pt idx="8186">
                  <c:v>2.2935699999999999</c:v>
                </c:pt>
                <c:pt idx="8187">
                  <c:v>2.4207800000000002</c:v>
                </c:pt>
                <c:pt idx="8188">
                  <c:v>#N/A</c:v>
                </c:pt>
                <c:pt idx="8189">
                  <c:v>1.75403</c:v>
                </c:pt>
                <c:pt idx="8190">
                  <c:v>1.93147</c:v>
                </c:pt>
                <c:pt idx="8191">
                  <c:v>1.7689900000000001</c:v>
                </c:pt>
                <c:pt idx="8192">
                  <c:v>#N/A</c:v>
                </c:pt>
                <c:pt idx="8193">
                  <c:v>1.59996</c:v>
                </c:pt>
                <c:pt idx="8194">
                  <c:v>#N/A</c:v>
                </c:pt>
                <c:pt idx="8195">
                  <c:v>1.8203100000000001</c:v>
                </c:pt>
                <c:pt idx="8196">
                  <c:v>1.7061500000000001</c:v>
                </c:pt>
                <c:pt idx="8197">
                  <c:v>2.2916799999999999</c:v>
                </c:pt>
                <c:pt idx="8198">
                  <c:v>1.9861599999999999</c:v>
                </c:pt>
                <c:pt idx="8199">
                  <c:v>#N/A</c:v>
                </c:pt>
                <c:pt idx="8200">
                  <c:v>1.96858</c:v>
                </c:pt>
                <c:pt idx="8201">
                  <c:v>2.0212300000000001</c:v>
                </c:pt>
                <c:pt idx="8202">
                  <c:v>1.8295399999999999</c:v>
                </c:pt>
                <c:pt idx="8203">
                  <c:v>#N/A</c:v>
                </c:pt>
                <c:pt idx="8204">
                  <c:v>1.99213</c:v>
                </c:pt>
                <c:pt idx="8205">
                  <c:v>2.2890700000000002</c:v>
                </c:pt>
                <c:pt idx="8206">
                  <c:v>2.4936600000000002</c:v>
                </c:pt>
                <c:pt idx="8207">
                  <c:v>2.8752300000000002</c:v>
                </c:pt>
                <c:pt idx="8208">
                  <c:v>#N/A</c:v>
                </c:pt>
                <c:pt idx="8209">
                  <c:v>1.8845700000000001</c:v>
                </c:pt>
                <c:pt idx="8210">
                  <c:v>#N/A</c:v>
                </c:pt>
                <c:pt idx="8211">
                  <c:v>1.19787</c:v>
                </c:pt>
                <c:pt idx="8212">
                  <c:v>#N/A</c:v>
                </c:pt>
                <c:pt idx="8213">
                  <c:v>1.2912399999999999</c:v>
                </c:pt>
                <c:pt idx="8214">
                  <c:v>1.85484</c:v>
                </c:pt>
                <c:pt idx="8215">
                  <c:v>2.1190500000000001</c:v>
                </c:pt>
                <c:pt idx="8216">
                  <c:v>#N/A</c:v>
                </c:pt>
                <c:pt idx="8217">
                  <c:v>1.79182</c:v>
                </c:pt>
                <c:pt idx="8218">
                  <c:v>2.1179299999999999</c:v>
                </c:pt>
                <c:pt idx="8219">
                  <c:v>2.2408399999999999</c:v>
                </c:pt>
                <c:pt idx="8220">
                  <c:v>#N/A</c:v>
                </c:pt>
                <c:pt idx="8221">
                  <c:v>2.3172899999999998</c:v>
                </c:pt>
                <c:pt idx="8222">
                  <c:v>2.3793799999999998</c:v>
                </c:pt>
                <c:pt idx="8223">
                  <c:v>1.8593</c:v>
                </c:pt>
                <c:pt idx="8224">
                  <c:v>1.87158</c:v>
                </c:pt>
                <c:pt idx="8225">
                  <c:v>#N/A</c:v>
                </c:pt>
                <c:pt idx="8226">
                  <c:v>1.8406100000000001</c:v>
                </c:pt>
                <c:pt idx="8227">
                  <c:v>2.48027</c:v>
                </c:pt>
                <c:pt idx="8228">
                  <c:v>2.54941</c:v>
                </c:pt>
                <c:pt idx="8229">
                  <c:v>#N/A</c:v>
                </c:pt>
                <c:pt idx="8230">
                  <c:v>2.1165400000000001</c:v>
                </c:pt>
                <c:pt idx="8231">
                  <c:v>2.05999</c:v>
                </c:pt>
                <c:pt idx="8232">
                  <c:v>1.5898099999999999</c:v>
                </c:pt>
                <c:pt idx="8233">
                  <c:v>1.5199</c:v>
                </c:pt>
                <c:pt idx="8234">
                  <c:v>#N/A</c:v>
                </c:pt>
                <c:pt idx="8235">
                  <c:v>0.87944800000000001</c:v>
                </c:pt>
                <c:pt idx="8236">
                  <c:v>1.63889</c:v>
                </c:pt>
                <c:pt idx="8237">
                  <c:v>1.9835499999999999</c:v>
                </c:pt>
                <c:pt idx="8238">
                  <c:v>#N/A</c:v>
                </c:pt>
                <c:pt idx="8239">
                  <c:v>2.0512800000000002</c:v>
                </c:pt>
                <c:pt idx="8240">
                  <c:v>2.0867499999999999</c:v>
                </c:pt>
                <c:pt idx="8241">
                  <c:v>2.1802700000000002</c:v>
                </c:pt>
                <c:pt idx="8242">
                  <c:v>2.07647</c:v>
                </c:pt>
                <c:pt idx="8243">
                  <c:v>#N/A</c:v>
                </c:pt>
                <c:pt idx="8244">
                  <c:v>2.0491799999999998</c:v>
                </c:pt>
                <c:pt idx="8245">
                  <c:v>2.7343000000000002</c:v>
                </c:pt>
                <c:pt idx="8246">
                  <c:v>2.1336300000000001</c:v>
                </c:pt>
                <c:pt idx="8247">
                  <c:v>#N/A</c:v>
                </c:pt>
                <c:pt idx="8248">
                  <c:v>1.6670199999999999</c:v>
                </c:pt>
                <c:pt idx="8249">
                  <c:v>1.8396999999999999</c:v>
                </c:pt>
                <c:pt idx="8250">
                  <c:v>2.44983</c:v>
                </c:pt>
                <c:pt idx="8251">
                  <c:v>1.8547400000000001</c:v>
                </c:pt>
                <c:pt idx="8252">
                  <c:v>#N/A</c:v>
                </c:pt>
                <c:pt idx="8253">
                  <c:v>2.3275199999999998</c:v>
                </c:pt>
                <c:pt idx="8254">
                  <c:v>2.21672</c:v>
                </c:pt>
                <c:pt idx="8255">
                  <c:v>2.2873299999999999</c:v>
                </c:pt>
                <c:pt idx="8256">
                  <c:v>#N/A</c:v>
                </c:pt>
                <c:pt idx="8257">
                  <c:v>1.9167400000000001</c:v>
                </c:pt>
                <c:pt idx="8258">
                  <c:v>2.3111100000000002</c:v>
                </c:pt>
                <c:pt idx="8259">
                  <c:v>1.8649</c:v>
                </c:pt>
                <c:pt idx="8260">
                  <c:v>2.0506700000000002</c:v>
                </c:pt>
                <c:pt idx="8261">
                  <c:v>#N/A</c:v>
                </c:pt>
                <c:pt idx="8262">
                  <c:v>2.6155200000000001</c:v>
                </c:pt>
                <c:pt idx="8263">
                  <c:v>2.16486</c:v>
                </c:pt>
                <c:pt idx="8264">
                  <c:v>2.3037800000000002</c:v>
                </c:pt>
                <c:pt idx="8265">
                  <c:v>#N/A</c:v>
                </c:pt>
                <c:pt idx="8266">
                  <c:v>2.0765099999999999</c:v>
                </c:pt>
                <c:pt idx="8267">
                  <c:v>#N/A</c:v>
                </c:pt>
                <c:pt idx="8268">
                  <c:v>1.9027700000000001</c:v>
                </c:pt>
                <c:pt idx="8269">
                  <c:v>1.7736099999999999</c:v>
                </c:pt>
                <c:pt idx="8270">
                  <c:v>#N/A</c:v>
                </c:pt>
                <c:pt idx="8271">
                  <c:v>1.9253899999999999</c:v>
                </c:pt>
                <c:pt idx="8272">
                  <c:v>1.60317</c:v>
                </c:pt>
                <c:pt idx="8273">
                  <c:v>2.00691</c:v>
                </c:pt>
                <c:pt idx="8274">
                  <c:v>#N/A</c:v>
                </c:pt>
                <c:pt idx="8275">
                  <c:v>1.8240099999999999</c:v>
                </c:pt>
                <c:pt idx="8276">
                  <c:v>2.4537399999999998</c:v>
                </c:pt>
                <c:pt idx="8277">
                  <c:v>2.4697499999999999</c:v>
                </c:pt>
                <c:pt idx="8278">
                  <c:v>2.1200899999999998</c:v>
                </c:pt>
                <c:pt idx="8279">
                  <c:v>#N/A</c:v>
                </c:pt>
                <c:pt idx="8280">
                  <c:v>2.6072799999999998</c:v>
                </c:pt>
                <c:pt idx="8281">
                  <c:v>2.1920700000000002</c:v>
                </c:pt>
                <c:pt idx="8282">
                  <c:v>2.0515599999999998</c:v>
                </c:pt>
                <c:pt idx="8283">
                  <c:v>#N/A</c:v>
                </c:pt>
                <c:pt idx="8284">
                  <c:v>2.3976899999999999</c:v>
                </c:pt>
                <c:pt idx="8285">
                  <c:v>2.4597899999999999</c:v>
                </c:pt>
                <c:pt idx="8286">
                  <c:v>2.6041400000000001</c:v>
                </c:pt>
                <c:pt idx="8287">
                  <c:v>2.75481</c:v>
                </c:pt>
                <c:pt idx="8288">
                  <c:v>#N/A</c:v>
                </c:pt>
                <c:pt idx="8289">
                  <c:v>2.98054</c:v>
                </c:pt>
                <c:pt idx="8290">
                  <c:v>2.3344299999999998</c:v>
                </c:pt>
                <c:pt idx="8291">
                  <c:v>1.4927299999999999</c:v>
                </c:pt>
                <c:pt idx="8292">
                  <c:v>1.23488</c:v>
                </c:pt>
                <c:pt idx="8293">
                  <c:v>#N/A</c:v>
                </c:pt>
                <c:pt idx="8294">
                  <c:v>1.68662</c:v>
                </c:pt>
                <c:pt idx="8295">
                  <c:v>1.5304800000000001</c:v>
                </c:pt>
                <c:pt idx="8296">
                  <c:v>1.80627</c:v>
                </c:pt>
                <c:pt idx="8297">
                  <c:v>#N/A</c:v>
                </c:pt>
                <c:pt idx="8298">
                  <c:v>2.19319</c:v>
                </c:pt>
                <c:pt idx="8299">
                  <c:v>2.0807500000000001</c:v>
                </c:pt>
                <c:pt idx="8300">
                  <c:v>1.9992799999999999</c:v>
                </c:pt>
                <c:pt idx="8301">
                  <c:v>#N/A</c:v>
                </c:pt>
                <c:pt idx="8302">
                  <c:v>1.8757600000000001</c:v>
                </c:pt>
                <c:pt idx="8303">
                  <c:v>2.10066</c:v>
                </c:pt>
                <c:pt idx="8304">
                  <c:v>2.01065</c:v>
                </c:pt>
                <c:pt idx="8305">
                  <c:v>#N/A</c:v>
                </c:pt>
                <c:pt idx="8306">
                  <c:v>2.1086399999999998</c:v>
                </c:pt>
                <c:pt idx="8307">
                  <c:v>2.5818099999999999</c:v>
                </c:pt>
                <c:pt idx="8308">
                  <c:v>2.5207899999999999</c:v>
                </c:pt>
                <c:pt idx="8309">
                  <c:v>#N/A</c:v>
                </c:pt>
                <c:pt idx="8310">
                  <c:v>2.7244899999999999</c:v>
                </c:pt>
                <c:pt idx="8311">
                  <c:v>2.1627100000000001</c:v>
                </c:pt>
                <c:pt idx="8312">
                  <c:v>2.6289199999999999</c:v>
                </c:pt>
                <c:pt idx="8313">
                  <c:v>2.1415299999999999</c:v>
                </c:pt>
                <c:pt idx="8314">
                  <c:v>#N/A</c:v>
                </c:pt>
                <c:pt idx="8315">
                  <c:v>1.42527</c:v>
                </c:pt>
                <c:pt idx="8316">
                  <c:v>1.31047</c:v>
                </c:pt>
                <c:pt idx="8317">
                  <c:v>2.0033799999999999</c:v>
                </c:pt>
                <c:pt idx="8318">
                  <c:v>#N/A</c:v>
                </c:pt>
                <c:pt idx="8319">
                  <c:v>2.1029300000000002</c:v>
                </c:pt>
                <c:pt idx="8320">
                  <c:v>2.49166</c:v>
                </c:pt>
                <c:pt idx="8321">
                  <c:v>2.8468100000000001</c:v>
                </c:pt>
                <c:pt idx="8322">
                  <c:v>2.3218800000000002</c:v>
                </c:pt>
                <c:pt idx="8323">
                  <c:v>#N/A</c:v>
                </c:pt>
                <c:pt idx="8324">
                  <c:v>2.4513500000000001</c:v>
                </c:pt>
                <c:pt idx="8325">
                  <c:v>2.5663399999999998</c:v>
                </c:pt>
                <c:pt idx="8326">
                  <c:v>2.1486800000000001</c:v>
                </c:pt>
                <c:pt idx="8327">
                  <c:v>1.86155</c:v>
                </c:pt>
                <c:pt idx="8328">
                  <c:v>#N/A</c:v>
                </c:pt>
                <c:pt idx="8329">
                  <c:v>2.18607</c:v>
                </c:pt>
                <c:pt idx="8330">
                  <c:v>1.69716</c:v>
                </c:pt>
                <c:pt idx="8331">
                  <c:v>1.8334299999999999</c:v>
                </c:pt>
                <c:pt idx="8332">
                  <c:v>#N/A</c:v>
                </c:pt>
                <c:pt idx="8333">
                  <c:v>1.9372400000000001</c:v>
                </c:pt>
                <c:pt idx="8334">
                  <c:v>2.1468099999999999</c:v>
                </c:pt>
                <c:pt idx="8335">
                  <c:v>#N/A</c:v>
                </c:pt>
                <c:pt idx="8336">
                  <c:v>2.1647599999999998</c:v>
                </c:pt>
                <c:pt idx="8337">
                  <c:v>2.4595099999999999</c:v>
                </c:pt>
                <c:pt idx="8338">
                  <c:v>#N/A</c:v>
                </c:pt>
                <c:pt idx="8339">
                  <c:v>1.85859</c:v>
                </c:pt>
                <c:pt idx="8340">
                  <c:v>#N/A</c:v>
                </c:pt>
                <c:pt idx="8341">
                  <c:v>2.0618599999999998</c:v>
                </c:pt>
                <c:pt idx="8342">
                  <c:v>2.2334900000000002</c:v>
                </c:pt>
                <c:pt idx="8343">
                  <c:v>2.3469899999999999</c:v>
                </c:pt>
                <c:pt idx="8344">
                  <c:v>2.4200300000000001</c:v>
                </c:pt>
                <c:pt idx="8345">
                  <c:v>#N/A</c:v>
                </c:pt>
                <c:pt idx="8346">
                  <c:v>2.5884900000000002</c:v>
                </c:pt>
                <c:pt idx="8347">
                  <c:v>2.19936</c:v>
                </c:pt>
                <c:pt idx="8348">
                  <c:v>2.8565800000000001</c:v>
                </c:pt>
                <c:pt idx="8349">
                  <c:v>#N/A</c:v>
                </c:pt>
                <c:pt idx="8350">
                  <c:v>1.71997</c:v>
                </c:pt>
                <c:pt idx="8351">
                  <c:v>1.50763</c:v>
                </c:pt>
                <c:pt idx="8352">
                  <c:v>1.84836</c:v>
                </c:pt>
                <c:pt idx="8353">
                  <c:v>1.7462299999999999</c:v>
                </c:pt>
                <c:pt idx="8354">
                  <c:v>#N/A</c:v>
                </c:pt>
                <c:pt idx="8355">
                  <c:v>2.1950799999999999</c:v>
                </c:pt>
                <c:pt idx="8356">
                  <c:v>2.4225300000000001</c:v>
                </c:pt>
                <c:pt idx="8357">
                  <c:v>2.6311900000000001</c:v>
                </c:pt>
                <c:pt idx="8358">
                  <c:v>2.6830500000000002</c:v>
                </c:pt>
                <c:pt idx="8359">
                  <c:v>#N/A</c:v>
                </c:pt>
                <c:pt idx="8360">
                  <c:v>2.1446499999999999</c:v>
                </c:pt>
                <c:pt idx="8361">
                  <c:v>2.3641299999999998</c:v>
                </c:pt>
                <c:pt idx="8362">
                  <c:v>2.3425699999999998</c:v>
                </c:pt>
                <c:pt idx="8363">
                  <c:v>#N/A</c:v>
                </c:pt>
                <c:pt idx="8364">
                  <c:v>1.9863299999999999</c:v>
                </c:pt>
                <c:pt idx="8365">
                  <c:v>2.9729999999999999</c:v>
                </c:pt>
                <c:pt idx="8366">
                  <c:v>2.6156600000000001</c:v>
                </c:pt>
                <c:pt idx="8367">
                  <c:v>2.4980199999999999</c:v>
                </c:pt>
                <c:pt idx="8368">
                  <c:v>#N/A</c:v>
                </c:pt>
                <c:pt idx="8369">
                  <c:v>2.2026300000000001</c:v>
                </c:pt>
                <c:pt idx="8370">
                  <c:v>2.53146</c:v>
                </c:pt>
                <c:pt idx="8371">
                  <c:v>2.18526</c:v>
                </c:pt>
                <c:pt idx="8372">
                  <c:v>#N/A</c:v>
                </c:pt>
                <c:pt idx="8373">
                  <c:v>1.3728800000000001</c:v>
                </c:pt>
                <c:pt idx="8374">
                  <c:v>1.8972</c:v>
                </c:pt>
                <c:pt idx="8375">
                  <c:v>2.2343700000000002</c:v>
                </c:pt>
                <c:pt idx="8376">
                  <c:v>#N/A</c:v>
                </c:pt>
                <c:pt idx="8377">
                  <c:v>2.2277100000000001</c:v>
                </c:pt>
                <c:pt idx="8378">
                  <c:v>2.6967300000000001</c:v>
                </c:pt>
                <c:pt idx="8379">
                  <c:v>2.7953399999999999</c:v>
                </c:pt>
                <c:pt idx="8380">
                  <c:v>2.3765000000000001</c:v>
                </c:pt>
                <c:pt idx="8381">
                  <c:v>#N/A</c:v>
                </c:pt>
                <c:pt idx="8382">
                  <c:v>2.4727800000000002</c:v>
                </c:pt>
                <c:pt idx="8383">
                  <c:v>2.4076</c:v>
                </c:pt>
                <c:pt idx="8384">
                  <c:v>2.47221</c:v>
                </c:pt>
                <c:pt idx="8385">
                  <c:v>2.5705399999999998</c:v>
                </c:pt>
                <c:pt idx="8386">
                  <c:v>#N/A</c:v>
                </c:pt>
                <c:pt idx="8387">
                  <c:v>3.0902599999999998</c:v>
                </c:pt>
                <c:pt idx="8388">
                  <c:v>2.4493900000000002</c:v>
                </c:pt>
                <c:pt idx="8389">
                  <c:v>2.2381099999999998</c:v>
                </c:pt>
                <c:pt idx="8390">
                  <c:v>#N/A</c:v>
                </c:pt>
                <c:pt idx="8391">
                  <c:v>1.9440999999999999</c:v>
                </c:pt>
                <c:pt idx="8392">
                  <c:v>2.4425500000000002</c:v>
                </c:pt>
                <c:pt idx="8393">
                  <c:v>2.00244</c:v>
                </c:pt>
                <c:pt idx="8394">
                  <c:v>2.2267199999999998</c:v>
                </c:pt>
                <c:pt idx="8395">
                  <c:v>#N/A</c:v>
                </c:pt>
                <c:pt idx="8396">
                  <c:v>2.4090699999999998</c:v>
                </c:pt>
                <c:pt idx="8397">
                  <c:v>2.4658799999999998</c:v>
                </c:pt>
                <c:pt idx="8398">
                  <c:v>2.3090600000000001</c:v>
                </c:pt>
                <c:pt idx="8399">
                  <c:v>#N/A</c:v>
                </c:pt>
                <c:pt idx="8400">
                  <c:v>2.2474699999999999</c:v>
                </c:pt>
                <c:pt idx="8401">
                  <c:v>2.3586299999999998</c:v>
                </c:pt>
                <c:pt idx="8402">
                  <c:v>2.6042100000000001</c:v>
                </c:pt>
                <c:pt idx="8403">
                  <c:v>#N/A</c:v>
                </c:pt>
                <c:pt idx="8404">
                  <c:v>2.24152</c:v>
                </c:pt>
                <c:pt idx="8405">
                  <c:v>2.8605100000000001</c:v>
                </c:pt>
                <c:pt idx="8406">
                  <c:v>2.8092299999999999</c:v>
                </c:pt>
                <c:pt idx="8407">
                  <c:v>2.4054600000000002</c:v>
                </c:pt>
                <c:pt idx="8408">
                  <c:v>#N/A</c:v>
                </c:pt>
                <c:pt idx="8409">
                  <c:v>1.6794199999999999</c:v>
                </c:pt>
                <c:pt idx="8410">
                  <c:v>#N/A</c:v>
                </c:pt>
                <c:pt idx="8411">
                  <c:v>1.3785000000000001</c:v>
                </c:pt>
                <c:pt idx="8412">
                  <c:v>1.7511699999999999</c:v>
                </c:pt>
                <c:pt idx="8413">
                  <c:v>1.71052</c:v>
                </c:pt>
                <c:pt idx="8414">
                  <c:v>#N/A</c:v>
                </c:pt>
                <c:pt idx="8415">
                  <c:v>2.0813700000000002</c:v>
                </c:pt>
                <c:pt idx="8416">
                  <c:v>2.0867300000000002</c:v>
                </c:pt>
                <c:pt idx="8417">
                  <c:v>1.88235</c:v>
                </c:pt>
                <c:pt idx="8418">
                  <c:v>2.2702100000000001</c:v>
                </c:pt>
                <c:pt idx="8419">
                  <c:v>#N/A</c:v>
                </c:pt>
                <c:pt idx="8420">
                  <c:v>2.2675000000000001</c:v>
                </c:pt>
                <c:pt idx="8421">
                  <c:v>2.3529399999999998</c:v>
                </c:pt>
                <c:pt idx="8422">
                  <c:v>2.2156400000000001</c:v>
                </c:pt>
                <c:pt idx="8423">
                  <c:v>2.3898700000000002</c:v>
                </c:pt>
                <c:pt idx="8424">
                  <c:v>#N/A</c:v>
                </c:pt>
                <c:pt idx="8425">
                  <c:v>3.1460400000000002</c:v>
                </c:pt>
                <c:pt idx="8426">
                  <c:v>2.9941399999999998</c:v>
                </c:pt>
                <c:pt idx="8427">
                  <c:v>2.72533</c:v>
                </c:pt>
                <c:pt idx="8428">
                  <c:v>#N/A</c:v>
                </c:pt>
                <c:pt idx="8429">
                  <c:v>2.2061999999999999</c:v>
                </c:pt>
                <c:pt idx="8430">
                  <c:v>2.4274399999999998</c:v>
                </c:pt>
                <c:pt idx="8431">
                  <c:v>1.42876</c:v>
                </c:pt>
                <c:pt idx="8432">
                  <c:v>1.54047</c:v>
                </c:pt>
                <c:pt idx="8433">
                  <c:v>#N/A</c:v>
                </c:pt>
                <c:pt idx="8434">
                  <c:v>1.8689899999999999</c:v>
                </c:pt>
                <c:pt idx="8435">
                  <c:v>2.2159399999999998</c:v>
                </c:pt>
                <c:pt idx="8436">
                  <c:v>1.8717600000000001</c:v>
                </c:pt>
                <c:pt idx="8437">
                  <c:v>#N/A</c:v>
                </c:pt>
                <c:pt idx="8438">
                  <c:v>2.1480299999999999</c:v>
                </c:pt>
                <c:pt idx="8439">
                  <c:v>2.26458</c:v>
                </c:pt>
                <c:pt idx="8440">
                  <c:v>2.39717</c:v>
                </c:pt>
                <c:pt idx="8441">
                  <c:v>#N/A</c:v>
                </c:pt>
                <c:pt idx="8442">
                  <c:v>2.1272199999999999</c:v>
                </c:pt>
                <c:pt idx="8443">
                  <c:v>2.4573999999999998</c:v>
                </c:pt>
                <c:pt idx="8444">
                  <c:v>1.9738100000000001</c:v>
                </c:pt>
                <c:pt idx="8445">
                  <c:v>1.97465</c:v>
                </c:pt>
                <c:pt idx="8446">
                  <c:v>#N/A</c:v>
                </c:pt>
                <c:pt idx="8447">
                  <c:v>2.6307</c:v>
                </c:pt>
                <c:pt idx="8448">
                  <c:v>2.7388699999999999</c:v>
                </c:pt>
                <c:pt idx="8449">
                  <c:v>2.41168</c:v>
                </c:pt>
                <c:pt idx="8450">
                  <c:v>2.0061200000000001</c:v>
                </c:pt>
                <c:pt idx="8451">
                  <c:v>#N/A</c:v>
                </c:pt>
                <c:pt idx="8452">
                  <c:v>1.72444</c:v>
                </c:pt>
                <c:pt idx="8453">
                  <c:v>1.8654900000000001</c:v>
                </c:pt>
                <c:pt idx="8454">
                  <c:v>1.81192</c:v>
                </c:pt>
                <c:pt idx="8455">
                  <c:v>#N/A</c:v>
                </c:pt>
                <c:pt idx="8456">
                  <c:v>2.31881</c:v>
                </c:pt>
                <c:pt idx="8457">
                  <c:v>2.8292299999999999</c:v>
                </c:pt>
                <c:pt idx="8458">
                  <c:v>3.04738</c:v>
                </c:pt>
                <c:pt idx="8459">
                  <c:v>#N/A</c:v>
                </c:pt>
                <c:pt idx="8460">
                  <c:v>2.4032800000000001</c:v>
                </c:pt>
                <c:pt idx="8461">
                  <c:v>2.3723000000000001</c:v>
                </c:pt>
                <c:pt idx="8462">
                  <c:v>2.32212</c:v>
                </c:pt>
                <c:pt idx="8463">
                  <c:v>2.6151499999999999</c:v>
                </c:pt>
                <c:pt idx="8464">
                  <c:v>#N/A</c:v>
                </c:pt>
                <c:pt idx="8465">
                  <c:v>3.1337100000000002</c:v>
                </c:pt>
                <c:pt idx="8466">
                  <c:v>2.1909700000000001</c:v>
                </c:pt>
                <c:pt idx="8467">
                  <c:v>2.6191</c:v>
                </c:pt>
                <c:pt idx="8468">
                  <c:v>#N/A</c:v>
                </c:pt>
                <c:pt idx="8469">
                  <c:v>2.26031</c:v>
                </c:pt>
                <c:pt idx="8470">
                  <c:v>2.5891500000000001</c:v>
                </c:pt>
                <c:pt idx="8471">
                  <c:v>2.0960299999999998</c:v>
                </c:pt>
                <c:pt idx="8472">
                  <c:v>#N/A</c:v>
                </c:pt>
                <c:pt idx="8473">
                  <c:v>2.0580599999999998</c:v>
                </c:pt>
                <c:pt idx="8474">
                  <c:v>1.6211100000000001</c:v>
                </c:pt>
                <c:pt idx="8475">
                  <c:v>1.7867999999999999</c:v>
                </c:pt>
                <c:pt idx="8476">
                  <c:v>1.8468199999999999</c:v>
                </c:pt>
                <c:pt idx="8477">
                  <c:v>#N/A</c:v>
                </c:pt>
                <c:pt idx="8478">
                  <c:v>2.4509699999999999</c:v>
                </c:pt>
                <c:pt idx="8479">
                  <c:v>2.6487599999999998</c:v>
                </c:pt>
                <c:pt idx="8480">
                  <c:v>#N/A</c:v>
                </c:pt>
                <c:pt idx="8481">
                  <c:v>2.2799200000000002</c:v>
                </c:pt>
                <c:pt idx="8482">
                  <c:v>2.0880700000000001</c:v>
                </c:pt>
                <c:pt idx="8483">
                  <c:v>#N/A</c:v>
                </c:pt>
                <c:pt idx="8484">
                  <c:v>2.7223899999999999</c:v>
                </c:pt>
                <c:pt idx="8485">
                  <c:v>2.3746200000000002</c:v>
                </c:pt>
                <c:pt idx="8486">
                  <c:v>2.9611900000000002</c:v>
                </c:pt>
                <c:pt idx="8487">
                  <c:v>#N/A</c:v>
                </c:pt>
                <c:pt idx="8488">
                  <c:v>2.79549</c:v>
                </c:pt>
                <c:pt idx="8489">
                  <c:v>2.5543900000000002</c:v>
                </c:pt>
                <c:pt idx="8490">
                  <c:v>#N/A</c:v>
                </c:pt>
                <c:pt idx="8491">
                  <c:v>1.8399799999999999</c:v>
                </c:pt>
                <c:pt idx="8492">
                  <c:v>2.0481799999999999</c:v>
                </c:pt>
                <c:pt idx="8493">
                  <c:v>2.4961600000000002</c:v>
                </c:pt>
                <c:pt idx="8494">
                  <c:v>2.6013700000000002</c:v>
                </c:pt>
                <c:pt idx="8495">
                  <c:v>#N/A</c:v>
                </c:pt>
                <c:pt idx="8496">
                  <c:v>2.49343</c:v>
                </c:pt>
                <c:pt idx="8497">
                  <c:v>2.54894</c:v>
                </c:pt>
                <c:pt idx="8498">
                  <c:v>2.3603299999999998</c:v>
                </c:pt>
                <c:pt idx="8499">
                  <c:v>#N/A</c:v>
                </c:pt>
                <c:pt idx="8500">
                  <c:v>2.468</c:v>
                </c:pt>
                <c:pt idx="8501">
                  <c:v>2.5088499999999998</c:v>
                </c:pt>
                <c:pt idx="8502">
                  <c:v>2.3515199999999998</c:v>
                </c:pt>
                <c:pt idx="8503">
                  <c:v>#N/A</c:v>
                </c:pt>
                <c:pt idx="8504">
                  <c:v>2.0556299999999998</c:v>
                </c:pt>
                <c:pt idx="8505">
                  <c:v>2.8655200000000001</c:v>
                </c:pt>
                <c:pt idx="8506">
                  <c:v>2.3092999999999999</c:v>
                </c:pt>
                <c:pt idx="8507">
                  <c:v>#N/A</c:v>
                </c:pt>
                <c:pt idx="8508">
                  <c:v>2.6534200000000001</c:v>
                </c:pt>
                <c:pt idx="8509">
                  <c:v>1.78928</c:v>
                </c:pt>
                <c:pt idx="8510">
                  <c:v>2.2974100000000002</c:v>
                </c:pt>
                <c:pt idx="8511">
                  <c:v>2.0134099999999999</c:v>
                </c:pt>
                <c:pt idx="8512">
                  <c:v>#N/A</c:v>
                </c:pt>
                <c:pt idx="8513">
                  <c:v>1.97366</c:v>
                </c:pt>
                <c:pt idx="8514">
                  <c:v>2.0171700000000001</c:v>
                </c:pt>
                <c:pt idx="8515">
                  <c:v>2.1684999999999999</c:v>
                </c:pt>
                <c:pt idx="8516">
                  <c:v>2.5070399999999999</c:v>
                </c:pt>
                <c:pt idx="8517">
                  <c:v>#N/A</c:v>
                </c:pt>
                <c:pt idx="8518">
                  <c:v>2.8288700000000002</c:v>
                </c:pt>
                <c:pt idx="8519">
                  <c:v>2.4326099999999999</c:v>
                </c:pt>
                <c:pt idx="8520">
                  <c:v>2.3788499999999999</c:v>
                </c:pt>
                <c:pt idx="8521">
                  <c:v>#N/A</c:v>
                </c:pt>
                <c:pt idx="8522">
                  <c:v>2.2214499999999999</c:v>
                </c:pt>
                <c:pt idx="8523">
                  <c:v>2.4992800000000002</c:v>
                </c:pt>
                <c:pt idx="8524">
                  <c:v>2.5900099999999999</c:v>
                </c:pt>
                <c:pt idx="8525">
                  <c:v>2.4890099999999999</c:v>
                </c:pt>
                <c:pt idx="8526">
                  <c:v>#N/A</c:v>
                </c:pt>
                <c:pt idx="8527">
                  <c:v>2.0901000000000001</c:v>
                </c:pt>
                <c:pt idx="8528">
                  <c:v>2.0309400000000002</c:v>
                </c:pt>
                <c:pt idx="8529">
                  <c:v>1.9757199999999999</c:v>
                </c:pt>
                <c:pt idx="8530">
                  <c:v>#N/A</c:v>
                </c:pt>
                <c:pt idx="8531">
                  <c:v>1.97014</c:v>
                </c:pt>
                <c:pt idx="8532">
                  <c:v>2.1467299999999998</c:v>
                </c:pt>
                <c:pt idx="8533">
                  <c:v>1.6082700000000001</c:v>
                </c:pt>
                <c:pt idx="8534">
                  <c:v>2.2097500000000001</c:v>
                </c:pt>
                <c:pt idx="8535">
                  <c:v>#N/A</c:v>
                </c:pt>
                <c:pt idx="8536">
                  <c:v>1.6855500000000001</c:v>
                </c:pt>
                <c:pt idx="8537">
                  <c:v>2.2815300000000001</c:v>
                </c:pt>
                <c:pt idx="8538">
                  <c:v>2.4680200000000001</c:v>
                </c:pt>
                <c:pt idx="8539">
                  <c:v>#N/A</c:v>
                </c:pt>
                <c:pt idx="8540">
                  <c:v>2.3835600000000001</c:v>
                </c:pt>
                <c:pt idx="8541">
                  <c:v>2.63632</c:v>
                </c:pt>
                <c:pt idx="8542">
                  <c:v>2.3123999999999998</c:v>
                </c:pt>
                <c:pt idx="8543">
                  <c:v>2.1144500000000002</c:v>
                </c:pt>
                <c:pt idx="8544">
                  <c:v>#N/A</c:v>
                </c:pt>
                <c:pt idx="8545">
                  <c:v>2.0081199999999999</c:v>
                </c:pt>
                <c:pt idx="8546">
                  <c:v>2.7111200000000002</c:v>
                </c:pt>
                <c:pt idx="8547">
                  <c:v>2.3841399999999999</c:v>
                </c:pt>
                <c:pt idx="8548">
                  <c:v>#N/A</c:v>
                </c:pt>
                <c:pt idx="8549">
                  <c:v>2.2613099999999999</c:v>
                </c:pt>
                <c:pt idx="8550">
                  <c:v>1.7022999999999999</c:v>
                </c:pt>
                <c:pt idx="8551">
                  <c:v>1.85554</c:v>
                </c:pt>
                <c:pt idx="8552">
                  <c:v>#N/A</c:v>
                </c:pt>
                <c:pt idx="8553">
                  <c:v>2.08806</c:v>
                </c:pt>
                <c:pt idx="8554">
                  <c:v>#N/A</c:v>
                </c:pt>
                <c:pt idx="8555">
                  <c:v>2.2668599999999999</c:v>
                </c:pt>
                <c:pt idx="8556">
                  <c:v>2.0304000000000002</c:v>
                </c:pt>
                <c:pt idx="8557">
                  <c:v>2.4626399999999999</c:v>
                </c:pt>
                <c:pt idx="8558">
                  <c:v>2.1506099999999999</c:v>
                </c:pt>
                <c:pt idx="8559">
                  <c:v>#N/A</c:v>
                </c:pt>
                <c:pt idx="8560">
                  <c:v>2.4777900000000002</c:v>
                </c:pt>
                <c:pt idx="8561">
                  <c:v>2.3704200000000002</c:v>
                </c:pt>
                <c:pt idx="8562">
                  <c:v>2.6242299999999998</c:v>
                </c:pt>
                <c:pt idx="8563">
                  <c:v>#N/A</c:v>
                </c:pt>
                <c:pt idx="8564">
                  <c:v>2.3382200000000002</c:v>
                </c:pt>
                <c:pt idx="8565">
                  <c:v>2.4318300000000002</c:v>
                </c:pt>
                <c:pt idx="8566">
                  <c:v>2.9784799999999998</c:v>
                </c:pt>
                <c:pt idx="8567">
                  <c:v>#N/A</c:v>
                </c:pt>
                <c:pt idx="8568">
                  <c:v>2.6882100000000002</c:v>
                </c:pt>
                <c:pt idx="8569">
                  <c:v>2.1938800000000001</c:v>
                </c:pt>
                <c:pt idx="8570">
                  <c:v>1.8878299999999999</c:v>
                </c:pt>
                <c:pt idx="8571">
                  <c:v>2.1232700000000002</c:v>
                </c:pt>
                <c:pt idx="8572">
                  <c:v>#N/A</c:v>
                </c:pt>
                <c:pt idx="8573">
                  <c:v>1.7164600000000001</c:v>
                </c:pt>
                <c:pt idx="8574">
                  <c:v>2.1238100000000002</c:v>
                </c:pt>
                <c:pt idx="8575">
                  <c:v>2.7263700000000002</c:v>
                </c:pt>
                <c:pt idx="8576">
                  <c:v>2.6495799999999998</c:v>
                </c:pt>
                <c:pt idx="8577">
                  <c:v>#N/A</c:v>
                </c:pt>
                <c:pt idx="8578">
                  <c:v>2.7148099999999999</c:v>
                </c:pt>
                <c:pt idx="8579">
                  <c:v>2.51444</c:v>
                </c:pt>
                <c:pt idx="8580">
                  <c:v>2.3944299999999998</c:v>
                </c:pt>
                <c:pt idx="8581">
                  <c:v>#N/A</c:v>
                </c:pt>
                <c:pt idx="8582">
                  <c:v>2.2602500000000001</c:v>
                </c:pt>
                <c:pt idx="8583">
                  <c:v>2.5759400000000001</c:v>
                </c:pt>
                <c:pt idx="8584">
                  <c:v>2.4545300000000001</c:v>
                </c:pt>
                <c:pt idx="8585">
                  <c:v>2.7438899999999999</c:v>
                </c:pt>
                <c:pt idx="8586">
                  <c:v>#N/A</c:v>
                </c:pt>
                <c:pt idx="8587">
                  <c:v>2.4597000000000002</c:v>
                </c:pt>
                <c:pt idx="8588">
                  <c:v>2.3273000000000001</c:v>
                </c:pt>
                <c:pt idx="8589">
                  <c:v>#N/A</c:v>
                </c:pt>
                <c:pt idx="8590">
                  <c:v>2.8053900000000001</c:v>
                </c:pt>
                <c:pt idx="8591">
                  <c:v>1.9639500000000001</c:v>
                </c:pt>
                <c:pt idx="8592">
                  <c:v>2.1424599999999998</c:v>
                </c:pt>
                <c:pt idx="8593">
                  <c:v>2.0934300000000001</c:v>
                </c:pt>
                <c:pt idx="8594">
                  <c:v>#N/A</c:v>
                </c:pt>
                <c:pt idx="8595">
                  <c:v>2.6816</c:v>
                </c:pt>
                <c:pt idx="8596">
                  <c:v>2.67835</c:v>
                </c:pt>
                <c:pt idx="8597">
                  <c:v>2.8829699999999998</c:v>
                </c:pt>
                <c:pt idx="8598">
                  <c:v>#N/A</c:v>
                </c:pt>
                <c:pt idx="8599">
                  <c:v>3.2061199999999999</c:v>
                </c:pt>
                <c:pt idx="8600">
                  <c:v>2.9809800000000002</c:v>
                </c:pt>
                <c:pt idx="8601">
                  <c:v>3.0501800000000001</c:v>
                </c:pt>
                <c:pt idx="8602">
                  <c:v>2.9825300000000001</c:v>
                </c:pt>
                <c:pt idx="8603">
                  <c:v>#N/A</c:v>
                </c:pt>
                <c:pt idx="8604">
                  <c:v>3.0614499999999998</c:v>
                </c:pt>
                <c:pt idx="8605">
                  <c:v>2.9097</c:v>
                </c:pt>
                <c:pt idx="8606">
                  <c:v>3.2951199999999998</c:v>
                </c:pt>
                <c:pt idx="8607">
                  <c:v>#N/A</c:v>
                </c:pt>
                <c:pt idx="8608">
                  <c:v>3.0807199999999999</c:v>
                </c:pt>
                <c:pt idx="8609">
                  <c:v>2.9291399999999999</c:v>
                </c:pt>
                <c:pt idx="8610">
                  <c:v>2.4065099999999999</c:v>
                </c:pt>
                <c:pt idx="8611">
                  <c:v>2.7049099999999999</c:v>
                </c:pt>
                <c:pt idx="8612">
                  <c:v>#N/A</c:v>
                </c:pt>
                <c:pt idx="8613">
                  <c:v>2.7396199999999999</c:v>
                </c:pt>
                <c:pt idx="8614">
                  <c:v>3.0859800000000002</c:v>
                </c:pt>
                <c:pt idx="8615">
                  <c:v>2.8534000000000002</c:v>
                </c:pt>
                <c:pt idx="8616">
                  <c:v>#N/A</c:v>
                </c:pt>
                <c:pt idx="8617">
                  <c:v>2.9632499999999999</c:v>
                </c:pt>
                <c:pt idx="8618">
                  <c:v>3.44787</c:v>
                </c:pt>
                <c:pt idx="8619">
                  <c:v>3.09992</c:v>
                </c:pt>
                <c:pt idx="8620">
                  <c:v>#N/A</c:v>
                </c:pt>
                <c:pt idx="8621">
                  <c:v>3.0897800000000002</c:v>
                </c:pt>
                <c:pt idx="8622">
                  <c:v>3.0426099999999998</c:v>
                </c:pt>
                <c:pt idx="8623">
                  <c:v>2.8502299999999998</c:v>
                </c:pt>
                <c:pt idx="8624">
                  <c:v>#N/A</c:v>
                </c:pt>
                <c:pt idx="8625">
                  <c:v>3.1967599999999998</c:v>
                </c:pt>
                <c:pt idx="8626">
                  <c:v>3.2446799999999998</c:v>
                </c:pt>
                <c:pt idx="8627">
                  <c:v>3.4277099999999998</c:v>
                </c:pt>
                <c:pt idx="8628">
                  <c:v>#N/A</c:v>
                </c:pt>
                <c:pt idx="8629">
                  <c:v>3.0762800000000001</c:v>
                </c:pt>
                <c:pt idx="8630">
                  <c:v>2.89235</c:v>
                </c:pt>
                <c:pt idx="8631">
                  <c:v>3.0754000000000001</c:v>
                </c:pt>
                <c:pt idx="8632">
                  <c:v>#N/A</c:v>
                </c:pt>
                <c:pt idx="8633">
                  <c:v>3.1527599999999998</c:v>
                </c:pt>
                <c:pt idx="8634">
                  <c:v>2.7088399999999999</c:v>
                </c:pt>
                <c:pt idx="8635">
                  <c:v>3.7707099999999998</c:v>
                </c:pt>
                <c:pt idx="8636">
                  <c:v>#N/A</c:v>
                </c:pt>
                <c:pt idx="8637">
                  <c:v>4.2111599999999996</c:v>
                </c:pt>
                <c:pt idx="8638">
                  <c:v>3.9664600000000001</c:v>
                </c:pt>
                <c:pt idx="8639">
                  <c:v>3.4538199999999999</c:v>
                </c:pt>
                <c:pt idx="8640">
                  <c:v>3.0428999999999999</c:v>
                </c:pt>
                <c:pt idx="8641">
                  <c:v>#N/A</c:v>
                </c:pt>
                <c:pt idx="8642">
                  <c:v>2.4753099999999999</c:v>
                </c:pt>
                <c:pt idx="8643">
                  <c:v>2.4085000000000001</c:v>
                </c:pt>
                <c:pt idx="8644">
                  <c:v>3.0941299999999998</c:v>
                </c:pt>
                <c:pt idx="8645">
                  <c:v>#N/A</c:v>
                </c:pt>
                <c:pt idx="8646">
                  <c:v>3.2579199999999999</c:v>
                </c:pt>
                <c:pt idx="8647">
                  <c:v>3.46339</c:v>
                </c:pt>
                <c:pt idx="8648">
                  <c:v>3.1060500000000002</c:v>
                </c:pt>
                <c:pt idx="8649">
                  <c:v>#N/A</c:v>
                </c:pt>
                <c:pt idx="8650">
                  <c:v>2.7400899999999999</c:v>
                </c:pt>
                <c:pt idx="8651">
                  <c:v>2.53491</c:v>
                </c:pt>
                <c:pt idx="8652">
                  <c:v>2.3489</c:v>
                </c:pt>
                <c:pt idx="8653">
                  <c:v>#N/A</c:v>
                </c:pt>
                <c:pt idx="8654">
                  <c:v>2.6582599999999998</c:v>
                </c:pt>
                <c:pt idx="8655">
                  <c:v>3.09117</c:v>
                </c:pt>
                <c:pt idx="8656">
                  <c:v>3.4230700000000001</c:v>
                </c:pt>
                <c:pt idx="8657">
                  <c:v>3.3490899999999999</c:v>
                </c:pt>
                <c:pt idx="8658">
                  <c:v>#N/A</c:v>
                </c:pt>
                <c:pt idx="8659">
                  <c:v>3.7671800000000002</c:v>
                </c:pt>
                <c:pt idx="8660">
                  <c:v>3.5647899999999999</c:v>
                </c:pt>
                <c:pt idx="8661">
                  <c:v>3.48963</c:v>
                </c:pt>
                <c:pt idx="8662">
                  <c:v>#N/A</c:v>
                </c:pt>
                <c:pt idx="8663">
                  <c:v>3.6480299999999999</c:v>
                </c:pt>
                <c:pt idx="8664">
                  <c:v>3.1171700000000002</c:v>
                </c:pt>
                <c:pt idx="8665">
                  <c:v>3.2898800000000001</c:v>
                </c:pt>
                <c:pt idx="8666">
                  <c:v>2.8103199999999999</c:v>
                </c:pt>
                <c:pt idx="8667">
                  <c:v>#N/A</c:v>
                </c:pt>
                <c:pt idx="8668">
                  <c:v>3.2227000000000001</c:v>
                </c:pt>
                <c:pt idx="8669">
                  <c:v>3.07972</c:v>
                </c:pt>
                <c:pt idx="8670">
                  <c:v>3.36192</c:v>
                </c:pt>
                <c:pt idx="8671">
                  <c:v>2.9699200000000001</c:v>
                </c:pt>
                <c:pt idx="8672">
                  <c:v>#N/A</c:v>
                </c:pt>
                <c:pt idx="8673">
                  <c:v>3.0503200000000001</c:v>
                </c:pt>
                <c:pt idx="8674">
                  <c:v>2.3196500000000002</c:v>
                </c:pt>
                <c:pt idx="8675">
                  <c:v>2.80159</c:v>
                </c:pt>
                <c:pt idx="8676">
                  <c:v>#N/A</c:v>
                </c:pt>
                <c:pt idx="8677">
                  <c:v>2.9298099999999998</c:v>
                </c:pt>
                <c:pt idx="8678">
                  <c:v>3.5447000000000002</c:v>
                </c:pt>
                <c:pt idx="8679">
                  <c:v>3.3578199999999998</c:v>
                </c:pt>
                <c:pt idx="8680">
                  <c:v>3.5695199999999998</c:v>
                </c:pt>
                <c:pt idx="8681">
                  <c:v>#N/A</c:v>
                </c:pt>
                <c:pt idx="8682">
                  <c:v>3.5261200000000001</c:v>
                </c:pt>
                <c:pt idx="8683">
                  <c:v>3.5152199999999998</c:v>
                </c:pt>
                <c:pt idx="8684">
                  <c:v>3.8508300000000002</c:v>
                </c:pt>
                <c:pt idx="8685">
                  <c:v>#N/A</c:v>
                </c:pt>
                <c:pt idx="8686">
                  <c:v>3.3542700000000001</c:v>
                </c:pt>
                <c:pt idx="8687">
                  <c:v>3.3559899999999998</c:v>
                </c:pt>
                <c:pt idx="8688">
                  <c:v>2.6337799999999998</c:v>
                </c:pt>
                <c:pt idx="8689">
                  <c:v>#N/A</c:v>
                </c:pt>
                <c:pt idx="8690">
                  <c:v>3.49444</c:v>
                </c:pt>
                <c:pt idx="8691">
                  <c:v>3.31656</c:v>
                </c:pt>
                <c:pt idx="8692">
                  <c:v>3.0253000000000001</c:v>
                </c:pt>
                <c:pt idx="8693">
                  <c:v>3.0423100000000001</c:v>
                </c:pt>
                <c:pt idx="8694">
                  <c:v>#N/A</c:v>
                </c:pt>
                <c:pt idx="8695">
                  <c:v>3.1487599999999998</c:v>
                </c:pt>
                <c:pt idx="8696">
                  <c:v>#N/A</c:v>
                </c:pt>
                <c:pt idx="8697">
                  <c:v>3.0722100000000001</c:v>
                </c:pt>
                <c:pt idx="8698">
                  <c:v>2.5709200000000001</c:v>
                </c:pt>
                <c:pt idx="8699">
                  <c:v>2.7590699999999999</c:v>
                </c:pt>
                <c:pt idx="8700">
                  <c:v>#N/A</c:v>
                </c:pt>
                <c:pt idx="8701">
                  <c:v>3.0573700000000001</c:v>
                </c:pt>
                <c:pt idx="8702">
                  <c:v>3.0303599999999999</c:v>
                </c:pt>
                <c:pt idx="8703">
                  <c:v>3.2467999999999999</c:v>
                </c:pt>
                <c:pt idx="8704">
                  <c:v>3.66357</c:v>
                </c:pt>
                <c:pt idx="8705">
                  <c:v>#N/A</c:v>
                </c:pt>
                <c:pt idx="8706">
                  <c:v>3.4115199999999999</c:v>
                </c:pt>
                <c:pt idx="8707">
                  <c:v>3.6729099999999999</c:v>
                </c:pt>
                <c:pt idx="8708">
                  <c:v>2.8828499999999999</c:v>
                </c:pt>
                <c:pt idx="8709">
                  <c:v>#N/A</c:v>
                </c:pt>
                <c:pt idx="8710">
                  <c:v>2.5840399999999999</c:v>
                </c:pt>
                <c:pt idx="8711">
                  <c:v>2.6341000000000001</c:v>
                </c:pt>
                <c:pt idx="8712">
                  <c:v>2.7650700000000001</c:v>
                </c:pt>
                <c:pt idx="8713">
                  <c:v>#N/A</c:v>
                </c:pt>
                <c:pt idx="8714">
                  <c:v>2.6151499999999999</c:v>
                </c:pt>
                <c:pt idx="8715">
                  <c:v>3.0756899999999998</c:v>
                </c:pt>
                <c:pt idx="8716">
                  <c:v>3.6456300000000001</c:v>
                </c:pt>
                <c:pt idx="8717">
                  <c:v>3.6140599999999998</c:v>
                </c:pt>
                <c:pt idx="8718">
                  <c:v>#N/A</c:v>
                </c:pt>
                <c:pt idx="8719">
                  <c:v>3.3671500000000001</c:v>
                </c:pt>
                <c:pt idx="8720">
                  <c:v>3.20397</c:v>
                </c:pt>
                <c:pt idx="8721">
                  <c:v>2.52562</c:v>
                </c:pt>
                <c:pt idx="8722">
                  <c:v>#N/A</c:v>
                </c:pt>
                <c:pt idx="8723">
                  <c:v>2.4693299999999998</c:v>
                </c:pt>
                <c:pt idx="8724">
                  <c:v>2.7570399999999999</c:v>
                </c:pt>
                <c:pt idx="8725">
                  <c:v>3.4390100000000001</c:v>
                </c:pt>
                <c:pt idx="8726">
                  <c:v>2.8780700000000001</c:v>
                </c:pt>
                <c:pt idx="8727">
                  <c:v>#N/A</c:v>
                </c:pt>
                <c:pt idx="8728">
                  <c:v>3.5281400000000001</c:v>
                </c:pt>
                <c:pt idx="8729">
                  <c:v>2.7638400000000001</c:v>
                </c:pt>
                <c:pt idx="8730">
                  <c:v>2.41134</c:v>
                </c:pt>
                <c:pt idx="8731">
                  <c:v>#N/A</c:v>
                </c:pt>
                <c:pt idx="8732">
                  <c:v>2.20296</c:v>
                </c:pt>
                <c:pt idx="8733">
                  <c:v>2.8058299999999998</c:v>
                </c:pt>
                <c:pt idx="8734">
                  <c:v>3.0058400000000001</c:v>
                </c:pt>
                <c:pt idx="8735">
                  <c:v>3.3113899999999998</c:v>
                </c:pt>
                <c:pt idx="8736">
                  <c:v>#N/A</c:v>
                </c:pt>
                <c:pt idx="8737">
                  <c:v>3.48969</c:v>
                </c:pt>
                <c:pt idx="8738">
                  <c:v>3.0751200000000001</c:v>
                </c:pt>
                <c:pt idx="8739">
                  <c:v>3.4048400000000001</c:v>
                </c:pt>
                <c:pt idx="8740">
                  <c:v>#N/A</c:v>
                </c:pt>
                <c:pt idx="8741">
                  <c:v>3.2358099999999999</c:v>
                </c:pt>
                <c:pt idx="8742">
                  <c:v>3.3676400000000002</c:v>
                </c:pt>
                <c:pt idx="8743">
                  <c:v>3.1268799999999999</c:v>
                </c:pt>
                <c:pt idx="8744">
                  <c:v>#N/A</c:v>
                </c:pt>
                <c:pt idx="8745">
                  <c:v>2.8307099999999998</c:v>
                </c:pt>
                <c:pt idx="8746">
                  <c:v>2.6971699999999998</c:v>
                </c:pt>
                <c:pt idx="8747">
                  <c:v>3.2058599999999999</c:v>
                </c:pt>
                <c:pt idx="8748">
                  <c:v>3.0746600000000002</c:v>
                </c:pt>
                <c:pt idx="8749">
                  <c:v>#N/A</c:v>
                </c:pt>
                <c:pt idx="8750">
                  <c:v>2.9068999999999998</c:v>
                </c:pt>
                <c:pt idx="8751">
                  <c:v>2.7568800000000002</c:v>
                </c:pt>
                <c:pt idx="8752">
                  <c:v>2.5777299999999999</c:v>
                </c:pt>
                <c:pt idx="8753">
                  <c:v>#N/A</c:v>
                </c:pt>
                <c:pt idx="8754">
                  <c:v>2.34056</c:v>
                </c:pt>
                <c:pt idx="8755">
                  <c:v>2.6566800000000002</c:v>
                </c:pt>
                <c:pt idx="8756">
                  <c:v>2.7628499999999998</c:v>
                </c:pt>
                <c:pt idx="8757">
                  <c:v>2.8906900000000002</c:v>
                </c:pt>
                <c:pt idx="8758">
                  <c:v>#N/A</c:v>
                </c:pt>
                <c:pt idx="8759">
                  <c:v>2.5771000000000002</c:v>
                </c:pt>
                <c:pt idx="8760">
                  <c:v>2.4429099999999999</c:v>
                </c:pt>
                <c:pt idx="8761">
                  <c:v>2.9286599999999998</c:v>
                </c:pt>
                <c:pt idx="8762">
                  <c:v>2.8071100000000002</c:v>
                </c:pt>
                <c:pt idx="8763">
                  <c:v>#N/A</c:v>
                </c:pt>
                <c:pt idx="8764">
                  <c:v>3.8891100000000001</c:v>
                </c:pt>
                <c:pt idx="8765">
                  <c:v>3.1535700000000002</c:v>
                </c:pt>
                <c:pt idx="8766">
                  <c:v>3.0802900000000002</c:v>
                </c:pt>
                <c:pt idx="8767">
                  <c:v>#N/A</c:v>
                </c:pt>
                <c:pt idx="8768">
                  <c:v>2.8068200000000001</c:v>
                </c:pt>
                <c:pt idx="8769">
                  <c:v>#N/A</c:v>
                </c:pt>
                <c:pt idx="8770">
                  <c:v>2.1865999999999999</c:v>
                </c:pt>
                <c:pt idx="8771">
                  <c:v>2.9792000000000001</c:v>
                </c:pt>
                <c:pt idx="8772">
                  <c:v>2.7036799999999999</c:v>
                </c:pt>
                <c:pt idx="8773">
                  <c:v>3.11266</c:v>
                </c:pt>
                <c:pt idx="8774">
                  <c:v>#N/A</c:v>
                </c:pt>
                <c:pt idx="8775">
                  <c:v>3.7486299999999999</c:v>
                </c:pt>
                <c:pt idx="8776">
                  <c:v>3.3424299999999998</c:v>
                </c:pt>
                <c:pt idx="8777">
                  <c:v>3.4537</c:v>
                </c:pt>
                <c:pt idx="8778">
                  <c:v>#N/A</c:v>
                </c:pt>
                <c:pt idx="8779">
                  <c:v>2.83405</c:v>
                </c:pt>
                <c:pt idx="8780">
                  <c:v>3.1845500000000002</c:v>
                </c:pt>
                <c:pt idx="8781">
                  <c:v>2.6324100000000001</c:v>
                </c:pt>
                <c:pt idx="8782">
                  <c:v>#N/A</c:v>
                </c:pt>
                <c:pt idx="8783">
                  <c:v>2.9492799999999999</c:v>
                </c:pt>
                <c:pt idx="8784">
                  <c:v>3.74716</c:v>
                </c:pt>
                <c:pt idx="8785">
                  <c:v>3.43927</c:v>
                </c:pt>
                <c:pt idx="8786">
                  <c:v>#N/A</c:v>
                </c:pt>
                <c:pt idx="8787">
                  <c:v>3.3668300000000002</c:v>
                </c:pt>
                <c:pt idx="8788">
                  <c:v>2.9093900000000001</c:v>
                </c:pt>
                <c:pt idx="8789">
                  <c:v>3.2675900000000002</c:v>
                </c:pt>
                <c:pt idx="8790">
                  <c:v>2.2956300000000001</c:v>
                </c:pt>
                <c:pt idx="8791">
                  <c:v>#N/A</c:v>
                </c:pt>
                <c:pt idx="8792">
                  <c:v>2.4483799999999998</c:v>
                </c:pt>
                <c:pt idx="8793">
                  <c:v>2.70411</c:v>
                </c:pt>
                <c:pt idx="8794">
                  <c:v>3.2868599999999999</c:v>
                </c:pt>
                <c:pt idx="8795">
                  <c:v>#N/A</c:v>
                </c:pt>
                <c:pt idx="8796">
                  <c:v>3.1076800000000002</c:v>
                </c:pt>
                <c:pt idx="8797">
                  <c:v>3.3805800000000001</c:v>
                </c:pt>
                <c:pt idx="8798">
                  <c:v>3.67665</c:v>
                </c:pt>
                <c:pt idx="8799">
                  <c:v>#N/A</c:v>
                </c:pt>
                <c:pt idx="8800">
                  <c:v>3.2579799999999999</c:v>
                </c:pt>
                <c:pt idx="8801">
                  <c:v>3.0069499999999998</c:v>
                </c:pt>
                <c:pt idx="8802">
                  <c:v>3.1705100000000002</c:v>
                </c:pt>
                <c:pt idx="8803">
                  <c:v>3.3174199999999998</c:v>
                </c:pt>
                <c:pt idx="8804">
                  <c:v>#N/A</c:v>
                </c:pt>
                <c:pt idx="8805">
                  <c:v>3.1135799999999998</c:v>
                </c:pt>
                <c:pt idx="8806">
                  <c:v>3.38314</c:v>
                </c:pt>
                <c:pt idx="8807">
                  <c:v>3.7406000000000001</c:v>
                </c:pt>
                <c:pt idx="8808">
                  <c:v>#N/A</c:v>
                </c:pt>
                <c:pt idx="8809">
                  <c:v>3.1952500000000001</c:v>
                </c:pt>
                <c:pt idx="8810">
                  <c:v>3.28267</c:v>
                </c:pt>
                <c:pt idx="8811">
                  <c:v>2.3096299999999998</c:v>
                </c:pt>
                <c:pt idx="8812">
                  <c:v>2.9195700000000002</c:v>
                </c:pt>
                <c:pt idx="8813">
                  <c:v>#N/A</c:v>
                </c:pt>
                <c:pt idx="8814">
                  <c:v>2.8588399999999998</c:v>
                </c:pt>
                <c:pt idx="8815">
                  <c:v>2.3590599999999999</c:v>
                </c:pt>
                <c:pt idx="8816">
                  <c:v>3.1474099999999998</c:v>
                </c:pt>
                <c:pt idx="8817">
                  <c:v>#N/A</c:v>
                </c:pt>
                <c:pt idx="8818">
                  <c:v>2.7736399999999999</c:v>
                </c:pt>
                <c:pt idx="8819">
                  <c:v>2.8205900000000002</c:v>
                </c:pt>
                <c:pt idx="8820">
                  <c:v>3.2902999999999998</c:v>
                </c:pt>
                <c:pt idx="8821">
                  <c:v>2.9830000000000001</c:v>
                </c:pt>
                <c:pt idx="8822">
                  <c:v>#N/A</c:v>
                </c:pt>
                <c:pt idx="8823">
                  <c:v>3.4303499999999998</c:v>
                </c:pt>
                <c:pt idx="8824">
                  <c:v>3.1701100000000002</c:v>
                </c:pt>
                <c:pt idx="8825">
                  <c:v>3.54922</c:v>
                </c:pt>
                <c:pt idx="8826">
                  <c:v>#N/A</c:v>
                </c:pt>
                <c:pt idx="8827">
                  <c:v>3.2964199999999999</c:v>
                </c:pt>
                <c:pt idx="8828">
                  <c:v>2.6044</c:v>
                </c:pt>
                <c:pt idx="8829">
                  <c:v>3.0674100000000002</c:v>
                </c:pt>
                <c:pt idx="8830">
                  <c:v>3.0196900000000002</c:v>
                </c:pt>
                <c:pt idx="8831">
                  <c:v>#N/A</c:v>
                </c:pt>
                <c:pt idx="8832">
                  <c:v>2.9816199999999999</c:v>
                </c:pt>
                <c:pt idx="8833">
                  <c:v>3.2066599999999998</c:v>
                </c:pt>
                <c:pt idx="8834">
                  <c:v>3.2185000000000001</c:v>
                </c:pt>
                <c:pt idx="8835">
                  <c:v>#N/A</c:v>
                </c:pt>
                <c:pt idx="8836">
                  <c:v>3.1253700000000002</c:v>
                </c:pt>
                <c:pt idx="8837">
                  <c:v>3.0622199999999999</c:v>
                </c:pt>
                <c:pt idx="8838">
                  <c:v>2.85242</c:v>
                </c:pt>
                <c:pt idx="8839">
                  <c:v>#N/A</c:v>
                </c:pt>
                <c:pt idx="8840">
                  <c:v>3.0161899999999999</c:v>
                </c:pt>
                <c:pt idx="8841">
                  <c:v>2.9291499999999999</c:v>
                </c:pt>
                <c:pt idx="8842">
                  <c:v>3.2556500000000002</c:v>
                </c:pt>
                <c:pt idx="8843">
                  <c:v>3.8376299999999999</c:v>
                </c:pt>
                <c:pt idx="8844">
                  <c:v>#N/A</c:v>
                </c:pt>
                <c:pt idx="8845">
                  <c:v>3.7817400000000001</c:v>
                </c:pt>
                <c:pt idx="8846">
                  <c:v>3.4264399999999999</c:v>
                </c:pt>
                <c:pt idx="8847">
                  <c:v>3.1508400000000001</c:v>
                </c:pt>
                <c:pt idx="8848">
                  <c:v>#N/A</c:v>
                </c:pt>
                <c:pt idx="8849">
                  <c:v>2.8373499999999998</c:v>
                </c:pt>
                <c:pt idx="8850">
                  <c:v>2.7274799999999999</c:v>
                </c:pt>
                <c:pt idx="8851">
                  <c:v>2.33901</c:v>
                </c:pt>
                <c:pt idx="8852">
                  <c:v>2.8859400000000002</c:v>
                </c:pt>
                <c:pt idx="8853">
                  <c:v>#N/A</c:v>
                </c:pt>
                <c:pt idx="8854">
                  <c:v>3.2066499999999998</c:v>
                </c:pt>
                <c:pt idx="8855">
                  <c:v>2.9644300000000001</c:v>
                </c:pt>
                <c:pt idx="8856">
                  <c:v>3.3616299999999999</c:v>
                </c:pt>
                <c:pt idx="8857">
                  <c:v>#N/A</c:v>
                </c:pt>
                <c:pt idx="8858">
                  <c:v>3.3586399999999998</c:v>
                </c:pt>
                <c:pt idx="8859">
                  <c:v>3.3558500000000002</c:v>
                </c:pt>
                <c:pt idx="8860">
                  <c:v>3.1176400000000002</c:v>
                </c:pt>
                <c:pt idx="8861">
                  <c:v>#N/A</c:v>
                </c:pt>
                <c:pt idx="8862">
                  <c:v>3.3747799999999999</c:v>
                </c:pt>
                <c:pt idx="8863">
                  <c:v>2.6115200000000001</c:v>
                </c:pt>
                <c:pt idx="8864">
                  <c:v>3.0714299999999999</c:v>
                </c:pt>
                <c:pt idx="8865">
                  <c:v>3.5025200000000001</c:v>
                </c:pt>
                <c:pt idx="8866">
                  <c:v>#N/A</c:v>
                </c:pt>
                <c:pt idx="8867">
                  <c:v>3.83073</c:v>
                </c:pt>
                <c:pt idx="8868">
                  <c:v>3.32531</c:v>
                </c:pt>
                <c:pt idx="8869">
                  <c:v>2.72743</c:v>
                </c:pt>
                <c:pt idx="8870">
                  <c:v>#N/A</c:v>
                </c:pt>
                <c:pt idx="8871">
                  <c:v>2.7303099999999998</c:v>
                </c:pt>
                <c:pt idx="8872">
                  <c:v>2.2344599999999999</c:v>
                </c:pt>
                <c:pt idx="8873">
                  <c:v>1.88676</c:v>
                </c:pt>
                <c:pt idx="8874">
                  <c:v>2.8347799999999999</c:v>
                </c:pt>
                <c:pt idx="8875">
                  <c:v>#N/A</c:v>
                </c:pt>
                <c:pt idx="8876">
                  <c:v>2.5228600000000001</c:v>
                </c:pt>
                <c:pt idx="8877">
                  <c:v>3.4780099999999998</c:v>
                </c:pt>
                <c:pt idx="8878">
                  <c:v>3.1985399999999999</c:v>
                </c:pt>
                <c:pt idx="8879">
                  <c:v>#N/A</c:v>
                </c:pt>
                <c:pt idx="8880">
                  <c:v>3.2454000000000001</c:v>
                </c:pt>
                <c:pt idx="8881">
                  <c:v>3.2847599999999999</c:v>
                </c:pt>
                <c:pt idx="8882">
                  <c:v>2.9494199999999999</c:v>
                </c:pt>
                <c:pt idx="8883">
                  <c:v>3.3228200000000001</c:v>
                </c:pt>
                <c:pt idx="8884">
                  <c:v>#N/A</c:v>
                </c:pt>
                <c:pt idx="8885">
                  <c:v>2.87636</c:v>
                </c:pt>
                <c:pt idx="8886">
                  <c:v>2.65185</c:v>
                </c:pt>
                <c:pt idx="8887">
                  <c:v>3.8266399999999998</c:v>
                </c:pt>
                <c:pt idx="8888">
                  <c:v>#N/A</c:v>
                </c:pt>
                <c:pt idx="8889">
                  <c:v>3.4920900000000001</c:v>
                </c:pt>
                <c:pt idx="8890">
                  <c:v>3.2392599999999998</c:v>
                </c:pt>
                <c:pt idx="8891">
                  <c:v>3.0724900000000002</c:v>
                </c:pt>
                <c:pt idx="8892">
                  <c:v>2.8131400000000002</c:v>
                </c:pt>
                <c:pt idx="8893">
                  <c:v>#N/A</c:v>
                </c:pt>
                <c:pt idx="8894">
                  <c:v>2.7118899999999999</c:v>
                </c:pt>
                <c:pt idx="8895">
                  <c:v>2.8413499999999998</c:v>
                </c:pt>
                <c:pt idx="8896">
                  <c:v>3.0567299999999999</c:v>
                </c:pt>
                <c:pt idx="8897">
                  <c:v>#N/A</c:v>
                </c:pt>
                <c:pt idx="8898">
                  <c:v>2.9119299999999999</c:v>
                </c:pt>
                <c:pt idx="8899">
                  <c:v>2.5894200000000001</c:v>
                </c:pt>
                <c:pt idx="8900">
                  <c:v>2.8275899999999998</c:v>
                </c:pt>
                <c:pt idx="8901">
                  <c:v>#N/A</c:v>
                </c:pt>
                <c:pt idx="8902">
                  <c:v>3.0155799999999999</c:v>
                </c:pt>
                <c:pt idx="8903">
                  <c:v>3.1224699999999999</c:v>
                </c:pt>
                <c:pt idx="8904">
                  <c:v>3.15571</c:v>
                </c:pt>
                <c:pt idx="8905">
                  <c:v>#N/A</c:v>
                </c:pt>
                <c:pt idx="8906">
                  <c:v>3.3073399999999999</c:v>
                </c:pt>
                <c:pt idx="8907">
                  <c:v>2.8468900000000001</c:v>
                </c:pt>
                <c:pt idx="8908">
                  <c:v>2.68824</c:v>
                </c:pt>
                <c:pt idx="8909">
                  <c:v>2.2120700000000002</c:v>
                </c:pt>
                <c:pt idx="8910">
                  <c:v>#N/A</c:v>
                </c:pt>
                <c:pt idx="8911">
                  <c:v>2.1574900000000001</c:v>
                </c:pt>
                <c:pt idx="8912">
                  <c:v>#N/A</c:v>
                </c:pt>
                <c:pt idx="8913">
                  <c:v>2.7275100000000001</c:v>
                </c:pt>
                <c:pt idx="8914">
                  <c:v>3.0788600000000002</c:v>
                </c:pt>
                <c:pt idx="8915">
                  <c:v>#N/A</c:v>
                </c:pt>
                <c:pt idx="8916">
                  <c:v>2.9041999999999999</c:v>
                </c:pt>
                <c:pt idx="8917">
                  <c:v>2.9198599999999999</c:v>
                </c:pt>
                <c:pt idx="8918">
                  <c:v>2.7865099999999998</c:v>
                </c:pt>
                <c:pt idx="8919">
                  <c:v>3.05633</c:v>
                </c:pt>
                <c:pt idx="8920">
                  <c:v>#N/A</c:v>
                </c:pt>
                <c:pt idx="8921">
                  <c:v>2.9347400000000001</c:v>
                </c:pt>
                <c:pt idx="8922">
                  <c:v>2.9964599999999999</c:v>
                </c:pt>
                <c:pt idx="8923">
                  <c:v>#N/A</c:v>
                </c:pt>
                <c:pt idx="8924">
                  <c:v>2.86192</c:v>
                </c:pt>
                <c:pt idx="8925">
                  <c:v>#N/A</c:v>
                </c:pt>
                <c:pt idx="8926">
                  <c:v>3.55783</c:v>
                </c:pt>
                <c:pt idx="8927">
                  <c:v>2.8778100000000002</c:v>
                </c:pt>
                <c:pt idx="8928">
                  <c:v>2.44415</c:v>
                </c:pt>
                <c:pt idx="8929">
                  <c:v>#N/A</c:v>
                </c:pt>
                <c:pt idx="8930">
                  <c:v>2.2030699999999999</c:v>
                </c:pt>
                <c:pt idx="8931">
                  <c:v>1.94859</c:v>
                </c:pt>
                <c:pt idx="8932">
                  <c:v>2.1703199999999998</c:v>
                </c:pt>
                <c:pt idx="8933">
                  <c:v>1.8251599999999999</c:v>
                </c:pt>
                <c:pt idx="8934">
                  <c:v>#N/A</c:v>
                </c:pt>
                <c:pt idx="8935">
                  <c:v>1.9936100000000001</c:v>
                </c:pt>
                <c:pt idx="8936">
                  <c:v>2.6180300000000001</c:v>
                </c:pt>
                <c:pt idx="8937">
                  <c:v>2.4914700000000001</c:v>
                </c:pt>
                <c:pt idx="8938">
                  <c:v>#N/A</c:v>
                </c:pt>
                <c:pt idx="8939">
                  <c:v>2.8040500000000002</c:v>
                </c:pt>
                <c:pt idx="8940">
                  <c:v>2.6392199999999999</c:v>
                </c:pt>
                <c:pt idx="8941">
                  <c:v>2.90449</c:v>
                </c:pt>
                <c:pt idx="8942">
                  <c:v>#N/A</c:v>
                </c:pt>
                <c:pt idx="8943">
                  <c:v>2.5186999999999999</c:v>
                </c:pt>
                <c:pt idx="8944">
                  <c:v>2.3466</c:v>
                </c:pt>
                <c:pt idx="8945">
                  <c:v>2.6953999999999998</c:v>
                </c:pt>
                <c:pt idx="8946">
                  <c:v>2.4482300000000001</c:v>
                </c:pt>
                <c:pt idx="8947">
                  <c:v>#N/A</c:v>
                </c:pt>
                <c:pt idx="8948">
                  <c:v>2.58012</c:v>
                </c:pt>
                <c:pt idx="8949">
                  <c:v>2.5707800000000001</c:v>
                </c:pt>
                <c:pt idx="8950">
                  <c:v>2.19489</c:v>
                </c:pt>
                <c:pt idx="8951">
                  <c:v>1.6169199999999999</c:v>
                </c:pt>
                <c:pt idx="8952">
                  <c:v>#N/A</c:v>
                </c:pt>
                <c:pt idx="8953">
                  <c:v>1.46221</c:v>
                </c:pt>
                <c:pt idx="8954">
                  <c:v>1.9976499999999999</c:v>
                </c:pt>
                <c:pt idx="8955">
                  <c:v>2.5949499999999999</c:v>
                </c:pt>
                <c:pt idx="8956">
                  <c:v>#N/A</c:v>
                </c:pt>
                <c:pt idx="8957">
                  <c:v>2.09457</c:v>
                </c:pt>
                <c:pt idx="8958">
                  <c:v>2.4732400000000001</c:v>
                </c:pt>
                <c:pt idx="8959">
                  <c:v>2.6972200000000002</c:v>
                </c:pt>
                <c:pt idx="8960">
                  <c:v>2.1857500000000001</c:v>
                </c:pt>
                <c:pt idx="8961">
                  <c:v>#N/A</c:v>
                </c:pt>
                <c:pt idx="8962">
                  <c:v>2.4028299999999998</c:v>
                </c:pt>
                <c:pt idx="8963">
                  <c:v>2.3668999999999998</c:v>
                </c:pt>
                <c:pt idx="8964">
                  <c:v>2.4626399999999999</c:v>
                </c:pt>
                <c:pt idx="8965">
                  <c:v>#N/A</c:v>
                </c:pt>
                <c:pt idx="8966">
                  <c:v>2.0143200000000001</c:v>
                </c:pt>
                <c:pt idx="8967">
                  <c:v>2.5606</c:v>
                </c:pt>
                <c:pt idx="8968">
                  <c:v>2.2434799999999999</c:v>
                </c:pt>
                <c:pt idx="8969">
                  <c:v>1.6041700000000001</c:v>
                </c:pt>
                <c:pt idx="8970">
                  <c:v>#N/A</c:v>
                </c:pt>
                <c:pt idx="8971">
                  <c:v>2.2995800000000002</c:v>
                </c:pt>
                <c:pt idx="8972">
                  <c:v>1.67377</c:v>
                </c:pt>
                <c:pt idx="8973">
                  <c:v>2.0999599999999998</c:v>
                </c:pt>
                <c:pt idx="8974">
                  <c:v>#N/A</c:v>
                </c:pt>
                <c:pt idx="8975">
                  <c:v>1.7274499999999999</c:v>
                </c:pt>
                <c:pt idx="8976">
                  <c:v>2.18723</c:v>
                </c:pt>
                <c:pt idx="8977">
                  <c:v>2.83697</c:v>
                </c:pt>
                <c:pt idx="8978">
                  <c:v>1.8358399999999999</c:v>
                </c:pt>
                <c:pt idx="8979">
                  <c:v>#N/A</c:v>
                </c:pt>
                <c:pt idx="8980">
                  <c:v>2.5277699999999999</c:v>
                </c:pt>
                <c:pt idx="8981">
                  <c:v>2.3072300000000001</c:v>
                </c:pt>
                <c:pt idx="8982">
                  <c:v>#N/A</c:v>
                </c:pt>
                <c:pt idx="8983">
                  <c:v>2.4403899999999998</c:v>
                </c:pt>
                <c:pt idx="8984">
                  <c:v>2.11503</c:v>
                </c:pt>
                <c:pt idx="8985">
                  <c:v>2.0574499999999998</c:v>
                </c:pt>
                <c:pt idx="8986">
                  <c:v>#N/A</c:v>
                </c:pt>
                <c:pt idx="8987">
                  <c:v>2.8493200000000001</c:v>
                </c:pt>
                <c:pt idx="8988">
                  <c:v>2.0749</c:v>
                </c:pt>
                <c:pt idx="8989">
                  <c:v>1.5909</c:v>
                </c:pt>
                <c:pt idx="8990">
                  <c:v>#N/A</c:v>
                </c:pt>
                <c:pt idx="8991">
                  <c:v>1.3441399999999999</c:v>
                </c:pt>
                <c:pt idx="8992">
                  <c:v>1.3926799999999999</c:v>
                </c:pt>
                <c:pt idx="8993">
                  <c:v>1.64717</c:v>
                </c:pt>
                <c:pt idx="8994">
                  <c:v>#N/A</c:v>
                </c:pt>
                <c:pt idx="8995">
                  <c:v>2.2033999999999998</c:v>
                </c:pt>
                <c:pt idx="8996">
                  <c:v>2.57185</c:v>
                </c:pt>
                <c:pt idx="8997">
                  <c:v>2.8760400000000002</c:v>
                </c:pt>
                <c:pt idx="8998">
                  <c:v>#N/A</c:v>
                </c:pt>
                <c:pt idx="8999">
                  <c:v>1.93</c:v>
                </c:pt>
                <c:pt idx="9000">
                  <c:v>1.64882</c:v>
                </c:pt>
                <c:pt idx="9001">
                  <c:v>1.8744099999999999</c:v>
                </c:pt>
                <c:pt idx="9002">
                  <c:v>2.24125</c:v>
                </c:pt>
                <c:pt idx="9003">
                  <c:v>#N/A</c:v>
                </c:pt>
                <c:pt idx="9004">
                  <c:v>2.47566</c:v>
                </c:pt>
                <c:pt idx="9005">
                  <c:v>2.8614999999999999</c:v>
                </c:pt>
                <c:pt idx="9006">
                  <c:v>2.6395900000000001</c:v>
                </c:pt>
                <c:pt idx="9007">
                  <c:v>2.30267</c:v>
                </c:pt>
                <c:pt idx="9008">
                  <c:v>#N/A</c:v>
                </c:pt>
                <c:pt idx="9009">
                  <c:v>2.16656</c:v>
                </c:pt>
                <c:pt idx="9010">
                  <c:v>1.7511099999999999</c:v>
                </c:pt>
                <c:pt idx="9011">
                  <c:v>1.46902</c:v>
                </c:pt>
                <c:pt idx="9012">
                  <c:v>#N/A</c:v>
                </c:pt>
                <c:pt idx="9013">
                  <c:v>1.6584000000000001</c:v>
                </c:pt>
                <c:pt idx="9014">
                  <c:v>1.91513</c:v>
                </c:pt>
                <c:pt idx="9015">
                  <c:v>2.4377</c:v>
                </c:pt>
                <c:pt idx="9016">
                  <c:v>#N/A</c:v>
                </c:pt>
                <c:pt idx="9017">
                  <c:v>2.4407399999999999</c:v>
                </c:pt>
                <c:pt idx="9018">
                  <c:v>2.9124699999999999</c:v>
                </c:pt>
                <c:pt idx="9019">
                  <c:v>2.6661199999999998</c:v>
                </c:pt>
                <c:pt idx="9020">
                  <c:v>2.4500999999999999</c:v>
                </c:pt>
                <c:pt idx="9021">
                  <c:v>#N/A</c:v>
                </c:pt>
                <c:pt idx="9022">
                  <c:v>2.0291399999999999</c:v>
                </c:pt>
                <c:pt idx="9023">
                  <c:v>2.2570800000000002</c:v>
                </c:pt>
                <c:pt idx="9024">
                  <c:v>2.1731199999999999</c:v>
                </c:pt>
                <c:pt idx="9025">
                  <c:v>#N/A</c:v>
                </c:pt>
                <c:pt idx="9026">
                  <c:v>2.2961900000000002</c:v>
                </c:pt>
                <c:pt idx="9027">
                  <c:v>2.62696</c:v>
                </c:pt>
                <c:pt idx="9028">
                  <c:v>2.5327000000000002</c:v>
                </c:pt>
                <c:pt idx="9029">
                  <c:v>1.80525</c:v>
                </c:pt>
                <c:pt idx="9030">
                  <c:v>#N/A</c:v>
                </c:pt>
                <c:pt idx="9031">
                  <c:v>2.0649099999999998</c:v>
                </c:pt>
                <c:pt idx="9032">
                  <c:v>2.14873</c:v>
                </c:pt>
                <c:pt idx="9033">
                  <c:v>1.8387199999999999</c:v>
                </c:pt>
                <c:pt idx="9034">
                  <c:v>#N/A</c:v>
                </c:pt>
                <c:pt idx="9035">
                  <c:v>1.9567300000000001</c:v>
                </c:pt>
                <c:pt idx="9036">
                  <c:v>2.08399</c:v>
                </c:pt>
                <c:pt idx="9037">
                  <c:v>2.0371700000000001</c:v>
                </c:pt>
                <c:pt idx="9038">
                  <c:v>2.36029</c:v>
                </c:pt>
                <c:pt idx="9039">
                  <c:v>#N/A</c:v>
                </c:pt>
                <c:pt idx="9040">
                  <c:v>2.5515699999999999</c:v>
                </c:pt>
                <c:pt idx="9041">
                  <c:v>2.2492899999999998</c:v>
                </c:pt>
                <c:pt idx="9042">
                  <c:v>2.3124099999999999</c:v>
                </c:pt>
                <c:pt idx="9043">
                  <c:v>2.58161</c:v>
                </c:pt>
                <c:pt idx="9044">
                  <c:v>#N/A</c:v>
                </c:pt>
                <c:pt idx="9045">
                  <c:v>2.4909300000000001</c:v>
                </c:pt>
                <c:pt idx="9046">
                  <c:v>1.96092</c:v>
                </c:pt>
                <c:pt idx="9047">
                  <c:v>1.4664200000000001</c:v>
                </c:pt>
                <c:pt idx="9048">
                  <c:v>#N/A</c:v>
                </c:pt>
                <c:pt idx="9049">
                  <c:v>1.7519</c:v>
                </c:pt>
                <c:pt idx="9050">
                  <c:v>1.7608200000000001</c:v>
                </c:pt>
                <c:pt idx="9051">
                  <c:v>1.7219599999999999</c:v>
                </c:pt>
                <c:pt idx="9052">
                  <c:v>2.1690700000000001</c:v>
                </c:pt>
                <c:pt idx="9053">
                  <c:v>#N/A</c:v>
                </c:pt>
                <c:pt idx="9054">
                  <c:v>2.0628799999999998</c:v>
                </c:pt>
                <c:pt idx="9055">
                  <c:v>#N/A</c:v>
                </c:pt>
                <c:pt idx="9056">
                  <c:v>2.37113</c:v>
                </c:pt>
                <c:pt idx="9057">
                  <c:v>2.1114199999999999</c:v>
                </c:pt>
                <c:pt idx="9058">
                  <c:v>#N/A</c:v>
                </c:pt>
                <c:pt idx="9059">
                  <c:v>2.1557300000000001</c:v>
                </c:pt>
                <c:pt idx="9060">
                  <c:v>2.2237200000000001</c:v>
                </c:pt>
                <c:pt idx="9061">
                  <c:v>2.4685600000000001</c:v>
                </c:pt>
                <c:pt idx="9062">
                  <c:v>2.4849600000000001</c:v>
                </c:pt>
                <c:pt idx="9063">
                  <c:v>#N/A</c:v>
                </c:pt>
                <c:pt idx="9064">
                  <c:v>2.45539</c:v>
                </c:pt>
                <c:pt idx="9065">
                  <c:v>3.3054899999999998</c:v>
                </c:pt>
                <c:pt idx="9066">
                  <c:v>3.0141</c:v>
                </c:pt>
                <c:pt idx="9067">
                  <c:v>#N/A</c:v>
                </c:pt>
                <c:pt idx="9068">
                  <c:v>2.2525200000000001</c:v>
                </c:pt>
                <c:pt idx="9069">
                  <c:v>1.6642699999999999</c:v>
                </c:pt>
                <c:pt idx="9070">
                  <c:v>1.89194</c:v>
                </c:pt>
                <c:pt idx="9071">
                  <c:v>1.4109700000000001</c:v>
                </c:pt>
                <c:pt idx="9072">
                  <c:v>#N/A</c:v>
                </c:pt>
                <c:pt idx="9073">
                  <c:v>1.7161200000000001</c:v>
                </c:pt>
                <c:pt idx="9074">
                  <c:v>2.3998200000000001</c:v>
                </c:pt>
                <c:pt idx="9075">
                  <c:v>2.5595500000000002</c:v>
                </c:pt>
                <c:pt idx="9076">
                  <c:v>2.5634899999999998</c:v>
                </c:pt>
                <c:pt idx="9077">
                  <c:v>#N/A</c:v>
                </c:pt>
                <c:pt idx="9078">
                  <c:v>2.0188299999999999</c:v>
                </c:pt>
                <c:pt idx="9079">
                  <c:v>2.0368499999999998</c:v>
                </c:pt>
                <c:pt idx="9080">
                  <c:v>1.8185500000000001</c:v>
                </c:pt>
                <c:pt idx="9081">
                  <c:v>#N/A</c:v>
                </c:pt>
                <c:pt idx="9082">
                  <c:v>1.91598</c:v>
                </c:pt>
                <c:pt idx="9083">
                  <c:v>2.3380299999999998</c:v>
                </c:pt>
                <c:pt idx="9084">
                  <c:v>2.1115699999999999</c:v>
                </c:pt>
                <c:pt idx="9085">
                  <c:v>#N/A</c:v>
                </c:pt>
                <c:pt idx="9086">
                  <c:v>2.8999799999999998</c:v>
                </c:pt>
                <c:pt idx="9087">
                  <c:v>2.5150800000000002</c:v>
                </c:pt>
                <c:pt idx="9088">
                  <c:v>2.8094199999999998</c:v>
                </c:pt>
                <c:pt idx="9089">
                  <c:v>#N/A</c:v>
                </c:pt>
                <c:pt idx="9090">
                  <c:v>2.1657000000000002</c:v>
                </c:pt>
                <c:pt idx="9091">
                  <c:v>2.1726000000000001</c:v>
                </c:pt>
                <c:pt idx="9092">
                  <c:v>1.9320900000000001</c:v>
                </c:pt>
                <c:pt idx="9093">
                  <c:v>#N/A</c:v>
                </c:pt>
                <c:pt idx="9094">
                  <c:v>2.0551599999999999</c:v>
                </c:pt>
                <c:pt idx="9095">
                  <c:v>2.5267499999999998</c:v>
                </c:pt>
                <c:pt idx="9096">
                  <c:v>2.9348200000000002</c:v>
                </c:pt>
                <c:pt idx="9097">
                  <c:v>2.8287900000000001</c:v>
                </c:pt>
                <c:pt idx="9098">
                  <c:v>#N/A</c:v>
                </c:pt>
                <c:pt idx="9099">
                  <c:v>3.24247</c:v>
                </c:pt>
                <c:pt idx="9100">
                  <c:v>2.8976799999999998</c:v>
                </c:pt>
                <c:pt idx="9101">
                  <c:v>2.6142400000000001</c:v>
                </c:pt>
                <c:pt idx="9102">
                  <c:v>2.4033000000000002</c:v>
                </c:pt>
                <c:pt idx="9103">
                  <c:v>#N/A</c:v>
                </c:pt>
                <c:pt idx="9104">
                  <c:v>2.29332</c:v>
                </c:pt>
                <c:pt idx="9105">
                  <c:v>2.5539900000000002</c:v>
                </c:pt>
                <c:pt idx="9106">
                  <c:v>2.0665800000000001</c:v>
                </c:pt>
                <c:pt idx="9107">
                  <c:v>#N/A</c:v>
                </c:pt>
                <c:pt idx="9108">
                  <c:v>2.06236</c:v>
                </c:pt>
                <c:pt idx="9109">
                  <c:v>1.4535499999999999</c:v>
                </c:pt>
                <c:pt idx="9110">
                  <c:v>1.9668600000000001</c:v>
                </c:pt>
                <c:pt idx="9111">
                  <c:v>#N/A</c:v>
                </c:pt>
                <c:pt idx="9112">
                  <c:v>2.2502900000000001</c:v>
                </c:pt>
                <c:pt idx="9113">
                  <c:v>2.4343900000000001</c:v>
                </c:pt>
                <c:pt idx="9114">
                  <c:v>2.2897099999999999</c:v>
                </c:pt>
                <c:pt idx="9115">
                  <c:v>#N/A</c:v>
                </c:pt>
                <c:pt idx="9116">
                  <c:v>2.4782500000000001</c:v>
                </c:pt>
                <c:pt idx="9117">
                  <c:v>2.28627</c:v>
                </c:pt>
                <c:pt idx="9118">
                  <c:v>2.2587000000000002</c:v>
                </c:pt>
                <c:pt idx="9119">
                  <c:v>#N/A</c:v>
                </c:pt>
                <c:pt idx="9120">
                  <c:v>2.4774099999999999</c:v>
                </c:pt>
                <c:pt idx="9121">
                  <c:v>3.2514799999999999</c:v>
                </c:pt>
                <c:pt idx="9122">
                  <c:v>2.7884500000000001</c:v>
                </c:pt>
                <c:pt idx="9123">
                  <c:v>3.1640700000000002</c:v>
                </c:pt>
                <c:pt idx="9124">
                  <c:v>#N/A</c:v>
                </c:pt>
                <c:pt idx="9125">
                  <c:v>2.82925</c:v>
                </c:pt>
                <c:pt idx="9126">
                  <c:v>#N/A</c:v>
                </c:pt>
                <c:pt idx="9127">
                  <c:v>2.9853499999999999</c:v>
                </c:pt>
                <c:pt idx="9128">
                  <c:v>2.2154799999999999</c:v>
                </c:pt>
                <c:pt idx="9129">
                  <c:v>1.70425</c:v>
                </c:pt>
                <c:pt idx="9130">
                  <c:v>1.8283400000000001</c:v>
                </c:pt>
                <c:pt idx="9131">
                  <c:v>#N/A</c:v>
                </c:pt>
                <c:pt idx="9132">
                  <c:v>2.2686799999999998</c:v>
                </c:pt>
                <c:pt idx="9133">
                  <c:v>2.43072</c:v>
                </c:pt>
                <c:pt idx="9134">
                  <c:v>2.3026499999999999</c:v>
                </c:pt>
                <c:pt idx="9135">
                  <c:v>#N/A</c:v>
                </c:pt>
                <c:pt idx="9136">
                  <c:v>2.5128900000000001</c:v>
                </c:pt>
                <c:pt idx="9137">
                  <c:v>2.5649199999999999</c:v>
                </c:pt>
                <c:pt idx="9138">
                  <c:v>2.4353500000000001</c:v>
                </c:pt>
                <c:pt idx="9139">
                  <c:v>2.3447399999999998</c:v>
                </c:pt>
                <c:pt idx="9140">
                  <c:v>#N/A</c:v>
                </c:pt>
                <c:pt idx="9141">
                  <c:v>2.21082</c:v>
                </c:pt>
                <c:pt idx="9142">
                  <c:v>2.4329200000000002</c:v>
                </c:pt>
                <c:pt idx="9143">
                  <c:v>2.3376700000000001</c:v>
                </c:pt>
                <c:pt idx="9144">
                  <c:v>#N/A</c:v>
                </c:pt>
                <c:pt idx="9145">
                  <c:v>2.9990700000000001</c:v>
                </c:pt>
                <c:pt idx="9146">
                  <c:v>2.5131000000000001</c:v>
                </c:pt>
                <c:pt idx="9147">
                  <c:v>2.5777299999999999</c:v>
                </c:pt>
                <c:pt idx="9148">
                  <c:v>2.4222999999999999</c:v>
                </c:pt>
                <c:pt idx="9149">
                  <c:v>#N/A</c:v>
                </c:pt>
                <c:pt idx="9150">
                  <c:v>2.2303000000000002</c:v>
                </c:pt>
                <c:pt idx="9151">
                  <c:v>1.88453</c:v>
                </c:pt>
                <c:pt idx="9152">
                  <c:v>1.9347099999999999</c:v>
                </c:pt>
                <c:pt idx="9153">
                  <c:v>#N/A</c:v>
                </c:pt>
                <c:pt idx="9154">
                  <c:v>2.2883300000000002</c:v>
                </c:pt>
                <c:pt idx="9155">
                  <c:v>2.54427</c:v>
                </c:pt>
                <c:pt idx="9156">
                  <c:v>2.6453700000000002</c:v>
                </c:pt>
                <c:pt idx="9157">
                  <c:v>2.7999700000000001</c:v>
                </c:pt>
                <c:pt idx="9158">
                  <c:v>#N/A</c:v>
                </c:pt>
                <c:pt idx="9159">
                  <c:v>2.5018799999999999</c:v>
                </c:pt>
                <c:pt idx="9160">
                  <c:v>2.5269200000000001</c:v>
                </c:pt>
                <c:pt idx="9161">
                  <c:v>2.3867500000000001</c:v>
                </c:pt>
                <c:pt idx="9162">
                  <c:v>2.0229599999999999</c:v>
                </c:pt>
                <c:pt idx="9163">
                  <c:v>#N/A</c:v>
                </c:pt>
                <c:pt idx="9164">
                  <c:v>1.81677</c:v>
                </c:pt>
                <c:pt idx="9165">
                  <c:v>2.3176999999999999</c:v>
                </c:pt>
                <c:pt idx="9166">
                  <c:v>1.9777499999999999</c:v>
                </c:pt>
                <c:pt idx="9167">
                  <c:v>#N/A</c:v>
                </c:pt>
                <c:pt idx="9168">
                  <c:v>2.2474099999999999</c:v>
                </c:pt>
                <c:pt idx="9169">
                  <c:v>1.8804799999999999</c:v>
                </c:pt>
                <c:pt idx="9170">
                  <c:v>2.1869100000000001</c:v>
                </c:pt>
                <c:pt idx="9171">
                  <c:v>#N/A</c:v>
                </c:pt>
                <c:pt idx="9172">
                  <c:v>1.7646299999999999</c:v>
                </c:pt>
                <c:pt idx="9173">
                  <c:v>2.1646100000000001</c:v>
                </c:pt>
                <c:pt idx="9174">
                  <c:v>2.0376300000000001</c:v>
                </c:pt>
                <c:pt idx="9175">
                  <c:v>2.0628899999999999</c:v>
                </c:pt>
                <c:pt idx="9176">
                  <c:v>#N/A</c:v>
                </c:pt>
                <c:pt idx="9177">
                  <c:v>2.7446700000000002</c:v>
                </c:pt>
                <c:pt idx="9178">
                  <c:v>2.3976600000000001</c:v>
                </c:pt>
                <c:pt idx="9179">
                  <c:v>3.1400899999999998</c:v>
                </c:pt>
                <c:pt idx="9180">
                  <c:v>#N/A</c:v>
                </c:pt>
                <c:pt idx="9181">
                  <c:v>3.0014599999999998</c:v>
                </c:pt>
                <c:pt idx="9182">
                  <c:v>2.9215900000000001</c:v>
                </c:pt>
                <c:pt idx="9183">
                  <c:v>2.7676500000000002</c:v>
                </c:pt>
                <c:pt idx="9184">
                  <c:v>2.5282200000000001</c:v>
                </c:pt>
                <c:pt idx="9185">
                  <c:v>#N/A</c:v>
                </c:pt>
                <c:pt idx="9186">
                  <c:v>1.9623999999999999</c:v>
                </c:pt>
                <c:pt idx="9187">
                  <c:v>1.86968</c:v>
                </c:pt>
                <c:pt idx="9188">
                  <c:v>2.1914799999999999</c:v>
                </c:pt>
                <c:pt idx="9189">
                  <c:v>#N/A</c:v>
                </c:pt>
                <c:pt idx="9190">
                  <c:v>2.2176900000000002</c:v>
                </c:pt>
                <c:pt idx="9191">
                  <c:v>1.9329799999999999</c:v>
                </c:pt>
                <c:pt idx="9192">
                  <c:v>2.5173000000000001</c:v>
                </c:pt>
                <c:pt idx="9193">
                  <c:v>2.2782200000000001</c:v>
                </c:pt>
                <c:pt idx="9194">
                  <c:v>#N/A</c:v>
                </c:pt>
                <c:pt idx="9195">
                  <c:v>2.35608</c:v>
                </c:pt>
                <c:pt idx="9196">
                  <c:v>2.2724799999999998</c:v>
                </c:pt>
                <c:pt idx="9197">
                  <c:v>#N/A</c:v>
                </c:pt>
                <c:pt idx="9198">
                  <c:v>2.5717699999999999</c:v>
                </c:pt>
                <c:pt idx="9199">
                  <c:v>2.5493199999999998</c:v>
                </c:pt>
                <c:pt idx="9200">
                  <c:v>#N/A</c:v>
                </c:pt>
                <c:pt idx="9201">
                  <c:v>2.8332600000000001</c:v>
                </c:pt>
                <c:pt idx="9202">
                  <c:v>#N/A</c:v>
                </c:pt>
                <c:pt idx="9203">
                  <c:v>2.54027</c:v>
                </c:pt>
                <c:pt idx="9204">
                  <c:v>2.9168099999999999</c:v>
                </c:pt>
                <c:pt idx="9205">
                  <c:v>2.8125900000000001</c:v>
                </c:pt>
                <c:pt idx="9206">
                  <c:v>#N/A</c:v>
                </c:pt>
                <c:pt idx="9207">
                  <c:v>2.9060199999999998</c:v>
                </c:pt>
                <c:pt idx="9208">
                  <c:v>2.54284</c:v>
                </c:pt>
                <c:pt idx="9209">
                  <c:v>2.5533399999999999</c:v>
                </c:pt>
                <c:pt idx="9210">
                  <c:v>1.7692000000000001</c:v>
                </c:pt>
                <c:pt idx="9211">
                  <c:v>#N/A</c:v>
                </c:pt>
                <c:pt idx="9212">
                  <c:v>2.8806400000000001</c:v>
                </c:pt>
                <c:pt idx="9213">
                  <c:v>2.6421199999999998</c:v>
                </c:pt>
                <c:pt idx="9214">
                  <c:v>2.0644300000000002</c:v>
                </c:pt>
                <c:pt idx="9215">
                  <c:v>#N/A</c:v>
                </c:pt>
                <c:pt idx="9216">
                  <c:v>2.90211</c:v>
                </c:pt>
                <c:pt idx="9217">
                  <c:v>2.4608699999999999</c:v>
                </c:pt>
                <c:pt idx="9218">
                  <c:v>2.5181200000000001</c:v>
                </c:pt>
                <c:pt idx="9219">
                  <c:v>#N/A</c:v>
                </c:pt>
                <c:pt idx="9220">
                  <c:v>2.28268</c:v>
                </c:pt>
                <c:pt idx="9221">
                  <c:v>2.19217</c:v>
                </c:pt>
                <c:pt idx="9222">
                  <c:v>2.2433399999999999</c:v>
                </c:pt>
                <c:pt idx="9223">
                  <c:v>1.9338900000000001</c:v>
                </c:pt>
                <c:pt idx="9224">
                  <c:v>#N/A</c:v>
                </c:pt>
                <c:pt idx="9225">
                  <c:v>2.3804500000000002</c:v>
                </c:pt>
                <c:pt idx="9226">
                  <c:v>2.18662</c:v>
                </c:pt>
                <c:pt idx="9227">
                  <c:v>2.3157899999999998</c:v>
                </c:pt>
                <c:pt idx="9228">
                  <c:v>2.4909300000000001</c:v>
                </c:pt>
                <c:pt idx="9229">
                  <c:v>#N/A</c:v>
                </c:pt>
                <c:pt idx="9230">
                  <c:v>2.6332200000000001</c:v>
                </c:pt>
                <c:pt idx="9231">
                  <c:v>2.2006399999999999</c:v>
                </c:pt>
                <c:pt idx="9232">
                  <c:v>1.84613</c:v>
                </c:pt>
                <c:pt idx="9233">
                  <c:v>#N/A</c:v>
                </c:pt>
                <c:pt idx="9234">
                  <c:v>2.34477</c:v>
                </c:pt>
                <c:pt idx="9235">
                  <c:v>2.74953</c:v>
                </c:pt>
                <c:pt idx="9236">
                  <c:v>3.1193</c:v>
                </c:pt>
                <c:pt idx="9237">
                  <c:v>3.4543499999999998</c:v>
                </c:pt>
                <c:pt idx="9238">
                  <c:v>#N/A</c:v>
                </c:pt>
                <c:pt idx="9239">
                  <c:v>3.1899500000000001</c:v>
                </c:pt>
                <c:pt idx="9240">
                  <c:v>2.8540999999999999</c:v>
                </c:pt>
                <c:pt idx="9241">
                  <c:v>2.3913899999999999</c:v>
                </c:pt>
                <c:pt idx="9242">
                  <c:v>#N/A</c:v>
                </c:pt>
                <c:pt idx="9243">
                  <c:v>2.92326</c:v>
                </c:pt>
                <c:pt idx="9244">
                  <c:v>2.5787399999999998</c:v>
                </c:pt>
                <c:pt idx="9245">
                  <c:v>2.5661299999999998</c:v>
                </c:pt>
                <c:pt idx="9246">
                  <c:v>2.9799899999999999</c:v>
                </c:pt>
                <c:pt idx="9247">
                  <c:v>#N/A</c:v>
                </c:pt>
                <c:pt idx="9248">
                  <c:v>2.08006</c:v>
                </c:pt>
                <c:pt idx="9249">
                  <c:v>1.8348899999999999</c:v>
                </c:pt>
                <c:pt idx="9250">
                  <c:v>2.32911</c:v>
                </c:pt>
                <c:pt idx="9251">
                  <c:v>#N/A</c:v>
                </c:pt>
                <c:pt idx="9252">
                  <c:v>2.5759799999999999</c:v>
                </c:pt>
                <c:pt idx="9253">
                  <c:v>2.1749499999999999</c:v>
                </c:pt>
                <c:pt idx="9254">
                  <c:v>1.91753</c:v>
                </c:pt>
                <c:pt idx="9255">
                  <c:v>2.1157900000000001</c:v>
                </c:pt>
                <c:pt idx="9256">
                  <c:v>#N/A</c:v>
                </c:pt>
                <c:pt idx="9257">
                  <c:v>1.8541000000000001</c:v>
                </c:pt>
                <c:pt idx="9258">
                  <c:v>2.5868500000000001</c:v>
                </c:pt>
                <c:pt idx="9259">
                  <c:v>2.63822</c:v>
                </c:pt>
                <c:pt idx="9260">
                  <c:v>#N/A</c:v>
                </c:pt>
                <c:pt idx="9261">
                  <c:v>2.9150800000000001</c:v>
                </c:pt>
                <c:pt idx="9262">
                  <c:v>2.73943</c:v>
                </c:pt>
                <c:pt idx="9263">
                  <c:v>2.7650600000000001</c:v>
                </c:pt>
                <c:pt idx="9264">
                  <c:v>#N/A</c:v>
                </c:pt>
                <c:pt idx="9265">
                  <c:v>2.9313600000000002</c:v>
                </c:pt>
                <c:pt idx="9266">
                  <c:v>2.5161699999999998</c:v>
                </c:pt>
                <c:pt idx="9267">
                  <c:v>2.2489400000000002</c:v>
                </c:pt>
                <c:pt idx="9268">
                  <c:v>#N/A</c:v>
                </c:pt>
                <c:pt idx="9269">
                  <c:v>1.6451199999999999</c:v>
                </c:pt>
                <c:pt idx="9270">
                  <c:v>1.88287</c:v>
                </c:pt>
                <c:pt idx="9271">
                  <c:v>#N/A</c:v>
                </c:pt>
                <c:pt idx="9272">
                  <c:v>1.8425499999999999</c:v>
                </c:pt>
                <c:pt idx="9273">
                  <c:v>#N/A</c:v>
                </c:pt>
                <c:pt idx="9274">
                  <c:v>2.6008800000000001</c:v>
                </c:pt>
                <c:pt idx="9275">
                  <c:v>2.6512500000000001</c:v>
                </c:pt>
                <c:pt idx="9276">
                  <c:v>2.5799599999999998</c:v>
                </c:pt>
                <c:pt idx="9277">
                  <c:v>2.16384</c:v>
                </c:pt>
                <c:pt idx="9278">
                  <c:v>#N/A</c:v>
                </c:pt>
                <c:pt idx="9279">
                  <c:v>1.85588</c:v>
                </c:pt>
                <c:pt idx="9280">
                  <c:v>1.6843699999999999</c:v>
                </c:pt>
                <c:pt idx="9281">
                  <c:v>1.99977</c:v>
                </c:pt>
                <c:pt idx="9282">
                  <c:v>#N/A</c:v>
                </c:pt>
                <c:pt idx="9283">
                  <c:v>2.51004</c:v>
                </c:pt>
                <c:pt idx="9284">
                  <c:v>2.6443099999999999</c:v>
                </c:pt>
                <c:pt idx="9285">
                  <c:v>2.02718</c:v>
                </c:pt>
                <c:pt idx="9286">
                  <c:v>2.3628300000000002</c:v>
                </c:pt>
                <c:pt idx="9287">
                  <c:v>#N/A</c:v>
                </c:pt>
                <c:pt idx="9288">
                  <c:v>2.3782100000000002</c:v>
                </c:pt>
                <c:pt idx="9289">
                  <c:v>2.2242999999999999</c:v>
                </c:pt>
                <c:pt idx="9290">
                  <c:v>1.8308500000000001</c:v>
                </c:pt>
                <c:pt idx="9291">
                  <c:v>#N/A</c:v>
                </c:pt>
                <c:pt idx="9292">
                  <c:v>2.0744799999999999</c:v>
                </c:pt>
                <c:pt idx="9293">
                  <c:v>1.9276599999999999</c:v>
                </c:pt>
                <c:pt idx="9294">
                  <c:v>2.02183</c:v>
                </c:pt>
                <c:pt idx="9295">
                  <c:v>2.61409</c:v>
                </c:pt>
                <c:pt idx="9296">
                  <c:v>#N/A</c:v>
                </c:pt>
                <c:pt idx="9297">
                  <c:v>2.4397500000000001</c:v>
                </c:pt>
                <c:pt idx="9298">
                  <c:v>2.5974599999999999</c:v>
                </c:pt>
                <c:pt idx="9299">
                  <c:v>2.7015899999999999</c:v>
                </c:pt>
                <c:pt idx="9300">
                  <c:v>#N/A</c:v>
                </c:pt>
                <c:pt idx="9301">
                  <c:v>2.2849699999999999</c:v>
                </c:pt>
                <c:pt idx="9302">
                  <c:v>1.74196</c:v>
                </c:pt>
                <c:pt idx="9303">
                  <c:v>2.2870200000000001</c:v>
                </c:pt>
                <c:pt idx="9304">
                  <c:v>#N/A</c:v>
                </c:pt>
                <c:pt idx="9305">
                  <c:v>2.8808699999999998</c:v>
                </c:pt>
                <c:pt idx="9306">
                  <c:v>2.5612599999999999</c:v>
                </c:pt>
                <c:pt idx="9307">
                  <c:v>2.39724</c:v>
                </c:pt>
                <c:pt idx="9308">
                  <c:v>2.1806899999999998</c:v>
                </c:pt>
                <c:pt idx="9309">
                  <c:v>#N/A</c:v>
                </c:pt>
                <c:pt idx="9310">
                  <c:v>2.1938300000000002</c:v>
                </c:pt>
                <c:pt idx="9311">
                  <c:v>2.3111100000000002</c:v>
                </c:pt>
                <c:pt idx="9312">
                  <c:v>1.9900899999999999</c:v>
                </c:pt>
                <c:pt idx="9313">
                  <c:v>#N/A</c:v>
                </c:pt>
                <c:pt idx="9314">
                  <c:v>2.2804099999999998</c:v>
                </c:pt>
                <c:pt idx="9315">
                  <c:v>2.0968100000000001</c:v>
                </c:pt>
                <c:pt idx="9316">
                  <c:v>2.4148700000000001</c:v>
                </c:pt>
                <c:pt idx="9317">
                  <c:v>2.0300099999999999</c:v>
                </c:pt>
                <c:pt idx="9318">
                  <c:v>#N/A</c:v>
                </c:pt>
                <c:pt idx="9319">
                  <c:v>2.8351999999999999</c:v>
                </c:pt>
                <c:pt idx="9320">
                  <c:v>2.8112400000000002</c:v>
                </c:pt>
                <c:pt idx="9321">
                  <c:v>2.4351799999999999</c:v>
                </c:pt>
                <c:pt idx="9322">
                  <c:v>#N/A</c:v>
                </c:pt>
                <c:pt idx="9323">
                  <c:v>2.85318</c:v>
                </c:pt>
                <c:pt idx="9324">
                  <c:v>2.0763600000000002</c:v>
                </c:pt>
                <c:pt idx="9325">
                  <c:v>2.0640100000000001</c:v>
                </c:pt>
                <c:pt idx="9326">
                  <c:v>2.3536100000000002</c:v>
                </c:pt>
                <c:pt idx="9327">
                  <c:v>#N/A</c:v>
                </c:pt>
                <c:pt idx="9328">
                  <c:v>2.2308400000000002</c:v>
                </c:pt>
                <c:pt idx="9329">
                  <c:v>2.0757500000000002</c:v>
                </c:pt>
                <c:pt idx="9330">
                  <c:v>2.0429200000000001</c:v>
                </c:pt>
                <c:pt idx="9331">
                  <c:v>#N/A</c:v>
                </c:pt>
                <c:pt idx="9332">
                  <c:v>1.9244399999999999</c:v>
                </c:pt>
                <c:pt idx="9333">
                  <c:v>2.1892499999999999</c:v>
                </c:pt>
                <c:pt idx="9334">
                  <c:v>2.3786100000000001</c:v>
                </c:pt>
                <c:pt idx="9335">
                  <c:v>#N/A</c:v>
                </c:pt>
                <c:pt idx="9336">
                  <c:v>2.72479</c:v>
                </c:pt>
                <c:pt idx="9337">
                  <c:v>2.3420700000000001</c:v>
                </c:pt>
                <c:pt idx="9338">
                  <c:v>1.9673</c:v>
                </c:pt>
                <c:pt idx="9339">
                  <c:v>1.9125000000000001</c:v>
                </c:pt>
                <c:pt idx="9340">
                  <c:v>#N/A</c:v>
                </c:pt>
                <c:pt idx="9341">
                  <c:v>#N/A</c:v>
                </c:pt>
                <c:pt idx="9342">
                  <c:v>2.43249</c:v>
                </c:pt>
                <c:pt idx="9343">
                  <c:v>2.75509</c:v>
                </c:pt>
                <c:pt idx="9344">
                  <c:v>2.72512</c:v>
                </c:pt>
                <c:pt idx="9345">
                  <c:v>2.5625200000000001</c:v>
                </c:pt>
                <c:pt idx="9346">
                  <c:v>#N/A</c:v>
                </c:pt>
                <c:pt idx="9347">
                  <c:v>2.1498599999999999</c:v>
                </c:pt>
                <c:pt idx="9348">
                  <c:v>2.01851</c:v>
                </c:pt>
                <c:pt idx="9349">
                  <c:v>1.85636</c:v>
                </c:pt>
                <c:pt idx="9350">
                  <c:v>1.3670199999999999</c:v>
                </c:pt>
                <c:pt idx="9351">
                  <c:v>#N/A</c:v>
                </c:pt>
                <c:pt idx="9352">
                  <c:v>1.8138099999999999</c:v>
                </c:pt>
                <c:pt idx="9353">
                  <c:v>2.3730799999999999</c:v>
                </c:pt>
                <c:pt idx="9354">
                  <c:v>2.8342200000000002</c:v>
                </c:pt>
                <c:pt idx="9355">
                  <c:v>#N/A</c:v>
                </c:pt>
                <c:pt idx="9356">
                  <c:v>2.6793999999999998</c:v>
                </c:pt>
                <c:pt idx="9357">
                  <c:v>2.5765799999999999</c:v>
                </c:pt>
                <c:pt idx="9358">
                  <c:v>2.3509799999999998</c:v>
                </c:pt>
                <c:pt idx="9359">
                  <c:v>#N/A</c:v>
                </c:pt>
                <c:pt idx="9360">
                  <c:v>2.05925</c:v>
                </c:pt>
                <c:pt idx="9361">
                  <c:v>2.1614200000000001</c:v>
                </c:pt>
                <c:pt idx="9362">
                  <c:v>2.5131299999999999</c:v>
                </c:pt>
                <c:pt idx="9363">
                  <c:v>2.27861</c:v>
                </c:pt>
                <c:pt idx="9364">
                  <c:v>#N/A</c:v>
                </c:pt>
                <c:pt idx="9365">
                  <c:v>2.4507699999999999</c:v>
                </c:pt>
                <c:pt idx="9366">
                  <c:v>2.7338800000000001</c:v>
                </c:pt>
                <c:pt idx="9367">
                  <c:v>2.28654</c:v>
                </c:pt>
                <c:pt idx="9368">
                  <c:v>#N/A</c:v>
                </c:pt>
                <c:pt idx="9369">
                  <c:v>2.1183299999999998</c:v>
                </c:pt>
                <c:pt idx="9370">
                  <c:v>2.2312699999999999</c:v>
                </c:pt>
                <c:pt idx="9371">
                  <c:v>1.9769300000000001</c:v>
                </c:pt>
                <c:pt idx="9372">
                  <c:v>1.49136</c:v>
                </c:pt>
                <c:pt idx="9373">
                  <c:v>#N/A</c:v>
                </c:pt>
                <c:pt idx="9374">
                  <c:v>1.8446899999999999</c:v>
                </c:pt>
                <c:pt idx="9375">
                  <c:v>2.35737</c:v>
                </c:pt>
                <c:pt idx="9376">
                  <c:v>3.1151200000000001</c:v>
                </c:pt>
                <c:pt idx="9377">
                  <c:v>#N/A</c:v>
                </c:pt>
                <c:pt idx="9378">
                  <c:v>2.5633400000000002</c:v>
                </c:pt>
                <c:pt idx="9379">
                  <c:v>2.6585700000000001</c:v>
                </c:pt>
                <c:pt idx="9380">
                  <c:v>2.6210399999999998</c:v>
                </c:pt>
                <c:pt idx="9381">
                  <c:v>2.0842999999999998</c:v>
                </c:pt>
                <c:pt idx="9382">
                  <c:v>#N/A</c:v>
                </c:pt>
                <c:pt idx="9383">
                  <c:v>2.62819</c:v>
                </c:pt>
                <c:pt idx="9384">
                  <c:v>2.4950199999999998</c:v>
                </c:pt>
                <c:pt idx="9385">
                  <c:v>2.3157100000000002</c:v>
                </c:pt>
                <c:pt idx="9386">
                  <c:v>2.32687</c:v>
                </c:pt>
                <c:pt idx="9387">
                  <c:v>#N/A</c:v>
                </c:pt>
                <c:pt idx="9388">
                  <c:v>2.1510699999999998</c:v>
                </c:pt>
                <c:pt idx="9389">
                  <c:v>2.1753399999999998</c:v>
                </c:pt>
                <c:pt idx="9390">
                  <c:v>2.16852</c:v>
                </c:pt>
                <c:pt idx="9391">
                  <c:v>#N/A</c:v>
                </c:pt>
                <c:pt idx="9392">
                  <c:v>2.12635</c:v>
                </c:pt>
                <c:pt idx="9393">
                  <c:v>1.73214</c:v>
                </c:pt>
                <c:pt idx="9394">
                  <c:v>1.4528399999999999</c:v>
                </c:pt>
                <c:pt idx="9395">
                  <c:v>1.9632099999999999</c:v>
                </c:pt>
                <c:pt idx="9396">
                  <c:v>#N/A</c:v>
                </c:pt>
                <c:pt idx="9397">
                  <c:v>2.05891</c:v>
                </c:pt>
                <c:pt idx="9398">
                  <c:v>2.3226599999999999</c:v>
                </c:pt>
                <c:pt idx="9399">
                  <c:v>2.3390599999999999</c:v>
                </c:pt>
                <c:pt idx="9400">
                  <c:v>#N/A</c:v>
                </c:pt>
                <c:pt idx="9401">
                  <c:v>2.4308800000000002</c:v>
                </c:pt>
                <c:pt idx="9402">
                  <c:v>2.31934</c:v>
                </c:pt>
                <c:pt idx="9403">
                  <c:v>2.04352</c:v>
                </c:pt>
                <c:pt idx="9404">
                  <c:v>2.84362</c:v>
                </c:pt>
                <c:pt idx="9405">
                  <c:v>#N/A</c:v>
                </c:pt>
                <c:pt idx="9406">
                  <c:v>2.9377399999999998</c:v>
                </c:pt>
                <c:pt idx="9407">
                  <c:v>2.48312</c:v>
                </c:pt>
                <c:pt idx="9408">
                  <c:v>1.9790399999999999</c:v>
                </c:pt>
                <c:pt idx="9409">
                  <c:v>#N/A</c:v>
                </c:pt>
                <c:pt idx="9410">
                  <c:v>2.2803800000000001</c:v>
                </c:pt>
                <c:pt idx="9411">
                  <c:v>2.40795</c:v>
                </c:pt>
                <c:pt idx="9412">
                  <c:v>#N/A</c:v>
                </c:pt>
                <c:pt idx="9413">
                  <c:v>2.4973800000000002</c:v>
                </c:pt>
                <c:pt idx="9414">
                  <c:v>2.6564700000000001</c:v>
                </c:pt>
                <c:pt idx="9415">
                  <c:v>#N/A</c:v>
                </c:pt>
                <c:pt idx="9416">
                  <c:v>2.4403600000000001</c:v>
                </c:pt>
                <c:pt idx="9417">
                  <c:v>2.0129100000000002</c:v>
                </c:pt>
                <c:pt idx="9418">
                  <c:v>#N/A</c:v>
                </c:pt>
                <c:pt idx="9419">
                  <c:v>2.3531399999999998</c:v>
                </c:pt>
                <c:pt idx="9420">
                  <c:v>2.3722799999999999</c:v>
                </c:pt>
                <c:pt idx="9421">
                  <c:v>2.3678499999999998</c:v>
                </c:pt>
                <c:pt idx="9422">
                  <c:v>#N/A</c:v>
                </c:pt>
                <c:pt idx="9423">
                  <c:v>2.8936999999999999</c:v>
                </c:pt>
                <c:pt idx="9424">
                  <c:v>2.3553700000000002</c:v>
                </c:pt>
                <c:pt idx="9425">
                  <c:v>2.3267600000000002</c:v>
                </c:pt>
                <c:pt idx="9426">
                  <c:v>1.8333200000000001</c:v>
                </c:pt>
                <c:pt idx="9427">
                  <c:v>#N/A</c:v>
                </c:pt>
                <c:pt idx="9428">
                  <c:v>2.4526699999999999</c:v>
                </c:pt>
                <c:pt idx="9429">
                  <c:v>1.98481</c:v>
                </c:pt>
                <c:pt idx="9430">
                  <c:v>1.92303</c:v>
                </c:pt>
                <c:pt idx="9431">
                  <c:v>#N/A</c:v>
                </c:pt>
                <c:pt idx="9432">
                  <c:v>2.06257</c:v>
                </c:pt>
                <c:pt idx="9433">
                  <c:v>#N/A</c:v>
                </c:pt>
                <c:pt idx="9434">
                  <c:v>#N/A</c:v>
                </c:pt>
                <c:pt idx="9435">
                  <c:v>#N/A</c:v>
                </c:pt>
                <c:pt idx="9436">
                  <c:v>#N/A</c:v>
                </c:pt>
                <c:pt idx="9437">
                  <c:v>#N/A</c:v>
                </c:pt>
                <c:pt idx="9438">
                  <c:v>#N/A</c:v>
                </c:pt>
                <c:pt idx="9439">
                  <c:v>#N/A</c:v>
                </c:pt>
                <c:pt idx="9440">
                  <c:v>#N/A</c:v>
                </c:pt>
                <c:pt idx="9441">
                  <c:v>#N/A</c:v>
                </c:pt>
                <c:pt idx="9442">
                  <c:v>#N/A</c:v>
                </c:pt>
                <c:pt idx="9443">
                  <c:v>#N/A</c:v>
                </c:pt>
                <c:pt idx="9444">
                  <c:v>#N/A</c:v>
                </c:pt>
                <c:pt idx="9445">
                  <c:v>#N/A</c:v>
                </c:pt>
                <c:pt idx="9446">
                  <c:v>#N/A</c:v>
                </c:pt>
                <c:pt idx="9447">
                  <c:v>#N/A</c:v>
                </c:pt>
                <c:pt idx="9448">
                  <c:v>#N/A</c:v>
                </c:pt>
                <c:pt idx="9449">
                  <c:v>#N/A</c:v>
                </c:pt>
                <c:pt idx="9450">
                  <c:v>#N/A</c:v>
                </c:pt>
                <c:pt idx="9451">
                  <c:v>#N/A</c:v>
                </c:pt>
                <c:pt idx="9452">
                  <c:v>#N/A</c:v>
                </c:pt>
                <c:pt idx="9453">
                  <c:v>#N/A</c:v>
                </c:pt>
                <c:pt idx="9454">
                  <c:v>2.0360299999999998</c:v>
                </c:pt>
                <c:pt idx="9455">
                  <c:v>#N/A</c:v>
                </c:pt>
                <c:pt idx="9456">
                  <c:v>1.9267399999999999</c:v>
                </c:pt>
                <c:pt idx="9457">
                  <c:v>2.0665</c:v>
                </c:pt>
                <c:pt idx="9458">
                  <c:v>2.3511799999999998</c:v>
                </c:pt>
                <c:pt idx="9459">
                  <c:v>2.13266</c:v>
                </c:pt>
                <c:pt idx="9460">
                  <c:v>#N/A</c:v>
                </c:pt>
                <c:pt idx="9461">
                  <c:v>2.3548200000000001</c:v>
                </c:pt>
                <c:pt idx="9462">
                  <c:v>2.6892299999999998</c:v>
                </c:pt>
                <c:pt idx="9463">
                  <c:v>2.5971099999999998</c:v>
                </c:pt>
                <c:pt idx="9464">
                  <c:v>#N/A</c:v>
                </c:pt>
                <c:pt idx="9465">
                  <c:v>2.1942300000000001</c:v>
                </c:pt>
                <c:pt idx="9466">
                  <c:v>2.5361699999999998</c:v>
                </c:pt>
                <c:pt idx="9467">
                  <c:v>2.3949799999999999</c:v>
                </c:pt>
                <c:pt idx="9468">
                  <c:v>#N/A</c:v>
                </c:pt>
                <c:pt idx="9469">
                  <c:v>2.0308600000000001</c:v>
                </c:pt>
                <c:pt idx="9470">
                  <c:v>2.26518</c:v>
                </c:pt>
                <c:pt idx="9471">
                  <c:v>2.4458000000000002</c:v>
                </c:pt>
                <c:pt idx="9472">
                  <c:v>2.4053300000000002</c:v>
                </c:pt>
                <c:pt idx="9473">
                  <c:v>#N/A</c:v>
                </c:pt>
                <c:pt idx="9474">
                  <c:v>2.3546299999999998</c:v>
                </c:pt>
                <c:pt idx="9475">
                  <c:v>2.5981999999999998</c:v>
                </c:pt>
                <c:pt idx="9476">
                  <c:v>2.50135</c:v>
                </c:pt>
                <c:pt idx="9477">
                  <c:v>#N/A</c:v>
                </c:pt>
                <c:pt idx="9478">
                  <c:v>2.58195</c:v>
                </c:pt>
                <c:pt idx="9479">
                  <c:v>2.40788</c:v>
                </c:pt>
                <c:pt idx="9480">
                  <c:v>2.2172399999999999</c:v>
                </c:pt>
                <c:pt idx="9481">
                  <c:v>2.4050699999999998</c:v>
                </c:pt>
                <c:pt idx="9482">
                  <c:v>#N/A</c:v>
                </c:pt>
                <c:pt idx="9483">
                  <c:v>2.8722400000000001</c:v>
                </c:pt>
                <c:pt idx="9484">
                  <c:v>#N/A</c:v>
                </c:pt>
                <c:pt idx="9485">
                  <c:v>2.70581</c:v>
                </c:pt>
                <c:pt idx="9486">
                  <c:v>2.13076</c:v>
                </c:pt>
                <c:pt idx="9487">
                  <c:v>#N/A</c:v>
                </c:pt>
                <c:pt idx="9488">
                  <c:v>2.44719</c:v>
                </c:pt>
                <c:pt idx="9489">
                  <c:v>2.1703600000000001</c:v>
                </c:pt>
                <c:pt idx="9490">
                  <c:v>1.60961</c:v>
                </c:pt>
                <c:pt idx="9491">
                  <c:v>2.40191</c:v>
                </c:pt>
                <c:pt idx="9492">
                  <c:v>#N/A</c:v>
                </c:pt>
                <c:pt idx="9493">
                  <c:v>2.2473000000000001</c:v>
                </c:pt>
                <c:pt idx="9494">
                  <c:v>2.7079300000000002</c:v>
                </c:pt>
                <c:pt idx="9495">
                  <c:v>2.2753899999999998</c:v>
                </c:pt>
                <c:pt idx="9496">
                  <c:v>#N/A</c:v>
                </c:pt>
                <c:pt idx="9497">
                  <c:v>2.53796</c:v>
                </c:pt>
                <c:pt idx="9498">
                  <c:v>2.44218</c:v>
                </c:pt>
                <c:pt idx="9499">
                  <c:v>2.5105599999999999</c:v>
                </c:pt>
                <c:pt idx="9500">
                  <c:v>2.5880000000000001</c:v>
                </c:pt>
                <c:pt idx="9501">
                  <c:v>#N/A</c:v>
                </c:pt>
                <c:pt idx="9502">
                  <c:v>2.1432500000000001</c:v>
                </c:pt>
                <c:pt idx="9503">
                  <c:v>2.18608</c:v>
                </c:pt>
                <c:pt idx="9504">
                  <c:v>3.07857</c:v>
                </c:pt>
                <c:pt idx="9505">
                  <c:v>2.8980299999999999</c:v>
                </c:pt>
                <c:pt idx="9506">
                  <c:v>#N/A</c:v>
                </c:pt>
                <c:pt idx="9507">
                  <c:v>2.4558200000000001</c:v>
                </c:pt>
                <c:pt idx="9508">
                  <c:v>2.10764</c:v>
                </c:pt>
                <c:pt idx="9509">
                  <c:v>1.9291499999999999</c:v>
                </c:pt>
                <c:pt idx="9510">
                  <c:v>#N/A</c:v>
                </c:pt>
                <c:pt idx="9511">
                  <c:v>2.0380600000000002</c:v>
                </c:pt>
                <c:pt idx="9512">
                  <c:v>1.73759</c:v>
                </c:pt>
                <c:pt idx="9513">
                  <c:v>2.61361</c:v>
                </c:pt>
                <c:pt idx="9514">
                  <c:v>2.5169800000000002</c:v>
                </c:pt>
                <c:pt idx="9515">
                  <c:v>#N/A</c:v>
                </c:pt>
                <c:pt idx="9516">
                  <c:v>2.6217700000000002</c:v>
                </c:pt>
                <c:pt idx="9517">
                  <c:v>2.68458</c:v>
                </c:pt>
                <c:pt idx="9518">
                  <c:v>2.6813099999999999</c:v>
                </c:pt>
                <c:pt idx="9519">
                  <c:v>#N/A</c:v>
                </c:pt>
                <c:pt idx="9520">
                  <c:v>2.7264400000000002</c:v>
                </c:pt>
                <c:pt idx="9521">
                  <c:v>2.6739600000000001</c:v>
                </c:pt>
                <c:pt idx="9522">
                  <c:v>3.55464</c:v>
                </c:pt>
                <c:pt idx="9523">
                  <c:v>#N/A</c:v>
                </c:pt>
                <c:pt idx="9524">
                  <c:v>2.6352099999999998</c:v>
                </c:pt>
                <c:pt idx="9525">
                  <c:v>2.3927200000000002</c:v>
                </c:pt>
                <c:pt idx="9526">
                  <c:v>2.3419699999999999</c:v>
                </c:pt>
                <c:pt idx="9527">
                  <c:v>2.3738800000000002</c:v>
                </c:pt>
                <c:pt idx="9528">
                  <c:v>#N/A</c:v>
                </c:pt>
                <c:pt idx="9529">
                  <c:v>2.3259699999999999</c:v>
                </c:pt>
                <c:pt idx="9530">
                  <c:v>1.84833</c:v>
                </c:pt>
                <c:pt idx="9531">
                  <c:v>2.36477</c:v>
                </c:pt>
                <c:pt idx="9532">
                  <c:v>#N/A</c:v>
                </c:pt>
                <c:pt idx="9533">
                  <c:v>2.1743700000000001</c:v>
                </c:pt>
                <c:pt idx="9534">
                  <c:v>2.5074399999999999</c:v>
                </c:pt>
                <c:pt idx="9535">
                  <c:v>2.4446400000000001</c:v>
                </c:pt>
                <c:pt idx="9536">
                  <c:v>2.5724900000000002</c:v>
                </c:pt>
                <c:pt idx="9537">
                  <c:v>#N/A</c:v>
                </c:pt>
                <c:pt idx="9538">
                  <c:v>2.3182100000000001</c:v>
                </c:pt>
                <c:pt idx="9539">
                  <c:v>2.3750200000000001</c:v>
                </c:pt>
                <c:pt idx="9540">
                  <c:v>2.68825</c:v>
                </c:pt>
                <c:pt idx="9541">
                  <c:v>#N/A</c:v>
                </c:pt>
                <c:pt idx="9542">
                  <c:v>2.9275000000000002</c:v>
                </c:pt>
                <c:pt idx="9543">
                  <c:v>2.6983299999999999</c:v>
                </c:pt>
                <c:pt idx="9544">
                  <c:v>3.17801</c:v>
                </c:pt>
                <c:pt idx="9545">
                  <c:v>#N/A</c:v>
                </c:pt>
                <c:pt idx="9546">
                  <c:v>3.0242</c:v>
                </c:pt>
                <c:pt idx="9547">
                  <c:v>2.3759299999999999</c:v>
                </c:pt>
                <c:pt idx="9548">
                  <c:v>2.1023399999999999</c:v>
                </c:pt>
                <c:pt idx="9549">
                  <c:v>2.2145700000000001</c:v>
                </c:pt>
                <c:pt idx="9550">
                  <c:v>#N/A</c:v>
                </c:pt>
                <c:pt idx="9551">
                  <c:v>2.41255</c:v>
                </c:pt>
                <c:pt idx="9552">
                  <c:v>2.5022799999999998</c:v>
                </c:pt>
                <c:pt idx="9553">
                  <c:v>2.1113599999999999</c:v>
                </c:pt>
                <c:pt idx="9554">
                  <c:v>#N/A</c:v>
                </c:pt>
                <c:pt idx="9555">
                  <c:v>2.9194499999999999</c:v>
                </c:pt>
                <c:pt idx="9556">
                  <c:v>2.59273</c:v>
                </c:pt>
                <c:pt idx="9557">
                  <c:v>#N/A</c:v>
                </c:pt>
                <c:pt idx="9558">
                  <c:v>2.7107199999999998</c:v>
                </c:pt>
                <c:pt idx="9559">
                  <c:v>2.2838500000000002</c:v>
                </c:pt>
                <c:pt idx="9560">
                  <c:v>2.9215200000000001</c:v>
                </c:pt>
                <c:pt idx="9561">
                  <c:v>#N/A</c:v>
                </c:pt>
                <c:pt idx="9562">
                  <c:v>2.5420199999999999</c:v>
                </c:pt>
                <c:pt idx="9563">
                  <c:v>3.15326</c:v>
                </c:pt>
                <c:pt idx="9564">
                  <c:v>2.6772399999999998</c:v>
                </c:pt>
                <c:pt idx="9565">
                  <c:v>2.6757499999999999</c:v>
                </c:pt>
                <c:pt idx="9566">
                  <c:v>#N/A</c:v>
                </c:pt>
                <c:pt idx="9567">
                  <c:v>2.3320099999999999</c:v>
                </c:pt>
                <c:pt idx="9568">
                  <c:v>2.2477</c:v>
                </c:pt>
                <c:pt idx="9569">
                  <c:v>2.2463700000000002</c:v>
                </c:pt>
                <c:pt idx="9570">
                  <c:v>1.5793600000000001</c:v>
                </c:pt>
                <c:pt idx="9571">
                  <c:v>#N/A</c:v>
                </c:pt>
                <c:pt idx="9572">
                  <c:v>1.63439</c:v>
                </c:pt>
                <c:pt idx="9573">
                  <c:v>2.26532</c:v>
                </c:pt>
                <c:pt idx="9574">
                  <c:v>2.7641200000000001</c:v>
                </c:pt>
                <c:pt idx="9575">
                  <c:v>#N/A</c:v>
                </c:pt>
                <c:pt idx="9576">
                  <c:v>2.7891599999999999</c:v>
                </c:pt>
                <c:pt idx="9577">
                  <c:v>2.6095600000000001</c:v>
                </c:pt>
                <c:pt idx="9578">
                  <c:v>2.2835000000000001</c:v>
                </c:pt>
                <c:pt idx="9579">
                  <c:v>2.6167699999999998</c:v>
                </c:pt>
                <c:pt idx="9580">
                  <c:v>#N/A</c:v>
                </c:pt>
                <c:pt idx="9581">
                  <c:v>2.5196700000000001</c:v>
                </c:pt>
                <c:pt idx="9582">
                  <c:v>3.0020199999999999</c:v>
                </c:pt>
                <c:pt idx="9583">
                  <c:v>3.0255000000000001</c:v>
                </c:pt>
                <c:pt idx="9584">
                  <c:v>#N/A</c:v>
                </c:pt>
                <c:pt idx="9585">
                  <c:v>3.0014400000000001</c:v>
                </c:pt>
                <c:pt idx="9586">
                  <c:v>2.9641099999999998</c:v>
                </c:pt>
                <c:pt idx="9587">
                  <c:v>2.5614599999999998</c:v>
                </c:pt>
                <c:pt idx="9588">
                  <c:v>1.9655499999999999</c:v>
                </c:pt>
                <c:pt idx="9589">
                  <c:v>#N/A</c:v>
                </c:pt>
                <c:pt idx="9590">
                  <c:v>2.3195800000000002</c:v>
                </c:pt>
                <c:pt idx="9591">
                  <c:v>2.1158000000000001</c:v>
                </c:pt>
                <c:pt idx="9592">
                  <c:v>2.4770799999999999</c:v>
                </c:pt>
                <c:pt idx="9593">
                  <c:v>#N/A</c:v>
                </c:pt>
                <c:pt idx="9594">
                  <c:v>2.0579000000000001</c:v>
                </c:pt>
                <c:pt idx="9595">
                  <c:v>2.7147999999999999</c:v>
                </c:pt>
                <c:pt idx="9596">
                  <c:v>2.5865100000000001</c:v>
                </c:pt>
                <c:pt idx="9597">
                  <c:v>2.6478199999999998</c:v>
                </c:pt>
                <c:pt idx="9598">
                  <c:v>#N/A</c:v>
                </c:pt>
                <c:pt idx="9599">
                  <c:v>2.7162700000000002</c:v>
                </c:pt>
                <c:pt idx="9600">
                  <c:v>2.8376999999999999</c:v>
                </c:pt>
                <c:pt idx="9601">
                  <c:v>2.56413</c:v>
                </c:pt>
                <c:pt idx="9602">
                  <c:v>#N/A</c:v>
                </c:pt>
                <c:pt idx="9603">
                  <c:v>2.3103699999999998</c:v>
                </c:pt>
                <c:pt idx="9604">
                  <c:v>2.2691400000000002</c:v>
                </c:pt>
                <c:pt idx="9605">
                  <c:v>2.6700200000000001</c:v>
                </c:pt>
                <c:pt idx="9606">
                  <c:v>#N/A</c:v>
                </c:pt>
                <c:pt idx="9607">
                  <c:v>2.6756600000000001</c:v>
                </c:pt>
                <c:pt idx="9608">
                  <c:v>1.8503099999999999</c:v>
                </c:pt>
                <c:pt idx="9609">
                  <c:v>2.35629</c:v>
                </c:pt>
                <c:pt idx="9610">
                  <c:v>#N/A</c:v>
                </c:pt>
                <c:pt idx="9611">
                  <c:v>1.80915</c:v>
                </c:pt>
                <c:pt idx="9612">
                  <c:v>1.6531100000000001</c:v>
                </c:pt>
                <c:pt idx="9613">
                  <c:v>2.5035699999999999</c:v>
                </c:pt>
                <c:pt idx="9614">
                  <c:v>2.6355300000000002</c:v>
                </c:pt>
                <c:pt idx="9615">
                  <c:v>#N/A</c:v>
                </c:pt>
                <c:pt idx="9616">
                  <c:v>2.99918</c:v>
                </c:pt>
                <c:pt idx="9617">
                  <c:v>2.4123899999999998</c:v>
                </c:pt>
                <c:pt idx="9618">
                  <c:v>2.6663700000000001</c:v>
                </c:pt>
                <c:pt idx="9619">
                  <c:v>#N/A</c:v>
                </c:pt>
                <c:pt idx="9620">
                  <c:v>2.4952999999999999</c:v>
                </c:pt>
                <c:pt idx="9621">
                  <c:v>2.8645200000000002</c:v>
                </c:pt>
                <c:pt idx="9622">
                  <c:v>3.49396</c:v>
                </c:pt>
                <c:pt idx="9623">
                  <c:v>2.80992</c:v>
                </c:pt>
                <c:pt idx="9624">
                  <c:v>#N/A</c:v>
                </c:pt>
                <c:pt idx="9625">
                  <c:v>2.9258000000000002</c:v>
                </c:pt>
                <c:pt idx="9626">
                  <c:v>2.41839</c:v>
                </c:pt>
                <c:pt idx="9627">
                  <c:v>#N/A</c:v>
                </c:pt>
                <c:pt idx="9628">
                  <c:v>2.00502</c:v>
                </c:pt>
                <c:pt idx="9629">
                  <c:v>#N/A</c:v>
                </c:pt>
                <c:pt idx="9630">
                  <c:v>1.73411</c:v>
                </c:pt>
                <c:pt idx="9631">
                  <c:v>2.09267</c:v>
                </c:pt>
                <c:pt idx="9632">
                  <c:v>2.4704899999999999</c:v>
                </c:pt>
                <c:pt idx="9633">
                  <c:v>#N/A</c:v>
                </c:pt>
                <c:pt idx="9634">
                  <c:v>2.5124499999999999</c:v>
                </c:pt>
                <c:pt idx="9635">
                  <c:v>2.3876599999999999</c:v>
                </c:pt>
                <c:pt idx="9636">
                  <c:v>2.4186700000000001</c:v>
                </c:pt>
                <c:pt idx="9637">
                  <c:v>#N/A</c:v>
                </c:pt>
                <c:pt idx="9638">
                  <c:v>2.5772900000000001</c:v>
                </c:pt>
                <c:pt idx="9639">
                  <c:v>2.5564900000000002</c:v>
                </c:pt>
                <c:pt idx="9640">
                  <c:v>2.6876099999999998</c:v>
                </c:pt>
                <c:pt idx="9641">
                  <c:v>#N/A</c:v>
                </c:pt>
                <c:pt idx="9642">
                  <c:v>2.8691900000000001</c:v>
                </c:pt>
                <c:pt idx="9643">
                  <c:v>2.8538800000000002</c:v>
                </c:pt>
                <c:pt idx="9644">
                  <c:v>3.20892</c:v>
                </c:pt>
                <c:pt idx="9645">
                  <c:v>2.8939499999999998</c:v>
                </c:pt>
                <c:pt idx="9646">
                  <c:v>#N/A</c:v>
                </c:pt>
                <c:pt idx="9647">
                  <c:v>2.3478400000000001</c:v>
                </c:pt>
                <c:pt idx="9648">
                  <c:v>1.9858</c:v>
                </c:pt>
                <c:pt idx="9649">
                  <c:v>2.0237400000000001</c:v>
                </c:pt>
                <c:pt idx="9650">
                  <c:v>#N/A</c:v>
                </c:pt>
                <c:pt idx="9651">
                  <c:v>2.52501</c:v>
                </c:pt>
                <c:pt idx="9652">
                  <c:v>2.6697299999999999</c:v>
                </c:pt>
                <c:pt idx="9653">
                  <c:v>2.7175799999999999</c:v>
                </c:pt>
                <c:pt idx="9654">
                  <c:v>#N/A</c:v>
                </c:pt>
                <c:pt idx="9655">
                  <c:v>2.8960900000000001</c:v>
                </c:pt>
                <c:pt idx="9656">
                  <c:v>2.9480599999999999</c:v>
                </c:pt>
                <c:pt idx="9657">
                  <c:v>2.9306199999999998</c:v>
                </c:pt>
                <c:pt idx="9658">
                  <c:v>2.9120400000000002</c:v>
                </c:pt>
                <c:pt idx="9659">
                  <c:v>#N/A</c:v>
                </c:pt>
                <c:pt idx="9660">
                  <c:v>2.74858</c:v>
                </c:pt>
                <c:pt idx="9661">
                  <c:v>2.8131499999999998</c:v>
                </c:pt>
                <c:pt idx="9662">
                  <c:v>2.8161999999999998</c:v>
                </c:pt>
                <c:pt idx="9663">
                  <c:v>#N/A</c:v>
                </c:pt>
                <c:pt idx="9664">
                  <c:v>2.9996900000000002</c:v>
                </c:pt>
                <c:pt idx="9665">
                  <c:v>2.8715099999999998</c:v>
                </c:pt>
                <c:pt idx="9666">
                  <c:v>2.2329400000000001</c:v>
                </c:pt>
                <c:pt idx="9667">
                  <c:v>#N/A</c:v>
                </c:pt>
                <c:pt idx="9668">
                  <c:v>2.3728799999999999</c:v>
                </c:pt>
                <c:pt idx="9669">
                  <c:v>2.3527999999999998</c:v>
                </c:pt>
                <c:pt idx="9670">
                  <c:v>2.44272</c:v>
                </c:pt>
                <c:pt idx="9671">
                  <c:v>2.0311599999999999</c:v>
                </c:pt>
                <c:pt idx="9672">
                  <c:v>#N/A</c:v>
                </c:pt>
                <c:pt idx="9673">
                  <c:v>2.4824299999999999</c:v>
                </c:pt>
                <c:pt idx="9674">
                  <c:v>2.4574400000000001</c:v>
                </c:pt>
                <c:pt idx="9675">
                  <c:v>2.4491299999999998</c:v>
                </c:pt>
                <c:pt idx="9676">
                  <c:v>#N/A</c:v>
                </c:pt>
                <c:pt idx="9677">
                  <c:v>2.87534</c:v>
                </c:pt>
                <c:pt idx="9678">
                  <c:v>2.53173</c:v>
                </c:pt>
                <c:pt idx="9679">
                  <c:v>2.7947799999999998</c:v>
                </c:pt>
                <c:pt idx="9680">
                  <c:v>#N/A</c:v>
                </c:pt>
                <c:pt idx="9681">
                  <c:v>2.9149600000000002</c:v>
                </c:pt>
                <c:pt idx="9682">
                  <c:v>2.9598100000000001</c:v>
                </c:pt>
                <c:pt idx="9683">
                  <c:v>2.8731399999999998</c:v>
                </c:pt>
                <c:pt idx="9684">
                  <c:v>2.7638400000000001</c:v>
                </c:pt>
                <c:pt idx="9685">
                  <c:v>#N/A</c:v>
                </c:pt>
                <c:pt idx="9686">
                  <c:v>2.5937600000000001</c:v>
                </c:pt>
                <c:pt idx="9687">
                  <c:v>2.3691300000000002</c:v>
                </c:pt>
                <c:pt idx="9688">
                  <c:v>1.8796299999999999</c:v>
                </c:pt>
                <c:pt idx="9689">
                  <c:v>#N/A</c:v>
                </c:pt>
                <c:pt idx="9690">
                  <c:v>1.58934</c:v>
                </c:pt>
                <c:pt idx="9691">
                  <c:v>2.39845</c:v>
                </c:pt>
                <c:pt idx="9692">
                  <c:v>2.3864299999999998</c:v>
                </c:pt>
                <c:pt idx="9693">
                  <c:v>2.00318</c:v>
                </c:pt>
                <c:pt idx="9694">
                  <c:v>#N/A</c:v>
                </c:pt>
                <c:pt idx="9695">
                  <c:v>2.2943500000000001</c:v>
                </c:pt>
                <c:pt idx="9696">
                  <c:v>2.3934899999999999</c:v>
                </c:pt>
                <c:pt idx="9697">
                  <c:v>2.6908400000000001</c:v>
                </c:pt>
                <c:pt idx="9698">
                  <c:v>#N/A</c:v>
                </c:pt>
                <c:pt idx="9699">
                  <c:v>2.3265199999999999</c:v>
                </c:pt>
                <c:pt idx="9700">
                  <c:v>3.0114100000000001</c:v>
                </c:pt>
                <c:pt idx="9701">
                  <c:v>2.6221399999999999</c:v>
                </c:pt>
                <c:pt idx="9702">
                  <c:v>2.5938300000000001</c:v>
                </c:pt>
                <c:pt idx="9703">
                  <c:v>#N/A</c:v>
                </c:pt>
                <c:pt idx="9704">
                  <c:v>3.2266900000000001</c:v>
                </c:pt>
                <c:pt idx="9705">
                  <c:v>2.9781300000000002</c:v>
                </c:pt>
                <c:pt idx="9706">
                  <c:v>2.4470499999999999</c:v>
                </c:pt>
                <c:pt idx="9707">
                  <c:v>#N/A</c:v>
                </c:pt>
                <c:pt idx="9708">
                  <c:v>2.0511200000000001</c:v>
                </c:pt>
                <c:pt idx="9709">
                  <c:v>1.87103</c:v>
                </c:pt>
                <c:pt idx="9710">
                  <c:v>1.8582099999999999</c:v>
                </c:pt>
                <c:pt idx="9711">
                  <c:v>#N/A</c:v>
                </c:pt>
                <c:pt idx="9712">
                  <c:v>1.9845900000000001</c:v>
                </c:pt>
                <c:pt idx="9713">
                  <c:v>2.5141399999999998</c:v>
                </c:pt>
                <c:pt idx="9714">
                  <c:v>2.94157</c:v>
                </c:pt>
                <c:pt idx="9715">
                  <c:v>#N/A</c:v>
                </c:pt>
                <c:pt idx="9716">
                  <c:v>2.87324</c:v>
                </c:pt>
                <c:pt idx="9717">
                  <c:v>2.2682199999999999</c:v>
                </c:pt>
                <c:pt idx="9718">
                  <c:v>2.4590900000000002</c:v>
                </c:pt>
                <c:pt idx="9719">
                  <c:v>2.2898999999999998</c:v>
                </c:pt>
                <c:pt idx="9720">
                  <c:v>#N/A</c:v>
                </c:pt>
                <c:pt idx="9721">
                  <c:v>2.43242</c:v>
                </c:pt>
                <c:pt idx="9722">
                  <c:v>3.1053199999999999</c:v>
                </c:pt>
                <c:pt idx="9723">
                  <c:v>2.5855600000000001</c:v>
                </c:pt>
                <c:pt idx="9724">
                  <c:v>2.9745900000000001</c:v>
                </c:pt>
                <c:pt idx="9725">
                  <c:v>#N/A</c:v>
                </c:pt>
                <c:pt idx="9726">
                  <c:v>2.52278</c:v>
                </c:pt>
                <c:pt idx="9727">
                  <c:v>2.9693999999999998</c:v>
                </c:pt>
                <c:pt idx="9728">
                  <c:v>2.1750400000000001</c:v>
                </c:pt>
                <c:pt idx="9729">
                  <c:v>#N/A</c:v>
                </c:pt>
                <c:pt idx="9730">
                  <c:v>2.0799799999999999</c:v>
                </c:pt>
                <c:pt idx="9731">
                  <c:v>2.4030300000000002</c:v>
                </c:pt>
                <c:pt idx="9732">
                  <c:v>2.1525400000000001</c:v>
                </c:pt>
                <c:pt idx="9733">
                  <c:v>2.04373</c:v>
                </c:pt>
                <c:pt idx="9734">
                  <c:v>#N/A</c:v>
                </c:pt>
                <c:pt idx="9735">
                  <c:v>2.7492200000000002</c:v>
                </c:pt>
                <c:pt idx="9736">
                  <c:v>3.0069900000000001</c:v>
                </c:pt>
                <c:pt idx="9737">
                  <c:v>3.03823</c:v>
                </c:pt>
                <c:pt idx="9738">
                  <c:v>#N/A</c:v>
                </c:pt>
                <c:pt idx="9739">
                  <c:v>3.14411</c:v>
                </c:pt>
                <c:pt idx="9740">
                  <c:v>2.8401399999999999</c:v>
                </c:pt>
                <c:pt idx="9741">
                  <c:v>2.6202399999999999</c:v>
                </c:pt>
                <c:pt idx="9742">
                  <c:v>2.4453399999999998</c:v>
                </c:pt>
                <c:pt idx="9743">
                  <c:v>#N/A</c:v>
                </c:pt>
                <c:pt idx="9744">
                  <c:v>2.3898999999999999</c:v>
                </c:pt>
                <c:pt idx="9745">
                  <c:v>2.5864799999999999</c:v>
                </c:pt>
                <c:pt idx="9746">
                  <c:v>2.57429</c:v>
                </c:pt>
                <c:pt idx="9747">
                  <c:v>#N/A</c:v>
                </c:pt>
                <c:pt idx="9748">
                  <c:v>1.84656</c:v>
                </c:pt>
                <c:pt idx="9749">
                  <c:v>2.5609999999999999</c:v>
                </c:pt>
                <c:pt idx="9750">
                  <c:v>2.4844599999999999</c:v>
                </c:pt>
                <c:pt idx="9751">
                  <c:v>1.9300200000000001</c:v>
                </c:pt>
                <c:pt idx="9752">
                  <c:v>#N/A</c:v>
                </c:pt>
                <c:pt idx="9753">
                  <c:v>2.3774600000000001</c:v>
                </c:pt>
                <c:pt idx="9754">
                  <c:v>2.5568</c:v>
                </c:pt>
                <c:pt idx="9755">
                  <c:v>2.8696100000000002</c:v>
                </c:pt>
                <c:pt idx="9756">
                  <c:v>#N/A</c:v>
                </c:pt>
                <c:pt idx="9757">
                  <c:v>2.7894000000000001</c:v>
                </c:pt>
                <c:pt idx="9758">
                  <c:v>2.9212099999999999</c:v>
                </c:pt>
                <c:pt idx="9759">
                  <c:v>3.0156499999999999</c:v>
                </c:pt>
                <c:pt idx="9760">
                  <c:v>2.9657200000000001</c:v>
                </c:pt>
                <c:pt idx="9761">
                  <c:v>#N/A</c:v>
                </c:pt>
                <c:pt idx="9762">
                  <c:v>3.19292</c:v>
                </c:pt>
                <c:pt idx="9763">
                  <c:v>3.2816999999999998</c:v>
                </c:pt>
                <c:pt idx="9764">
                  <c:v>3.05742</c:v>
                </c:pt>
                <c:pt idx="9765">
                  <c:v>#N/A</c:v>
                </c:pt>
                <c:pt idx="9766">
                  <c:v>2.8560500000000002</c:v>
                </c:pt>
                <c:pt idx="9767">
                  <c:v>2.6254400000000002</c:v>
                </c:pt>
                <c:pt idx="9768">
                  <c:v>2.4080499999999998</c:v>
                </c:pt>
                <c:pt idx="9769">
                  <c:v>#N/A</c:v>
                </c:pt>
                <c:pt idx="9770">
                  <c:v>2.42164</c:v>
                </c:pt>
                <c:pt idx="9771">
                  <c:v>#N/A</c:v>
                </c:pt>
                <c:pt idx="9772">
                  <c:v>2.9066299999999998</c:v>
                </c:pt>
                <c:pt idx="9773">
                  <c:v>3.0661299999999998</c:v>
                </c:pt>
                <c:pt idx="9774">
                  <c:v>#N/A</c:v>
                </c:pt>
                <c:pt idx="9775">
                  <c:v>2.9957799999999999</c:v>
                </c:pt>
                <c:pt idx="9776">
                  <c:v>2.55626</c:v>
                </c:pt>
                <c:pt idx="9777">
                  <c:v>2.4892300000000001</c:v>
                </c:pt>
                <c:pt idx="9778">
                  <c:v>#N/A</c:v>
                </c:pt>
                <c:pt idx="9779">
                  <c:v>2.5160200000000001</c:v>
                </c:pt>
                <c:pt idx="9780">
                  <c:v>2.9735399999999998</c:v>
                </c:pt>
                <c:pt idx="9781">
                  <c:v>3.1290900000000001</c:v>
                </c:pt>
                <c:pt idx="9782">
                  <c:v>2.9950600000000001</c:v>
                </c:pt>
                <c:pt idx="9783">
                  <c:v>#N/A</c:v>
                </c:pt>
                <c:pt idx="9784">
                  <c:v>2.8187199999999999</c:v>
                </c:pt>
                <c:pt idx="9785">
                  <c:v>3.1813699999999998</c:v>
                </c:pt>
                <c:pt idx="9786">
                  <c:v>2.6878600000000001</c:v>
                </c:pt>
                <c:pt idx="9787">
                  <c:v>#N/A</c:v>
                </c:pt>
                <c:pt idx="9788">
                  <c:v>2.3736899999999999</c:v>
                </c:pt>
                <c:pt idx="9789">
                  <c:v>3.09111</c:v>
                </c:pt>
                <c:pt idx="9790">
                  <c:v>2.6775699999999998</c:v>
                </c:pt>
                <c:pt idx="9791">
                  <c:v>2.9247399999999999</c:v>
                </c:pt>
                <c:pt idx="9792">
                  <c:v>#N/A</c:v>
                </c:pt>
                <c:pt idx="9793">
                  <c:v>2.5684</c:v>
                </c:pt>
                <c:pt idx="9794">
                  <c:v>3.3954300000000002</c:v>
                </c:pt>
                <c:pt idx="9795">
                  <c:v>3.3232499999999998</c:v>
                </c:pt>
                <c:pt idx="9796">
                  <c:v>#N/A</c:v>
                </c:pt>
                <c:pt idx="9797">
                  <c:v>2.8277000000000001</c:v>
                </c:pt>
                <c:pt idx="9798">
                  <c:v>2.5672999999999999</c:v>
                </c:pt>
                <c:pt idx="9799">
                  <c:v>2.1569500000000001</c:v>
                </c:pt>
                <c:pt idx="9800">
                  <c:v>#N/A</c:v>
                </c:pt>
                <c:pt idx="9801">
                  <c:v>2.11144</c:v>
                </c:pt>
                <c:pt idx="9802">
                  <c:v>2.3730899999999999</c:v>
                </c:pt>
                <c:pt idx="9803">
                  <c:v>2.7873899999999998</c:v>
                </c:pt>
                <c:pt idx="9804">
                  <c:v>2.0613600000000001</c:v>
                </c:pt>
                <c:pt idx="9805">
                  <c:v>#N/A</c:v>
                </c:pt>
                <c:pt idx="9806">
                  <c:v>2.1654399999999998</c:v>
                </c:pt>
                <c:pt idx="9807">
                  <c:v>2.3058000000000001</c:v>
                </c:pt>
                <c:pt idx="9808">
                  <c:v>2.2021999999999999</c:v>
                </c:pt>
                <c:pt idx="9809">
                  <c:v>#N/A</c:v>
                </c:pt>
                <c:pt idx="9810">
                  <c:v>2.4201299999999999</c:v>
                </c:pt>
                <c:pt idx="9811">
                  <c:v>2.51715</c:v>
                </c:pt>
                <c:pt idx="9812">
                  <c:v>2.53159</c:v>
                </c:pt>
                <c:pt idx="9813">
                  <c:v>2.9603999999999999</c:v>
                </c:pt>
                <c:pt idx="9814">
                  <c:v>#N/A</c:v>
                </c:pt>
                <c:pt idx="9815">
                  <c:v>3.0217200000000002</c:v>
                </c:pt>
                <c:pt idx="9816">
                  <c:v>3.3749600000000002</c:v>
                </c:pt>
                <c:pt idx="9817">
                  <c:v>3.0267499999999998</c:v>
                </c:pt>
                <c:pt idx="9818">
                  <c:v>#N/A</c:v>
                </c:pt>
                <c:pt idx="9819">
                  <c:v>2.7798699999999998</c:v>
                </c:pt>
                <c:pt idx="9820">
                  <c:v>2.9346800000000002</c:v>
                </c:pt>
                <c:pt idx="9821">
                  <c:v>2.4091900000000002</c:v>
                </c:pt>
                <c:pt idx="9822">
                  <c:v>2.2432699999999999</c:v>
                </c:pt>
                <c:pt idx="9823">
                  <c:v>#N/A</c:v>
                </c:pt>
                <c:pt idx="9824">
                  <c:v>2.4576899999999999</c:v>
                </c:pt>
                <c:pt idx="9825">
                  <c:v>2.7387999999999999</c:v>
                </c:pt>
                <c:pt idx="9826">
                  <c:v>2.4508899999999998</c:v>
                </c:pt>
                <c:pt idx="9827">
                  <c:v>#N/A</c:v>
                </c:pt>
                <c:pt idx="9828">
                  <c:v>1.96827</c:v>
                </c:pt>
                <c:pt idx="9829">
                  <c:v>2.3194900000000001</c:v>
                </c:pt>
                <c:pt idx="9830">
                  <c:v>2.7002999999999999</c:v>
                </c:pt>
                <c:pt idx="9831">
                  <c:v>2.53234</c:v>
                </c:pt>
                <c:pt idx="9832">
                  <c:v>#N/A</c:v>
                </c:pt>
                <c:pt idx="9833">
                  <c:v>2.8835099999999998</c:v>
                </c:pt>
                <c:pt idx="9834">
                  <c:v>3.1512799999999999</c:v>
                </c:pt>
                <c:pt idx="9835">
                  <c:v>3.2997399999999999</c:v>
                </c:pt>
                <c:pt idx="9836">
                  <c:v>#N/A</c:v>
                </c:pt>
                <c:pt idx="9837">
                  <c:v>2.65076</c:v>
                </c:pt>
                <c:pt idx="9838">
                  <c:v>2.76491</c:v>
                </c:pt>
                <c:pt idx="9839">
                  <c:v>2.6495299999999999</c:v>
                </c:pt>
                <c:pt idx="9840">
                  <c:v>#N/A</c:v>
                </c:pt>
                <c:pt idx="9841">
                  <c:v>3.0607099999999998</c:v>
                </c:pt>
                <c:pt idx="9842">
                  <c:v>3.1911999999999998</c:v>
                </c:pt>
                <c:pt idx="9843">
                  <c:v>2.9147799999999999</c:v>
                </c:pt>
                <c:pt idx="9844">
                  <c:v>2.95858</c:v>
                </c:pt>
                <c:pt idx="9845">
                  <c:v>#N/A</c:v>
                </c:pt>
                <c:pt idx="9846">
                  <c:v>2.5859299999999998</c:v>
                </c:pt>
                <c:pt idx="9847">
                  <c:v>2.8370199999999999</c:v>
                </c:pt>
                <c:pt idx="9848">
                  <c:v>2.1623899999999998</c:v>
                </c:pt>
                <c:pt idx="9849">
                  <c:v>2.2092700000000001</c:v>
                </c:pt>
                <c:pt idx="9850">
                  <c:v>#N/A</c:v>
                </c:pt>
                <c:pt idx="9851">
                  <c:v>1.89995</c:v>
                </c:pt>
                <c:pt idx="9852">
                  <c:v>2.8014000000000001</c:v>
                </c:pt>
                <c:pt idx="9853">
                  <c:v>2.6675900000000001</c:v>
                </c:pt>
                <c:pt idx="9854">
                  <c:v>#N/A</c:v>
                </c:pt>
                <c:pt idx="9855">
                  <c:v>3.2751399999999999</c:v>
                </c:pt>
                <c:pt idx="9856">
                  <c:v>2.9289999999999998</c:v>
                </c:pt>
                <c:pt idx="9857">
                  <c:v>2.9083399999999999</c:v>
                </c:pt>
                <c:pt idx="9858">
                  <c:v>#N/A</c:v>
                </c:pt>
                <c:pt idx="9859">
                  <c:v>2.60412</c:v>
                </c:pt>
                <c:pt idx="9860">
                  <c:v>2.2749799999999998</c:v>
                </c:pt>
                <c:pt idx="9861">
                  <c:v>2.7822</c:v>
                </c:pt>
                <c:pt idx="9862">
                  <c:v>#N/A</c:v>
                </c:pt>
                <c:pt idx="9863">
                  <c:v>3.0225300000000002</c:v>
                </c:pt>
                <c:pt idx="9864">
                  <c:v>3.2196899999999999</c:v>
                </c:pt>
                <c:pt idx="9865">
                  <c:v>3.6686899999999998</c:v>
                </c:pt>
                <c:pt idx="9866">
                  <c:v>#N/A</c:v>
                </c:pt>
                <c:pt idx="9867">
                  <c:v>3.3014000000000001</c:v>
                </c:pt>
                <c:pt idx="9868">
                  <c:v>2.6334200000000001</c:v>
                </c:pt>
                <c:pt idx="9869">
                  <c:v>2.4906199999999998</c:v>
                </c:pt>
                <c:pt idx="9870">
                  <c:v>2.4105099999999999</c:v>
                </c:pt>
                <c:pt idx="9871">
                  <c:v>#N/A</c:v>
                </c:pt>
                <c:pt idx="9872">
                  <c:v>2.2980800000000001</c:v>
                </c:pt>
                <c:pt idx="9873">
                  <c:v>2.7430500000000002</c:v>
                </c:pt>
                <c:pt idx="9874">
                  <c:v>2.5395699999999999</c:v>
                </c:pt>
                <c:pt idx="9875">
                  <c:v>2.8511099999999998</c:v>
                </c:pt>
                <c:pt idx="9876">
                  <c:v>#N/A</c:v>
                </c:pt>
                <c:pt idx="9877">
                  <c:v>2.9182199999999998</c:v>
                </c:pt>
                <c:pt idx="9878">
                  <c:v>2.4841000000000002</c:v>
                </c:pt>
                <c:pt idx="9879">
                  <c:v>2.9699499999999999</c:v>
                </c:pt>
                <c:pt idx="9880">
                  <c:v>#N/A</c:v>
                </c:pt>
                <c:pt idx="9881">
                  <c:v>2.1959</c:v>
                </c:pt>
                <c:pt idx="9882">
                  <c:v>2.5898500000000002</c:v>
                </c:pt>
                <c:pt idx="9883">
                  <c:v>3.0974900000000001</c:v>
                </c:pt>
                <c:pt idx="9884">
                  <c:v>3.3300299999999998</c:v>
                </c:pt>
                <c:pt idx="9885">
                  <c:v>#N/A</c:v>
                </c:pt>
                <c:pt idx="9886">
                  <c:v>2.79514</c:v>
                </c:pt>
                <c:pt idx="9887">
                  <c:v>2.8081</c:v>
                </c:pt>
                <c:pt idx="9888">
                  <c:v>2.6106400000000001</c:v>
                </c:pt>
                <c:pt idx="9889">
                  <c:v>#N/A</c:v>
                </c:pt>
                <c:pt idx="9890">
                  <c:v>2.4753500000000002</c:v>
                </c:pt>
                <c:pt idx="9891">
                  <c:v>2.1930999999999998</c:v>
                </c:pt>
                <c:pt idx="9892">
                  <c:v>2.2930899999999999</c:v>
                </c:pt>
                <c:pt idx="9893">
                  <c:v>2.6331500000000001</c:v>
                </c:pt>
                <c:pt idx="9894">
                  <c:v>#N/A</c:v>
                </c:pt>
                <c:pt idx="9895">
                  <c:v>2.5099100000000001</c:v>
                </c:pt>
                <c:pt idx="9896">
                  <c:v>2.5196299999999998</c:v>
                </c:pt>
                <c:pt idx="9897">
                  <c:v>2.6964299999999999</c:v>
                </c:pt>
                <c:pt idx="9898">
                  <c:v>#N/A</c:v>
                </c:pt>
                <c:pt idx="9899">
                  <c:v>2.76878</c:v>
                </c:pt>
                <c:pt idx="9900">
                  <c:v>3.0615600000000001</c:v>
                </c:pt>
                <c:pt idx="9901">
                  <c:v>3.2890299999999999</c:v>
                </c:pt>
                <c:pt idx="9902">
                  <c:v>#N/A</c:v>
                </c:pt>
                <c:pt idx="9903">
                  <c:v>3.0047700000000002</c:v>
                </c:pt>
                <c:pt idx="9904">
                  <c:v>3.0121500000000001</c:v>
                </c:pt>
                <c:pt idx="9905">
                  <c:v>2.40395</c:v>
                </c:pt>
                <c:pt idx="9906">
                  <c:v>2.6161500000000002</c:v>
                </c:pt>
                <c:pt idx="9907">
                  <c:v>#N/A</c:v>
                </c:pt>
                <c:pt idx="9908">
                  <c:v>1.8658999999999999</c:v>
                </c:pt>
                <c:pt idx="9909">
                  <c:v>2.08426</c:v>
                </c:pt>
                <c:pt idx="9910">
                  <c:v>2.7298</c:v>
                </c:pt>
                <c:pt idx="9911">
                  <c:v>2.56053</c:v>
                </c:pt>
                <c:pt idx="9912">
                  <c:v>#N/A</c:v>
                </c:pt>
                <c:pt idx="9913">
                  <c:v>3.02955</c:v>
                </c:pt>
                <c:pt idx="9914">
                  <c:v>3.09735</c:v>
                </c:pt>
                <c:pt idx="9915">
                  <c:v>#N/A</c:v>
                </c:pt>
                <c:pt idx="9916">
                  <c:v>2.5174699999999999</c:v>
                </c:pt>
                <c:pt idx="9917">
                  <c:v>2.56765</c:v>
                </c:pt>
                <c:pt idx="9918">
                  <c:v>#N/A</c:v>
                </c:pt>
                <c:pt idx="9919">
                  <c:v>2.4620799999999998</c:v>
                </c:pt>
                <c:pt idx="9920">
                  <c:v>2.4975000000000001</c:v>
                </c:pt>
                <c:pt idx="9921">
                  <c:v>3.1484399999999999</c:v>
                </c:pt>
                <c:pt idx="9922">
                  <c:v>#N/A</c:v>
                </c:pt>
                <c:pt idx="9923">
                  <c:v>2.9428100000000001</c:v>
                </c:pt>
                <c:pt idx="9924">
                  <c:v>2.8370899999999999</c:v>
                </c:pt>
                <c:pt idx="9925">
                  <c:v>2.7718099999999999</c:v>
                </c:pt>
                <c:pt idx="9926">
                  <c:v>2.6472500000000001</c:v>
                </c:pt>
                <c:pt idx="9927">
                  <c:v>#N/A</c:v>
                </c:pt>
                <c:pt idx="9928">
                  <c:v>1.94309</c:v>
                </c:pt>
                <c:pt idx="9929">
                  <c:v>1.97455</c:v>
                </c:pt>
                <c:pt idx="9930">
                  <c:v>#N/A</c:v>
                </c:pt>
                <c:pt idx="9931">
                  <c:v>1.8980699999999999</c:v>
                </c:pt>
                <c:pt idx="9932">
                  <c:v>2.8186300000000002</c:v>
                </c:pt>
                <c:pt idx="9933">
                  <c:v>3.1055899999999999</c:v>
                </c:pt>
                <c:pt idx="9934">
                  <c:v>#N/A</c:v>
                </c:pt>
                <c:pt idx="9935">
                  <c:v>3.2117599999999999</c:v>
                </c:pt>
                <c:pt idx="9936">
                  <c:v>3.27136</c:v>
                </c:pt>
                <c:pt idx="9937">
                  <c:v>3.1663000000000001</c:v>
                </c:pt>
                <c:pt idx="9938">
                  <c:v>2.8361100000000001</c:v>
                </c:pt>
                <c:pt idx="9939">
                  <c:v>#N/A</c:v>
                </c:pt>
                <c:pt idx="9940">
                  <c:v>2.6197900000000001</c:v>
                </c:pt>
                <c:pt idx="9941">
                  <c:v>3.43946</c:v>
                </c:pt>
                <c:pt idx="9942">
                  <c:v>2.7426900000000001</c:v>
                </c:pt>
                <c:pt idx="9943">
                  <c:v>#N/A</c:v>
                </c:pt>
                <c:pt idx="9944">
                  <c:v>2.8255400000000002</c:v>
                </c:pt>
                <c:pt idx="9945">
                  <c:v>3.2615599999999998</c:v>
                </c:pt>
                <c:pt idx="9946">
                  <c:v>2.9694699999999998</c:v>
                </c:pt>
                <c:pt idx="9947">
                  <c:v>#N/A</c:v>
                </c:pt>
                <c:pt idx="9948">
                  <c:v>2.87012</c:v>
                </c:pt>
                <c:pt idx="9949">
                  <c:v>2.6440600000000001</c:v>
                </c:pt>
                <c:pt idx="9950">
                  <c:v>2.5060899999999999</c:v>
                </c:pt>
                <c:pt idx="9951">
                  <c:v>2.4242699999999999</c:v>
                </c:pt>
                <c:pt idx="9952">
                  <c:v>#N/A</c:v>
                </c:pt>
                <c:pt idx="9953">
                  <c:v>2.4518300000000002</c:v>
                </c:pt>
                <c:pt idx="9954">
                  <c:v>2.36754</c:v>
                </c:pt>
                <c:pt idx="9955">
                  <c:v>3.1130100000000001</c:v>
                </c:pt>
                <c:pt idx="9956">
                  <c:v>#N/A</c:v>
                </c:pt>
                <c:pt idx="9957">
                  <c:v>3.3968099999999999</c:v>
                </c:pt>
                <c:pt idx="9958">
                  <c:v>3.0259100000000001</c:v>
                </c:pt>
                <c:pt idx="9959">
                  <c:v>3.5268899999999999</c:v>
                </c:pt>
                <c:pt idx="9960">
                  <c:v>2.99668</c:v>
                </c:pt>
                <c:pt idx="9961">
                  <c:v>#N/A</c:v>
                </c:pt>
                <c:pt idx="9962">
                  <c:v>3.1698599999999999</c:v>
                </c:pt>
                <c:pt idx="9963">
                  <c:v>3.3551899999999999</c:v>
                </c:pt>
                <c:pt idx="9964">
                  <c:v>2.7342200000000001</c:v>
                </c:pt>
                <c:pt idx="9965">
                  <c:v>#N/A</c:v>
                </c:pt>
                <c:pt idx="9966">
                  <c:v>2.6774800000000001</c:v>
                </c:pt>
                <c:pt idx="9967">
                  <c:v>2.0485500000000001</c:v>
                </c:pt>
                <c:pt idx="9968">
                  <c:v>3.1365699999999999</c:v>
                </c:pt>
                <c:pt idx="9969">
                  <c:v>2.9381699999999999</c:v>
                </c:pt>
                <c:pt idx="9970">
                  <c:v>#N/A</c:v>
                </c:pt>
                <c:pt idx="9971">
                  <c:v>2.9301900000000001</c:v>
                </c:pt>
                <c:pt idx="9972">
                  <c:v>2.65279</c:v>
                </c:pt>
                <c:pt idx="9973">
                  <c:v>2.6447099999999999</c:v>
                </c:pt>
                <c:pt idx="9974">
                  <c:v>#N/A</c:v>
                </c:pt>
                <c:pt idx="9975">
                  <c:v>2.92537</c:v>
                </c:pt>
                <c:pt idx="9976">
                  <c:v>2.8209499999999998</c:v>
                </c:pt>
                <c:pt idx="9977">
                  <c:v>3.2488700000000001</c:v>
                </c:pt>
                <c:pt idx="9978">
                  <c:v>3.0774499999999998</c:v>
                </c:pt>
                <c:pt idx="9979">
                  <c:v>#N/A</c:v>
                </c:pt>
                <c:pt idx="9980">
                  <c:v>3.0204399999999998</c:v>
                </c:pt>
                <c:pt idx="9981">
                  <c:v>2.7202999999999999</c:v>
                </c:pt>
                <c:pt idx="9982">
                  <c:v>2.2768700000000002</c:v>
                </c:pt>
                <c:pt idx="9983">
                  <c:v>#N/A</c:v>
                </c:pt>
                <c:pt idx="9984">
                  <c:v>0.76562600000000003</c:v>
                </c:pt>
                <c:pt idx="9985">
                  <c:v>5.7941399999999997E-2</c:v>
                </c:pt>
                <c:pt idx="9986">
                  <c:v>#N/A</c:v>
                </c:pt>
                <c:pt idx="9987">
                  <c:v>-3.55002</c:v>
                </c:pt>
                <c:pt idx="9988">
                  <c:v>-7.0975299999999999</c:v>
                </c:pt>
                <c:pt idx="9989">
                  <c:v>-10.976100000000001</c:v>
                </c:pt>
                <c:pt idx="9990">
                  <c:v>#N/A</c:v>
                </c:pt>
                <c:pt idx="9991">
                  <c:v>-12.828200000000001</c:v>
                </c:pt>
                <c:pt idx="9992">
                  <c:v>-14.7494</c:v>
                </c:pt>
                <c:pt idx="9993">
                  <c:v>-15.8828</c:v>
                </c:pt>
                <c:pt idx="9994">
                  <c:v>-16.9617</c:v>
                </c:pt>
                <c:pt idx="9995">
                  <c:v>#N/A</c:v>
                </c:pt>
                <c:pt idx="9996">
                  <c:v>-18.068899999999999</c:v>
                </c:pt>
                <c:pt idx="9997">
                  <c:v>-19.061399999999999</c:v>
                </c:pt>
                <c:pt idx="9998">
                  <c:v>-20.092300000000002</c:v>
                </c:pt>
                <c:pt idx="9999">
                  <c:v>-19.6855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8DE-4D10-A0C9-721D6160D7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1194983519"/>
      </c:lineChart>
      <c:valAx>
        <c:axId val="11949835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"/>
        <c:crosses val="autoZero"/>
        <c:crossBetween val="between"/>
      </c:valAx>
      <c:catAx>
        <c:axId val="1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1194983519"/>
        <c:crosses val="autoZero"/>
        <c:auto val="1"/>
        <c:lblAlgn val="ctr"/>
        <c:lblOffset val="0"/>
        <c:tickLblSkip val="255"/>
        <c:tickMarkSkip val="1"/>
        <c:noMultiLvlLbl val="1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showDLblsOverMax val="1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Data!$A$1</c:f>
          <c:strCache>
            <c:ptCount val="1"/>
            <c:pt idx="0">
              <c:v>Track Axis Measurements</c:v>
            </c:pt>
          </c:strCache>
        </c:strRef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Torqu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a!$A$3:$A$6914</c:f>
              <c:strCache>
                <c:ptCount val="6912"/>
                <c:pt idx="0">
                  <c:v>0</c:v>
                </c:pt>
                <c:pt idx="1">
                  <c:v>5.04E-4</c:v>
                </c:pt>
                <c:pt idx="2">
                  <c:v>0.001008</c:v>
                </c:pt>
                <c:pt idx="3">
                  <c:v>0.001512</c:v>
                </c:pt>
                <c:pt idx="4">
                  <c:v>0.002016</c:v>
                </c:pt>
                <c:pt idx="5">
                  <c:v>0.00252</c:v>
                </c:pt>
                <c:pt idx="6">
                  <c:v>0.003024</c:v>
                </c:pt>
                <c:pt idx="7">
                  <c:v>0.003528</c:v>
                </c:pt>
                <c:pt idx="8">
                  <c:v>0.004032</c:v>
                </c:pt>
                <c:pt idx="9">
                  <c:v>0.004536</c:v>
                </c:pt>
                <c:pt idx="10">
                  <c:v>0.00504</c:v>
                </c:pt>
                <c:pt idx="11">
                  <c:v>0.005544</c:v>
                </c:pt>
                <c:pt idx="12">
                  <c:v>0.006048</c:v>
                </c:pt>
                <c:pt idx="13">
                  <c:v>0.006552</c:v>
                </c:pt>
                <c:pt idx="14">
                  <c:v>0.007056</c:v>
                </c:pt>
                <c:pt idx="15">
                  <c:v>0.00756</c:v>
                </c:pt>
                <c:pt idx="16">
                  <c:v>0.008064</c:v>
                </c:pt>
                <c:pt idx="17">
                  <c:v>0.008568</c:v>
                </c:pt>
                <c:pt idx="18">
                  <c:v>0.009072</c:v>
                </c:pt>
                <c:pt idx="19">
                  <c:v>0.009576</c:v>
                </c:pt>
                <c:pt idx="20">
                  <c:v>0.01008</c:v>
                </c:pt>
                <c:pt idx="21">
                  <c:v>0.010584</c:v>
                </c:pt>
                <c:pt idx="22">
                  <c:v>0.011088</c:v>
                </c:pt>
                <c:pt idx="23">
                  <c:v>0.011592</c:v>
                </c:pt>
                <c:pt idx="24">
                  <c:v>0.012096</c:v>
                </c:pt>
                <c:pt idx="25">
                  <c:v>0.0126</c:v>
                </c:pt>
                <c:pt idx="26">
                  <c:v>0.013104</c:v>
                </c:pt>
                <c:pt idx="27">
                  <c:v>0.013608</c:v>
                </c:pt>
                <c:pt idx="28">
                  <c:v>0.014112</c:v>
                </c:pt>
                <c:pt idx="29">
                  <c:v>0.014616</c:v>
                </c:pt>
                <c:pt idx="30">
                  <c:v>0.01512</c:v>
                </c:pt>
                <c:pt idx="31">
                  <c:v>0.015624</c:v>
                </c:pt>
                <c:pt idx="32">
                  <c:v>0.016128</c:v>
                </c:pt>
                <c:pt idx="33">
                  <c:v>0.016632</c:v>
                </c:pt>
                <c:pt idx="34">
                  <c:v>0.017136</c:v>
                </c:pt>
                <c:pt idx="35">
                  <c:v>0.01764</c:v>
                </c:pt>
                <c:pt idx="36">
                  <c:v>0.018144</c:v>
                </c:pt>
                <c:pt idx="37">
                  <c:v>0.018648</c:v>
                </c:pt>
                <c:pt idx="38">
                  <c:v>0.019152</c:v>
                </c:pt>
                <c:pt idx="39">
                  <c:v>0.019656</c:v>
                </c:pt>
                <c:pt idx="40">
                  <c:v>0.02016</c:v>
                </c:pt>
                <c:pt idx="41">
                  <c:v>0.020664</c:v>
                </c:pt>
                <c:pt idx="42">
                  <c:v>0.021168</c:v>
                </c:pt>
                <c:pt idx="43">
                  <c:v>0.021672</c:v>
                </c:pt>
                <c:pt idx="44">
                  <c:v>0.022176</c:v>
                </c:pt>
                <c:pt idx="45">
                  <c:v>0.02268</c:v>
                </c:pt>
                <c:pt idx="46">
                  <c:v>0.023184</c:v>
                </c:pt>
                <c:pt idx="47">
                  <c:v>0.023688</c:v>
                </c:pt>
                <c:pt idx="48">
                  <c:v>0.024192</c:v>
                </c:pt>
                <c:pt idx="49">
                  <c:v>0.024696</c:v>
                </c:pt>
                <c:pt idx="50">
                  <c:v>0.0252</c:v>
                </c:pt>
                <c:pt idx="51">
                  <c:v>0.025704</c:v>
                </c:pt>
                <c:pt idx="52">
                  <c:v>0.026208</c:v>
                </c:pt>
                <c:pt idx="53">
                  <c:v>0.026712</c:v>
                </c:pt>
                <c:pt idx="54">
                  <c:v>0.027216</c:v>
                </c:pt>
                <c:pt idx="55">
                  <c:v>0.02772</c:v>
                </c:pt>
                <c:pt idx="56">
                  <c:v>0.028224</c:v>
                </c:pt>
                <c:pt idx="57">
                  <c:v>0.028728</c:v>
                </c:pt>
                <c:pt idx="58">
                  <c:v>0.029232</c:v>
                </c:pt>
                <c:pt idx="59">
                  <c:v>0.029736</c:v>
                </c:pt>
                <c:pt idx="60">
                  <c:v>0.03024</c:v>
                </c:pt>
                <c:pt idx="61">
                  <c:v>0.030744</c:v>
                </c:pt>
                <c:pt idx="62">
                  <c:v>0.031248</c:v>
                </c:pt>
                <c:pt idx="63">
                  <c:v>0.031752</c:v>
                </c:pt>
                <c:pt idx="64">
                  <c:v>0.032256</c:v>
                </c:pt>
                <c:pt idx="65">
                  <c:v>0.03276</c:v>
                </c:pt>
                <c:pt idx="66">
                  <c:v>0.033264</c:v>
                </c:pt>
                <c:pt idx="67">
                  <c:v>0.033768</c:v>
                </c:pt>
                <c:pt idx="68">
                  <c:v>0.034272</c:v>
                </c:pt>
                <c:pt idx="69">
                  <c:v>0.034776</c:v>
                </c:pt>
                <c:pt idx="70">
                  <c:v>0.03528</c:v>
                </c:pt>
                <c:pt idx="71">
                  <c:v>0.035784</c:v>
                </c:pt>
                <c:pt idx="72">
                  <c:v>0.036288</c:v>
                </c:pt>
                <c:pt idx="73">
                  <c:v>0.036792</c:v>
                </c:pt>
                <c:pt idx="74">
                  <c:v>0.037296</c:v>
                </c:pt>
                <c:pt idx="75">
                  <c:v>0.0378</c:v>
                </c:pt>
                <c:pt idx="76">
                  <c:v>0.038304</c:v>
                </c:pt>
                <c:pt idx="77">
                  <c:v>0.038808</c:v>
                </c:pt>
                <c:pt idx="78">
                  <c:v>0.039312</c:v>
                </c:pt>
                <c:pt idx="79">
                  <c:v>0.039816</c:v>
                </c:pt>
                <c:pt idx="80">
                  <c:v>0.04032</c:v>
                </c:pt>
                <c:pt idx="81">
                  <c:v>0.040824</c:v>
                </c:pt>
                <c:pt idx="82">
                  <c:v>0.041328</c:v>
                </c:pt>
                <c:pt idx="83">
                  <c:v>0.041832</c:v>
                </c:pt>
                <c:pt idx="84">
                  <c:v>0.042336</c:v>
                </c:pt>
                <c:pt idx="85">
                  <c:v>0.04284</c:v>
                </c:pt>
                <c:pt idx="86">
                  <c:v>0.043344</c:v>
                </c:pt>
                <c:pt idx="87">
                  <c:v>0.043848</c:v>
                </c:pt>
                <c:pt idx="88">
                  <c:v>0.044352</c:v>
                </c:pt>
                <c:pt idx="89">
                  <c:v>0.044856</c:v>
                </c:pt>
                <c:pt idx="90">
                  <c:v>0.04536</c:v>
                </c:pt>
                <c:pt idx="91">
                  <c:v>0.045864</c:v>
                </c:pt>
                <c:pt idx="92">
                  <c:v>0.046368</c:v>
                </c:pt>
                <c:pt idx="93">
                  <c:v>0.046872</c:v>
                </c:pt>
                <c:pt idx="94">
                  <c:v>0.047376</c:v>
                </c:pt>
                <c:pt idx="95">
                  <c:v>0.04788</c:v>
                </c:pt>
                <c:pt idx="96">
                  <c:v>0.048384</c:v>
                </c:pt>
                <c:pt idx="97">
                  <c:v>0.048888</c:v>
                </c:pt>
                <c:pt idx="98">
                  <c:v>0.049392</c:v>
                </c:pt>
                <c:pt idx="99">
                  <c:v>0.049896</c:v>
                </c:pt>
                <c:pt idx="100">
                  <c:v>0.0504</c:v>
                </c:pt>
                <c:pt idx="101">
                  <c:v>0.050904</c:v>
                </c:pt>
                <c:pt idx="102">
                  <c:v>0.051408</c:v>
                </c:pt>
                <c:pt idx="103">
                  <c:v>0.051912</c:v>
                </c:pt>
                <c:pt idx="104">
                  <c:v>0.052416</c:v>
                </c:pt>
                <c:pt idx="105">
                  <c:v>0.05292</c:v>
                </c:pt>
                <c:pt idx="106">
                  <c:v>0.053424</c:v>
                </c:pt>
                <c:pt idx="107">
                  <c:v>0.053928</c:v>
                </c:pt>
                <c:pt idx="108">
                  <c:v>0.054432</c:v>
                </c:pt>
                <c:pt idx="109">
                  <c:v>0.054936</c:v>
                </c:pt>
                <c:pt idx="110">
                  <c:v>0.05544</c:v>
                </c:pt>
                <c:pt idx="111">
                  <c:v>0.055944</c:v>
                </c:pt>
                <c:pt idx="112">
                  <c:v>0.056448</c:v>
                </c:pt>
                <c:pt idx="113">
                  <c:v>0.056952</c:v>
                </c:pt>
                <c:pt idx="114">
                  <c:v>0.057456</c:v>
                </c:pt>
                <c:pt idx="115">
                  <c:v>0.05796</c:v>
                </c:pt>
                <c:pt idx="116">
                  <c:v>0.058464</c:v>
                </c:pt>
                <c:pt idx="117">
                  <c:v>0.058968</c:v>
                </c:pt>
                <c:pt idx="118">
                  <c:v>0.059472</c:v>
                </c:pt>
                <c:pt idx="119">
                  <c:v>0.059976</c:v>
                </c:pt>
                <c:pt idx="120">
                  <c:v>0.06048</c:v>
                </c:pt>
                <c:pt idx="121">
                  <c:v>0.060984</c:v>
                </c:pt>
                <c:pt idx="122">
                  <c:v>0.061488</c:v>
                </c:pt>
                <c:pt idx="123">
                  <c:v>0.061992</c:v>
                </c:pt>
                <c:pt idx="124">
                  <c:v>0.062496</c:v>
                </c:pt>
                <c:pt idx="125">
                  <c:v>0.063</c:v>
                </c:pt>
                <c:pt idx="126">
                  <c:v>0.063504</c:v>
                </c:pt>
                <c:pt idx="127">
                  <c:v>0.064008</c:v>
                </c:pt>
                <c:pt idx="128">
                  <c:v>0.064512</c:v>
                </c:pt>
                <c:pt idx="129">
                  <c:v>0.065016</c:v>
                </c:pt>
                <c:pt idx="130">
                  <c:v>0.06552</c:v>
                </c:pt>
                <c:pt idx="131">
                  <c:v>0.066024</c:v>
                </c:pt>
                <c:pt idx="132">
                  <c:v>0.066528</c:v>
                </c:pt>
                <c:pt idx="133">
                  <c:v>0.067032</c:v>
                </c:pt>
                <c:pt idx="134">
                  <c:v>0.067536</c:v>
                </c:pt>
                <c:pt idx="135">
                  <c:v>0.06804</c:v>
                </c:pt>
                <c:pt idx="136">
                  <c:v>0.068544</c:v>
                </c:pt>
                <c:pt idx="137">
                  <c:v>0.069048</c:v>
                </c:pt>
                <c:pt idx="138">
                  <c:v>0.069552</c:v>
                </c:pt>
                <c:pt idx="139">
                  <c:v>0.070056</c:v>
                </c:pt>
                <c:pt idx="140">
                  <c:v>0.07056</c:v>
                </c:pt>
                <c:pt idx="141">
                  <c:v>0.071064</c:v>
                </c:pt>
                <c:pt idx="142">
                  <c:v>0.071568</c:v>
                </c:pt>
                <c:pt idx="143">
                  <c:v>0.072072</c:v>
                </c:pt>
                <c:pt idx="144">
                  <c:v>0.072576</c:v>
                </c:pt>
                <c:pt idx="145">
                  <c:v>0.07308</c:v>
                </c:pt>
                <c:pt idx="146">
                  <c:v>0.073584</c:v>
                </c:pt>
                <c:pt idx="147">
                  <c:v>0.074088</c:v>
                </c:pt>
                <c:pt idx="148">
                  <c:v>0.074592</c:v>
                </c:pt>
                <c:pt idx="149">
                  <c:v>0.075096</c:v>
                </c:pt>
                <c:pt idx="150">
                  <c:v>0.0756</c:v>
                </c:pt>
                <c:pt idx="151">
                  <c:v>0.076104</c:v>
                </c:pt>
                <c:pt idx="152">
                  <c:v>0.076608</c:v>
                </c:pt>
                <c:pt idx="153">
                  <c:v>0.077112</c:v>
                </c:pt>
                <c:pt idx="154">
                  <c:v>0.077616</c:v>
                </c:pt>
                <c:pt idx="155">
                  <c:v>0.07812</c:v>
                </c:pt>
                <c:pt idx="156">
                  <c:v>0.078624</c:v>
                </c:pt>
                <c:pt idx="157">
                  <c:v>0.079128</c:v>
                </c:pt>
                <c:pt idx="158">
                  <c:v>0.079632</c:v>
                </c:pt>
                <c:pt idx="159">
                  <c:v>0.080136</c:v>
                </c:pt>
                <c:pt idx="160">
                  <c:v>0.08064</c:v>
                </c:pt>
                <c:pt idx="161">
                  <c:v>0.081144</c:v>
                </c:pt>
                <c:pt idx="162">
                  <c:v>0.081648</c:v>
                </c:pt>
                <c:pt idx="163">
                  <c:v>0.082152</c:v>
                </c:pt>
                <c:pt idx="164">
                  <c:v>0.082656</c:v>
                </c:pt>
                <c:pt idx="165">
                  <c:v>0.08316</c:v>
                </c:pt>
                <c:pt idx="166">
                  <c:v>0.083664</c:v>
                </c:pt>
                <c:pt idx="167">
                  <c:v>0.084168</c:v>
                </c:pt>
                <c:pt idx="168">
                  <c:v>0.084672</c:v>
                </c:pt>
                <c:pt idx="169">
                  <c:v>0.085176</c:v>
                </c:pt>
                <c:pt idx="170">
                  <c:v>0.08568</c:v>
                </c:pt>
                <c:pt idx="171">
                  <c:v>0.086184</c:v>
                </c:pt>
                <c:pt idx="172">
                  <c:v>0.086688</c:v>
                </c:pt>
                <c:pt idx="173">
                  <c:v>0.087192</c:v>
                </c:pt>
                <c:pt idx="174">
                  <c:v>0.087696</c:v>
                </c:pt>
                <c:pt idx="175">
                  <c:v>0.0882</c:v>
                </c:pt>
                <c:pt idx="176">
                  <c:v>0.088704</c:v>
                </c:pt>
                <c:pt idx="177">
                  <c:v>0.089208</c:v>
                </c:pt>
                <c:pt idx="178">
                  <c:v>0.089712</c:v>
                </c:pt>
                <c:pt idx="179">
                  <c:v>0.090216</c:v>
                </c:pt>
                <c:pt idx="180">
                  <c:v>0.09072</c:v>
                </c:pt>
                <c:pt idx="181">
                  <c:v>0.091224</c:v>
                </c:pt>
                <c:pt idx="182">
                  <c:v>0.091728</c:v>
                </c:pt>
                <c:pt idx="183">
                  <c:v>0.092232</c:v>
                </c:pt>
                <c:pt idx="184">
                  <c:v>0.092736</c:v>
                </c:pt>
                <c:pt idx="185">
                  <c:v>0.09324</c:v>
                </c:pt>
                <c:pt idx="186">
                  <c:v>0.093744</c:v>
                </c:pt>
                <c:pt idx="187">
                  <c:v>0.094248</c:v>
                </c:pt>
                <c:pt idx="188">
                  <c:v>0.094752</c:v>
                </c:pt>
                <c:pt idx="189">
                  <c:v>0.095256</c:v>
                </c:pt>
                <c:pt idx="190">
                  <c:v>0.09576</c:v>
                </c:pt>
                <c:pt idx="191">
                  <c:v>0.096264</c:v>
                </c:pt>
                <c:pt idx="192">
                  <c:v>0.096768</c:v>
                </c:pt>
                <c:pt idx="193">
                  <c:v>0.097272</c:v>
                </c:pt>
                <c:pt idx="194">
                  <c:v>0.097776</c:v>
                </c:pt>
                <c:pt idx="195">
                  <c:v>0.09828</c:v>
                </c:pt>
                <c:pt idx="196">
                  <c:v>0.098784</c:v>
                </c:pt>
                <c:pt idx="197">
                  <c:v>0.099288</c:v>
                </c:pt>
                <c:pt idx="198">
                  <c:v>0.099792</c:v>
                </c:pt>
                <c:pt idx="199">
                  <c:v>0.100296</c:v>
                </c:pt>
                <c:pt idx="200">
                  <c:v>0.1008</c:v>
                </c:pt>
                <c:pt idx="201">
                  <c:v>0.101304</c:v>
                </c:pt>
                <c:pt idx="202">
                  <c:v>0.101808</c:v>
                </c:pt>
                <c:pt idx="203">
                  <c:v>0.102312</c:v>
                </c:pt>
                <c:pt idx="204">
                  <c:v>0.102816</c:v>
                </c:pt>
                <c:pt idx="205">
                  <c:v>0.10332</c:v>
                </c:pt>
                <c:pt idx="206">
                  <c:v>0.103824</c:v>
                </c:pt>
                <c:pt idx="207">
                  <c:v>0.104328</c:v>
                </c:pt>
                <c:pt idx="208">
                  <c:v>0.104832</c:v>
                </c:pt>
                <c:pt idx="209">
                  <c:v>0.105336</c:v>
                </c:pt>
                <c:pt idx="210">
                  <c:v>0.10584</c:v>
                </c:pt>
                <c:pt idx="211">
                  <c:v>0.106344</c:v>
                </c:pt>
                <c:pt idx="212">
                  <c:v>0.106848</c:v>
                </c:pt>
                <c:pt idx="213">
                  <c:v>0.107352</c:v>
                </c:pt>
                <c:pt idx="214">
                  <c:v>0.107856</c:v>
                </c:pt>
                <c:pt idx="215">
                  <c:v>0.10836</c:v>
                </c:pt>
                <c:pt idx="216">
                  <c:v>0.108864</c:v>
                </c:pt>
                <c:pt idx="217">
                  <c:v>0.109368</c:v>
                </c:pt>
                <c:pt idx="218">
                  <c:v>0.109872</c:v>
                </c:pt>
                <c:pt idx="219">
                  <c:v>0.110376</c:v>
                </c:pt>
                <c:pt idx="220">
                  <c:v>0.11088</c:v>
                </c:pt>
                <c:pt idx="221">
                  <c:v>0.111384</c:v>
                </c:pt>
                <c:pt idx="222">
                  <c:v>0.111888</c:v>
                </c:pt>
                <c:pt idx="223">
                  <c:v>0.112392</c:v>
                </c:pt>
                <c:pt idx="224">
                  <c:v>0.112896</c:v>
                </c:pt>
                <c:pt idx="225">
                  <c:v>0.1134</c:v>
                </c:pt>
                <c:pt idx="226">
                  <c:v>0.113904</c:v>
                </c:pt>
                <c:pt idx="227">
                  <c:v>0.114408</c:v>
                </c:pt>
                <c:pt idx="228">
                  <c:v>0.114912</c:v>
                </c:pt>
                <c:pt idx="229">
                  <c:v>0.115416</c:v>
                </c:pt>
                <c:pt idx="230">
                  <c:v>0.11592</c:v>
                </c:pt>
                <c:pt idx="231">
                  <c:v>0.116424</c:v>
                </c:pt>
                <c:pt idx="232">
                  <c:v>0.116928</c:v>
                </c:pt>
                <c:pt idx="233">
                  <c:v>0.117432</c:v>
                </c:pt>
                <c:pt idx="234">
                  <c:v>0.117936</c:v>
                </c:pt>
                <c:pt idx="235">
                  <c:v>0.11844</c:v>
                </c:pt>
                <c:pt idx="236">
                  <c:v>0.118944</c:v>
                </c:pt>
                <c:pt idx="237">
                  <c:v>0.119448</c:v>
                </c:pt>
                <c:pt idx="238">
                  <c:v>0.119952</c:v>
                </c:pt>
                <c:pt idx="239">
                  <c:v>0.120456</c:v>
                </c:pt>
                <c:pt idx="240">
                  <c:v>0.12096</c:v>
                </c:pt>
                <c:pt idx="241">
                  <c:v>0.121464</c:v>
                </c:pt>
                <c:pt idx="242">
                  <c:v>0.121968</c:v>
                </c:pt>
                <c:pt idx="243">
                  <c:v>0.122472</c:v>
                </c:pt>
                <c:pt idx="244">
                  <c:v>0.122976</c:v>
                </c:pt>
                <c:pt idx="245">
                  <c:v>0.12348</c:v>
                </c:pt>
                <c:pt idx="246">
                  <c:v>0.123984</c:v>
                </c:pt>
                <c:pt idx="247">
                  <c:v>0.124488</c:v>
                </c:pt>
                <c:pt idx="248">
                  <c:v>0.124992</c:v>
                </c:pt>
                <c:pt idx="249">
                  <c:v>0.125496</c:v>
                </c:pt>
                <c:pt idx="250">
                  <c:v>0.126</c:v>
                </c:pt>
                <c:pt idx="251">
                  <c:v>0.126504</c:v>
                </c:pt>
                <c:pt idx="252">
                  <c:v>0.127008</c:v>
                </c:pt>
                <c:pt idx="253">
                  <c:v>0.127512</c:v>
                </c:pt>
                <c:pt idx="254">
                  <c:v>0.128016</c:v>
                </c:pt>
                <c:pt idx="255">
                  <c:v>0.12852</c:v>
                </c:pt>
                <c:pt idx="256">
                  <c:v>0.129024</c:v>
                </c:pt>
                <c:pt idx="257">
                  <c:v>0.129528</c:v>
                </c:pt>
                <c:pt idx="258">
                  <c:v>0.130032</c:v>
                </c:pt>
                <c:pt idx="259">
                  <c:v>0.130536</c:v>
                </c:pt>
                <c:pt idx="260">
                  <c:v>0.13104</c:v>
                </c:pt>
                <c:pt idx="261">
                  <c:v>0.131544</c:v>
                </c:pt>
                <c:pt idx="262">
                  <c:v>0.132048</c:v>
                </c:pt>
                <c:pt idx="263">
                  <c:v>0.132552</c:v>
                </c:pt>
                <c:pt idx="264">
                  <c:v>0.133056</c:v>
                </c:pt>
                <c:pt idx="265">
                  <c:v>0.13356</c:v>
                </c:pt>
                <c:pt idx="266">
                  <c:v>0.134064</c:v>
                </c:pt>
                <c:pt idx="267">
                  <c:v>0.134568</c:v>
                </c:pt>
                <c:pt idx="268">
                  <c:v>0.135072</c:v>
                </c:pt>
                <c:pt idx="269">
                  <c:v>0.135576</c:v>
                </c:pt>
                <c:pt idx="270">
                  <c:v>0.13608</c:v>
                </c:pt>
                <c:pt idx="271">
                  <c:v>0.136584</c:v>
                </c:pt>
                <c:pt idx="272">
                  <c:v>0.137088</c:v>
                </c:pt>
                <c:pt idx="273">
                  <c:v>0.137592</c:v>
                </c:pt>
                <c:pt idx="274">
                  <c:v>0.138096</c:v>
                </c:pt>
                <c:pt idx="275">
                  <c:v>0.1386</c:v>
                </c:pt>
                <c:pt idx="276">
                  <c:v>0.139104</c:v>
                </c:pt>
                <c:pt idx="277">
                  <c:v>0.139608</c:v>
                </c:pt>
                <c:pt idx="278">
                  <c:v>0.140112</c:v>
                </c:pt>
                <c:pt idx="279">
                  <c:v>0.140616</c:v>
                </c:pt>
                <c:pt idx="280">
                  <c:v>0.14112</c:v>
                </c:pt>
                <c:pt idx="281">
                  <c:v>0.141624</c:v>
                </c:pt>
                <c:pt idx="282">
                  <c:v>0.142128</c:v>
                </c:pt>
                <c:pt idx="283">
                  <c:v>0.142632</c:v>
                </c:pt>
                <c:pt idx="284">
                  <c:v>0.143136</c:v>
                </c:pt>
                <c:pt idx="285">
                  <c:v>0.14364</c:v>
                </c:pt>
                <c:pt idx="286">
                  <c:v>0.144144</c:v>
                </c:pt>
                <c:pt idx="287">
                  <c:v>0.144648</c:v>
                </c:pt>
                <c:pt idx="288">
                  <c:v>0.145152</c:v>
                </c:pt>
                <c:pt idx="289">
                  <c:v>0.145656</c:v>
                </c:pt>
                <c:pt idx="290">
                  <c:v>0.14616</c:v>
                </c:pt>
                <c:pt idx="291">
                  <c:v>0.146664</c:v>
                </c:pt>
                <c:pt idx="292">
                  <c:v>0.147168</c:v>
                </c:pt>
                <c:pt idx="293">
                  <c:v>0.147672</c:v>
                </c:pt>
                <c:pt idx="294">
                  <c:v>0.148176</c:v>
                </c:pt>
                <c:pt idx="295">
                  <c:v>0.14868</c:v>
                </c:pt>
                <c:pt idx="296">
                  <c:v>0.149184</c:v>
                </c:pt>
                <c:pt idx="297">
                  <c:v>0.149688</c:v>
                </c:pt>
                <c:pt idx="298">
                  <c:v>0.150192</c:v>
                </c:pt>
                <c:pt idx="299">
                  <c:v>0.150696</c:v>
                </c:pt>
                <c:pt idx="300">
                  <c:v>0.1512</c:v>
                </c:pt>
                <c:pt idx="301">
                  <c:v>0.151704</c:v>
                </c:pt>
                <c:pt idx="302">
                  <c:v>0.152208</c:v>
                </c:pt>
                <c:pt idx="303">
                  <c:v>0.152712</c:v>
                </c:pt>
                <c:pt idx="304">
                  <c:v>0.153216</c:v>
                </c:pt>
                <c:pt idx="305">
                  <c:v>0.15372</c:v>
                </c:pt>
                <c:pt idx="306">
                  <c:v>0.154224</c:v>
                </c:pt>
                <c:pt idx="307">
                  <c:v>0.154728</c:v>
                </c:pt>
                <c:pt idx="308">
                  <c:v>0.155232</c:v>
                </c:pt>
                <c:pt idx="309">
                  <c:v>0.155736</c:v>
                </c:pt>
                <c:pt idx="310">
                  <c:v>0.15624</c:v>
                </c:pt>
                <c:pt idx="311">
                  <c:v>0.156744</c:v>
                </c:pt>
                <c:pt idx="312">
                  <c:v>0.157248</c:v>
                </c:pt>
                <c:pt idx="313">
                  <c:v>0.157752</c:v>
                </c:pt>
                <c:pt idx="314">
                  <c:v>0.158256</c:v>
                </c:pt>
                <c:pt idx="315">
                  <c:v>0.15876</c:v>
                </c:pt>
                <c:pt idx="316">
                  <c:v>0.159264</c:v>
                </c:pt>
                <c:pt idx="317">
                  <c:v>0.159768</c:v>
                </c:pt>
                <c:pt idx="318">
                  <c:v>0.160272</c:v>
                </c:pt>
                <c:pt idx="319">
                  <c:v>0.160776</c:v>
                </c:pt>
                <c:pt idx="320">
                  <c:v>0.16128</c:v>
                </c:pt>
                <c:pt idx="321">
                  <c:v>0.161784</c:v>
                </c:pt>
                <c:pt idx="322">
                  <c:v>0.162288</c:v>
                </c:pt>
                <c:pt idx="323">
                  <c:v>0.162792</c:v>
                </c:pt>
                <c:pt idx="324">
                  <c:v>0.163296</c:v>
                </c:pt>
                <c:pt idx="325">
                  <c:v>0.1638</c:v>
                </c:pt>
                <c:pt idx="326">
                  <c:v>0.164304</c:v>
                </c:pt>
                <c:pt idx="327">
                  <c:v>0.164808</c:v>
                </c:pt>
                <c:pt idx="328">
                  <c:v>0.165312</c:v>
                </c:pt>
                <c:pt idx="329">
                  <c:v>0.165816</c:v>
                </c:pt>
                <c:pt idx="330">
                  <c:v>0.16632</c:v>
                </c:pt>
                <c:pt idx="331">
                  <c:v>0.166824</c:v>
                </c:pt>
                <c:pt idx="332">
                  <c:v>0.167328</c:v>
                </c:pt>
                <c:pt idx="333">
                  <c:v>0.167832</c:v>
                </c:pt>
                <c:pt idx="334">
                  <c:v>0.168336</c:v>
                </c:pt>
                <c:pt idx="335">
                  <c:v>0.16884</c:v>
                </c:pt>
                <c:pt idx="336">
                  <c:v>0.169344</c:v>
                </c:pt>
                <c:pt idx="337">
                  <c:v>0.169848</c:v>
                </c:pt>
                <c:pt idx="338">
                  <c:v>0.170352</c:v>
                </c:pt>
                <c:pt idx="339">
                  <c:v>0.170856</c:v>
                </c:pt>
                <c:pt idx="340">
                  <c:v>0.17136</c:v>
                </c:pt>
                <c:pt idx="341">
                  <c:v>0.171864</c:v>
                </c:pt>
                <c:pt idx="342">
                  <c:v>0.172368</c:v>
                </c:pt>
                <c:pt idx="343">
                  <c:v>0.172872</c:v>
                </c:pt>
                <c:pt idx="344">
                  <c:v>0.173376</c:v>
                </c:pt>
                <c:pt idx="345">
                  <c:v>0.17388</c:v>
                </c:pt>
                <c:pt idx="346">
                  <c:v>0.174384</c:v>
                </c:pt>
                <c:pt idx="347">
                  <c:v>0.174888</c:v>
                </c:pt>
                <c:pt idx="348">
                  <c:v>0.175392</c:v>
                </c:pt>
                <c:pt idx="349">
                  <c:v>0.175896</c:v>
                </c:pt>
                <c:pt idx="350">
                  <c:v>0.1764</c:v>
                </c:pt>
                <c:pt idx="351">
                  <c:v>0.176904</c:v>
                </c:pt>
                <c:pt idx="352">
                  <c:v>0.177408</c:v>
                </c:pt>
                <c:pt idx="353">
                  <c:v>0.177912</c:v>
                </c:pt>
                <c:pt idx="354">
                  <c:v>0.178416</c:v>
                </c:pt>
                <c:pt idx="355">
                  <c:v>0.17892</c:v>
                </c:pt>
                <c:pt idx="356">
                  <c:v>0.179424</c:v>
                </c:pt>
                <c:pt idx="357">
                  <c:v>0.179928</c:v>
                </c:pt>
                <c:pt idx="358">
                  <c:v>0.180432</c:v>
                </c:pt>
                <c:pt idx="359">
                  <c:v>0.180936</c:v>
                </c:pt>
                <c:pt idx="360">
                  <c:v>0.18144</c:v>
                </c:pt>
                <c:pt idx="361">
                  <c:v>0.181944</c:v>
                </c:pt>
                <c:pt idx="362">
                  <c:v>0.182448</c:v>
                </c:pt>
                <c:pt idx="363">
                  <c:v>0.182952</c:v>
                </c:pt>
                <c:pt idx="364">
                  <c:v>0.183456</c:v>
                </c:pt>
                <c:pt idx="365">
                  <c:v>0.18396</c:v>
                </c:pt>
                <c:pt idx="366">
                  <c:v>0.184464</c:v>
                </c:pt>
                <c:pt idx="367">
                  <c:v>0.184968</c:v>
                </c:pt>
                <c:pt idx="368">
                  <c:v>0.185472</c:v>
                </c:pt>
                <c:pt idx="369">
                  <c:v>0.185976</c:v>
                </c:pt>
                <c:pt idx="370">
                  <c:v>0.18648</c:v>
                </c:pt>
                <c:pt idx="371">
                  <c:v>0.186984</c:v>
                </c:pt>
                <c:pt idx="372">
                  <c:v>0.187488</c:v>
                </c:pt>
                <c:pt idx="373">
                  <c:v>0.187992</c:v>
                </c:pt>
                <c:pt idx="374">
                  <c:v>0.188496</c:v>
                </c:pt>
                <c:pt idx="375">
                  <c:v>0.189</c:v>
                </c:pt>
                <c:pt idx="376">
                  <c:v>0.189504</c:v>
                </c:pt>
                <c:pt idx="377">
                  <c:v>0.190008</c:v>
                </c:pt>
                <c:pt idx="378">
                  <c:v>0.190512</c:v>
                </c:pt>
                <c:pt idx="379">
                  <c:v>0.191016</c:v>
                </c:pt>
                <c:pt idx="380">
                  <c:v>0.19152</c:v>
                </c:pt>
                <c:pt idx="381">
                  <c:v>0.192024</c:v>
                </c:pt>
                <c:pt idx="382">
                  <c:v>0.192528</c:v>
                </c:pt>
                <c:pt idx="383">
                  <c:v>0.193032</c:v>
                </c:pt>
                <c:pt idx="384">
                  <c:v>0.193536</c:v>
                </c:pt>
                <c:pt idx="385">
                  <c:v>0.19404</c:v>
                </c:pt>
                <c:pt idx="386">
                  <c:v>0.194544</c:v>
                </c:pt>
                <c:pt idx="387">
                  <c:v>0.195048</c:v>
                </c:pt>
                <c:pt idx="388">
                  <c:v>0.195552</c:v>
                </c:pt>
                <c:pt idx="389">
                  <c:v>0.196056</c:v>
                </c:pt>
                <c:pt idx="390">
                  <c:v>0.19656</c:v>
                </c:pt>
                <c:pt idx="391">
                  <c:v>0.197064</c:v>
                </c:pt>
                <c:pt idx="392">
                  <c:v>0.197568</c:v>
                </c:pt>
                <c:pt idx="393">
                  <c:v>0.198072</c:v>
                </c:pt>
                <c:pt idx="394">
                  <c:v>0.198576</c:v>
                </c:pt>
                <c:pt idx="395">
                  <c:v>0.19908</c:v>
                </c:pt>
                <c:pt idx="396">
                  <c:v>0.199584</c:v>
                </c:pt>
                <c:pt idx="397">
                  <c:v>0.200088</c:v>
                </c:pt>
                <c:pt idx="398">
                  <c:v>0.200592</c:v>
                </c:pt>
                <c:pt idx="399">
                  <c:v>0.201096</c:v>
                </c:pt>
                <c:pt idx="400">
                  <c:v>0.2016</c:v>
                </c:pt>
                <c:pt idx="401">
                  <c:v>0.202104</c:v>
                </c:pt>
                <c:pt idx="402">
                  <c:v>0.202608</c:v>
                </c:pt>
                <c:pt idx="403">
                  <c:v>0.203112</c:v>
                </c:pt>
                <c:pt idx="404">
                  <c:v>0.203616</c:v>
                </c:pt>
                <c:pt idx="405">
                  <c:v>0.20412</c:v>
                </c:pt>
                <c:pt idx="406">
                  <c:v>0.204624</c:v>
                </c:pt>
                <c:pt idx="407">
                  <c:v>0.205128</c:v>
                </c:pt>
                <c:pt idx="408">
                  <c:v>0.205632</c:v>
                </c:pt>
                <c:pt idx="409">
                  <c:v>0.206136</c:v>
                </c:pt>
                <c:pt idx="410">
                  <c:v>0.20664</c:v>
                </c:pt>
                <c:pt idx="411">
                  <c:v>0.207144</c:v>
                </c:pt>
                <c:pt idx="412">
                  <c:v>0.207648</c:v>
                </c:pt>
                <c:pt idx="413">
                  <c:v>0.208152</c:v>
                </c:pt>
                <c:pt idx="414">
                  <c:v>0.208656</c:v>
                </c:pt>
                <c:pt idx="415">
                  <c:v>0.20916</c:v>
                </c:pt>
                <c:pt idx="416">
                  <c:v>0.209664</c:v>
                </c:pt>
                <c:pt idx="417">
                  <c:v>0.210168</c:v>
                </c:pt>
                <c:pt idx="418">
                  <c:v>0.210672</c:v>
                </c:pt>
                <c:pt idx="419">
                  <c:v>0.211176</c:v>
                </c:pt>
                <c:pt idx="420">
                  <c:v>0.21168</c:v>
                </c:pt>
                <c:pt idx="421">
                  <c:v>0.212184</c:v>
                </c:pt>
                <c:pt idx="422">
                  <c:v>0.212688</c:v>
                </c:pt>
                <c:pt idx="423">
                  <c:v>0.213192</c:v>
                </c:pt>
                <c:pt idx="424">
                  <c:v>0.213696</c:v>
                </c:pt>
                <c:pt idx="425">
                  <c:v>0.2142</c:v>
                </c:pt>
                <c:pt idx="426">
                  <c:v>0.214704</c:v>
                </c:pt>
                <c:pt idx="427">
                  <c:v>0.215208</c:v>
                </c:pt>
                <c:pt idx="428">
                  <c:v>0.215712</c:v>
                </c:pt>
                <c:pt idx="429">
                  <c:v>0.216216</c:v>
                </c:pt>
                <c:pt idx="430">
                  <c:v>0.21672</c:v>
                </c:pt>
                <c:pt idx="431">
                  <c:v>0.217224</c:v>
                </c:pt>
                <c:pt idx="432">
                  <c:v>0.217728</c:v>
                </c:pt>
                <c:pt idx="433">
                  <c:v>0.218232</c:v>
                </c:pt>
                <c:pt idx="434">
                  <c:v>0.218736</c:v>
                </c:pt>
                <c:pt idx="435">
                  <c:v>0.21924</c:v>
                </c:pt>
                <c:pt idx="436">
                  <c:v>0.219744</c:v>
                </c:pt>
                <c:pt idx="437">
                  <c:v>0.220248</c:v>
                </c:pt>
                <c:pt idx="438">
                  <c:v>0.220752</c:v>
                </c:pt>
                <c:pt idx="439">
                  <c:v>0.221256</c:v>
                </c:pt>
                <c:pt idx="440">
                  <c:v>0.22176</c:v>
                </c:pt>
                <c:pt idx="441">
                  <c:v>0.222264</c:v>
                </c:pt>
                <c:pt idx="442">
                  <c:v>0.222768</c:v>
                </c:pt>
                <c:pt idx="443">
                  <c:v>0.223272</c:v>
                </c:pt>
                <c:pt idx="444">
                  <c:v>0.223776</c:v>
                </c:pt>
                <c:pt idx="445">
                  <c:v>0.22428</c:v>
                </c:pt>
                <c:pt idx="446">
                  <c:v>0.224784</c:v>
                </c:pt>
                <c:pt idx="447">
                  <c:v>0.225288</c:v>
                </c:pt>
                <c:pt idx="448">
                  <c:v>0.225792</c:v>
                </c:pt>
                <c:pt idx="449">
                  <c:v>0.226296</c:v>
                </c:pt>
                <c:pt idx="450">
                  <c:v>0.2268</c:v>
                </c:pt>
                <c:pt idx="451">
                  <c:v>0.227304</c:v>
                </c:pt>
                <c:pt idx="452">
                  <c:v>0.227808</c:v>
                </c:pt>
                <c:pt idx="453">
                  <c:v>0.228312</c:v>
                </c:pt>
                <c:pt idx="454">
                  <c:v>0.228816</c:v>
                </c:pt>
                <c:pt idx="455">
                  <c:v>0.22932</c:v>
                </c:pt>
                <c:pt idx="456">
                  <c:v>0.229824</c:v>
                </c:pt>
                <c:pt idx="457">
                  <c:v>0.230328</c:v>
                </c:pt>
                <c:pt idx="458">
                  <c:v>0.230832</c:v>
                </c:pt>
                <c:pt idx="459">
                  <c:v>0.231336</c:v>
                </c:pt>
                <c:pt idx="460">
                  <c:v>0.23184</c:v>
                </c:pt>
                <c:pt idx="461">
                  <c:v>0.232344</c:v>
                </c:pt>
                <c:pt idx="462">
                  <c:v>0.232848</c:v>
                </c:pt>
                <c:pt idx="463">
                  <c:v>0.233352</c:v>
                </c:pt>
                <c:pt idx="464">
                  <c:v>0.233856</c:v>
                </c:pt>
                <c:pt idx="465">
                  <c:v>0.23436</c:v>
                </c:pt>
                <c:pt idx="466">
                  <c:v>0.234864</c:v>
                </c:pt>
                <c:pt idx="467">
                  <c:v>0.235368</c:v>
                </c:pt>
                <c:pt idx="468">
                  <c:v>0.235872</c:v>
                </c:pt>
                <c:pt idx="469">
                  <c:v>0.236376</c:v>
                </c:pt>
                <c:pt idx="470">
                  <c:v>0.23688</c:v>
                </c:pt>
                <c:pt idx="471">
                  <c:v>0.237384</c:v>
                </c:pt>
                <c:pt idx="472">
                  <c:v>0.237888</c:v>
                </c:pt>
                <c:pt idx="473">
                  <c:v>0.238392</c:v>
                </c:pt>
                <c:pt idx="474">
                  <c:v>0.238896</c:v>
                </c:pt>
                <c:pt idx="475">
                  <c:v>0.2394</c:v>
                </c:pt>
                <c:pt idx="476">
                  <c:v>0.239904</c:v>
                </c:pt>
                <c:pt idx="477">
                  <c:v>0.240408</c:v>
                </c:pt>
                <c:pt idx="478">
                  <c:v>0.240912</c:v>
                </c:pt>
                <c:pt idx="479">
                  <c:v>0.241416</c:v>
                </c:pt>
                <c:pt idx="480">
                  <c:v>0.24192</c:v>
                </c:pt>
                <c:pt idx="481">
                  <c:v>0.242424</c:v>
                </c:pt>
                <c:pt idx="482">
                  <c:v>0.242928</c:v>
                </c:pt>
                <c:pt idx="483">
                  <c:v>0.243432</c:v>
                </c:pt>
                <c:pt idx="484">
                  <c:v>0.243936</c:v>
                </c:pt>
                <c:pt idx="485">
                  <c:v>0.24444</c:v>
                </c:pt>
                <c:pt idx="486">
                  <c:v>0.244944</c:v>
                </c:pt>
                <c:pt idx="487">
                  <c:v>0.245448</c:v>
                </c:pt>
                <c:pt idx="488">
                  <c:v>0.245952</c:v>
                </c:pt>
                <c:pt idx="489">
                  <c:v>0.246456</c:v>
                </c:pt>
                <c:pt idx="490">
                  <c:v>0.24696</c:v>
                </c:pt>
                <c:pt idx="491">
                  <c:v>0.247464</c:v>
                </c:pt>
                <c:pt idx="492">
                  <c:v>0.247968</c:v>
                </c:pt>
                <c:pt idx="493">
                  <c:v>0.248472</c:v>
                </c:pt>
                <c:pt idx="494">
                  <c:v>0.248976</c:v>
                </c:pt>
                <c:pt idx="495">
                  <c:v>0.24948</c:v>
                </c:pt>
                <c:pt idx="496">
                  <c:v>0.249984</c:v>
                </c:pt>
                <c:pt idx="497">
                  <c:v>0.250488</c:v>
                </c:pt>
                <c:pt idx="498">
                  <c:v>0.250992</c:v>
                </c:pt>
                <c:pt idx="499">
                  <c:v>0.251496</c:v>
                </c:pt>
                <c:pt idx="500">
                  <c:v>0.252</c:v>
                </c:pt>
                <c:pt idx="501">
                  <c:v>0.252504</c:v>
                </c:pt>
                <c:pt idx="502">
                  <c:v>0.253008</c:v>
                </c:pt>
                <c:pt idx="503">
                  <c:v>0.253512</c:v>
                </c:pt>
                <c:pt idx="504">
                  <c:v>0.254016</c:v>
                </c:pt>
                <c:pt idx="505">
                  <c:v>0.25452</c:v>
                </c:pt>
                <c:pt idx="506">
                  <c:v>0.255024</c:v>
                </c:pt>
                <c:pt idx="507">
                  <c:v>0.255528</c:v>
                </c:pt>
                <c:pt idx="508">
                  <c:v>0.256032</c:v>
                </c:pt>
                <c:pt idx="509">
                  <c:v>0.256536</c:v>
                </c:pt>
                <c:pt idx="510">
                  <c:v>0.25704</c:v>
                </c:pt>
                <c:pt idx="511">
                  <c:v>0.257544</c:v>
                </c:pt>
                <c:pt idx="512">
                  <c:v>0.258048</c:v>
                </c:pt>
                <c:pt idx="513">
                  <c:v>0.258552</c:v>
                </c:pt>
                <c:pt idx="514">
                  <c:v>0.259056</c:v>
                </c:pt>
                <c:pt idx="515">
                  <c:v>0.25956</c:v>
                </c:pt>
                <c:pt idx="516">
                  <c:v>0.260064</c:v>
                </c:pt>
                <c:pt idx="517">
                  <c:v>0.260568</c:v>
                </c:pt>
                <c:pt idx="518">
                  <c:v>0.261072</c:v>
                </c:pt>
                <c:pt idx="519">
                  <c:v>0.261576</c:v>
                </c:pt>
                <c:pt idx="520">
                  <c:v>0.26208</c:v>
                </c:pt>
                <c:pt idx="521">
                  <c:v>0.262584</c:v>
                </c:pt>
                <c:pt idx="522">
                  <c:v>0.263088</c:v>
                </c:pt>
                <c:pt idx="523">
                  <c:v>0.263592</c:v>
                </c:pt>
                <c:pt idx="524">
                  <c:v>0.264096</c:v>
                </c:pt>
                <c:pt idx="525">
                  <c:v>0.2646</c:v>
                </c:pt>
                <c:pt idx="526">
                  <c:v>0.265104</c:v>
                </c:pt>
                <c:pt idx="527">
                  <c:v>0.265608</c:v>
                </c:pt>
                <c:pt idx="528">
                  <c:v>0.266112</c:v>
                </c:pt>
                <c:pt idx="529">
                  <c:v>0.266616</c:v>
                </c:pt>
                <c:pt idx="530">
                  <c:v>0.26712</c:v>
                </c:pt>
                <c:pt idx="531">
                  <c:v>0.267624</c:v>
                </c:pt>
                <c:pt idx="532">
                  <c:v>0.268128</c:v>
                </c:pt>
                <c:pt idx="533">
                  <c:v>0.268632</c:v>
                </c:pt>
                <c:pt idx="534">
                  <c:v>0.269136</c:v>
                </c:pt>
                <c:pt idx="535">
                  <c:v>0.26964</c:v>
                </c:pt>
                <c:pt idx="536">
                  <c:v>0.270144</c:v>
                </c:pt>
                <c:pt idx="537">
                  <c:v>0.270648</c:v>
                </c:pt>
                <c:pt idx="538">
                  <c:v>0.271152</c:v>
                </c:pt>
                <c:pt idx="539">
                  <c:v>0.271656</c:v>
                </c:pt>
                <c:pt idx="540">
                  <c:v>0.27216</c:v>
                </c:pt>
                <c:pt idx="541">
                  <c:v>0.272664</c:v>
                </c:pt>
                <c:pt idx="542">
                  <c:v>0.273168</c:v>
                </c:pt>
                <c:pt idx="543">
                  <c:v>0.273672</c:v>
                </c:pt>
                <c:pt idx="544">
                  <c:v>0.274176</c:v>
                </c:pt>
                <c:pt idx="545">
                  <c:v>0.27468</c:v>
                </c:pt>
                <c:pt idx="546">
                  <c:v>0.275184</c:v>
                </c:pt>
                <c:pt idx="547">
                  <c:v>0.275688</c:v>
                </c:pt>
                <c:pt idx="548">
                  <c:v>0.276192</c:v>
                </c:pt>
                <c:pt idx="549">
                  <c:v>0.276696</c:v>
                </c:pt>
                <c:pt idx="550">
                  <c:v>0.2772</c:v>
                </c:pt>
                <c:pt idx="551">
                  <c:v>0.277704</c:v>
                </c:pt>
                <c:pt idx="552">
                  <c:v>0.278208</c:v>
                </c:pt>
                <c:pt idx="553">
                  <c:v>0.278712</c:v>
                </c:pt>
                <c:pt idx="554">
                  <c:v>0.279216</c:v>
                </c:pt>
                <c:pt idx="555">
                  <c:v>0.27972</c:v>
                </c:pt>
                <c:pt idx="556">
                  <c:v>0.280224</c:v>
                </c:pt>
                <c:pt idx="557">
                  <c:v>0.280728</c:v>
                </c:pt>
                <c:pt idx="558">
                  <c:v>0.281232</c:v>
                </c:pt>
                <c:pt idx="559">
                  <c:v>0.281736</c:v>
                </c:pt>
                <c:pt idx="560">
                  <c:v>0.28224</c:v>
                </c:pt>
                <c:pt idx="561">
                  <c:v>0.282744</c:v>
                </c:pt>
                <c:pt idx="562">
                  <c:v>0.283248</c:v>
                </c:pt>
                <c:pt idx="563">
                  <c:v>0.283752</c:v>
                </c:pt>
                <c:pt idx="564">
                  <c:v>0.284256</c:v>
                </c:pt>
                <c:pt idx="565">
                  <c:v>0.28476</c:v>
                </c:pt>
                <c:pt idx="566">
                  <c:v>0.285264</c:v>
                </c:pt>
                <c:pt idx="567">
                  <c:v>0.285768</c:v>
                </c:pt>
                <c:pt idx="568">
                  <c:v>0.286272</c:v>
                </c:pt>
                <c:pt idx="569">
                  <c:v>0.286776</c:v>
                </c:pt>
                <c:pt idx="570">
                  <c:v>0.28728</c:v>
                </c:pt>
                <c:pt idx="571">
                  <c:v>0.287784</c:v>
                </c:pt>
                <c:pt idx="572">
                  <c:v>0.288288</c:v>
                </c:pt>
                <c:pt idx="573">
                  <c:v>0.288792</c:v>
                </c:pt>
                <c:pt idx="574">
                  <c:v>0.289296</c:v>
                </c:pt>
                <c:pt idx="575">
                  <c:v>0.2898</c:v>
                </c:pt>
                <c:pt idx="576">
                  <c:v>0.290304</c:v>
                </c:pt>
                <c:pt idx="577">
                  <c:v>0.290808</c:v>
                </c:pt>
                <c:pt idx="578">
                  <c:v>0.291312</c:v>
                </c:pt>
                <c:pt idx="579">
                  <c:v>0.291816</c:v>
                </c:pt>
                <c:pt idx="580">
                  <c:v>0.29232</c:v>
                </c:pt>
                <c:pt idx="581">
                  <c:v>0.292824</c:v>
                </c:pt>
                <c:pt idx="582">
                  <c:v>0.293328</c:v>
                </c:pt>
                <c:pt idx="583">
                  <c:v>0.293832</c:v>
                </c:pt>
                <c:pt idx="584">
                  <c:v>0.294336</c:v>
                </c:pt>
                <c:pt idx="585">
                  <c:v>0.29484</c:v>
                </c:pt>
                <c:pt idx="586">
                  <c:v>0.295344</c:v>
                </c:pt>
                <c:pt idx="587">
                  <c:v>0.295848</c:v>
                </c:pt>
                <c:pt idx="588">
                  <c:v>0.296352</c:v>
                </c:pt>
                <c:pt idx="589">
                  <c:v>0.296856</c:v>
                </c:pt>
                <c:pt idx="590">
                  <c:v>0.29736</c:v>
                </c:pt>
                <c:pt idx="591">
                  <c:v>0.297864</c:v>
                </c:pt>
                <c:pt idx="592">
                  <c:v>0.298368</c:v>
                </c:pt>
                <c:pt idx="593">
                  <c:v>0.298872</c:v>
                </c:pt>
                <c:pt idx="594">
                  <c:v>0.299376</c:v>
                </c:pt>
                <c:pt idx="595">
                  <c:v>0.29988</c:v>
                </c:pt>
                <c:pt idx="596">
                  <c:v>0.300384</c:v>
                </c:pt>
                <c:pt idx="597">
                  <c:v>0.300888</c:v>
                </c:pt>
                <c:pt idx="598">
                  <c:v>0.301392</c:v>
                </c:pt>
                <c:pt idx="599">
                  <c:v>0.301896</c:v>
                </c:pt>
                <c:pt idx="600">
                  <c:v>0.3024</c:v>
                </c:pt>
                <c:pt idx="601">
                  <c:v>0.302904</c:v>
                </c:pt>
                <c:pt idx="602">
                  <c:v>0.303408</c:v>
                </c:pt>
                <c:pt idx="603">
                  <c:v>0.303912</c:v>
                </c:pt>
                <c:pt idx="604">
                  <c:v>0.304416</c:v>
                </c:pt>
                <c:pt idx="605">
                  <c:v>0.30492</c:v>
                </c:pt>
                <c:pt idx="606">
                  <c:v>0.305424</c:v>
                </c:pt>
                <c:pt idx="607">
                  <c:v>0.305928</c:v>
                </c:pt>
                <c:pt idx="608">
                  <c:v>0.306432</c:v>
                </c:pt>
                <c:pt idx="609">
                  <c:v>0.306936</c:v>
                </c:pt>
                <c:pt idx="610">
                  <c:v>0.30744</c:v>
                </c:pt>
                <c:pt idx="611">
                  <c:v>0.307944</c:v>
                </c:pt>
                <c:pt idx="612">
                  <c:v>0.308448</c:v>
                </c:pt>
                <c:pt idx="613">
                  <c:v>0.308952</c:v>
                </c:pt>
                <c:pt idx="614">
                  <c:v>0.309456</c:v>
                </c:pt>
                <c:pt idx="615">
                  <c:v>0.30996</c:v>
                </c:pt>
                <c:pt idx="616">
                  <c:v>0.310464</c:v>
                </c:pt>
                <c:pt idx="617">
                  <c:v>0.310968</c:v>
                </c:pt>
                <c:pt idx="618">
                  <c:v>0.311472</c:v>
                </c:pt>
                <c:pt idx="619">
                  <c:v>0.311976</c:v>
                </c:pt>
                <c:pt idx="620">
                  <c:v>0.31248</c:v>
                </c:pt>
                <c:pt idx="621">
                  <c:v>0.312984</c:v>
                </c:pt>
                <c:pt idx="622">
                  <c:v>0.313488</c:v>
                </c:pt>
                <c:pt idx="623">
                  <c:v>0.313992</c:v>
                </c:pt>
                <c:pt idx="624">
                  <c:v>0.314496</c:v>
                </c:pt>
                <c:pt idx="625">
                  <c:v>0.315</c:v>
                </c:pt>
                <c:pt idx="626">
                  <c:v>0.315504</c:v>
                </c:pt>
                <c:pt idx="627">
                  <c:v>0.316008</c:v>
                </c:pt>
                <c:pt idx="628">
                  <c:v>0.316512</c:v>
                </c:pt>
                <c:pt idx="629">
                  <c:v>0.317016</c:v>
                </c:pt>
                <c:pt idx="630">
                  <c:v>0.31752</c:v>
                </c:pt>
                <c:pt idx="631">
                  <c:v>0.318024</c:v>
                </c:pt>
                <c:pt idx="632">
                  <c:v>0.318528</c:v>
                </c:pt>
                <c:pt idx="633">
                  <c:v>0.319032</c:v>
                </c:pt>
                <c:pt idx="634">
                  <c:v>0.319536</c:v>
                </c:pt>
                <c:pt idx="635">
                  <c:v>0.32004</c:v>
                </c:pt>
                <c:pt idx="636">
                  <c:v>0.320544</c:v>
                </c:pt>
                <c:pt idx="637">
                  <c:v>0.321048</c:v>
                </c:pt>
                <c:pt idx="638">
                  <c:v>0.321552</c:v>
                </c:pt>
                <c:pt idx="639">
                  <c:v>0.322056</c:v>
                </c:pt>
                <c:pt idx="640">
                  <c:v>0.32256</c:v>
                </c:pt>
                <c:pt idx="641">
                  <c:v>0.323064</c:v>
                </c:pt>
                <c:pt idx="642">
                  <c:v>0.323568</c:v>
                </c:pt>
                <c:pt idx="643">
                  <c:v>0.324072</c:v>
                </c:pt>
                <c:pt idx="644">
                  <c:v>0.324576</c:v>
                </c:pt>
                <c:pt idx="645">
                  <c:v>0.32508</c:v>
                </c:pt>
                <c:pt idx="646">
                  <c:v>0.325584</c:v>
                </c:pt>
                <c:pt idx="647">
                  <c:v>0.326088</c:v>
                </c:pt>
                <c:pt idx="648">
                  <c:v>0.326592</c:v>
                </c:pt>
                <c:pt idx="649">
                  <c:v>0.327096</c:v>
                </c:pt>
                <c:pt idx="650">
                  <c:v>0.3276</c:v>
                </c:pt>
                <c:pt idx="651">
                  <c:v>0.328104</c:v>
                </c:pt>
                <c:pt idx="652">
                  <c:v>0.328608</c:v>
                </c:pt>
                <c:pt idx="653">
                  <c:v>0.329112</c:v>
                </c:pt>
                <c:pt idx="654">
                  <c:v>0.329616</c:v>
                </c:pt>
                <c:pt idx="655">
                  <c:v>0.33012</c:v>
                </c:pt>
                <c:pt idx="656">
                  <c:v>0.330624</c:v>
                </c:pt>
                <c:pt idx="657">
                  <c:v>0.331128</c:v>
                </c:pt>
                <c:pt idx="658">
                  <c:v>0.331632</c:v>
                </c:pt>
                <c:pt idx="659">
                  <c:v>0.332136</c:v>
                </c:pt>
                <c:pt idx="660">
                  <c:v>0.33264</c:v>
                </c:pt>
                <c:pt idx="661">
                  <c:v>0.333144</c:v>
                </c:pt>
                <c:pt idx="662">
                  <c:v>0.333648</c:v>
                </c:pt>
                <c:pt idx="663">
                  <c:v>0.334152</c:v>
                </c:pt>
                <c:pt idx="664">
                  <c:v>0.334656</c:v>
                </c:pt>
                <c:pt idx="665">
                  <c:v>0.33516</c:v>
                </c:pt>
                <c:pt idx="666">
                  <c:v>0.335664</c:v>
                </c:pt>
                <c:pt idx="667">
                  <c:v>0.336168</c:v>
                </c:pt>
                <c:pt idx="668">
                  <c:v>0.336672</c:v>
                </c:pt>
                <c:pt idx="669">
                  <c:v>0.337176</c:v>
                </c:pt>
                <c:pt idx="670">
                  <c:v>0.33768</c:v>
                </c:pt>
                <c:pt idx="671">
                  <c:v>0.338184</c:v>
                </c:pt>
                <c:pt idx="672">
                  <c:v>0.338688</c:v>
                </c:pt>
                <c:pt idx="673">
                  <c:v>0.339192</c:v>
                </c:pt>
                <c:pt idx="674">
                  <c:v>0.339696</c:v>
                </c:pt>
                <c:pt idx="675">
                  <c:v>0.3402</c:v>
                </c:pt>
                <c:pt idx="676">
                  <c:v>0.340704</c:v>
                </c:pt>
                <c:pt idx="677">
                  <c:v>0.341208</c:v>
                </c:pt>
                <c:pt idx="678">
                  <c:v>0.341712</c:v>
                </c:pt>
                <c:pt idx="679">
                  <c:v>0.342216</c:v>
                </c:pt>
                <c:pt idx="680">
                  <c:v>0.34272</c:v>
                </c:pt>
                <c:pt idx="681">
                  <c:v>0.343224</c:v>
                </c:pt>
                <c:pt idx="682">
                  <c:v>0.343728</c:v>
                </c:pt>
                <c:pt idx="683">
                  <c:v>0.344232</c:v>
                </c:pt>
                <c:pt idx="684">
                  <c:v>0.344736</c:v>
                </c:pt>
                <c:pt idx="685">
                  <c:v>0.34524</c:v>
                </c:pt>
                <c:pt idx="686">
                  <c:v>0.345744</c:v>
                </c:pt>
                <c:pt idx="687">
                  <c:v>0.346248</c:v>
                </c:pt>
                <c:pt idx="688">
                  <c:v>0.346752</c:v>
                </c:pt>
                <c:pt idx="689">
                  <c:v>0.347256</c:v>
                </c:pt>
                <c:pt idx="690">
                  <c:v>0.34776</c:v>
                </c:pt>
                <c:pt idx="691">
                  <c:v>0.348264</c:v>
                </c:pt>
                <c:pt idx="692">
                  <c:v>0.348768</c:v>
                </c:pt>
                <c:pt idx="693">
                  <c:v>0.349272</c:v>
                </c:pt>
                <c:pt idx="694">
                  <c:v>0.349776</c:v>
                </c:pt>
                <c:pt idx="695">
                  <c:v>0.35028</c:v>
                </c:pt>
                <c:pt idx="696">
                  <c:v>0.350784</c:v>
                </c:pt>
                <c:pt idx="697">
                  <c:v>0.351288</c:v>
                </c:pt>
                <c:pt idx="698">
                  <c:v>0.351792</c:v>
                </c:pt>
                <c:pt idx="699">
                  <c:v>0.352296</c:v>
                </c:pt>
                <c:pt idx="700">
                  <c:v>0.3528</c:v>
                </c:pt>
                <c:pt idx="701">
                  <c:v>0.353304</c:v>
                </c:pt>
                <c:pt idx="702">
                  <c:v>0.353808</c:v>
                </c:pt>
                <c:pt idx="703">
                  <c:v>0.354312</c:v>
                </c:pt>
                <c:pt idx="704">
                  <c:v>0.354816</c:v>
                </c:pt>
                <c:pt idx="705">
                  <c:v>0.35532</c:v>
                </c:pt>
                <c:pt idx="706">
                  <c:v>0.355824</c:v>
                </c:pt>
                <c:pt idx="707">
                  <c:v>0.356328</c:v>
                </c:pt>
                <c:pt idx="708">
                  <c:v>0.356832</c:v>
                </c:pt>
                <c:pt idx="709">
                  <c:v>0.357336</c:v>
                </c:pt>
                <c:pt idx="710">
                  <c:v>0.35784</c:v>
                </c:pt>
                <c:pt idx="711">
                  <c:v>0.358344</c:v>
                </c:pt>
                <c:pt idx="712">
                  <c:v>0.358848</c:v>
                </c:pt>
                <c:pt idx="713">
                  <c:v>0.359352</c:v>
                </c:pt>
                <c:pt idx="714">
                  <c:v>0.359856</c:v>
                </c:pt>
                <c:pt idx="715">
                  <c:v>0.36036</c:v>
                </c:pt>
                <c:pt idx="716">
                  <c:v>0.360864</c:v>
                </c:pt>
                <c:pt idx="717">
                  <c:v>0.361368</c:v>
                </c:pt>
                <c:pt idx="718">
                  <c:v>0.361872</c:v>
                </c:pt>
                <c:pt idx="719">
                  <c:v>0.362376</c:v>
                </c:pt>
                <c:pt idx="720">
                  <c:v>0.36288</c:v>
                </c:pt>
                <c:pt idx="721">
                  <c:v>0.363384</c:v>
                </c:pt>
                <c:pt idx="722">
                  <c:v>0.363888</c:v>
                </c:pt>
                <c:pt idx="723">
                  <c:v>0.364392</c:v>
                </c:pt>
                <c:pt idx="724">
                  <c:v>0.364896</c:v>
                </c:pt>
                <c:pt idx="725">
                  <c:v>0.3654</c:v>
                </c:pt>
                <c:pt idx="726">
                  <c:v>0.365904</c:v>
                </c:pt>
                <c:pt idx="727">
                  <c:v>0.366408</c:v>
                </c:pt>
                <c:pt idx="728">
                  <c:v>0.366912</c:v>
                </c:pt>
                <c:pt idx="729">
                  <c:v>0.367416</c:v>
                </c:pt>
                <c:pt idx="730">
                  <c:v>0.36792</c:v>
                </c:pt>
                <c:pt idx="731">
                  <c:v>0.368424</c:v>
                </c:pt>
                <c:pt idx="732">
                  <c:v>0.368928</c:v>
                </c:pt>
                <c:pt idx="733">
                  <c:v>0.369432</c:v>
                </c:pt>
                <c:pt idx="734">
                  <c:v>0.369936</c:v>
                </c:pt>
                <c:pt idx="735">
                  <c:v>0.37044</c:v>
                </c:pt>
                <c:pt idx="736">
                  <c:v>0.370944</c:v>
                </c:pt>
                <c:pt idx="737">
                  <c:v>0.371448</c:v>
                </c:pt>
                <c:pt idx="738">
                  <c:v>0.371952</c:v>
                </c:pt>
                <c:pt idx="739">
                  <c:v>0.372456</c:v>
                </c:pt>
                <c:pt idx="740">
                  <c:v>0.37296</c:v>
                </c:pt>
                <c:pt idx="741">
                  <c:v>0.373464</c:v>
                </c:pt>
                <c:pt idx="742">
                  <c:v>0.373968</c:v>
                </c:pt>
                <c:pt idx="743">
                  <c:v>0.374472</c:v>
                </c:pt>
                <c:pt idx="744">
                  <c:v>0.374976</c:v>
                </c:pt>
                <c:pt idx="745">
                  <c:v>0.37548</c:v>
                </c:pt>
                <c:pt idx="746">
                  <c:v>0.375984</c:v>
                </c:pt>
                <c:pt idx="747">
                  <c:v>0.376488</c:v>
                </c:pt>
                <c:pt idx="748">
                  <c:v>0.376992</c:v>
                </c:pt>
                <c:pt idx="749">
                  <c:v>0.377496</c:v>
                </c:pt>
                <c:pt idx="750">
                  <c:v>0.378</c:v>
                </c:pt>
                <c:pt idx="751">
                  <c:v>0.378504</c:v>
                </c:pt>
                <c:pt idx="752">
                  <c:v>0.379008</c:v>
                </c:pt>
                <c:pt idx="753">
                  <c:v>0.379512</c:v>
                </c:pt>
                <c:pt idx="754">
                  <c:v>0.380016</c:v>
                </c:pt>
                <c:pt idx="755">
                  <c:v>0.38052</c:v>
                </c:pt>
                <c:pt idx="756">
                  <c:v>0.381024</c:v>
                </c:pt>
                <c:pt idx="757">
                  <c:v>0.381528</c:v>
                </c:pt>
                <c:pt idx="758">
                  <c:v>0.382032</c:v>
                </c:pt>
                <c:pt idx="759">
                  <c:v>0.382536</c:v>
                </c:pt>
                <c:pt idx="760">
                  <c:v>0.38304</c:v>
                </c:pt>
                <c:pt idx="761">
                  <c:v>0.383544</c:v>
                </c:pt>
                <c:pt idx="762">
                  <c:v>0.384048</c:v>
                </c:pt>
                <c:pt idx="763">
                  <c:v>0.384552</c:v>
                </c:pt>
                <c:pt idx="764">
                  <c:v>0.385056</c:v>
                </c:pt>
                <c:pt idx="765">
                  <c:v>0.38556</c:v>
                </c:pt>
                <c:pt idx="766">
                  <c:v>0.386064</c:v>
                </c:pt>
                <c:pt idx="767">
                  <c:v>0.386568</c:v>
                </c:pt>
                <c:pt idx="768">
                  <c:v>0.387072</c:v>
                </c:pt>
                <c:pt idx="769">
                  <c:v>0.387576</c:v>
                </c:pt>
                <c:pt idx="770">
                  <c:v>0.38808</c:v>
                </c:pt>
                <c:pt idx="771">
                  <c:v>0.388584</c:v>
                </c:pt>
                <c:pt idx="772">
                  <c:v>0.389088</c:v>
                </c:pt>
                <c:pt idx="773">
                  <c:v>0.389592</c:v>
                </c:pt>
                <c:pt idx="774">
                  <c:v>0.390096</c:v>
                </c:pt>
                <c:pt idx="775">
                  <c:v>0.3906</c:v>
                </c:pt>
                <c:pt idx="776">
                  <c:v>0.391104</c:v>
                </c:pt>
                <c:pt idx="777">
                  <c:v>0.391608</c:v>
                </c:pt>
                <c:pt idx="778">
                  <c:v>0.392112</c:v>
                </c:pt>
                <c:pt idx="779">
                  <c:v>0.392616</c:v>
                </c:pt>
                <c:pt idx="780">
                  <c:v>0.39312</c:v>
                </c:pt>
                <c:pt idx="781">
                  <c:v>0.393624</c:v>
                </c:pt>
                <c:pt idx="782">
                  <c:v>0.394128</c:v>
                </c:pt>
                <c:pt idx="783">
                  <c:v>0.394632</c:v>
                </c:pt>
                <c:pt idx="784">
                  <c:v>0.395136</c:v>
                </c:pt>
                <c:pt idx="785">
                  <c:v>0.39564</c:v>
                </c:pt>
                <c:pt idx="786">
                  <c:v>0.396144</c:v>
                </c:pt>
                <c:pt idx="787">
                  <c:v>0.396648</c:v>
                </c:pt>
                <c:pt idx="788">
                  <c:v>0.397152</c:v>
                </c:pt>
                <c:pt idx="789">
                  <c:v>0.397656</c:v>
                </c:pt>
                <c:pt idx="790">
                  <c:v>0.39816</c:v>
                </c:pt>
                <c:pt idx="791">
                  <c:v>0.398664</c:v>
                </c:pt>
                <c:pt idx="792">
                  <c:v>0.399168</c:v>
                </c:pt>
                <c:pt idx="793">
                  <c:v>0.399672</c:v>
                </c:pt>
                <c:pt idx="794">
                  <c:v>0.400176</c:v>
                </c:pt>
                <c:pt idx="795">
                  <c:v>0.40068</c:v>
                </c:pt>
                <c:pt idx="796">
                  <c:v>0.401184</c:v>
                </c:pt>
                <c:pt idx="797">
                  <c:v>0.401688</c:v>
                </c:pt>
                <c:pt idx="798">
                  <c:v>0.402192</c:v>
                </c:pt>
                <c:pt idx="799">
                  <c:v>0.402696</c:v>
                </c:pt>
                <c:pt idx="800">
                  <c:v>0.4032</c:v>
                </c:pt>
                <c:pt idx="801">
                  <c:v>0.403704</c:v>
                </c:pt>
                <c:pt idx="802">
                  <c:v>0.404208</c:v>
                </c:pt>
                <c:pt idx="803">
                  <c:v>0.404712</c:v>
                </c:pt>
                <c:pt idx="804">
                  <c:v>0.405216</c:v>
                </c:pt>
                <c:pt idx="805">
                  <c:v>0.40572</c:v>
                </c:pt>
                <c:pt idx="806">
                  <c:v>0.406224</c:v>
                </c:pt>
                <c:pt idx="807">
                  <c:v>0.406728</c:v>
                </c:pt>
                <c:pt idx="808">
                  <c:v>0.407232</c:v>
                </c:pt>
                <c:pt idx="809">
                  <c:v>0.407736</c:v>
                </c:pt>
                <c:pt idx="810">
                  <c:v>0.40824</c:v>
                </c:pt>
                <c:pt idx="811">
                  <c:v>0.408744</c:v>
                </c:pt>
                <c:pt idx="812">
                  <c:v>0.409248</c:v>
                </c:pt>
                <c:pt idx="813">
                  <c:v>0.409752</c:v>
                </c:pt>
                <c:pt idx="814">
                  <c:v>0.410256</c:v>
                </c:pt>
                <c:pt idx="815">
                  <c:v>0.41076</c:v>
                </c:pt>
                <c:pt idx="816">
                  <c:v>0.411264</c:v>
                </c:pt>
                <c:pt idx="817">
                  <c:v>0.411768</c:v>
                </c:pt>
                <c:pt idx="818">
                  <c:v>0.412272</c:v>
                </c:pt>
                <c:pt idx="819">
                  <c:v>0.412776</c:v>
                </c:pt>
                <c:pt idx="820">
                  <c:v>0.41328</c:v>
                </c:pt>
                <c:pt idx="821">
                  <c:v>0.413784</c:v>
                </c:pt>
                <c:pt idx="822">
                  <c:v>0.414288</c:v>
                </c:pt>
                <c:pt idx="823">
                  <c:v>0.414792</c:v>
                </c:pt>
                <c:pt idx="824">
                  <c:v>0.415296</c:v>
                </c:pt>
                <c:pt idx="825">
                  <c:v>0.4158</c:v>
                </c:pt>
                <c:pt idx="826">
                  <c:v>0.416304</c:v>
                </c:pt>
                <c:pt idx="827">
                  <c:v>0.416808</c:v>
                </c:pt>
                <c:pt idx="828">
                  <c:v>0.417312</c:v>
                </c:pt>
                <c:pt idx="829">
                  <c:v>0.417816</c:v>
                </c:pt>
                <c:pt idx="830">
                  <c:v>0.41832</c:v>
                </c:pt>
                <c:pt idx="831">
                  <c:v>0.418824</c:v>
                </c:pt>
                <c:pt idx="832">
                  <c:v>0.419328</c:v>
                </c:pt>
                <c:pt idx="833">
                  <c:v>0.419832</c:v>
                </c:pt>
                <c:pt idx="834">
                  <c:v>0.420336</c:v>
                </c:pt>
                <c:pt idx="835">
                  <c:v>0.42084</c:v>
                </c:pt>
                <c:pt idx="836">
                  <c:v>0.421344</c:v>
                </c:pt>
                <c:pt idx="837">
                  <c:v>0.421848</c:v>
                </c:pt>
                <c:pt idx="838">
                  <c:v>0.422352</c:v>
                </c:pt>
                <c:pt idx="839">
                  <c:v>0.422856</c:v>
                </c:pt>
                <c:pt idx="840">
                  <c:v>0.42336</c:v>
                </c:pt>
                <c:pt idx="841">
                  <c:v>0.423864</c:v>
                </c:pt>
                <c:pt idx="842">
                  <c:v>0.424368</c:v>
                </c:pt>
                <c:pt idx="843">
                  <c:v>0.424872</c:v>
                </c:pt>
                <c:pt idx="844">
                  <c:v>0.425376</c:v>
                </c:pt>
                <c:pt idx="845">
                  <c:v>0.42588</c:v>
                </c:pt>
                <c:pt idx="846">
                  <c:v>0.426384</c:v>
                </c:pt>
                <c:pt idx="847">
                  <c:v>0.426888</c:v>
                </c:pt>
                <c:pt idx="848">
                  <c:v>0.427392</c:v>
                </c:pt>
                <c:pt idx="849">
                  <c:v>0.427896</c:v>
                </c:pt>
                <c:pt idx="850">
                  <c:v>0.4284</c:v>
                </c:pt>
                <c:pt idx="851">
                  <c:v>0.428904</c:v>
                </c:pt>
                <c:pt idx="852">
                  <c:v>0.429408</c:v>
                </c:pt>
                <c:pt idx="853">
                  <c:v>0.429912</c:v>
                </c:pt>
                <c:pt idx="854">
                  <c:v>0.430416</c:v>
                </c:pt>
                <c:pt idx="855">
                  <c:v>0.43092</c:v>
                </c:pt>
                <c:pt idx="856">
                  <c:v>0.431424</c:v>
                </c:pt>
                <c:pt idx="857">
                  <c:v>0.431928</c:v>
                </c:pt>
                <c:pt idx="858">
                  <c:v>0.432432</c:v>
                </c:pt>
                <c:pt idx="859">
                  <c:v>0.432936</c:v>
                </c:pt>
                <c:pt idx="860">
                  <c:v>0.43344</c:v>
                </c:pt>
                <c:pt idx="861">
                  <c:v>0.433944</c:v>
                </c:pt>
                <c:pt idx="862">
                  <c:v>0.434448</c:v>
                </c:pt>
                <c:pt idx="863">
                  <c:v>0.434952</c:v>
                </c:pt>
                <c:pt idx="864">
                  <c:v>0.435456</c:v>
                </c:pt>
                <c:pt idx="865">
                  <c:v>0.43596</c:v>
                </c:pt>
                <c:pt idx="866">
                  <c:v>0.436464</c:v>
                </c:pt>
                <c:pt idx="867">
                  <c:v>0.436968</c:v>
                </c:pt>
                <c:pt idx="868">
                  <c:v>0.437472</c:v>
                </c:pt>
                <c:pt idx="869">
                  <c:v>0.437976</c:v>
                </c:pt>
                <c:pt idx="870">
                  <c:v>0.43848</c:v>
                </c:pt>
                <c:pt idx="871">
                  <c:v>0.438984</c:v>
                </c:pt>
                <c:pt idx="872">
                  <c:v>0.439488</c:v>
                </c:pt>
                <c:pt idx="873">
                  <c:v>0.439992</c:v>
                </c:pt>
                <c:pt idx="874">
                  <c:v>0.440496</c:v>
                </c:pt>
                <c:pt idx="875">
                  <c:v>0.441</c:v>
                </c:pt>
                <c:pt idx="876">
                  <c:v>0.441504</c:v>
                </c:pt>
                <c:pt idx="877">
                  <c:v>0.442008</c:v>
                </c:pt>
                <c:pt idx="878">
                  <c:v>0.442512</c:v>
                </c:pt>
                <c:pt idx="879">
                  <c:v>0.443016</c:v>
                </c:pt>
                <c:pt idx="880">
                  <c:v>0.44352</c:v>
                </c:pt>
                <c:pt idx="881">
                  <c:v>0.444024</c:v>
                </c:pt>
                <c:pt idx="882">
                  <c:v>0.444528</c:v>
                </c:pt>
                <c:pt idx="883">
                  <c:v>0.445032</c:v>
                </c:pt>
                <c:pt idx="884">
                  <c:v>0.445536</c:v>
                </c:pt>
                <c:pt idx="885">
                  <c:v>0.44604</c:v>
                </c:pt>
                <c:pt idx="886">
                  <c:v>0.446544</c:v>
                </c:pt>
                <c:pt idx="887">
                  <c:v>0.447048</c:v>
                </c:pt>
                <c:pt idx="888">
                  <c:v>0.447552</c:v>
                </c:pt>
                <c:pt idx="889">
                  <c:v>0.448056</c:v>
                </c:pt>
                <c:pt idx="890">
                  <c:v>0.44856</c:v>
                </c:pt>
                <c:pt idx="891">
                  <c:v>0.449064</c:v>
                </c:pt>
                <c:pt idx="892">
                  <c:v>0.449568</c:v>
                </c:pt>
                <c:pt idx="893">
                  <c:v>0.450072</c:v>
                </c:pt>
                <c:pt idx="894">
                  <c:v>0.450576</c:v>
                </c:pt>
                <c:pt idx="895">
                  <c:v>0.45108</c:v>
                </c:pt>
                <c:pt idx="896">
                  <c:v>0.451584</c:v>
                </c:pt>
                <c:pt idx="897">
                  <c:v>0.452088</c:v>
                </c:pt>
                <c:pt idx="898">
                  <c:v>0.452592</c:v>
                </c:pt>
                <c:pt idx="899">
                  <c:v>0.453096</c:v>
                </c:pt>
                <c:pt idx="900">
                  <c:v>0.4536</c:v>
                </c:pt>
                <c:pt idx="901">
                  <c:v>0.454104</c:v>
                </c:pt>
                <c:pt idx="902">
                  <c:v>0.454608</c:v>
                </c:pt>
                <c:pt idx="903">
                  <c:v>0.455112</c:v>
                </c:pt>
                <c:pt idx="904">
                  <c:v>0.455616</c:v>
                </c:pt>
                <c:pt idx="905">
                  <c:v>0.45612</c:v>
                </c:pt>
                <c:pt idx="906">
                  <c:v>0.456624</c:v>
                </c:pt>
                <c:pt idx="907">
                  <c:v>0.457128</c:v>
                </c:pt>
                <c:pt idx="908">
                  <c:v>0.457632</c:v>
                </c:pt>
                <c:pt idx="909">
                  <c:v>0.458136</c:v>
                </c:pt>
                <c:pt idx="910">
                  <c:v>0.45864</c:v>
                </c:pt>
                <c:pt idx="911">
                  <c:v>0.459144</c:v>
                </c:pt>
                <c:pt idx="912">
                  <c:v>0.459648</c:v>
                </c:pt>
                <c:pt idx="913">
                  <c:v>0.460152</c:v>
                </c:pt>
                <c:pt idx="914">
                  <c:v>0.460656</c:v>
                </c:pt>
                <c:pt idx="915">
                  <c:v>0.46116</c:v>
                </c:pt>
                <c:pt idx="916">
                  <c:v>0.461664</c:v>
                </c:pt>
                <c:pt idx="917">
                  <c:v>0.462168</c:v>
                </c:pt>
                <c:pt idx="918">
                  <c:v>0.462672</c:v>
                </c:pt>
                <c:pt idx="919">
                  <c:v>0.463176</c:v>
                </c:pt>
                <c:pt idx="920">
                  <c:v>0.46368</c:v>
                </c:pt>
                <c:pt idx="921">
                  <c:v>0.464184</c:v>
                </c:pt>
                <c:pt idx="922">
                  <c:v>0.464688</c:v>
                </c:pt>
                <c:pt idx="923">
                  <c:v>0.465192</c:v>
                </c:pt>
                <c:pt idx="924">
                  <c:v>0.465696</c:v>
                </c:pt>
                <c:pt idx="925">
                  <c:v>0.4662</c:v>
                </c:pt>
                <c:pt idx="926">
                  <c:v>0.466704</c:v>
                </c:pt>
                <c:pt idx="927">
                  <c:v>0.467208</c:v>
                </c:pt>
                <c:pt idx="928">
                  <c:v>0.467712</c:v>
                </c:pt>
                <c:pt idx="929">
                  <c:v>0.468216</c:v>
                </c:pt>
                <c:pt idx="930">
                  <c:v>0.46872</c:v>
                </c:pt>
                <c:pt idx="931">
                  <c:v>0.469224</c:v>
                </c:pt>
                <c:pt idx="932">
                  <c:v>0.469728</c:v>
                </c:pt>
                <c:pt idx="933">
                  <c:v>0.470232</c:v>
                </c:pt>
                <c:pt idx="934">
                  <c:v>0.470736</c:v>
                </c:pt>
                <c:pt idx="935">
                  <c:v>0.47124</c:v>
                </c:pt>
                <c:pt idx="936">
                  <c:v>0.471744</c:v>
                </c:pt>
                <c:pt idx="937">
                  <c:v>0.472248</c:v>
                </c:pt>
                <c:pt idx="938">
                  <c:v>0.472752</c:v>
                </c:pt>
                <c:pt idx="939">
                  <c:v>0.473256</c:v>
                </c:pt>
                <c:pt idx="940">
                  <c:v>0.47376</c:v>
                </c:pt>
                <c:pt idx="941">
                  <c:v>0.474264</c:v>
                </c:pt>
                <c:pt idx="942">
                  <c:v>0.474768</c:v>
                </c:pt>
                <c:pt idx="943">
                  <c:v>0.475272</c:v>
                </c:pt>
                <c:pt idx="944">
                  <c:v>0.475776</c:v>
                </c:pt>
                <c:pt idx="945">
                  <c:v>0.47628</c:v>
                </c:pt>
                <c:pt idx="946">
                  <c:v>0.476784</c:v>
                </c:pt>
                <c:pt idx="947">
                  <c:v>0.477288</c:v>
                </c:pt>
                <c:pt idx="948">
                  <c:v>0.477792</c:v>
                </c:pt>
                <c:pt idx="949">
                  <c:v>0.478296</c:v>
                </c:pt>
                <c:pt idx="950">
                  <c:v>0.4788</c:v>
                </c:pt>
                <c:pt idx="951">
                  <c:v>0.479304</c:v>
                </c:pt>
                <c:pt idx="952">
                  <c:v>0.479808</c:v>
                </c:pt>
                <c:pt idx="953">
                  <c:v>0.480312</c:v>
                </c:pt>
                <c:pt idx="954">
                  <c:v>0.480816</c:v>
                </c:pt>
                <c:pt idx="955">
                  <c:v>0.48132</c:v>
                </c:pt>
                <c:pt idx="956">
                  <c:v>0.481824</c:v>
                </c:pt>
                <c:pt idx="957">
                  <c:v>0.482328</c:v>
                </c:pt>
                <c:pt idx="958">
                  <c:v>0.482832</c:v>
                </c:pt>
                <c:pt idx="959">
                  <c:v>0.483336</c:v>
                </c:pt>
                <c:pt idx="960">
                  <c:v>0.48384</c:v>
                </c:pt>
                <c:pt idx="961">
                  <c:v>0.484344</c:v>
                </c:pt>
                <c:pt idx="962">
                  <c:v>0.484848</c:v>
                </c:pt>
                <c:pt idx="963">
                  <c:v>0.485352</c:v>
                </c:pt>
                <c:pt idx="964">
                  <c:v>0.485856</c:v>
                </c:pt>
                <c:pt idx="965">
                  <c:v>0.48636</c:v>
                </c:pt>
                <c:pt idx="966">
                  <c:v>0.486864</c:v>
                </c:pt>
                <c:pt idx="967">
                  <c:v>0.487368</c:v>
                </c:pt>
                <c:pt idx="968">
                  <c:v>0.487872</c:v>
                </c:pt>
                <c:pt idx="969">
                  <c:v>0.488376</c:v>
                </c:pt>
                <c:pt idx="970">
                  <c:v>0.48888</c:v>
                </c:pt>
                <c:pt idx="971">
                  <c:v>0.489384</c:v>
                </c:pt>
                <c:pt idx="972">
                  <c:v>0.489888</c:v>
                </c:pt>
                <c:pt idx="973">
                  <c:v>0.490392</c:v>
                </c:pt>
                <c:pt idx="974">
                  <c:v>0.490896</c:v>
                </c:pt>
                <c:pt idx="975">
                  <c:v>0.4914</c:v>
                </c:pt>
                <c:pt idx="976">
                  <c:v>0.491904</c:v>
                </c:pt>
                <c:pt idx="977">
                  <c:v>0.492408</c:v>
                </c:pt>
                <c:pt idx="978">
                  <c:v>0.492912</c:v>
                </c:pt>
                <c:pt idx="979">
                  <c:v>0.493416</c:v>
                </c:pt>
                <c:pt idx="980">
                  <c:v>0.49392</c:v>
                </c:pt>
                <c:pt idx="981">
                  <c:v>0.494424</c:v>
                </c:pt>
                <c:pt idx="982">
                  <c:v>0.494928</c:v>
                </c:pt>
                <c:pt idx="983">
                  <c:v>0.495432</c:v>
                </c:pt>
                <c:pt idx="984">
                  <c:v>0.495936</c:v>
                </c:pt>
                <c:pt idx="985">
                  <c:v>0.49644</c:v>
                </c:pt>
                <c:pt idx="986">
                  <c:v>0.496944</c:v>
                </c:pt>
                <c:pt idx="987">
                  <c:v>0.497448</c:v>
                </c:pt>
                <c:pt idx="988">
                  <c:v>0.497952</c:v>
                </c:pt>
                <c:pt idx="989">
                  <c:v>0.498456</c:v>
                </c:pt>
                <c:pt idx="990">
                  <c:v>0.49896</c:v>
                </c:pt>
                <c:pt idx="991">
                  <c:v>0.499464</c:v>
                </c:pt>
                <c:pt idx="992">
                  <c:v>0.499968</c:v>
                </c:pt>
                <c:pt idx="993">
                  <c:v>0.500472</c:v>
                </c:pt>
                <c:pt idx="994">
                  <c:v>0.500976</c:v>
                </c:pt>
                <c:pt idx="995">
                  <c:v>0.50148</c:v>
                </c:pt>
                <c:pt idx="996">
                  <c:v>0.501984</c:v>
                </c:pt>
                <c:pt idx="997">
                  <c:v>0.502488</c:v>
                </c:pt>
                <c:pt idx="998">
                  <c:v>0.502992</c:v>
                </c:pt>
                <c:pt idx="999">
                  <c:v>0.503496</c:v>
                </c:pt>
                <c:pt idx="1000">
                  <c:v>0.504</c:v>
                </c:pt>
                <c:pt idx="1001">
                  <c:v>0.504504</c:v>
                </c:pt>
                <c:pt idx="1002">
                  <c:v>0.505008</c:v>
                </c:pt>
                <c:pt idx="1003">
                  <c:v>0.505512</c:v>
                </c:pt>
                <c:pt idx="1004">
                  <c:v>0.506016</c:v>
                </c:pt>
                <c:pt idx="1005">
                  <c:v>0.50652</c:v>
                </c:pt>
                <c:pt idx="1006">
                  <c:v>0.507024</c:v>
                </c:pt>
                <c:pt idx="1007">
                  <c:v>0.507528</c:v>
                </c:pt>
                <c:pt idx="1008">
                  <c:v>0.508032</c:v>
                </c:pt>
                <c:pt idx="1009">
                  <c:v>0.508536</c:v>
                </c:pt>
                <c:pt idx="1010">
                  <c:v>0.50904</c:v>
                </c:pt>
                <c:pt idx="1011">
                  <c:v>0.509544</c:v>
                </c:pt>
                <c:pt idx="1012">
                  <c:v>0.510048</c:v>
                </c:pt>
                <c:pt idx="1013">
                  <c:v>0.510552</c:v>
                </c:pt>
                <c:pt idx="1014">
                  <c:v>0.511056</c:v>
                </c:pt>
                <c:pt idx="1015">
                  <c:v>0.51156</c:v>
                </c:pt>
                <c:pt idx="1016">
                  <c:v>0.512064</c:v>
                </c:pt>
                <c:pt idx="1017">
                  <c:v>0.512568</c:v>
                </c:pt>
                <c:pt idx="1018">
                  <c:v>0.513072</c:v>
                </c:pt>
                <c:pt idx="1019">
                  <c:v>0.513576</c:v>
                </c:pt>
                <c:pt idx="1020">
                  <c:v>0.51408</c:v>
                </c:pt>
                <c:pt idx="1021">
                  <c:v>0.514584</c:v>
                </c:pt>
                <c:pt idx="1022">
                  <c:v>0.515088</c:v>
                </c:pt>
                <c:pt idx="1023">
                  <c:v>0.515592</c:v>
                </c:pt>
                <c:pt idx="1024">
                  <c:v>0.516096</c:v>
                </c:pt>
                <c:pt idx="1025">
                  <c:v>0.5166</c:v>
                </c:pt>
                <c:pt idx="1026">
                  <c:v>0.517104</c:v>
                </c:pt>
                <c:pt idx="1027">
                  <c:v>0.517608</c:v>
                </c:pt>
                <c:pt idx="1028">
                  <c:v>0.518112</c:v>
                </c:pt>
                <c:pt idx="1029">
                  <c:v>0.518616</c:v>
                </c:pt>
                <c:pt idx="1030">
                  <c:v>0.51912</c:v>
                </c:pt>
                <c:pt idx="1031">
                  <c:v>0.519624</c:v>
                </c:pt>
                <c:pt idx="1032">
                  <c:v>0.520128</c:v>
                </c:pt>
                <c:pt idx="1033">
                  <c:v>0.520632</c:v>
                </c:pt>
                <c:pt idx="1034">
                  <c:v>0.521136</c:v>
                </c:pt>
                <c:pt idx="1035">
                  <c:v>0.52164</c:v>
                </c:pt>
                <c:pt idx="1036">
                  <c:v>0.522144</c:v>
                </c:pt>
                <c:pt idx="1037">
                  <c:v>0.522648</c:v>
                </c:pt>
                <c:pt idx="1038">
                  <c:v>0.523152</c:v>
                </c:pt>
                <c:pt idx="1039">
                  <c:v>0.523656</c:v>
                </c:pt>
                <c:pt idx="1040">
                  <c:v>0.52416</c:v>
                </c:pt>
                <c:pt idx="1041">
                  <c:v>0.524664</c:v>
                </c:pt>
                <c:pt idx="1042">
                  <c:v>0.525168</c:v>
                </c:pt>
                <c:pt idx="1043">
                  <c:v>0.525672</c:v>
                </c:pt>
                <c:pt idx="1044">
                  <c:v>0.526176</c:v>
                </c:pt>
                <c:pt idx="1045">
                  <c:v>0.52668</c:v>
                </c:pt>
                <c:pt idx="1046">
                  <c:v>0.527184</c:v>
                </c:pt>
                <c:pt idx="1047">
                  <c:v>0.527688</c:v>
                </c:pt>
                <c:pt idx="1048">
                  <c:v>0.528192</c:v>
                </c:pt>
                <c:pt idx="1049">
                  <c:v>0.528696</c:v>
                </c:pt>
                <c:pt idx="1050">
                  <c:v>0.5292</c:v>
                </c:pt>
                <c:pt idx="1051">
                  <c:v>0.529704</c:v>
                </c:pt>
                <c:pt idx="1052">
                  <c:v>0.530208</c:v>
                </c:pt>
                <c:pt idx="1053">
                  <c:v>0.530712</c:v>
                </c:pt>
                <c:pt idx="1054">
                  <c:v>0.531216</c:v>
                </c:pt>
                <c:pt idx="1055">
                  <c:v>0.53172</c:v>
                </c:pt>
                <c:pt idx="1056">
                  <c:v>0.532224</c:v>
                </c:pt>
                <c:pt idx="1057">
                  <c:v>0.532728</c:v>
                </c:pt>
                <c:pt idx="1058">
                  <c:v>0.533232</c:v>
                </c:pt>
                <c:pt idx="1059">
                  <c:v>0.533736</c:v>
                </c:pt>
                <c:pt idx="1060">
                  <c:v>0.53424</c:v>
                </c:pt>
                <c:pt idx="1061">
                  <c:v>0.534744</c:v>
                </c:pt>
                <c:pt idx="1062">
                  <c:v>0.535248</c:v>
                </c:pt>
                <c:pt idx="1063">
                  <c:v>0.535752</c:v>
                </c:pt>
                <c:pt idx="1064">
                  <c:v>0.536256</c:v>
                </c:pt>
                <c:pt idx="1065">
                  <c:v>0.53676</c:v>
                </c:pt>
                <c:pt idx="1066">
                  <c:v>0.537264</c:v>
                </c:pt>
                <c:pt idx="1067">
                  <c:v>0.537768</c:v>
                </c:pt>
                <c:pt idx="1068">
                  <c:v>0.538272</c:v>
                </c:pt>
                <c:pt idx="1069">
                  <c:v>0.538776</c:v>
                </c:pt>
                <c:pt idx="1070">
                  <c:v>0.53928</c:v>
                </c:pt>
                <c:pt idx="1071">
                  <c:v>0.539784</c:v>
                </c:pt>
                <c:pt idx="1072">
                  <c:v>0.540288</c:v>
                </c:pt>
                <c:pt idx="1073">
                  <c:v>0.540792</c:v>
                </c:pt>
                <c:pt idx="1074">
                  <c:v>0.541296</c:v>
                </c:pt>
                <c:pt idx="1075">
                  <c:v>0.5418</c:v>
                </c:pt>
                <c:pt idx="1076">
                  <c:v>0.542304</c:v>
                </c:pt>
                <c:pt idx="1077">
                  <c:v>0.542808</c:v>
                </c:pt>
                <c:pt idx="1078">
                  <c:v>0.543312</c:v>
                </c:pt>
                <c:pt idx="1079">
                  <c:v>0.543816</c:v>
                </c:pt>
                <c:pt idx="1080">
                  <c:v>0.54432</c:v>
                </c:pt>
                <c:pt idx="1081">
                  <c:v>0.544824</c:v>
                </c:pt>
                <c:pt idx="1082">
                  <c:v>0.545328</c:v>
                </c:pt>
                <c:pt idx="1083">
                  <c:v>0.545832</c:v>
                </c:pt>
                <c:pt idx="1084">
                  <c:v>0.546336</c:v>
                </c:pt>
                <c:pt idx="1085">
                  <c:v>0.54684</c:v>
                </c:pt>
                <c:pt idx="1086">
                  <c:v>0.547344</c:v>
                </c:pt>
                <c:pt idx="1087">
                  <c:v>0.547848</c:v>
                </c:pt>
                <c:pt idx="1088">
                  <c:v>0.548352</c:v>
                </c:pt>
                <c:pt idx="1089">
                  <c:v>0.548856</c:v>
                </c:pt>
                <c:pt idx="1090">
                  <c:v>0.54936</c:v>
                </c:pt>
                <c:pt idx="1091">
                  <c:v>0.549864</c:v>
                </c:pt>
                <c:pt idx="1092">
                  <c:v>0.550368</c:v>
                </c:pt>
                <c:pt idx="1093">
                  <c:v>0.550872</c:v>
                </c:pt>
                <c:pt idx="1094">
                  <c:v>0.551376</c:v>
                </c:pt>
                <c:pt idx="1095">
                  <c:v>0.55188</c:v>
                </c:pt>
                <c:pt idx="1096">
                  <c:v>0.552384</c:v>
                </c:pt>
                <c:pt idx="1097">
                  <c:v>0.552888</c:v>
                </c:pt>
                <c:pt idx="1098">
                  <c:v>0.553392</c:v>
                </c:pt>
                <c:pt idx="1099">
                  <c:v>0.553896</c:v>
                </c:pt>
                <c:pt idx="1100">
                  <c:v>0.5544</c:v>
                </c:pt>
                <c:pt idx="1101">
                  <c:v>0.554904</c:v>
                </c:pt>
                <c:pt idx="1102">
                  <c:v>0.555408</c:v>
                </c:pt>
                <c:pt idx="1103">
                  <c:v>0.555912</c:v>
                </c:pt>
                <c:pt idx="1104">
                  <c:v>0.556416</c:v>
                </c:pt>
                <c:pt idx="1105">
                  <c:v>0.55692</c:v>
                </c:pt>
                <c:pt idx="1106">
                  <c:v>0.557424</c:v>
                </c:pt>
                <c:pt idx="1107">
                  <c:v>0.557928</c:v>
                </c:pt>
                <c:pt idx="1108">
                  <c:v>0.558432</c:v>
                </c:pt>
                <c:pt idx="1109">
                  <c:v>0.558936</c:v>
                </c:pt>
                <c:pt idx="1110">
                  <c:v>0.55944</c:v>
                </c:pt>
                <c:pt idx="1111">
                  <c:v>0.559944</c:v>
                </c:pt>
                <c:pt idx="1112">
                  <c:v>0.560448</c:v>
                </c:pt>
                <c:pt idx="1113">
                  <c:v>0.560952</c:v>
                </c:pt>
                <c:pt idx="1114">
                  <c:v>0.561456</c:v>
                </c:pt>
                <c:pt idx="1115">
                  <c:v>0.56196</c:v>
                </c:pt>
                <c:pt idx="1116">
                  <c:v>0.562464</c:v>
                </c:pt>
                <c:pt idx="1117">
                  <c:v>0.562968</c:v>
                </c:pt>
                <c:pt idx="1118">
                  <c:v>0.563472</c:v>
                </c:pt>
                <c:pt idx="1119">
                  <c:v>0.563976</c:v>
                </c:pt>
                <c:pt idx="1120">
                  <c:v>0.56448</c:v>
                </c:pt>
                <c:pt idx="1121">
                  <c:v>0.564984</c:v>
                </c:pt>
                <c:pt idx="1122">
                  <c:v>0.565488</c:v>
                </c:pt>
                <c:pt idx="1123">
                  <c:v>0.565992</c:v>
                </c:pt>
                <c:pt idx="1124">
                  <c:v>0.566496</c:v>
                </c:pt>
                <c:pt idx="1125">
                  <c:v>0.567</c:v>
                </c:pt>
                <c:pt idx="1126">
                  <c:v>0.567504</c:v>
                </c:pt>
                <c:pt idx="1127">
                  <c:v>0.568008</c:v>
                </c:pt>
                <c:pt idx="1128">
                  <c:v>0.568512</c:v>
                </c:pt>
                <c:pt idx="1129">
                  <c:v>0.569016</c:v>
                </c:pt>
                <c:pt idx="1130">
                  <c:v>0.56952</c:v>
                </c:pt>
                <c:pt idx="1131">
                  <c:v>0.570024</c:v>
                </c:pt>
                <c:pt idx="1132">
                  <c:v>0.570528</c:v>
                </c:pt>
                <c:pt idx="1133">
                  <c:v>0.571032</c:v>
                </c:pt>
                <c:pt idx="1134">
                  <c:v>0.571536</c:v>
                </c:pt>
                <c:pt idx="1135">
                  <c:v>0.57204</c:v>
                </c:pt>
                <c:pt idx="1136">
                  <c:v>0.572544</c:v>
                </c:pt>
                <c:pt idx="1137">
                  <c:v>0.573048</c:v>
                </c:pt>
                <c:pt idx="1138">
                  <c:v>0.573552</c:v>
                </c:pt>
                <c:pt idx="1139">
                  <c:v>0.574056</c:v>
                </c:pt>
                <c:pt idx="1140">
                  <c:v>0.57456</c:v>
                </c:pt>
                <c:pt idx="1141">
                  <c:v>0.575064</c:v>
                </c:pt>
                <c:pt idx="1142">
                  <c:v>0.575568</c:v>
                </c:pt>
                <c:pt idx="1143">
                  <c:v>0.576072</c:v>
                </c:pt>
                <c:pt idx="1144">
                  <c:v>0.576576</c:v>
                </c:pt>
                <c:pt idx="1145">
                  <c:v>0.57708</c:v>
                </c:pt>
                <c:pt idx="1146">
                  <c:v>0.577584</c:v>
                </c:pt>
                <c:pt idx="1147">
                  <c:v>0.578088</c:v>
                </c:pt>
                <c:pt idx="1148">
                  <c:v>0.578592</c:v>
                </c:pt>
                <c:pt idx="1149">
                  <c:v>0.579096</c:v>
                </c:pt>
                <c:pt idx="1150">
                  <c:v>0.5796</c:v>
                </c:pt>
                <c:pt idx="1151">
                  <c:v>0.580104</c:v>
                </c:pt>
                <c:pt idx="1152">
                  <c:v>0.580608</c:v>
                </c:pt>
                <c:pt idx="1153">
                  <c:v>0.581112</c:v>
                </c:pt>
                <c:pt idx="1154">
                  <c:v>0.581616</c:v>
                </c:pt>
                <c:pt idx="1155">
                  <c:v>0.58212</c:v>
                </c:pt>
                <c:pt idx="1156">
                  <c:v>0.582624</c:v>
                </c:pt>
                <c:pt idx="1157">
                  <c:v>0.583128</c:v>
                </c:pt>
                <c:pt idx="1158">
                  <c:v>0.583632</c:v>
                </c:pt>
                <c:pt idx="1159">
                  <c:v>0.584136</c:v>
                </c:pt>
                <c:pt idx="1160">
                  <c:v>0.58464</c:v>
                </c:pt>
                <c:pt idx="1161">
                  <c:v>0.585144</c:v>
                </c:pt>
                <c:pt idx="1162">
                  <c:v>0.585648</c:v>
                </c:pt>
                <c:pt idx="1163">
                  <c:v>0.586152</c:v>
                </c:pt>
                <c:pt idx="1164">
                  <c:v>0.586656</c:v>
                </c:pt>
                <c:pt idx="1165">
                  <c:v>0.58716</c:v>
                </c:pt>
                <c:pt idx="1166">
                  <c:v>0.587664</c:v>
                </c:pt>
                <c:pt idx="1167">
                  <c:v>0.588168</c:v>
                </c:pt>
                <c:pt idx="1168">
                  <c:v>0.588672</c:v>
                </c:pt>
                <c:pt idx="1169">
                  <c:v>0.589176</c:v>
                </c:pt>
                <c:pt idx="1170">
                  <c:v>0.58968</c:v>
                </c:pt>
                <c:pt idx="1171">
                  <c:v>0.590184</c:v>
                </c:pt>
                <c:pt idx="1172">
                  <c:v>0.590688</c:v>
                </c:pt>
                <c:pt idx="1173">
                  <c:v>0.591192</c:v>
                </c:pt>
                <c:pt idx="1174">
                  <c:v>0.591696</c:v>
                </c:pt>
                <c:pt idx="1175">
                  <c:v>0.5922</c:v>
                </c:pt>
                <c:pt idx="1176">
                  <c:v>0.592704</c:v>
                </c:pt>
                <c:pt idx="1177">
                  <c:v>0.593208</c:v>
                </c:pt>
                <c:pt idx="1178">
                  <c:v>0.593712</c:v>
                </c:pt>
                <c:pt idx="1179">
                  <c:v>0.594216</c:v>
                </c:pt>
                <c:pt idx="1180">
                  <c:v>0.59472</c:v>
                </c:pt>
                <c:pt idx="1181">
                  <c:v>0.595224</c:v>
                </c:pt>
                <c:pt idx="1182">
                  <c:v>0.595728</c:v>
                </c:pt>
                <c:pt idx="1183">
                  <c:v>0.596232</c:v>
                </c:pt>
                <c:pt idx="1184">
                  <c:v>0.596736</c:v>
                </c:pt>
                <c:pt idx="1185">
                  <c:v>0.59724</c:v>
                </c:pt>
                <c:pt idx="1186">
                  <c:v>0.597744</c:v>
                </c:pt>
                <c:pt idx="1187">
                  <c:v>0.598248</c:v>
                </c:pt>
                <c:pt idx="1188">
                  <c:v>0.598752</c:v>
                </c:pt>
                <c:pt idx="1189">
                  <c:v>0.599256</c:v>
                </c:pt>
                <c:pt idx="1190">
                  <c:v>0.59976</c:v>
                </c:pt>
                <c:pt idx="1191">
                  <c:v>0.600264</c:v>
                </c:pt>
                <c:pt idx="1192">
                  <c:v>0.600768</c:v>
                </c:pt>
                <c:pt idx="1193">
                  <c:v>0.601272</c:v>
                </c:pt>
                <c:pt idx="1194">
                  <c:v>0.601776</c:v>
                </c:pt>
                <c:pt idx="1195">
                  <c:v>0.60228</c:v>
                </c:pt>
                <c:pt idx="1196">
                  <c:v>0.602784</c:v>
                </c:pt>
                <c:pt idx="1197">
                  <c:v>0.603288</c:v>
                </c:pt>
                <c:pt idx="1198">
                  <c:v>0.603792</c:v>
                </c:pt>
                <c:pt idx="1199">
                  <c:v>0.604296</c:v>
                </c:pt>
                <c:pt idx="1200">
                  <c:v>0.6048</c:v>
                </c:pt>
                <c:pt idx="1201">
                  <c:v>0.605304</c:v>
                </c:pt>
                <c:pt idx="1202">
                  <c:v>0.605808</c:v>
                </c:pt>
                <c:pt idx="1203">
                  <c:v>0.606312</c:v>
                </c:pt>
                <c:pt idx="1204">
                  <c:v>0.606816</c:v>
                </c:pt>
                <c:pt idx="1205">
                  <c:v>0.60732</c:v>
                </c:pt>
                <c:pt idx="1206">
                  <c:v>0.607824</c:v>
                </c:pt>
                <c:pt idx="1207">
                  <c:v>0.608328</c:v>
                </c:pt>
                <c:pt idx="1208">
                  <c:v>0.608832</c:v>
                </c:pt>
                <c:pt idx="1209">
                  <c:v>0.609336</c:v>
                </c:pt>
                <c:pt idx="1210">
                  <c:v>0.60984</c:v>
                </c:pt>
                <c:pt idx="1211">
                  <c:v>0.610344</c:v>
                </c:pt>
                <c:pt idx="1212">
                  <c:v>0.610848</c:v>
                </c:pt>
                <c:pt idx="1213">
                  <c:v>0.611352</c:v>
                </c:pt>
                <c:pt idx="1214">
                  <c:v>0.611856</c:v>
                </c:pt>
                <c:pt idx="1215">
                  <c:v>0.61236</c:v>
                </c:pt>
                <c:pt idx="1216">
                  <c:v>0.612864</c:v>
                </c:pt>
                <c:pt idx="1217">
                  <c:v>0.613368</c:v>
                </c:pt>
                <c:pt idx="1218">
                  <c:v>0.613872</c:v>
                </c:pt>
                <c:pt idx="1219">
                  <c:v>0.614376</c:v>
                </c:pt>
                <c:pt idx="1220">
                  <c:v>0.61488</c:v>
                </c:pt>
                <c:pt idx="1221">
                  <c:v>0.615384</c:v>
                </c:pt>
                <c:pt idx="1222">
                  <c:v>0.615888</c:v>
                </c:pt>
                <c:pt idx="1223">
                  <c:v>0.616392</c:v>
                </c:pt>
                <c:pt idx="1224">
                  <c:v>0.616896</c:v>
                </c:pt>
                <c:pt idx="1225">
                  <c:v>0.6174</c:v>
                </c:pt>
                <c:pt idx="1226">
                  <c:v>0.617904</c:v>
                </c:pt>
                <c:pt idx="1227">
                  <c:v>0.618408</c:v>
                </c:pt>
                <c:pt idx="1228">
                  <c:v>0.618912</c:v>
                </c:pt>
                <c:pt idx="1229">
                  <c:v>0.619416</c:v>
                </c:pt>
                <c:pt idx="1230">
                  <c:v>0.61992</c:v>
                </c:pt>
                <c:pt idx="1231">
                  <c:v>0.620424</c:v>
                </c:pt>
                <c:pt idx="1232">
                  <c:v>0.620928</c:v>
                </c:pt>
                <c:pt idx="1233">
                  <c:v>0.621432</c:v>
                </c:pt>
                <c:pt idx="1234">
                  <c:v>0.621936</c:v>
                </c:pt>
                <c:pt idx="1235">
                  <c:v>0.62244</c:v>
                </c:pt>
                <c:pt idx="1236">
                  <c:v>0.622944</c:v>
                </c:pt>
                <c:pt idx="1237">
                  <c:v>0.623448</c:v>
                </c:pt>
                <c:pt idx="1238">
                  <c:v>0.623952</c:v>
                </c:pt>
                <c:pt idx="1239">
                  <c:v>0.624456</c:v>
                </c:pt>
                <c:pt idx="1240">
                  <c:v>0.62496</c:v>
                </c:pt>
                <c:pt idx="1241">
                  <c:v>0.625464</c:v>
                </c:pt>
                <c:pt idx="1242">
                  <c:v>0.625968</c:v>
                </c:pt>
                <c:pt idx="1243">
                  <c:v>0.626472</c:v>
                </c:pt>
                <c:pt idx="1244">
                  <c:v>0.626976</c:v>
                </c:pt>
                <c:pt idx="1245">
                  <c:v>0.62748</c:v>
                </c:pt>
                <c:pt idx="1246">
                  <c:v>0.627984</c:v>
                </c:pt>
                <c:pt idx="1247">
                  <c:v>0.628488</c:v>
                </c:pt>
                <c:pt idx="1248">
                  <c:v>0.628992</c:v>
                </c:pt>
                <c:pt idx="1249">
                  <c:v>0.629496</c:v>
                </c:pt>
                <c:pt idx="1250">
                  <c:v>0.63</c:v>
                </c:pt>
                <c:pt idx="1251">
                  <c:v>0.630504</c:v>
                </c:pt>
                <c:pt idx="1252">
                  <c:v>0.631008</c:v>
                </c:pt>
                <c:pt idx="1253">
                  <c:v>0.631512</c:v>
                </c:pt>
                <c:pt idx="1254">
                  <c:v>0.632016</c:v>
                </c:pt>
                <c:pt idx="1255">
                  <c:v>0.63252</c:v>
                </c:pt>
                <c:pt idx="1256">
                  <c:v>0.633024</c:v>
                </c:pt>
                <c:pt idx="1257">
                  <c:v>0.633528</c:v>
                </c:pt>
                <c:pt idx="1258">
                  <c:v>0.634032</c:v>
                </c:pt>
                <c:pt idx="1259">
                  <c:v>0.634536</c:v>
                </c:pt>
                <c:pt idx="1260">
                  <c:v>0.63504</c:v>
                </c:pt>
                <c:pt idx="1261">
                  <c:v>0.635544</c:v>
                </c:pt>
                <c:pt idx="1262">
                  <c:v>0.636048</c:v>
                </c:pt>
                <c:pt idx="1263">
                  <c:v>0.636552</c:v>
                </c:pt>
                <c:pt idx="1264">
                  <c:v>0.637056</c:v>
                </c:pt>
                <c:pt idx="1265">
                  <c:v>0.63756</c:v>
                </c:pt>
                <c:pt idx="1266">
                  <c:v>0.638064</c:v>
                </c:pt>
                <c:pt idx="1267">
                  <c:v>0.638568</c:v>
                </c:pt>
                <c:pt idx="1268">
                  <c:v>0.639072</c:v>
                </c:pt>
                <c:pt idx="1269">
                  <c:v>0.639576</c:v>
                </c:pt>
                <c:pt idx="1270">
                  <c:v>0.64008</c:v>
                </c:pt>
                <c:pt idx="1271">
                  <c:v>0.640584</c:v>
                </c:pt>
                <c:pt idx="1272">
                  <c:v>0.641088</c:v>
                </c:pt>
                <c:pt idx="1273">
                  <c:v>0.641592</c:v>
                </c:pt>
                <c:pt idx="1274">
                  <c:v>0.642096</c:v>
                </c:pt>
                <c:pt idx="1275">
                  <c:v>0.6426</c:v>
                </c:pt>
                <c:pt idx="1276">
                  <c:v>0.643104</c:v>
                </c:pt>
                <c:pt idx="1277">
                  <c:v>0.643608</c:v>
                </c:pt>
                <c:pt idx="1278">
                  <c:v>0.644112</c:v>
                </c:pt>
                <c:pt idx="1279">
                  <c:v>0.644616</c:v>
                </c:pt>
                <c:pt idx="1280">
                  <c:v>0.64512</c:v>
                </c:pt>
                <c:pt idx="1281">
                  <c:v>0.645624</c:v>
                </c:pt>
                <c:pt idx="1282">
                  <c:v>0.646128</c:v>
                </c:pt>
                <c:pt idx="1283">
                  <c:v>0.646632</c:v>
                </c:pt>
                <c:pt idx="1284">
                  <c:v>0.647136</c:v>
                </c:pt>
                <c:pt idx="1285">
                  <c:v>0.64764</c:v>
                </c:pt>
                <c:pt idx="1286">
                  <c:v>0.648144</c:v>
                </c:pt>
                <c:pt idx="1287">
                  <c:v>0.648648</c:v>
                </c:pt>
                <c:pt idx="1288">
                  <c:v>0.649152</c:v>
                </c:pt>
                <c:pt idx="1289">
                  <c:v>0.649656</c:v>
                </c:pt>
                <c:pt idx="1290">
                  <c:v>0.65016</c:v>
                </c:pt>
                <c:pt idx="1291">
                  <c:v>0.650664</c:v>
                </c:pt>
                <c:pt idx="1292">
                  <c:v>0.651168</c:v>
                </c:pt>
                <c:pt idx="1293">
                  <c:v>0.651672</c:v>
                </c:pt>
                <c:pt idx="1294">
                  <c:v>0.652176</c:v>
                </c:pt>
                <c:pt idx="1295">
                  <c:v>0.65268</c:v>
                </c:pt>
                <c:pt idx="1296">
                  <c:v>0.653184</c:v>
                </c:pt>
                <c:pt idx="1297">
                  <c:v>0.653688</c:v>
                </c:pt>
                <c:pt idx="1298">
                  <c:v>0.654192</c:v>
                </c:pt>
                <c:pt idx="1299">
                  <c:v>0.654696</c:v>
                </c:pt>
                <c:pt idx="1300">
                  <c:v>0.6552</c:v>
                </c:pt>
                <c:pt idx="1301">
                  <c:v>0.655704</c:v>
                </c:pt>
                <c:pt idx="1302">
                  <c:v>0.656208</c:v>
                </c:pt>
                <c:pt idx="1303">
                  <c:v>0.656712</c:v>
                </c:pt>
                <c:pt idx="1304">
                  <c:v>0.657216</c:v>
                </c:pt>
                <c:pt idx="1305">
                  <c:v>0.65772</c:v>
                </c:pt>
                <c:pt idx="1306">
                  <c:v>0.658224</c:v>
                </c:pt>
                <c:pt idx="1307">
                  <c:v>0.658728</c:v>
                </c:pt>
                <c:pt idx="1308">
                  <c:v>0.659232</c:v>
                </c:pt>
                <c:pt idx="1309">
                  <c:v>0.659736</c:v>
                </c:pt>
                <c:pt idx="1310">
                  <c:v>0.66024</c:v>
                </c:pt>
                <c:pt idx="1311">
                  <c:v>0.660744</c:v>
                </c:pt>
                <c:pt idx="1312">
                  <c:v>0.661248</c:v>
                </c:pt>
                <c:pt idx="1313">
                  <c:v>0.661752</c:v>
                </c:pt>
                <c:pt idx="1314">
                  <c:v>0.662256</c:v>
                </c:pt>
                <c:pt idx="1315">
                  <c:v>0.66276</c:v>
                </c:pt>
                <c:pt idx="1316">
                  <c:v>0.663264</c:v>
                </c:pt>
                <c:pt idx="1317">
                  <c:v>0.663768</c:v>
                </c:pt>
                <c:pt idx="1318">
                  <c:v>0.664272</c:v>
                </c:pt>
                <c:pt idx="1319">
                  <c:v>0.664776</c:v>
                </c:pt>
                <c:pt idx="1320">
                  <c:v>0.66528</c:v>
                </c:pt>
                <c:pt idx="1321">
                  <c:v>0.665784</c:v>
                </c:pt>
                <c:pt idx="1322">
                  <c:v>0.666288</c:v>
                </c:pt>
                <c:pt idx="1323">
                  <c:v>0.666792</c:v>
                </c:pt>
                <c:pt idx="1324">
                  <c:v>0.667296</c:v>
                </c:pt>
                <c:pt idx="1325">
                  <c:v>0.6678</c:v>
                </c:pt>
                <c:pt idx="1326">
                  <c:v>0.668304</c:v>
                </c:pt>
                <c:pt idx="1327">
                  <c:v>0.668808</c:v>
                </c:pt>
                <c:pt idx="1328">
                  <c:v>0.669312</c:v>
                </c:pt>
                <c:pt idx="1329">
                  <c:v>0.669816</c:v>
                </c:pt>
                <c:pt idx="1330">
                  <c:v>0.67032</c:v>
                </c:pt>
                <c:pt idx="1331">
                  <c:v>0.670824</c:v>
                </c:pt>
                <c:pt idx="1332">
                  <c:v>0.671328</c:v>
                </c:pt>
                <c:pt idx="1333">
                  <c:v>0.671832</c:v>
                </c:pt>
                <c:pt idx="1334">
                  <c:v>0.672336</c:v>
                </c:pt>
                <c:pt idx="1335">
                  <c:v>0.67284</c:v>
                </c:pt>
                <c:pt idx="1336">
                  <c:v>0.673344</c:v>
                </c:pt>
                <c:pt idx="1337">
                  <c:v>0.673848</c:v>
                </c:pt>
                <c:pt idx="1338">
                  <c:v>0.674352</c:v>
                </c:pt>
                <c:pt idx="1339">
                  <c:v>0.674856</c:v>
                </c:pt>
                <c:pt idx="1340">
                  <c:v>0.67536</c:v>
                </c:pt>
                <c:pt idx="1341">
                  <c:v>0.675864</c:v>
                </c:pt>
                <c:pt idx="1342">
                  <c:v>0.676368</c:v>
                </c:pt>
                <c:pt idx="1343">
                  <c:v>0.676872</c:v>
                </c:pt>
                <c:pt idx="1344">
                  <c:v>0.677376</c:v>
                </c:pt>
                <c:pt idx="1345">
                  <c:v>0.67788</c:v>
                </c:pt>
                <c:pt idx="1346">
                  <c:v>0.678384</c:v>
                </c:pt>
                <c:pt idx="1347">
                  <c:v>0.678888</c:v>
                </c:pt>
                <c:pt idx="1348">
                  <c:v>0.679392</c:v>
                </c:pt>
                <c:pt idx="1349">
                  <c:v>0.679896</c:v>
                </c:pt>
                <c:pt idx="1350">
                  <c:v>0.6804</c:v>
                </c:pt>
                <c:pt idx="1351">
                  <c:v>0.680904</c:v>
                </c:pt>
                <c:pt idx="1352">
                  <c:v>0.681408</c:v>
                </c:pt>
                <c:pt idx="1353">
                  <c:v>0.681912</c:v>
                </c:pt>
                <c:pt idx="1354">
                  <c:v>0.682416</c:v>
                </c:pt>
                <c:pt idx="1355">
                  <c:v>0.68292</c:v>
                </c:pt>
                <c:pt idx="1356">
                  <c:v>0.683424</c:v>
                </c:pt>
                <c:pt idx="1357">
                  <c:v>0.683928</c:v>
                </c:pt>
                <c:pt idx="1358">
                  <c:v>0.684432</c:v>
                </c:pt>
                <c:pt idx="1359">
                  <c:v>0.684936</c:v>
                </c:pt>
                <c:pt idx="1360">
                  <c:v>0.68544</c:v>
                </c:pt>
                <c:pt idx="1361">
                  <c:v>0.685944</c:v>
                </c:pt>
                <c:pt idx="1362">
                  <c:v>0.686448</c:v>
                </c:pt>
                <c:pt idx="1363">
                  <c:v>0.686952</c:v>
                </c:pt>
                <c:pt idx="1364">
                  <c:v>0.687456</c:v>
                </c:pt>
                <c:pt idx="1365">
                  <c:v>0.68796</c:v>
                </c:pt>
                <c:pt idx="1366">
                  <c:v>0.688464</c:v>
                </c:pt>
                <c:pt idx="1367">
                  <c:v>0.688968</c:v>
                </c:pt>
                <c:pt idx="1368">
                  <c:v>0.689472</c:v>
                </c:pt>
                <c:pt idx="1369">
                  <c:v>0.689976</c:v>
                </c:pt>
                <c:pt idx="1370">
                  <c:v>0.69048</c:v>
                </c:pt>
                <c:pt idx="1371">
                  <c:v>0.690984</c:v>
                </c:pt>
                <c:pt idx="1372">
                  <c:v>0.691488</c:v>
                </c:pt>
                <c:pt idx="1373">
                  <c:v>0.691992</c:v>
                </c:pt>
                <c:pt idx="1374">
                  <c:v>0.692496</c:v>
                </c:pt>
                <c:pt idx="1375">
                  <c:v>0.693</c:v>
                </c:pt>
                <c:pt idx="1376">
                  <c:v>0.693504</c:v>
                </c:pt>
                <c:pt idx="1377">
                  <c:v>0.694008</c:v>
                </c:pt>
                <c:pt idx="1378">
                  <c:v>0.694512</c:v>
                </c:pt>
                <c:pt idx="1379">
                  <c:v>0.695016</c:v>
                </c:pt>
                <c:pt idx="1380">
                  <c:v>0.69552</c:v>
                </c:pt>
                <c:pt idx="1381">
                  <c:v>0.696024</c:v>
                </c:pt>
                <c:pt idx="1382">
                  <c:v>0.696528</c:v>
                </c:pt>
                <c:pt idx="1383">
                  <c:v>0.697032</c:v>
                </c:pt>
                <c:pt idx="1384">
                  <c:v>0.697536</c:v>
                </c:pt>
                <c:pt idx="1385">
                  <c:v>0.69804</c:v>
                </c:pt>
                <c:pt idx="1386">
                  <c:v>0.698544</c:v>
                </c:pt>
                <c:pt idx="1387">
                  <c:v>0.699048</c:v>
                </c:pt>
                <c:pt idx="1388">
                  <c:v>0.699552</c:v>
                </c:pt>
                <c:pt idx="1389">
                  <c:v>0.700056</c:v>
                </c:pt>
                <c:pt idx="1390">
                  <c:v>0.70056</c:v>
                </c:pt>
                <c:pt idx="1391">
                  <c:v>0.701064</c:v>
                </c:pt>
                <c:pt idx="1392">
                  <c:v>0.701568</c:v>
                </c:pt>
                <c:pt idx="1393">
                  <c:v>0.702072</c:v>
                </c:pt>
                <c:pt idx="1394">
                  <c:v>0.702576</c:v>
                </c:pt>
                <c:pt idx="1395">
                  <c:v>0.70308</c:v>
                </c:pt>
                <c:pt idx="1396">
                  <c:v>0.703584</c:v>
                </c:pt>
                <c:pt idx="1397">
                  <c:v>0.704088</c:v>
                </c:pt>
                <c:pt idx="1398">
                  <c:v>0.704592</c:v>
                </c:pt>
                <c:pt idx="1399">
                  <c:v>0.705096</c:v>
                </c:pt>
                <c:pt idx="1400">
                  <c:v>0.7056</c:v>
                </c:pt>
                <c:pt idx="1401">
                  <c:v>0.706104</c:v>
                </c:pt>
                <c:pt idx="1402">
                  <c:v>0.706608</c:v>
                </c:pt>
                <c:pt idx="1403">
                  <c:v>0.707112</c:v>
                </c:pt>
                <c:pt idx="1404">
                  <c:v>0.707616</c:v>
                </c:pt>
                <c:pt idx="1405">
                  <c:v>0.70812</c:v>
                </c:pt>
                <c:pt idx="1406">
                  <c:v>0.708624</c:v>
                </c:pt>
                <c:pt idx="1407">
                  <c:v>0.709128</c:v>
                </c:pt>
                <c:pt idx="1408">
                  <c:v>0.709632</c:v>
                </c:pt>
                <c:pt idx="1409">
                  <c:v>0.710136</c:v>
                </c:pt>
                <c:pt idx="1410">
                  <c:v>0.71064</c:v>
                </c:pt>
                <c:pt idx="1411">
                  <c:v>0.711144</c:v>
                </c:pt>
                <c:pt idx="1412">
                  <c:v>0.711648</c:v>
                </c:pt>
                <c:pt idx="1413">
                  <c:v>0.712152</c:v>
                </c:pt>
                <c:pt idx="1414">
                  <c:v>0.712656</c:v>
                </c:pt>
                <c:pt idx="1415">
                  <c:v>0.71316</c:v>
                </c:pt>
                <c:pt idx="1416">
                  <c:v>0.713664</c:v>
                </c:pt>
                <c:pt idx="1417">
                  <c:v>0.714168</c:v>
                </c:pt>
                <c:pt idx="1418">
                  <c:v>0.714672</c:v>
                </c:pt>
                <c:pt idx="1419">
                  <c:v>0.715176</c:v>
                </c:pt>
                <c:pt idx="1420">
                  <c:v>0.71568</c:v>
                </c:pt>
                <c:pt idx="1421">
                  <c:v>0.716184</c:v>
                </c:pt>
                <c:pt idx="1422">
                  <c:v>0.716688</c:v>
                </c:pt>
                <c:pt idx="1423">
                  <c:v>0.717192</c:v>
                </c:pt>
                <c:pt idx="1424">
                  <c:v>0.717696</c:v>
                </c:pt>
                <c:pt idx="1425">
                  <c:v>0.7182</c:v>
                </c:pt>
                <c:pt idx="1426">
                  <c:v>0.718704</c:v>
                </c:pt>
                <c:pt idx="1427">
                  <c:v>0.719208</c:v>
                </c:pt>
                <c:pt idx="1428">
                  <c:v>0.719712</c:v>
                </c:pt>
                <c:pt idx="1429">
                  <c:v>0.720216</c:v>
                </c:pt>
                <c:pt idx="1430">
                  <c:v>0.72072</c:v>
                </c:pt>
                <c:pt idx="1431">
                  <c:v>0.721224</c:v>
                </c:pt>
                <c:pt idx="1432">
                  <c:v>0.721728</c:v>
                </c:pt>
                <c:pt idx="1433">
                  <c:v>0.722232</c:v>
                </c:pt>
                <c:pt idx="1434">
                  <c:v>0.722736</c:v>
                </c:pt>
                <c:pt idx="1435">
                  <c:v>0.72324</c:v>
                </c:pt>
                <c:pt idx="1436">
                  <c:v>0.723744</c:v>
                </c:pt>
                <c:pt idx="1437">
                  <c:v>0.724248</c:v>
                </c:pt>
                <c:pt idx="1438">
                  <c:v>0.724752</c:v>
                </c:pt>
                <c:pt idx="1439">
                  <c:v>0.725256</c:v>
                </c:pt>
                <c:pt idx="1440">
                  <c:v>0.72576</c:v>
                </c:pt>
                <c:pt idx="1441">
                  <c:v>0.726264</c:v>
                </c:pt>
                <c:pt idx="1442">
                  <c:v>0.726768</c:v>
                </c:pt>
                <c:pt idx="1443">
                  <c:v>0.727272</c:v>
                </c:pt>
                <c:pt idx="1444">
                  <c:v>0.727776</c:v>
                </c:pt>
                <c:pt idx="1445">
                  <c:v>0.72828</c:v>
                </c:pt>
                <c:pt idx="1446">
                  <c:v>0.728784</c:v>
                </c:pt>
                <c:pt idx="1447">
                  <c:v>0.729288</c:v>
                </c:pt>
                <c:pt idx="1448">
                  <c:v>0.729792</c:v>
                </c:pt>
                <c:pt idx="1449">
                  <c:v>0.730296</c:v>
                </c:pt>
                <c:pt idx="1450">
                  <c:v>0.7308</c:v>
                </c:pt>
                <c:pt idx="1451">
                  <c:v>0.731304</c:v>
                </c:pt>
                <c:pt idx="1452">
                  <c:v>0.731808</c:v>
                </c:pt>
                <c:pt idx="1453">
                  <c:v>0.732312</c:v>
                </c:pt>
                <c:pt idx="1454">
                  <c:v>0.732816</c:v>
                </c:pt>
                <c:pt idx="1455">
                  <c:v>0.73332</c:v>
                </c:pt>
                <c:pt idx="1456">
                  <c:v>0.733824</c:v>
                </c:pt>
                <c:pt idx="1457">
                  <c:v>0.734328</c:v>
                </c:pt>
                <c:pt idx="1458">
                  <c:v>0.734832</c:v>
                </c:pt>
                <c:pt idx="1459">
                  <c:v>0.735336</c:v>
                </c:pt>
                <c:pt idx="1460">
                  <c:v>0.73584</c:v>
                </c:pt>
                <c:pt idx="1461">
                  <c:v>0.736344</c:v>
                </c:pt>
                <c:pt idx="1462">
                  <c:v>0.736848</c:v>
                </c:pt>
                <c:pt idx="1463">
                  <c:v>0.737352</c:v>
                </c:pt>
                <c:pt idx="1464">
                  <c:v>0.737856</c:v>
                </c:pt>
                <c:pt idx="1465">
                  <c:v>0.73836</c:v>
                </c:pt>
                <c:pt idx="1466">
                  <c:v>0.738864</c:v>
                </c:pt>
                <c:pt idx="1467">
                  <c:v>0.739368</c:v>
                </c:pt>
                <c:pt idx="1468">
                  <c:v>0.739872</c:v>
                </c:pt>
                <c:pt idx="1469">
                  <c:v>0.740376</c:v>
                </c:pt>
                <c:pt idx="1470">
                  <c:v>0.74088</c:v>
                </c:pt>
                <c:pt idx="1471">
                  <c:v>0.741384</c:v>
                </c:pt>
                <c:pt idx="1472">
                  <c:v>0.741888</c:v>
                </c:pt>
                <c:pt idx="1473">
                  <c:v>0.742392</c:v>
                </c:pt>
                <c:pt idx="1474">
                  <c:v>0.742896</c:v>
                </c:pt>
                <c:pt idx="1475">
                  <c:v>0.7434</c:v>
                </c:pt>
                <c:pt idx="1476">
                  <c:v>0.743904</c:v>
                </c:pt>
                <c:pt idx="1477">
                  <c:v>0.744408</c:v>
                </c:pt>
                <c:pt idx="1478">
                  <c:v>0.744912</c:v>
                </c:pt>
                <c:pt idx="1479">
                  <c:v>0.745416</c:v>
                </c:pt>
                <c:pt idx="1480">
                  <c:v>0.74592</c:v>
                </c:pt>
                <c:pt idx="1481">
                  <c:v>0.746424</c:v>
                </c:pt>
                <c:pt idx="1482">
                  <c:v>0.746928</c:v>
                </c:pt>
                <c:pt idx="1483">
                  <c:v>0.747432</c:v>
                </c:pt>
                <c:pt idx="1484">
                  <c:v>0.747936</c:v>
                </c:pt>
                <c:pt idx="1485">
                  <c:v>0.74844</c:v>
                </c:pt>
                <c:pt idx="1486">
                  <c:v>0.748944</c:v>
                </c:pt>
                <c:pt idx="1487">
                  <c:v>0.749448</c:v>
                </c:pt>
                <c:pt idx="1488">
                  <c:v>0.749952</c:v>
                </c:pt>
                <c:pt idx="1489">
                  <c:v>0.750456</c:v>
                </c:pt>
                <c:pt idx="1490">
                  <c:v>0.75096</c:v>
                </c:pt>
                <c:pt idx="1491">
                  <c:v>0.751464</c:v>
                </c:pt>
                <c:pt idx="1492">
                  <c:v>0.751968</c:v>
                </c:pt>
                <c:pt idx="1493">
                  <c:v>0.752472</c:v>
                </c:pt>
                <c:pt idx="1494">
                  <c:v>0.752976</c:v>
                </c:pt>
                <c:pt idx="1495">
                  <c:v>0.75348</c:v>
                </c:pt>
                <c:pt idx="1496">
                  <c:v>0.753984</c:v>
                </c:pt>
                <c:pt idx="1497">
                  <c:v>0.754488</c:v>
                </c:pt>
                <c:pt idx="1498">
                  <c:v>0.754992</c:v>
                </c:pt>
                <c:pt idx="1499">
                  <c:v>0.755496</c:v>
                </c:pt>
                <c:pt idx="1500">
                  <c:v>0.756</c:v>
                </c:pt>
                <c:pt idx="1501">
                  <c:v>0.756504</c:v>
                </c:pt>
                <c:pt idx="1502">
                  <c:v>0.757008</c:v>
                </c:pt>
                <c:pt idx="1503">
                  <c:v>0.757512</c:v>
                </c:pt>
                <c:pt idx="1504">
                  <c:v>0.758016</c:v>
                </c:pt>
                <c:pt idx="1505">
                  <c:v>0.75852</c:v>
                </c:pt>
                <c:pt idx="1506">
                  <c:v>0.759024</c:v>
                </c:pt>
                <c:pt idx="1507">
                  <c:v>0.759528</c:v>
                </c:pt>
                <c:pt idx="1508">
                  <c:v>0.760032</c:v>
                </c:pt>
                <c:pt idx="1509">
                  <c:v>0.760536</c:v>
                </c:pt>
                <c:pt idx="1510">
                  <c:v>0.76104</c:v>
                </c:pt>
                <c:pt idx="1511">
                  <c:v>0.761544</c:v>
                </c:pt>
                <c:pt idx="1512">
                  <c:v>0.762048</c:v>
                </c:pt>
                <c:pt idx="1513">
                  <c:v>0.762552</c:v>
                </c:pt>
                <c:pt idx="1514">
                  <c:v>0.763056</c:v>
                </c:pt>
                <c:pt idx="1515">
                  <c:v>0.76356</c:v>
                </c:pt>
                <c:pt idx="1516">
                  <c:v>0.764064</c:v>
                </c:pt>
                <c:pt idx="1517">
                  <c:v>0.764568</c:v>
                </c:pt>
                <c:pt idx="1518">
                  <c:v>0.765072</c:v>
                </c:pt>
                <c:pt idx="1519">
                  <c:v>0.765576</c:v>
                </c:pt>
                <c:pt idx="1520">
                  <c:v>0.76608</c:v>
                </c:pt>
                <c:pt idx="1521">
                  <c:v>0.766584</c:v>
                </c:pt>
                <c:pt idx="1522">
                  <c:v>0.767088</c:v>
                </c:pt>
                <c:pt idx="1523">
                  <c:v>0.767592</c:v>
                </c:pt>
                <c:pt idx="1524">
                  <c:v>0.768096</c:v>
                </c:pt>
                <c:pt idx="1525">
                  <c:v>0.7686</c:v>
                </c:pt>
                <c:pt idx="1526">
                  <c:v>0.769104</c:v>
                </c:pt>
                <c:pt idx="1527">
                  <c:v>0.769608</c:v>
                </c:pt>
                <c:pt idx="1528">
                  <c:v>0.770112</c:v>
                </c:pt>
                <c:pt idx="1529">
                  <c:v>0.770616</c:v>
                </c:pt>
                <c:pt idx="1530">
                  <c:v>0.77112</c:v>
                </c:pt>
                <c:pt idx="1531">
                  <c:v>0.771624</c:v>
                </c:pt>
                <c:pt idx="1532">
                  <c:v>0.772128</c:v>
                </c:pt>
                <c:pt idx="1533">
                  <c:v>0.772632</c:v>
                </c:pt>
                <c:pt idx="1534">
                  <c:v>0.773136</c:v>
                </c:pt>
                <c:pt idx="1535">
                  <c:v>0.77364</c:v>
                </c:pt>
                <c:pt idx="1536">
                  <c:v>0.774144</c:v>
                </c:pt>
                <c:pt idx="1537">
                  <c:v>0.774648</c:v>
                </c:pt>
                <c:pt idx="1538">
                  <c:v>0.775152</c:v>
                </c:pt>
                <c:pt idx="1539">
                  <c:v>0.775656</c:v>
                </c:pt>
                <c:pt idx="1540">
                  <c:v>0.77616</c:v>
                </c:pt>
                <c:pt idx="1541">
                  <c:v>0.776664</c:v>
                </c:pt>
                <c:pt idx="1542">
                  <c:v>0.777168</c:v>
                </c:pt>
                <c:pt idx="1543">
                  <c:v>0.777672</c:v>
                </c:pt>
                <c:pt idx="1544">
                  <c:v>0.778176</c:v>
                </c:pt>
                <c:pt idx="1545">
                  <c:v>0.77868</c:v>
                </c:pt>
                <c:pt idx="1546">
                  <c:v>0.779184</c:v>
                </c:pt>
                <c:pt idx="1547">
                  <c:v>0.779688</c:v>
                </c:pt>
                <c:pt idx="1548">
                  <c:v>0.780192</c:v>
                </c:pt>
                <c:pt idx="1549">
                  <c:v>0.780696</c:v>
                </c:pt>
                <c:pt idx="1550">
                  <c:v>0.7812</c:v>
                </c:pt>
                <c:pt idx="1551">
                  <c:v>0.781704</c:v>
                </c:pt>
                <c:pt idx="1552">
                  <c:v>0.782208</c:v>
                </c:pt>
                <c:pt idx="1553">
                  <c:v>0.782712</c:v>
                </c:pt>
                <c:pt idx="1554">
                  <c:v>0.783216</c:v>
                </c:pt>
                <c:pt idx="1555">
                  <c:v>0.78372</c:v>
                </c:pt>
                <c:pt idx="1556">
                  <c:v>0.784224</c:v>
                </c:pt>
                <c:pt idx="1557">
                  <c:v>0.784728</c:v>
                </c:pt>
                <c:pt idx="1558">
                  <c:v>0.785232</c:v>
                </c:pt>
                <c:pt idx="1559">
                  <c:v>0.785736</c:v>
                </c:pt>
                <c:pt idx="1560">
                  <c:v>0.78624</c:v>
                </c:pt>
                <c:pt idx="1561">
                  <c:v>0.786744</c:v>
                </c:pt>
                <c:pt idx="1562">
                  <c:v>0.787248</c:v>
                </c:pt>
                <c:pt idx="1563">
                  <c:v>0.787752</c:v>
                </c:pt>
                <c:pt idx="1564">
                  <c:v>0.788256</c:v>
                </c:pt>
                <c:pt idx="1565">
                  <c:v>0.78876</c:v>
                </c:pt>
                <c:pt idx="1566">
                  <c:v>0.789264</c:v>
                </c:pt>
                <c:pt idx="1567">
                  <c:v>0.789768</c:v>
                </c:pt>
                <c:pt idx="1568">
                  <c:v>0.790272</c:v>
                </c:pt>
                <c:pt idx="1569">
                  <c:v>0.790776</c:v>
                </c:pt>
                <c:pt idx="1570">
                  <c:v>0.79128</c:v>
                </c:pt>
                <c:pt idx="1571">
                  <c:v>0.791784</c:v>
                </c:pt>
                <c:pt idx="1572">
                  <c:v>0.792288</c:v>
                </c:pt>
                <c:pt idx="1573">
                  <c:v>0.792792</c:v>
                </c:pt>
                <c:pt idx="1574">
                  <c:v>0.793296</c:v>
                </c:pt>
                <c:pt idx="1575">
                  <c:v>0.7938</c:v>
                </c:pt>
                <c:pt idx="1576">
                  <c:v>0.794304</c:v>
                </c:pt>
                <c:pt idx="1577">
                  <c:v>0.794808</c:v>
                </c:pt>
                <c:pt idx="1578">
                  <c:v>0.795312</c:v>
                </c:pt>
                <c:pt idx="1579">
                  <c:v>0.795816</c:v>
                </c:pt>
                <c:pt idx="1580">
                  <c:v>0.79632</c:v>
                </c:pt>
                <c:pt idx="1581">
                  <c:v>0.796824</c:v>
                </c:pt>
                <c:pt idx="1582">
                  <c:v>0.797328</c:v>
                </c:pt>
                <c:pt idx="1583">
                  <c:v>0.797832</c:v>
                </c:pt>
                <c:pt idx="1584">
                  <c:v>0.798336</c:v>
                </c:pt>
                <c:pt idx="1585">
                  <c:v>0.79884</c:v>
                </c:pt>
                <c:pt idx="1586">
                  <c:v>0.799344</c:v>
                </c:pt>
                <c:pt idx="1587">
                  <c:v>0.799848</c:v>
                </c:pt>
                <c:pt idx="1588">
                  <c:v>0.800352</c:v>
                </c:pt>
                <c:pt idx="1589">
                  <c:v>0.800856</c:v>
                </c:pt>
                <c:pt idx="1590">
                  <c:v>0.80136</c:v>
                </c:pt>
                <c:pt idx="1591">
                  <c:v>0.801864</c:v>
                </c:pt>
                <c:pt idx="1592">
                  <c:v>0.802368</c:v>
                </c:pt>
                <c:pt idx="1593">
                  <c:v>0.802872</c:v>
                </c:pt>
                <c:pt idx="1594">
                  <c:v>0.803376</c:v>
                </c:pt>
                <c:pt idx="1595">
                  <c:v>0.80388</c:v>
                </c:pt>
                <c:pt idx="1596">
                  <c:v>0.804384</c:v>
                </c:pt>
                <c:pt idx="1597">
                  <c:v>0.804888</c:v>
                </c:pt>
                <c:pt idx="1598">
                  <c:v>0.805392</c:v>
                </c:pt>
                <c:pt idx="1599">
                  <c:v>0.805896</c:v>
                </c:pt>
                <c:pt idx="1600">
                  <c:v>0.8064</c:v>
                </c:pt>
                <c:pt idx="1601">
                  <c:v>0.806904</c:v>
                </c:pt>
                <c:pt idx="1602">
                  <c:v>0.807408</c:v>
                </c:pt>
                <c:pt idx="1603">
                  <c:v>0.807912</c:v>
                </c:pt>
                <c:pt idx="1604">
                  <c:v>0.808416</c:v>
                </c:pt>
                <c:pt idx="1605">
                  <c:v>0.80892</c:v>
                </c:pt>
                <c:pt idx="1606">
                  <c:v>0.809424</c:v>
                </c:pt>
                <c:pt idx="1607">
                  <c:v>0.809928</c:v>
                </c:pt>
                <c:pt idx="1608">
                  <c:v>0.810432</c:v>
                </c:pt>
                <c:pt idx="1609">
                  <c:v>0.810936</c:v>
                </c:pt>
                <c:pt idx="1610">
                  <c:v>0.81144</c:v>
                </c:pt>
                <c:pt idx="1611">
                  <c:v>0.811944</c:v>
                </c:pt>
                <c:pt idx="1612">
                  <c:v>0.812448</c:v>
                </c:pt>
                <c:pt idx="1613">
                  <c:v>0.812952</c:v>
                </c:pt>
                <c:pt idx="1614">
                  <c:v>0.813456</c:v>
                </c:pt>
                <c:pt idx="1615">
                  <c:v>0.81396</c:v>
                </c:pt>
                <c:pt idx="1616">
                  <c:v>0.814464</c:v>
                </c:pt>
                <c:pt idx="1617">
                  <c:v>0.814968</c:v>
                </c:pt>
                <c:pt idx="1618">
                  <c:v>0.815472</c:v>
                </c:pt>
                <c:pt idx="1619">
                  <c:v>0.815976</c:v>
                </c:pt>
                <c:pt idx="1620">
                  <c:v>0.81648</c:v>
                </c:pt>
                <c:pt idx="1621">
                  <c:v>0.816984</c:v>
                </c:pt>
                <c:pt idx="1622">
                  <c:v>0.817488</c:v>
                </c:pt>
                <c:pt idx="1623">
                  <c:v>0.817992</c:v>
                </c:pt>
                <c:pt idx="1624">
                  <c:v>0.818496</c:v>
                </c:pt>
                <c:pt idx="1625">
                  <c:v>0.819</c:v>
                </c:pt>
                <c:pt idx="1626">
                  <c:v>0.819504</c:v>
                </c:pt>
                <c:pt idx="1627">
                  <c:v>0.820008</c:v>
                </c:pt>
                <c:pt idx="1628">
                  <c:v>0.820512</c:v>
                </c:pt>
                <c:pt idx="1629">
                  <c:v>0.821016</c:v>
                </c:pt>
                <c:pt idx="1630">
                  <c:v>0.82152</c:v>
                </c:pt>
                <c:pt idx="1631">
                  <c:v>0.822024</c:v>
                </c:pt>
                <c:pt idx="1632">
                  <c:v>0.822528</c:v>
                </c:pt>
                <c:pt idx="1633">
                  <c:v>0.823032</c:v>
                </c:pt>
                <c:pt idx="1634">
                  <c:v>0.823536</c:v>
                </c:pt>
                <c:pt idx="1635">
                  <c:v>0.82404</c:v>
                </c:pt>
                <c:pt idx="1636">
                  <c:v>0.824544</c:v>
                </c:pt>
                <c:pt idx="1637">
                  <c:v>0.825048</c:v>
                </c:pt>
                <c:pt idx="1638">
                  <c:v>0.825552</c:v>
                </c:pt>
                <c:pt idx="1639">
                  <c:v>0.826056</c:v>
                </c:pt>
                <c:pt idx="1640">
                  <c:v>0.82656</c:v>
                </c:pt>
                <c:pt idx="1641">
                  <c:v>0.827064</c:v>
                </c:pt>
                <c:pt idx="1642">
                  <c:v>0.827568</c:v>
                </c:pt>
                <c:pt idx="1643">
                  <c:v>0.828072</c:v>
                </c:pt>
                <c:pt idx="1644">
                  <c:v>0.828576</c:v>
                </c:pt>
                <c:pt idx="1645">
                  <c:v>0.82908</c:v>
                </c:pt>
                <c:pt idx="1646">
                  <c:v>0.829584</c:v>
                </c:pt>
                <c:pt idx="1647">
                  <c:v>0.830088</c:v>
                </c:pt>
                <c:pt idx="1648">
                  <c:v>0.830592</c:v>
                </c:pt>
                <c:pt idx="1649">
                  <c:v>0.831096</c:v>
                </c:pt>
                <c:pt idx="1650">
                  <c:v>0.8316</c:v>
                </c:pt>
                <c:pt idx="1651">
                  <c:v>0.832104</c:v>
                </c:pt>
                <c:pt idx="1652">
                  <c:v>0.832608</c:v>
                </c:pt>
                <c:pt idx="1653">
                  <c:v>0.833112</c:v>
                </c:pt>
                <c:pt idx="1654">
                  <c:v>0.833616</c:v>
                </c:pt>
                <c:pt idx="1655">
                  <c:v>0.83412</c:v>
                </c:pt>
                <c:pt idx="1656">
                  <c:v>0.834624</c:v>
                </c:pt>
                <c:pt idx="1657">
                  <c:v>0.835128</c:v>
                </c:pt>
                <c:pt idx="1658">
                  <c:v>0.835632</c:v>
                </c:pt>
                <c:pt idx="1659">
                  <c:v>0.836136</c:v>
                </c:pt>
                <c:pt idx="1660">
                  <c:v>0.83664</c:v>
                </c:pt>
                <c:pt idx="1661">
                  <c:v>0.837144</c:v>
                </c:pt>
                <c:pt idx="1662">
                  <c:v>0.837648</c:v>
                </c:pt>
                <c:pt idx="1663">
                  <c:v>0.838152</c:v>
                </c:pt>
                <c:pt idx="1664">
                  <c:v>0.838656</c:v>
                </c:pt>
                <c:pt idx="1665">
                  <c:v>0.83916</c:v>
                </c:pt>
                <c:pt idx="1666">
                  <c:v>0.839664</c:v>
                </c:pt>
                <c:pt idx="1667">
                  <c:v>0.840168</c:v>
                </c:pt>
                <c:pt idx="1668">
                  <c:v>0.840672</c:v>
                </c:pt>
                <c:pt idx="1669">
                  <c:v>0.841176</c:v>
                </c:pt>
                <c:pt idx="1670">
                  <c:v>0.84168</c:v>
                </c:pt>
                <c:pt idx="1671">
                  <c:v>0.842184</c:v>
                </c:pt>
                <c:pt idx="1672">
                  <c:v>0.842688</c:v>
                </c:pt>
                <c:pt idx="1673">
                  <c:v>0.843192</c:v>
                </c:pt>
                <c:pt idx="1674">
                  <c:v>0.843696</c:v>
                </c:pt>
                <c:pt idx="1675">
                  <c:v>0.8442</c:v>
                </c:pt>
                <c:pt idx="1676">
                  <c:v>0.844704</c:v>
                </c:pt>
                <c:pt idx="1677">
                  <c:v>0.845208</c:v>
                </c:pt>
                <c:pt idx="1678">
                  <c:v>0.845712</c:v>
                </c:pt>
                <c:pt idx="1679">
                  <c:v>0.846216</c:v>
                </c:pt>
                <c:pt idx="1680">
                  <c:v>0.84672</c:v>
                </c:pt>
                <c:pt idx="1681">
                  <c:v>0.847224</c:v>
                </c:pt>
                <c:pt idx="1682">
                  <c:v>0.847728</c:v>
                </c:pt>
                <c:pt idx="1683">
                  <c:v>0.848232</c:v>
                </c:pt>
                <c:pt idx="1684">
                  <c:v>0.848736</c:v>
                </c:pt>
                <c:pt idx="1685">
                  <c:v>0.84924</c:v>
                </c:pt>
                <c:pt idx="1686">
                  <c:v>0.849744</c:v>
                </c:pt>
                <c:pt idx="1687">
                  <c:v>0.850248</c:v>
                </c:pt>
                <c:pt idx="1688">
                  <c:v>0.850752</c:v>
                </c:pt>
                <c:pt idx="1689">
                  <c:v>0.851256</c:v>
                </c:pt>
                <c:pt idx="1690">
                  <c:v>0.85176</c:v>
                </c:pt>
                <c:pt idx="1691">
                  <c:v>0.852264</c:v>
                </c:pt>
                <c:pt idx="1692">
                  <c:v>0.852768</c:v>
                </c:pt>
                <c:pt idx="1693">
                  <c:v>0.853272</c:v>
                </c:pt>
                <c:pt idx="1694">
                  <c:v>0.853776</c:v>
                </c:pt>
                <c:pt idx="1695">
                  <c:v>0.85428</c:v>
                </c:pt>
                <c:pt idx="1696">
                  <c:v>0.854784</c:v>
                </c:pt>
                <c:pt idx="1697">
                  <c:v>0.855288</c:v>
                </c:pt>
                <c:pt idx="1698">
                  <c:v>0.855792</c:v>
                </c:pt>
                <c:pt idx="1699">
                  <c:v>0.856296</c:v>
                </c:pt>
                <c:pt idx="1700">
                  <c:v>0.8568</c:v>
                </c:pt>
                <c:pt idx="1701">
                  <c:v>0.857304</c:v>
                </c:pt>
                <c:pt idx="1702">
                  <c:v>0.857808</c:v>
                </c:pt>
                <c:pt idx="1703">
                  <c:v>0.858312</c:v>
                </c:pt>
                <c:pt idx="1704">
                  <c:v>0.858816</c:v>
                </c:pt>
                <c:pt idx="1705">
                  <c:v>0.85932</c:v>
                </c:pt>
                <c:pt idx="1706">
                  <c:v>0.859824</c:v>
                </c:pt>
                <c:pt idx="1707">
                  <c:v>0.860328</c:v>
                </c:pt>
                <c:pt idx="1708">
                  <c:v>0.860832</c:v>
                </c:pt>
                <c:pt idx="1709">
                  <c:v>0.861336</c:v>
                </c:pt>
                <c:pt idx="1710">
                  <c:v>0.86184</c:v>
                </c:pt>
                <c:pt idx="1711">
                  <c:v>0.862344</c:v>
                </c:pt>
                <c:pt idx="1712">
                  <c:v>0.862848</c:v>
                </c:pt>
                <c:pt idx="1713">
                  <c:v>0.863352</c:v>
                </c:pt>
                <c:pt idx="1714">
                  <c:v>0.863856</c:v>
                </c:pt>
                <c:pt idx="1715">
                  <c:v>0.86436</c:v>
                </c:pt>
                <c:pt idx="1716">
                  <c:v>0.864864</c:v>
                </c:pt>
                <c:pt idx="1717">
                  <c:v>0.865368</c:v>
                </c:pt>
                <c:pt idx="1718">
                  <c:v>0.865872</c:v>
                </c:pt>
                <c:pt idx="1719">
                  <c:v>0.866376</c:v>
                </c:pt>
                <c:pt idx="1720">
                  <c:v>0.86688</c:v>
                </c:pt>
                <c:pt idx="1721">
                  <c:v>0.867384</c:v>
                </c:pt>
                <c:pt idx="1722">
                  <c:v>0.867888</c:v>
                </c:pt>
                <c:pt idx="1723">
                  <c:v>0.868392</c:v>
                </c:pt>
                <c:pt idx="1724">
                  <c:v>0.868896</c:v>
                </c:pt>
                <c:pt idx="1725">
                  <c:v>0.8694</c:v>
                </c:pt>
                <c:pt idx="1726">
                  <c:v>0.869904</c:v>
                </c:pt>
                <c:pt idx="1727">
                  <c:v>0.870408</c:v>
                </c:pt>
                <c:pt idx="1728">
                  <c:v>0.870912</c:v>
                </c:pt>
                <c:pt idx="1729">
                  <c:v>0.871416</c:v>
                </c:pt>
                <c:pt idx="1730">
                  <c:v>0.87192</c:v>
                </c:pt>
                <c:pt idx="1731">
                  <c:v>0.872424</c:v>
                </c:pt>
                <c:pt idx="1732">
                  <c:v>0.872928</c:v>
                </c:pt>
                <c:pt idx="1733">
                  <c:v>0.873432</c:v>
                </c:pt>
                <c:pt idx="1734">
                  <c:v>0.873936</c:v>
                </c:pt>
                <c:pt idx="1735">
                  <c:v>0.87444</c:v>
                </c:pt>
                <c:pt idx="1736">
                  <c:v>0.874944</c:v>
                </c:pt>
                <c:pt idx="1737">
                  <c:v>0.875448</c:v>
                </c:pt>
                <c:pt idx="1738">
                  <c:v>0.875952</c:v>
                </c:pt>
                <c:pt idx="1739">
                  <c:v>0.876456</c:v>
                </c:pt>
                <c:pt idx="1740">
                  <c:v>0.87696</c:v>
                </c:pt>
                <c:pt idx="1741">
                  <c:v>0.877464</c:v>
                </c:pt>
                <c:pt idx="1742">
                  <c:v>0.877968</c:v>
                </c:pt>
                <c:pt idx="1743">
                  <c:v>0.878472</c:v>
                </c:pt>
                <c:pt idx="1744">
                  <c:v>0.878976</c:v>
                </c:pt>
                <c:pt idx="1745">
                  <c:v>0.87948</c:v>
                </c:pt>
                <c:pt idx="1746">
                  <c:v>0.879984</c:v>
                </c:pt>
                <c:pt idx="1747">
                  <c:v>0.880488</c:v>
                </c:pt>
                <c:pt idx="1748">
                  <c:v>0.880992</c:v>
                </c:pt>
                <c:pt idx="1749">
                  <c:v>0.881496</c:v>
                </c:pt>
                <c:pt idx="1750">
                  <c:v>0.882</c:v>
                </c:pt>
                <c:pt idx="1751">
                  <c:v>0.882504</c:v>
                </c:pt>
                <c:pt idx="1752">
                  <c:v>0.883008</c:v>
                </c:pt>
                <c:pt idx="1753">
                  <c:v>0.883512</c:v>
                </c:pt>
                <c:pt idx="1754">
                  <c:v>0.884016</c:v>
                </c:pt>
                <c:pt idx="1755">
                  <c:v>0.88452</c:v>
                </c:pt>
                <c:pt idx="1756">
                  <c:v>0.885024</c:v>
                </c:pt>
                <c:pt idx="1757">
                  <c:v>0.885528</c:v>
                </c:pt>
                <c:pt idx="1758">
                  <c:v>0.886032</c:v>
                </c:pt>
                <c:pt idx="1759">
                  <c:v>0.886536</c:v>
                </c:pt>
                <c:pt idx="1760">
                  <c:v>0.88704</c:v>
                </c:pt>
                <c:pt idx="1761">
                  <c:v>0.887544</c:v>
                </c:pt>
                <c:pt idx="1762">
                  <c:v>0.888048</c:v>
                </c:pt>
                <c:pt idx="1763">
                  <c:v>0.888552</c:v>
                </c:pt>
                <c:pt idx="1764">
                  <c:v>0.889056</c:v>
                </c:pt>
                <c:pt idx="1765">
                  <c:v>0.88956</c:v>
                </c:pt>
                <c:pt idx="1766">
                  <c:v>0.890064</c:v>
                </c:pt>
                <c:pt idx="1767">
                  <c:v>0.890568</c:v>
                </c:pt>
                <c:pt idx="1768">
                  <c:v>0.891072</c:v>
                </c:pt>
                <c:pt idx="1769">
                  <c:v>0.891576</c:v>
                </c:pt>
                <c:pt idx="1770">
                  <c:v>0.89208</c:v>
                </c:pt>
                <c:pt idx="1771">
                  <c:v>0.892584</c:v>
                </c:pt>
                <c:pt idx="1772">
                  <c:v>0.893088</c:v>
                </c:pt>
                <c:pt idx="1773">
                  <c:v>0.893592</c:v>
                </c:pt>
                <c:pt idx="1774">
                  <c:v>0.894096</c:v>
                </c:pt>
                <c:pt idx="1775">
                  <c:v>0.8946</c:v>
                </c:pt>
                <c:pt idx="1776">
                  <c:v>0.895104</c:v>
                </c:pt>
                <c:pt idx="1777">
                  <c:v>0.895608</c:v>
                </c:pt>
                <c:pt idx="1778">
                  <c:v>0.896112</c:v>
                </c:pt>
                <c:pt idx="1779">
                  <c:v>0.896616</c:v>
                </c:pt>
                <c:pt idx="1780">
                  <c:v>0.89712</c:v>
                </c:pt>
                <c:pt idx="1781">
                  <c:v>0.897624</c:v>
                </c:pt>
                <c:pt idx="1782">
                  <c:v>0.898128</c:v>
                </c:pt>
                <c:pt idx="1783">
                  <c:v>0.898632</c:v>
                </c:pt>
                <c:pt idx="1784">
                  <c:v>0.899136</c:v>
                </c:pt>
                <c:pt idx="1785">
                  <c:v>0.89964</c:v>
                </c:pt>
                <c:pt idx="1786">
                  <c:v>0.900144</c:v>
                </c:pt>
                <c:pt idx="1787">
                  <c:v>0.900648</c:v>
                </c:pt>
                <c:pt idx="1788">
                  <c:v>0.901152</c:v>
                </c:pt>
                <c:pt idx="1789">
                  <c:v>0.901656</c:v>
                </c:pt>
                <c:pt idx="1790">
                  <c:v>0.90216</c:v>
                </c:pt>
                <c:pt idx="1791">
                  <c:v>0.902664</c:v>
                </c:pt>
                <c:pt idx="1792">
                  <c:v>0.903168</c:v>
                </c:pt>
                <c:pt idx="1793">
                  <c:v>0.903672</c:v>
                </c:pt>
                <c:pt idx="1794">
                  <c:v>0.904176</c:v>
                </c:pt>
                <c:pt idx="1795">
                  <c:v>0.90468</c:v>
                </c:pt>
                <c:pt idx="1796">
                  <c:v>0.905184</c:v>
                </c:pt>
                <c:pt idx="1797">
                  <c:v>0.905688</c:v>
                </c:pt>
                <c:pt idx="1798">
                  <c:v>0.906192</c:v>
                </c:pt>
                <c:pt idx="1799">
                  <c:v>0.906696</c:v>
                </c:pt>
                <c:pt idx="1800">
                  <c:v>0.9072</c:v>
                </c:pt>
                <c:pt idx="1801">
                  <c:v>0.907704</c:v>
                </c:pt>
                <c:pt idx="1802">
                  <c:v>0.908208</c:v>
                </c:pt>
                <c:pt idx="1803">
                  <c:v>0.908712</c:v>
                </c:pt>
                <c:pt idx="1804">
                  <c:v>0.909216</c:v>
                </c:pt>
                <c:pt idx="1805">
                  <c:v>0.90972</c:v>
                </c:pt>
                <c:pt idx="1806">
                  <c:v>0.910224</c:v>
                </c:pt>
                <c:pt idx="1807">
                  <c:v>0.910728</c:v>
                </c:pt>
                <c:pt idx="1808">
                  <c:v>0.911232</c:v>
                </c:pt>
                <c:pt idx="1809">
                  <c:v>0.911736</c:v>
                </c:pt>
                <c:pt idx="1810">
                  <c:v>0.91224</c:v>
                </c:pt>
                <c:pt idx="1811">
                  <c:v>0.912744</c:v>
                </c:pt>
                <c:pt idx="1812">
                  <c:v>0.913248</c:v>
                </c:pt>
                <c:pt idx="1813">
                  <c:v>0.913752</c:v>
                </c:pt>
                <c:pt idx="1814">
                  <c:v>0.914256</c:v>
                </c:pt>
                <c:pt idx="1815">
                  <c:v>0.91476</c:v>
                </c:pt>
                <c:pt idx="1816">
                  <c:v>0.915264</c:v>
                </c:pt>
                <c:pt idx="1817">
                  <c:v>0.915768</c:v>
                </c:pt>
                <c:pt idx="1818">
                  <c:v>0.916272</c:v>
                </c:pt>
                <c:pt idx="1819">
                  <c:v>0.916776</c:v>
                </c:pt>
                <c:pt idx="1820">
                  <c:v>0.91728</c:v>
                </c:pt>
                <c:pt idx="1821">
                  <c:v>0.917784</c:v>
                </c:pt>
                <c:pt idx="1822">
                  <c:v>0.918288</c:v>
                </c:pt>
                <c:pt idx="1823">
                  <c:v>0.918792</c:v>
                </c:pt>
                <c:pt idx="1824">
                  <c:v>0.919296</c:v>
                </c:pt>
                <c:pt idx="1825">
                  <c:v>0.9198</c:v>
                </c:pt>
                <c:pt idx="1826">
                  <c:v>0.920304</c:v>
                </c:pt>
                <c:pt idx="1827">
                  <c:v>0.920808</c:v>
                </c:pt>
                <c:pt idx="1828">
                  <c:v>0.921312</c:v>
                </c:pt>
                <c:pt idx="1829">
                  <c:v>0.921816</c:v>
                </c:pt>
                <c:pt idx="1830">
                  <c:v>0.92232</c:v>
                </c:pt>
                <c:pt idx="1831">
                  <c:v>0.922824</c:v>
                </c:pt>
                <c:pt idx="1832">
                  <c:v>0.923328</c:v>
                </c:pt>
                <c:pt idx="1833">
                  <c:v>0.923832</c:v>
                </c:pt>
                <c:pt idx="1834">
                  <c:v>0.924336</c:v>
                </c:pt>
                <c:pt idx="1835">
                  <c:v>0.92484</c:v>
                </c:pt>
                <c:pt idx="1836">
                  <c:v>0.925344</c:v>
                </c:pt>
                <c:pt idx="1837">
                  <c:v>0.925848</c:v>
                </c:pt>
                <c:pt idx="1838">
                  <c:v>0.926352</c:v>
                </c:pt>
                <c:pt idx="1839">
                  <c:v>0.926856</c:v>
                </c:pt>
                <c:pt idx="1840">
                  <c:v>0.92736</c:v>
                </c:pt>
                <c:pt idx="1841">
                  <c:v>0.927864</c:v>
                </c:pt>
                <c:pt idx="1842">
                  <c:v>0.928368</c:v>
                </c:pt>
                <c:pt idx="1843">
                  <c:v>0.928872</c:v>
                </c:pt>
                <c:pt idx="1844">
                  <c:v>0.929376</c:v>
                </c:pt>
                <c:pt idx="1845">
                  <c:v>0.92988</c:v>
                </c:pt>
                <c:pt idx="1846">
                  <c:v>0.930384</c:v>
                </c:pt>
                <c:pt idx="1847">
                  <c:v>0.930888</c:v>
                </c:pt>
                <c:pt idx="1848">
                  <c:v>0.931392</c:v>
                </c:pt>
                <c:pt idx="1849">
                  <c:v>0.931896</c:v>
                </c:pt>
                <c:pt idx="1850">
                  <c:v>0.9324</c:v>
                </c:pt>
                <c:pt idx="1851">
                  <c:v>0.932904</c:v>
                </c:pt>
                <c:pt idx="1852">
                  <c:v>0.933408</c:v>
                </c:pt>
                <c:pt idx="1853">
                  <c:v>0.933912</c:v>
                </c:pt>
                <c:pt idx="1854">
                  <c:v>0.934416</c:v>
                </c:pt>
                <c:pt idx="1855">
                  <c:v>0.93492</c:v>
                </c:pt>
                <c:pt idx="1856">
                  <c:v>0.935424</c:v>
                </c:pt>
                <c:pt idx="1857">
                  <c:v>0.935928</c:v>
                </c:pt>
                <c:pt idx="1858">
                  <c:v>0.936432</c:v>
                </c:pt>
                <c:pt idx="1859">
                  <c:v>0.936936</c:v>
                </c:pt>
                <c:pt idx="1860">
                  <c:v>0.93744</c:v>
                </c:pt>
                <c:pt idx="1861">
                  <c:v>0.937944</c:v>
                </c:pt>
                <c:pt idx="1862">
                  <c:v>0.938448</c:v>
                </c:pt>
                <c:pt idx="1863">
                  <c:v>0.938952</c:v>
                </c:pt>
                <c:pt idx="1864">
                  <c:v>0.939456</c:v>
                </c:pt>
                <c:pt idx="1865">
                  <c:v>0.93996</c:v>
                </c:pt>
                <c:pt idx="1866">
                  <c:v>0.940464</c:v>
                </c:pt>
                <c:pt idx="1867">
                  <c:v>0.940968</c:v>
                </c:pt>
                <c:pt idx="1868">
                  <c:v>0.941472</c:v>
                </c:pt>
                <c:pt idx="1869">
                  <c:v>0.941976</c:v>
                </c:pt>
                <c:pt idx="1870">
                  <c:v>0.94248</c:v>
                </c:pt>
                <c:pt idx="1871">
                  <c:v>0.942984</c:v>
                </c:pt>
                <c:pt idx="1872">
                  <c:v>0.943488</c:v>
                </c:pt>
                <c:pt idx="1873">
                  <c:v>0.943992</c:v>
                </c:pt>
                <c:pt idx="1874">
                  <c:v>0.944496</c:v>
                </c:pt>
                <c:pt idx="1875">
                  <c:v>0.945</c:v>
                </c:pt>
                <c:pt idx="1876">
                  <c:v>0.945504</c:v>
                </c:pt>
                <c:pt idx="1877">
                  <c:v>0.946008</c:v>
                </c:pt>
                <c:pt idx="1878">
                  <c:v>0.946512</c:v>
                </c:pt>
                <c:pt idx="1879">
                  <c:v>0.947016</c:v>
                </c:pt>
                <c:pt idx="1880">
                  <c:v>0.94752</c:v>
                </c:pt>
                <c:pt idx="1881">
                  <c:v>0.948024</c:v>
                </c:pt>
                <c:pt idx="1882">
                  <c:v>0.948528</c:v>
                </c:pt>
                <c:pt idx="1883">
                  <c:v>0.949032</c:v>
                </c:pt>
                <c:pt idx="1884">
                  <c:v>0.949536</c:v>
                </c:pt>
                <c:pt idx="1885">
                  <c:v>0.95004</c:v>
                </c:pt>
                <c:pt idx="1886">
                  <c:v>0.950544</c:v>
                </c:pt>
                <c:pt idx="1887">
                  <c:v>0.951048</c:v>
                </c:pt>
                <c:pt idx="1888">
                  <c:v>0.951552</c:v>
                </c:pt>
                <c:pt idx="1889">
                  <c:v>0.952056</c:v>
                </c:pt>
                <c:pt idx="1890">
                  <c:v>0.95256</c:v>
                </c:pt>
                <c:pt idx="1891">
                  <c:v>0.953064</c:v>
                </c:pt>
                <c:pt idx="1892">
                  <c:v>0.953568</c:v>
                </c:pt>
                <c:pt idx="1893">
                  <c:v>0.954072</c:v>
                </c:pt>
                <c:pt idx="1894">
                  <c:v>0.954576</c:v>
                </c:pt>
                <c:pt idx="1895">
                  <c:v>0.95508</c:v>
                </c:pt>
                <c:pt idx="1896">
                  <c:v>0.955584</c:v>
                </c:pt>
                <c:pt idx="1897">
                  <c:v>0.956088</c:v>
                </c:pt>
                <c:pt idx="1898">
                  <c:v>0.956592</c:v>
                </c:pt>
                <c:pt idx="1899">
                  <c:v>0.957096</c:v>
                </c:pt>
                <c:pt idx="1900">
                  <c:v>0.9576</c:v>
                </c:pt>
                <c:pt idx="1901">
                  <c:v>0.958104</c:v>
                </c:pt>
                <c:pt idx="1902">
                  <c:v>0.958608</c:v>
                </c:pt>
                <c:pt idx="1903">
                  <c:v>0.959112</c:v>
                </c:pt>
                <c:pt idx="1904">
                  <c:v>0.959616</c:v>
                </c:pt>
                <c:pt idx="1905">
                  <c:v>0.96012</c:v>
                </c:pt>
                <c:pt idx="1906">
                  <c:v>0.960624</c:v>
                </c:pt>
                <c:pt idx="1907">
                  <c:v>0.961128</c:v>
                </c:pt>
                <c:pt idx="1908">
                  <c:v>0.961632</c:v>
                </c:pt>
                <c:pt idx="1909">
                  <c:v>0.962136</c:v>
                </c:pt>
                <c:pt idx="1910">
                  <c:v>0.96264</c:v>
                </c:pt>
                <c:pt idx="1911">
                  <c:v>0.963144</c:v>
                </c:pt>
                <c:pt idx="1912">
                  <c:v>0.963648</c:v>
                </c:pt>
                <c:pt idx="1913">
                  <c:v>0.964152</c:v>
                </c:pt>
                <c:pt idx="1914">
                  <c:v>0.964656</c:v>
                </c:pt>
                <c:pt idx="1915">
                  <c:v>0.96516</c:v>
                </c:pt>
                <c:pt idx="1916">
                  <c:v>0.965664</c:v>
                </c:pt>
                <c:pt idx="1917">
                  <c:v>0.966168</c:v>
                </c:pt>
                <c:pt idx="1918">
                  <c:v>0.966672</c:v>
                </c:pt>
                <c:pt idx="1919">
                  <c:v>0.967176</c:v>
                </c:pt>
                <c:pt idx="1920">
                  <c:v>0.96768</c:v>
                </c:pt>
                <c:pt idx="1921">
                  <c:v>0.968184</c:v>
                </c:pt>
                <c:pt idx="1922">
                  <c:v>0.968688</c:v>
                </c:pt>
                <c:pt idx="1923">
                  <c:v>0.969192</c:v>
                </c:pt>
                <c:pt idx="1924">
                  <c:v>0.969696</c:v>
                </c:pt>
                <c:pt idx="1925">
                  <c:v>0.9702</c:v>
                </c:pt>
                <c:pt idx="1926">
                  <c:v>0.970704</c:v>
                </c:pt>
                <c:pt idx="1927">
                  <c:v>0.971208</c:v>
                </c:pt>
                <c:pt idx="1928">
                  <c:v>0.971712</c:v>
                </c:pt>
                <c:pt idx="1929">
                  <c:v>0.972216</c:v>
                </c:pt>
                <c:pt idx="1930">
                  <c:v>0.97272</c:v>
                </c:pt>
                <c:pt idx="1931">
                  <c:v>0.973224</c:v>
                </c:pt>
                <c:pt idx="1932">
                  <c:v>0.973728</c:v>
                </c:pt>
                <c:pt idx="1933">
                  <c:v>0.974232</c:v>
                </c:pt>
                <c:pt idx="1934">
                  <c:v>0.974736</c:v>
                </c:pt>
                <c:pt idx="1935">
                  <c:v>0.97524</c:v>
                </c:pt>
                <c:pt idx="1936">
                  <c:v>0.975744</c:v>
                </c:pt>
                <c:pt idx="1937">
                  <c:v>0.976248</c:v>
                </c:pt>
                <c:pt idx="1938">
                  <c:v>0.976752</c:v>
                </c:pt>
                <c:pt idx="1939">
                  <c:v>0.977256</c:v>
                </c:pt>
                <c:pt idx="1940">
                  <c:v>0.97776</c:v>
                </c:pt>
                <c:pt idx="1941">
                  <c:v>0.978264</c:v>
                </c:pt>
                <c:pt idx="1942">
                  <c:v>0.978768</c:v>
                </c:pt>
                <c:pt idx="1943">
                  <c:v>0.979272</c:v>
                </c:pt>
                <c:pt idx="1944">
                  <c:v>0.979776</c:v>
                </c:pt>
                <c:pt idx="1945">
                  <c:v>0.98028</c:v>
                </c:pt>
                <c:pt idx="1946">
                  <c:v>0.980784</c:v>
                </c:pt>
                <c:pt idx="1947">
                  <c:v>0.981288</c:v>
                </c:pt>
                <c:pt idx="1948">
                  <c:v>0.981792</c:v>
                </c:pt>
                <c:pt idx="1949">
                  <c:v>0.982296</c:v>
                </c:pt>
                <c:pt idx="1950">
                  <c:v>0.9828</c:v>
                </c:pt>
                <c:pt idx="1951">
                  <c:v>0.983304</c:v>
                </c:pt>
                <c:pt idx="1952">
                  <c:v>0.983808</c:v>
                </c:pt>
                <c:pt idx="1953">
                  <c:v>0.984312</c:v>
                </c:pt>
                <c:pt idx="1954">
                  <c:v>0.984816</c:v>
                </c:pt>
                <c:pt idx="1955">
                  <c:v>0.98532</c:v>
                </c:pt>
                <c:pt idx="1956">
                  <c:v>0.985824</c:v>
                </c:pt>
                <c:pt idx="1957">
                  <c:v>0.986328</c:v>
                </c:pt>
                <c:pt idx="1958">
                  <c:v>0.986832</c:v>
                </c:pt>
                <c:pt idx="1959">
                  <c:v>0.987336</c:v>
                </c:pt>
                <c:pt idx="1960">
                  <c:v>0.98784</c:v>
                </c:pt>
                <c:pt idx="1961">
                  <c:v>0.988344</c:v>
                </c:pt>
                <c:pt idx="1962">
                  <c:v>0.988848</c:v>
                </c:pt>
                <c:pt idx="1963">
                  <c:v>0.989352</c:v>
                </c:pt>
                <c:pt idx="1964">
                  <c:v>0.989856</c:v>
                </c:pt>
                <c:pt idx="1965">
                  <c:v>0.99036</c:v>
                </c:pt>
                <c:pt idx="1966">
                  <c:v>0.990864</c:v>
                </c:pt>
                <c:pt idx="1967">
                  <c:v>0.991368</c:v>
                </c:pt>
                <c:pt idx="1968">
                  <c:v>0.991872</c:v>
                </c:pt>
                <c:pt idx="1969">
                  <c:v>0.992376</c:v>
                </c:pt>
                <c:pt idx="1970">
                  <c:v>0.99288</c:v>
                </c:pt>
                <c:pt idx="1971">
                  <c:v>0.993384</c:v>
                </c:pt>
                <c:pt idx="1972">
                  <c:v>0.993888</c:v>
                </c:pt>
                <c:pt idx="1973">
                  <c:v>0.994392</c:v>
                </c:pt>
                <c:pt idx="1974">
                  <c:v>0.994896</c:v>
                </c:pt>
                <c:pt idx="1975">
                  <c:v>0.9954</c:v>
                </c:pt>
                <c:pt idx="1976">
                  <c:v>0.995904</c:v>
                </c:pt>
                <c:pt idx="1977">
                  <c:v>0.996408</c:v>
                </c:pt>
                <c:pt idx="1978">
                  <c:v>0.996912</c:v>
                </c:pt>
                <c:pt idx="1979">
                  <c:v>0.997416</c:v>
                </c:pt>
                <c:pt idx="1980">
                  <c:v>0.99792</c:v>
                </c:pt>
                <c:pt idx="1981">
                  <c:v>0.998424</c:v>
                </c:pt>
                <c:pt idx="1982">
                  <c:v>0.998928</c:v>
                </c:pt>
                <c:pt idx="1983">
                  <c:v>0.999432</c:v>
                </c:pt>
                <c:pt idx="1984">
                  <c:v>0.999936</c:v>
                </c:pt>
                <c:pt idx="1985">
                  <c:v>1.00044</c:v>
                </c:pt>
                <c:pt idx="1986">
                  <c:v>1.000944</c:v>
                </c:pt>
                <c:pt idx="1987">
                  <c:v>1.001448</c:v>
                </c:pt>
                <c:pt idx="1988">
                  <c:v>1.001952</c:v>
                </c:pt>
                <c:pt idx="1989">
                  <c:v>1.002456</c:v>
                </c:pt>
                <c:pt idx="1990">
                  <c:v>1.00296</c:v>
                </c:pt>
                <c:pt idx="1991">
                  <c:v>1.003464</c:v>
                </c:pt>
                <c:pt idx="1992">
                  <c:v>1.003968</c:v>
                </c:pt>
                <c:pt idx="1993">
                  <c:v>1.004472</c:v>
                </c:pt>
                <c:pt idx="1994">
                  <c:v>1.004976</c:v>
                </c:pt>
                <c:pt idx="1995">
                  <c:v>1.00548</c:v>
                </c:pt>
                <c:pt idx="1996">
                  <c:v>1.005984</c:v>
                </c:pt>
                <c:pt idx="1997">
                  <c:v>1.006488</c:v>
                </c:pt>
                <c:pt idx="1998">
                  <c:v>1.006992</c:v>
                </c:pt>
                <c:pt idx="1999">
                  <c:v>1.007496</c:v>
                </c:pt>
                <c:pt idx="2000">
                  <c:v>1.008</c:v>
                </c:pt>
                <c:pt idx="2001">
                  <c:v>1.008504</c:v>
                </c:pt>
                <c:pt idx="2002">
                  <c:v>1.009008</c:v>
                </c:pt>
                <c:pt idx="2003">
                  <c:v>1.009512</c:v>
                </c:pt>
                <c:pt idx="2004">
                  <c:v>1.010016</c:v>
                </c:pt>
                <c:pt idx="2005">
                  <c:v>1.01052</c:v>
                </c:pt>
                <c:pt idx="2006">
                  <c:v>1.011024</c:v>
                </c:pt>
                <c:pt idx="2007">
                  <c:v>1.011528</c:v>
                </c:pt>
                <c:pt idx="2008">
                  <c:v>1.012032</c:v>
                </c:pt>
                <c:pt idx="2009">
                  <c:v>1.012536</c:v>
                </c:pt>
                <c:pt idx="2010">
                  <c:v>1.01304</c:v>
                </c:pt>
                <c:pt idx="2011">
                  <c:v>1.013544</c:v>
                </c:pt>
                <c:pt idx="2012">
                  <c:v>1.014048</c:v>
                </c:pt>
                <c:pt idx="2013">
                  <c:v>1.014552</c:v>
                </c:pt>
                <c:pt idx="2014">
                  <c:v>1.015056</c:v>
                </c:pt>
                <c:pt idx="2015">
                  <c:v>1.01556</c:v>
                </c:pt>
                <c:pt idx="2016">
                  <c:v>1.016064</c:v>
                </c:pt>
                <c:pt idx="2017">
                  <c:v>1.016568</c:v>
                </c:pt>
                <c:pt idx="2018">
                  <c:v>1.017072</c:v>
                </c:pt>
                <c:pt idx="2019">
                  <c:v>1.017576</c:v>
                </c:pt>
                <c:pt idx="2020">
                  <c:v>1.01808</c:v>
                </c:pt>
                <c:pt idx="2021">
                  <c:v>1.018584</c:v>
                </c:pt>
                <c:pt idx="2022">
                  <c:v>1.019088</c:v>
                </c:pt>
                <c:pt idx="2023">
                  <c:v>1.019592</c:v>
                </c:pt>
                <c:pt idx="2024">
                  <c:v>1.020096</c:v>
                </c:pt>
                <c:pt idx="2025">
                  <c:v>1.0206</c:v>
                </c:pt>
                <c:pt idx="2026">
                  <c:v>1.021104</c:v>
                </c:pt>
                <c:pt idx="2027">
                  <c:v>1.021608</c:v>
                </c:pt>
                <c:pt idx="2028">
                  <c:v>1.022112</c:v>
                </c:pt>
                <c:pt idx="2029">
                  <c:v>1.022616</c:v>
                </c:pt>
                <c:pt idx="2030">
                  <c:v>1.02312</c:v>
                </c:pt>
                <c:pt idx="2031">
                  <c:v>1.023624</c:v>
                </c:pt>
                <c:pt idx="2032">
                  <c:v>1.024128</c:v>
                </c:pt>
                <c:pt idx="2033">
                  <c:v>1.024632</c:v>
                </c:pt>
                <c:pt idx="2034">
                  <c:v>1.025136</c:v>
                </c:pt>
                <c:pt idx="2035">
                  <c:v>1.02564</c:v>
                </c:pt>
                <c:pt idx="2036">
                  <c:v>1.026144</c:v>
                </c:pt>
                <c:pt idx="2037">
                  <c:v>1.026648</c:v>
                </c:pt>
                <c:pt idx="2038">
                  <c:v>1.027152</c:v>
                </c:pt>
                <c:pt idx="2039">
                  <c:v>1.027656</c:v>
                </c:pt>
                <c:pt idx="2040">
                  <c:v>1.02816</c:v>
                </c:pt>
                <c:pt idx="2041">
                  <c:v>1.028664</c:v>
                </c:pt>
                <c:pt idx="2042">
                  <c:v>1.029168</c:v>
                </c:pt>
                <c:pt idx="2043">
                  <c:v>1.029672</c:v>
                </c:pt>
                <c:pt idx="2044">
                  <c:v>1.030176</c:v>
                </c:pt>
                <c:pt idx="2045">
                  <c:v>1.03068</c:v>
                </c:pt>
                <c:pt idx="2046">
                  <c:v>1.031184</c:v>
                </c:pt>
                <c:pt idx="2047">
                  <c:v>1.031688</c:v>
                </c:pt>
                <c:pt idx="2048">
                  <c:v>1.032192</c:v>
                </c:pt>
                <c:pt idx="2049">
                  <c:v>1.032696</c:v>
                </c:pt>
                <c:pt idx="2050">
                  <c:v>1.0332</c:v>
                </c:pt>
                <c:pt idx="2051">
                  <c:v>1.033704</c:v>
                </c:pt>
                <c:pt idx="2052">
                  <c:v>1.034208</c:v>
                </c:pt>
                <c:pt idx="2053">
                  <c:v>1.034712</c:v>
                </c:pt>
                <c:pt idx="2054">
                  <c:v>1.035216</c:v>
                </c:pt>
                <c:pt idx="2055">
                  <c:v>1.03572</c:v>
                </c:pt>
                <c:pt idx="2056">
                  <c:v>1.036224</c:v>
                </c:pt>
                <c:pt idx="2057">
                  <c:v>1.036728</c:v>
                </c:pt>
                <c:pt idx="2058">
                  <c:v>1.037232</c:v>
                </c:pt>
                <c:pt idx="2059">
                  <c:v>1.037736</c:v>
                </c:pt>
                <c:pt idx="2060">
                  <c:v>1.03824</c:v>
                </c:pt>
                <c:pt idx="2061">
                  <c:v>1.038744</c:v>
                </c:pt>
                <c:pt idx="2062">
                  <c:v>1.039248</c:v>
                </c:pt>
                <c:pt idx="2063">
                  <c:v>1.039752</c:v>
                </c:pt>
                <c:pt idx="2064">
                  <c:v>1.040256</c:v>
                </c:pt>
                <c:pt idx="2065">
                  <c:v>1.04076</c:v>
                </c:pt>
                <c:pt idx="2066">
                  <c:v>1.041264</c:v>
                </c:pt>
                <c:pt idx="2067">
                  <c:v>1.041768</c:v>
                </c:pt>
                <c:pt idx="2068">
                  <c:v>1.042272</c:v>
                </c:pt>
                <c:pt idx="2069">
                  <c:v>1.042776</c:v>
                </c:pt>
                <c:pt idx="2070">
                  <c:v>1.04328</c:v>
                </c:pt>
                <c:pt idx="2071">
                  <c:v>1.043784</c:v>
                </c:pt>
                <c:pt idx="2072">
                  <c:v>1.044288</c:v>
                </c:pt>
                <c:pt idx="2073">
                  <c:v>1.044792</c:v>
                </c:pt>
                <c:pt idx="2074">
                  <c:v>1.045296</c:v>
                </c:pt>
                <c:pt idx="2075">
                  <c:v>1.0458</c:v>
                </c:pt>
                <c:pt idx="2076">
                  <c:v>1.046304</c:v>
                </c:pt>
                <c:pt idx="2077">
                  <c:v>1.046808</c:v>
                </c:pt>
                <c:pt idx="2078">
                  <c:v>1.047312</c:v>
                </c:pt>
                <c:pt idx="2079">
                  <c:v>1.047816</c:v>
                </c:pt>
                <c:pt idx="2080">
                  <c:v>1.04832</c:v>
                </c:pt>
                <c:pt idx="2081">
                  <c:v>1.048824</c:v>
                </c:pt>
                <c:pt idx="2082">
                  <c:v>1.049328</c:v>
                </c:pt>
                <c:pt idx="2083">
                  <c:v>1.049832</c:v>
                </c:pt>
                <c:pt idx="2084">
                  <c:v>1.050336</c:v>
                </c:pt>
                <c:pt idx="2085">
                  <c:v>1.05084</c:v>
                </c:pt>
                <c:pt idx="2086">
                  <c:v>1.051344</c:v>
                </c:pt>
                <c:pt idx="2087">
                  <c:v>1.051848</c:v>
                </c:pt>
                <c:pt idx="2088">
                  <c:v>1.052352</c:v>
                </c:pt>
                <c:pt idx="2089">
                  <c:v>1.052856</c:v>
                </c:pt>
                <c:pt idx="2090">
                  <c:v>1.05336</c:v>
                </c:pt>
                <c:pt idx="2091">
                  <c:v>1.053864</c:v>
                </c:pt>
                <c:pt idx="2092">
                  <c:v>1.054368</c:v>
                </c:pt>
                <c:pt idx="2093">
                  <c:v>1.054872</c:v>
                </c:pt>
                <c:pt idx="2094">
                  <c:v>1.055376</c:v>
                </c:pt>
                <c:pt idx="2095">
                  <c:v>1.05588</c:v>
                </c:pt>
                <c:pt idx="2096">
                  <c:v>1.056384</c:v>
                </c:pt>
                <c:pt idx="2097">
                  <c:v>1.056888</c:v>
                </c:pt>
                <c:pt idx="2098">
                  <c:v>1.057392</c:v>
                </c:pt>
                <c:pt idx="2099">
                  <c:v>1.057896</c:v>
                </c:pt>
                <c:pt idx="2100">
                  <c:v>1.0584</c:v>
                </c:pt>
                <c:pt idx="2101">
                  <c:v>1.058904</c:v>
                </c:pt>
                <c:pt idx="2102">
                  <c:v>1.059408</c:v>
                </c:pt>
                <c:pt idx="2103">
                  <c:v>1.059912</c:v>
                </c:pt>
                <c:pt idx="2104">
                  <c:v>1.060416</c:v>
                </c:pt>
                <c:pt idx="2105">
                  <c:v>1.06092</c:v>
                </c:pt>
                <c:pt idx="2106">
                  <c:v>1.061424</c:v>
                </c:pt>
                <c:pt idx="2107">
                  <c:v>1.061928</c:v>
                </c:pt>
                <c:pt idx="2108">
                  <c:v>1.062432</c:v>
                </c:pt>
                <c:pt idx="2109">
                  <c:v>1.062936</c:v>
                </c:pt>
                <c:pt idx="2110">
                  <c:v>1.06344</c:v>
                </c:pt>
                <c:pt idx="2111">
                  <c:v>1.063944</c:v>
                </c:pt>
                <c:pt idx="2112">
                  <c:v>1.064448</c:v>
                </c:pt>
                <c:pt idx="2113">
                  <c:v>1.064952</c:v>
                </c:pt>
                <c:pt idx="2114">
                  <c:v>1.065456</c:v>
                </c:pt>
                <c:pt idx="2115">
                  <c:v>1.06596</c:v>
                </c:pt>
                <c:pt idx="2116">
                  <c:v>1.066464</c:v>
                </c:pt>
                <c:pt idx="2117">
                  <c:v>1.066968</c:v>
                </c:pt>
                <c:pt idx="2118">
                  <c:v>1.067472</c:v>
                </c:pt>
                <c:pt idx="2119">
                  <c:v>1.067976</c:v>
                </c:pt>
                <c:pt idx="2120">
                  <c:v>1.06848</c:v>
                </c:pt>
                <c:pt idx="2121">
                  <c:v>1.068984</c:v>
                </c:pt>
                <c:pt idx="2122">
                  <c:v>1.069488</c:v>
                </c:pt>
                <c:pt idx="2123">
                  <c:v>1.069992</c:v>
                </c:pt>
                <c:pt idx="2124">
                  <c:v>1.070496</c:v>
                </c:pt>
                <c:pt idx="2125">
                  <c:v>1.071</c:v>
                </c:pt>
                <c:pt idx="2126">
                  <c:v>1.071504</c:v>
                </c:pt>
                <c:pt idx="2127">
                  <c:v>1.072008</c:v>
                </c:pt>
                <c:pt idx="2128">
                  <c:v>1.072512</c:v>
                </c:pt>
                <c:pt idx="2129">
                  <c:v>1.073016</c:v>
                </c:pt>
                <c:pt idx="2130">
                  <c:v>1.07352</c:v>
                </c:pt>
                <c:pt idx="2131">
                  <c:v>1.074024</c:v>
                </c:pt>
                <c:pt idx="2132">
                  <c:v>1.074528</c:v>
                </c:pt>
                <c:pt idx="2133">
                  <c:v>1.075032</c:v>
                </c:pt>
                <c:pt idx="2134">
                  <c:v>1.075536</c:v>
                </c:pt>
                <c:pt idx="2135">
                  <c:v>1.07604</c:v>
                </c:pt>
                <c:pt idx="2136">
                  <c:v>1.076544</c:v>
                </c:pt>
                <c:pt idx="2137">
                  <c:v>1.077048</c:v>
                </c:pt>
                <c:pt idx="2138">
                  <c:v>1.077552</c:v>
                </c:pt>
                <c:pt idx="2139">
                  <c:v>1.078056</c:v>
                </c:pt>
                <c:pt idx="2140">
                  <c:v>1.07856</c:v>
                </c:pt>
                <c:pt idx="2141">
                  <c:v>1.079064</c:v>
                </c:pt>
                <c:pt idx="2142">
                  <c:v>1.079568</c:v>
                </c:pt>
                <c:pt idx="2143">
                  <c:v>1.080072</c:v>
                </c:pt>
                <c:pt idx="2144">
                  <c:v>1.080576</c:v>
                </c:pt>
                <c:pt idx="2145">
                  <c:v>1.08108</c:v>
                </c:pt>
                <c:pt idx="2146">
                  <c:v>1.081584</c:v>
                </c:pt>
                <c:pt idx="2147">
                  <c:v>1.082088</c:v>
                </c:pt>
                <c:pt idx="2148">
                  <c:v>1.082592</c:v>
                </c:pt>
                <c:pt idx="2149">
                  <c:v>1.083096</c:v>
                </c:pt>
                <c:pt idx="2150">
                  <c:v>1.0836</c:v>
                </c:pt>
                <c:pt idx="2151">
                  <c:v>1.084104</c:v>
                </c:pt>
                <c:pt idx="2152">
                  <c:v>1.084608</c:v>
                </c:pt>
                <c:pt idx="2153">
                  <c:v>1.085112</c:v>
                </c:pt>
                <c:pt idx="2154">
                  <c:v>1.085616</c:v>
                </c:pt>
                <c:pt idx="2155">
                  <c:v>1.08612</c:v>
                </c:pt>
                <c:pt idx="2156">
                  <c:v>1.086624</c:v>
                </c:pt>
                <c:pt idx="2157">
                  <c:v>1.087128</c:v>
                </c:pt>
                <c:pt idx="2158">
                  <c:v>1.087632</c:v>
                </c:pt>
                <c:pt idx="2159">
                  <c:v>1.088136</c:v>
                </c:pt>
                <c:pt idx="2160">
                  <c:v>1.08864</c:v>
                </c:pt>
                <c:pt idx="2161">
                  <c:v>1.089144</c:v>
                </c:pt>
                <c:pt idx="2162">
                  <c:v>1.089648</c:v>
                </c:pt>
                <c:pt idx="2163">
                  <c:v>1.090152</c:v>
                </c:pt>
                <c:pt idx="2164">
                  <c:v>1.090656</c:v>
                </c:pt>
                <c:pt idx="2165">
                  <c:v>1.09116</c:v>
                </c:pt>
                <c:pt idx="2166">
                  <c:v>1.091664</c:v>
                </c:pt>
                <c:pt idx="2167">
                  <c:v>1.092168</c:v>
                </c:pt>
                <c:pt idx="2168">
                  <c:v>1.092672</c:v>
                </c:pt>
                <c:pt idx="2169">
                  <c:v>1.093176</c:v>
                </c:pt>
                <c:pt idx="2170">
                  <c:v>1.09368</c:v>
                </c:pt>
                <c:pt idx="2171">
                  <c:v>1.094184</c:v>
                </c:pt>
                <c:pt idx="2172">
                  <c:v>1.094688</c:v>
                </c:pt>
                <c:pt idx="2173">
                  <c:v>1.095192</c:v>
                </c:pt>
                <c:pt idx="2174">
                  <c:v>1.095696</c:v>
                </c:pt>
                <c:pt idx="2175">
                  <c:v>1.0962</c:v>
                </c:pt>
                <c:pt idx="2176">
                  <c:v>1.096704</c:v>
                </c:pt>
                <c:pt idx="2177">
                  <c:v>1.097208</c:v>
                </c:pt>
                <c:pt idx="2178">
                  <c:v>1.097712</c:v>
                </c:pt>
                <c:pt idx="2179">
                  <c:v>1.098216</c:v>
                </c:pt>
                <c:pt idx="2180">
                  <c:v>1.09872</c:v>
                </c:pt>
                <c:pt idx="2181">
                  <c:v>1.099224</c:v>
                </c:pt>
                <c:pt idx="2182">
                  <c:v>1.099728</c:v>
                </c:pt>
                <c:pt idx="2183">
                  <c:v>1.100232</c:v>
                </c:pt>
                <c:pt idx="2184">
                  <c:v>1.100736</c:v>
                </c:pt>
                <c:pt idx="2185">
                  <c:v>1.10124</c:v>
                </c:pt>
                <c:pt idx="2186">
                  <c:v>1.101744</c:v>
                </c:pt>
                <c:pt idx="2187">
                  <c:v>1.102248</c:v>
                </c:pt>
                <c:pt idx="2188">
                  <c:v>1.102752</c:v>
                </c:pt>
                <c:pt idx="2189">
                  <c:v>1.103256</c:v>
                </c:pt>
                <c:pt idx="2190">
                  <c:v>1.10376</c:v>
                </c:pt>
                <c:pt idx="2191">
                  <c:v>1.104264</c:v>
                </c:pt>
                <c:pt idx="2192">
                  <c:v>1.104768</c:v>
                </c:pt>
                <c:pt idx="2193">
                  <c:v>1.105272</c:v>
                </c:pt>
                <c:pt idx="2194">
                  <c:v>1.105776</c:v>
                </c:pt>
                <c:pt idx="2195">
                  <c:v>1.10628</c:v>
                </c:pt>
                <c:pt idx="2196">
                  <c:v>1.106784</c:v>
                </c:pt>
                <c:pt idx="2197">
                  <c:v>1.107288</c:v>
                </c:pt>
                <c:pt idx="2198">
                  <c:v>1.107792</c:v>
                </c:pt>
                <c:pt idx="2199">
                  <c:v>1.108296</c:v>
                </c:pt>
                <c:pt idx="2200">
                  <c:v>1.1088</c:v>
                </c:pt>
                <c:pt idx="2201">
                  <c:v>1.109304</c:v>
                </c:pt>
                <c:pt idx="2202">
                  <c:v>1.109808</c:v>
                </c:pt>
                <c:pt idx="2203">
                  <c:v>1.110312</c:v>
                </c:pt>
                <c:pt idx="2204">
                  <c:v>1.110816</c:v>
                </c:pt>
                <c:pt idx="2205">
                  <c:v>1.11132</c:v>
                </c:pt>
                <c:pt idx="2206">
                  <c:v>1.111824</c:v>
                </c:pt>
                <c:pt idx="2207">
                  <c:v>1.112328</c:v>
                </c:pt>
                <c:pt idx="2208">
                  <c:v>1.112832</c:v>
                </c:pt>
                <c:pt idx="2209">
                  <c:v>1.113336</c:v>
                </c:pt>
                <c:pt idx="2210">
                  <c:v>1.11384</c:v>
                </c:pt>
                <c:pt idx="2211">
                  <c:v>1.114344</c:v>
                </c:pt>
                <c:pt idx="2212">
                  <c:v>1.114848</c:v>
                </c:pt>
                <c:pt idx="2213">
                  <c:v>1.115352</c:v>
                </c:pt>
                <c:pt idx="2214">
                  <c:v>1.115856</c:v>
                </c:pt>
                <c:pt idx="2215">
                  <c:v>1.11636</c:v>
                </c:pt>
                <c:pt idx="2216">
                  <c:v>1.116864</c:v>
                </c:pt>
                <c:pt idx="2217">
                  <c:v>1.117368</c:v>
                </c:pt>
                <c:pt idx="2218">
                  <c:v>1.117872</c:v>
                </c:pt>
                <c:pt idx="2219">
                  <c:v>1.118376</c:v>
                </c:pt>
                <c:pt idx="2220">
                  <c:v>1.11888</c:v>
                </c:pt>
                <c:pt idx="2221">
                  <c:v>1.119384</c:v>
                </c:pt>
                <c:pt idx="2222">
                  <c:v>1.119888</c:v>
                </c:pt>
                <c:pt idx="2223">
                  <c:v>1.120392</c:v>
                </c:pt>
                <c:pt idx="2224">
                  <c:v>1.120896</c:v>
                </c:pt>
                <c:pt idx="2225">
                  <c:v>1.1214</c:v>
                </c:pt>
                <c:pt idx="2226">
                  <c:v>1.121904</c:v>
                </c:pt>
                <c:pt idx="2227">
                  <c:v>1.122408</c:v>
                </c:pt>
                <c:pt idx="2228">
                  <c:v>1.122912</c:v>
                </c:pt>
                <c:pt idx="2229">
                  <c:v>1.123416</c:v>
                </c:pt>
                <c:pt idx="2230">
                  <c:v>1.12392</c:v>
                </c:pt>
                <c:pt idx="2231">
                  <c:v>1.124424</c:v>
                </c:pt>
                <c:pt idx="2232">
                  <c:v>1.124928</c:v>
                </c:pt>
                <c:pt idx="2233">
                  <c:v>1.125432</c:v>
                </c:pt>
                <c:pt idx="2234">
                  <c:v>1.125936</c:v>
                </c:pt>
                <c:pt idx="2235">
                  <c:v>1.12644</c:v>
                </c:pt>
                <c:pt idx="2236">
                  <c:v>1.126944</c:v>
                </c:pt>
                <c:pt idx="2237">
                  <c:v>1.127448</c:v>
                </c:pt>
                <c:pt idx="2238">
                  <c:v>1.127952</c:v>
                </c:pt>
                <c:pt idx="2239">
                  <c:v>1.128456</c:v>
                </c:pt>
                <c:pt idx="2240">
                  <c:v>1.12896</c:v>
                </c:pt>
                <c:pt idx="2241">
                  <c:v>1.129464</c:v>
                </c:pt>
                <c:pt idx="2242">
                  <c:v>1.129968</c:v>
                </c:pt>
                <c:pt idx="2243">
                  <c:v>1.130472</c:v>
                </c:pt>
                <c:pt idx="2244">
                  <c:v>1.130976</c:v>
                </c:pt>
                <c:pt idx="2245">
                  <c:v>1.13148</c:v>
                </c:pt>
                <c:pt idx="2246">
                  <c:v>1.131984</c:v>
                </c:pt>
                <c:pt idx="2247">
                  <c:v>1.132488</c:v>
                </c:pt>
                <c:pt idx="2248">
                  <c:v>1.132992</c:v>
                </c:pt>
                <c:pt idx="2249">
                  <c:v>1.133496</c:v>
                </c:pt>
                <c:pt idx="2250">
                  <c:v>1.134</c:v>
                </c:pt>
                <c:pt idx="2251">
                  <c:v>1.134504</c:v>
                </c:pt>
                <c:pt idx="2252">
                  <c:v>1.135008</c:v>
                </c:pt>
                <c:pt idx="2253">
                  <c:v>1.135512</c:v>
                </c:pt>
                <c:pt idx="2254">
                  <c:v>1.136016</c:v>
                </c:pt>
                <c:pt idx="2255">
                  <c:v>1.13652</c:v>
                </c:pt>
                <c:pt idx="2256">
                  <c:v>1.137024</c:v>
                </c:pt>
                <c:pt idx="2257">
                  <c:v>1.137528</c:v>
                </c:pt>
                <c:pt idx="2258">
                  <c:v>1.138032</c:v>
                </c:pt>
                <c:pt idx="2259">
                  <c:v>1.138536</c:v>
                </c:pt>
                <c:pt idx="2260">
                  <c:v>1.13904</c:v>
                </c:pt>
                <c:pt idx="2261">
                  <c:v>1.139544</c:v>
                </c:pt>
                <c:pt idx="2262">
                  <c:v>1.140048</c:v>
                </c:pt>
                <c:pt idx="2263">
                  <c:v>1.140552</c:v>
                </c:pt>
                <c:pt idx="2264">
                  <c:v>1.141056</c:v>
                </c:pt>
                <c:pt idx="2265">
                  <c:v>1.14156</c:v>
                </c:pt>
                <c:pt idx="2266">
                  <c:v>1.142064</c:v>
                </c:pt>
                <c:pt idx="2267">
                  <c:v>1.142568</c:v>
                </c:pt>
                <c:pt idx="2268">
                  <c:v>1.143072</c:v>
                </c:pt>
                <c:pt idx="2269">
                  <c:v>1.143576</c:v>
                </c:pt>
                <c:pt idx="2270">
                  <c:v>1.14408</c:v>
                </c:pt>
                <c:pt idx="2271">
                  <c:v>1.144584</c:v>
                </c:pt>
                <c:pt idx="2272">
                  <c:v>1.145088</c:v>
                </c:pt>
                <c:pt idx="2273">
                  <c:v>1.145592</c:v>
                </c:pt>
                <c:pt idx="2274">
                  <c:v>1.146096</c:v>
                </c:pt>
                <c:pt idx="2275">
                  <c:v>1.1466</c:v>
                </c:pt>
                <c:pt idx="2276">
                  <c:v>1.147104</c:v>
                </c:pt>
                <c:pt idx="2277">
                  <c:v>1.147608</c:v>
                </c:pt>
                <c:pt idx="2278">
                  <c:v>1.148112</c:v>
                </c:pt>
                <c:pt idx="2279">
                  <c:v>1.148616</c:v>
                </c:pt>
                <c:pt idx="2280">
                  <c:v>1.14912</c:v>
                </c:pt>
                <c:pt idx="2281">
                  <c:v>1.149624</c:v>
                </c:pt>
                <c:pt idx="2282">
                  <c:v>1.150128</c:v>
                </c:pt>
                <c:pt idx="2283">
                  <c:v>1.150632</c:v>
                </c:pt>
                <c:pt idx="2284">
                  <c:v>1.151136</c:v>
                </c:pt>
                <c:pt idx="2285">
                  <c:v>1.15164</c:v>
                </c:pt>
                <c:pt idx="2286">
                  <c:v>1.152144</c:v>
                </c:pt>
                <c:pt idx="2287">
                  <c:v>1.152648</c:v>
                </c:pt>
                <c:pt idx="2288">
                  <c:v>1.153152</c:v>
                </c:pt>
                <c:pt idx="2289">
                  <c:v>1.153656</c:v>
                </c:pt>
                <c:pt idx="2290">
                  <c:v>1.15416</c:v>
                </c:pt>
                <c:pt idx="2291">
                  <c:v>1.154664</c:v>
                </c:pt>
                <c:pt idx="2292">
                  <c:v>1.155168</c:v>
                </c:pt>
                <c:pt idx="2293">
                  <c:v>1.155672</c:v>
                </c:pt>
                <c:pt idx="2294">
                  <c:v>1.156176</c:v>
                </c:pt>
                <c:pt idx="2295">
                  <c:v>1.15668</c:v>
                </c:pt>
                <c:pt idx="2296">
                  <c:v>1.157184</c:v>
                </c:pt>
                <c:pt idx="2297">
                  <c:v>1.157688</c:v>
                </c:pt>
                <c:pt idx="2298">
                  <c:v>1.158192</c:v>
                </c:pt>
                <c:pt idx="2299">
                  <c:v>1.158696</c:v>
                </c:pt>
                <c:pt idx="2300">
                  <c:v>1.1592</c:v>
                </c:pt>
                <c:pt idx="2301">
                  <c:v>1.159704</c:v>
                </c:pt>
                <c:pt idx="2302">
                  <c:v>1.160208</c:v>
                </c:pt>
                <c:pt idx="2303">
                  <c:v>1.160712</c:v>
                </c:pt>
                <c:pt idx="2304">
                  <c:v>1.161216</c:v>
                </c:pt>
                <c:pt idx="2305">
                  <c:v>1.16172</c:v>
                </c:pt>
                <c:pt idx="2306">
                  <c:v>1.162224</c:v>
                </c:pt>
                <c:pt idx="2307">
                  <c:v>1.162728</c:v>
                </c:pt>
                <c:pt idx="2308">
                  <c:v>1.163232</c:v>
                </c:pt>
                <c:pt idx="2309">
                  <c:v>1.163736</c:v>
                </c:pt>
                <c:pt idx="2310">
                  <c:v>1.16424</c:v>
                </c:pt>
                <c:pt idx="2311">
                  <c:v>1.164744</c:v>
                </c:pt>
                <c:pt idx="2312">
                  <c:v>1.165248</c:v>
                </c:pt>
                <c:pt idx="2313">
                  <c:v>1.165752</c:v>
                </c:pt>
                <c:pt idx="2314">
                  <c:v>1.166256</c:v>
                </c:pt>
                <c:pt idx="2315">
                  <c:v>1.16676</c:v>
                </c:pt>
                <c:pt idx="2316">
                  <c:v>1.167264</c:v>
                </c:pt>
                <c:pt idx="2317">
                  <c:v>1.167768</c:v>
                </c:pt>
                <c:pt idx="2318">
                  <c:v>1.168272</c:v>
                </c:pt>
                <c:pt idx="2319">
                  <c:v>1.168776</c:v>
                </c:pt>
                <c:pt idx="2320">
                  <c:v>1.16928</c:v>
                </c:pt>
                <c:pt idx="2321">
                  <c:v>1.169784</c:v>
                </c:pt>
                <c:pt idx="2322">
                  <c:v>1.170288</c:v>
                </c:pt>
                <c:pt idx="2323">
                  <c:v>1.170792</c:v>
                </c:pt>
                <c:pt idx="2324">
                  <c:v>1.171296</c:v>
                </c:pt>
                <c:pt idx="2325">
                  <c:v>1.1718</c:v>
                </c:pt>
                <c:pt idx="2326">
                  <c:v>1.172304</c:v>
                </c:pt>
                <c:pt idx="2327">
                  <c:v>1.172808</c:v>
                </c:pt>
                <c:pt idx="2328">
                  <c:v>1.173312</c:v>
                </c:pt>
                <c:pt idx="2329">
                  <c:v>1.173816</c:v>
                </c:pt>
                <c:pt idx="2330">
                  <c:v>1.17432</c:v>
                </c:pt>
                <c:pt idx="2331">
                  <c:v>1.174824</c:v>
                </c:pt>
                <c:pt idx="2332">
                  <c:v>1.175328</c:v>
                </c:pt>
                <c:pt idx="2333">
                  <c:v>1.175832</c:v>
                </c:pt>
                <c:pt idx="2334">
                  <c:v>1.176336</c:v>
                </c:pt>
                <c:pt idx="2335">
                  <c:v>1.17684</c:v>
                </c:pt>
                <c:pt idx="2336">
                  <c:v>1.177344</c:v>
                </c:pt>
                <c:pt idx="2337">
                  <c:v>1.177848</c:v>
                </c:pt>
                <c:pt idx="2338">
                  <c:v>1.178352</c:v>
                </c:pt>
                <c:pt idx="2339">
                  <c:v>1.178856</c:v>
                </c:pt>
                <c:pt idx="2340">
                  <c:v>1.17936</c:v>
                </c:pt>
                <c:pt idx="2341">
                  <c:v>1.179864</c:v>
                </c:pt>
                <c:pt idx="2342">
                  <c:v>1.180368</c:v>
                </c:pt>
                <c:pt idx="2343">
                  <c:v>1.180872</c:v>
                </c:pt>
                <c:pt idx="2344">
                  <c:v>1.181376</c:v>
                </c:pt>
                <c:pt idx="2345">
                  <c:v>1.18188</c:v>
                </c:pt>
                <c:pt idx="2346">
                  <c:v>1.182384</c:v>
                </c:pt>
                <c:pt idx="2347">
                  <c:v>1.182888</c:v>
                </c:pt>
                <c:pt idx="2348">
                  <c:v>1.183392</c:v>
                </c:pt>
                <c:pt idx="2349">
                  <c:v>1.183896</c:v>
                </c:pt>
                <c:pt idx="2350">
                  <c:v>1.1844</c:v>
                </c:pt>
                <c:pt idx="2351">
                  <c:v>1.184904</c:v>
                </c:pt>
                <c:pt idx="2352">
                  <c:v>1.185408</c:v>
                </c:pt>
                <c:pt idx="2353">
                  <c:v>1.185912</c:v>
                </c:pt>
                <c:pt idx="2354">
                  <c:v>1.186416</c:v>
                </c:pt>
                <c:pt idx="2355">
                  <c:v>1.18692</c:v>
                </c:pt>
                <c:pt idx="2356">
                  <c:v>1.187424</c:v>
                </c:pt>
                <c:pt idx="2357">
                  <c:v>1.187928</c:v>
                </c:pt>
                <c:pt idx="2358">
                  <c:v>1.188432</c:v>
                </c:pt>
                <c:pt idx="2359">
                  <c:v>1.188936</c:v>
                </c:pt>
                <c:pt idx="2360">
                  <c:v>1.18944</c:v>
                </c:pt>
                <c:pt idx="2361">
                  <c:v>1.189944</c:v>
                </c:pt>
                <c:pt idx="2362">
                  <c:v>1.190448</c:v>
                </c:pt>
                <c:pt idx="2363">
                  <c:v>1.190952</c:v>
                </c:pt>
                <c:pt idx="2364">
                  <c:v>1.191456</c:v>
                </c:pt>
                <c:pt idx="2365">
                  <c:v>1.19196</c:v>
                </c:pt>
                <c:pt idx="2366">
                  <c:v>1.192464</c:v>
                </c:pt>
                <c:pt idx="2367">
                  <c:v>1.192968</c:v>
                </c:pt>
                <c:pt idx="2368">
                  <c:v>1.193472</c:v>
                </c:pt>
                <c:pt idx="2369">
                  <c:v>1.193976</c:v>
                </c:pt>
                <c:pt idx="2370">
                  <c:v>1.19448</c:v>
                </c:pt>
                <c:pt idx="2371">
                  <c:v>1.194984</c:v>
                </c:pt>
                <c:pt idx="2372">
                  <c:v>1.195488</c:v>
                </c:pt>
                <c:pt idx="2373">
                  <c:v>1.195992</c:v>
                </c:pt>
                <c:pt idx="2374">
                  <c:v>1.196496</c:v>
                </c:pt>
                <c:pt idx="2375">
                  <c:v>1.197</c:v>
                </c:pt>
                <c:pt idx="2376">
                  <c:v>1.197504</c:v>
                </c:pt>
                <c:pt idx="2377">
                  <c:v>1.198008</c:v>
                </c:pt>
                <c:pt idx="2378">
                  <c:v>1.198512</c:v>
                </c:pt>
                <c:pt idx="2379">
                  <c:v>1.199016</c:v>
                </c:pt>
                <c:pt idx="2380">
                  <c:v>1.19952</c:v>
                </c:pt>
                <c:pt idx="2381">
                  <c:v>1.200024</c:v>
                </c:pt>
                <c:pt idx="2382">
                  <c:v>1.200528</c:v>
                </c:pt>
                <c:pt idx="2383">
                  <c:v>1.201032</c:v>
                </c:pt>
                <c:pt idx="2384">
                  <c:v>1.201536</c:v>
                </c:pt>
                <c:pt idx="2385">
                  <c:v>1.20204</c:v>
                </c:pt>
                <c:pt idx="2386">
                  <c:v>1.202544</c:v>
                </c:pt>
                <c:pt idx="2387">
                  <c:v>1.203048</c:v>
                </c:pt>
                <c:pt idx="2388">
                  <c:v>1.203552</c:v>
                </c:pt>
                <c:pt idx="2389">
                  <c:v>1.204056</c:v>
                </c:pt>
                <c:pt idx="2390">
                  <c:v>1.20456</c:v>
                </c:pt>
                <c:pt idx="2391">
                  <c:v>1.205064</c:v>
                </c:pt>
                <c:pt idx="2392">
                  <c:v>1.205568</c:v>
                </c:pt>
                <c:pt idx="2393">
                  <c:v>1.206072</c:v>
                </c:pt>
                <c:pt idx="2394">
                  <c:v>1.206576</c:v>
                </c:pt>
                <c:pt idx="2395">
                  <c:v>1.20708</c:v>
                </c:pt>
                <c:pt idx="2396">
                  <c:v>1.207584</c:v>
                </c:pt>
                <c:pt idx="2397">
                  <c:v>1.208088</c:v>
                </c:pt>
                <c:pt idx="2398">
                  <c:v>1.208592</c:v>
                </c:pt>
                <c:pt idx="2399">
                  <c:v>1.209096</c:v>
                </c:pt>
                <c:pt idx="2400">
                  <c:v>1.2096</c:v>
                </c:pt>
                <c:pt idx="2401">
                  <c:v>1.210104</c:v>
                </c:pt>
                <c:pt idx="2402">
                  <c:v>1.210608</c:v>
                </c:pt>
                <c:pt idx="2403">
                  <c:v>1.211112</c:v>
                </c:pt>
                <c:pt idx="2404">
                  <c:v>1.211616</c:v>
                </c:pt>
                <c:pt idx="2405">
                  <c:v>1.21212</c:v>
                </c:pt>
                <c:pt idx="2406">
                  <c:v>1.212624</c:v>
                </c:pt>
                <c:pt idx="2407">
                  <c:v>1.213128</c:v>
                </c:pt>
                <c:pt idx="2408">
                  <c:v>1.213632</c:v>
                </c:pt>
                <c:pt idx="2409">
                  <c:v>1.214136</c:v>
                </c:pt>
                <c:pt idx="2410">
                  <c:v>1.21464</c:v>
                </c:pt>
                <c:pt idx="2411">
                  <c:v>1.215144</c:v>
                </c:pt>
                <c:pt idx="2412">
                  <c:v>1.215648</c:v>
                </c:pt>
                <c:pt idx="2413">
                  <c:v>1.216152</c:v>
                </c:pt>
                <c:pt idx="2414">
                  <c:v>1.216656</c:v>
                </c:pt>
                <c:pt idx="2415">
                  <c:v>1.21716</c:v>
                </c:pt>
                <c:pt idx="2416">
                  <c:v>1.217664</c:v>
                </c:pt>
                <c:pt idx="2417">
                  <c:v>1.218168</c:v>
                </c:pt>
                <c:pt idx="2418">
                  <c:v>1.218672</c:v>
                </c:pt>
                <c:pt idx="2419">
                  <c:v>1.219176</c:v>
                </c:pt>
                <c:pt idx="2420">
                  <c:v>1.21968</c:v>
                </c:pt>
                <c:pt idx="2421">
                  <c:v>1.220184</c:v>
                </c:pt>
                <c:pt idx="2422">
                  <c:v>1.220688</c:v>
                </c:pt>
                <c:pt idx="2423">
                  <c:v>1.221192</c:v>
                </c:pt>
                <c:pt idx="2424">
                  <c:v>1.221696</c:v>
                </c:pt>
                <c:pt idx="2425">
                  <c:v>1.2222</c:v>
                </c:pt>
                <c:pt idx="2426">
                  <c:v>1.222704</c:v>
                </c:pt>
                <c:pt idx="2427">
                  <c:v>1.223208</c:v>
                </c:pt>
                <c:pt idx="2428">
                  <c:v>1.223712</c:v>
                </c:pt>
                <c:pt idx="2429">
                  <c:v>1.224216</c:v>
                </c:pt>
                <c:pt idx="2430">
                  <c:v>1.22472</c:v>
                </c:pt>
                <c:pt idx="2431">
                  <c:v>1.225224</c:v>
                </c:pt>
                <c:pt idx="2432">
                  <c:v>1.225728</c:v>
                </c:pt>
                <c:pt idx="2433">
                  <c:v>1.226232</c:v>
                </c:pt>
                <c:pt idx="2434">
                  <c:v>1.226736</c:v>
                </c:pt>
                <c:pt idx="2435">
                  <c:v>1.22724</c:v>
                </c:pt>
                <c:pt idx="2436">
                  <c:v>1.227744</c:v>
                </c:pt>
                <c:pt idx="2437">
                  <c:v>1.228248</c:v>
                </c:pt>
                <c:pt idx="2438">
                  <c:v>1.228752</c:v>
                </c:pt>
                <c:pt idx="2439">
                  <c:v>1.229256</c:v>
                </c:pt>
                <c:pt idx="2440">
                  <c:v>1.22976</c:v>
                </c:pt>
                <c:pt idx="2441">
                  <c:v>1.230264</c:v>
                </c:pt>
                <c:pt idx="2442">
                  <c:v>1.230768</c:v>
                </c:pt>
                <c:pt idx="2443">
                  <c:v>1.231272</c:v>
                </c:pt>
                <c:pt idx="2444">
                  <c:v>1.231776</c:v>
                </c:pt>
                <c:pt idx="2445">
                  <c:v>1.23228</c:v>
                </c:pt>
                <c:pt idx="2446">
                  <c:v>1.232784</c:v>
                </c:pt>
                <c:pt idx="2447">
                  <c:v>1.233288</c:v>
                </c:pt>
                <c:pt idx="2448">
                  <c:v>1.233792</c:v>
                </c:pt>
                <c:pt idx="2449">
                  <c:v>1.234296</c:v>
                </c:pt>
                <c:pt idx="2450">
                  <c:v>1.2348</c:v>
                </c:pt>
                <c:pt idx="2451">
                  <c:v>1.235304</c:v>
                </c:pt>
                <c:pt idx="2452">
                  <c:v>1.235808</c:v>
                </c:pt>
                <c:pt idx="2453">
                  <c:v>1.236312</c:v>
                </c:pt>
                <c:pt idx="2454">
                  <c:v>1.236816</c:v>
                </c:pt>
                <c:pt idx="2455">
                  <c:v>1.23732</c:v>
                </c:pt>
                <c:pt idx="2456">
                  <c:v>1.237824</c:v>
                </c:pt>
                <c:pt idx="2457">
                  <c:v>1.238328</c:v>
                </c:pt>
                <c:pt idx="2458">
                  <c:v>1.238832</c:v>
                </c:pt>
                <c:pt idx="2459">
                  <c:v>1.239336</c:v>
                </c:pt>
                <c:pt idx="2460">
                  <c:v>1.23984</c:v>
                </c:pt>
                <c:pt idx="2461">
                  <c:v>1.240344</c:v>
                </c:pt>
                <c:pt idx="2462">
                  <c:v>1.240848</c:v>
                </c:pt>
                <c:pt idx="2463">
                  <c:v>1.241352</c:v>
                </c:pt>
                <c:pt idx="2464">
                  <c:v>1.241856</c:v>
                </c:pt>
                <c:pt idx="2465">
                  <c:v>1.24236</c:v>
                </c:pt>
                <c:pt idx="2466">
                  <c:v>1.242864</c:v>
                </c:pt>
                <c:pt idx="2467">
                  <c:v>1.243368</c:v>
                </c:pt>
                <c:pt idx="2468">
                  <c:v>1.243872</c:v>
                </c:pt>
                <c:pt idx="2469">
                  <c:v>1.244376</c:v>
                </c:pt>
                <c:pt idx="2470">
                  <c:v>1.24488</c:v>
                </c:pt>
                <c:pt idx="2471">
                  <c:v>1.245384</c:v>
                </c:pt>
                <c:pt idx="2472">
                  <c:v>1.245888</c:v>
                </c:pt>
                <c:pt idx="2473">
                  <c:v>1.246392</c:v>
                </c:pt>
                <c:pt idx="2474">
                  <c:v>1.246896</c:v>
                </c:pt>
                <c:pt idx="2475">
                  <c:v>1.2474</c:v>
                </c:pt>
                <c:pt idx="2476">
                  <c:v>1.247904</c:v>
                </c:pt>
                <c:pt idx="2477">
                  <c:v>1.248408</c:v>
                </c:pt>
                <c:pt idx="2478">
                  <c:v>1.248912</c:v>
                </c:pt>
                <c:pt idx="2479">
                  <c:v>1.249416</c:v>
                </c:pt>
                <c:pt idx="2480">
                  <c:v>1.24992</c:v>
                </c:pt>
                <c:pt idx="2481">
                  <c:v>1.250424</c:v>
                </c:pt>
                <c:pt idx="2482">
                  <c:v>1.250928</c:v>
                </c:pt>
                <c:pt idx="2483">
                  <c:v>1.251432</c:v>
                </c:pt>
                <c:pt idx="2484">
                  <c:v>1.251936</c:v>
                </c:pt>
                <c:pt idx="2485">
                  <c:v>1.25244</c:v>
                </c:pt>
                <c:pt idx="2486">
                  <c:v>1.252944</c:v>
                </c:pt>
                <c:pt idx="2487">
                  <c:v>1.253448</c:v>
                </c:pt>
                <c:pt idx="2488">
                  <c:v>1.253952</c:v>
                </c:pt>
                <c:pt idx="2489">
                  <c:v>1.254456</c:v>
                </c:pt>
                <c:pt idx="2490">
                  <c:v>1.25496</c:v>
                </c:pt>
                <c:pt idx="2491">
                  <c:v>1.255464</c:v>
                </c:pt>
                <c:pt idx="2492">
                  <c:v>1.255968</c:v>
                </c:pt>
                <c:pt idx="2493">
                  <c:v>1.256472</c:v>
                </c:pt>
                <c:pt idx="2494">
                  <c:v>1.256976</c:v>
                </c:pt>
                <c:pt idx="2495">
                  <c:v>1.25748</c:v>
                </c:pt>
                <c:pt idx="2496">
                  <c:v>1.257984</c:v>
                </c:pt>
                <c:pt idx="2497">
                  <c:v>1.258488</c:v>
                </c:pt>
                <c:pt idx="2498">
                  <c:v>1.258992</c:v>
                </c:pt>
                <c:pt idx="2499">
                  <c:v>1.259496</c:v>
                </c:pt>
                <c:pt idx="2500">
                  <c:v>1.26</c:v>
                </c:pt>
                <c:pt idx="2501">
                  <c:v>1.260504</c:v>
                </c:pt>
                <c:pt idx="2502">
                  <c:v>1.261008</c:v>
                </c:pt>
                <c:pt idx="2503">
                  <c:v>1.261512</c:v>
                </c:pt>
                <c:pt idx="2504">
                  <c:v>1.262016</c:v>
                </c:pt>
                <c:pt idx="2505">
                  <c:v>1.26252</c:v>
                </c:pt>
                <c:pt idx="2506">
                  <c:v>1.263024</c:v>
                </c:pt>
                <c:pt idx="2507">
                  <c:v>1.263528</c:v>
                </c:pt>
                <c:pt idx="2508">
                  <c:v>1.264032</c:v>
                </c:pt>
                <c:pt idx="2509">
                  <c:v>1.264536</c:v>
                </c:pt>
                <c:pt idx="2510">
                  <c:v>1.26504</c:v>
                </c:pt>
                <c:pt idx="2511">
                  <c:v>1.265544</c:v>
                </c:pt>
                <c:pt idx="2512">
                  <c:v>1.266048</c:v>
                </c:pt>
                <c:pt idx="2513">
                  <c:v>1.266552</c:v>
                </c:pt>
                <c:pt idx="2514">
                  <c:v>1.267056</c:v>
                </c:pt>
                <c:pt idx="2515">
                  <c:v>1.26756</c:v>
                </c:pt>
                <c:pt idx="2516">
                  <c:v>1.268064</c:v>
                </c:pt>
                <c:pt idx="2517">
                  <c:v>1.268568</c:v>
                </c:pt>
                <c:pt idx="2518">
                  <c:v>1.269072</c:v>
                </c:pt>
                <c:pt idx="2519">
                  <c:v>1.269576</c:v>
                </c:pt>
                <c:pt idx="2520">
                  <c:v>1.27008</c:v>
                </c:pt>
                <c:pt idx="2521">
                  <c:v>1.270584</c:v>
                </c:pt>
                <c:pt idx="2522">
                  <c:v>1.271088</c:v>
                </c:pt>
                <c:pt idx="2523">
                  <c:v>1.271592</c:v>
                </c:pt>
                <c:pt idx="2524">
                  <c:v>1.272096</c:v>
                </c:pt>
                <c:pt idx="2525">
                  <c:v>1.2726</c:v>
                </c:pt>
                <c:pt idx="2526">
                  <c:v>1.273104</c:v>
                </c:pt>
                <c:pt idx="2527">
                  <c:v>1.273608</c:v>
                </c:pt>
                <c:pt idx="2528">
                  <c:v>1.274112</c:v>
                </c:pt>
                <c:pt idx="2529">
                  <c:v>1.274616</c:v>
                </c:pt>
                <c:pt idx="2530">
                  <c:v>1.27512</c:v>
                </c:pt>
                <c:pt idx="2531">
                  <c:v>1.275624</c:v>
                </c:pt>
                <c:pt idx="2532">
                  <c:v>1.276128</c:v>
                </c:pt>
                <c:pt idx="2533">
                  <c:v>1.276632</c:v>
                </c:pt>
                <c:pt idx="2534">
                  <c:v>1.277136</c:v>
                </c:pt>
                <c:pt idx="2535">
                  <c:v>1.27764</c:v>
                </c:pt>
                <c:pt idx="2536">
                  <c:v>1.278144</c:v>
                </c:pt>
                <c:pt idx="2537">
                  <c:v>1.278648</c:v>
                </c:pt>
                <c:pt idx="2538">
                  <c:v>1.279152</c:v>
                </c:pt>
                <c:pt idx="2539">
                  <c:v>1.279656</c:v>
                </c:pt>
                <c:pt idx="2540">
                  <c:v>1.28016</c:v>
                </c:pt>
                <c:pt idx="2541">
                  <c:v>1.280664</c:v>
                </c:pt>
                <c:pt idx="2542">
                  <c:v>1.281168</c:v>
                </c:pt>
                <c:pt idx="2543">
                  <c:v>1.281672</c:v>
                </c:pt>
                <c:pt idx="2544">
                  <c:v>1.282176</c:v>
                </c:pt>
                <c:pt idx="2545">
                  <c:v>1.28268</c:v>
                </c:pt>
                <c:pt idx="2546">
                  <c:v>1.283184</c:v>
                </c:pt>
                <c:pt idx="2547">
                  <c:v>1.283688</c:v>
                </c:pt>
                <c:pt idx="2548">
                  <c:v>1.284192</c:v>
                </c:pt>
                <c:pt idx="2549">
                  <c:v>1.284696</c:v>
                </c:pt>
                <c:pt idx="2550">
                  <c:v>1.2852</c:v>
                </c:pt>
                <c:pt idx="2551">
                  <c:v>1.285704</c:v>
                </c:pt>
                <c:pt idx="2552">
                  <c:v>1.286208</c:v>
                </c:pt>
                <c:pt idx="2553">
                  <c:v>1.286712</c:v>
                </c:pt>
                <c:pt idx="2554">
                  <c:v>1.287216</c:v>
                </c:pt>
                <c:pt idx="2555">
                  <c:v>1.28772</c:v>
                </c:pt>
                <c:pt idx="2556">
                  <c:v>1.288224</c:v>
                </c:pt>
                <c:pt idx="2557">
                  <c:v>1.288728</c:v>
                </c:pt>
                <c:pt idx="2558">
                  <c:v>1.289232</c:v>
                </c:pt>
                <c:pt idx="2559">
                  <c:v>1.289736</c:v>
                </c:pt>
                <c:pt idx="2560">
                  <c:v>1.29024</c:v>
                </c:pt>
                <c:pt idx="2561">
                  <c:v>1.290744</c:v>
                </c:pt>
                <c:pt idx="2562">
                  <c:v>1.291248</c:v>
                </c:pt>
                <c:pt idx="2563">
                  <c:v>1.291752</c:v>
                </c:pt>
                <c:pt idx="2564">
                  <c:v>1.292256</c:v>
                </c:pt>
                <c:pt idx="2565">
                  <c:v>1.29276</c:v>
                </c:pt>
                <c:pt idx="2566">
                  <c:v>1.293264</c:v>
                </c:pt>
                <c:pt idx="2567">
                  <c:v>1.293768</c:v>
                </c:pt>
                <c:pt idx="2568">
                  <c:v>1.294272</c:v>
                </c:pt>
                <c:pt idx="2569">
                  <c:v>1.294776</c:v>
                </c:pt>
                <c:pt idx="2570">
                  <c:v>1.29528</c:v>
                </c:pt>
                <c:pt idx="2571">
                  <c:v>1.295784</c:v>
                </c:pt>
                <c:pt idx="2572">
                  <c:v>1.296288</c:v>
                </c:pt>
                <c:pt idx="2573">
                  <c:v>1.296792</c:v>
                </c:pt>
                <c:pt idx="2574">
                  <c:v>1.297296</c:v>
                </c:pt>
                <c:pt idx="2575">
                  <c:v>1.2978</c:v>
                </c:pt>
                <c:pt idx="2576">
                  <c:v>1.298304</c:v>
                </c:pt>
                <c:pt idx="2577">
                  <c:v>1.298808</c:v>
                </c:pt>
                <c:pt idx="2578">
                  <c:v>1.299312</c:v>
                </c:pt>
                <c:pt idx="2579">
                  <c:v>1.299816</c:v>
                </c:pt>
                <c:pt idx="2580">
                  <c:v>1.30032</c:v>
                </c:pt>
                <c:pt idx="2581">
                  <c:v>1.300824</c:v>
                </c:pt>
                <c:pt idx="2582">
                  <c:v>1.301328</c:v>
                </c:pt>
                <c:pt idx="2583">
                  <c:v>1.301832</c:v>
                </c:pt>
                <c:pt idx="2584">
                  <c:v>1.302336</c:v>
                </c:pt>
                <c:pt idx="2585">
                  <c:v>1.30284</c:v>
                </c:pt>
                <c:pt idx="2586">
                  <c:v>1.303344</c:v>
                </c:pt>
                <c:pt idx="2587">
                  <c:v>1.303848</c:v>
                </c:pt>
                <c:pt idx="2588">
                  <c:v>1.304352</c:v>
                </c:pt>
                <c:pt idx="2589">
                  <c:v>1.304856</c:v>
                </c:pt>
                <c:pt idx="2590">
                  <c:v>1.30536</c:v>
                </c:pt>
                <c:pt idx="2591">
                  <c:v>1.305864</c:v>
                </c:pt>
                <c:pt idx="2592">
                  <c:v>1.306368</c:v>
                </c:pt>
                <c:pt idx="2593">
                  <c:v>1.306872</c:v>
                </c:pt>
                <c:pt idx="2594">
                  <c:v>1.307376</c:v>
                </c:pt>
                <c:pt idx="2595">
                  <c:v>1.30788</c:v>
                </c:pt>
                <c:pt idx="2596">
                  <c:v>1.308384</c:v>
                </c:pt>
                <c:pt idx="2597">
                  <c:v>1.308888</c:v>
                </c:pt>
                <c:pt idx="2598">
                  <c:v>1.309392</c:v>
                </c:pt>
                <c:pt idx="2599">
                  <c:v>1.309896</c:v>
                </c:pt>
                <c:pt idx="2600">
                  <c:v>1.3104</c:v>
                </c:pt>
                <c:pt idx="2601">
                  <c:v>1.310904</c:v>
                </c:pt>
                <c:pt idx="2602">
                  <c:v>1.311408</c:v>
                </c:pt>
                <c:pt idx="2603">
                  <c:v>1.311912</c:v>
                </c:pt>
                <c:pt idx="2604">
                  <c:v>1.312416</c:v>
                </c:pt>
                <c:pt idx="2605">
                  <c:v>1.31292</c:v>
                </c:pt>
                <c:pt idx="2606">
                  <c:v>1.313424</c:v>
                </c:pt>
                <c:pt idx="2607">
                  <c:v>1.313928</c:v>
                </c:pt>
                <c:pt idx="2608">
                  <c:v>1.314432</c:v>
                </c:pt>
                <c:pt idx="2609">
                  <c:v>1.314936</c:v>
                </c:pt>
                <c:pt idx="2610">
                  <c:v>1.31544</c:v>
                </c:pt>
                <c:pt idx="2611">
                  <c:v>1.315944</c:v>
                </c:pt>
                <c:pt idx="2612">
                  <c:v>1.316448</c:v>
                </c:pt>
                <c:pt idx="2613">
                  <c:v>1.316952</c:v>
                </c:pt>
                <c:pt idx="2614">
                  <c:v>1.317456</c:v>
                </c:pt>
                <c:pt idx="2615">
                  <c:v>1.31796</c:v>
                </c:pt>
                <c:pt idx="2616">
                  <c:v>1.318464</c:v>
                </c:pt>
                <c:pt idx="2617">
                  <c:v>1.318968</c:v>
                </c:pt>
                <c:pt idx="2618">
                  <c:v>1.319472</c:v>
                </c:pt>
                <c:pt idx="2619">
                  <c:v>1.319976</c:v>
                </c:pt>
                <c:pt idx="2620">
                  <c:v>1.32048</c:v>
                </c:pt>
                <c:pt idx="2621">
                  <c:v>1.320984</c:v>
                </c:pt>
                <c:pt idx="2622">
                  <c:v>1.321488</c:v>
                </c:pt>
                <c:pt idx="2623">
                  <c:v>1.321992</c:v>
                </c:pt>
                <c:pt idx="2624">
                  <c:v>1.322496</c:v>
                </c:pt>
                <c:pt idx="2625">
                  <c:v>1.323</c:v>
                </c:pt>
                <c:pt idx="2626">
                  <c:v>1.323504</c:v>
                </c:pt>
                <c:pt idx="2627">
                  <c:v>1.324008</c:v>
                </c:pt>
                <c:pt idx="2628">
                  <c:v>1.324512</c:v>
                </c:pt>
                <c:pt idx="2629">
                  <c:v>1.325016</c:v>
                </c:pt>
                <c:pt idx="2630">
                  <c:v>1.32552</c:v>
                </c:pt>
                <c:pt idx="2631">
                  <c:v>1.326024</c:v>
                </c:pt>
                <c:pt idx="2632">
                  <c:v>1.326528</c:v>
                </c:pt>
                <c:pt idx="2633">
                  <c:v>1.327032</c:v>
                </c:pt>
                <c:pt idx="2634">
                  <c:v>1.327536</c:v>
                </c:pt>
                <c:pt idx="2635">
                  <c:v>1.32804</c:v>
                </c:pt>
                <c:pt idx="2636">
                  <c:v>1.328544</c:v>
                </c:pt>
                <c:pt idx="2637">
                  <c:v>1.329048</c:v>
                </c:pt>
                <c:pt idx="2638">
                  <c:v>1.329552</c:v>
                </c:pt>
                <c:pt idx="2639">
                  <c:v>1.330056</c:v>
                </c:pt>
                <c:pt idx="2640">
                  <c:v>1.33056</c:v>
                </c:pt>
                <c:pt idx="2641">
                  <c:v>1.331064</c:v>
                </c:pt>
                <c:pt idx="2642">
                  <c:v>1.331568</c:v>
                </c:pt>
                <c:pt idx="2643">
                  <c:v>1.332072</c:v>
                </c:pt>
                <c:pt idx="2644">
                  <c:v>1.332576</c:v>
                </c:pt>
                <c:pt idx="2645">
                  <c:v>1.33308</c:v>
                </c:pt>
                <c:pt idx="2646">
                  <c:v>1.333584</c:v>
                </c:pt>
                <c:pt idx="2647">
                  <c:v>1.334088</c:v>
                </c:pt>
                <c:pt idx="2648">
                  <c:v>1.334592</c:v>
                </c:pt>
                <c:pt idx="2649">
                  <c:v>1.335096</c:v>
                </c:pt>
                <c:pt idx="2650">
                  <c:v>1.3356</c:v>
                </c:pt>
                <c:pt idx="2651">
                  <c:v>1.336104</c:v>
                </c:pt>
                <c:pt idx="2652">
                  <c:v>1.336608</c:v>
                </c:pt>
                <c:pt idx="2653">
                  <c:v>1.337112</c:v>
                </c:pt>
                <c:pt idx="2654">
                  <c:v>1.337616</c:v>
                </c:pt>
                <c:pt idx="2655">
                  <c:v>1.33812</c:v>
                </c:pt>
                <c:pt idx="2656">
                  <c:v>1.338624</c:v>
                </c:pt>
                <c:pt idx="2657">
                  <c:v>1.339128</c:v>
                </c:pt>
                <c:pt idx="2658">
                  <c:v>1.339632</c:v>
                </c:pt>
                <c:pt idx="2659">
                  <c:v>1.340136</c:v>
                </c:pt>
                <c:pt idx="2660">
                  <c:v>1.34064</c:v>
                </c:pt>
                <c:pt idx="2661">
                  <c:v>1.341144</c:v>
                </c:pt>
                <c:pt idx="2662">
                  <c:v>1.341648</c:v>
                </c:pt>
                <c:pt idx="2663">
                  <c:v>1.342152</c:v>
                </c:pt>
                <c:pt idx="2664">
                  <c:v>1.342656</c:v>
                </c:pt>
                <c:pt idx="2665">
                  <c:v>1.34316</c:v>
                </c:pt>
                <c:pt idx="2666">
                  <c:v>1.343664</c:v>
                </c:pt>
                <c:pt idx="2667">
                  <c:v>1.344168</c:v>
                </c:pt>
                <c:pt idx="2668">
                  <c:v>1.344672</c:v>
                </c:pt>
                <c:pt idx="2669">
                  <c:v>1.345176</c:v>
                </c:pt>
                <c:pt idx="2670">
                  <c:v>1.34568</c:v>
                </c:pt>
                <c:pt idx="2671">
                  <c:v>1.346184</c:v>
                </c:pt>
                <c:pt idx="2672">
                  <c:v>1.346688</c:v>
                </c:pt>
                <c:pt idx="2673">
                  <c:v>1.347192</c:v>
                </c:pt>
                <c:pt idx="2674">
                  <c:v>1.347696</c:v>
                </c:pt>
                <c:pt idx="2675">
                  <c:v>1.3482</c:v>
                </c:pt>
                <c:pt idx="2676">
                  <c:v>1.348704</c:v>
                </c:pt>
                <c:pt idx="2677">
                  <c:v>1.349208</c:v>
                </c:pt>
                <c:pt idx="2678">
                  <c:v>1.349712</c:v>
                </c:pt>
                <c:pt idx="2679">
                  <c:v>1.350216</c:v>
                </c:pt>
                <c:pt idx="2680">
                  <c:v>1.35072</c:v>
                </c:pt>
                <c:pt idx="2681">
                  <c:v>1.351224</c:v>
                </c:pt>
                <c:pt idx="2682">
                  <c:v>1.351728</c:v>
                </c:pt>
                <c:pt idx="2683">
                  <c:v>1.352232</c:v>
                </c:pt>
                <c:pt idx="2684">
                  <c:v>1.352736</c:v>
                </c:pt>
                <c:pt idx="2685">
                  <c:v>1.35324</c:v>
                </c:pt>
                <c:pt idx="2686">
                  <c:v>1.353744</c:v>
                </c:pt>
                <c:pt idx="2687">
                  <c:v>1.354248</c:v>
                </c:pt>
                <c:pt idx="2688">
                  <c:v>1.354752</c:v>
                </c:pt>
                <c:pt idx="2689">
                  <c:v>1.355256</c:v>
                </c:pt>
                <c:pt idx="2690">
                  <c:v>1.35576</c:v>
                </c:pt>
                <c:pt idx="2691">
                  <c:v>1.356264</c:v>
                </c:pt>
                <c:pt idx="2692">
                  <c:v>1.356768</c:v>
                </c:pt>
                <c:pt idx="2693">
                  <c:v>1.357272</c:v>
                </c:pt>
                <c:pt idx="2694">
                  <c:v>1.357776</c:v>
                </c:pt>
                <c:pt idx="2695">
                  <c:v>1.35828</c:v>
                </c:pt>
                <c:pt idx="2696">
                  <c:v>1.358784</c:v>
                </c:pt>
                <c:pt idx="2697">
                  <c:v>1.359288</c:v>
                </c:pt>
                <c:pt idx="2698">
                  <c:v>1.359792</c:v>
                </c:pt>
                <c:pt idx="2699">
                  <c:v>1.360296</c:v>
                </c:pt>
                <c:pt idx="2700">
                  <c:v>1.3608</c:v>
                </c:pt>
                <c:pt idx="2701">
                  <c:v>1.361304</c:v>
                </c:pt>
                <c:pt idx="2702">
                  <c:v>1.361808</c:v>
                </c:pt>
                <c:pt idx="2703">
                  <c:v>1.362312</c:v>
                </c:pt>
                <c:pt idx="2704">
                  <c:v>1.362816</c:v>
                </c:pt>
                <c:pt idx="2705">
                  <c:v>1.36332</c:v>
                </c:pt>
                <c:pt idx="2706">
                  <c:v>1.363824</c:v>
                </c:pt>
                <c:pt idx="2707">
                  <c:v>1.364328</c:v>
                </c:pt>
                <c:pt idx="2708">
                  <c:v>1.364832</c:v>
                </c:pt>
                <c:pt idx="2709">
                  <c:v>1.365336</c:v>
                </c:pt>
                <c:pt idx="2710">
                  <c:v>1.36584</c:v>
                </c:pt>
                <c:pt idx="2711">
                  <c:v>1.366344</c:v>
                </c:pt>
                <c:pt idx="2712">
                  <c:v>1.366848</c:v>
                </c:pt>
                <c:pt idx="2713">
                  <c:v>1.367352</c:v>
                </c:pt>
                <c:pt idx="2714">
                  <c:v>1.367856</c:v>
                </c:pt>
                <c:pt idx="2715">
                  <c:v>1.36836</c:v>
                </c:pt>
                <c:pt idx="2716">
                  <c:v>1.368864</c:v>
                </c:pt>
                <c:pt idx="2717">
                  <c:v>1.369368</c:v>
                </c:pt>
                <c:pt idx="2718">
                  <c:v>1.369872</c:v>
                </c:pt>
                <c:pt idx="2719">
                  <c:v>1.370376</c:v>
                </c:pt>
                <c:pt idx="2720">
                  <c:v>1.37088</c:v>
                </c:pt>
                <c:pt idx="2721">
                  <c:v>1.371384</c:v>
                </c:pt>
                <c:pt idx="2722">
                  <c:v>1.371888</c:v>
                </c:pt>
                <c:pt idx="2723">
                  <c:v>1.372392</c:v>
                </c:pt>
                <c:pt idx="2724">
                  <c:v>1.372896</c:v>
                </c:pt>
                <c:pt idx="2725">
                  <c:v>1.3734</c:v>
                </c:pt>
                <c:pt idx="2726">
                  <c:v>1.373904</c:v>
                </c:pt>
                <c:pt idx="2727">
                  <c:v>1.374408</c:v>
                </c:pt>
                <c:pt idx="2728">
                  <c:v>1.374912</c:v>
                </c:pt>
                <c:pt idx="2729">
                  <c:v>1.375416</c:v>
                </c:pt>
                <c:pt idx="2730">
                  <c:v>1.37592</c:v>
                </c:pt>
                <c:pt idx="2731">
                  <c:v>1.376424</c:v>
                </c:pt>
                <c:pt idx="2732">
                  <c:v>1.376928</c:v>
                </c:pt>
                <c:pt idx="2733">
                  <c:v>1.377432</c:v>
                </c:pt>
                <c:pt idx="2734">
                  <c:v>1.377936</c:v>
                </c:pt>
                <c:pt idx="2735">
                  <c:v>1.37844</c:v>
                </c:pt>
                <c:pt idx="2736">
                  <c:v>1.378944</c:v>
                </c:pt>
                <c:pt idx="2737">
                  <c:v>1.379448</c:v>
                </c:pt>
                <c:pt idx="2738">
                  <c:v>1.379952</c:v>
                </c:pt>
                <c:pt idx="2739">
                  <c:v>1.380456</c:v>
                </c:pt>
                <c:pt idx="2740">
                  <c:v>1.38096</c:v>
                </c:pt>
                <c:pt idx="2741">
                  <c:v>1.381464</c:v>
                </c:pt>
                <c:pt idx="2742">
                  <c:v>1.381968</c:v>
                </c:pt>
                <c:pt idx="2743">
                  <c:v>1.382472</c:v>
                </c:pt>
                <c:pt idx="2744">
                  <c:v>1.382976</c:v>
                </c:pt>
                <c:pt idx="2745">
                  <c:v>1.38348</c:v>
                </c:pt>
                <c:pt idx="2746">
                  <c:v>1.383984</c:v>
                </c:pt>
                <c:pt idx="2747">
                  <c:v>1.384488</c:v>
                </c:pt>
                <c:pt idx="2748">
                  <c:v>1.384992</c:v>
                </c:pt>
                <c:pt idx="2749">
                  <c:v>1.385496</c:v>
                </c:pt>
                <c:pt idx="2750">
                  <c:v>1.386</c:v>
                </c:pt>
                <c:pt idx="2751">
                  <c:v>1.386504</c:v>
                </c:pt>
                <c:pt idx="2752">
                  <c:v>1.387008</c:v>
                </c:pt>
                <c:pt idx="2753">
                  <c:v>1.387512</c:v>
                </c:pt>
                <c:pt idx="2754">
                  <c:v>1.388016</c:v>
                </c:pt>
                <c:pt idx="2755">
                  <c:v>1.38852</c:v>
                </c:pt>
                <c:pt idx="2756">
                  <c:v>1.389024</c:v>
                </c:pt>
                <c:pt idx="2757">
                  <c:v>1.389528</c:v>
                </c:pt>
                <c:pt idx="2758">
                  <c:v>1.390032</c:v>
                </c:pt>
                <c:pt idx="2759">
                  <c:v>1.390536</c:v>
                </c:pt>
                <c:pt idx="2760">
                  <c:v>1.39104</c:v>
                </c:pt>
                <c:pt idx="2761">
                  <c:v>1.391544</c:v>
                </c:pt>
                <c:pt idx="2762">
                  <c:v>1.392048</c:v>
                </c:pt>
                <c:pt idx="2763">
                  <c:v>1.392552</c:v>
                </c:pt>
                <c:pt idx="2764">
                  <c:v>1.393056</c:v>
                </c:pt>
                <c:pt idx="2765">
                  <c:v>1.39356</c:v>
                </c:pt>
                <c:pt idx="2766">
                  <c:v>1.394064</c:v>
                </c:pt>
                <c:pt idx="2767">
                  <c:v>1.394568</c:v>
                </c:pt>
                <c:pt idx="2768">
                  <c:v>1.395072</c:v>
                </c:pt>
                <c:pt idx="2769">
                  <c:v>1.395576</c:v>
                </c:pt>
                <c:pt idx="2770">
                  <c:v>1.39608</c:v>
                </c:pt>
                <c:pt idx="2771">
                  <c:v>1.396584</c:v>
                </c:pt>
                <c:pt idx="2772">
                  <c:v>1.397088</c:v>
                </c:pt>
                <c:pt idx="2773">
                  <c:v>1.397592</c:v>
                </c:pt>
                <c:pt idx="2774">
                  <c:v>1.398096</c:v>
                </c:pt>
                <c:pt idx="2775">
                  <c:v>1.3986</c:v>
                </c:pt>
                <c:pt idx="2776">
                  <c:v>1.399104</c:v>
                </c:pt>
                <c:pt idx="2777">
                  <c:v>1.399608</c:v>
                </c:pt>
                <c:pt idx="2778">
                  <c:v>1.400112</c:v>
                </c:pt>
                <c:pt idx="2779">
                  <c:v>1.400616</c:v>
                </c:pt>
                <c:pt idx="2780">
                  <c:v>1.40112</c:v>
                </c:pt>
                <c:pt idx="2781">
                  <c:v>1.401624</c:v>
                </c:pt>
                <c:pt idx="2782">
                  <c:v>1.402128</c:v>
                </c:pt>
                <c:pt idx="2783">
                  <c:v>1.402632</c:v>
                </c:pt>
                <c:pt idx="2784">
                  <c:v>1.403136</c:v>
                </c:pt>
                <c:pt idx="2785">
                  <c:v>1.40364</c:v>
                </c:pt>
                <c:pt idx="2786">
                  <c:v>1.404144</c:v>
                </c:pt>
                <c:pt idx="2787">
                  <c:v>1.404648</c:v>
                </c:pt>
                <c:pt idx="2788">
                  <c:v>1.405152</c:v>
                </c:pt>
                <c:pt idx="2789">
                  <c:v>1.405656</c:v>
                </c:pt>
                <c:pt idx="2790">
                  <c:v>1.40616</c:v>
                </c:pt>
                <c:pt idx="2791">
                  <c:v>1.406664</c:v>
                </c:pt>
                <c:pt idx="2792">
                  <c:v>1.407168</c:v>
                </c:pt>
                <c:pt idx="2793">
                  <c:v>1.407672</c:v>
                </c:pt>
                <c:pt idx="2794">
                  <c:v>1.408176</c:v>
                </c:pt>
                <c:pt idx="2795">
                  <c:v>1.40868</c:v>
                </c:pt>
                <c:pt idx="2796">
                  <c:v>1.409184</c:v>
                </c:pt>
                <c:pt idx="2797">
                  <c:v>1.409688</c:v>
                </c:pt>
                <c:pt idx="2798">
                  <c:v>1.410192</c:v>
                </c:pt>
                <c:pt idx="2799">
                  <c:v>1.410696</c:v>
                </c:pt>
                <c:pt idx="2800">
                  <c:v>1.4112</c:v>
                </c:pt>
                <c:pt idx="2801">
                  <c:v>1.411704</c:v>
                </c:pt>
                <c:pt idx="2802">
                  <c:v>1.412208</c:v>
                </c:pt>
                <c:pt idx="2803">
                  <c:v>1.412712</c:v>
                </c:pt>
                <c:pt idx="2804">
                  <c:v>1.413216</c:v>
                </c:pt>
                <c:pt idx="2805">
                  <c:v>1.41372</c:v>
                </c:pt>
                <c:pt idx="2806">
                  <c:v>1.414224</c:v>
                </c:pt>
                <c:pt idx="2807">
                  <c:v>1.414728</c:v>
                </c:pt>
                <c:pt idx="2808">
                  <c:v>1.415232</c:v>
                </c:pt>
                <c:pt idx="2809">
                  <c:v>1.415736</c:v>
                </c:pt>
                <c:pt idx="2810">
                  <c:v>1.41624</c:v>
                </c:pt>
                <c:pt idx="2811">
                  <c:v>1.416744</c:v>
                </c:pt>
                <c:pt idx="2812">
                  <c:v>1.417248</c:v>
                </c:pt>
                <c:pt idx="2813">
                  <c:v>1.417752</c:v>
                </c:pt>
                <c:pt idx="2814">
                  <c:v>1.418256</c:v>
                </c:pt>
                <c:pt idx="2815">
                  <c:v>1.41876</c:v>
                </c:pt>
                <c:pt idx="2816">
                  <c:v>1.419264</c:v>
                </c:pt>
                <c:pt idx="2817">
                  <c:v>1.419768</c:v>
                </c:pt>
                <c:pt idx="2818">
                  <c:v>1.420272</c:v>
                </c:pt>
                <c:pt idx="2819">
                  <c:v>1.420776</c:v>
                </c:pt>
                <c:pt idx="2820">
                  <c:v>1.42128</c:v>
                </c:pt>
                <c:pt idx="2821">
                  <c:v>1.421784</c:v>
                </c:pt>
                <c:pt idx="2822">
                  <c:v>1.422288</c:v>
                </c:pt>
                <c:pt idx="2823">
                  <c:v>1.422792</c:v>
                </c:pt>
                <c:pt idx="2824">
                  <c:v>1.423296</c:v>
                </c:pt>
                <c:pt idx="2825">
                  <c:v>1.4238</c:v>
                </c:pt>
                <c:pt idx="2826">
                  <c:v>1.424304</c:v>
                </c:pt>
                <c:pt idx="2827">
                  <c:v>1.424808</c:v>
                </c:pt>
                <c:pt idx="2828">
                  <c:v>1.425312</c:v>
                </c:pt>
                <c:pt idx="2829">
                  <c:v>1.425816</c:v>
                </c:pt>
                <c:pt idx="2830">
                  <c:v>1.42632</c:v>
                </c:pt>
                <c:pt idx="2831">
                  <c:v>1.426824</c:v>
                </c:pt>
                <c:pt idx="2832">
                  <c:v>1.427328</c:v>
                </c:pt>
                <c:pt idx="2833">
                  <c:v>1.427832</c:v>
                </c:pt>
                <c:pt idx="2834">
                  <c:v>1.428336</c:v>
                </c:pt>
                <c:pt idx="2835">
                  <c:v>1.42884</c:v>
                </c:pt>
                <c:pt idx="2836">
                  <c:v>1.429344</c:v>
                </c:pt>
                <c:pt idx="2837">
                  <c:v>1.429848</c:v>
                </c:pt>
                <c:pt idx="2838">
                  <c:v>1.430352</c:v>
                </c:pt>
                <c:pt idx="2839">
                  <c:v>1.430856</c:v>
                </c:pt>
                <c:pt idx="2840">
                  <c:v>1.43136</c:v>
                </c:pt>
                <c:pt idx="2841">
                  <c:v>1.431864</c:v>
                </c:pt>
                <c:pt idx="2842">
                  <c:v>1.432368</c:v>
                </c:pt>
                <c:pt idx="2843">
                  <c:v>1.432872</c:v>
                </c:pt>
                <c:pt idx="2844">
                  <c:v>1.433376</c:v>
                </c:pt>
                <c:pt idx="2845">
                  <c:v>1.43388</c:v>
                </c:pt>
                <c:pt idx="2846">
                  <c:v>1.434384</c:v>
                </c:pt>
                <c:pt idx="2847">
                  <c:v>1.434888</c:v>
                </c:pt>
                <c:pt idx="2848">
                  <c:v>1.435392</c:v>
                </c:pt>
                <c:pt idx="2849">
                  <c:v>1.435896</c:v>
                </c:pt>
                <c:pt idx="2850">
                  <c:v>1.4364</c:v>
                </c:pt>
                <c:pt idx="2851">
                  <c:v>1.436904</c:v>
                </c:pt>
                <c:pt idx="2852">
                  <c:v>1.437408</c:v>
                </c:pt>
                <c:pt idx="2853">
                  <c:v>1.437912</c:v>
                </c:pt>
                <c:pt idx="2854">
                  <c:v>1.438416</c:v>
                </c:pt>
                <c:pt idx="2855">
                  <c:v>1.43892</c:v>
                </c:pt>
                <c:pt idx="2856">
                  <c:v>1.439424</c:v>
                </c:pt>
                <c:pt idx="2857">
                  <c:v>1.439928</c:v>
                </c:pt>
                <c:pt idx="2858">
                  <c:v>1.440432</c:v>
                </c:pt>
                <c:pt idx="2859">
                  <c:v>1.440936</c:v>
                </c:pt>
                <c:pt idx="2860">
                  <c:v>1.44144</c:v>
                </c:pt>
                <c:pt idx="2861">
                  <c:v>1.441944</c:v>
                </c:pt>
                <c:pt idx="2862">
                  <c:v>1.442448</c:v>
                </c:pt>
                <c:pt idx="2863">
                  <c:v>1.442952</c:v>
                </c:pt>
                <c:pt idx="2864">
                  <c:v>1.443456</c:v>
                </c:pt>
                <c:pt idx="2865">
                  <c:v>1.44396</c:v>
                </c:pt>
                <c:pt idx="2866">
                  <c:v>1.444464</c:v>
                </c:pt>
                <c:pt idx="2867">
                  <c:v>1.444968</c:v>
                </c:pt>
                <c:pt idx="2868">
                  <c:v>1.445472</c:v>
                </c:pt>
                <c:pt idx="2869">
                  <c:v>1.445976</c:v>
                </c:pt>
                <c:pt idx="2870">
                  <c:v>1.44648</c:v>
                </c:pt>
                <c:pt idx="2871">
                  <c:v>1.446984</c:v>
                </c:pt>
                <c:pt idx="2872">
                  <c:v>1.447488</c:v>
                </c:pt>
                <c:pt idx="2873">
                  <c:v>1.447992</c:v>
                </c:pt>
                <c:pt idx="2874">
                  <c:v>1.448496</c:v>
                </c:pt>
                <c:pt idx="2875">
                  <c:v>1.449</c:v>
                </c:pt>
                <c:pt idx="2876">
                  <c:v>1.449504</c:v>
                </c:pt>
                <c:pt idx="2877">
                  <c:v>1.450008</c:v>
                </c:pt>
                <c:pt idx="2878">
                  <c:v>1.450512</c:v>
                </c:pt>
                <c:pt idx="2879">
                  <c:v>1.451016</c:v>
                </c:pt>
                <c:pt idx="2880">
                  <c:v>1.45152</c:v>
                </c:pt>
                <c:pt idx="2881">
                  <c:v>1.452024</c:v>
                </c:pt>
                <c:pt idx="2882">
                  <c:v>1.452528</c:v>
                </c:pt>
                <c:pt idx="2883">
                  <c:v>1.453032</c:v>
                </c:pt>
                <c:pt idx="2884">
                  <c:v>1.453536</c:v>
                </c:pt>
                <c:pt idx="2885">
                  <c:v>1.45404</c:v>
                </c:pt>
                <c:pt idx="2886">
                  <c:v>1.454544</c:v>
                </c:pt>
                <c:pt idx="2887">
                  <c:v>1.455048</c:v>
                </c:pt>
                <c:pt idx="2888">
                  <c:v>1.455552</c:v>
                </c:pt>
                <c:pt idx="2889">
                  <c:v>1.456056</c:v>
                </c:pt>
                <c:pt idx="2890">
                  <c:v>1.45656</c:v>
                </c:pt>
                <c:pt idx="2891">
                  <c:v>1.457064</c:v>
                </c:pt>
                <c:pt idx="2892">
                  <c:v>1.457568</c:v>
                </c:pt>
                <c:pt idx="2893">
                  <c:v>1.458072</c:v>
                </c:pt>
                <c:pt idx="2894">
                  <c:v>1.458576</c:v>
                </c:pt>
                <c:pt idx="2895">
                  <c:v>1.45908</c:v>
                </c:pt>
                <c:pt idx="2896">
                  <c:v>1.459584</c:v>
                </c:pt>
                <c:pt idx="2897">
                  <c:v>1.460088</c:v>
                </c:pt>
                <c:pt idx="2898">
                  <c:v>1.460592</c:v>
                </c:pt>
                <c:pt idx="2899">
                  <c:v>1.461096</c:v>
                </c:pt>
                <c:pt idx="2900">
                  <c:v>1.4616</c:v>
                </c:pt>
                <c:pt idx="2901">
                  <c:v>1.462104</c:v>
                </c:pt>
                <c:pt idx="2902">
                  <c:v>1.462608</c:v>
                </c:pt>
                <c:pt idx="2903">
                  <c:v>1.463112</c:v>
                </c:pt>
                <c:pt idx="2904">
                  <c:v>1.463616</c:v>
                </c:pt>
                <c:pt idx="2905">
                  <c:v>1.46412</c:v>
                </c:pt>
                <c:pt idx="2906">
                  <c:v>1.464624</c:v>
                </c:pt>
                <c:pt idx="2907">
                  <c:v>1.465128</c:v>
                </c:pt>
                <c:pt idx="2908">
                  <c:v>1.465632</c:v>
                </c:pt>
                <c:pt idx="2909">
                  <c:v>1.466136</c:v>
                </c:pt>
                <c:pt idx="2910">
                  <c:v>1.46664</c:v>
                </c:pt>
                <c:pt idx="2911">
                  <c:v>1.467144</c:v>
                </c:pt>
                <c:pt idx="2912">
                  <c:v>1.467648</c:v>
                </c:pt>
                <c:pt idx="2913">
                  <c:v>1.468152</c:v>
                </c:pt>
                <c:pt idx="2914">
                  <c:v>1.468656</c:v>
                </c:pt>
                <c:pt idx="2915">
                  <c:v>1.46916</c:v>
                </c:pt>
                <c:pt idx="2916">
                  <c:v>1.469664</c:v>
                </c:pt>
                <c:pt idx="2917">
                  <c:v>1.470168</c:v>
                </c:pt>
                <c:pt idx="2918">
                  <c:v>1.470672</c:v>
                </c:pt>
                <c:pt idx="2919">
                  <c:v>1.471176</c:v>
                </c:pt>
                <c:pt idx="2920">
                  <c:v>1.47168</c:v>
                </c:pt>
                <c:pt idx="2921">
                  <c:v>1.472184</c:v>
                </c:pt>
                <c:pt idx="2922">
                  <c:v>1.472688</c:v>
                </c:pt>
                <c:pt idx="2923">
                  <c:v>1.473192</c:v>
                </c:pt>
                <c:pt idx="2924">
                  <c:v>1.473696</c:v>
                </c:pt>
                <c:pt idx="2925">
                  <c:v>1.4742</c:v>
                </c:pt>
                <c:pt idx="2926">
                  <c:v>1.474704</c:v>
                </c:pt>
                <c:pt idx="2927">
                  <c:v>1.475208</c:v>
                </c:pt>
                <c:pt idx="2928">
                  <c:v>1.475712</c:v>
                </c:pt>
                <c:pt idx="2929">
                  <c:v>1.476216</c:v>
                </c:pt>
                <c:pt idx="2930">
                  <c:v>1.47672</c:v>
                </c:pt>
                <c:pt idx="2931">
                  <c:v>1.477224</c:v>
                </c:pt>
                <c:pt idx="2932">
                  <c:v>1.477728</c:v>
                </c:pt>
                <c:pt idx="2933">
                  <c:v>1.478232</c:v>
                </c:pt>
                <c:pt idx="2934">
                  <c:v>1.478736</c:v>
                </c:pt>
                <c:pt idx="2935">
                  <c:v>1.47924</c:v>
                </c:pt>
                <c:pt idx="2936">
                  <c:v>1.479744</c:v>
                </c:pt>
                <c:pt idx="2937">
                  <c:v>1.480248</c:v>
                </c:pt>
                <c:pt idx="2938">
                  <c:v>1.480752</c:v>
                </c:pt>
                <c:pt idx="2939">
                  <c:v>1.481256</c:v>
                </c:pt>
                <c:pt idx="2940">
                  <c:v>1.48176</c:v>
                </c:pt>
                <c:pt idx="2941">
                  <c:v>1.482264</c:v>
                </c:pt>
                <c:pt idx="2942">
                  <c:v>1.482768</c:v>
                </c:pt>
                <c:pt idx="2943">
                  <c:v>1.483272</c:v>
                </c:pt>
                <c:pt idx="2944">
                  <c:v>1.483776</c:v>
                </c:pt>
                <c:pt idx="2945">
                  <c:v>1.48428</c:v>
                </c:pt>
                <c:pt idx="2946">
                  <c:v>1.484784</c:v>
                </c:pt>
                <c:pt idx="2947">
                  <c:v>1.485288</c:v>
                </c:pt>
                <c:pt idx="2948">
                  <c:v>1.485792</c:v>
                </c:pt>
                <c:pt idx="2949">
                  <c:v>1.486296</c:v>
                </c:pt>
                <c:pt idx="2950">
                  <c:v>1.4868</c:v>
                </c:pt>
                <c:pt idx="2951">
                  <c:v>1.487304</c:v>
                </c:pt>
                <c:pt idx="2952">
                  <c:v>1.487808</c:v>
                </c:pt>
                <c:pt idx="2953">
                  <c:v>1.488312</c:v>
                </c:pt>
                <c:pt idx="2954">
                  <c:v>1.488816</c:v>
                </c:pt>
                <c:pt idx="2955">
                  <c:v>1.48932</c:v>
                </c:pt>
                <c:pt idx="2956">
                  <c:v>1.489824</c:v>
                </c:pt>
                <c:pt idx="2957">
                  <c:v>1.490328</c:v>
                </c:pt>
                <c:pt idx="2958">
                  <c:v>1.490832</c:v>
                </c:pt>
                <c:pt idx="2959">
                  <c:v>1.491336</c:v>
                </c:pt>
                <c:pt idx="2960">
                  <c:v>1.49184</c:v>
                </c:pt>
                <c:pt idx="2961">
                  <c:v>1.492344</c:v>
                </c:pt>
                <c:pt idx="2962">
                  <c:v>1.492848</c:v>
                </c:pt>
                <c:pt idx="2963">
                  <c:v>1.493352</c:v>
                </c:pt>
                <c:pt idx="2964">
                  <c:v>1.493856</c:v>
                </c:pt>
                <c:pt idx="2965">
                  <c:v>1.49436</c:v>
                </c:pt>
                <c:pt idx="2966">
                  <c:v>1.494864</c:v>
                </c:pt>
                <c:pt idx="2967">
                  <c:v>1.495368</c:v>
                </c:pt>
                <c:pt idx="2968">
                  <c:v>1.495872</c:v>
                </c:pt>
                <c:pt idx="2969">
                  <c:v>1.496376</c:v>
                </c:pt>
                <c:pt idx="2970">
                  <c:v>1.49688</c:v>
                </c:pt>
                <c:pt idx="2971">
                  <c:v>1.497384</c:v>
                </c:pt>
                <c:pt idx="2972">
                  <c:v>1.497888</c:v>
                </c:pt>
                <c:pt idx="2973">
                  <c:v>1.498392</c:v>
                </c:pt>
                <c:pt idx="2974">
                  <c:v>1.498896</c:v>
                </c:pt>
                <c:pt idx="2975">
                  <c:v>1.4994</c:v>
                </c:pt>
                <c:pt idx="2976">
                  <c:v>1.499904</c:v>
                </c:pt>
                <c:pt idx="2977">
                  <c:v>1.500408</c:v>
                </c:pt>
                <c:pt idx="2978">
                  <c:v>1.500912</c:v>
                </c:pt>
                <c:pt idx="2979">
                  <c:v>1.501416</c:v>
                </c:pt>
                <c:pt idx="2980">
                  <c:v>1.50192</c:v>
                </c:pt>
                <c:pt idx="2981">
                  <c:v>1.502424</c:v>
                </c:pt>
                <c:pt idx="2982">
                  <c:v>1.502928</c:v>
                </c:pt>
                <c:pt idx="2983">
                  <c:v>1.503432</c:v>
                </c:pt>
                <c:pt idx="2984">
                  <c:v>1.503936</c:v>
                </c:pt>
                <c:pt idx="2985">
                  <c:v>1.50444</c:v>
                </c:pt>
                <c:pt idx="2986">
                  <c:v>1.504944</c:v>
                </c:pt>
                <c:pt idx="2987">
                  <c:v>1.505448</c:v>
                </c:pt>
                <c:pt idx="2988">
                  <c:v>1.505952</c:v>
                </c:pt>
                <c:pt idx="2989">
                  <c:v>1.506456</c:v>
                </c:pt>
                <c:pt idx="2990">
                  <c:v>1.50696</c:v>
                </c:pt>
                <c:pt idx="2991">
                  <c:v>1.507464</c:v>
                </c:pt>
                <c:pt idx="2992">
                  <c:v>1.507968</c:v>
                </c:pt>
                <c:pt idx="2993">
                  <c:v>1.508472</c:v>
                </c:pt>
                <c:pt idx="2994">
                  <c:v>1.508976</c:v>
                </c:pt>
                <c:pt idx="2995">
                  <c:v>1.50948</c:v>
                </c:pt>
                <c:pt idx="2996">
                  <c:v>1.509984</c:v>
                </c:pt>
                <c:pt idx="2997">
                  <c:v>1.510488</c:v>
                </c:pt>
                <c:pt idx="2998">
                  <c:v>1.510992</c:v>
                </c:pt>
                <c:pt idx="2999">
                  <c:v>1.511496</c:v>
                </c:pt>
                <c:pt idx="3000">
                  <c:v>1.512</c:v>
                </c:pt>
                <c:pt idx="3001">
                  <c:v>1.512504</c:v>
                </c:pt>
                <c:pt idx="3002">
                  <c:v>1.513008</c:v>
                </c:pt>
                <c:pt idx="3003">
                  <c:v>1.513512</c:v>
                </c:pt>
                <c:pt idx="3004">
                  <c:v>1.514016</c:v>
                </c:pt>
                <c:pt idx="3005">
                  <c:v>1.51452</c:v>
                </c:pt>
                <c:pt idx="3006">
                  <c:v>1.515024</c:v>
                </c:pt>
                <c:pt idx="3007">
                  <c:v>1.515528</c:v>
                </c:pt>
                <c:pt idx="3008">
                  <c:v>1.516032</c:v>
                </c:pt>
                <c:pt idx="3009">
                  <c:v>1.516536</c:v>
                </c:pt>
                <c:pt idx="3010">
                  <c:v>1.51704</c:v>
                </c:pt>
                <c:pt idx="3011">
                  <c:v>1.517544</c:v>
                </c:pt>
                <c:pt idx="3012">
                  <c:v>1.518048</c:v>
                </c:pt>
                <c:pt idx="3013">
                  <c:v>1.518552</c:v>
                </c:pt>
                <c:pt idx="3014">
                  <c:v>1.519056</c:v>
                </c:pt>
                <c:pt idx="3015">
                  <c:v>1.51956</c:v>
                </c:pt>
                <c:pt idx="3016">
                  <c:v>1.520064</c:v>
                </c:pt>
                <c:pt idx="3017">
                  <c:v>1.520568</c:v>
                </c:pt>
                <c:pt idx="3018">
                  <c:v>1.521072</c:v>
                </c:pt>
                <c:pt idx="3019">
                  <c:v>1.521576</c:v>
                </c:pt>
                <c:pt idx="3020">
                  <c:v>1.52208</c:v>
                </c:pt>
                <c:pt idx="3021">
                  <c:v>1.522584</c:v>
                </c:pt>
                <c:pt idx="3022">
                  <c:v>1.523088</c:v>
                </c:pt>
                <c:pt idx="3023">
                  <c:v>1.523592</c:v>
                </c:pt>
                <c:pt idx="3024">
                  <c:v>1.524096</c:v>
                </c:pt>
                <c:pt idx="3025">
                  <c:v>1.5246</c:v>
                </c:pt>
                <c:pt idx="3026">
                  <c:v>1.525104</c:v>
                </c:pt>
                <c:pt idx="3027">
                  <c:v>1.525608</c:v>
                </c:pt>
                <c:pt idx="3028">
                  <c:v>1.526112</c:v>
                </c:pt>
                <c:pt idx="3029">
                  <c:v>1.526616</c:v>
                </c:pt>
                <c:pt idx="3030">
                  <c:v>1.52712</c:v>
                </c:pt>
                <c:pt idx="3031">
                  <c:v>1.527624</c:v>
                </c:pt>
                <c:pt idx="3032">
                  <c:v>1.528128</c:v>
                </c:pt>
                <c:pt idx="3033">
                  <c:v>1.528632</c:v>
                </c:pt>
                <c:pt idx="3034">
                  <c:v>1.529136</c:v>
                </c:pt>
                <c:pt idx="3035">
                  <c:v>1.52964</c:v>
                </c:pt>
                <c:pt idx="3036">
                  <c:v>1.530144</c:v>
                </c:pt>
                <c:pt idx="3037">
                  <c:v>1.530648</c:v>
                </c:pt>
                <c:pt idx="3038">
                  <c:v>1.531152</c:v>
                </c:pt>
                <c:pt idx="3039">
                  <c:v>1.531656</c:v>
                </c:pt>
                <c:pt idx="3040">
                  <c:v>1.53216</c:v>
                </c:pt>
                <c:pt idx="3041">
                  <c:v>1.532664</c:v>
                </c:pt>
                <c:pt idx="3042">
                  <c:v>1.533168</c:v>
                </c:pt>
                <c:pt idx="3043">
                  <c:v>1.533672</c:v>
                </c:pt>
                <c:pt idx="3044">
                  <c:v>1.534176</c:v>
                </c:pt>
                <c:pt idx="3045">
                  <c:v>1.53468</c:v>
                </c:pt>
                <c:pt idx="3046">
                  <c:v>1.535184</c:v>
                </c:pt>
                <c:pt idx="3047">
                  <c:v>1.535688</c:v>
                </c:pt>
                <c:pt idx="3048">
                  <c:v>1.536192</c:v>
                </c:pt>
                <c:pt idx="3049">
                  <c:v>1.536696</c:v>
                </c:pt>
                <c:pt idx="3050">
                  <c:v>1.5372</c:v>
                </c:pt>
                <c:pt idx="3051">
                  <c:v>1.537704</c:v>
                </c:pt>
                <c:pt idx="3052">
                  <c:v>1.538208</c:v>
                </c:pt>
                <c:pt idx="3053">
                  <c:v>1.538712</c:v>
                </c:pt>
                <c:pt idx="3054">
                  <c:v>1.539216</c:v>
                </c:pt>
                <c:pt idx="3055">
                  <c:v>1.53972</c:v>
                </c:pt>
                <c:pt idx="3056">
                  <c:v>1.540224</c:v>
                </c:pt>
                <c:pt idx="3057">
                  <c:v>1.540728</c:v>
                </c:pt>
                <c:pt idx="3058">
                  <c:v>1.541232</c:v>
                </c:pt>
                <c:pt idx="3059">
                  <c:v>1.541736</c:v>
                </c:pt>
                <c:pt idx="3060">
                  <c:v>1.54224</c:v>
                </c:pt>
                <c:pt idx="3061">
                  <c:v>1.542744</c:v>
                </c:pt>
                <c:pt idx="3062">
                  <c:v>1.543248</c:v>
                </c:pt>
                <c:pt idx="3063">
                  <c:v>1.543752</c:v>
                </c:pt>
                <c:pt idx="3064">
                  <c:v>1.544256</c:v>
                </c:pt>
                <c:pt idx="3065">
                  <c:v>1.54476</c:v>
                </c:pt>
                <c:pt idx="3066">
                  <c:v>1.545264</c:v>
                </c:pt>
                <c:pt idx="3067">
                  <c:v>1.545768</c:v>
                </c:pt>
                <c:pt idx="3068">
                  <c:v>1.546272</c:v>
                </c:pt>
                <c:pt idx="3069">
                  <c:v>1.546776</c:v>
                </c:pt>
                <c:pt idx="3070">
                  <c:v>1.54728</c:v>
                </c:pt>
                <c:pt idx="3071">
                  <c:v>1.547784</c:v>
                </c:pt>
                <c:pt idx="3072">
                  <c:v>1.548288</c:v>
                </c:pt>
                <c:pt idx="3073">
                  <c:v>1.548792</c:v>
                </c:pt>
                <c:pt idx="3074">
                  <c:v>1.549296</c:v>
                </c:pt>
                <c:pt idx="3075">
                  <c:v>1.5498</c:v>
                </c:pt>
                <c:pt idx="3076">
                  <c:v>1.550304</c:v>
                </c:pt>
                <c:pt idx="3077">
                  <c:v>1.550808</c:v>
                </c:pt>
                <c:pt idx="3078">
                  <c:v>1.551312</c:v>
                </c:pt>
                <c:pt idx="3079">
                  <c:v>1.551816</c:v>
                </c:pt>
                <c:pt idx="3080">
                  <c:v>1.55232</c:v>
                </c:pt>
                <c:pt idx="3081">
                  <c:v>1.552824</c:v>
                </c:pt>
                <c:pt idx="3082">
                  <c:v>1.553328</c:v>
                </c:pt>
                <c:pt idx="3083">
                  <c:v>1.553832</c:v>
                </c:pt>
                <c:pt idx="3084">
                  <c:v>1.554336</c:v>
                </c:pt>
                <c:pt idx="3085">
                  <c:v>1.55484</c:v>
                </c:pt>
                <c:pt idx="3086">
                  <c:v>1.555344</c:v>
                </c:pt>
                <c:pt idx="3087">
                  <c:v>1.555848</c:v>
                </c:pt>
                <c:pt idx="3088">
                  <c:v>1.556352</c:v>
                </c:pt>
                <c:pt idx="3089">
                  <c:v>1.556856</c:v>
                </c:pt>
                <c:pt idx="3090">
                  <c:v>1.55736</c:v>
                </c:pt>
                <c:pt idx="3091">
                  <c:v>1.557864</c:v>
                </c:pt>
                <c:pt idx="3092">
                  <c:v>1.558368</c:v>
                </c:pt>
                <c:pt idx="3093">
                  <c:v>1.558872</c:v>
                </c:pt>
                <c:pt idx="3094">
                  <c:v>1.559376</c:v>
                </c:pt>
                <c:pt idx="3095">
                  <c:v>1.55988</c:v>
                </c:pt>
                <c:pt idx="3096">
                  <c:v>1.560384</c:v>
                </c:pt>
                <c:pt idx="3097">
                  <c:v>1.560888</c:v>
                </c:pt>
                <c:pt idx="3098">
                  <c:v>1.561392</c:v>
                </c:pt>
                <c:pt idx="3099">
                  <c:v>1.561896</c:v>
                </c:pt>
                <c:pt idx="3100">
                  <c:v>1.5624</c:v>
                </c:pt>
                <c:pt idx="3101">
                  <c:v>1.562904</c:v>
                </c:pt>
                <c:pt idx="3102">
                  <c:v>1.563408</c:v>
                </c:pt>
                <c:pt idx="3103">
                  <c:v>1.563912</c:v>
                </c:pt>
                <c:pt idx="3104">
                  <c:v>1.564416</c:v>
                </c:pt>
                <c:pt idx="3105">
                  <c:v>1.56492</c:v>
                </c:pt>
                <c:pt idx="3106">
                  <c:v>1.565424</c:v>
                </c:pt>
                <c:pt idx="3107">
                  <c:v>1.565928</c:v>
                </c:pt>
                <c:pt idx="3108">
                  <c:v>1.566432</c:v>
                </c:pt>
                <c:pt idx="3109">
                  <c:v>1.566936</c:v>
                </c:pt>
                <c:pt idx="3110">
                  <c:v>1.56744</c:v>
                </c:pt>
                <c:pt idx="3111">
                  <c:v>1.567944</c:v>
                </c:pt>
                <c:pt idx="3112">
                  <c:v>1.568448</c:v>
                </c:pt>
                <c:pt idx="3113">
                  <c:v>1.568952</c:v>
                </c:pt>
                <c:pt idx="3114">
                  <c:v>1.569456</c:v>
                </c:pt>
                <c:pt idx="3115">
                  <c:v>1.56996</c:v>
                </c:pt>
                <c:pt idx="3116">
                  <c:v>1.570464</c:v>
                </c:pt>
                <c:pt idx="3117">
                  <c:v>1.570968</c:v>
                </c:pt>
                <c:pt idx="3118">
                  <c:v>1.571472</c:v>
                </c:pt>
                <c:pt idx="3119">
                  <c:v>1.571976</c:v>
                </c:pt>
                <c:pt idx="3120">
                  <c:v>1.57248</c:v>
                </c:pt>
                <c:pt idx="3121">
                  <c:v>1.572984</c:v>
                </c:pt>
                <c:pt idx="3122">
                  <c:v>1.573488</c:v>
                </c:pt>
                <c:pt idx="3123">
                  <c:v>1.573992</c:v>
                </c:pt>
                <c:pt idx="3124">
                  <c:v>1.574496</c:v>
                </c:pt>
                <c:pt idx="3125">
                  <c:v>1.575</c:v>
                </c:pt>
                <c:pt idx="3126">
                  <c:v>1.575504</c:v>
                </c:pt>
                <c:pt idx="3127">
                  <c:v>1.576008</c:v>
                </c:pt>
                <c:pt idx="3128">
                  <c:v>1.576512</c:v>
                </c:pt>
                <c:pt idx="3129">
                  <c:v>1.577016</c:v>
                </c:pt>
                <c:pt idx="3130">
                  <c:v>1.57752</c:v>
                </c:pt>
                <c:pt idx="3131">
                  <c:v>1.578024</c:v>
                </c:pt>
                <c:pt idx="3132">
                  <c:v>1.578528</c:v>
                </c:pt>
                <c:pt idx="3133">
                  <c:v>1.579032</c:v>
                </c:pt>
                <c:pt idx="3134">
                  <c:v>1.579536</c:v>
                </c:pt>
                <c:pt idx="3135">
                  <c:v>1.58004</c:v>
                </c:pt>
                <c:pt idx="3136">
                  <c:v>1.580544</c:v>
                </c:pt>
                <c:pt idx="3137">
                  <c:v>1.581048</c:v>
                </c:pt>
                <c:pt idx="3138">
                  <c:v>1.581552</c:v>
                </c:pt>
                <c:pt idx="3139">
                  <c:v>1.582056</c:v>
                </c:pt>
                <c:pt idx="3140">
                  <c:v>1.58256</c:v>
                </c:pt>
                <c:pt idx="3141">
                  <c:v>1.583064</c:v>
                </c:pt>
                <c:pt idx="3142">
                  <c:v>1.583568</c:v>
                </c:pt>
                <c:pt idx="3143">
                  <c:v>1.584072</c:v>
                </c:pt>
                <c:pt idx="3144">
                  <c:v>1.584576</c:v>
                </c:pt>
                <c:pt idx="3145">
                  <c:v>1.58508</c:v>
                </c:pt>
                <c:pt idx="3146">
                  <c:v>1.585584</c:v>
                </c:pt>
                <c:pt idx="3147">
                  <c:v>1.586088</c:v>
                </c:pt>
                <c:pt idx="3148">
                  <c:v>1.586592</c:v>
                </c:pt>
                <c:pt idx="3149">
                  <c:v>1.587096</c:v>
                </c:pt>
                <c:pt idx="3150">
                  <c:v>1.5876</c:v>
                </c:pt>
                <c:pt idx="3151">
                  <c:v>1.588104</c:v>
                </c:pt>
                <c:pt idx="3152">
                  <c:v>1.588608</c:v>
                </c:pt>
                <c:pt idx="3153">
                  <c:v>1.589112</c:v>
                </c:pt>
                <c:pt idx="3154">
                  <c:v>1.589616</c:v>
                </c:pt>
                <c:pt idx="3155">
                  <c:v>1.59012</c:v>
                </c:pt>
                <c:pt idx="3156">
                  <c:v>1.590624</c:v>
                </c:pt>
                <c:pt idx="3157">
                  <c:v>1.591128</c:v>
                </c:pt>
                <c:pt idx="3158">
                  <c:v>1.591632</c:v>
                </c:pt>
                <c:pt idx="3159">
                  <c:v>1.592136</c:v>
                </c:pt>
                <c:pt idx="3160">
                  <c:v>1.59264</c:v>
                </c:pt>
                <c:pt idx="3161">
                  <c:v>1.593144</c:v>
                </c:pt>
                <c:pt idx="3162">
                  <c:v>1.593648</c:v>
                </c:pt>
                <c:pt idx="3163">
                  <c:v>1.594152</c:v>
                </c:pt>
                <c:pt idx="3164">
                  <c:v>1.594656</c:v>
                </c:pt>
                <c:pt idx="3165">
                  <c:v>1.59516</c:v>
                </c:pt>
                <c:pt idx="3166">
                  <c:v>1.595664</c:v>
                </c:pt>
                <c:pt idx="3167">
                  <c:v>1.596168</c:v>
                </c:pt>
                <c:pt idx="3168">
                  <c:v>1.596672</c:v>
                </c:pt>
                <c:pt idx="3169">
                  <c:v>1.597176</c:v>
                </c:pt>
                <c:pt idx="3170">
                  <c:v>1.59768</c:v>
                </c:pt>
                <c:pt idx="3171">
                  <c:v>1.598184</c:v>
                </c:pt>
                <c:pt idx="3172">
                  <c:v>1.598688</c:v>
                </c:pt>
                <c:pt idx="3173">
                  <c:v>1.599192</c:v>
                </c:pt>
                <c:pt idx="3174">
                  <c:v>1.599696</c:v>
                </c:pt>
                <c:pt idx="3175">
                  <c:v>1.6002</c:v>
                </c:pt>
                <c:pt idx="3176">
                  <c:v>1.600704</c:v>
                </c:pt>
                <c:pt idx="3177">
                  <c:v>1.601208</c:v>
                </c:pt>
                <c:pt idx="3178">
                  <c:v>1.601712</c:v>
                </c:pt>
                <c:pt idx="3179">
                  <c:v>1.602216</c:v>
                </c:pt>
                <c:pt idx="3180">
                  <c:v>1.60272</c:v>
                </c:pt>
                <c:pt idx="3181">
                  <c:v>1.603224</c:v>
                </c:pt>
                <c:pt idx="3182">
                  <c:v>1.603728</c:v>
                </c:pt>
                <c:pt idx="3183">
                  <c:v>1.604232</c:v>
                </c:pt>
                <c:pt idx="3184">
                  <c:v>1.604736</c:v>
                </c:pt>
                <c:pt idx="3185">
                  <c:v>1.60524</c:v>
                </c:pt>
                <c:pt idx="3186">
                  <c:v>1.605744</c:v>
                </c:pt>
                <c:pt idx="3187">
                  <c:v>1.606248</c:v>
                </c:pt>
                <c:pt idx="3188">
                  <c:v>1.606752</c:v>
                </c:pt>
                <c:pt idx="3189">
                  <c:v>1.607256</c:v>
                </c:pt>
                <c:pt idx="3190">
                  <c:v>1.60776</c:v>
                </c:pt>
                <c:pt idx="3191">
                  <c:v>1.608264</c:v>
                </c:pt>
                <c:pt idx="3192">
                  <c:v>1.608768</c:v>
                </c:pt>
                <c:pt idx="3193">
                  <c:v>1.609272</c:v>
                </c:pt>
                <c:pt idx="3194">
                  <c:v>1.609776</c:v>
                </c:pt>
                <c:pt idx="3195">
                  <c:v>1.61028</c:v>
                </c:pt>
                <c:pt idx="3196">
                  <c:v>1.610784</c:v>
                </c:pt>
                <c:pt idx="3197">
                  <c:v>1.611288</c:v>
                </c:pt>
                <c:pt idx="3198">
                  <c:v>1.611792</c:v>
                </c:pt>
                <c:pt idx="3199">
                  <c:v>1.612296</c:v>
                </c:pt>
                <c:pt idx="3200">
                  <c:v>1.6128</c:v>
                </c:pt>
                <c:pt idx="3201">
                  <c:v>1.613304</c:v>
                </c:pt>
                <c:pt idx="3202">
                  <c:v>1.613808</c:v>
                </c:pt>
                <c:pt idx="3203">
                  <c:v>1.614312</c:v>
                </c:pt>
                <c:pt idx="3204">
                  <c:v>1.614816</c:v>
                </c:pt>
                <c:pt idx="3205">
                  <c:v>1.61532</c:v>
                </c:pt>
                <c:pt idx="3206">
                  <c:v>1.615824</c:v>
                </c:pt>
                <c:pt idx="3207">
                  <c:v>1.616328</c:v>
                </c:pt>
                <c:pt idx="3208">
                  <c:v>1.616832</c:v>
                </c:pt>
                <c:pt idx="3209">
                  <c:v>1.617336</c:v>
                </c:pt>
                <c:pt idx="3210">
                  <c:v>1.61784</c:v>
                </c:pt>
                <c:pt idx="3211">
                  <c:v>1.618344</c:v>
                </c:pt>
                <c:pt idx="3212">
                  <c:v>1.618848</c:v>
                </c:pt>
                <c:pt idx="3213">
                  <c:v>1.619352</c:v>
                </c:pt>
                <c:pt idx="3214">
                  <c:v>1.619856</c:v>
                </c:pt>
                <c:pt idx="3215">
                  <c:v>1.62036</c:v>
                </c:pt>
                <c:pt idx="3216">
                  <c:v>1.620864</c:v>
                </c:pt>
                <c:pt idx="3217">
                  <c:v>1.621368</c:v>
                </c:pt>
                <c:pt idx="3218">
                  <c:v>1.621872</c:v>
                </c:pt>
                <c:pt idx="3219">
                  <c:v>1.622376</c:v>
                </c:pt>
                <c:pt idx="3220">
                  <c:v>1.62288</c:v>
                </c:pt>
                <c:pt idx="3221">
                  <c:v>1.623384</c:v>
                </c:pt>
                <c:pt idx="3222">
                  <c:v>1.623888</c:v>
                </c:pt>
                <c:pt idx="3223">
                  <c:v>1.624392</c:v>
                </c:pt>
                <c:pt idx="3224">
                  <c:v>1.624896</c:v>
                </c:pt>
                <c:pt idx="3225">
                  <c:v>1.6254</c:v>
                </c:pt>
                <c:pt idx="3226">
                  <c:v>1.625904</c:v>
                </c:pt>
                <c:pt idx="3227">
                  <c:v>1.626408</c:v>
                </c:pt>
                <c:pt idx="3228">
                  <c:v>1.626912</c:v>
                </c:pt>
                <c:pt idx="3229">
                  <c:v>1.627416</c:v>
                </c:pt>
                <c:pt idx="3230">
                  <c:v>1.62792</c:v>
                </c:pt>
                <c:pt idx="3231">
                  <c:v>1.628424</c:v>
                </c:pt>
                <c:pt idx="3232">
                  <c:v>1.628928</c:v>
                </c:pt>
                <c:pt idx="3233">
                  <c:v>1.629432</c:v>
                </c:pt>
                <c:pt idx="3234">
                  <c:v>1.629936</c:v>
                </c:pt>
                <c:pt idx="3235">
                  <c:v>1.63044</c:v>
                </c:pt>
                <c:pt idx="3236">
                  <c:v>1.630944</c:v>
                </c:pt>
                <c:pt idx="3237">
                  <c:v>1.631448</c:v>
                </c:pt>
                <c:pt idx="3238">
                  <c:v>1.631952</c:v>
                </c:pt>
                <c:pt idx="3239">
                  <c:v>1.632456</c:v>
                </c:pt>
                <c:pt idx="3240">
                  <c:v>1.63296</c:v>
                </c:pt>
                <c:pt idx="3241">
                  <c:v>1.633464</c:v>
                </c:pt>
                <c:pt idx="3242">
                  <c:v>1.633968</c:v>
                </c:pt>
                <c:pt idx="3243">
                  <c:v>1.634472</c:v>
                </c:pt>
                <c:pt idx="3244">
                  <c:v>1.634976</c:v>
                </c:pt>
                <c:pt idx="3245">
                  <c:v>1.63548</c:v>
                </c:pt>
                <c:pt idx="3246">
                  <c:v>1.635984</c:v>
                </c:pt>
                <c:pt idx="3247">
                  <c:v>1.636488</c:v>
                </c:pt>
                <c:pt idx="3248">
                  <c:v>1.636992</c:v>
                </c:pt>
                <c:pt idx="3249">
                  <c:v>1.637496</c:v>
                </c:pt>
                <c:pt idx="3250">
                  <c:v>1.638</c:v>
                </c:pt>
                <c:pt idx="3251">
                  <c:v>1.638504</c:v>
                </c:pt>
                <c:pt idx="3252">
                  <c:v>1.639008</c:v>
                </c:pt>
                <c:pt idx="3253">
                  <c:v>1.639512</c:v>
                </c:pt>
                <c:pt idx="3254">
                  <c:v>1.640016</c:v>
                </c:pt>
                <c:pt idx="3255">
                  <c:v>1.64052</c:v>
                </c:pt>
                <c:pt idx="3256">
                  <c:v>1.641024</c:v>
                </c:pt>
                <c:pt idx="3257">
                  <c:v>1.641528</c:v>
                </c:pt>
                <c:pt idx="3258">
                  <c:v>1.642032</c:v>
                </c:pt>
                <c:pt idx="3259">
                  <c:v>1.642536</c:v>
                </c:pt>
                <c:pt idx="3260">
                  <c:v>1.64304</c:v>
                </c:pt>
                <c:pt idx="3261">
                  <c:v>1.643544</c:v>
                </c:pt>
                <c:pt idx="3262">
                  <c:v>1.644048</c:v>
                </c:pt>
                <c:pt idx="3263">
                  <c:v>1.644552</c:v>
                </c:pt>
                <c:pt idx="3264">
                  <c:v>1.645056</c:v>
                </c:pt>
                <c:pt idx="3265">
                  <c:v>1.64556</c:v>
                </c:pt>
                <c:pt idx="3266">
                  <c:v>1.646064</c:v>
                </c:pt>
                <c:pt idx="3267">
                  <c:v>1.646568</c:v>
                </c:pt>
                <c:pt idx="3268">
                  <c:v>1.647072</c:v>
                </c:pt>
                <c:pt idx="3269">
                  <c:v>1.647576</c:v>
                </c:pt>
                <c:pt idx="3270">
                  <c:v>1.64808</c:v>
                </c:pt>
                <c:pt idx="3271">
                  <c:v>1.648584</c:v>
                </c:pt>
                <c:pt idx="3272">
                  <c:v>1.649088</c:v>
                </c:pt>
                <c:pt idx="3273">
                  <c:v>1.649592</c:v>
                </c:pt>
                <c:pt idx="3274">
                  <c:v>1.650096</c:v>
                </c:pt>
                <c:pt idx="3275">
                  <c:v>1.6506</c:v>
                </c:pt>
                <c:pt idx="3276">
                  <c:v>1.651104</c:v>
                </c:pt>
                <c:pt idx="3277">
                  <c:v>1.651608</c:v>
                </c:pt>
                <c:pt idx="3278">
                  <c:v>1.652112</c:v>
                </c:pt>
                <c:pt idx="3279">
                  <c:v>1.652616</c:v>
                </c:pt>
                <c:pt idx="3280">
                  <c:v>1.65312</c:v>
                </c:pt>
                <c:pt idx="3281">
                  <c:v>1.653624</c:v>
                </c:pt>
                <c:pt idx="3282">
                  <c:v>1.654128</c:v>
                </c:pt>
                <c:pt idx="3283">
                  <c:v>1.654632</c:v>
                </c:pt>
                <c:pt idx="3284">
                  <c:v>1.655136</c:v>
                </c:pt>
                <c:pt idx="3285">
                  <c:v>1.65564</c:v>
                </c:pt>
                <c:pt idx="3286">
                  <c:v>1.656144</c:v>
                </c:pt>
                <c:pt idx="3287">
                  <c:v>1.656648</c:v>
                </c:pt>
                <c:pt idx="3288">
                  <c:v>1.657152</c:v>
                </c:pt>
                <c:pt idx="3289">
                  <c:v>1.657656</c:v>
                </c:pt>
                <c:pt idx="3290">
                  <c:v>1.65816</c:v>
                </c:pt>
                <c:pt idx="3291">
                  <c:v>1.658664</c:v>
                </c:pt>
                <c:pt idx="3292">
                  <c:v>1.659168</c:v>
                </c:pt>
                <c:pt idx="3293">
                  <c:v>1.659672</c:v>
                </c:pt>
                <c:pt idx="3294">
                  <c:v>1.660176</c:v>
                </c:pt>
                <c:pt idx="3295">
                  <c:v>1.66068</c:v>
                </c:pt>
                <c:pt idx="3296">
                  <c:v>1.661184</c:v>
                </c:pt>
                <c:pt idx="3297">
                  <c:v>1.661688</c:v>
                </c:pt>
                <c:pt idx="3298">
                  <c:v>1.662192</c:v>
                </c:pt>
                <c:pt idx="3299">
                  <c:v>1.662696</c:v>
                </c:pt>
                <c:pt idx="3300">
                  <c:v>1.6632</c:v>
                </c:pt>
                <c:pt idx="3301">
                  <c:v>1.663704</c:v>
                </c:pt>
                <c:pt idx="3302">
                  <c:v>1.664208</c:v>
                </c:pt>
                <c:pt idx="3303">
                  <c:v>1.664712</c:v>
                </c:pt>
                <c:pt idx="3304">
                  <c:v>1.665216</c:v>
                </c:pt>
                <c:pt idx="3305">
                  <c:v>1.66572</c:v>
                </c:pt>
                <c:pt idx="3306">
                  <c:v>1.666224</c:v>
                </c:pt>
                <c:pt idx="3307">
                  <c:v>1.666728</c:v>
                </c:pt>
                <c:pt idx="3308">
                  <c:v>1.667232</c:v>
                </c:pt>
                <c:pt idx="3309">
                  <c:v>1.667736</c:v>
                </c:pt>
                <c:pt idx="3310">
                  <c:v>1.66824</c:v>
                </c:pt>
                <c:pt idx="3311">
                  <c:v>1.668744</c:v>
                </c:pt>
                <c:pt idx="3312">
                  <c:v>1.669248</c:v>
                </c:pt>
                <c:pt idx="3313">
                  <c:v>1.669752</c:v>
                </c:pt>
                <c:pt idx="3314">
                  <c:v>1.670256</c:v>
                </c:pt>
                <c:pt idx="3315">
                  <c:v>1.67076</c:v>
                </c:pt>
                <c:pt idx="3316">
                  <c:v>1.671264</c:v>
                </c:pt>
                <c:pt idx="3317">
                  <c:v>1.671768</c:v>
                </c:pt>
                <c:pt idx="3318">
                  <c:v>1.672272</c:v>
                </c:pt>
                <c:pt idx="3319">
                  <c:v>1.672776</c:v>
                </c:pt>
                <c:pt idx="3320">
                  <c:v>1.67328</c:v>
                </c:pt>
                <c:pt idx="3321">
                  <c:v>1.673784</c:v>
                </c:pt>
                <c:pt idx="3322">
                  <c:v>1.674288</c:v>
                </c:pt>
                <c:pt idx="3323">
                  <c:v>1.674792</c:v>
                </c:pt>
                <c:pt idx="3324">
                  <c:v>1.675296</c:v>
                </c:pt>
                <c:pt idx="3325">
                  <c:v>1.6758</c:v>
                </c:pt>
                <c:pt idx="3326">
                  <c:v>1.676304</c:v>
                </c:pt>
                <c:pt idx="3327">
                  <c:v>1.676808</c:v>
                </c:pt>
                <c:pt idx="3328">
                  <c:v>1.677312</c:v>
                </c:pt>
                <c:pt idx="3329">
                  <c:v>1.677816</c:v>
                </c:pt>
                <c:pt idx="3330">
                  <c:v>1.67832</c:v>
                </c:pt>
                <c:pt idx="3331">
                  <c:v>1.678824</c:v>
                </c:pt>
                <c:pt idx="3332">
                  <c:v>1.679328</c:v>
                </c:pt>
                <c:pt idx="3333">
                  <c:v>1.679832</c:v>
                </c:pt>
                <c:pt idx="3334">
                  <c:v>1.680336</c:v>
                </c:pt>
                <c:pt idx="3335">
                  <c:v>1.68084</c:v>
                </c:pt>
                <c:pt idx="3336">
                  <c:v>1.681344</c:v>
                </c:pt>
                <c:pt idx="3337">
                  <c:v>1.681848</c:v>
                </c:pt>
                <c:pt idx="3338">
                  <c:v>1.682352</c:v>
                </c:pt>
                <c:pt idx="3339">
                  <c:v>1.682856</c:v>
                </c:pt>
                <c:pt idx="3340">
                  <c:v>1.68336</c:v>
                </c:pt>
                <c:pt idx="3341">
                  <c:v>1.683864</c:v>
                </c:pt>
                <c:pt idx="3342">
                  <c:v>1.684368</c:v>
                </c:pt>
                <c:pt idx="3343">
                  <c:v>1.684872</c:v>
                </c:pt>
                <c:pt idx="3344">
                  <c:v>1.685376</c:v>
                </c:pt>
                <c:pt idx="3345">
                  <c:v>1.68588</c:v>
                </c:pt>
                <c:pt idx="3346">
                  <c:v>1.686384</c:v>
                </c:pt>
                <c:pt idx="3347">
                  <c:v>1.686888</c:v>
                </c:pt>
                <c:pt idx="3348">
                  <c:v>1.687392</c:v>
                </c:pt>
                <c:pt idx="3349">
                  <c:v>1.687896</c:v>
                </c:pt>
                <c:pt idx="3350">
                  <c:v>1.6884</c:v>
                </c:pt>
                <c:pt idx="3351">
                  <c:v>1.688904</c:v>
                </c:pt>
                <c:pt idx="3352">
                  <c:v>1.689408</c:v>
                </c:pt>
                <c:pt idx="3353">
                  <c:v>1.689912</c:v>
                </c:pt>
                <c:pt idx="3354">
                  <c:v>1.690416</c:v>
                </c:pt>
                <c:pt idx="3355">
                  <c:v>1.69092</c:v>
                </c:pt>
                <c:pt idx="3356">
                  <c:v>1.691424</c:v>
                </c:pt>
                <c:pt idx="3357">
                  <c:v>1.691928</c:v>
                </c:pt>
                <c:pt idx="3358">
                  <c:v>1.692432</c:v>
                </c:pt>
                <c:pt idx="3359">
                  <c:v>1.692936</c:v>
                </c:pt>
                <c:pt idx="3360">
                  <c:v>1.69344</c:v>
                </c:pt>
                <c:pt idx="3361">
                  <c:v>1.693944</c:v>
                </c:pt>
                <c:pt idx="3362">
                  <c:v>1.694448</c:v>
                </c:pt>
                <c:pt idx="3363">
                  <c:v>1.694952</c:v>
                </c:pt>
                <c:pt idx="3364">
                  <c:v>1.695456</c:v>
                </c:pt>
                <c:pt idx="3365">
                  <c:v>1.69596</c:v>
                </c:pt>
                <c:pt idx="3366">
                  <c:v>1.696464</c:v>
                </c:pt>
                <c:pt idx="3367">
                  <c:v>1.696968</c:v>
                </c:pt>
                <c:pt idx="3368">
                  <c:v>1.697472</c:v>
                </c:pt>
                <c:pt idx="3369">
                  <c:v>1.697976</c:v>
                </c:pt>
                <c:pt idx="3370">
                  <c:v>1.69848</c:v>
                </c:pt>
                <c:pt idx="3371">
                  <c:v>1.698984</c:v>
                </c:pt>
                <c:pt idx="3372">
                  <c:v>1.699488</c:v>
                </c:pt>
                <c:pt idx="3373">
                  <c:v>1.699992</c:v>
                </c:pt>
                <c:pt idx="3374">
                  <c:v>1.700496</c:v>
                </c:pt>
                <c:pt idx="3375">
                  <c:v>1.701</c:v>
                </c:pt>
                <c:pt idx="3376">
                  <c:v>1.701504</c:v>
                </c:pt>
                <c:pt idx="3377">
                  <c:v>1.702008</c:v>
                </c:pt>
                <c:pt idx="3378">
                  <c:v>1.702512</c:v>
                </c:pt>
                <c:pt idx="3379">
                  <c:v>1.703016</c:v>
                </c:pt>
                <c:pt idx="3380">
                  <c:v>1.70352</c:v>
                </c:pt>
                <c:pt idx="3381">
                  <c:v>1.704024</c:v>
                </c:pt>
                <c:pt idx="3382">
                  <c:v>1.704528</c:v>
                </c:pt>
                <c:pt idx="3383">
                  <c:v>1.705032</c:v>
                </c:pt>
                <c:pt idx="3384">
                  <c:v>1.705536</c:v>
                </c:pt>
                <c:pt idx="3385">
                  <c:v>1.70604</c:v>
                </c:pt>
                <c:pt idx="3386">
                  <c:v>1.706544</c:v>
                </c:pt>
                <c:pt idx="3387">
                  <c:v>1.707048</c:v>
                </c:pt>
                <c:pt idx="3388">
                  <c:v>1.707552</c:v>
                </c:pt>
                <c:pt idx="3389">
                  <c:v>1.708056</c:v>
                </c:pt>
                <c:pt idx="3390">
                  <c:v>1.70856</c:v>
                </c:pt>
                <c:pt idx="3391">
                  <c:v>1.709064</c:v>
                </c:pt>
                <c:pt idx="3392">
                  <c:v>1.709568</c:v>
                </c:pt>
                <c:pt idx="3393">
                  <c:v>1.710072</c:v>
                </c:pt>
                <c:pt idx="3394">
                  <c:v>1.710576</c:v>
                </c:pt>
                <c:pt idx="3395">
                  <c:v>1.71108</c:v>
                </c:pt>
                <c:pt idx="3396">
                  <c:v>1.711584</c:v>
                </c:pt>
                <c:pt idx="3397">
                  <c:v>1.712088</c:v>
                </c:pt>
                <c:pt idx="3398">
                  <c:v>1.712592</c:v>
                </c:pt>
                <c:pt idx="3399">
                  <c:v>1.713096</c:v>
                </c:pt>
                <c:pt idx="3400">
                  <c:v>1.7136</c:v>
                </c:pt>
                <c:pt idx="3401">
                  <c:v>1.714104</c:v>
                </c:pt>
                <c:pt idx="3402">
                  <c:v>1.714608</c:v>
                </c:pt>
                <c:pt idx="3403">
                  <c:v>1.715112</c:v>
                </c:pt>
                <c:pt idx="3404">
                  <c:v>1.715616</c:v>
                </c:pt>
                <c:pt idx="3405">
                  <c:v>1.71612</c:v>
                </c:pt>
                <c:pt idx="3406">
                  <c:v>1.716624</c:v>
                </c:pt>
                <c:pt idx="3407">
                  <c:v>1.717128</c:v>
                </c:pt>
                <c:pt idx="3408">
                  <c:v>1.717632</c:v>
                </c:pt>
                <c:pt idx="3409">
                  <c:v>1.718136</c:v>
                </c:pt>
                <c:pt idx="3410">
                  <c:v>1.71864</c:v>
                </c:pt>
                <c:pt idx="3411">
                  <c:v>1.719144</c:v>
                </c:pt>
                <c:pt idx="3412">
                  <c:v>1.719648</c:v>
                </c:pt>
                <c:pt idx="3413">
                  <c:v>1.720152</c:v>
                </c:pt>
                <c:pt idx="3414">
                  <c:v>1.720656</c:v>
                </c:pt>
                <c:pt idx="3415">
                  <c:v>1.72116</c:v>
                </c:pt>
                <c:pt idx="3416">
                  <c:v>1.721664</c:v>
                </c:pt>
                <c:pt idx="3417">
                  <c:v>1.722168</c:v>
                </c:pt>
                <c:pt idx="3418">
                  <c:v>1.722672</c:v>
                </c:pt>
                <c:pt idx="3419">
                  <c:v>1.723176</c:v>
                </c:pt>
                <c:pt idx="3420">
                  <c:v>1.72368</c:v>
                </c:pt>
                <c:pt idx="3421">
                  <c:v>1.724184</c:v>
                </c:pt>
                <c:pt idx="3422">
                  <c:v>1.724688</c:v>
                </c:pt>
                <c:pt idx="3423">
                  <c:v>1.725192</c:v>
                </c:pt>
                <c:pt idx="3424">
                  <c:v>1.725696</c:v>
                </c:pt>
                <c:pt idx="3425">
                  <c:v>1.7262</c:v>
                </c:pt>
                <c:pt idx="3426">
                  <c:v>1.726704</c:v>
                </c:pt>
                <c:pt idx="3427">
                  <c:v>1.727208</c:v>
                </c:pt>
                <c:pt idx="3428">
                  <c:v>1.727712</c:v>
                </c:pt>
                <c:pt idx="3429">
                  <c:v>1.728216</c:v>
                </c:pt>
                <c:pt idx="3430">
                  <c:v>1.72872</c:v>
                </c:pt>
                <c:pt idx="3431">
                  <c:v>1.729224</c:v>
                </c:pt>
                <c:pt idx="3432">
                  <c:v>1.729728</c:v>
                </c:pt>
                <c:pt idx="3433">
                  <c:v>1.730232</c:v>
                </c:pt>
                <c:pt idx="3434">
                  <c:v>1.730736</c:v>
                </c:pt>
                <c:pt idx="3435">
                  <c:v>1.73124</c:v>
                </c:pt>
                <c:pt idx="3436">
                  <c:v>1.731744</c:v>
                </c:pt>
                <c:pt idx="3437">
                  <c:v>1.732248</c:v>
                </c:pt>
                <c:pt idx="3438">
                  <c:v>1.732752</c:v>
                </c:pt>
                <c:pt idx="3439">
                  <c:v>1.733256</c:v>
                </c:pt>
                <c:pt idx="3440">
                  <c:v>1.73376</c:v>
                </c:pt>
                <c:pt idx="3441">
                  <c:v>1.734264</c:v>
                </c:pt>
                <c:pt idx="3442">
                  <c:v>1.734768</c:v>
                </c:pt>
                <c:pt idx="3443">
                  <c:v>1.735272</c:v>
                </c:pt>
                <c:pt idx="3444">
                  <c:v>1.735776</c:v>
                </c:pt>
                <c:pt idx="3445">
                  <c:v>1.73628</c:v>
                </c:pt>
                <c:pt idx="3446">
                  <c:v>1.736784</c:v>
                </c:pt>
                <c:pt idx="3447">
                  <c:v>1.737288</c:v>
                </c:pt>
                <c:pt idx="3448">
                  <c:v>1.737792</c:v>
                </c:pt>
                <c:pt idx="3449">
                  <c:v>1.738296</c:v>
                </c:pt>
                <c:pt idx="3450">
                  <c:v>1.7388</c:v>
                </c:pt>
                <c:pt idx="3451">
                  <c:v>1.739304</c:v>
                </c:pt>
                <c:pt idx="3452">
                  <c:v>1.739808</c:v>
                </c:pt>
                <c:pt idx="3453">
                  <c:v>1.740312</c:v>
                </c:pt>
                <c:pt idx="3454">
                  <c:v>1.740816</c:v>
                </c:pt>
                <c:pt idx="3455">
                  <c:v>1.74132</c:v>
                </c:pt>
                <c:pt idx="3456">
                  <c:v>1.741824</c:v>
                </c:pt>
                <c:pt idx="3457">
                  <c:v>1.742328</c:v>
                </c:pt>
                <c:pt idx="3458">
                  <c:v>1.742832</c:v>
                </c:pt>
                <c:pt idx="3459">
                  <c:v>1.743336</c:v>
                </c:pt>
                <c:pt idx="3460">
                  <c:v>1.74384</c:v>
                </c:pt>
                <c:pt idx="3461">
                  <c:v>1.744344</c:v>
                </c:pt>
                <c:pt idx="3462">
                  <c:v>1.744848</c:v>
                </c:pt>
                <c:pt idx="3463">
                  <c:v>1.745352</c:v>
                </c:pt>
                <c:pt idx="3464">
                  <c:v>1.745856</c:v>
                </c:pt>
                <c:pt idx="3465">
                  <c:v>1.74636</c:v>
                </c:pt>
                <c:pt idx="3466">
                  <c:v>1.746864</c:v>
                </c:pt>
                <c:pt idx="3467">
                  <c:v>1.747368</c:v>
                </c:pt>
                <c:pt idx="3468">
                  <c:v>1.747872</c:v>
                </c:pt>
                <c:pt idx="3469">
                  <c:v>1.748376</c:v>
                </c:pt>
                <c:pt idx="3470">
                  <c:v>1.74888</c:v>
                </c:pt>
                <c:pt idx="3471">
                  <c:v>1.749384</c:v>
                </c:pt>
                <c:pt idx="3472">
                  <c:v>1.749888</c:v>
                </c:pt>
                <c:pt idx="3473">
                  <c:v>1.750392</c:v>
                </c:pt>
                <c:pt idx="3474">
                  <c:v>1.750896</c:v>
                </c:pt>
                <c:pt idx="3475">
                  <c:v>1.7514</c:v>
                </c:pt>
                <c:pt idx="3476">
                  <c:v>1.751904</c:v>
                </c:pt>
                <c:pt idx="3477">
                  <c:v>1.752408</c:v>
                </c:pt>
                <c:pt idx="3478">
                  <c:v>1.752912</c:v>
                </c:pt>
                <c:pt idx="3479">
                  <c:v>1.753416</c:v>
                </c:pt>
                <c:pt idx="3480">
                  <c:v>1.75392</c:v>
                </c:pt>
                <c:pt idx="3481">
                  <c:v>1.754424</c:v>
                </c:pt>
                <c:pt idx="3482">
                  <c:v>1.754928</c:v>
                </c:pt>
                <c:pt idx="3483">
                  <c:v>1.755432</c:v>
                </c:pt>
                <c:pt idx="3484">
                  <c:v>1.755936</c:v>
                </c:pt>
                <c:pt idx="3485">
                  <c:v>1.75644</c:v>
                </c:pt>
                <c:pt idx="3486">
                  <c:v>1.756944</c:v>
                </c:pt>
                <c:pt idx="3487">
                  <c:v>1.757448</c:v>
                </c:pt>
                <c:pt idx="3488">
                  <c:v>1.757952</c:v>
                </c:pt>
                <c:pt idx="3489">
                  <c:v>1.758456</c:v>
                </c:pt>
                <c:pt idx="3490">
                  <c:v>1.75896</c:v>
                </c:pt>
                <c:pt idx="3491">
                  <c:v>1.759464</c:v>
                </c:pt>
                <c:pt idx="3492">
                  <c:v>1.759968</c:v>
                </c:pt>
                <c:pt idx="3493">
                  <c:v>1.760472</c:v>
                </c:pt>
                <c:pt idx="3494">
                  <c:v>1.760976</c:v>
                </c:pt>
                <c:pt idx="3495">
                  <c:v>1.76148</c:v>
                </c:pt>
                <c:pt idx="3496">
                  <c:v>1.761984</c:v>
                </c:pt>
                <c:pt idx="3497">
                  <c:v>1.762488</c:v>
                </c:pt>
                <c:pt idx="3498">
                  <c:v>1.762992</c:v>
                </c:pt>
                <c:pt idx="3499">
                  <c:v>1.763496</c:v>
                </c:pt>
                <c:pt idx="3500">
                  <c:v>1.764</c:v>
                </c:pt>
                <c:pt idx="3501">
                  <c:v>1.764504</c:v>
                </c:pt>
                <c:pt idx="3502">
                  <c:v>1.765008</c:v>
                </c:pt>
                <c:pt idx="3503">
                  <c:v>1.765512</c:v>
                </c:pt>
                <c:pt idx="3504">
                  <c:v>1.766016</c:v>
                </c:pt>
                <c:pt idx="3505">
                  <c:v>1.76652</c:v>
                </c:pt>
                <c:pt idx="3506">
                  <c:v>1.767024</c:v>
                </c:pt>
                <c:pt idx="3507">
                  <c:v>1.767528</c:v>
                </c:pt>
                <c:pt idx="3508">
                  <c:v>1.768032</c:v>
                </c:pt>
                <c:pt idx="3509">
                  <c:v>1.768536</c:v>
                </c:pt>
                <c:pt idx="3510">
                  <c:v>1.76904</c:v>
                </c:pt>
                <c:pt idx="3511">
                  <c:v>1.769544</c:v>
                </c:pt>
                <c:pt idx="3512">
                  <c:v>1.770048</c:v>
                </c:pt>
                <c:pt idx="3513">
                  <c:v>1.770552</c:v>
                </c:pt>
                <c:pt idx="3514">
                  <c:v>1.771056</c:v>
                </c:pt>
                <c:pt idx="3515">
                  <c:v>1.77156</c:v>
                </c:pt>
                <c:pt idx="3516">
                  <c:v>1.772064</c:v>
                </c:pt>
                <c:pt idx="3517">
                  <c:v>1.772568</c:v>
                </c:pt>
                <c:pt idx="3518">
                  <c:v>1.773072</c:v>
                </c:pt>
                <c:pt idx="3519">
                  <c:v>1.773576</c:v>
                </c:pt>
                <c:pt idx="3520">
                  <c:v>1.77408</c:v>
                </c:pt>
                <c:pt idx="3521">
                  <c:v>1.774584</c:v>
                </c:pt>
                <c:pt idx="3522">
                  <c:v>1.775088</c:v>
                </c:pt>
                <c:pt idx="3523">
                  <c:v>1.775592</c:v>
                </c:pt>
                <c:pt idx="3524">
                  <c:v>1.776096</c:v>
                </c:pt>
                <c:pt idx="3525">
                  <c:v>1.7766</c:v>
                </c:pt>
                <c:pt idx="3526">
                  <c:v>1.777104</c:v>
                </c:pt>
                <c:pt idx="3527">
                  <c:v>1.777608</c:v>
                </c:pt>
                <c:pt idx="3528">
                  <c:v>1.778112</c:v>
                </c:pt>
                <c:pt idx="3529">
                  <c:v>1.778616</c:v>
                </c:pt>
                <c:pt idx="3530">
                  <c:v>1.77912</c:v>
                </c:pt>
                <c:pt idx="3531">
                  <c:v>1.779624</c:v>
                </c:pt>
                <c:pt idx="3532">
                  <c:v>1.780128</c:v>
                </c:pt>
                <c:pt idx="3533">
                  <c:v>1.780632</c:v>
                </c:pt>
                <c:pt idx="3534">
                  <c:v>1.781136</c:v>
                </c:pt>
                <c:pt idx="3535">
                  <c:v>1.78164</c:v>
                </c:pt>
                <c:pt idx="3536">
                  <c:v>1.782144</c:v>
                </c:pt>
                <c:pt idx="3537">
                  <c:v>1.782648</c:v>
                </c:pt>
                <c:pt idx="3538">
                  <c:v>1.783152</c:v>
                </c:pt>
                <c:pt idx="3539">
                  <c:v>1.783656</c:v>
                </c:pt>
                <c:pt idx="3540">
                  <c:v>1.78416</c:v>
                </c:pt>
                <c:pt idx="3541">
                  <c:v>1.784664</c:v>
                </c:pt>
                <c:pt idx="3542">
                  <c:v>1.785168</c:v>
                </c:pt>
                <c:pt idx="3543">
                  <c:v>1.785672</c:v>
                </c:pt>
                <c:pt idx="3544">
                  <c:v>1.786176</c:v>
                </c:pt>
                <c:pt idx="3545">
                  <c:v>1.78668</c:v>
                </c:pt>
                <c:pt idx="3546">
                  <c:v>1.787184</c:v>
                </c:pt>
                <c:pt idx="3547">
                  <c:v>1.787688</c:v>
                </c:pt>
                <c:pt idx="3548">
                  <c:v>1.788192</c:v>
                </c:pt>
                <c:pt idx="3549">
                  <c:v>1.788696</c:v>
                </c:pt>
                <c:pt idx="3550">
                  <c:v>1.7892</c:v>
                </c:pt>
                <c:pt idx="3551">
                  <c:v>1.789704</c:v>
                </c:pt>
                <c:pt idx="3552">
                  <c:v>1.790208</c:v>
                </c:pt>
                <c:pt idx="3553">
                  <c:v>1.790712</c:v>
                </c:pt>
                <c:pt idx="3554">
                  <c:v>1.791216</c:v>
                </c:pt>
                <c:pt idx="3555">
                  <c:v>1.79172</c:v>
                </c:pt>
                <c:pt idx="3556">
                  <c:v>1.792224</c:v>
                </c:pt>
                <c:pt idx="3557">
                  <c:v>1.792728</c:v>
                </c:pt>
                <c:pt idx="3558">
                  <c:v>1.793232</c:v>
                </c:pt>
                <c:pt idx="3559">
                  <c:v>1.793736</c:v>
                </c:pt>
                <c:pt idx="3560">
                  <c:v>1.79424</c:v>
                </c:pt>
                <c:pt idx="3561">
                  <c:v>1.794744</c:v>
                </c:pt>
                <c:pt idx="3562">
                  <c:v>1.795248</c:v>
                </c:pt>
                <c:pt idx="3563">
                  <c:v>1.795752</c:v>
                </c:pt>
                <c:pt idx="3564">
                  <c:v>1.796256</c:v>
                </c:pt>
                <c:pt idx="3565">
                  <c:v>1.79676</c:v>
                </c:pt>
                <c:pt idx="3566">
                  <c:v>1.797264</c:v>
                </c:pt>
                <c:pt idx="3567">
                  <c:v>1.797768</c:v>
                </c:pt>
                <c:pt idx="3568">
                  <c:v>1.798272</c:v>
                </c:pt>
                <c:pt idx="3569">
                  <c:v>1.798776</c:v>
                </c:pt>
                <c:pt idx="3570">
                  <c:v>1.79928</c:v>
                </c:pt>
                <c:pt idx="3571">
                  <c:v>1.799784</c:v>
                </c:pt>
                <c:pt idx="3572">
                  <c:v>1.800288</c:v>
                </c:pt>
                <c:pt idx="3573">
                  <c:v>1.800792</c:v>
                </c:pt>
                <c:pt idx="3574">
                  <c:v>1.801296</c:v>
                </c:pt>
                <c:pt idx="3575">
                  <c:v>1.8018</c:v>
                </c:pt>
                <c:pt idx="3576">
                  <c:v>1.802304</c:v>
                </c:pt>
                <c:pt idx="3577">
                  <c:v>1.802808</c:v>
                </c:pt>
                <c:pt idx="3578">
                  <c:v>1.803312</c:v>
                </c:pt>
                <c:pt idx="3579">
                  <c:v>1.803816</c:v>
                </c:pt>
                <c:pt idx="3580">
                  <c:v>1.80432</c:v>
                </c:pt>
                <c:pt idx="3581">
                  <c:v>1.804824</c:v>
                </c:pt>
                <c:pt idx="3582">
                  <c:v>1.805328</c:v>
                </c:pt>
                <c:pt idx="3583">
                  <c:v>1.805832</c:v>
                </c:pt>
                <c:pt idx="3584">
                  <c:v>1.806336</c:v>
                </c:pt>
                <c:pt idx="3585">
                  <c:v>1.80684</c:v>
                </c:pt>
                <c:pt idx="3586">
                  <c:v>1.807344</c:v>
                </c:pt>
                <c:pt idx="3587">
                  <c:v>1.807848</c:v>
                </c:pt>
                <c:pt idx="3588">
                  <c:v>1.808352</c:v>
                </c:pt>
                <c:pt idx="3589">
                  <c:v>1.808856</c:v>
                </c:pt>
                <c:pt idx="3590">
                  <c:v>1.80936</c:v>
                </c:pt>
                <c:pt idx="3591">
                  <c:v>1.809864</c:v>
                </c:pt>
                <c:pt idx="3592">
                  <c:v>1.810368</c:v>
                </c:pt>
                <c:pt idx="3593">
                  <c:v>1.810872</c:v>
                </c:pt>
                <c:pt idx="3594">
                  <c:v>1.811376</c:v>
                </c:pt>
                <c:pt idx="3595">
                  <c:v>1.81188</c:v>
                </c:pt>
                <c:pt idx="3596">
                  <c:v>1.812384</c:v>
                </c:pt>
                <c:pt idx="3597">
                  <c:v>1.812888</c:v>
                </c:pt>
                <c:pt idx="3598">
                  <c:v>1.813392</c:v>
                </c:pt>
                <c:pt idx="3599">
                  <c:v>1.813896</c:v>
                </c:pt>
                <c:pt idx="3600">
                  <c:v>1.8144</c:v>
                </c:pt>
                <c:pt idx="3601">
                  <c:v>1.814904</c:v>
                </c:pt>
                <c:pt idx="3602">
                  <c:v>1.815408</c:v>
                </c:pt>
                <c:pt idx="3603">
                  <c:v>1.815912</c:v>
                </c:pt>
                <c:pt idx="3604">
                  <c:v>1.816416</c:v>
                </c:pt>
                <c:pt idx="3605">
                  <c:v>1.81692</c:v>
                </c:pt>
                <c:pt idx="3606">
                  <c:v>1.817424</c:v>
                </c:pt>
                <c:pt idx="3607">
                  <c:v>1.817928</c:v>
                </c:pt>
                <c:pt idx="3608">
                  <c:v>1.818432</c:v>
                </c:pt>
                <c:pt idx="3609">
                  <c:v>1.818936</c:v>
                </c:pt>
                <c:pt idx="3610">
                  <c:v>1.81944</c:v>
                </c:pt>
                <c:pt idx="3611">
                  <c:v>1.819944</c:v>
                </c:pt>
                <c:pt idx="3612">
                  <c:v>1.820448</c:v>
                </c:pt>
                <c:pt idx="3613">
                  <c:v>1.820952</c:v>
                </c:pt>
                <c:pt idx="3614">
                  <c:v>1.821456</c:v>
                </c:pt>
                <c:pt idx="3615">
                  <c:v>1.82196</c:v>
                </c:pt>
                <c:pt idx="3616">
                  <c:v>1.822464</c:v>
                </c:pt>
                <c:pt idx="3617">
                  <c:v>1.822968</c:v>
                </c:pt>
                <c:pt idx="3618">
                  <c:v>1.823472</c:v>
                </c:pt>
                <c:pt idx="3619">
                  <c:v>1.823976</c:v>
                </c:pt>
                <c:pt idx="3620">
                  <c:v>1.82448</c:v>
                </c:pt>
                <c:pt idx="3621">
                  <c:v>1.824984</c:v>
                </c:pt>
                <c:pt idx="3622">
                  <c:v>1.825488</c:v>
                </c:pt>
                <c:pt idx="3623">
                  <c:v>1.825992</c:v>
                </c:pt>
                <c:pt idx="3624">
                  <c:v>1.826496</c:v>
                </c:pt>
                <c:pt idx="3625">
                  <c:v>1.827</c:v>
                </c:pt>
                <c:pt idx="3626">
                  <c:v>1.827504</c:v>
                </c:pt>
                <c:pt idx="3627">
                  <c:v>1.828008</c:v>
                </c:pt>
                <c:pt idx="3628">
                  <c:v>1.828512</c:v>
                </c:pt>
                <c:pt idx="3629">
                  <c:v>1.829016</c:v>
                </c:pt>
                <c:pt idx="3630">
                  <c:v>1.82952</c:v>
                </c:pt>
                <c:pt idx="3631">
                  <c:v>1.830024</c:v>
                </c:pt>
                <c:pt idx="3632">
                  <c:v>1.830528</c:v>
                </c:pt>
                <c:pt idx="3633">
                  <c:v>1.831032</c:v>
                </c:pt>
                <c:pt idx="3634">
                  <c:v>1.831536</c:v>
                </c:pt>
                <c:pt idx="3635">
                  <c:v>1.83204</c:v>
                </c:pt>
                <c:pt idx="3636">
                  <c:v>1.832544</c:v>
                </c:pt>
                <c:pt idx="3637">
                  <c:v>1.833048</c:v>
                </c:pt>
                <c:pt idx="3638">
                  <c:v>1.833552</c:v>
                </c:pt>
                <c:pt idx="3639">
                  <c:v>1.834056</c:v>
                </c:pt>
                <c:pt idx="3640">
                  <c:v>1.83456</c:v>
                </c:pt>
                <c:pt idx="3641">
                  <c:v>1.835064</c:v>
                </c:pt>
                <c:pt idx="3642">
                  <c:v>1.835568</c:v>
                </c:pt>
                <c:pt idx="3643">
                  <c:v>1.836072</c:v>
                </c:pt>
                <c:pt idx="3644">
                  <c:v>1.836576</c:v>
                </c:pt>
                <c:pt idx="3645">
                  <c:v>1.83708</c:v>
                </c:pt>
                <c:pt idx="3646">
                  <c:v>1.837584</c:v>
                </c:pt>
                <c:pt idx="3647">
                  <c:v>1.838088</c:v>
                </c:pt>
                <c:pt idx="3648">
                  <c:v>1.838592</c:v>
                </c:pt>
                <c:pt idx="3649">
                  <c:v>1.839096</c:v>
                </c:pt>
                <c:pt idx="3650">
                  <c:v>1.8396</c:v>
                </c:pt>
                <c:pt idx="3651">
                  <c:v>1.840104</c:v>
                </c:pt>
                <c:pt idx="3652">
                  <c:v>1.840608</c:v>
                </c:pt>
                <c:pt idx="3653">
                  <c:v>1.841112</c:v>
                </c:pt>
                <c:pt idx="3654">
                  <c:v>1.841616</c:v>
                </c:pt>
                <c:pt idx="3655">
                  <c:v>1.84212</c:v>
                </c:pt>
                <c:pt idx="3656">
                  <c:v>1.842624</c:v>
                </c:pt>
                <c:pt idx="3657">
                  <c:v>1.843128</c:v>
                </c:pt>
                <c:pt idx="3658">
                  <c:v>1.843632</c:v>
                </c:pt>
                <c:pt idx="3659">
                  <c:v>1.844136</c:v>
                </c:pt>
                <c:pt idx="3660">
                  <c:v>1.84464</c:v>
                </c:pt>
                <c:pt idx="3661">
                  <c:v>1.845144</c:v>
                </c:pt>
                <c:pt idx="3662">
                  <c:v>1.845648</c:v>
                </c:pt>
                <c:pt idx="3663">
                  <c:v>1.846152</c:v>
                </c:pt>
                <c:pt idx="3664">
                  <c:v>1.846656</c:v>
                </c:pt>
                <c:pt idx="3665">
                  <c:v>1.84716</c:v>
                </c:pt>
                <c:pt idx="3666">
                  <c:v>1.847664</c:v>
                </c:pt>
                <c:pt idx="3667">
                  <c:v>1.848168</c:v>
                </c:pt>
                <c:pt idx="3668">
                  <c:v>1.848672</c:v>
                </c:pt>
                <c:pt idx="3669">
                  <c:v>1.849176</c:v>
                </c:pt>
                <c:pt idx="3670">
                  <c:v>1.84968</c:v>
                </c:pt>
                <c:pt idx="3671">
                  <c:v>1.850184</c:v>
                </c:pt>
                <c:pt idx="3672">
                  <c:v>1.850688</c:v>
                </c:pt>
                <c:pt idx="3673">
                  <c:v>1.851192</c:v>
                </c:pt>
                <c:pt idx="3674">
                  <c:v>1.851696</c:v>
                </c:pt>
                <c:pt idx="3675">
                  <c:v>1.8522</c:v>
                </c:pt>
                <c:pt idx="3676">
                  <c:v>1.852704</c:v>
                </c:pt>
                <c:pt idx="3677">
                  <c:v>1.853208</c:v>
                </c:pt>
                <c:pt idx="3678">
                  <c:v>1.853712</c:v>
                </c:pt>
                <c:pt idx="3679">
                  <c:v>1.854216</c:v>
                </c:pt>
                <c:pt idx="3680">
                  <c:v>1.85472</c:v>
                </c:pt>
                <c:pt idx="3681">
                  <c:v>1.855224</c:v>
                </c:pt>
                <c:pt idx="3682">
                  <c:v>1.855728</c:v>
                </c:pt>
                <c:pt idx="3683">
                  <c:v>1.856232</c:v>
                </c:pt>
                <c:pt idx="3684">
                  <c:v>1.856736</c:v>
                </c:pt>
                <c:pt idx="3685">
                  <c:v>1.85724</c:v>
                </c:pt>
                <c:pt idx="3686">
                  <c:v>1.857744</c:v>
                </c:pt>
                <c:pt idx="3687">
                  <c:v>1.858248</c:v>
                </c:pt>
                <c:pt idx="3688">
                  <c:v>1.858752</c:v>
                </c:pt>
                <c:pt idx="3689">
                  <c:v>1.859256</c:v>
                </c:pt>
                <c:pt idx="3690">
                  <c:v>1.85976</c:v>
                </c:pt>
                <c:pt idx="3691">
                  <c:v>1.860264</c:v>
                </c:pt>
                <c:pt idx="3692">
                  <c:v>1.860768</c:v>
                </c:pt>
                <c:pt idx="3693">
                  <c:v>1.861272</c:v>
                </c:pt>
                <c:pt idx="3694">
                  <c:v>1.861776</c:v>
                </c:pt>
                <c:pt idx="3695">
                  <c:v>1.86228</c:v>
                </c:pt>
                <c:pt idx="3696">
                  <c:v>1.862784</c:v>
                </c:pt>
                <c:pt idx="3697">
                  <c:v>1.863288</c:v>
                </c:pt>
                <c:pt idx="3698">
                  <c:v>1.863792</c:v>
                </c:pt>
                <c:pt idx="3699">
                  <c:v>1.864296</c:v>
                </c:pt>
                <c:pt idx="3700">
                  <c:v>1.8648</c:v>
                </c:pt>
                <c:pt idx="3701">
                  <c:v>1.865304</c:v>
                </c:pt>
                <c:pt idx="3702">
                  <c:v>1.865808</c:v>
                </c:pt>
                <c:pt idx="3703">
                  <c:v>1.866312</c:v>
                </c:pt>
                <c:pt idx="3704">
                  <c:v>1.866816</c:v>
                </c:pt>
                <c:pt idx="3705">
                  <c:v>1.86732</c:v>
                </c:pt>
                <c:pt idx="3706">
                  <c:v>1.867824</c:v>
                </c:pt>
                <c:pt idx="3707">
                  <c:v>1.868328</c:v>
                </c:pt>
                <c:pt idx="3708">
                  <c:v>1.868832</c:v>
                </c:pt>
                <c:pt idx="3709">
                  <c:v>1.869336</c:v>
                </c:pt>
                <c:pt idx="3710">
                  <c:v>1.86984</c:v>
                </c:pt>
                <c:pt idx="3711">
                  <c:v>1.870344</c:v>
                </c:pt>
                <c:pt idx="3712">
                  <c:v>1.870848</c:v>
                </c:pt>
                <c:pt idx="3713">
                  <c:v>1.871352</c:v>
                </c:pt>
                <c:pt idx="3714">
                  <c:v>1.871856</c:v>
                </c:pt>
                <c:pt idx="3715">
                  <c:v>1.87236</c:v>
                </c:pt>
                <c:pt idx="3716">
                  <c:v>1.872864</c:v>
                </c:pt>
                <c:pt idx="3717">
                  <c:v>1.873368</c:v>
                </c:pt>
                <c:pt idx="3718">
                  <c:v>1.873872</c:v>
                </c:pt>
                <c:pt idx="3719">
                  <c:v>1.874376</c:v>
                </c:pt>
                <c:pt idx="3720">
                  <c:v>1.87488</c:v>
                </c:pt>
                <c:pt idx="3721">
                  <c:v>1.875384</c:v>
                </c:pt>
                <c:pt idx="3722">
                  <c:v>1.875888</c:v>
                </c:pt>
                <c:pt idx="3723">
                  <c:v>1.876392</c:v>
                </c:pt>
                <c:pt idx="3724">
                  <c:v>1.876896</c:v>
                </c:pt>
                <c:pt idx="3725">
                  <c:v>1.8774</c:v>
                </c:pt>
                <c:pt idx="3726">
                  <c:v>1.877904</c:v>
                </c:pt>
                <c:pt idx="3727">
                  <c:v>1.878408</c:v>
                </c:pt>
                <c:pt idx="3728">
                  <c:v>1.878912</c:v>
                </c:pt>
                <c:pt idx="3729">
                  <c:v>1.879416</c:v>
                </c:pt>
                <c:pt idx="3730">
                  <c:v>1.87992</c:v>
                </c:pt>
                <c:pt idx="3731">
                  <c:v>1.880424</c:v>
                </c:pt>
                <c:pt idx="3732">
                  <c:v>1.880928</c:v>
                </c:pt>
                <c:pt idx="3733">
                  <c:v>1.881432</c:v>
                </c:pt>
                <c:pt idx="3734">
                  <c:v>1.881936</c:v>
                </c:pt>
                <c:pt idx="3735">
                  <c:v>1.88244</c:v>
                </c:pt>
                <c:pt idx="3736">
                  <c:v>1.882944</c:v>
                </c:pt>
                <c:pt idx="3737">
                  <c:v>1.883448</c:v>
                </c:pt>
                <c:pt idx="3738">
                  <c:v>1.883952</c:v>
                </c:pt>
                <c:pt idx="3739">
                  <c:v>1.884456</c:v>
                </c:pt>
                <c:pt idx="3740">
                  <c:v>1.88496</c:v>
                </c:pt>
                <c:pt idx="3741">
                  <c:v>1.885464</c:v>
                </c:pt>
                <c:pt idx="3742">
                  <c:v>1.885968</c:v>
                </c:pt>
                <c:pt idx="3743">
                  <c:v>1.886472</c:v>
                </c:pt>
                <c:pt idx="3744">
                  <c:v>1.886976</c:v>
                </c:pt>
                <c:pt idx="3745">
                  <c:v>1.88748</c:v>
                </c:pt>
                <c:pt idx="3746">
                  <c:v>1.887984</c:v>
                </c:pt>
                <c:pt idx="3747">
                  <c:v>1.888488</c:v>
                </c:pt>
                <c:pt idx="3748">
                  <c:v>1.888992</c:v>
                </c:pt>
                <c:pt idx="3749">
                  <c:v>1.889496</c:v>
                </c:pt>
                <c:pt idx="3750">
                  <c:v>1.89</c:v>
                </c:pt>
                <c:pt idx="3751">
                  <c:v>1.890504</c:v>
                </c:pt>
                <c:pt idx="3752">
                  <c:v>1.891008</c:v>
                </c:pt>
                <c:pt idx="3753">
                  <c:v>1.891512</c:v>
                </c:pt>
                <c:pt idx="3754">
                  <c:v>1.892016</c:v>
                </c:pt>
                <c:pt idx="3755">
                  <c:v>1.89252</c:v>
                </c:pt>
                <c:pt idx="3756">
                  <c:v>1.893024</c:v>
                </c:pt>
                <c:pt idx="3757">
                  <c:v>1.893528</c:v>
                </c:pt>
                <c:pt idx="3758">
                  <c:v>1.894032</c:v>
                </c:pt>
                <c:pt idx="3759">
                  <c:v>1.894536</c:v>
                </c:pt>
                <c:pt idx="3760">
                  <c:v>1.89504</c:v>
                </c:pt>
                <c:pt idx="3761">
                  <c:v>1.895544</c:v>
                </c:pt>
                <c:pt idx="3762">
                  <c:v>1.896048</c:v>
                </c:pt>
                <c:pt idx="3763">
                  <c:v>1.896552</c:v>
                </c:pt>
                <c:pt idx="3764">
                  <c:v>1.897056</c:v>
                </c:pt>
                <c:pt idx="3765">
                  <c:v>1.89756</c:v>
                </c:pt>
                <c:pt idx="3766">
                  <c:v>1.898064</c:v>
                </c:pt>
                <c:pt idx="3767">
                  <c:v>1.898568</c:v>
                </c:pt>
                <c:pt idx="3768">
                  <c:v>1.899072</c:v>
                </c:pt>
                <c:pt idx="3769">
                  <c:v>1.899576</c:v>
                </c:pt>
                <c:pt idx="3770">
                  <c:v>1.90008</c:v>
                </c:pt>
                <c:pt idx="3771">
                  <c:v>1.900584</c:v>
                </c:pt>
                <c:pt idx="3772">
                  <c:v>1.901088</c:v>
                </c:pt>
                <c:pt idx="3773">
                  <c:v>1.901592</c:v>
                </c:pt>
                <c:pt idx="3774">
                  <c:v>1.902096</c:v>
                </c:pt>
                <c:pt idx="3775">
                  <c:v>1.9026</c:v>
                </c:pt>
                <c:pt idx="3776">
                  <c:v>1.903104</c:v>
                </c:pt>
                <c:pt idx="3777">
                  <c:v>1.903608</c:v>
                </c:pt>
                <c:pt idx="3778">
                  <c:v>1.904112</c:v>
                </c:pt>
                <c:pt idx="3779">
                  <c:v>1.904616</c:v>
                </c:pt>
                <c:pt idx="3780">
                  <c:v>1.90512</c:v>
                </c:pt>
                <c:pt idx="3781">
                  <c:v>1.905624</c:v>
                </c:pt>
                <c:pt idx="3782">
                  <c:v>1.906128</c:v>
                </c:pt>
                <c:pt idx="3783">
                  <c:v>1.906632</c:v>
                </c:pt>
                <c:pt idx="3784">
                  <c:v>1.907136</c:v>
                </c:pt>
                <c:pt idx="3785">
                  <c:v>1.90764</c:v>
                </c:pt>
                <c:pt idx="3786">
                  <c:v>1.908144</c:v>
                </c:pt>
                <c:pt idx="3787">
                  <c:v>1.908648</c:v>
                </c:pt>
                <c:pt idx="3788">
                  <c:v>1.909152</c:v>
                </c:pt>
                <c:pt idx="3789">
                  <c:v>1.909656</c:v>
                </c:pt>
                <c:pt idx="3790">
                  <c:v>1.91016</c:v>
                </c:pt>
                <c:pt idx="3791">
                  <c:v>1.910664</c:v>
                </c:pt>
                <c:pt idx="3792">
                  <c:v>1.911168</c:v>
                </c:pt>
                <c:pt idx="3793">
                  <c:v>1.911672</c:v>
                </c:pt>
                <c:pt idx="3794">
                  <c:v>1.912176</c:v>
                </c:pt>
                <c:pt idx="3795">
                  <c:v>1.91268</c:v>
                </c:pt>
                <c:pt idx="3796">
                  <c:v>1.913184</c:v>
                </c:pt>
                <c:pt idx="3797">
                  <c:v>1.913688</c:v>
                </c:pt>
                <c:pt idx="3798">
                  <c:v>1.914192</c:v>
                </c:pt>
                <c:pt idx="3799">
                  <c:v>1.914696</c:v>
                </c:pt>
                <c:pt idx="3800">
                  <c:v>1.9152</c:v>
                </c:pt>
                <c:pt idx="3801">
                  <c:v>1.915704</c:v>
                </c:pt>
                <c:pt idx="3802">
                  <c:v>1.916208</c:v>
                </c:pt>
                <c:pt idx="3803">
                  <c:v>1.916712</c:v>
                </c:pt>
                <c:pt idx="3804">
                  <c:v>1.917216</c:v>
                </c:pt>
                <c:pt idx="3805">
                  <c:v>1.91772</c:v>
                </c:pt>
                <c:pt idx="3806">
                  <c:v>1.918224</c:v>
                </c:pt>
                <c:pt idx="3807">
                  <c:v>1.918728</c:v>
                </c:pt>
                <c:pt idx="3808">
                  <c:v>1.919232</c:v>
                </c:pt>
                <c:pt idx="3809">
                  <c:v>1.919736</c:v>
                </c:pt>
                <c:pt idx="3810">
                  <c:v>1.92024</c:v>
                </c:pt>
                <c:pt idx="3811">
                  <c:v>1.920744</c:v>
                </c:pt>
                <c:pt idx="3812">
                  <c:v>1.921248</c:v>
                </c:pt>
                <c:pt idx="3813">
                  <c:v>1.921752</c:v>
                </c:pt>
                <c:pt idx="3814">
                  <c:v>1.922256</c:v>
                </c:pt>
                <c:pt idx="3815">
                  <c:v>1.92276</c:v>
                </c:pt>
                <c:pt idx="3816">
                  <c:v>1.923264</c:v>
                </c:pt>
                <c:pt idx="3817">
                  <c:v>1.923768</c:v>
                </c:pt>
                <c:pt idx="3818">
                  <c:v>1.924272</c:v>
                </c:pt>
                <c:pt idx="3819">
                  <c:v>1.924776</c:v>
                </c:pt>
                <c:pt idx="3820">
                  <c:v>1.92528</c:v>
                </c:pt>
                <c:pt idx="3821">
                  <c:v>1.925784</c:v>
                </c:pt>
                <c:pt idx="3822">
                  <c:v>1.926288</c:v>
                </c:pt>
                <c:pt idx="3823">
                  <c:v>1.926792</c:v>
                </c:pt>
                <c:pt idx="3824">
                  <c:v>1.927296</c:v>
                </c:pt>
                <c:pt idx="3825">
                  <c:v>1.9278</c:v>
                </c:pt>
                <c:pt idx="3826">
                  <c:v>1.928304</c:v>
                </c:pt>
                <c:pt idx="3827">
                  <c:v>1.928808</c:v>
                </c:pt>
                <c:pt idx="3828">
                  <c:v>1.929312</c:v>
                </c:pt>
                <c:pt idx="3829">
                  <c:v>1.929816</c:v>
                </c:pt>
                <c:pt idx="3830">
                  <c:v>1.93032</c:v>
                </c:pt>
                <c:pt idx="3831">
                  <c:v>1.930824</c:v>
                </c:pt>
                <c:pt idx="3832">
                  <c:v>1.931328</c:v>
                </c:pt>
                <c:pt idx="3833">
                  <c:v>1.931832</c:v>
                </c:pt>
                <c:pt idx="3834">
                  <c:v>1.932336</c:v>
                </c:pt>
                <c:pt idx="3835">
                  <c:v>1.93284</c:v>
                </c:pt>
                <c:pt idx="3836">
                  <c:v>1.933344</c:v>
                </c:pt>
                <c:pt idx="3837">
                  <c:v>1.933848</c:v>
                </c:pt>
                <c:pt idx="3838">
                  <c:v>1.934352</c:v>
                </c:pt>
                <c:pt idx="3839">
                  <c:v>1.934856</c:v>
                </c:pt>
                <c:pt idx="3840">
                  <c:v>1.93536</c:v>
                </c:pt>
                <c:pt idx="3841">
                  <c:v>1.935864</c:v>
                </c:pt>
                <c:pt idx="3842">
                  <c:v>1.936368</c:v>
                </c:pt>
                <c:pt idx="3843">
                  <c:v>1.936872</c:v>
                </c:pt>
                <c:pt idx="3844">
                  <c:v>1.937376</c:v>
                </c:pt>
                <c:pt idx="3845">
                  <c:v>1.93788</c:v>
                </c:pt>
                <c:pt idx="3846">
                  <c:v>1.938384</c:v>
                </c:pt>
                <c:pt idx="3847">
                  <c:v>1.938888</c:v>
                </c:pt>
                <c:pt idx="3848">
                  <c:v>1.939392</c:v>
                </c:pt>
                <c:pt idx="3849">
                  <c:v>1.939896</c:v>
                </c:pt>
                <c:pt idx="3850">
                  <c:v>1.9404</c:v>
                </c:pt>
                <c:pt idx="3851">
                  <c:v>1.940904</c:v>
                </c:pt>
                <c:pt idx="3852">
                  <c:v>1.941408</c:v>
                </c:pt>
                <c:pt idx="3853">
                  <c:v>1.941912</c:v>
                </c:pt>
                <c:pt idx="3854">
                  <c:v>1.942416</c:v>
                </c:pt>
                <c:pt idx="3855">
                  <c:v>1.94292</c:v>
                </c:pt>
                <c:pt idx="3856">
                  <c:v>1.943424</c:v>
                </c:pt>
                <c:pt idx="3857">
                  <c:v>1.943928</c:v>
                </c:pt>
                <c:pt idx="3858">
                  <c:v>1.944432</c:v>
                </c:pt>
                <c:pt idx="3859">
                  <c:v>1.944936</c:v>
                </c:pt>
                <c:pt idx="3860">
                  <c:v>1.94544</c:v>
                </c:pt>
                <c:pt idx="3861">
                  <c:v>1.945944</c:v>
                </c:pt>
                <c:pt idx="3862">
                  <c:v>1.946448</c:v>
                </c:pt>
                <c:pt idx="3863">
                  <c:v>1.946952</c:v>
                </c:pt>
                <c:pt idx="3864">
                  <c:v>1.947456</c:v>
                </c:pt>
                <c:pt idx="3865">
                  <c:v>1.94796</c:v>
                </c:pt>
                <c:pt idx="3866">
                  <c:v>1.948464</c:v>
                </c:pt>
                <c:pt idx="3867">
                  <c:v>1.948968</c:v>
                </c:pt>
                <c:pt idx="3868">
                  <c:v>1.949472</c:v>
                </c:pt>
                <c:pt idx="3869">
                  <c:v>1.949976</c:v>
                </c:pt>
                <c:pt idx="3870">
                  <c:v>1.95048</c:v>
                </c:pt>
                <c:pt idx="3871">
                  <c:v>1.950984</c:v>
                </c:pt>
                <c:pt idx="3872">
                  <c:v>1.951488</c:v>
                </c:pt>
                <c:pt idx="3873">
                  <c:v>1.951992</c:v>
                </c:pt>
                <c:pt idx="3874">
                  <c:v>1.952496</c:v>
                </c:pt>
                <c:pt idx="3875">
                  <c:v>1.953</c:v>
                </c:pt>
                <c:pt idx="3876">
                  <c:v>1.953504</c:v>
                </c:pt>
                <c:pt idx="3877">
                  <c:v>1.954008</c:v>
                </c:pt>
                <c:pt idx="3878">
                  <c:v>1.954512</c:v>
                </c:pt>
                <c:pt idx="3879">
                  <c:v>1.955016</c:v>
                </c:pt>
                <c:pt idx="3880">
                  <c:v>1.95552</c:v>
                </c:pt>
                <c:pt idx="3881">
                  <c:v>1.956024</c:v>
                </c:pt>
                <c:pt idx="3882">
                  <c:v>1.956528</c:v>
                </c:pt>
                <c:pt idx="3883">
                  <c:v>1.957032</c:v>
                </c:pt>
                <c:pt idx="3884">
                  <c:v>1.957536</c:v>
                </c:pt>
                <c:pt idx="3885">
                  <c:v>1.95804</c:v>
                </c:pt>
                <c:pt idx="3886">
                  <c:v>1.958544</c:v>
                </c:pt>
                <c:pt idx="3887">
                  <c:v>1.959048</c:v>
                </c:pt>
                <c:pt idx="3888">
                  <c:v>1.959552</c:v>
                </c:pt>
                <c:pt idx="3889">
                  <c:v>1.960056</c:v>
                </c:pt>
                <c:pt idx="3890">
                  <c:v>1.96056</c:v>
                </c:pt>
                <c:pt idx="3891">
                  <c:v>1.961064</c:v>
                </c:pt>
                <c:pt idx="3892">
                  <c:v>1.961568</c:v>
                </c:pt>
                <c:pt idx="3893">
                  <c:v>1.962072</c:v>
                </c:pt>
                <c:pt idx="3894">
                  <c:v>1.962576</c:v>
                </c:pt>
                <c:pt idx="3895">
                  <c:v>1.96308</c:v>
                </c:pt>
                <c:pt idx="3896">
                  <c:v>1.963584</c:v>
                </c:pt>
                <c:pt idx="3897">
                  <c:v>1.964088</c:v>
                </c:pt>
                <c:pt idx="3898">
                  <c:v>1.964592</c:v>
                </c:pt>
                <c:pt idx="3899">
                  <c:v>1.965096</c:v>
                </c:pt>
                <c:pt idx="3900">
                  <c:v>1.9656</c:v>
                </c:pt>
                <c:pt idx="3901">
                  <c:v>1.966104</c:v>
                </c:pt>
                <c:pt idx="3902">
                  <c:v>1.966608</c:v>
                </c:pt>
                <c:pt idx="3903">
                  <c:v>1.967112</c:v>
                </c:pt>
                <c:pt idx="3904">
                  <c:v>1.967616</c:v>
                </c:pt>
                <c:pt idx="3905">
                  <c:v>1.96812</c:v>
                </c:pt>
                <c:pt idx="3906">
                  <c:v>1.968624</c:v>
                </c:pt>
                <c:pt idx="3907">
                  <c:v>1.969128</c:v>
                </c:pt>
                <c:pt idx="3908">
                  <c:v>1.969632</c:v>
                </c:pt>
                <c:pt idx="3909">
                  <c:v>1.970136</c:v>
                </c:pt>
                <c:pt idx="3910">
                  <c:v>1.97064</c:v>
                </c:pt>
                <c:pt idx="3911">
                  <c:v>1.971144</c:v>
                </c:pt>
                <c:pt idx="3912">
                  <c:v>1.971648</c:v>
                </c:pt>
                <c:pt idx="3913">
                  <c:v>1.972152</c:v>
                </c:pt>
                <c:pt idx="3914">
                  <c:v>1.972656</c:v>
                </c:pt>
                <c:pt idx="3915">
                  <c:v>1.97316</c:v>
                </c:pt>
                <c:pt idx="3916">
                  <c:v>1.973664</c:v>
                </c:pt>
                <c:pt idx="3917">
                  <c:v>1.974168</c:v>
                </c:pt>
                <c:pt idx="3918">
                  <c:v>1.974672</c:v>
                </c:pt>
                <c:pt idx="3919">
                  <c:v>1.975176</c:v>
                </c:pt>
                <c:pt idx="3920">
                  <c:v>1.97568</c:v>
                </c:pt>
                <c:pt idx="3921">
                  <c:v>1.976184</c:v>
                </c:pt>
                <c:pt idx="3922">
                  <c:v>1.976688</c:v>
                </c:pt>
                <c:pt idx="3923">
                  <c:v>1.977192</c:v>
                </c:pt>
                <c:pt idx="3924">
                  <c:v>1.977696</c:v>
                </c:pt>
                <c:pt idx="3925">
                  <c:v>1.9782</c:v>
                </c:pt>
                <c:pt idx="3926">
                  <c:v>1.978704</c:v>
                </c:pt>
                <c:pt idx="3927">
                  <c:v>1.979208</c:v>
                </c:pt>
                <c:pt idx="3928">
                  <c:v>1.979712</c:v>
                </c:pt>
                <c:pt idx="3929">
                  <c:v>1.980216</c:v>
                </c:pt>
                <c:pt idx="3930">
                  <c:v>1.98072</c:v>
                </c:pt>
                <c:pt idx="3931">
                  <c:v>1.981224</c:v>
                </c:pt>
                <c:pt idx="3932">
                  <c:v>1.981728</c:v>
                </c:pt>
                <c:pt idx="3933">
                  <c:v>1.982232</c:v>
                </c:pt>
                <c:pt idx="3934">
                  <c:v>1.982736</c:v>
                </c:pt>
                <c:pt idx="3935">
                  <c:v>1.98324</c:v>
                </c:pt>
                <c:pt idx="3936">
                  <c:v>1.983744</c:v>
                </c:pt>
                <c:pt idx="3937">
                  <c:v>1.984248</c:v>
                </c:pt>
                <c:pt idx="3938">
                  <c:v>1.984752</c:v>
                </c:pt>
                <c:pt idx="3939">
                  <c:v>1.985256</c:v>
                </c:pt>
                <c:pt idx="3940">
                  <c:v>1.98576</c:v>
                </c:pt>
                <c:pt idx="3941">
                  <c:v>1.986264</c:v>
                </c:pt>
                <c:pt idx="3942">
                  <c:v>1.986768</c:v>
                </c:pt>
                <c:pt idx="3943">
                  <c:v>1.987272</c:v>
                </c:pt>
                <c:pt idx="3944">
                  <c:v>1.987776</c:v>
                </c:pt>
                <c:pt idx="3945">
                  <c:v>1.98828</c:v>
                </c:pt>
                <c:pt idx="3946">
                  <c:v>1.988784</c:v>
                </c:pt>
                <c:pt idx="3947">
                  <c:v>1.989288</c:v>
                </c:pt>
                <c:pt idx="3948">
                  <c:v>1.989792</c:v>
                </c:pt>
                <c:pt idx="3949">
                  <c:v>1.990296</c:v>
                </c:pt>
                <c:pt idx="3950">
                  <c:v>1.9908</c:v>
                </c:pt>
                <c:pt idx="3951">
                  <c:v>1.991304</c:v>
                </c:pt>
                <c:pt idx="3952">
                  <c:v>1.991808</c:v>
                </c:pt>
                <c:pt idx="3953">
                  <c:v>1.992312</c:v>
                </c:pt>
                <c:pt idx="3954">
                  <c:v>1.992816</c:v>
                </c:pt>
                <c:pt idx="3955">
                  <c:v>1.99332</c:v>
                </c:pt>
                <c:pt idx="3956">
                  <c:v>1.993824</c:v>
                </c:pt>
                <c:pt idx="3957">
                  <c:v>1.994328</c:v>
                </c:pt>
                <c:pt idx="3958">
                  <c:v>1.994832</c:v>
                </c:pt>
                <c:pt idx="3959">
                  <c:v>1.995336</c:v>
                </c:pt>
                <c:pt idx="3960">
                  <c:v>1.99584</c:v>
                </c:pt>
                <c:pt idx="3961">
                  <c:v>1.996344</c:v>
                </c:pt>
                <c:pt idx="3962">
                  <c:v>1.996848</c:v>
                </c:pt>
                <c:pt idx="3963">
                  <c:v>1.997352</c:v>
                </c:pt>
                <c:pt idx="3964">
                  <c:v>1.997856</c:v>
                </c:pt>
                <c:pt idx="3965">
                  <c:v>1.99836</c:v>
                </c:pt>
                <c:pt idx="3966">
                  <c:v>1.998864</c:v>
                </c:pt>
                <c:pt idx="3967">
                  <c:v>1.999368</c:v>
                </c:pt>
                <c:pt idx="3968">
                  <c:v>1.999872</c:v>
                </c:pt>
                <c:pt idx="3969">
                  <c:v>2.000376</c:v>
                </c:pt>
                <c:pt idx="3970">
                  <c:v>2.00088</c:v>
                </c:pt>
                <c:pt idx="3971">
                  <c:v>2.001384</c:v>
                </c:pt>
                <c:pt idx="3972">
                  <c:v>2.001888</c:v>
                </c:pt>
                <c:pt idx="3973">
                  <c:v>2.002392</c:v>
                </c:pt>
                <c:pt idx="3974">
                  <c:v>2.002896</c:v>
                </c:pt>
                <c:pt idx="3975">
                  <c:v>2.0034</c:v>
                </c:pt>
                <c:pt idx="3976">
                  <c:v>2.003904</c:v>
                </c:pt>
                <c:pt idx="3977">
                  <c:v>2.004408</c:v>
                </c:pt>
                <c:pt idx="3978">
                  <c:v>2.004912</c:v>
                </c:pt>
                <c:pt idx="3979">
                  <c:v>2.005416</c:v>
                </c:pt>
                <c:pt idx="3980">
                  <c:v>2.00592</c:v>
                </c:pt>
                <c:pt idx="3981">
                  <c:v>2.006424</c:v>
                </c:pt>
                <c:pt idx="3982">
                  <c:v>2.006928</c:v>
                </c:pt>
                <c:pt idx="3983">
                  <c:v>2.007432</c:v>
                </c:pt>
                <c:pt idx="3984">
                  <c:v>2.007936</c:v>
                </c:pt>
                <c:pt idx="3985">
                  <c:v>2.00844</c:v>
                </c:pt>
                <c:pt idx="3986">
                  <c:v>2.008944</c:v>
                </c:pt>
                <c:pt idx="3987">
                  <c:v>2.009448</c:v>
                </c:pt>
                <c:pt idx="3988">
                  <c:v>2.009952</c:v>
                </c:pt>
                <c:pt idx="3989">
                  <c:v>2.010456</c:v>
                </c:pt>
                <c:pt idx="3990">
                  <c:v>2.01096</c:v>
                </c:pt>
                <c:pt idx="3991">
                  <c:v>2.011464</c:v>
                </c:pt>
                <c:pt idx="3992">
                  <c:v>2.011968</c:v>
                </c:pt>
                <c:pt idx="3993">
                  <c:v>2.012472</c:v>
                </c:pt>
                <c:pt idx="3994">
                  <c:v>2.012976</c:v>
                </c:pt>
                <c:pt idx="3995">
                  <c:v>2.01348</c:v>
                </c:pt>
                <c:pt idx="3996">
                  <c:v>2.013984</c:v>
                </c:pt>
                <c:pt idx="3997">
                  <c:v>2.014488</c:v>
                </c:pt>
                <c:pt idx="3998">
                  <c:v>2.014992</c:v>
                </c:pt>
                <c:pt idx="3999">
                  <c:v>2.015496</c:v>
                </c:pt>
                <c:pt idx="4000">
                  <c:v>2.016</c:v>
                </c:pt>
                <c:pt idx="4001">
                  <c:v>2.016504</c:v>
                </c:pt>
                <c:pt idx="4002">
                  <c:v>2.017008</c:v>
                </c:pt>
                <c:pt idx="4003">
                  <c:v>2.017512</c:v>
                </c:pt>
                <c:pt idx="4004">
                  <c:v>2.018016</c:v>
                </c:pt>
                <c:pt idx="4005">
                  <c:v>2.01852</c:v>
                </c:pt>
                <c:pt idx="4006">
                  <c:v>2.019024</c:v>
                </c:pt>
                <c:pt idx="4007">
                  <c:v>2.019528</c:v>
                </c:pt>
                <c:pt idx="4008">
                  <c:v>2.020032</c:v>
                </c:pt>
                <c:pt idx="4009">
                  <c:v>2.020536</c:v>
                </c:pt>
                <c:pt idx="4010">
                  <c:v>2.02104</c:v>
                </c:pt>
                <c:pt idx="4011">
                  <c:v>2.021544</c:v>
                </c:pt>
                <c:pt idx="4012">
                  <c:v>2.022048</c:v>
                </c:pt>
                <c:pt idx="4013">
                  <c:v>2.022552</c:v>
                </c:pt>
                <c:pt idx="4014">
                  <c:v>2.023056</c:v>
                </c:pt>
                <c:pt idx="4015">
                  <c:v>2.02356</c:v>
                </c:pt>
                <c:pt idx="4016">
                  <c:v>2.024064</c:v>
                </c:pt>
                <c:pt idx="4017">
                  <c:v>2.024568</c:v>
                </c:pt>
                <c:pt idx="4018">
                  <c:v>2.025072</c:v>
                </c:pt>
                <c:pt idx="4019">
                  <c:v>2.025576</c:v>
                </c:pt>
                <c:pt idx="4020">
                  <c:v>2.02608</c:v>
                </c:pt>
                <c:pt idx="4021">
                  <c:v>2.026584</c:v>
                </c:pt>
                <c:pt idx="4022">
                  <c:v>2.027088</c:v>
                </c:pt>
                <c:pt idx="4023">
                  <c:v>2.027592</c:v>
                </c:pt>
                <c:pt idx="4024">
                  <c:v>2.028096</c:v>
                </c:pt>
                <c:pt idx="4025">
                  <c:v>2.0286</c:v>
                </c:pt>
                <c:pt idx="4026">
                  <c:v>2.029104</c:v>
                </c:pt>
                <c:pt idx="4027">
                  <c:v>2.029608</c:v>
                </c:pt>
                <c:pt idx="4028">
                  <c:v>2.030112</c:v>
                </c:pt>
                <c:pt idx="4029">
                  <c:v>2.030616</c:v>
                </c:pt>
                <c:pt idx="4030">
                  <c:v>2.03112</c:v>
                </c:pt>
                <c:pt idx="4031">
                  <c:v>2.031624</c:v>
                </c:pt>
                <c:pt idx="4032">
                  <c:v>2.032128</c:v>
                </c:pt>
                <c:pt idx="4033">
                  <c:v>2.032632</c:v>
                </c:pt>
                <c:pt idx="4034">
                  <c:v>2.033136</c:v>
                </c:pt>
                <c:pt idx="4035">
                  <c:v>2.03364</c:v>
                </c:pt>
                <c:pt idx="4036">
                  <c:v>2.034144</c:v>
                </c:pt>
                <c:pt idx="4037">
                  <c:v>2.034648</c:v>
                </c:pt>
                <c:pt idx="4038">
                  <c:v>2.035152</c:v>
                </c:pt>
                <c:pt idx="4039">
                  <c:v>2.035656</c:v>
                </c:pt>
                <c:pt idx="4040">
                  <c:v>2.03616</c:v>
                </c:pt>
                <c:pt idx="4041">
                  <c:v>2.036664</c:v>
                </c:pt>
                <c:pt idx="4042">
                  <c:v>2.037168</c:v>
                </c:pt>
                <c:pt idx="4043">
                  <c:v>2.037672</c:v>
                </c:pt>
                <c:pt idx="4044">
                  <c:v>2.038176</c:v>
                </c:pt>
                <c:pt idx="4045">
                  <c:v>2.03868</c:v>
                </c:pt>
                <c:pt idx="4046">
                  <c:v>2.039184</c:v>
                </c:pt>
                <c:pt idx="4047">
                  <c:v>2.039688</c:v>
                </c:pt>
                <c:pt idx="4048">
                  <c:v>2.040192</c:v>
                </c:pt>
                <c:pt idx="4049">
                  <c:v>2.040696</c:v>
                </c:pt>
                <c:pt idx="4050">
                  <c:v>2.0412</c:v>
                </c:pt>
                <c:pt idx="4051">
                  <c:v>2.041704</c:v>
                </c:pt>
                <c:pt idx="4052">
                  <c:v>2.042208</c:v>
                </c:pt>
                <c:pt idx="4053">
                  <c:v>2.042712</c:v>
                </c:pt>
                <c:pt idx="4054">
                  <c:v>2.043216</c:v>
                </c:pt>
                <c:pt idx="4055">
                  <c:v>2.04372</c:v>
                </c:pt>
                <c:pt idx="4056">
                  <c:v>2.044224</c:v>
                </c:pt>
                <c:pt idx="4057">
                  <c:v>2.044728</c:v>
                </c:pt>
                <c:pt idx="4058">
                  <c:v>2.045232</c:v>
                </c:pt>
                <c:pt idx="4059">
                  <c:v>2.045736</c:v>
                </c:pt>
                <c:pt idx="4060">
                  <c:v>2.04624</c:v>
                </c:pt>
                <c:pt idx="4061">
                  <c:v>2.046744</c:v>
                </c:pt>
                <c:pt idx="4062">
                  <c:v>2.047248</c:v>
                </c:pt>
                <c:pt idx="4063">
                  <c:v>2.047752</c:v>
                </c:pt>
                <c:pt idx="4064">
                  <c:v>2.048256</c:v>
                </c:pt>
                <c:pt idx="4065">
                  <c:v>2.04876</c:v>
                </c:pt>
                <c:pt idx="4066">
                  <c:v>2.049264</c:v>
                </c:pt>
                <c:pt idx="4067">
                  <c:v>2.049768</c:v>
                </c:pt>
                <c:pt idx="4068">
                  <c:v>2.050272</c:v>
                </c:pt>
                <c:pt idx="4069">
                  <c:v>2.050776</c:v>
                </c:pt>
                <c:pt idx="4070">
                  <c:v>2.05128</c:v>
                </c:pt>
                <c:pt idx="4071">
                  <c:v>2.051784</c:v>
                </c:pt>
                <c:pt idx="4072">
                  <c:v>2.052288</c:v>
                </c:pt>
                <c:pt idx="4073">
                  <c:v>2.052792</c:v>
                </c:pt>
                <c:pt idx="4074">
                  <c:v>2.053296</c:v>
                </c:pt>
                <c:pt idx="4075">
                  <c:v>2.0538</c:v>
                </c:pt>
                <c:pt idx="4076">
                  <c:v>2.054304</c:v>
                </c:pt>
                <c:pt idx="4077">
                  <c:v>2.054808</c:v>
                </c:pt>
                <c:pt idx="4078">
                  <c:v>2.055312</c:v>
                </c:pt>
                <c:pt idx="4079">
                  <c:v>2.055816</c:v>
                </c:pt>
                <c:pt idx="4080">
                  <c:v>2.05632</c:v>
                </c:pt>
                <c:pt idx="4081">
                  <c:v>2.056824</c:v>
                </c:pt>
                <c:pt idx="4082">
                  <c:v>2.057328</c:v>
                </c:pt>
                <c:pt idx="4083">
                  <c:v>2.057832</c:v>
                </c:pt>
                <c:pt idx="4084">
                  <c:v>2.058336</c:v>
                </c:pt>
                <c:pt idx="4085">
                  <c:v>2.05884</c:v>
                </c:pt>
                <c:pt idx="4086">
                  <c:v>2.059344</c:v>
                </c:pt>
                <c:pt idx="4087">
                  <c:v>2.059848</c:v>
                </c:pt>
                <c:pt idx="4088">
                  <c:v>2.060352</c:v>
                </c:pt>
                <c:pt idx="4089">
                  <c:v>2.060856</c:v>
                </c:pt>
                <c:pt idx="4090">
                  <c:v>2.06136</c:v>
                </c:pt>
                <c:pt idx="4091">
                  <c:v>2.061864</c:v>
                </c:pt>
                <c:pt idx="4092">
                  <c:v>2.062368</c:v>
                </c:pt>
                <c:pt idx="4093">
                  <c:v>2.062872</c:v>
                </c:pt>
                <c:pt idx="4094">
                  <c:v>2.063376</c:v>
                </c:pt>
                <c:pt idx="4095">
                  <c:v>2.06388</c:v>
                </c:pt>
                <c:pt idx="4096">
                  <c:v>2.064384</c:v>
                </c:pt>
                <c:pt idx="4097">
                  <c:v>2.064888</c:v>
                </c:pt>
                <c:pt idx="4098">
                  <c:v>2.065392</c:v>
                </c:pt>
                <c:pt idx="4099">
                  <c:v>2.065896</c:v>
                </c:pt>
                <c:pt idx="4100">
                  <c:v>2.0664</c:v>
                </c:pt>
                <c:pt idx="4101">
                  <c:v>2.066904</c:v>
                </c:pt>
                <c:pt idx="4102">
                  <c:v>2.067408</c:v>
                </c:pt>
                <c:pt idx="4103">
                  <c:v>2.067912</c:v>
                </c:pt>
                <c:pt idx="4104">
                  <c:v>2.068416</c:v>
                </c:pt>
                <c:pt idx="4105">
                  <c:v>2.06892</c:v>
                </c:pt>
                <c:pt idx="4106">
                  <c:v>2.069424</c:v>
                </c:pt>
                <c:pt idx="4107">
                  <c:v>2.069928</c:v>
                </c:pt>
                <c:pt idx="4108">
                  <c:v>2.070432</c:v>
                </c:pt>
                <c:pt idx="4109">
                  <c:v>2.070936</c:v>
                </c:pt>
                <c:pt idx="4110">
                  <c:v>2.07144</c:v>
                </c:pt>
                <c:pt idx="4111">
                  <c:v>2.071944</c:v>
                </c:pt>
                <c:pt idx="4112">
                  <c:v>2.072448</c:v>
                </c:pt>
                <c:pt idx="4113">
                  <c:v>2.072952</c:v>
                </c:pt>
                <c:pt idx="4114">
                  <c:v>2.073456</c:v>
                </c:pt>
                <c:pt idx="4115">
                  <c:v>2.07396</c:v>
                </c:pt>
                <c:pt idx="4116">
                  <c:v>2.074464</c:v>
                </c:pt>
                <c:pt idx="4117">
                  <c:v>2.074968</c:v>
                </c:pt>
                <c:pt idx="4118">
                  <c:v>2.075472</c:v>
                </c:pt>
                <c:pt idx="4119">
                  <c:v>2.075976</c:v>
                </c:pt>
                <c:pt idx="4120">
                  <c:v>2.07648</c:v>
                </c:pt>
                <c:pt idx="4121">
                  <c:v>2.076984</c:v>
                </c:pt>
                <c:pt idx="4122">
                  <c:v>2.077488</c:v>
                </c:pt>
                <c:pt idx="4123">
                  <c:v>2.077992</c:v>
                </c:pt>
                <c:pt idx="4124">
                  <c:v>2.078496</c:v>
                </c:pt>
                <c:pt idx="4125">
                  <c:v>2.079</c:v>
                </c:pt>
                <c:pt idx="4126">
                  <c:v>2.079504</c:v>
                </c:pt>
                <c:pt idx="4127">
                  <c:v>2.080008</c:v>
                </c:pt>
                <c:pt idx="4128">
                  <c:v>2.080512</c:v>
                </c:pt>
                <c:pt idx="4129">
                  <c:v>2.081016</c:v>
                </c:pt>
                <c:pt idx="4130">
                  <c:v>2.08152</c:v>
                </c:pt>
                <c:pt idx="4131">
                  <c:v>2.082024</c:v>
                </c:pt>
                <c:pt idx="4132">
                  <c:v>2.082528</c:v>
                </c:pt>
                <c:pt idx="4133">
                  <c:v>2.083032</c:v>
                </c:pt>
                <c:pt idx="4134">
                  <c:v>2.083536</c:v>
                </c:pt>
                <c:pt idx="4135">
                  <c:v>2.08404</c:v>
                </c:pt>
                <c:pt idx="4136">
                  <c:v>2.084544</c:v>
                </c:pt>
                <c:pt idx="4137">
                  <c:v>2.085048</c:v>
                </c:pt>
                <c:pt idx="4138">
                  <c:v>2.085552</c:v>
                </c:pt>
                <c:pt idx="4139">
                  <c:v>2.086056</c:v>
                </c:pt>
                <c:pt idx="4140">
                  <c:v>2.08656</c:v>
                </c:pt>
                <c:pt idx="4141">
                  <c:v>2.087064</c:v>
                </c:pt>
                <c:pt idx="4142">
                  <c:v>2.087568</c:v>
                </c:pt>
                <c:pt idx="4143">
                  <c:v>2.088072</c:v>
                </c:pt>
                <c:pt idx="4144">
                  <c:v>2.088576</c:v>
                </c:pt>
                <c:pt idx="4145">
                  <c:v>2.08908</c:v>
                </c:pt>
                <c:pt idx="4146">
                  <c:v>2.089584</c:v>
                </c:pt>
                <c:pt idx="4147">
                  <c:v>2.090088</c:v>
                </c:pt>
                <c:pt idx="4148">
                  <c:v>2.090592</c:v>
                </c:pt>
                <c:pt idx="4149">
                  <c:v>2.091096</c:v>
                </c:pt>
                <c:pt idx="4150">
                  <c:v>2.0916</c:v>
                </c:pt>
                <c:pt idx="4151">
                  <c:v>2.092104</c:v>
                </c:pt>
                <c:pt idx="4152">
                  <c:v>2.092608</c:v>
                </c:pt>
                <c:pt idx="4153">
                  <c:v>2.093112</c:v>
                </c:pt>
                <c:pt idx="4154">
                  <c:v>2.093616</c:v>
                </c:pt>
                <c:pt idx="4155">
                  <c:v>2.09412</c:v>
                </c:pt>
                <c:pt idx="4156">
                  <c:v>2.094624</c:v>
                </c:pt>
                <c:pt idx="4157">
                  <c:v>2.095128</c:v>
                </c:pt>
                <c:pt idx="4158">
                  <c:v>2.095632</c:v>
                </c:pt>
                <c:pt idx="4159">
                  <c:v>2.096136</c:v>
                </c:pt>
                <c:pt idx="4160">
                  <c:v>2.09664</c:v>
                </c:pt>
                <c:pt idx="4161">
                  <c:v>2.097144</c:v>
                </c:pt>
                <c:pt idx="4162">
                  <c:v>2.097648</c:v>
                </c:pt>
                <c:pt idx="4163">
                  <c:v>2.098152</c:v>
                </c:pt>
                <c:pt idx="4164">
                  <c:v>2.098656</c:v>
                </c:pt>
                <c:pt idx="4165">
                  <c:v>2.09916</c:v>
                </c:pt>
                <c:pt idx="4166">
                  <c:v>2.099664</c:v>
                </c:pt>
                <c:pt idx="4167">
                  <c:v>2.100168</c:v>
                </c:pt>
                <c:pt idx="4168">
                  <c:v>2.100672</c:v>
                </c:pt>
                <c:pt idx="4169">
                  <c:v>2.101176</c:v>
                </c:pt>
                <c:pt idx="4170">
                  <c:v>2.10168</c:v>
                </c:pt>
                <c:pt idx="4171">
                  <c:v>2.102184</c:v>
                </c:pt>
                <c:pt idx="4172">
                  <c:v>2.102688</c:v>
                </c:pt>
                <c:pt idx="4173">
                  <c:v>2.103192</c:v>
                </c:pt>
                <c:pt idx="4174">
                  <c:v>2.103696</c:v>
                </c:pt>
                <c:pt idx="4175">
                  <c:v>2.1042</c:v>
                </c:pt>
                <c:pt idx="4176">
                  <c:v>2.104704</c:v>
                </c:pt>
                <c:pt idx="4177">
                  <c:v>2.105208</c:v>
                </c:pt>
                <c:pt idx="4178">
                  <c:v>2.105712</c:v>
                </c:pt>
                <c:pt idx="4179">
                  <c:v>2.106216</c:v>
                </c:pt>
                <c:pt idx="4180">
                  <c:v>2.10672</c:v>
                </c:pt>
                <c:pt idx="4181">
                  <c:v>2.107224</c:v>
                </c:pt>
                <c:pt idx="4182">
                  <c:v>2.107728</c:v>
                </c:pt>
                <c:pt idx="4183">
                  <c:v>2.108232</c:v>
                </c:pt>
                <c:pt idx="4184">
                  <c:v>2.108736</c:v>
                </c:pt>
                <c:pt idx="4185">
                  <c:v>2.10924</c:v>
                </c:pt>
                <c:pt idx="4186">
                  <c:v>2.109744</c:v>
                </c:pt>
                <c:pt idx="4187">
                  <c:v>2.110248</c:v>
                </c:pt>
                <c:pt idx="4188">
                  <c:v>2.110752</c:v>
                </c:pt>
                <c:pt idx="4189">
                  <c:v>2.111256</c:v>
                </c:pt>
                <c:pt idx="4190">
                  <c:v>2.11176</c:v>
                </c:pt>
                <c:pt idx="4191">
                  <c:v>2.112264</c:v>
                </c:pt>
                <c:pt idx="4192">
                  <c:v>2.112768</c:v>
                </c:pt>
                <c:pt idx="4193">
                  <c:v>2.113272</c:v>
                </c:pt>
                <c:pt idx="4194">
                  <c:v>2.113776</c:v>
                </c:pt>
                <c:pt idx="4195">
                  <c:v>2.11428</c:v>
                </c:pt>
                <c:pt idx="4196">
                  <c:v>2.114784</c:v>
                </c:pt>
                <c:pt idx="4197">
                  <c:v>2.115288</c:v>
                </c:pt>
                <c:pt idx="4198">
                  <c:v>2.115792</c:v>
                </c:pt>
                <c:pt idx="4199">
                  <c:v>2.116296</c:v>
                </c:pt>
                <c:pt idx="4200">
                  <c:v>2.1168</c:v>
                </c:pt>
                <c:pt idx="4201">
                  <c:v>2.117304</c:v>
                </c:pt>
                <c:pt idx="4202">
                  <c:v>2.117808</c:v>
                </c:pt>
                <c:pt idx="4203">
                  <c:v>2.118312</c:v>
                </c:pt>
                <c:pt idx="4204">
                  <c:v>2.118816</c:v>
                </c:pt>
                <c:pt idx="4205">
                  <c:v>2.11932</c:v>
                </c:pt>
                <c:pt idx="4206">
                  <c:v>2.119824</c:v>
                </c:pt>
                <c:pt idx="4207">
                  <c:v>2.120328</c:v>
                </c:pt>
                <c:pt idx="4208">
                  <c:v>2.120832</c:v>
                </c:pt>
                <c:pt idx="4209">
                  <c:v>2.121336</c:v>
                </c:pt>
                <c:pt idx="4210">
                  <c:v>2.12184</c:v>
                </c:pt>
                <c:pt idx="4211">
                  <c:v>2.122344</c:v>
                </c:pt>
                <c:pt idx="4212">
                  <c:v>2.122848</c:v>
                </c:pt>
                <c:pt idx="4213">
                  <c:v>2.123352</c:v>
                </c:pt>
                <c:pt idx="4214">
                  <c:v>2.123856</c:v>
                </c:pt>
                <c:pt idx="4215">
                  <c:v>2.12436</c:v>
                </c:pt>
                <c:pt idx="4216">
                  <c:v>2.124864</c:v>
                </c:pt>
                <c:pt idx="4217">
                  <c:v>2.125368</c:v>
                </c:pt>
                <c:pt idx="4218">
                  <c:v>2.125872</c:v>
                </c:pt>
                <c:pt idx="4219">
                  <c:v>2.126376</c:v>
                </c:pt>
                <c:pt idx="4220">
                  <c:v>2.12688</c:v>
                </c:pt>
                <c:pt idx="4221">
                  <c:v>2.127384</c:v>
                </c:pt>
                <c:pt idx="4222">
                  <c:v>2.127888</c:v>
                </c:pt>
                <c:pt idx="4223">
                  <c:v>2.128392</c:v>
                </c:pt>
                <c:pt idx="4224">
                  <c:v>2.128896</c:v>
                </c:pt>
                <c:pt idx="4225">
                  <c:v>2.1294</c:v>
                </c:pt>
                <c:pt idx="4226">
                  <c:v>2.129904</c:v>
                </c:pt>
                <c:pt idx="4227">
                  <c:v>2.130408</c:v>
                </c:pt>
                <c:pt idx="4228">
                  <c:v>2.130912</c:v>
                </c:pt>
                <c:pt idx="4229">
                  <c:v>2.131416</c:v>
                </c:pt>
                <c:pt idx="4230">
                  <c:v>2.13192</c:v>
                </c:pt>
                <c:pt idx="4231">
                  <c:v>2.132424</c:v>
                </c:pt>
                <c:pt idx="4232">
                  <c:v>2.132928</c:v>
                </c:pt>
                <c:pt idx="4233">
                  <c:v>2.133432</c:v>
                </c:pt>
                <c:pt idx="4234">
                  <c:v>2.133936</c:v>
                </c:pt>
                <c:pt idx="4235">
                  <c:v>2.13444</c:v>
                </c:pt>
                <c:pt idx="4236">
                  <c:v>2.134944</c:v>
                </c:pt>
                <c:pt idx="4237">
                  <c:v>2.135448</c:v>
                </c:pt>
                <c:pt idx="4238">
                  <c:v>2.135952</c:v>
                </c:pt>
                <c:pt idx="4239">
                  <c:v>2.136456</c:v>
                </c:pt>
                <c:pt idx="4240">
                  <c:v>2.13696</c:v>
                </c:pt>
                <c:pt idx="4241">
                  <c:v>2.137464</c:v>
                </c:pt>
                <c:pt idx="4242">
                  <c:v>2.137968</c:v>
                </c:pt>
                <c:pt idx="4243">
                  <c:v>2.138472</c:v>
                </c:pt>
                <c:pt idx="4244">
                  <c:v>2.138976</c:v>
                </c:pt>
                <c:pt idx="4245">
                  <c:v>2.13948</c:v>
                </c:pt>
                <c:pt idx="4246">
                  <c:v>2.139984</c:v>
                </c:pt>
                <c:pt idx="4247">
                  <c:v>2.140488</c:v>
                </c:pt>
                <c:pt idx="4248">
                  <c:v>2.140992</c:v>
                </c:pt>
                <c:pt idx="4249">
                  <c:v>2.141496</c:v>
                </c:pt>
                <c:pt idx="4250">
                  <c:v>2.142</c:v>
                </c:pt>
                <c:pt idx="4251">
                  <c:v>2.142504</c:v>
                </c:pt>
                <c:pt idx="4252">
                  <c:v>2.143008</c:v>
                </c:pt>
                <c:pt idx="4253">
                  <c:v>2.143512</c:v>
                </c:pt>
                <c:pt idx="4254">
                  <c:v>2.144016</c:v>
                </c:pt>
                <c:pt idx="4255">
                  <c:v>2.14452</c:v>
                </c:pt>
                <c:pt idx="4256">
                  <c:v>2.145024</c:v>
                </c:pt>
                <c:pt idx="4257">
                  <c:v>2.145528</c:v>
                </c:pt>
                <c:pt idx="4258">
                  <c:v>2.146032</c:v>
                </c:pt>
                <c:pt idx="4259">
                  <c:v>2.146536</c:v>
                </c:pt>
                <c:pt idx="4260">
                  <c:v>2.14704</c:v>
                </c:pt>
                <c:pt idx="4261">
                  <c:v>2.147544</c:v>
                </c:pt>
                <c:pt idx="4262">
                  <c:v>2.148048</c:v>
                </c:pt>
                <c:pt idx="4263">
                  <c:v>2.148552</c:v>
                </c:pt>
                <c:pt idx="4264">
                  <c:v>2.149056</c:v>
                </c:pt>
                <c:pt idx="4265">
                  <c:v>2.14956</c:v>
                </c:pt>
                <c:pt idx="4266">
                  <c:v>2.150064</c:v>
                </c:pt>
                <c:pt idx="4267">
                  <c:v>2.150568</c:v>
                </c:pt>
                <c:pt idx="4268">
                  <c:v>2.151072</c:v>
                </c:pt>
                <c:pt idx="4269">
                  <c:v>2.151576</c:v>
                </c:pt>
                <c:pt idx="4270">
                  <c:v>2.15208</c:v>
                </c:pt>
                <c:pt idx="4271">
                  <c:v>2.152584</c:v>
                </c:pt>
                <c:pt idx="4272">
                  <c:v>2.153088</c:v>
                </c:pt>
                <c:pt idx="4273">
                  <c:v>2.153592</c:v>
                </c:pt>
                <c:pt idx="4274">
                  <c:v>2.154096</c:v>
                </c:pt>
                <c:pt idx="4275">
                  <c:v>2.1546</c:v>
                </c:pt>
                <c:pt idx="4276">
                  <c:v>2.155104</c:v>
                </c:pt>
                <c:pt idx="4277">
                  <c:v>2.155608</c:v>
                </c:pt>
                <c:pt idx="4278">
                  <c:v>2.156112</c:v>
                </c:pt>
                <c:pt idx="4279">
                  <c:v>2.156616</c:v>
                </c:pt>
                <c:pt idx="4280">
                  <c:v>2.15712</c:v>
                </c:pt>
                <c:pt idx="4281">
                  <c:v>2.157624</c:v>
                </c:pt>
                <c:pt idx="4282">
                  <c:v>2.158128</c:v>
                </c:pt>
                <c:pt idx="4283">
                  <c:v>2.158632</c:v>
                </c:pt>
                <c:pt idx="4284">
                  <c:v>2.159136</c:v>
                </c:pt>
                <c:pt idx="4285">
                  <c:v>2.15964</c:v>
                </c:pt>
                <c:pt idx="4286">
                  <c:v>2.160144</c:v>
                </c:pt>
                <c:pt idx="4287">
                  <c:v>2.160648</c:v>
                </c:pt>
                <c:pt idx="4288">
                  <c:v>2.161152</c:v>
                </c:pt>
                <c:pt idx="4289">
                  <c:v>2.161656</c:v>
                </c:pt>
                <c:pt idx="4290">
                  <c:v>2.16216</c:v>
                </c:pt>
                <c:pt idx="4291">
                  <c:v>2.162664</c:v>
                </c:pt>
                <c:pt idx="4292">
                  <c:v>2.163168</c:v>
                </c:pt>
                <c:pt idx="4293">
                  <c:v>2.163672</c:v>
                </c:pt>
                <c:pt idx="4294">
                  <c:v>2.164176</c:v>
                </c:pt>
                <c:pt idx="4295">
                  <c:v>2.16468</c:v>
                </c:pt>
                <c:pt idx="4296">
                  <c:v>2.165184</c:v>
                </c:pt>
                <c:pt idx="4297">
                  <c:v>2.165688</c:v>
                </c:pt>
                <c:pt idx="4298">
                  <c:v>2.166192</c:v>
                </c:pt>
                <c:pt idx="4299">
                  <c:v>2.166696</c:v>
                </c:pt>
                <c:pt idx="4300">
                  <c:v>2.1672</c:v>
                </c:pt>
                <c:pt idx="4301">
                  <c:v>2.167704</c:v>
                </c:pt>
                <c:pt idx="4302">
                  <c:v>2.168208</c:v>
                </c:pt>
                <c:pt idx="4303">
                  <c:v>2.168712</c:v>
                </c:pt>
                <c:pt idx="4304">
                  <c:v>2.169216</c:v>
                </c:pt>
                <c:pt idx="4305">
                  <c:v>2.16972</c:v>
                </c:pt>
                <c:pt idx="4306">
                  <c:v>2.170224</c:v>
                </c:pt>
                <c:pt idx="4307">
                  <c:v>2.170728</c:v>
                </c:pt>
                <c:pt idx="4308">
                  <c:v>2.171232</c:v>
                </c:pt>
                <c:pt idx="4309">
                  <c:v>2.171736</c:v>
                </c:pt>
                <c:pt idx="4310">
                  <c:v>2.17224</c:v>
                </c:pt>
                <c:pt idx="4311">
                  <c:v>2.172744</c:v>
                </c:pt>
                <c:pt idx="4312">
                  <c:v>2.173248</c:v>
                </c:pt>
                <c:pt idx="4313">
                  <c:v>2.173752</c:v>
                </c:pt>
                <c:pt idx="4314">
                  <c:v>2.174256</c:v>
                </c:pt>
                <c:pt idx="4315">
                  <c:v>2.17476</c:v>
                </c:pt>
                <c:pt idx="4316">
                  <c:v>2.175264</c:v>
                </c:pt>
                <c:pt idx="4317">
                  <c:v>2.175768</c:v>
                </c:pt>
                <c:pt idx="4318">
                  <c:v>2.176272</c:v>
                </c:pt>
                <c:pt idx="4319">
                  <c:v>2.176776</c:v>
                </c:pt>
                <c:pt idx="4320">
                  <c:v>2.17728</c:v>
                </c:pt>
                <c:pt idx="4321">
                  <c:v>2.177784</c:v>
                </c:pt>
                <c:pt idx="4322">
                  <c:v>2.178288</c:v>
                </c:pt>
                <c:pt idx="4323">
                  <c:v>2.178792</c:v>
                </c:pt>
                <c:pt idx="4324">
                  <c:v>2.179296</c:v>
                </c:pt>
                <c:pt idx="4325">
                  <c:v>2.1798</c:v>
                </c:pt>
                <c:pt idx="4326">
                  <c:v>2.180304</c:v>
                </c:pt>
                <c:pt idx="4327">
                  <c:v>2.180808</c:v>
                </c:pt>
                <c:pt idx="4328">
                  <c:v>2.181312</c:v>
                </c:pt>
                <c:pt idx="4329">
                  <c:v>2.181816</c:v>
                </c:pt>
                <c:pt idx="4330">
                  <c:v>2.18232</c:v>
                </c:pt>
                <c:pt idx="4331">
                  <c:v>2.182824</c:v>
                </c:pt>
                <c:pt idx="4332">
                  <c:v>2.183328</c:v>
                </c:pt>
                <c:pt idx="4333">
                  <c:v>2.183832</c:v>
                </c:pt>
                <c:pt idx="4334">
                  <c:v>2.184336</c:v>
                </c:pt>
                <c:pt idx="4335">
                  <c:v>2.18484</c:v>
                </c:pt>
                <c:pt idx="4336">
                  <c:v>2.185344</c:v>
                </c:pt>
                <c:pt idx="4337">
                  <c:v>2.185848</c:v>
                </c:pt>
                <c:pt idx="4338">
                  <c:v>2.186352</c:v>
                </c:pt>
                <c:pt idx="4339">
                  <c:v>2.186856</c:v>
                </c:pt>
                <c:pt idx="4340">
                  <c:v>2.18736</c:v>
                </c:pt>
                <c:pt idx="4341">
                  <c:v>2.187864</c:v>
                </c:pt>
                <c:pt idx="4342">
                  <c:v>2.188368</c:v>
                </c:pt>
                <c:pt idx="4343">
                  <c:v>2.188872</c:v>
                </c:pt>
                <c:pt idx="4344">
                  <c:v>2.189376</c:v>
                </c:pt>
                <c:pt idx="4345">
                  <c:v>2.18988</c:v>
                </c:pt>
                <c:pt idx="4346">
                  <c:v>2.190384</c:v>
                </c:pt>
                <c:pt idx="4347">
                  <c:v>2.190888</c:v>
                </c:pt>
                <c:pt idx="4348">
                  <c:v>2.191392</c:v>
                </c:pt>
                <c:pt idx="4349">
                  <c:v>2.191896</c:v>
                </c:pt>
                <c:pt idx="4350">
                  <c:v>2.1924</c:v>
                </c:pt>
                <c:pt idx="4351">
                  <c:v>2.192904</c:v>
                </c:pt>
                <c:pt idx="4352">
                  <c:v>2.193408</c:v>
                </c:pt>
                <c:pt idx="4353">
                  <c:v>2.193912</c:v>
                </c:pt>
                <c:pt idx="4354">
                  <c:v>2.194416</c:v>
                </c:pt>
                <c:pt idx="4355">
                  <c:v>2.19492</c:v>
                </c:pt>
                <c:pt idx="4356">
                  <c:v>2.195424</c:v>
                </c:pt>
                <c:pt idx="4357">
                  <c:v>2.195928</c:v>
                </c:pt>
                <c:pt idx="4358">
                  <c:v>2.196432</c:v>
                </c:pt>
                <c:pt idx="4359">
                  <c:v>2.196936</c:v>
                </c:pt>
                <c:pt idx="4360">
                  <c:v>2.19744</c:v>
                </c:pt>
                <c:pt idx="4361">
                  <c:v>2.197944</c:v>
                </c:pt>
                <c:pt idx="4362">
                  <c:v>2.198448</c:v>
                </c:pt>
                <c:pt idx="4363">
                  <c:v>2.198952</c:v>
                </c:pt>
                <c:pt idx="4364">
                  <c:v>2.199456</c:v>
                </c:pt>
                <c:pt idx="4365">
                  <c:v>2.19996</c:v>
                </c:pt>
                <c:pt idx="4366">
                  <c:v>2.200464</c:v>
                </c:pt>
                <c:pt idx="4367">
                  <c:v>2.200968</c:v>
                </c:pt>
                <c:pt idx="4368">
                  <c:v>2.201472</c:v>
                </c:pt>
                <c:pt idx="4369">
                  <c:v>2.201976</c:v>
                </c:pt>
                <c:pt idx="4370">
                  <c:v>2.20248</c:v>
                </c:pt>
                <c:pt idx="4371">
                  <c:v>2.202984</c:v>
                </c:pt>
                <c:pt idx="4372">
                  <c:v>2.203488</c:v>
                </c:pt>
                <c:pt idx="4373">
                  <c:v>2.203992</c:v>
                </c:pt>
                <c:pt idx="4374">
                  <c:v>2.204496</c:v>
                </c:pt>
                <c:pt idx="4375">
                  <c:v>2.205</c:v>
                </c:pt>
                <c:pt idx="4376">
                  <c:v>2.205504</c:v>
                </c:pt>
                <c:pt idx="4377">
                  <c:v>2.206008</c:v>
                </c:pt>
                <c:pt idx="4378">
                  <c:v>2.206512</c:v>
                </c:pt>
                <c:pt idx="4379">
                  <c:v>2.207016</c:v>
                </c:pt>
                <c:pt idx="4380">
                  <c:v>2.20752</c:v>
                </c:pt>
                <c:pt idx="4381">
                  <c:v>2.208024</c:v>
                </c:pt>
                <c:pt idx="4382">
                  <c:v>2.208528</c:v>
                </c:pt>
                <c:pt idx="4383">
                  <c:v>2.209032</c:v>
                </c:pt>
                <c:pt idx="4384">
                  <c:v>2.209536</c:v>
                </c:pt>
                <c:pt idx="4385">
                  <c:v>2.21004</c:v>
                </c:pt>
                <c:pt idx="4386">
                  <c:v>2.210544</c:v>
                </c:pt>
                <c:pt idx="4387">
                  <c:v>2.211048</c:v>
                </c:pt>
                <c:pt idx="4388">
                  <c:v>2.211552</c:v>
                </c:pt>
                <c:pt idx="4389">
                  <c:v>2.212056</c:v>
                </c:pt>
                <c:pt idx="4390">
                  <c:v>2.21256</c:v>
                </c:pt>
                <c:pt idx="4391">
                  <c:v>2.213064</c:v>
                </c:pt>
                <c:pt idx="4392">
                  <c:v>2.213568</c:v>
                </c:pt>
                <c:pt idx="4393">
                  <c:v>2.214072</c:v>
                </c:pt>
                <c:pt idx="4394">
                  <c:v>2.214576</c:v>
                </c:pt>
                <c:pt idx="4395">
                  <c:v>2.21508</c:v>
                </c:pt>
                <c:pt idx="4396">
                  <c:v>2.215584</c:v>
                </c:pt>
                <c:pt idx="4397">
                  <c:v>2.216088</c:v>
                </c:pt>
                <c:pt idx="4398">
                  <c:v>2.216592</c:v>
                </c:pt>
                <c:pt idx="4399">
                  <c:v>2.217096</c:v>
                </c:pt>
                <c:pt idx="4400">
                  <c:v>2.2176</c:v>
                </c:pt>
                <c:pt idx="4401">
                  <c:v>2.218104</c:v>
                </c:pt>
                <c:pt idx="4402">
                  <c:v>2.218608</c:v>
                </c:pt>
                <c:pt idx="4403">
                  <c:v>2.219112</c:v>
                </c:pt>
                <c:pt idx="4404">
                  <c:v>2.219616</c:v>
                </c:pt>
                <c:pt idx="4405">
                  <c:v>2.22012</c:v>
                </c:pt>
                <c:pt idx="4406">
                  <c:v>2.220624</c:v>
                </c:pt>
                <c:pt idx="4407">
                  <c:v>2.221128</c:v>
                </c:pt>
                <c:pt idx="4408">
                  <c:v>2.221632</c:v>
                </c:pt>
                <c:pt idx="4409">
                  <c:v>2.222136</c:v>
                </c:pt>
                <c:pt idx="4410">
                  <c:v>2.22264</c:v>
                </c:pt>
                <c:pt idx="4411">
                  <c:v>2.223144</c:v>
                </c:pt>
                <c:pt idx="4412">
                  <c:v>2.223648</c:v>
                </c:pt>
                <c:pt idx="4413">
                  <c:v>2.224152</c:v>
                </c:pt>
                <c:pt idx="4414">
                  <c:v>2.224656</c:v>
                </c:pt>
                <c:pt idx="4415">
                  <c:v>2.22516</c:v>
                </c:pt>
                <c:pt idx="4416">
                  <c:v>2.225664</c:v>
                </c:pt>
                <c:pt idx="4417">
                  <c:v>2.226168</c:v>
                </c:pt>
                <c:pt idx="4418">
                  <c:v>2.226672</c:v>
                </c:pt>
                <c:pt idx="4419">
                  <c:v>2.227176</c:v>
                </c:pt>
                <c:pt idx="4420">
                  <c:v>2.22768</c:v>
                </c:pt>
                <c:pt idx="4421">
                  <c:v>2.228184</c:v>
                </c:pt>
                <c:pt idx="4422">
                  <c:v>2.228688</c:v>
                </c:pt>
                <c:pt idx="4423">
                  <c:v>2.229192</c:v>
                </c:pt>
                <c:pt idx="4424">
                  <c:v>2.229696</c:v>
                </c:pt>
                <c:pt idx="4425">
                  <c:v>2.2302</c:v>
                </c:pt>
                <c:pt idx="4426">
                  <c:v>2.230704</c:v>
                </c:pt>
                <c:pt idx="4427">
                  <c:v>2.231208</c:v>
                </c:pt>
                <c:pt idx="4428">
                  <c:v>2.231712</c:v>
                </c:pt>
                <c:pt idx="4429">
                  <c:v>2.232216</c:v>
                </c:pt>
                <c:pt idx="4430">
                  <c:v>2.23272</c:v>
                </c:pt>
                <c:pt idx="4431">
                  <c:v>2.233224</c:v>
                </c:pt>
                <c:pt idx="4432">
                  <c:v>2.233728</c:v>
                </c:pt>
                <c:pt idx="4433">
                  <c:v>2.234232</c:v>
                </c:pt>
                <c:pt idx="4434">
                  <c:v>2.234736</c:v>
                </c:pt>
                <c:pt idx="4435">
                  <c:v>2.23524</c:v>
                </c:pt>
                <c:pt idx="4436">
                  <c:v>2.235744</c:v>
                </c:pt>
                <c:pt idx="4437">
                  <c:v>2.236248</c:v>
                </c:pt>
                <c:pt idx="4438">
                  <c:v>2.236752</c:v>
                </c:pt>
                <c:pt idx="4439">
                  <c:v>2.237256</c:v>
                </c:pt>
                <c:pt idx="4440">
                  <c:v>2.23776</c:v>
                </c:pt>
                <c:pt idx="4441">
                  <c:v>2.238264</c:v>
                </c:pt>
                <c:pt idx="4442">
                  <c:v>2.238768</c:v>
                </c:pt>
                <c:pt idx="4443">
                  <c:v>2.239272</c:v>
                </c:pt>
                <c:pt idx="4444">
                  <c:v>2.239776</c:v>
                </c:pt>
                <c:pt idx="4445">
                  <c:v>2.24028</c:v>
                </c:pt>
                <c:pt idx="4446">
                  <c:v>2.240784</c:v>
                </c:pt>
                <c:pt idx="4447">
                  <c:v>2.241288</c:v>
                </c:pt>
                <c:pt idx="4448">
                  <c:v>2.241792</c:v>
                </c:pt>
                <c:pt idx="4449">
                  <c:v>2.242296</c:v>
                </c:pt>
                <c:pt idx="4450">
                  <c:v>2.2428</c:v>
                </c:pt>
                <c:pt idx="4451">
                  <c:v>2.243304</c:v>
                </c:pt>
                <c:pt idx="4452">
                  <c:v>2.243808</c:v>
                </c:pt>
                <c:pt idx="4453">
                  <c:v>2.244312</c:v>
                </c:pt>
                <c:pt idx="4454">
                  <c:v>2.244816</c:v>
                </c:pt>
                <c:pt idx="4455">
                  <c:v>2.24532</c:v>
                </c:pt>
                <c:pt idx="4456">
                  <c:v>2.245824</c:v>
                </c:pt>
                <c:pt idx="4457">
                  <c:v>2.246328</c:v>
                </c:pt>
                <c:pt idx="4458">
                  <c:v>2.246832</c:v>
                </c:pt>
                <c:pt idx="4459">
                  <c:v>2.247336</c:v>
                </c:pt>
                <c:pt idx="4460">
                  <c:v>2.24784</c:v>
                </c:pt>
                <c:pt idx="4461">
                  <c:v>2.248344</c:v>
                </c:pt>
                <c:pt idx="4462">
                  <c:v>2.248848</c:v>
                </c:pt>
                <c:pt idx="4463">
                  <c:v>2.249352</c:v>
                </c:pt>
                <c:pt idx="4464">
                  <c:v>2.249856</c:v>
                </c:pt>
                <c:pt idx="4465">
                  <c:v>2.25036</c:v>
                </c:pt>
                <c:pt idx="4466">
                  <c:v>2.250864</c:v>
                </c:pt>
                <c:pt idx="4467">
                  <c:v>2.251368</c:v>
                </c:pt>
                <c:pt idx="4468">
                  <c:v>2.251872</c:v>
                </c:pt>
                <c:pt idx="4469">
                  <c:v>2.252376</c:v>
                </c:pt>
                <c:pt idx="4470">
                  <c:v>2.25288</c:v>
                </c:pt>
                <c:pt idx="4471">
                  <c:v>2.253384</c:v>
                </c:pt>
                <c:pt idx="4472">
                  <c:v>2.253888</c:v>
                </c:pt>
                <c:pt idx="4473">
                  <c:v>2.254392</c:v>
                </c:pt>
                <c:pt idx="4474">
                  <c:v>2.254896</c:v>
                </c:pt>
                <c:pt idx="4475">
                  <c:v>2.2554</c:v>
                </c:pt>
                <c:pt idx="4476">
                  <c:v>2.255904</c:v>
                </c:pt>
                <c:pt idx="4477">
                  <c:v>2.256408</c:v>
                </c:pt>
                <c:pt idx="4478">
                  <c:v>2.256912</c:v>
                </c:pt>
                <c:pt idx="4479">
                  <c:v>2.257416</c:v>
                </c:pt>
                <c:pt idx="4480">
                  <c:v>2.25792</c:v>
                </c:pt>
                <c:pt idx="4481">
                  <c:v>2.258424</c:v>
                </c:pt>
                <c:pt idx="4482">
                  <c:v>2.258928</c:v>
                </c:pt>
                <c:pt idx="4483">
                  <c:v>2.259432</c:v>
                </c:pt>
                <c:pt idx="4484">
                  <c:v>2.259936</c:v>
                </c:pt>
                <c:pt idx="4485">
                  <c:v>2.26044</c:v>
                </c:pt>
                <c:pt idx="4486">
                  <c:v>2.260944</c:v>
                </c:pt>
                <c:pt idx="4487">
                  <c:v>2.261448</c:v>
                </c:pt>
                <c:pt idx="4488">
                  <c:v>2.261952</c:v>
                </c:pt>
                <c:pt idx="4489">
                  <c:v>2.262456</c:v>
                </c:pt>
                <c:pt idx="4490">
                  <c:v>2.26296</c:v>
                </c:pt>
                <c:pt idx="4491">
                  <c:v>2.263464</c:v>
                </c:pt>
                <c:pt idx="4492">
                  <c:v>2.263968</c:v>
                </c:pt>
                <c:pt idx="4493">
                  <c:v>2.264472</c:v>
                </c:pt>
                <c:pt idx="4494">
                  <c:v>2.264976</c:v>
                </c:pt>
                <c:pt idx="4495">
                  <c:v>2.26548</c:v>
                </c:pt>
                <c:pt idx="4496">
                  <c:v>2.265984</c:v>
                </c:pt>
                <c:pt idx="4497">
                  <c:v>2.266488</c:v>
                </c:pt>
                <c:pt idx="4498">
                  <c:v>2.266992</c:v>
                </c:pt>
                <c:pt idx="4499">
                  <c:v>2.267496</c:v>
                </c:pt>
                <c:pt idx="4500">
                  <c:v>2.268</c:v>
                </c:pt>
                <c:pt idx="4501">
                  <c:v>2.268504</c:v>
                </c:pt>
                <c:pt idx="4502">
                  <c:v>2.269008</c:v>
                </c:pt>
                <c:pt idx="4503">
                  <c:v>2.269512</c:v>
                </c:pt>
                <c:pt idx="4504">
                  <c:v>2.270016</c:v>
                </c:pt>
                <c:pt idx="4505">
                  <c:v>2.27052</c:v>
                </c:pt>
                <c:pt idx="4506">
                  <c:v>2.271024</c:v>
                </c:pt>
                <c:pt idx="4507">
                  <c:v>2.271528</c:v>
                </c:pt>
                <c:pt idx="4508">
                  <c:v>2.272032</c:v>
                </c:pt>
                <c:pt idx="4509">
                  <c:v>2.272536</c:v>
                </c:pt>
                <c:pt idx="4510">
                  <c:v>2.27304</c:v>
                </c:pt>
                <c:pt idx="4511">
                  <c:v>2.273544</c:v>
                </c:pt>
                <c:pt idx="4512">
                  <c:v>2.274048</c:v>
                </c:pt>
                <c:pt idx="4513">
                  <c:v>2.274552</c:v>
                </c:pt>
                <c:pt idx="4514">
                  <c:v>2.275056</c:v>
                </c:pt>
                <c:pt idx="4515">
                  <c:v>2.27556</c:v>
                </c:pt>
                <c:pt idx="4516">
                  <c:v>2.276064</c:v>
                </c:pt>
                <c:pt idx="4517">
                  <c:v>2.276568</c:v>
                </c:pt>
                <c:pt idx="4518">
                  <c:v>2.277072</c:v>
                </c:pt>
                <c:pt idx="4519">
                  <c:v>2.277576</c:v>
                </c:pt>
                <c:pt idx="4520">
                  <c:v>2.27808</c:v>
                </c:pt>
                <c:pt idx="4521">
                  <c:v>2.278584</c:v>
                </c:pt>
                <c:pt idx="4522">
                  <c:v>2.279088</c:v>
                </c:pt>
                <c:pt idx="4523">
                  <c:v>2.279592</c:v>
                </c:pt>
                <c:pt idx="4524">
                  <c:v>2.280096</c:v>
                </c:pt>
                <c:pt idx="4525">
                  <c:v>2.2806</c:v>
                </c:pt>
                <c:pt idx="4526">
                  <c:v>2.281104</c:v>
                </c:pt>
                <c:pt idx="4527">
                  <c:v>2.281608</c:v>
                </c:pt>
                <c:pt idx="4528">
                  <c:v>2.282112</c:v>
                </c:pt>
                <c:pt idx="4529">
                  <c:v>2.282616</c:v>
                </c:pt>
                <c:pt idx="4530">
                  <c:v>2.28312</c:v>
                </c:pt>
                <c:pt idx="4531">
                  <c:v>2.283624</c:v>
                </c:pt>
                <c:pt idx="4532">
                  <c:v>2.284128</c:v>
                </c:pt>
                <c:pt idx="4533">
                  <c:v>2.284632</c:v>
                </c:pt>
                <c:pt idx="4534">
                  <c:v>2.285136</c:v>
                </c:pt>
                <c:pt idx="4535">
                  <c:v>2.28564</c:v>
                </c:pt>
                <c:pt idx="4536">
                  <c:v>2.286144</c:v>
                </c:pt>
                <c:pt idx="4537">
                  <c:v>2.286648</c:v>
                </c:pt>
                <c:pt idx="4538">
                  <c:v>2.287152</c:v>
                </c:pt>
                <c:pt idx="4539">
                  <c:v>2.287656</c:v>
                </c:pt>
                <c:pt idx="4540">
                  <c:v>2.28816</c:v>
                </c:pt>
                <c:pt idx="4541">
                  <c:v>2.288664</c:v>
                </c:pt>
                <c:pt idx="4542">
                  <c:v>2.289168</c:v>
                </c:pt>
                <c:pt idx="4543">
                  <c:v>2.289672</c:v>
                </c:pt>
                <c:pt idx="4544">
                  <c:v>2.290176</c:v>
                </c:pt>
                <c:pt idx="4545">
                  <c:v>2.29068</c:v>
                </c:pt>
                <c:pt idx="4546">
                  <c:v>2.291184</c:v>
                </c:pt>
                <c:pt idx="4547">
                  <c:v>2.291688</c:v>
                </c:pt>
                <c:pt idx="4548">
                  <c:v>2.292192</c:v>
                </c:pt>
                <c:pt idx="4549">
                  <c:v>2.292696</c:v>
                </c:pt>
                <c:pt idx="4550">
                  <c:v>2.2932</c:v>
                </c:pt>
                <c:pt idx="4551">
                  <c:v>2.293704</c:v>
                </c:pt>
                <c:pt idx="4552">
                  <c:v>2.294208</c:v>
                </c:pt>
                <c:pt idx="4553">
                  <c:v>2.294712</c:v>
                </c:pt>
                <c:pt idx="4554">
                  <c:v>2.295216</c:v>
                </c:pt>
                <c:pt idx="4555">
                  <c:v>2.29572</c:v>
                </c:pt>
                <c:pt idx="4556">
                  <c:v>2.296224</c:v>
                </c:pt>
                <c:pt idx="4557">
                  <c:v>2.296728</c:v>
                </c:pt>
                <c:pt idx="4558">
                  <c:v>2.297232</c:v>
                </c:pt>
                <c:pt idx="4559">
                  <c:v>2.297736</c:v>
                </c:pt>
                <c:pt idx="4560">
                  <c:v>2.29824</c:v>
                </c:pt>
                <c:pt idx="4561">
                  <c:v>2.298744</c:v>
                </c:pt>
                <c:pt idx="4562">
                  <c:v>2.299248</c:v>
                </c:pt>
                <c:pt idx="4563">
                  <c:v>2.299752</c:v>
                </c:pt>
                <c:pt idx="4564">
                  <c:v>2.300256</c:v>
                </c:pt>
                <c:pt idx="4565">
                  <c:v>2.30076</c:v>
                </c:pt>
                <c:pt idx="4566">
                  <c:v>2.301264</c:v>
                </c:pt>
                <c:pt idx="4567">
                  <c:v>2.301768</c:v>
                </c:pt>
                <c:pt idx="4568">
                  <c:v>2.302272</c:v>
                </c:pt>
                <c:pt idx="4569">
                  <c:v>2.302776</c:v>
                </c:pt>
                <c:pt idx="4570">
                  <c:v>2.30328</c:v>
                </c:pt>
                <c:pt idx="4571">
                  <c:v>2.303784</c:v>
                </c:pt>
                <c:pt idx="4572">
                  <c:v>2.304288</c:v>
                </c:pt>
                <c:pt idx="4573">
                  <c:v>2.304792</c:v>
                </c:pt>
                <c:pt idx="4574">
                  <c:v>2.305296</c:v>
                </c:pt>
                <c:pt idx="4575">
                  <c:v>2.3058</c:v>
                </c:pt>
                <c:pt idx="4576">
                  <c:v>2.306304</c:v>
                </c:pt>
                <c:pt idx="4577">
                  <c:v>2.306808</c:v>
                </c:pt>
                <c:pt idx="4578">
                  <c:v>2.307312</c:v>
                </c:pt>
                <c:pt idx="4579">
                  <c:v>2.307816</c:v>
                </c:pt>
                <c:pt idx="4580">
                  <c:v>2.30832</c:v>
                </c:pt>
                <c:pt idx="4581">
                  <c:v>2.308824</c:v>
                </c:pt>
                <c:pt idx="4582">
                  <c:v>2.309328</c:v>
                </c:pt>
                <c:pt idx="4583">
                  <c:v>2.309832</c:v>
                </c:pt>
                <c:pt idx="4584">
                  <c:v>2.310336</c:v>
                </c:pt>
                <c:pt idx="4585">
                  <c:v>2.31084</c:v>
                </c:pt>
                <c:pt idx="4586">
                  <c:v>2.311344</c:v>
                </c:pt>
                <c:pt idx="4587">
                  <c:v>2.311848</c:v>
                </c:pt>
                <c:pt idx="4588">
                  <c:v>2.312352</c:v>
                </c:pt>
                <c:pt idx="4589">
                  <c:v>2.312856</c:v>
                </c:pt>
                <c:pt idx="4590">
                  <c:v>2.31336</c:v>
                </c:pt>
                <c:pt idx="4591">
                  <c:v>2.313864</c:v>
                </c:pt>
                <c:pt idx="4592">
                  <c:v>2.314368</c:v>
                </c:pt>
                <c:pt idx="4593">
                  <c:v>2.314872</c:v>
                </c:pt>
                <c:pt idx="4594">
                  <c:v>2.315376</c:v>
                </c:pt>
                <c:pt idx="4595">
                  <c:v>2.31588</c:v>
                </c:pt>
                <c:pt idx="4596">
                  <c:v>2.316384</c:v>
                </c:pt>
                <c:pt idx="4597">
                  <c:v>2.316888</c:v>
                </c:pt>
                <c:pt idx="4598">
                  <c:v>2.317392</c:v>
                </c:pt>
                <c:pt idx="4599">
                  <c:v>2.317896</c:v>
                </c:pt>
                <c:pt idx="4600">
                  <c:v>2.3184</c:v>
                </c:pt>
                <c:pt idx="4601">
                  <c:v>2.318904</c:v>
                </c:pt>
                <c:pt idx="4602">
                  <c:v>2.319408</c:v>
                </c:pt>
                <c:pt idx="4603">
                  <c:v>2.319912</c:v>
                </c:pt>
                <c:pt idx="4604">
                  <c:v>2.320416</c:v>
                </c:pt>
                <c:pt idx="4605">
                  <c:v>2.32092</c:v>
                </c:pt>
                <c:pt idx="4606">
                  <c:v>2.321424</c:v>
                </c:pt>
                <c:pt idx="4607">
                  <c:v>2.321928</c:v>
                </c:pt>
                <c:pt idx="4608">
                  <c:v>2.322432</c:v>
                </c:pt>
                <c:pt idx="4609">
                  <c:v>2.322936</c:v>
                </c:pt>
                <c:pt idx="4610">
                  <c:v>2.32344</c:v>
                </c:pt>
                <c:pt idx="4611">
                  <c:v>2.323944</c:v>
                </c:pt>
                <c:pt idx="4612">
                  <c:v>2.324448</c:v>
                </c:pt>
                <c:pt idx="4613">
                  <c:v>2.324952</c:v>
                </c:pt>
                <c:pt idx="4614">
                  <c:v>2.325456</c:v>
                </c:pt>
                <c:pt idx="4615">
                  <c:v>2.32596</c:v>
                </c:pt>
                <c:pt idx="4616">
                  <c:v>2.326464</c:v>
                </c:pt>
                <c:pt idx="4617">
                  <c:v>2.326968</c:v>
                </c:pt>
                <c:pt idx="4618">
                  <c:v>2.327472</c:v>
                </c:pt>
                <c:pt idx="4619">
                  <c:v>2.327976</c:v>
                </c:pt>
                <c:pt idx="4620">
                  <c:v>2.32848</c:v>
                </c:pt>
                <c:pt idx="4621">
                  <c:v>2.328984</c:v>
                </c:pt>
                <c:pt idx="4622">
                  <c:v>2.329488</c:v>
                </c:pt>
                <c:pt idx="4623">
                  <c:v>2.329992</c:v>
                </c:pt>
                <c:pt idx="4624">
                  <c:v>2.330496</c:v>
                </c:pt>
                <c:pt idx="4625">
                  <c:v>2.331</c:v>
                </c:pt>
                <c:pt idx="4626">
                  <c:v>2.331504</c:v>
                </c:pt>
                <c:pt idx="4627">
                  <c:v>2.332008</c:v>
                </c:pt>
                <c:pt idx="4628">
                  <c:v>2.332512</c:v>
                </c:pt>
                <c:pt idx="4629">
                  <c:v>2.333016</c:v>
                </c:pt>
                <c:pt idx="4630">
                  <c:v>2.33352</c:v>
                </c:pt>
                <c:pt idx="4631">
                  <c:v>2.334024</c:v>
                </c:pt>
                <c:pt idx="4632">
                  <c:v>2.334528</c:v>
                </c:pt>
                <c:pt idx="4633">
                  <c:v>2.335032</c:v>
                </c:pt>
                <c:pt idx="4634">
                  <c:v>2.335536</c:v>
                </c:pt>
                <c:pt idx="4635">
                  <c:v>2.33604</c:v>
                </c:pt>
                <c:pt idx="4636">
                  <c:v>2.336544</c:v>
                </c:pt>
                <c:pt idx="4637">
                  <c:v>2.337048</c:v>
                </c:pt>
                <c:pt idx="4638">
                  <c:v>2.337552</c:v>
                </c:pt>
                <c:pt idx="4639">
                  <c:v>2.338056</c:v>
                </c:pt>
                <c:pt idx="4640">
                  <c:v>2.33856</c:v>
                </c:pt>
                <c:pt idx="4641">
                  <c:v>2.339064</c:v>
                </c:pt>
                <c:pt idx="4642">
                  <c:v>2.339568</c:v>
                </c:pt>
                <c:pt idx="4643">
                  <c:v>2.340072</c:v>
                </c:pt>
                <c:pt idx="4644">
                  <c:v>2.340576</c:v>
                </c:pt>
                <c:pt idx="4645">
                  <c:v>2.34108</c:v>
                </c:pt>
                <c:pt idx="4646">
                  <c:v>2.341584</c:v>
                </c:pt>
                <c:pt idx="4647">
                  <c:v>2.342088</c:v>
                </c:pt>
                <c:pt idx="4648">
                  <c:v>2.342592</c:v>
                </c:pt>
                <c:pt idx="4649">
                  <c:v>2.343096</c:v>
                </c:pt>
                <c:pt idx="4650">
                  <c:v>2.3436</c:v>
                </c:pt>
                <c:pt idx="4651">
                  <c:v>2.344104</c:v>
                </c:pt>
                <c:pt idx="4652">
                  <c:v>2.344608</c:v>
                </c:pt>
                <c:pt idx="4653">
                  <c:v>2.345112</c:v>
                </c:pt>
                <c:pt idx="4654">
                  <c:v>2.345616</c:v>
                </c:pt>
                <c:pt idx="4655">
                  <c:v>2.34612</c:v>
                </c:pt>
                <c:pt idx="4656">
                  <c:v>2.346624</c:v>
                </c:pt>
                <c:pt idx="4657">
                  <c:v>2.347128</c:v>
                </c:pt>
                <c:pt idx="4658">
                  <c:v>2.347632</c:v>
                </c:pt>
                <c:pt idx="4659">
                  <c:v>2.348136</c:v>
                </c:pt>
                <c:pt idx="4660">
                  <c:v>2.34864</c:v>
                </c:pt>
                <c:pt idx="4661">
                  <c:v>2.349144</c:v>
                </c:pt>
                <c:pt idx="4662">
                  <c:v>2.349648</c:v>
                </c:pt>
                <c:pt idx="4663">
                  <c:v>2.350152</c:v>
                </c:pt>
                <c:pt idx="4664">
                  <c:v>2.350656</c:v>
                </c:pt>
                <c:pt idx="4665">
                  <c:v>2.35116</c:v>
                </c:pt>
                <c:pt idx="4666">
                  <c:v>2.351664</c:v>
                </c:pt>
                <c:pt idx="4667">
                  <c:v>2.352168</c:v>
                </c:pt>
                <c:pt idx="4668">
                  <c:v>2.352672</c:v>
                </c:pt>
                <c:pt idx="4669">
                  <c:v>2.353176</c:v>
                </c:pt>
                <c:pt idx="4670">
                  <c:v>2.35368</c:v>
                </c:pt>
                <c:pt idx="4671">
                  <c:v>2.354184</c:v>
                </c:pt>
                <c:pt idx="4672">
                  <c:v>2.354688</c:v>
                </c:pt>
                <c:pt idx="4673">
                  <c:v>2.355192</c:v>
                </c:pt>
                <c:pt idx="4674">
                  <c:v>2.355696</c:v>
                </c:pt>
                <c:pt idx="4675">
                  <c:v>2.3562</c:v>
                </c:pt>
                <c:pt idx="4676">
                  <c:v>2.356704</c:v>
                </c:pt>
                <c:pt idx="4677">
                  <c:v>2.357208</c:v>
                </c:pt>
                <c:pt idx="4678">
                  <c:v>2.357712</c:v>
                </c:pt>
                <c:pt idx="4679">
                  <c:v>2.358216</c:v>
                </c:pt>
                <c:pt idx="4680">
                  <c:v>2.35872</c:v>
                </c:pt>
                <c:pt idx="4681">
                  <c:v>2.359224</c:v>
                </c:pt>
                <c:pt idx="4682">
                  <c:v>2.359728</c:v>
                </c:pt>
                <c:pt idx="4683">
                  <c:v>2.360232</c:v>
                </c:pt>
                <c:pt idx="4684">
                  <c:v>2.360736</c:v>
                </c:pt>
                <c:pt idx="4685">
                  <c:v>2.36124</c:v>
                </c:pt>
                <c:pt idx="4686">
                  <c:v>2.361744</c:v>
                </c:pt>
                <c:pt idx="4687">
                  <c:v>2.362248</c:v>
                </c:pt>
                <c:pt idx="4688">
                  <c:v>2.362752</c:v>
                </c:pt>
                <c:pt idx="4689">
                  <c:v>2.363256</c:v>
                </c:pt>
                <c:pt idx="4690">
                  <c:v>2.36376</c:v>
                </c:pt>
                <c:pt idx="4691">
                  <c:v>2.364264</c:v>
                </c:pt>
                <c:pt idx="4692">
                  <c:v>2.364768</c:v>
                </c:pt>
                <c:pt idx="4693">
                  <c:v>2.365272</c:v>
                </c:pt>
                <c:pt idx="4694">
                  <c:v>2.365776</c:v>
                </c:pt>
                <c:pt idx="4695">
                  <c:v>2.36628</c:v>
                </c:pt>
                <c:pt idx="4696">
                  <c:v>2.366784</c:v>
                </c:pt>
                <c:pt idx="4697">
                  <c:v>2.367288</c:v>
                </c:pt>
                <c:pt idx="4698">
                  <c:v>2.367792</c:v>
                </c:pt>
                <c:pt idx="4699">
                  <c:v>2.368296</c:v>
                </c:pt>
                <c:pt idx="4700">
                  <c:v>2.3688</c:v>
                </c:pt>
                <c:pt idx="4701">
                  <c:v>2.369304</c:v>
                </c:pt>
                <c:pt idx="4702">
                  <c:v>2.369808</c:v>
                </c:pt>
                <c:pt idx="4703">
                  <c:v>2.370312</c:v>
                </c:pt>
                <c:pt idx="4704">
                  <c:v>2.370816</c:v>
                </c:pt>
                <c:pt idx="4705">
                  <c:v>2.37132</c:v>
                </c:pt>
                <c:pt idx="4706">
                  <c:v>2.371824</c:v>
                </c:pt>
                <c:pt idx="4707">
                  <c:v>2.372328</c:v>
                </c:pt>
                <c:pt idx="4708">
                  <c:v>2.372832</c:v>
                </c:pt>
                <c:pt idx="4709">
                  <c:v>2.373336</c:v>
                </c:pt>
                <c:pt idx="4710">
                  <c:v>2.37384</c:v>
                </c:pt>
                <c:pt idx="4711">
                  <c:v>2.374344</c:v>
                </c:pt>
                <c:pt idx="4712">
                  <c:v>2.374848</c:v>
                </c:pt>
                <c:pt idx="4713">
                  <c:v>2.375352</c:v>
                </c:pt>
                <c:pt idx="4714">
                  <c:v>2.375856</c:v>
                </c:pt>
                <c:pt idx="4715">
                  <c:v>2.37636</c:v>
                </c:pt>
                <c:pt idx="4716">
                  <c:v>2.376864</c:v>
                </c:pt>
                <c:pt idx="4717">
                  <c:v>2.377368</c:v>
                </c:pt>
                <c:pt idx="4718">
                  <c:v>2.377872</c:v>
                </c:pt>
                <c:pt idx="4719">
                  <c:v>2.378376</c:v>
                </c:pt>
                <c:pt idx="4720">
                  <c:v>2.37888</c:v>
                </c:pt>
                <c:pt idx="4721">
                  <c:v>2.379384</c:v>
                </c:pt>
                <c:pt idx="4722">
                  <c:v>2.379888</c:v>
                </c:pt>
                <c:pt idx="4723">
                  <c:v>2.380392</c:v>
                </c:pt>
                <c:pt idx="4724">
                  <c:v>2.380896</c:v>
                </c:pt>
                <c:pt idx="4725">
                  <c:v>2.3814</c:v>
                </c:pt>
                <c:pt idx="4726">
                  <c:v>2.381904</c:v>
                </c:pt>
                <c:pt idx="4727">
                  <c:v>2.382408</c:v>
                </c:pt>
                <c:pt idx="4728">
                  <c:v>2.382912</c:v>
                </c:pt>
                <c:pt idx="4729">
                  <c:v>2.383416</c:v>
                </c:pt>
                <c:pt idx="4730">
                  <c:v>2.38392</c:v>
                </c:pt>
                <c:pt idx="4731">
                  <c:v>2.384424</c:v>
                </c:pt>
                <c:pt idx="4732">
                  <c:v>2.384928</c:v>
                </c:pt>
                <c:pt idx="4733">
                  <c:v>2.385432</c:v>
                </c:pt>
                <c:pt idx="4734">
                  <c:v>2.385936</c:v>
                </c:pt>
                <c:pt idx="4735">
                  <c:v>2.38644</c:v>
                </c:pt>
                <c:pt idx="4736">
                  <c:v>2.386944</c:v>
                </c:pt>
                <c:pt idx="4737">
                  <c:v>2.387448</c:v>
                </c:pt>
                <c:pt idx="4738">
                  <c:v>2.387952</c:v>
                </c:pt>
                <c:pt idx="4739">
                  <c:v>2.388456</c:v>
                </c:pt>
                <c:pt idx="4740">
                  <c:v>2.38896</c:v>
                </c:pt>
                <c:pt idx="4741">
                  <c:v>2.389464</c:v>
                </c:pt>
                <c:pt idx="4742">
                  <c:v>2.389968</c:v>
                </c:pt>
                <c:pt idx="4743">
                  <c:v>2.390472</c:v>
                </c:pt>
                <c:pt idx="4744">
                  <c:v>2.390976</c:v>
                </c:pt>
                <c:pt idx="4745">
                  <c:v>2.39148</c:v>
                </c:pt>
                <c:pt idx="4746">
                  <c:v>2.391984</c:v>
                </c:pt>
                <c:pt idx="4747">
                  <c:v>2.392488</c:v>
                </c:pt>
                <c:pt idx="4748">
                  <c:v>2.392992</c:v>
                </c:pt>
                <c:pt idx="4749">
                  <c:v>2.393496</c:v>
                </c:pt>
                <c:pt idx="4750">
                  <c:v>2.394</c:v>
                </c:pt>
                <c:pt idx="4751">
                  <c:v>2.394504</c:v>
                </c:pt>
                <c:pt idx="4752">
                  <c:v>2.395008</c:v>
                </c:pt>
                <c:pt idx="4753">
                  <c:v>2.395512</c:v>
                </c:pt>
                <c:pt idx="4754">
                  <c:v>2.396016</c:v>
                </c:pt>
                <c:pt idx="4755">
                  <c:v>2.39652</c:v>
                </c:pt>
                <c:pt idx="4756">
                  <c:v>2.397024</c:v>
                </c:pt>
                <c:pt idx="4757">
                  <c:v>2.397528</c:v>
                </c:pt>
                <c:pt idx="4758">
                  <c:v>2.398032</c:v>
                </c:pt>
                <c:pt idx="4759">
                  <c:v>2.398536</c:v>
                </c:pt>
                <c:pt idx="4760">
                  <c:v>2.39904</c:v>
                </c:pt>
                <c:pt idx="4761">
                  <c:v>2.399544</c:v>
                </c:pt>
                <c:pt idx="4762">
                  <c:v>2.400048</c:v>
                </c:pt>
                <c:pt idx="4763">
                  <c:v>2.400552</c:v>
                </c:pt>
                <c:pt idx="4764">
                  <c:v>2.401056</c:v>
                </c:pt>
                <c:pt idx="4765">
                  <c:v>2.40156</c:v>
                </c:pt>
                <c:pt idx="4766">
                  <c:v>2.402064</c:v>
                </c:pt>
                <c:pt idx="4767">
                  <c:v>2.402568</c:v>
                </c:pt>
                <c:pt idx="4768">
                  <c:v>2.403072</c:v>
                </c:pt>
                <c:pt idx="4769">
                  <c:v>2.403576</c:v>
                </c:pt>
                <c:pt idx="4770">
                  <c:v>2.40408</c:v>
                </c:pt>
                <c:pt idx="4771">
                  <c:v>2.404584</c:v>
                </c:pt>
                <c:pt idx="4772">
                  <c:v>2.405088</c:v>
                </c:pt>
                <c:pt idx="4773">
                  <c:v>2.405592</c:v>
                </c:pt>
                <c:pt idx="4774">
                  <c:v>2.406096</c:v>
                </c:pt>
                <c:pt idx="4775">
                  <c:v>2.4066</c:v>
                </c:pt>
                <c:pt idx="4776">
                  <c:v>2.407104</c:v>
                </c:pt>
                <c:pt idx="4777">
                  <c:v>2.407608</c:v>
                </c:pt>
                <c:pt idx="4778">
                  <c:v>2.408112</c:v>
                </c:pt>
                <c:pt idx="4779">
                  <c:v>2.408616</c:v>
                </c:pt>
                <c:pt idx="4780">
                  <c:v>2.40912</c:v>
                </c:pt>
                <c:pt idx="4781">
                  <c:v>2.409624</c:v>
                </c:pt>
                <c:pt idx="4782">
                  <c:v>2.410128</c:v>
                </c:pt>
                <c:pt idx="4783">
                  <c:v>2.410632</c:v>
                </c:pt>
                <c:pt idx="4784">
                  <c:v>2.411136</c:v>
                </c:pt>
                <c:pt idx="4785">
                  <c:v>2.41164</c:v>
                </c:pt>
                <c:pt idx="4786">
                  <c:v>2.412144</c:v>
                </c:pt>
                <c:pt idx="4787">
                  <c:v>2.412648</c:v>
                </c:pt>
                <c:pt idx="4788">
                  <c:v>2.413152</c:v>
                </c:pt>
                <c:pt idx="4789">
                  <c:v>2.413656</c:v>
                </c:pt>
                <c:pt idx="4790">
                  <c:v>2.41416</c:v>
                </c:pt>
                <c:pt idx="4791">
                  <c:v>2.414664</c:v>
                </c:pt>
                <c:pt idx="4792">
                  <c:v>2.415168</c:v>
                </c:pt>
                <c:pt idx="4793">
                  <c:v>2.415672</c:v>
                </c:pt>
                <c:pt idx="4794">
                  <c:v>2.416176</c:v>
                </c:pt>
                <c:pt idx="4795">
                  <c:v>2.41668</c:v>
                </c:pt>
                <c:pt idx="4796">
                  <c:v>2.417184</c:v>
                </c:pt>
                <c:pt idx="4797">
                  <c:v>2.417688</c:v>
                </c:pt>
                <c:pt idx="4798">
                  <c:v>2.418192</c:v>
                </c:pt>
                <c:pt idx="4799">
                  <c:v>2.418696</c:v>
                </c:pt>
                <c:pt idx="4800">
                  <c:v>2.4192</c:v>
                </c:pt>
                <c:pt idx="4801">
                  <c:v>2.419704</c:v>
                </c:pt>
                <c:pt idx="4802">
                  <c:v>2.420208</c:v>
                </c:pt>
                <c:pt idx="4803">
                  <c:v>2.420712</c:v>
                </c:pt>
                <c:pt idx="4804">
                  <c:v>2.421216</c:v>
                </c:pt>
                <c:pt idx="4805">
                  <c:v>2.42172</c:v>
                </c:pt>
                <c:pt idx="4806">
                  <c:v>2.422224</c:v>
                </c:pt>
                <c:pt idx="4807">
                  <c:v>2.422728</c:v>
                </c:pt>
                <c:pt idx="4808">
                  <c:v>2.423232</c:v>
                </c:pt>
                <c:pt idx="4809">
                  <c:v>2.423736</c:v>
                </c:pt>
                <c:pt idx="4810">
                  <c:v>2.42424</c:v>
                </c:pt>
                <c:pt idx="4811">
                  <c:v>2.424744</c:v>
                </c:pt>
                <c:pt idx="4812">
                  <c:v>2.425248</c:v>
                </c:pt>
                <c:pt idx="4813">
                  <c:v>2.425752</c:v>
                </c:pt>
                <c:pt idx="4814">
                  <c:v>2.426256</c:v>
                </c:pt>
                <c:pt idx="4815">
                  <c:v>2.42676</c:v>
                </c:pt>
                <c:pt idx="4816">
                  <c:v>2.427264</c:v>
                </c:pt>
                <c:pt idx="4817">
                  <c:v>2.427768</c:v>
                </c:pt>
                <c:pt idx="4818">
                  <c:v>2.428272</c:v>
                </c:pt>
                <c:pt idx="4819">
                  <c:v>2.428776</c:v>
                </c:pt>
                <c:pt idx="4820">
                  <c:v>2.42928</c:v>
                </c:pt>
                <c:pt idx="4821">
                  <c:v>2.429784</c:v>
                </c:pt>
                <c:pt idx="4822">
                  <c:v>2.430288</c:v>
                </c:pt>
                <c:pt idx="4823">
                  <c:v>2.430792</c:v>
                </c:pt>
                <c:pt idx="4824">
                  <c:v>2.431296</c:v>
                </c:pt>
                <c:pt idx="4825">
                  <c:v>2.4318</c:v>
                </c:pt>
                <c:pt idx="4826">
                  <c:v>2.432304</c:v>
                </c:pt>
                <c:pt idx="4827">
                  <c:v>2.432808</c:v>
                </c:pt>
                <c:pt idx="4828">
                  <c:v>2.433312</c:v>
                </c:pt>
                <c:pt idx="4829">
                  <c:v>2.433816</c:v>
                </c:pt>
                <c:pt idx="4830">
                  <c:v>2.43432</c:v>
                </c:pt>
                <c:pt idx="4831">
                  <c:v>2.434824</c:v>
                </c:pt>
                <c:pt idx="4832">
                  <c:v>2.435328</c:v>
                </c:pt>
                <c:pt idx="4833">
                  <c:v>2.435832</c:v>
                </c:pt>
                <c:pt idx="4834">
                  <c:v>2.436336</c:v>
                </c:pt>
                <c:pt idx="4835">
                  <c:v>2.43684</c:v>
                </c:pt>
                <c:pt idx="4836">
                  <c:v>2.437344</c:v>
                </c:pt>
                <c:pt idx="4837">
                  <c:v>2.437848</c:v>
                </c:pt>
                <c:pt idx="4838">
                  <c:v>2.438352</c:v>
                </c:pt>
                <c:pt idx="4839">
                  <c:v>2.438856</c:v>
                </c:pt>
                <c:pt idx="4840">
                  <c:v>2.43936</c:v>
                </c:pt>
                <c:pt idx="4841">
                  <c:v>2.439864</c:v>
                </c:pt>
                <c:pt idx="4842">
                  <c:v>2.440368</c:v>
                </c:pt>
                <c:pt idx="4843">
                  <c:v>2.440872</c:v>
                </c:pt>
                <c:pt idx="4844">
                  <c:v>2.441376</c:v>
                </c:pt>
                <c:pt idx="4845">
                  <c:v>2.44188</c:v>
                </c:pt>
                <c:pt idx="4846">
                  <c:v>2.442384</c:v>
                </c:pt>
                <c:pt idx="4847">
                  <c:v>2.442888</c:v>
                </c:pt>
                <c:pt idx="4848">
                  <c:v>2.443392</c:v>
                </c:pt>
                <c:pt idx="4849">
                  <c:v>2.443896</c:v>
                </c:pt>
                <c:pt idx="4850">
                  <c:v>2.4444</c:v>
                </c:pt>
                <c:pt idx="4851">
                  <c:v>2.444904</c:v>
                </c:pt>
                <c:pt idx="4852">
                  <c:v>2.445408</c:v>
                </c:pt>
                <c:pt idx="4853">
                  <c:v>2.445912</c:v>
                </c:pt>
                <c:pt idx="4854">
                  <c:v>2.446416</c:v>
                </c:pt>
                <c:pt idx="4855">
                  <c:v>2.44692</c:v>
                </c:pt>
                <c:pt idx="4856">
                  <c:v>2.447424</c:v>
                </c:pt>
                <c:pt idx="4857">
                  <c:v>2.447928</c:v>
                </c:pt>
                <c:pt idx="4858">
                  <c:v>2.448432</c:v>
                </c:pt>
                <c:pt idx="4859">
                  <c:v>2.448936</c:v>
                </c:pt>
                <c:pt idx="4860">
                  <c:v>2.44944</c:v>
                </c:pt>
                <c:pt idx="4861">
                  <c:v>2.449944</c:v>
                </c:pt>
                <c:pt idx="4862">
                  <c:v>2.450448</c:v>
                </c:pt>
                <c:pt idx="4863">
                  <c:v>2.450952</c:v>
                </c:pt>
                <c:pt idx="4864">
                  <c:v>2.451456</c:v>
                </c:pt>
                <c:pt idx="4865">
                  <c:v>2.45196</c:v>
                </c:pt>
                <c:pt idx="4866">
                  <c:v>2.452464</c:v>
                </c:pt>
                <c:pt idx="4867">
                  <c:v>2.452968</c:v>
                </c:pt>
                <c:pt idx="4868">
                  <c:v>2.453472</c:v>
                </c:pt>
                <c:pt idx="4869">
                  <c:v>2.453976</c:v>
                </c:pt>
                <c:pt idx="4870">
                  <c:v>2.45448</c:v>
                </c:pt>
                <c:pt idx="4871">
                  <c:v>2.454984</c:v>
                </c:pt>
                <c:pt idx="4872">
                  <c:v>2.455488</c:v>
                </c:pt>
                <c:pt idx="4873">
                  <c:v>2.455992</c:v>
                </c:pt>
                <c:pt idx="4874">
                  <c:v>2.456496</c:v>
                </c:pt>
                <c:pt idx="4875">
                  <c:v>2.457</c:v>
                </c:pt>
                <c:pt idx="4876">
                  <c:v>2.457504</c:v>
                </c:pt>
                <c:pt idx="4877">
                  <c:v>2.458008</c:v>
                </c:pt>
                <c:pt idx="4878">
                  <c:v>2.458512</c:v>
                </c:pt>
                <c:pt idx="4879">
                  <c:v>2.459016</c:v>
                </c:pt>
                <c:pt idx="4880">
                  <c:v>2.45952</c:v>
                </c:pt>
                <c:pt idx="4881">
                  <c:v>2.460024</c:v>
                </c:pt>
                <c:pt idx="4882">
                  <c:v>2.460528</c:v>
                </c:pt>
                <c:pt idx="4883">
                  <c:v>2.461032</c:v>
                </c:pt>
                <c:pt idx="4884">
                  <c:v>2.461536</c:v>
                </c:pt>
                <c:pt idx="4885">
                  <c:v>2.46204</c:v>
                </c:pt>
                <c:pt idx="4886">
                  <c:v>2.462544</c:v>
                </c:pt>
                <c:pt idx="4887">
                  <c:v>2.463048</c:v>
                </c:pt>
                <c:pt idx="4888">
                  <c:v>2.463552</c:v>
                </c:pt>
                <c:pt idx="4889">
                  <c:v>2.464056</c:v>
                </c:pt>
                <c:pt idx="4890">
                  <c:v>2.46456</c:v>
                </c:pt>
                <c:pt idx="4891">
                  <c:v>2.465064</c:v>
                </c:pt>
                <c:pt idx="4892">
                  <c:v>2.465568</c:v>
                </c:pt>
                <c:pt idx="4893">
                  <c:v>2.466072</c:v>
                </c:pt>
                <c:pt idx="4894">
                  <c:v>2.466576</c:v>
                </c:pt>
                <c:pt idx="4895">
                  <c:v>2.46708</c:v>
                </c:pt>
                <c:pt idx="4896">
                  <c:v>2.467584</c:v>
                </c:pt>
                <c:pt idx="4897">
                  <c:v>2.468088</c:v>
                </c:pt>
                <c:pt idx="4898">
                  <c:v>2.468592</c:v>
                </c:pt>
                <c:pt idx="4899">
                  <c:v>2.469096</c:v>
                </c:pt>
                <c:pt idx="4900">
                  <c:v>2.4696</c:v>
                </c:pt>
                <c:pt idx="4901">
                  <c:v>2.470104</c:v>
                </c:pt>
                <c:pt idx="4902">
                  <c:v>2.470608</c:v>
                </c:pt>
                <c:pt idx="4903">
                  <c:v>2.471112</c:v>
                </c:pt>
                <c:pt idx="4904">
                  <c:v>2.471616</c:v>
                </c:pt>
                <c:pt idx="4905">
                  <c:v>2.47212</c:v>
                </c:pt>
                <c:pt idx="4906">
                  <c:v>2.472624</c:v>
                </c:pt>
                <c:pt idx="4907">
                  <c:v>2.473128</c:v>
                </c:pt>
                <c:pt idx="4908">
                  <c:v>2.473632</c:v>
                </c:pt>
                <c:pt idx="4909">
                  <c:v>2.474136</c:v>
                </c:pt>
                <c:pt idx="4910">
                  <c:v>2.47464</c:v>
                </c:pt>
                <c:pt idx="4911">
                  <c:v>2.475144</c:v>
                </c:pt>
                <c:pt idx="4912">
                  <c:v>2.475648</c:v>
                </c:pt>
                <c:pt idx="4913">
                  <c:v>2.476152</c:v>
                </c:pt>
                <c:pt idx="4914">
                  <c:v>2.476656</c:v>
                </c:pt>
                <c:pt idx="4915">
                  <c:v>2.47716</c:v>
                </c:pt>
                <c:pt idx="4916">
                  <c:v>2.477664</c:v>
                </c:pt>
                <c:pt idx="4917">
                  <c:v>2.478168</c:v>
                </c:pt>
                <c:pt idx="4918">
                  <c:v>2.478672</c:v>
                </c:pt>
                <c:pt idx="4919">
                  <c:v>2.479176</c:v>
                </c:pt>
                <c:pt idx="4920">
                  <c:v>2.47968</c:v>
                </c:pt>
                <c:pt idx="4921">
                  <c:v>2.480184</c:v>
                </c:pt>
                <c:pt idx="4922">
                  <c:v>2.480688</c:v>
                </c:pt>
                <c:pt idx="4923">
                  <c:v>2.481192</c:v>
                </c:pt>
                <c:pt idx="4924">
                  <c:v>2.481696</c:v>
                </c:pt>
                <c:pt idx="4925">
                  <c:v>2.4822</c:v>
                </c:pt>
                <c:pt idx="4926">
                  <c:v>2.482704</c:v>
                </c:pt>
                <c:pt idx="4927">
                  <c:v>2.483208</c:v>
                </c:pt>
                <c:pt idx="4928">
                  <c:v>2.483712</c:v>
                </c:pt>
                <c:pt idx="4929">
                  <c:v>2.484216</c:v>
                </c:pt>
                <c:pt idx="4930">
                  <c:v>2.48472</c:v>
                </c:pt>
                <c:pt idx="4931">
                  <c:v>2.485224</c:v>
                </c:pt>
                <c:pt idx="4932">
                  <c:v>2.485728</c:v>
                </c:pt>
                <c:pt idx="4933">
                  <c:v>2.486232</c:v>
                </c:pt>
                <c:pt idx="4934">
                  <c:v>2.486736</c:v>
                </c:pt>
                <c:pt idx="4935">
                  <c:v>2.48724</c:v>
                </c:pt>
                <c:pt idx="4936">
                  <c:v>2.487744</c:v>
                </c:pt>
                <c:pt idx="4937">
                  <c:v>2.488248</c:v>
                </c:pt>
                <c:pt idx="4938">
                  <c:v>2.488752</c:v>
                </c:pt>
                <c:pt idx="4939">
                  <c:v>2.489256</c:v>
                </c:pt>
                <c:pt idx="4940">
                  <c:v>2.48976</c:v>
                </c:pt>
                <c:pt idx="4941">
                  <c:v>2.490264</c:v>
                </c:pt>
                <c:pt idx="4942">
                  <c:v>2.490768</c:v>
                </c:pt>
                <c:pt idx="4943">
                  <c:v>2.491272</c:v>
                </c:pt>
                <c:pt idx="4944">
                  <c:v>2.491776</c:v>
                </c:pt>
                <c:pt idx="4945">
                  <c:v>2.49228</c:v>
                </c:pt>
                <c:pt idx="4946">
                  <c:v>2.492784</c:v>
                </c:pt>
                <c:pt idx="4947">
                  <c:v>2.493288</c:v>
                </c:pt>
                <c:pt idx="4948">
                  <c:v>2.493792</c:v>
                </c:pt>
                <c:pt idx="4949">
                  <c:v>2.494296</c:v>
                </c:pt>
                <c:pt idx="4950">
                  <c:v>2.4948</c:v>
                </c:pt>
                <c:pt idx="4951">
                  <c:v>2.495304</c:v>
                </c:pt>
                <c:pt idx="4952">
                  <c:v>2.495808</c:v>
                </c:pt>
                <c:pt idx="4953">
                  <c:v>2.496312</c:v>
                </c:pt>
                <c:pt idx="4954">
                  <c:v>2.496816</c:v>
                </c:pt>
                <c:pt idx="4955">
                  <c:v>2.49732</c:v>
                </c:pt>
                <c:pt idx="4956">
                  <c:v>2.497824</c:v>
                </c:pt>
                <c:pt idx="4957">
                  <c:v>2.498328</c:v>
                </c:pt>
                <c:pt idx="4958">
                  <c:v>2.498832</c:v>
                </c:pt>
                <c:pt idx="4959">
                  <c:v>2.499336</c:v>
                </c:pt>
                <c:pt idx="4960">
                  <c:v>2.49984</c:v>
                </c:pt>
                <c:pt idx="4961">
                  <c:v>2.500344</c:v>
                </c:pt>
                <c:pt idx="4962">
                  <c:v>2.500848</c:v>
                </c:pt>
                <c:pt idx="4963">
                  <c:v>2.501352</c:v>
                </c:pt>
                <c:pt idx="4964">
                  <c:v>2.501856</c:v>
                </c:pt>
                <c:pt idx="4965">
                  <c:v>2.50236</c:v>
                </c:pt>
                <c:pt idx="4966">
                  <c:v>2.502864</c:v>
                </c:pt>
                <c:pt idx="4967">
                  <c:v>2.503368</c:v>
                </c:pt>
                <c:pt idx="4968">
                  <c:v>2.503872</c:v>
                </c:pt>
                <c:pt idx="4969">
                  <c:v>2.504376</c:v>
                </c:pt>
                <c:pt idx="4970">
                  <c:v>2.50488</c:v>
                </c:pt>
                <c:pt idx="4971">
                  <c:v>2.505384</c:v>
                </c:pt>
                <c:pt idx="4972">
                  <c:v>2.505888</c:v>
                </c:pt>
                <c:pt idx="4973">
                  <c:v>2.506392</c:v>
                </c:pt>
                <c:pt idx="4974">
                  <c:v>2.506896</c:v>
                </c:pt>
                <c:pt idx="4975">
                  <c:v>2.5074</c:v>
                </c:pt>
                <c:pt idx="4976">
                  <c:v>2.507904</c:v>
                </c:pt>
                <c:pt idx="4977">
                  <c:v>2.508408</c:v>
                </c:pt>
                <c:pt idx="4978">
                  <c:v>2.508912</c:v>
                </c:pt>
                <c:pt idx="4979">
                  <c:v>2.509416</c:v>
                </c:pt>
                <c:pt idx="4980">
                  <c:v>2.50992</c:v>
                </c:pt>
                <c:pt idx="4981">
                  <c:v>2.510424</c:v>
                </c:pt>
                <c:pt idx="4982">
                  <c:v>2.510928</c:v>
                </c:pt>
                <c:pt idx="4983">
                  <c:v>2.511432</c:v>
                </c:pt>
                <c:pt idx="4984">
                  <c:v>2.511936</c:v>
                </c:pt>
                <c:pt idx="4985">
                  <c:v>2.51244</c:v>
                </c:pt>
                <c:pt idx="4986">
                  <c:v>2.512944</c:v>
                </c:pt>
                <c:pt idx="4987">
                  <c:v>2.513448</c:v>
                </c:pt>
                <c:pt idx="4988">
                  <c:v>2.513952</c:v>
                </c:pt>
                <c:pt idx="4989">
                  <c:v>2.514456</c:v>
                </c:pt>
                <c:pt idx="4990">
                  <c:v>2.51496</c:v>
                </c:pt>
                <c:pt idx="4991">
                  <c:v>2.515464</c:v>
                </c:pt>
                <c:pt idx="4992">
                  <c:v>2.515968</c:v>
                </c:pt>
                <c:pt idx="4993">
                  <c:v>2.516472</c:v>
                </c:pt>
                <c:pt idx="4994">
                  <c:v>2.516976</c:v>
                </c:pt>
                <c:pt idx="4995">
                  <c:v>2.51748</c:v>
                </c:pt>
                <c:pt idx="4996">
                  <c:v>2.517984</c:v>
                </c:pt>
                <c:pt idx="4997">
                  <c:v>2.518488</c:v>
                </c:pt>
                <c:pt idx="4998">
                  <c:v>2.518992</c:v>
                </c:pt>
                <c:pt idx="4999">
                  <c:v>2.519496</c:v>
                </c:pt>
                <c:pt idx="5000">
                  <c:v>2.52</c:v>
                </c:pt>
                <c:pt idx="5001">
                  <c:v>2.520504</c:v>
                </c:pt>
                <c:pt idx="5002">
                  <c:v>2.521008</c:v>
                </c:pt>
                <c:pt idx="5003">
                  <c:v>2.521512</c:v>
                </c:pt>
                <c:pt idx="5004">
                  <c:v>2.522016</c:v>
                </c:pt>
                <c:pt idx="5005">
                  <c:v>2.52252</c:v>
                </c:pt>
                <c:pt idx="5006">
                  <c:v>2.523024</c:v>
                </c:pt>
                <c:pt idx="5007">
                  <c:v>2.523528</c:v>
                </c:pt>
                <c:pt idx="5008">
                  <c:v>2.524032</c:v>
                </c:pt>
                <c:pt idx="5009">
                  <c:v>2.524536</c:v>
                </c:pt>
                <c:pt idx="5010">
                  <c:v>2.52504</c:v>
                </c:pt>
                <c:pt idx="5011">
                  <c:v>2.525544</c:v>
                </c:pt>
                <c:pt idx="5012">
                  <c:v>2.526048</c:v>
                </c:pt>
                <c:pt idx="5013">
                  <c:v>2.526552</c:v>
                </c:pt>
                <c:pt idx="5014">
                  <c:v>2.527056</c:v>
                </c:pt>
                <c:pt idx="5015">
                  <c:v>2.52756</c:v>
                </c:pt>
                <c:pt idx="5016">
                  <c:v>2.528064</c:v>
                </c:pt>
                <c:pt idx="5017">
                  <c:v>2.528568</c:v>
                </c:pt>
                <c:pt idx="5018">
                  <c:v>2.529072</c:v>
                </c:pt>
                <c:pt idx="5019">
                  <c:v>2.529576</c:v>
                </c:pt>
                <c:pt idx="5020">
                  <c:v>2.53008</c:v>
                </c:pt>
                <c:pt idx="5021">
                  <c:v>2.530584</c:v>
                </c:pt>
                <c:pt idx="5022">
                  <c:v>2.531088</c:v>
                </c:pt>
                <c:pt idx="5023">
                  <c:v>2.531592</c:v>
                </c:pt>
                <c:pt idx="5024">
                  <c:v>2.532096</c:v>
                </c:pt>
                <c:pt idx="5025">
                  <c:v>2.5326</c:v>
                </c:pt>
                <c:pt idx="5026">
                  <c:v>2.533104</c:v>
                </c:pt>
                <c:pt idx="5027">
                  <c:v>2.533608</c:v>
                </c:pt>
                <c:pt idx="5028">
                  <c:v>2.534112</c:v>
                </c:pt>
                <c:pt idx="5029">
                  <c:v>2.534616</c:v>
                </c:pt>
                <c:pt idx="5030">
                  <c:v>2.53512</c:v>
                </c:pt>
                <c:pt idx="5031">
                  <c:v>2.535624</c:v>
                </c:pt>
                <c:pt idx="5032">
                  <c:v>2.536128</c:v>
                </c:pt>
                <c:pt idx="5033">
                  <c:v>2.536632</c:v>
                </c:pt>
                <c:pt idx="5034">
                  <c:v>2.537136</c:v>
                </c:pt>
                <c:pt idx="5035">
                  <c:v>2.53764</c:v>
                </c:pt>
                <c:pt idx="5036">
                  <c:v>2.538144</c:v>
                </c:pt>
                <c:pt idx="5037">
                  <c:v>2.538648</c:v>
                </c:pt>
                <c:pt idx="5038">
                  <c:v>2.539152</c:v>
                </c:pt>
                <c:pt idx="5039">
                  <c:v>2.539656</c:v>
                </c:pt>
                <c:pt idx="5040">
                  <c:v>2.54016</c:v>
                </c:pt>
                <c:pt idx="5041">
                  <c:v>2.540664</c:v>
                </c:pt>
                <c:pt idx="5042">
                  <c:v>2.541168</c:v>
                </c:pt>
                <c:pt idx="5043">
                  <c:v>2.541672</c:v>
                </c:pt>
                <c:pt idx="5044">
                  <c:v>2.542176</c:v>
                </c:pt>
                <c:pt idx="5045">
                  <c:v>2.54268</c:v>
                </c:pt>
                <c:pt idx="5046">
                  <c:v>2.543184</c:v>
                </c:pt>
                <c:pt idx="5047">
                  <c:v>2.543688</c:v>
                </c:pt>
                <c:pt idx="5048">
                  <c:v>2.544192</c:v>
                </c:pt>
                <c:pt idx="5049">
                  <c:v>2.544696</c:v>
                </c:pt>
                <c:pt idx="5050">
                  <c:v>2.5452</c:v>
                </c:pt>
                <c:pt idx="5051">
                  <c:v>2.545704</c:v>
                </c:pt>
                <c:pt idx="5052">
                  <c:v>2.546208</c:v>
                </c:pt>
                <c:pt idx="5053">
                  <c:v>2.546712</c:v>
                </c:pt>
                <c:pt idx="5054">
                  <c:v>2.547216</c:v>
                </c:pt>
                <c:pt idx="5055">
                  <c:v>2.54772</c:v>
                </c:pt>
                <c:pt idx="5056">
                  <c:v>2.548224</c:v>
                </c:pt>
                <c:pt idx="5057">
                  <c:v>2.548728</c:v>
                </c:pt>
                <c:pt idx="5058">
                  <c:v>2.549232</c:v>
                </c:pt>
                <c:pt idx="5059">
                  <c:v>2.549736</c:v>
                </c:pt>
                <c:pt idx="5060">
                  <c:v>2.55024</c:v>
                </c:pt>
                <c:pt idx="5061">
                  <c:v>2.550744</c:v>
                </c:pt>
                <c:pt idx="5062">
                  <c:v>2.551248</c:v>
                </c:pt>
                <c:pt idx="5063">
                  <c:v>2.551752</c:v>
                </c:pt>
                <c:pt idx="5064">
                  <c:v>2.552256</c:v>
                </c:pt>
                <c:pt idx="5065">
                  <c:v>2.55276</c:v>
                </c:pt>
                <c:pt idx="5066">
                  <c:v>2.553264</c:v>
                </c:pt>
                <c:pt idx="5067">
                  <c:v>2.553768</c:v>
                </c:pt>
                <c:pt idx="5068">
                  <c:v>2.554272</c:v>
                </c:pt>
                <c:pt idx="5069">
                  <c:v>2.554776</c:v>
                </c:pt>
                <c:pt idx="5070">
                  <c:v>2.55528</c:v>
                </c:pt>
                <c:pt idx="5071">
                  <c:v>2.555784</c:v>
                </c:pt>
                <c:pt idx="5072">
                  <c:v>2.556288</c:v>
                </c:pt>
                <c:pt idx="5073">
                  <c:v>2.556792</c:v>
                </c:pt>
                <c:pt idx="5074">
                  <c:v>2.557296</c:v>
                </c:pt>
                <c:pt idx="5075">
                  <c:v>2.5578</c:v>
                </c:pt>
                <c:pt idx="5076">
                  <c:v>2.558304</c:v>
                </c:pt>
                <c:pt idx="5077">
                  <c:v>2.558808</c:v>
                </c:pt>
                <c:pt idx="5078">
                  <c:v>2.559312</c:v>
                </c:pt>
                <c:pt idx="5079">
                  <c:v>2.559816</c:v>
                </c:pt>
                <c:pt idx="5080">
                  <c:v>2.56032</c:v>
                </c:pt>
                <c:pt idx="5081">
                  <c:v>2.560824</c:v>
                </c:pt>
                <c:pt idx="5082">
                  <c:v>2.561328</c:v>
                </c:pt>
                <c:pt idx="5083">
                  <c:v>2.561832</c:v>
                </c:pt>
                <c:pt idx="5084">
                  <c:v>2.562336</c:v>
                </c:pt>
                <c:pt idx="5085">
                  <c:v>2.56284</c:v>
                </c:pt>
                <c:pt idx="5086">
                  <c:v>2.563344</c:v>
                </c:pt>
                <c:pt idx="5087">
                  <c:v>2.563848</c:v>
                </c:pt>
                <c:pt idx="5088">
                  <c:v>2.564352</c:v>
                </c:pt>
                <c:pt idx="5089">
                  <c:v>2.564856</c:v>
                </c:pt>
                <c:pt idx="5090">
                  <c:v>2.56536</c:v>
                </c:pt>
                <c:pt idx="5091">
                  <c:v>2.565864</c:v>
                </c:pt>
                <c:pt idx="5092">
                  <c:v>2.566368</c:v>
                </c:pt>
                <c:pt idx="5093">
                  <c:v>2.566872</c:v>
                </c:pt>
                <c:pt idx="5094">
                  <c:v>2.567376</c:v>
                </c:pt>
                <c:pt idx="5095">
                  <c:v>2.56788</c:v>
                </c:pt>
                <c:pt idx="5096">
                  <c:v>2.568384</c:v>
                </c:pt>
                <c:pt idx="5097">
                  <c:v>2.568888</c:v>
                </c:pt>
                <c:pt idx="5098">
                  <c:v>2.569392</c:v>
                </c:pt>
                <c:pt idx="5099">
                  <c:v>2.569896</c:v>
                </c:pt>
                <c:pt idx="5100">
                  <c:v>2.5704</c:v>
                </c:pt>
                <c:pt idx="5101">
                  <c:v>2.570904</c:v>
                </c:pt>
                <c:pt idx="5102">
                  <c:v>2.571408</c:v>
                </c:pt>
                <c:pt idx="5103">
                  <c:v>2.571912</c:v>
                </c:pt>
                <c:pt idx="5104">
                  <c:v>2.572416</c:v>
                </c:pt>
                <c:pt idx="5105">
                  <c:v>2.57292</c:v>
                </c:pt>
                <c:pt idx="5106">
                  <c:v>2.573424</c:v>
                </c:pt>
                <c:pt idx="5107">
                  <c:v>2.573928</c:v>
                </c:pt>
                <c:pt idx="5108">
                  <c:v>2.574432</c:v>
                </c:pt>
                <c:pt idx="5109">
                  <c:v>2.574936</c:v>
                </c:pt>
                <c:pt idx="5110">
                  <c:v>2.57544</c:v>
                </c:pt>
                <c:pt idx="5111">
                  <c:v>2.575944</c:v>
                </c:pt>
                <c:pt idx="5112">
                  <c:v>2.576448</c:v>
                </c:pt>
                <c:pt idx="5113">
                  <c:v>2.576952</c:v>
                </c:pt>
                <c:pt idx="5114">
                  <c:v>2.577456</c:v>
                </c:pt>
                <c:pt idx="5115">
                  <c:v>2.57796</c:v>
                </c:pt>
                <c:pt idx="5116">
                  <c:v>2.578464</c:v>
                </c:pt>
                <c:pt idx="5117">
                  <c:v>2.578968</c:v>
                </c:pt>
                <c:pt idx="5118">
                  <c:v>2.579472</c:v>
                </c:pt>
                <c:pt idx="5119">
                  <c:v>2.579976</c:v>
                </c:pt>
                <c:pt idx="5120">
                  <c:v>2.58048</c:v>
                </c:pt>
                <c:pt idx="5121">
                  <c:v>2.580984</c:v>
                </c:pt>
                <c:pt idx="5122">
                  <c:v>2.581488</c:v>
                </c:pt>
                <c:pt idx="5123">
                  <c:v>2.581992</c:v>
                </c:pt>
                <c:pt idx="5124">
                  <c:v>2.582496</c:v>
                </c:pt>
                <c:pt idx="5125">
                  <c:v>2.583</c:v>
                </c:pt>
                <c:pt idx="5126">
                  <c:v>2.583504</c:v>
                </c:pt>
                <c:pt idx="5127">
                  <c:v>2.584008</c:v>
                </c:pt>
                <c:pt idx="5128">
                  <c:v>2.584512</c:v>
                </c:pt>
                <c:pt idx="5129">
                  <c:v>2.585016</c:v>
                </c:pt>
                <c:pt idx="5130">
                  <c:v>2.58552</c:v>
                </c:pt>
                <c:pt idx="5131">
                  <c:v>2.586024</c:v>
                </c:pt>
                <c:pt idx="5132">
                  <c:v>2.586528</c:v>
                </c:pt>
                <c:pt idx="5133">
                  <c:v>2.587032</c:v>
                </c:pt>
                <c:pt idx="5134">
                  <c:v>2.587536</c:v>
                </c:pt>
                <c:pt idx="5135">
                  <c:v>2.58804</c:v>
                </c:pt>
                <c:pt idx="5136">
                  <c:v>2.588544</c:v>
                </c:pt>
                <c:pt idx="5137">
                  <c:v>2.589048</c:v>
                </c:pt>
                <c:pt idx="5138">
                  <c:v>2.589552</c:v>
                </c:pt>
                <c:pt idx="5139">
                  <c:v>2.590056</c:v>
                </c:pt>
                <c:pt idx="5140">
                  <c:v>2.59056</c:v>
                </c:pt>
                <c:pt idx="5141">
                  <c:v>2.591064</c:v>
                </c:pt>
                <c:pt idx="5142">
                  <c:v>2.591568</c:v>
                </c:pt>
                <c:pt idx="5143">
                  <c:v>2.592072</c:v>
                </c:pt>
                <c:pt idx="5144">
                  <c:v>2.592576</c:v>
                </c:pt>
                <c:pt idx="5145">
                  <c:v>2.59308</c:v>
                </c:pt>
                <c:pt idx="5146">
                  <c:v>2.593584</c:v>
                </c:pt>
                <c:pt idx="5147">
                  <c:v>2.594088</c:v>
                </c:pt>
                <c:pt idx="5148">
                  <c:v>2.594592</c:v>
                </c:pt>
                <c:pt idx="5149">
                  <c:v>2.595096</c:v>
                </c:pt>
                <c:pt idx="5150">
                  <c:v>2.5956</c:v>
                </c:pt>
                <c:pt idx="5151">
                  <c:v>2.596104</c:v>
                </c:pt>
                <c:pt idx="5152">
                  <c:v>2.596608</c:v>
                </c:pt>
                <c:pt idx="5153">
                  <c:v>2.597112</c:v>
                </c:pt>
                <c:pt idx="5154">
                  <c:v>2.597616</c:v>
                </c:pt>
                <c:pt idx="5155">
                  <c:v>2.59812</c:v>
                </c:pt>
                <c:pt idx="5156">
                  <c:v>2.598624</c:v>
                </c:pt>
                <c:pt idx="5157">
                  <c:v>2.599128</c:v>
                </c:pt>
                <c:pt idx="5158">
                  <c:v>2.599632</c:v>
                </c:pt>
                <c:pt idx="5159">
                  <c:v>2.600136</c:v>
                </c:pt>
                <c:pt idx="5160">
                  <c:v>2.60064</c:v>
                </c:pt>
                <c:pt idx="5161">
                  <c:v>2.601144</c:v>
                </c:pt>
                <c:pt idx="5162">
                  <c:v>2.601648</c:v>
                </c:pt>
                <c:pt idx="5163">
                  <c:v>2.602152</c:v>
                </c:pt>
                <c:pt idx="5164">
                  <c:v>2.602656</c:v>
                </c:pt>
                <c:pt idx="5165">
                  <c:v>2.60316</c:v>
                </c:pt>
                <c:pt idx="5166">
                  <c:v>2.603664</c:v>
                </c:pt>
                <c:pt idx="5167">
                  <c:v>2.604168</c:v>
                </c:pt>
                <c:pt idx="5168">
                  <c:v>2.604672</c:v>
                </c:pt>
                <c:pt idx="5169">
                  <c:v>2.605176</c:v>
                </c:pt>
                <c:pt idx="5170">
                  <c:v>2.60568</c:v>
                </c:pt>
                <c:pt idx="5171">
                  <c:v>2.606184</c:v>
                </c:pt>
                <c:pt idx="5172">
                  <c:v>2.606688</c:v>
                </c:pt>
                <c:pt idx="5173">
                  <c:v>2.607192</c:v>
                </c:pt>
                <c:pt idx="5174">
                  <c:v>2.607696</c:v>
                </c:pt>
                <c:pt idx="5175">
                  <c:v>2.6082</c:v>
                </c:pt>
                <c:pt idx="5176">
                  <c:v>2.608704</c:v>
                </c:pt>
                <c:pt idx="5177">
                  <c:v>2.609208</c:v>
                </c:pt>
                <c:pt idx="5178">
                  <c:v>2.609712</c:v>
                </c:pt>
                <c:pt idx="5179">
                  <c:v>2.610216</c:v>
                </c:pt>
                <c:pt idx="5180">
                  <c:v>2.61072</c:v>
                </c:pt>
                <c:pt idx="5181">
                  <c:v>2.611224</c:v>
                </c:pt>
                <c:pt idx="5182">
                  <c:v>2.611728</c:v>
                </c:pt>
                <c:pt idx="5183">
                  <c:v>2.612232</c:v>
                </c:pt>
                <c:pt idx="5184">
                  <c:v>2.612736</c:v>
                </c:pt>
                <c:pt idx="5185">
                  <c:v>2.61324</c:v>
                </c:pt>
                <c:pt idx="5186">
                  <c:v>2.613744</c:v>
                </c:pt>
                <c:pt idx="5187">
                  <c:v>2.614248</c:v>
                </c:pt>
                <c:pt idx="5188">
                  <c:v>2.614752</c:v>
                </c:pt>
                <c:pt idx="5189">
                  <c:v>2.615256</c:v>
                </c:pt>
                <c:pt idx="5190">
                  <c:v>2.61576</c:v>
                </c:pt>
                <c:pt idx="5191">
                  <c:v>2.616264</c:v>
                </c:pt>
                <c:pt idx="5192">
                  <c:v>2.616768</c:v>
                </c:pt>
                <c:pt idx="5193">
                  <c:v>2.617272</c:v>
                </c:pt>
                <c:pt idx="5194">
                  <c:v>2.617776</c:v>
                </c:pt>
                <c:pt idx="5195">
                  <c:v>2.61828</c:v>
                </c:pt>
                <c:pt idx="5196">
                  <c:v>2.618784</c:v>
                </c:pt>
                <c:pt idx="5197">
                  <c:v>2.619288</c:v>
                </c:pt>
                <c:pt idx="5198">
                  <c:v>2.619792</c:v>
                </c:pt>
                <c:pt idx="5199">
                  <c:v>2.620296</c:v>
                </c:pt>
                <c:pt idx="5200">
                  <c:v>2.6208</c:v>
                </c:pt>
                <c:pt idx="5201">
                  <c:v>2.621304</c:v>
                </c:pt>
                <c:pt idx="5202">
                  <c:v>2.621808</c:v>
                </c:pt>
                <c:pt idx="5203">
                  <c:v>2.622312</c:v>
                </c:pt>
                <c:pt idx="5204">
                  <c:v>2.622816</c:v>
                </c:pt>
                <c:pt idx="5205">
                  <c:v>2.62332</c:v>
                </c:pt>
                <c:pt idx="5206">
                  <c:v>2.623824</c:v>
                </c:pt>
                <c:pt idx="5207">
                  <c:v>2.624328</c:v>
                </c:pt>
                <c:pt idx="5208">
                  <c:v>2.624832</c:v>
                </c:pt>
                <c:pt idx="5209">
                  <c:v>2.625336</c:v>
                </c:pt>
                <c:pt idx="5210">
                  <c:v>2.62584</c:v>
                </c:pt>
                <c:pt idx="5211">
                  <c:v>2.626344</c:v>
                </c:pt>
                <c:pt idx="5212">
                  <c:v>2.626848</c:v>
                </c:pt>
                <c:pt idx="5213">
                  <c:v>2.627352</c:v>
                </c:pt>
                <c:pt idx="5214">
                  <c:v>2.627856</c:v>
                </c:pt>
                <c:pt idx="5215">
                  <c:v>2.62836</c:v>
                </c:pt>
                <c:pt idx="5216">
                  <c:v>2.628864</c:v>
                </c:pt>
                <c:pt idx="5217">
                  <c:v>2.629368</c:v>
                </c:pt>
                <c:pt idx="5218">
                  <c:v>2.629872</c:v>
                </c:pt>
                <c:pt idx="5219">
                  <c:v>2.630376</c:v>
                </c:pt>
                <c:pt idx="5220">
                  <c:v>2.63088</c:v>
                </c:pt>
                <c:pt idx="5221">
                  <c:v>2.631384</c:v>
                </c:pt>
                <c:pt idx="5222">
                  <c:v>2.631888</c:v>
                </c:pt>
                <c:pt idx="5223">
                  <c:v>2.632392</c:v>
                </c:pt>
                <c:pt idx="5224">
                  <c:v>2.632896</c:v>
                </c:pt>
                <c:pt idx="5225">
                  <c:v>2.6334</c:v>
                </c:pt>
                <c:pt idx="5226">
                  <c:v>2.633904</c:v>
                </c:pt>
                <c:pt idx="5227">
                  <c:v>2.634408</c:v>
                </c:pt>
                <c:pt idx="5228">
                  <c:v>2.634912</c:v>
                </c:pt>
                <c:pt idx="5229">
                  <c:v>2.635416</c:v>
                </c:pt>
                <c:pt idx="5230">
                  <c:v>2.63592</c:v>
                </c:pt>
                <c:pt idx="5231">
                  <c:v>2.636424</c:v>
                </c:pt>
                <c:pt idx="5232">
                  <c:v>2.636928</c:v>
                </c:pt>
                <c:pt idx="5233">
                  <c:v>2.637432</c:v>
                </c:pt>
                <c:pt idx="5234">
                  <c:v>2.637936</c:v>
                </c:pt>
                <c:pt idx="5235">
                  <c:v>2.63844</c:v>
                </c:pt>
                <c:pt idx="5236">
                  <c:v>2.638944</c:v>
                </c:pt>
                <c:pt idx="5237">
                  <c:v>2.639448</c:v>
                </c:pt>
                <c:pt idx="5238">
                  <c:v>2.639952</c:v>
                </c:pt>
                <c:pt idx="5239">
                  <c:v>2.640456</c:v>
                </c:pt>
                <c:pt idx="5240">
                  <c:v>2.64096</c:v>
                </c:pt>
                <c:pt idx="5241">
                  <c:v>2.641464</c:v>
                </c:pt>
                <c:pt idx="5242">
                  <c:v>2.641968</c:v>
                </c:pt>
                <c:pt idx="5243">
                  <c:v>2.642472</c:v>
                </c:pt>
                <c:pt idx="5244">
                  <c:v>2.642976</c:v>
                </c:pt>
                <c:pt idx="5245">
                  <c:v>2.64348</c:v>
                </c:pt>
                <c:pt idx="5246">
                  <c:v>2.643984</c:v>
                </c:pt>
                <c:pt idx="5247">
                  <c:v>2.644488</c:v>
                </c:pt>
                <c:pt idx="5248">
                  <c:v>2.644992</c:v>
                </c:pt>
                <c:pt idx="5249">
                  <c:v>2.645496</c:v>
                </c:pt>
                <c:pt idx="5250">
                  <c:v>2.646</c:v>
                </c:pt>
                <c:pt idx="5251">
                  <c:v>2.646504</c:v>
                </c:pt>
                <c:pt idx="5252">
                  <c:v>2.647008</c:v>
                </c:pt>
                <c:pt idx="5253">
                  <c:v>2.647512</c:v>
                </c:pt>
                <c:pt idx="5254">
                  <c:v>2.648016</c:v>
                </c:pt>
                <c:pt idx="5255">
                  <c:v>2.64852</c:v>
                </c:pt>
                <c:pt idx="5256">
                  <c:v>2.649024</c:v>
                </c:pt>
                <c:pt idx="5257">
                  <c:v>2.649528</c:v>
                </c:pt>
                <c:pt idx="5258">
                  <c:v>2.650032</c:v>
                </c:pt>
                <c:pt idx="5259">
                  <c:v>2.650536</c:v>
                </c:pt>
                <c:pt idx="5260">
                  <c:v>2.65104</c:v>
                </c:pt>
                <c:pt idx="5261">
                  <c:v>2.651544</c:v>
                </c:pt>
                <c:pt idx="5262">
                  <c:v>2.652048</c:v>
                </c:pt>
                <c:pt idx="5263">
                  <c:v>2.652552</c:v>
                </c:pt>
                <c:pt idx="5264">
                  <c:v>2.653056</c:v>
                </c:pt>
                <c:pt idx="5265">
                  <c:v>2.65356</c:v>
                </c:pt>
                <c:pt idx="5266">
                  <c:v>2.654064</c:v>
                </c:pt>
                <c:pt idx="5267">
                  <c:v>2.654568</c:v>
                </c:pt>
                <c:pt idx="5268">
                  <c:v>2.655072</c:v>
                </c:pt>
                <c:pt idx="5269">
                  <c:v>2.655576</c:v>
                </c:pt>
                <c:pt idx="5270">
                  <c:v>2.65608</c:v>
                </c:pt>
                <c:pt idx="5271">
                  <c:v>2.656584</c:v>
                </c:pt>
                <c:pt idx="5272">
                  <c:v>2.657088</c:v>
                </c:pt>
                <c:pt idx="5273">
                  <c:v>2.657592</c:v>
                </c:pt>
                <c:pt idx="5274">
                  <c:v>2.658096</c:v>
                </c:pt>
                <c:pt idx="5275">
                  <c:v>2.6586</c:v>
                </c:pt>
                <c:pt idx="5276">
                  <c:v>2.659104</c:v>
                </c:pt>
                <c:pt idx="5277">
                  <c:v>2.659608</c:v>
                </c:pt>
                <c:pt idx="5278">
                  <c:v>2.660112</c:v>
                </c:pt>
                <c:pt idx="5279">
                  <c:v>2.660616</c:v>
                </c:pt>
                <c:pt idx="5280">
                  <c:v>2.66112</c:v>
                </c:pt>
                <c:pt idx="5281">
                  <c:v>2.661624</c:v>
                </c:pt>
                <c:pt idx="5282">
                  <c:v>2.662128</c:v>
                </c:pt>
                <c:pt idx="5283">
                  <c:v>2.662632</c:v>
                </c:pt>
                <c:pt idx="5284">
                  <c:v>2.663136</c:v>
                </c:pt>
                <c:pt idx="5285">
                  <c:v>2.66364</c:v>
                </c:pt>
                <c:pt idx="5286">
                  <c:v>2.664144</c:v>
                </c:pt>
                <c:pt idx="5287">
                  <c:v>2.664648</c:v>
                </c:pt>
                <c:pt idx="5288">
                  <c:v>2.665152</c:v>
                </c:pt>
                <c:pt idx="5289">
                  <c:v>2.665656</c:v>
                </c:pt>
                <c:pt idx="5290">
                  <c:v>2.66616</c:v>
                </c:pt>
                <c:pt idx="5291">
                  <c:v>2.666664</c:v>
                </c:pt>
                <c:pt idx="5292">
                  <c:v>2.667168</c:v>
                </c:pt>
                <c:pt idx="5293">
                  <c:v>2.667672</c:v>
                </c:pt>
                <c:pt idx="5294">
                  <c:v>2.668176</c:v>
                </c:pt>
                <c:pt idx="5295">
                  <c:v>2.66868</c:v>
                </c:pt>
                <c:pt idx="5296">
                  <c:v>2.669184</c:v>
                </c:pt>
                <c:pt idx="5297">
                  <c:v>2.669688</c:v>
                </c:pt>
                <c:pt idx="5298">
                  <c:v>2.670192</c:v>
                </c:pt>
                <c:pt idx="5299">
                  <c:v>2.670696</c:v>
                </c:pt>
                <c:pt idx="5300">
                  <c:v>2.6712</c:v>
                </c:pt>
                <c:pt idx="5301">
                  <c:v>2.671704</c:v>
                </c:pt>
                <c:pt idx="5302">
                  <c:v>2.672208</c:v>
                </c:pt>
                <c:pt idx="5303">
                  <c:v>2.672712</c:v>
                </c:pt>
                <c:pt idx="5304">
                  <c:v>2.673216</c:v>
                </c:pt>
                <c:pt idx="5305">
                  <c:v>2.67372</c:v>
                </c:pt>
                <c:pt idx="5306">
                  <c:v>2.674224</c:v>
                </c:pt>
                <c:pt idx="5307">
                  <c:v>2.674728</c:v>
                </c:pt>
                <c:pt idx="5308">
                  <c:v>2.675232</c:v>
                </c:pt>
                <c:pt idx="5309">
                  <c:v>2.675736</c:v>
                </c:pt>
                <c:pt idx="5310">
                  <c:v>2.67624</c:v>
                </c:pt>
                <c:pt idx="5311">
                  <c:v>2.676744</c:v>
                </c:pt>
                <c:pt idx="5312">
                  <c:v>2.677248</c:v>
                </c:pt>
                <c:pt idx="5313">
                  <c:v>2.677752</c:v>
                </c:pt>
                <c:pt idx="5314">
                  <c:v>2.678256</c:v>
                </c:pt>
                <c:pt idx="5315">
                  <c:v>2.67876</c:v>
                </c:pt>
                <c:pt idx="5316">
                  <c:v>2.679264</c:v>
                </c:pt>
                <c:pt idx="5317">
                  <c:v>2.679768</c:v>
                </c:pt>
                <c:pt idx="5318">
                  <c:v>2.680272</c:v>
                </c:pt>
                <c:pt idx="5319">
                  <c:v>2.680776</c:v>
                </c:pt>
                <c:pt idx="5320">
                  <c:v>2.68128</c:v>
                </c:pt>
                <c:pt idx="5321">
                  <c:v>2.681784</c:v>
                </c:pt>
                <c:pt idx="5322">
                  <c:v>2.682288</c:v>
                </c:pt>
                <c:pt idx="5323">
                  <c:v>2.682792</c:v>
                </c:pt>
                <c:pt idx="5324">
                  <c:v>2.683296</c:v>
                </c:pt>
                <c:pt idx="5325">
                  <c:v>2.6838</c:v>
                </c:pt>
                <c:pt idx="5326">
                  <c:v>2.684304</c:v>
                </c:pt>
                <c:pt idx="5327">
                  <c:v>2.684808</c:v>
                </c:pt>
                <c:pt idx="5328">
                  <c:v>2.685312</c:v>
                </c:pt>
                <c:pt idx="5329">
                  <c:v>2.685816</c:v>
                </c:pt>
                <c:pt idx="5330">
                  <c:v>2.68632</c:v>
                </c:pt>
                <c:pt idx="5331">
                  <c:v>2.686824</c:v>
                </c:pt>
                <c:pt idx="5332">
                  <c:v>2.687328</c:v>
                </c:pt>
                <c:pt idx="5333">
                  <c:v>2.687832</c:v>
                </c:pt>
                <c:pt idx="5334">
                  <c:v>2.688336</c:v>
                </c:pt>
                <c:pt idx="5335">
                  <c:v>2.68884</c:v>
                </c:pt>
                <c:pt idx="5336">
                  <c:v>2.689344</c:v>
                </c:pt>
                <c:pt idx="5337">
                  <c:v>2.689848</c:v>
                </c:pt>
                <c:pt idx="5338">
                  <c:v>2.690352</c:v>
                </c:pt>
                <c:pt idx="5339">
                  <c:v>2.690856</c:v>
                </c:pt>
                <c:pt idx="5340">
                  <c:v>2.69136</c:v>
                </c:pt>
                <c:pt idx="5341">
                  <c:v>2.691864</c:v>
                </c:pt>
                <c:pt idx="5342">
                  <c:v>2.692368</c:v>
                </c:pt>
                <c:pt idx="5343">
                  <c:v>2.692872</c:v>
                </c:pt>
                <c:pt idx="5344">
                  <c:v>2.693376</c:v>
                </c:pt>
                <c:pt idx="5345">
                  <c:v>2.69388</c:v>
                </c:pt>
                <c:pt idx="5346">
                  <c:v>2.694384</c:v>
                </c:pt>
                <c:pt idx="5347">
                  <c:v>2.694888</c:v>
                </c:pt>
                <c:pt idx="5348">
                  <c:v>2.695392</c:v>
                </c:pt>
                <c:pt idx="5349">
                  <c:v>2.695896</c:v>
                </c:pt>
                <c:pt idx="5350">
                  <c:v>2.6964</c:v>
                </c:pt>
                <c:pt idx="5351">
                  <c:v>2.696904</c:v>
                </c:pt>
                <c:pt idx="5352">
                  <c:v>2.697408</c:v>
                </c:pt>
                <c:pt idx="5353">
                  <c:v>2.697912</c:v>
                </c:pt>
                <c:pt idx="5354">
                  <c:v>2.698416</c:v>
                </c:pt>
                <c:pt idx="5355">
                  <c:v>2.69892</c:v>
                </c:pt>
                <c:pt idx="5356">
                  <c:v>2.699424</c:v>
                </c:pt>
                <c:pt idx="5357">
                  <c:v>2.699928</c:v>
                </c:pt>
                <c:pt idx="5358">
                  <c:v>2.700432</c:v>
                </c:pt>
                <c:pt idx="5359">
                  <c:v>2.700936</c:v>
                </c:pt>
                <c:pt idx="5360">
                  <c:v>2.70144</c:v>
                </c:pt>
                <c:pt idx="5361">
                  <c:v>2.701944</c:v>
                </c:pt>
                <c:pt idx="5362">
                  <c:v>2.702448</c:v>
                </c:pt>
                <c:pt idx="5363">
                  <c:v>2.702952</c:v>
                </c:pt>
                <c:pt idx="5364">
                  <c:v>2.703456</c:v>
                </c:pt>
                <c:pt idx="5365">
                  <c:v>2.70396</c:v>
                </c:pt>
                <c:pt idx="5366">
                  <c:v>2.704464</c:v>
                </c:pt>
                <c:pt idx="5367">
                  <c:v>2.704968</c:v>
                </c:pt>
                <c:pt idx="5368">
                  <c:v>2.705472</c:v>
                </c:pt>
                <c:pt idx="5369">
                  <c:v>2.705976</c:v>
                </c:pt>
                <c:pt idx="5370">
                  <c:v>2.70648</c:v>
                </c:pt>
                <c:pt idx="5371">
                  <c:v>2.706984</c:v>
                </c:pt>
                <c:pt idx="5372">
                  <c:v>2.707488</c:v>
                </c:pt>
                <c:pt idx="5373">
                  <c:v>2.707992</c:v>
                </c:pt>
                <c:pt idx="5374">
                  <c:v>2.708496</c:v>
                </c:pt>
                <c:pt idx="5375">
                  <c:v>2.709</c:v>
                </c:pt>
                <c:pt idx="5376">
                  <c:v>2.709504</c:v>
                </c:pt>
                <c:pt idx="5377">
                  <c:v>2.710008</c:v>
                </c:pt>
                <c:pt idx="5378">
                  <c:v>2.710512</c:v>
                </c:pt>
                <c:pt idx="5379">
                  <c:v>2.711016</c:v>
                </c:pt>
                <c:pt idx="5380">
                  <c:v>2.71152</c:v>
                </c:pt>
                <c:pt idx="5381">
                  <c:v>2.712024</c:v>
                </c:pt>
                <c:pt idx="5382">
                  <c:v>2.712528</c:v>
                </c:pt>
                <c:pt idx="5383">
                  <c:v>2.713032</c:v>
                </c:pt>
                <c:pt idx="5384">
                  <c:v>2.713536</c:v>
                </c:pt>
                <c:pt idx="5385">
                  <c:v>2.71404</c:v>
                </c:pt>
                <c:pt idx="5386">
                  <c:v>2.714544</c:v>
                </c:pt>
                <c:pt idx="5387">
                  <c:v>2.715048</c:v>
                </c:pt>
                <c:pt idx="5388">
                  <c:v>2.715552</c:v>
                </c:pt>
                <c:pt idx="5389">
                  <c:v>2.716056</c:v>
                </c:pt>
                <c:pt idx="5390">
                  <c:v>2.71656</c:v>
                </c:pt>
                <c:pt idx="5391">
                  <c:v>2.717064</c:v>
                </c:pt>
                <c:pt idx="5392">
                  <c:v>2.717568</c:v>
                </c:pt>
                <c:pt idx="5393">
                  <c:v>2.718072</c:v>
                </c:pt>
                <c:pt idx="5394">
                  <c:v>2.718576</c:v>
                </c:pt>
                <c:pt idx="5395">
                  <c:v>2.71908</c:v>
                </c:pt>
                <c:pt idx="5396">
                  <c:v>2.719584</c:v>
                </c:pt>
                <c:pt idx="5397">
                  <c:v>2.720088</c:v>
                </c:pt>
                <c:pt idx="5398">
                  <c:v>2.720592</c:v>
                </c:pt>
                <c:pt idx="5399">
                  <c:v>2.721096</c:v>
                </c:pt>
                <c:pt idx="5400">
                  <c:v>2.7216</c:v>
                </c:pt>
                <c:pt idx="5401">
                  <c:v>2.722104</c:v>
                </c:pt>
                <c:pt idx="5402">
                  <c:v>2.722608</c:v>
                </c:pt>
                <c:pt idx="5403">
                  <c:v>2.723112</c:v>
                </c:pt>
                <c:pt idx="5404">
                  <c:v>2.723616</c:v>
                </c:pt>
                <c:pt idx="5405">
                  <c:v>2.72412</c:v>
                </c:pt>
                <c:pt idx="5406">
                  <c:v>2.724624</c:v>
                </c:pt>
                <c:pt idx="5407">
                  <c:v>2.725128</c:v>
                </c:pt>
                <c:pt idx="5408">
                  <c:v>2.725632</c:v>
                </c:pt>
                <c:pt idx="5409">
                  <c:v>2.726136</c:v>
                </c:pt>
                <c:pt idx="5410">
                  <c:v>2.72664</c:v>
                </c:pt>
                <c:pt idx="5411">
                  <c:v>2.727144</c:v>
                </c:pt>
                <c:pt idx="5412">
                  <c:v>2.727648</c:v>
                </c:pt>
                <c:pt idx="5413">
                  <c:v>2.728152</c:v>
                </c:pt>
                <c:pt idx="5414">
                  <c:v>2.728656</c:v>
                </c:pt>
                <c:pt idx="5415">
                  <c:v>2.72916</c:v>
                </c:pt>
                <c:pt idx="5416">
                  <c:v>2.729664</c:v>
                </c:pt>
                <c:pt idx="5417">
                  <c:v>2.730168</c:v>
                </c:pt>
                <c:pt idx="5418">
                  <c:v>2.730672</c:v>
                </c:pt>
                <c:pt idx="5419">
                  <c:v>2.731176</c:v>
                </c:pt>
                <c:pt idx="5420">
                  <c:v>2.73168</c:v>
                </c:pt>
                <c:pt idx="5421">
                  <c:v>2.732184</c:v>
                </c:pt>
                <c:pt idx="5422">
                  <c:v>2.732688</c:v>
                </c:pt>
                <c:pt idx="5423">
                  <c:v>2.733192</c:v>
                </c:pt>
                <c:pt idx="5424">
                  <c:v>2.733696</c:v>
                </c:pt>
                <c:pt idx="5425">
                  <c:v>2.7342</c:v>
                </c:pt>
                <c:pt idx="5426">
                  <c:v>2.734704</c:v>
                </c:pt>
                <c:pt idx="5427">
                  <c:v>2.735208</c:v>
                </c:pt>
                <c:pt idx="5428">
                  <c:v>2.735712</c:v>
                </c:pt>
                <c:pt idx="5429">
                  <c:v>2.736216</c:v>
                </c:pt>
                <c:pt idx="5430">
                  <c:v>2.73672</c:v>
                </c:pt>
                <c:pt idx="5431">
                  <c:v>2.737224</c:v>
                </c:pt>
                <c:pt idx="5432">
                  <c:v>2.737728</c:v>
                </c:pt>
                <c:pt idx="5433">
                  <c:v>2.738232</c:v>
                </c:pt>
                <c:pt idx="5434">
                  <c:v>2.738736</c:v>
                </c:pt>
                <c:pt idx="5435">
                  <c:v>2.73924</c:v>
                </c:pt>
                <c:pt idx="5436">
                  <c:v>2.739744</c:v>
                </c:pt>
                <c:pt idx="5437">
                  <c:v>2.740248</c:v>
                </c:pt>
                <c:pt idx="5438">
                  <c:v>2.740752</c:v>
                </c:pt>
                <c:pt idx="5439">
                  <c:v>2.741256</c:v>
                </c:pt>
                <c:pt idx="5440">
                  <c:v>2.74176</c:v>
                </c:pt>
                <c:pt idx="5441">
                  <c:v>2.742264</c:v>
                </c:pt>
                <c:pt idx="5442">
                  <c:v>2.742768</c:v>
                </c:pt>
                <c:pt idx="5443">
                  <c:v>2.743272</c:v>
                </c:pt>
                <c:pt idx="5444">
                  <c:v>2.743776</c:v>
                </c:pt>
                <c:pt idx="5445">
                  <c:v>2.74428</c:v>
                </c:pt>
                <c:pt idx="5446">
                  <c:v>2.744784</c:v>
                </c:pt>
                <c:pt idx="5447">
                  <c:v>2.745288</c:v>
                </c:pt>
                <c:pt idx="5448">
                  <c:v>2.745792</c:v>
                </c:pt>
                <c:pt idx="5449">
                  <c:v>2.746296</c:v>
                </c:pt>
                <c:pt idx="5450">
                  <c:v>2.7468</c:v>
                </c:pt>
                <c:pt idx="5451">
                  <c:v>2.747304</c:v>
                </c:pt>
                <c:pt idx="5452">
                  <c:v>2.747808</c:v>
                </c:pt>
                <c:pt idx="5453">
                  <c:v>2.748312</c:v>
                </c:pt>
                <c:pt idx="5454">
                  <c:v>2.748816</c:v>
                </c:pt>
                <c:pt idx="5455">
                  <c:v>2.74932</c:v>
                </c:pt>
                <c:pt idx="5456">
                  <c:v>2.749824</c:v>
                </c:pt>
                <c:pt idx="5457">
                  <c:v>2.750328</c:v>
                </c:pt>
                <c:pt idx="5458">
                  <c:v>2.750832</c:v>
                </c:pt>
                <c:pt idx="5459">
                  <c:v>2.751336</c:v>
                </c:pt>
                <c:pt idx="5460">
                  <c:v>2.75184</c:v>
                </c:pt>
                <c:pt idx="5461">
                  <c:v>2.752344</c:v>
                </c:pt>
                <c:pt idx="5462">
                  <c:v>2.752848</c:v>
                </c:pt>
                <c:pt idx="5463">
                  <c:v>2.753352</c:v>
                </c:pt>
                <c:pt idx="5464">
                  <c:v>2.753856</c:v>
                </c:pt>
                <c:pt idx="5465">
                  <c:v>2.75436</c:v>
                </c:pt>
                <c:pt idx="5466">
                  <c:v>2.754864</c:v>
                </c:pt>
                <c:pt idx="5467">
                  <c:v>2.755368</c:v>
                </c:pt>
                <c:pt idx="5468">
                  <c:v>2.755872</c:v>
                </c:pt>
                <c:pt idx="5469">
                  <c:v>2.756376</c:v>
                </c:pt>
                <c:pt idx="5470">
                  <c:v>2.75688</c:v>
                </c:pt>
                <c:pt idx="5471">
                  <c:v>2.757384</c:v>
                </c:pt>
                <c:pt idx="5472">
                  <c:v>2.757888</c:v>
                </c:pt>
                <c:pt idx="5473">
                  <c:v>2.758392</c:v>
                </c:pt>
                <c:pt idx="5474">
                  <c:v>2.758896</c:v>
                </c:pt>
                <c:pt idx="5475">
                  <c:v>2.7594</c:v>
                </c:pt>
                <c:pt idx="5476">
                  <c:v>2.759904</c:v>
                </c:pt>
                <c:pt idx="5477">
                  <c:v>2.760408</c:v>
                </c:pt>
                <c:pt idx="5478">
                  <c:v>2.760912</c:v>
                </c:pt>
                <c:pt idx="5479">
                  <c:v>2.761416</c:v>
                </c:pt>
                <c:pt idx="5480">
                  <c:v>2.76192</c:v>
                </c:pt>
                <c:pt idx="5481">
                  <c:v>2.762424</c:v>
                </c:pt>
                <c:pt idx="5482">
                  <c:v>2.762928</c:v>
                </c:pt>
                <c:pt idx="5483">
                  <c:v>2.763432</c:v>
                </c:pt>
                <c:pt idx="5484">
                  <c:v>2.763936</c:v>
                </c:pt>
                <c:pt idx="5485">
                  <c:v>2.76444</c:v>
                </c:pt>
                <c:pt idx="5486">
                  <c:v>2.764944</c:v>
                </c:pt>
                <c:pt idx="5487">
                  <c:v>2.765448</c:v>
                </c:pt>
                <c:pt idx="5488">
                  <c:v>2.765952</c:v>
                </c:pt>
                <c:pt idx="5489">
                  <c:v>2.766456</c:v>
                </c:pt>
                <c:pt idx="5490">
                  <c:v>2.76696</c:v>
                </c:pt>
                <c:pt idx="5491">
                  <c:v>2.767464</c:v>
                </c:pt>
                <c:pt idx="5492">
                  <c:v>2.767968</c:v>
                </c:pt>
                <c:pt idx="5493">
                  <c:v>2.768472</c:v>
                </c:pt>
                <c:pt idx="5494">
                  <c:v>2.768976</c:v>
                </c:pt>
                <c:pt idx="5495">
                  <c:v>2.76948</c:v>
                </c:pt>
                <c:pt idx="5496">
                  <c:v>2.769984</c:v>
                </c:pt>
                <c:pt idx="5497">
                  <c:v>2.770488</c:v>
                </c:pt>
                <c:pt idx="5498">
                  <c:v>2.770992</c:v>
                </c:pt>
                <c:pt idx="5499">
                  <c:v>2.771496</c:v>
                </c:pt>
                <c:pt idx="5500">
                  <c:v>2.772</c:v>
                </c:pt>
                <c:pt idx="5501">
                  <c:v>2.772504</c:v>
                </c:pt>
                <c:pt idx="5502">
                  <c:v>2.773008</c:v>
                </c:pt>
                <c:pt idx="5503">
                  <c:v>2.773512</c:v>
                </c:pt>
                <c:pt idx="5504">
                  <c:v>2.774016</c:v>
                </c:pt>
                <c:pt idx="5505">
                  <c:v>2.77452</c:v>
                </c:pt>
                <c:pt idx="5506">
                  <c:v>2.775024</c:v>
                </c:pt>
                <c:pt idx="5507">
                  <c:v>2.775528</c:v>
                </c:pt>
                <c:pt idx="5508">
                  <c:v>2.776032</c:v>
                </c:pt>
                <c:pt idx="5509">
                  <c:v>2.776536</c:v>
                </c:pt>
                <c:pt idx="5510">
                  <c:v>2.77704</c:v>
                </c:pt>
                <c:pt idx="5511">
                  <c:v>2.777544</c:v>
                </c:pt>
                <c:pt idx="5512">
                  <c:v>2.778048</c:v>
                </c:pt>
                <c:pt idx="5513">
                  <c:v>2.778552</c:v>
                </c:pt>
                <c:pt idx="5514">
                  <c:v>2.779056</c:v>
                </c:pt>
                <c:pt idx="5515">
                  <c:v>2.77956</c:v>
                </c:pt>
                <c:pt idx="5516">
                  <c:v>2.780064</c:v>
                </c:pt>
                <c:pt idx="5517">
                  <c:v>2.780568</c:v>
                </c:pt>
                <c:pt idx="5518">
                  <c:v>2.781072</c:v>
                </c:pt>
                <c:pt idx="5519">
                  <c:v>2.781576</c:v>
                </c:pt>
                <c:pt idx="5520">
                  <c:v>2.78208</c:v>
                </c:pt>
                <c:pt idx="5521">
                  <c:v>2.782584</c:v>
                </c:pt>
                <c:pt idx="5522">
                  <c:v>2.783088</c:v>
                </c:pt>
                <c:pt idx="5523">
                  <c:v>2.783592</c:v>
                </c:pt>
                <c:pt idx="5524">
                  <c:v>2.784096</c:v>
                </c:pt>
                <c:pt idx="5525">
                  <c:v>2.7846</c:v>
                </c:pt>
                <c:pt idx="5526">
                  <c:v>2.785104</c:v>
                </c:pt>
                <c:pt idx="5527">
                  <c:v>2.785608</c:v>
                </c:pt>
                <c:pt idx="5528">
                  <c:v>2.786112</c:v>
                </c:pt>
                <c:pt idx="5529">
                  <c:v>2.786616</c:v>
                </c:pt>
                <c:pt idx="5530">
                  <c:v>2.78712</c:v>
                </c:pt>
                <c:pt idx="5531">
                  <c:v>2.787624</c:v>
                </c:pt>
                <c:pt idx="5532">
                  <c:v>2.788128</c:v>
                </c:pt>
                <c:pt idx="5533">
                  <c:v>2.788632</c:v>
                </c:pt>
                <c:pt idx="5534">
                  <c:v>2.789136</c:v>
                </c:pt>
                <c:pt idx="5535">
                  <c:v>2.78964</c:v>
                </c:pt>
                <c:pt idx="5536">
                  <c:v>2.790144</c:v>
                </c:pt>
                <c:pt idx="5537">
                  <c:v>2.790648</c:v>
                </c:pt>
                <c:pt idx="5538">
                  <c:v>2.791152</c:v>
                </c:pt>
                <c:pt idx="5539">
                  <c:v>2.791656</c:v>
                </c:pt>
                <c:pt idx="5540">
                  <c:v>2.79216</c:v>
                </c:pt>
                <c:pt idx="5541">
                  <c:v>2.792664</c:v>
                </c:pt>
                <c:pt idx="5542">
                  <c:v>2.793168</c:v>
                </c:pt>
                <c:pt idx="5543">
                  <c:v>2.793672</c:v>
                </c:pt>
                <c:pt idx="5544">
                  <c:v>2.794176</c:v>
                </c:pt>
                <c:pt idx="5545">
                  <c:v>2.79468</c:v>
                </c:pt>
                <c:pt idx="5546">
                  <c:v>2.795184</c:v>
                </c:pt>
                <c:pt idx="5547">
                  <c:v>2.795688</c:v>
                </c:pt>
                <c:pt idx="5548">
                  <c:v>2.796192</c:v>
                </c:pt>
                <c:pt idx="5549">
                  <c:v>2.796696</c:v>
                </c:pt>
                <c:pt idx="5550">
                  <c:v>2.7972</c:v>
                </c:pt>
                <c:pt idx="5551">
                  <c:v>2.797704</c:v>
                </c:pt>
                <c:pt idx="5552">
                  <c:v>2.798208</c:v>
                </c:pt>
                <c:pt idx="5553">
                  <c:v>2.798712</c:v>
                </c:pt>
                <c:pt idx="5554">
                  <c:v>2.799216</c:v>
                </c:pt>
                <c:pt idx="5555">
                  <c:v>2.79972</c:v>
                </c:pt>
                <c:pt idx="5556">
                  <c:v>2.800224</c:v>
                </c:pt>
                <c:pt idx="5557">
                  <c:v>2.800728</c:v>
                </c:pt>
                <c:pt idx="5558">
                  <c:v>2.801232</c:v>
                </c:pt>
                <c:pt idx="5559">
                  <c:v>2.801736</c:v>
                </c:pt>
                <c:pt idx="5560">
                  <c:v>2.80224</c:v>
                </c:pt>
                <c:pt idx="5561">
                  <c:v>2.802744</c:v>
                </c:pt>
                <c:pt idx="5562">
                  <c:v>2.803248</c:v>
                </c:pt>
                <c:pt idx="5563">
                  <c:v>2.803752</c:v>
                </c:pt>
                <c:pt idx="5564">
                  <c:v>2.804256</c:v>
                </c:pt>
                <c:pt idx="5565">
                  <c:v>2.80476</c:v>
                </c:pt>
                <c:pt idx="5566">
                  <c:v>2.805264</c:v>
                </c:pt>
                <c:pt idx="5567">
                  <c:v>2.805768</c:v>
                </c:pt>
                <c:pt idx="5568">
                  <c:v>2.806272</c:v>
                </c:pt>
                <c:pt idx="5569">
                  <c:v>2.806776</c:v>
                </c:pt>
                <c:pt idx="5570">
                  <c:v>2.80728</c:v>
                </c:pt>
                <c:pt idx="5571">
                  <c:v>2.807784</c:v>
                </c:pt>
                <c:pt idx="5572">
                  <c:v>2.808288</c:v>
                </c:pt>
                <c:pt idx="5573">
                  <c:v>2.808792</c:v>
                </c:pt>
                <c:pt idx="5574">
                  <c:v>2.809296</c:v>
                </c:pt>
                <c:pt idx="5575">
                  <c:v>2.8098</c:v>
                </c:pt>
                <c:pt idx="5576">
                  <c:v>2.810304</c:v>
                </c:pt>
                <c:pt idx="5577">
                  <c:v>2.810808</c:v>
                </c:pt>
                <c:pt idx="5578">
                  <c:v>2.811312</c:v>
                </c:pt>
                <c:pt idx="5579">
                  <c:v>2.811816</c:v>
                </c:pt>
                <c:pt idx="5580">
                  <c:v>2.81232</c:v>
                </c:pt>
                <c:pt idx="5581">
                  <c:v>2.812824</c:v>
                </c:pt>
                <c:pt idx="5582">
                  <c:v>2.813328</c:v>
                </c:pt>
                <c:pt idx="5583">
                  <c:v>2.813832</c:v>
                </c:pt>
                <c:pt idx="5584">
                  <c:v>2.814336</c:v>
                </c:pt>
                <c:pt idx="5585">
                  <c:v>2.81484</c:v>
                </c:pt>
                <c:pt idx="5586">
                  <c:v>2.815344</c:v>
                </c:pt>
                <c:pt idx="5587">
                  <c:v>2.815848</c:v>
                </c:pt>
                <c:pt idx="5588">
                  <c:v>2.816352</c:v>
                </c:pt>
                <c:pt idx="5589">
                  <c:v>2.816856</c:v>
                </c:pt>
                <c:pt idx="5590">
                  <c:v>2.81736</c:v>
                </c:pt>
                <c:pt idx="5591">
                  <c:v>2.817864</c:v>
                </c:pt>
                <c:pt idx="5592">
                  <c:v>2.818368</c:v>
                </c:pt>
                <c:pt idx="5593">
                  <c:v>2.818872</c:v>
                </c:pt>
                <c:pt idx="5594">
                  <c:v>2.819376</c:v>
                </c:pt>
                <c:pt idx="5595">
                  <c:v>2.81988</c:v>
                </c:pt>
                <c:pt idx="5596">
                  <c:v>2.820384</c:v>
                </c:pt>
                <c:pt idx="5597">
                  <c:v>2.820888</c:v>
                </c:pt>
                <c:pt idx="5598">
                  <c:v>2.821392</c:v>
                </c:pt>
                <c:pt idx="5599">
                  <c:v>2.821896</c:v>
                </c:pt>
                <c:pt idx="5600">
                  <c:v>2.8224</c:v>
                </c:pt>
                <c:pt idx="5601">
                  <c:v>2.822904</c:v>
                </c:pt>
                <c:pt idx="5602">
                  <c:v>2.823408</c:v>
                </c:pt>
                <c:pt idx="5603">
                  <c:v>2.823912</c:v>
                </c:pt>
                <c:pt idx="5604">
                  <c:v>2.824416</c:v>
                </c:pt>
                <c:pt idx="5605">
                  <c:v>2.82492</c:v>
                </c:pt>
                <c:pt idx="5606">
                  <c:v>2.825424</c:v>
                </c:pt>
                <c:pt idx="5607">
                  <c:v>2.825928</c:v>
                </c:pt>
                <c:pt idx="5608">
                  <c:v>2.826432</c:v>
                </c:pt>
                <c:pt idx="5609">
                  <c:v>2.826936</c:v>
                </c:pt>
                <c:pt idx="5610">
                  <c:v>2.82744</c:v>
                </c:pt>
                <c:pt idx="5611">
                  <c:v>2.827944</c:v>
                </c:pt>
                <c:pt idx="5612">
                  <c:v>2.828448</c:v>
                </c:pt>
                <c:pt idx="5613">
                  <c:v>2.828952</c:v>
                </c:pt>
                <c:pt idx="5614">
                  <c:v>2.829456</c:v>
                </c:pt>
                <c:pt idx="5615">
                  <c:v>2.82996</c:v>
                </c:pt>
                <c:pt idx="5616">
                  <c:v>2.830464</c:v>
                </c:pt>
                <c:pt idx="5617">
                  <c:v>2.830968</c:v>
                </c:pt>
                <c:pt idx="5618">
                  <c:v>2.831472</c:v>
                </c:pt>
                <c:pt idx="5619">
                  <c:v>2.831976</c:v>
                </c:pt>
                <c:pt idx="5620">
                  <c:v>2.83248</c:v>
                </c:pt>
                <c:pt idx="5621">
                  <c:v>2.832984</c:v>
                </c:pt>
                <c:pt idx="5622">
                  <c:v>2.833488</c:v>
                </c:pt>
                <c:pt idx="5623">
                  <c:v>2.833992</c:v>
                </c:pt>
                <c:pt idx="5624">
                  <c:v>2.834496</c:v>
                </c:pt>
                <c:pt idx="5625">
                  <c:v>2.835</c:v>
                </c:pt>
                <c:pt idx="5626">
                  <c:v>2.835504</c:v>
                </c:pt>
                <c:pt idx="5627">
                  <c:v>2.836008</c:v>
                </c:pt>
                <c:pt idx="5628">
                  <c:v>2.836512</c:v>
                </c:pt>
                <c:pt idx="5629">
                  <c:v>2.837016</c:v>
                </c:pt>
                <c:pt idx="5630">
                  <c:v>2.83752</c:v>
                </c:pt>
                <c:pt idx="5631">
                  <c:v>2.838024</c:v>
                </c:pt>
                <c:pt idx="5632">
                  <c:v>2.838528</c:v>
                </c:pt>
                <c:pt idx="5633">
                  <c:v>2.839032</c:v>
                </c:pt>
                <c:pt idx="5634">
                  <c:v>2.839536</c:v>
                </c:pt>
                <c:pt idx="5635">
                  <c:v>2.84004</c:v>
                </c:pt>
                <c:pt idx="5636">
                  <c:v>2.840544</c:v>
                </c:pt>
                <c:pt idx="5637">
                  <c:v>2.841048</c:v>
                </c:pt>
                <c:pt idx="5638">
                  <c:v>2.841552</c:v>
                </c:pt>
                <c:pt idx="5639">
                  <c:v>2.842056</c:v>
                </c:pt>
                <c:pt idx="5640">
                  <c:v>2.84256</c:v>
                </c:pt>
                <c:pt idx="5641">
                  <c:v>2.843064</c:v>
                </c:pt>
                <c:pt idx="5642">
                  <c:v>2.843568</c:v>
                </c:pt>
                <c:pt idx="5643">
                  <c:v>2.844072</c:v>
                </c:pt>
                <c:pt idx="5644">
                  <c:v>2.844576</c:v>
                </c:pt>
                <c:pt idx="5645">
                  <c:v>2.84508</c:v>
                </c:pt>
                <c:pt idx="5646">
                  <c:v>2.845584</c:v>
                </c:pt>
                <c:pt idx="5647">
                  <c:v>2.846088</c:v>
                </c:pt>
                <c:pt idx="5648">
                  <c:v>2.846592</c:v>
                </c:pt>
                <c:pt idx="5649">
                  <c:v>2.847096</c:v>
                </c:pt>
                <c:pt idx="5650">
                  <c:v>2.8476</c:v>
                </c:pt>
                <c:pt idx="5651">
                  <c:v>2.848104</c:v>
                </c:pt>
                <c:pt idx="5652">
                  <c:v>2.848608</c:v>
                </c:pt>
                <c:pt idx="5653">
                  <c:v>2.849112</c:v>
                </c:pt>
                <c:pt idx="5654">
                  <c:v>2.849616</c:v>
                </c:pt>
                <c:pt idx="5655">
                  <c:v>2.85012</c:v>
                </c:pt>
                <c:pt idx="5656">
                  <c:v>2.850624</c:v>
                </c:pt>
                <c:pt idx="5657">
                  <c:v>2.851128</c:v>
                </c:pt>
                <c:pt idx="5658">
                  <c:v>2.851632</c:v>
                </c:pt>
                <c:pt idx="5659">
                  <c:v>2.852136</c:v>
                </c:pt>
                <c:pt idx="5660">
                  <c:v>2.85264</c:v>
                </c:pt>
                <c:pt idx="5661">
                  <c:v>2.853144</c:v>
                </c:pt>
                <c:pt idx="5662">
                  <c:v>2.853648</c:v>
                </c:pt>
                <c:pt idx="5663">
                  <c:v>2.854152</c:v>
                </c:pt>
                <c:pt idx="5664">
                  <c:v>2.854656</c:v>
                </c:pt>
                <c:pt idx="5665">
                  <c:v>2.85516</c:v>
                </c:pt>
                <c:pt idx="5666">
                  <c:v>2.855664</c:v>
                </c:pt>
                <c:pt idx="5667">
                  <c:v>2.856168</c:v>
                </c:pt>
                <c:pt idx="5668">
                  <c:v>2.856672</c:v>
                </c:pt>
                <c:pt idx="5669">
                  <c:v>2.857176</c:v>
                </c:pt>
                <c:pt idx="5670">
                  <c:v>2.85768</c:v>
                </c:pt>
                <c:pt idx="5671">
                  <c:v>2.858184</c:v>
                </c:pt>
                <c:pt idx="5672">
                  <c:v>2.858688</c:v>
                </c:pt>
                <c:pt idx="5673">
                  <c:v>2.859192</c:v>
                </c:pt>
                <c:pt idx="5674">
                  <c:v>2.859696</c:v>
                </c:pt>
                <c:pt idx="5675">
                  <c:v>2.8602</c:v>
                </c:pt>
                <c:pt idx="5676">
                  <c:v>2.860704</c:v>
                </c:pt>
                <c:pt idx="5677">
                  <c:v>2.861208</c:v>
                </c:pt>
                <c:pt idx="5678">
                  <c:v>2.861712</c:v>
                </c:pt>
                <c:pt idx="5679">
                  <c:v>2.862216</c:v>
                </c:pt>
                <c:pt idx="5680">
                  <c:v>2.86272</c:v>
                </c:pt>
                <c:pt idx="5681">
                  <c:v>2.863224</c:v>
                </c:pt>
                <c:pt idx="5682">
                  <c:v>2.863728</c:v>
                </c:pt>
                <c:pt idx="5683">
                  <c:v>2.864232</c:v>
                </c:pt>
                <c:pt idx="5684">
                  <c:v>2.864736</c:v>
                </c:pt>
                <c:pt idx="5685">
                  <c:v>2.86524</c:v>
                </c:pt>
                <c:pt idx="5686">
                  <c:v>2.865744</c:v>
                </c:pt>
                <c:pt idx="5687">
                  <c:v>2.866248</c:v>
                </c:pt>
                <c:pt idx="5688">
                  <c:v>2.866752</c:v>
                </c:pt>
                <c:pt idx="5689">
                  <c:v>2.867256</c:v>
                </c:pt>
                <c:pt idx="5690">
                  <c:v>2.86776</c:v>
                </c:pt>
                <c:pt idx="5691">
                  <c:v>2.868264</c:v>
                </c:pt>
                <c:pt idx="5692">
                  <c:v>2.868768</c:v>
                </c:pt>
                <c:pt idx="5693">
                  <c:v>2.869272</c:v>
                </c:pt>
                <c:pt idx="5694">
                  <c:v>2.869776</c:v>
                </c:pt>
                <c:pt idx="5695">
                  <c:v>2.87028</c:v>
                </c:pt>
                <c:pt idx="5696">
                  <c:v>2.870784</c:v>
                </c:pt>
                <c:pt idx="5697">
                  <c:v>2.871288</c:v>
                </c:pt>
                <c:pt idx="5698">
                  <c:v>2.871792</c:v>
                </c:pt>
                <c:pt idx="5699">
                  <c:v>2.872296</c:v>
                </c:pt>
                <c:pt idx="5700">
                  <c:v>2.8728</c:v>
                </c:pt>
                <c:pt idx="5701">
                  <c:v>2.873304</c:v>
                </c:pt>
                <c:pt idx="5702">
                  <c:v>2.873808</c:v>
                </c:pt>
                <c:pt idx="5703">
                  <c:v>2.874312</c:v>
                </c:pt>
                <c:pt idx="5704">
                  <c:v>2.874816</c:v>
                </c:pt>
                <c:pt idx="5705">
                  <c:v>2.87532</c:v>
                </c:pt>
                <c:pt idx="5706">
                  <c:v>2.875824</c:v>
                </c:pt>
                <c:pt idx="5707">
                  <c:v>2.876328</c:v>
                </c:pt>
                <c:pt idx="5708">
                  <c:v>2.876832</c:v>
                </c:pt>
                <c:pt idx="5709">
                  <c:v>2.877336</c:v>
                </c:pt>
                <c:pt idx="5710">
                  <c:v>2.87784</c:v>
                </c:pt>
                <c:pt idx="5711">
                  <c:v>2.878344</c:v>
                </c:pt>
                <c:pt idx="5712">
                  <c:v>2.878848</c:v>
                </c:pt>
                <c:pt idx="5713">
                  <c:v>2.879352</c:v>
                </c:pt>
                <c:pt idx="5714">
                  <c:v>2.879856</c:v>
                </c:pt>
                <c:pt idx="5715">
                  <c:v>2.88036</c:v>
                </c:pt>
                <c:pt idx="5716">
                  <c:v>2.880864</c:v>
                </c:pt>
                <c:pt idx="5717">
                  <c:v>2.881368</c:v>
                </c:pt>
                <c:pt idx="5718">
                  <c:v>2.881872</c:v>
                </c:pt>
                <c:pt idx="5719">
                  <c:v>2.882376</c:v>
                </c:pt>
                <c:pt idx="5720">
                  <c:v>2.88288</c:v>
                </c:pt>
                <c:pt idx="5721">
                  <c:v>2.883384</c:v>
                </c:pt>
                <c:pt idx="5722">
                  <c:v>2.883888</c:v>
                </c:pt>
                <c:pt idx="5723">
                  <c:v>2.884392</c:v>
                </c:pt>
                <c:pt idx="5724">
                  <c:v>2.884896</c:v>
                </c:pt>
                <c:pt idx="5725">
                  <c:v>2.8854</c:v>
                </c:pt>
                <c:pt idx="5726">
                  <c:v>2.885904</c:v>
                </c:pt>
                <c:pt idx="5727">
                  <c:v>2.886408</c:v>
                </c:pt>
                <c:pt idx="5728">
                  <c:v>2.886912</c:v>
                </c:pt>
                <c:pt idx="5729">
                  <c:v>2.887416</c:v>
                </c:pt>
                <c:pt idx="5730">
                  <c:v>2.88792</c:v>
                </c:pt>
                <c:pt idx="5731">
                  <c:v>2.888424</c:v>
                </c:pt>
                <c:pt idx="5732">
                  <c:v>2.888928</c:v>
                </c:pt>
                <c:pt idx="5733">
                  <c:v>2.889432</c:v>
                </c:pt>
                <c:pt idx="5734">
                  <c:v>2.889936</c:v>
                </c:pt>
                <c:pt idx="5735">
                  <c:v>2.89044</c:v>
                </c:pt>
                <c:pt idx="5736">
                  <c:v>2.890944</c:v>
                </c:pt>
                <c:pt idx="5737">
                  <c:v>2.891448</c:v>
                </c:pt>
                <c:pt idx="5738">
                  <c:v>2.891952</c:v>
                </c:pt>
                <c:pt idx="5739">
                  <c:v>2.892456</c:v>
                </c:pt>
                <c:pt idx="5740">
                  <c:v>2.89296</c:v>
                </c:pt>
                <c:pt idx="5741">
                  <c:v>2.893464</c:v>
                </c:pt>
                <c:pt idx="5742">
                  <c:v>2.893968</c:v>
                </c:pt>
                <c:pt idx="5743">
                  <c:v>2.894472</c:v>
                </c:pt>
                <c:pt idx="5744">
                  <c:v>2.894976</c:v>
                </c:pt>
                <c:pt idx="5745">
                  <c:v>2.89548</c:v>
                </c:pt>
                <c:pt idx="5746">
                  <c:v>2.895984</c:v>
                </c:pt>
                <c:pt idx="5747">
                  <c:v>2.896488</c:v>
                </c:pt>
                <c:pt idx="5748">
                  <c:v>2.896992</c:v>
                </c:pt>
                <c:pt idx="5749">
                  <c:v>2.897496</c:v>
                </c:pt>
                <c:pt idx="5750">
                  <c:v>2.898</c:v>
                </c:pt>
                <c:pt idx="5751">
                  <c:v>2.898504</c:v>
                </c:pt>
                <c:pt idx="5752">
                  <c:v>2.899008</c:v>
                </c:pt>
                <c:pt idx="5753">
                  <c:v>2.899512</c:v>
                </c:pt>
                <c:pt idx="5754">
                  <c:v>2.900016</c:v>
                </c:pt>
                <c:pt idx="5755">
                  <c:v>2.90052</c:v>
                </c:pt>
                <c:pt idx="5756">
                  <c:v>2.901024</c:v>
                </c:pt>
                <c:pt idx="5757">
                  <c:v>2.901528</c:v>
                </c:pt>
                <c:pt idx="5758">
                  <c:v>2.902032</c:v>
                </c:pt>
                <c:pt idx="5759">
                  <c:v>2.902536</c:v>
                </c:pt>
                <c:pt idx="5760">
                  <c:v>2.90304</c:v>
                </c:pt>
                <c:pt idx="5761">
                  <c:v>2.903544</c:v>
                </c:pt>
                <c:pt idx="5762">
                  <c:v>2.904048</c:v>
                </c:pt>
                <c:pt idx="5763">
                  <c:v>2.904552</c:v>
                </c:pt>
                <c:pt idx="5764">
                  <c:v>2.905056</c:v>
                </c:pt>
                <c:pt idx="5765">
                  <c:v>2.90556</c:v>
                </c:pt>
                <c:pt idx="5766">
                  <c:v>2.906064</c:v>
                </c:pt>
                <c:pt idx="5767">
                  <c:v>2.906568</c:v>
                </c:pt>
                <c:pt idx="5768">
                  <c:v>2.907072</c:v>
                </c:pt>
                <c:pt idx="5769">
                  <c:v>2.907576</c:v>
                </c:pt>
                <c:pt idx="5770">
                  <c:v>2.90808</c:v>
                </c:pt>
                <c:pt idx="5771">
                  <c:v>2.908584</c:v>
                </c:pt>
                <c:pt idx="5772">
                  <c:v>2.909088</c:v>
                </c:pt>
                <c:pt idx="5773">
                  <c:v>2.909592</c:v>
                </c:pt>
                <c:pt idx="5774">
                  <c:v>2.910096</c:v>
                </c:pt>
                <c:pt idx="5775">
                  <c:v>2.9106</c:v>
                </c:pt>
                <c:pt idx="5776">
                  <c:v>2.911104</c:v>
                </c:pt>
                <c:pt idx="5777">
                  <c:v>2.911608</c:v>
                </c:pt>
                <c:pt idx="5778">
                  <c:v>2.912112</c:v>
                </c:pt>
                <c:pt idx="5779">
                  <c:v>2.912616</c:v>
                </c:pt>
                <c:pt idx="5780">
                  <c:v>2.91312</c:v>
                </c:pt>
                <c:pt idx="5781">
                  <c:v>2.913624</c:v>
                </c:pt>
                <c:pt idx="5782">
                  <c:v>2.914128</c:v>
                </c:pt>
                <c:pt idx="5783">
                  <c:v>2.914632</c:v>
                </c:pt>
                <c:pt idx="5784">
                  <c:v>2.915136</c:v>
                </c:pt>
                <c:pt idx="5785">
                  <c:v>2.91564</c:v>
                </c:pt>
                <c:pt idx="5786">
                  <c:v>2.916144</c:v>
                </c:pt>
                <c:pt idx="5787">
                  <c:v>2.916648</c:v>
                </c:pt>
                <c:pt idx="5788">
                  <c:v>2.917152</c:v>
                </c:pt>
                <c:pt idx="5789">
                  <c:v>2.917656</c:v>
                </c:pt>
                <c:pt idx="5790">
                  <c:v>2.91816</c:v>
                </c:pt>
                <c:pt idx="5791">
                  <c:v>2.918664</c:v>
                </c:pt>
                <c:pt idx="5792">
                  <c:v>2.919168</c:v>
                </c:pt>
                <c:pt idx="5793">
                  <c:v>2.919672</c:v>
                </c:pt>
                <c:pt idx="5794">
                  <c:v>2.920176</c:v>
                </c:pt>
                <c:pt idx="5795">
                  <c:v>2.92068</c:v>
                </c:pt>
                <c:pt idx="5796">
                  <c:v>2.921184</c:v>
                </c:pt>
                <c:pt idx="5797">
                  <c:v>2.921688</c:v>
                </c:pt>
                <c:pt idx="5798">
                  <c:v>2.922192</c:v>
                </c:pt>
                <c:pt idx="5799">
                  <c:v>2.922696</c:v>
                </c:pt>
                <c:pt idx="5800">
                  <c:v>2.9232</c:v>
                </c:pt>
                <c:pt idx="5801">
                  <c:v>2.923704</c:v>
                </c:pt>
                <c:pt idx="5802">
                  <c:v>2.924208</c:v>
                </c:pt>
                <c:pt idx="5803">
                  <c:v>2.924712</c:v>
                </c:pt>
                <c:pt idx="5804">
                  <c:v>2.925216</c:v>
                </c:pt>
                <c:pt idx="5805">
                  <c:v>2.92572</c:v>
                </c:pt>
                <c:pt idx="5806">
                  <c:v>2.926224</c:v>
                </c:pt>
                <c:pt idx="5807">
                  <c:v>2.926728</c:v>
                </c:pt>
                <c:pt idx="5808">
                  <c:v>2.927232</c:v>
                </c:pt>
                <c:pt idx="5809">
                  <c:v>2.927736</c:v>
                </c:pt>
                <c:pt idx="5810">
                  <c:v>2.92824</c:v>
                </c:pt>
                <c:pt idx="5811">
                  <c:v>2.928744</c:v>
                </c:pt>
                <c:pt idx="5812">
                  <c:v>2.929248</c:v>
                </c:pt>
                <c:pt idx="5813">
                  <c:v>2.929752</c:v>
                </c:pt>
                <c:pt idx="5814">
                  <c:v>2.930256</c:v>
                </c:pt>
                <c:pt idx="5815">
                  <c:v>2.93076</c:v>
                </c:pt>
                <c:pt idx="5816">
                  <c:v>2.931264</c:v>
                </c:pt>
                <c:pt idx="5817">
                  <c:v>2.931768</c:v>
                </c:pt>
                <c:pt idx="5818">
                  <c:v>2.932272</c:v>
                </c:pt>
                <c:pt idx="5819">
                  <c:v>2.932776</c:v>
                </c:pt>
                <c:pt idx="5820">
                  <c:v>2.93328</c:v>
                </c:pt>
                <c:pt idx="5821">
                  <c:v>2.933784</c:v>
                </c:pt>
                <c:pt idx="5822">
                  <c:v>2.934288</c:v>
                </c:pt>
                <c:pt idx="5823">
                  <c:v>2.934792</c:v>
                </c:pt>
                <c:pt idx="5824">
                  <c:v>2.935296</c:v>
                </c:pt>
                <c:pt idx="5825">
                  <c:v>2.9358</c:v>
                </c:pt>
                <c:pt idx="5826">
                  <c:v>2.936304</c:v>
                </c:pt>
                <c:pt idx="5827">
                  <c:v>2.936808</c:v>
                </c:pt>
                <c:pt idx="5828">
                  <c:v>2.937312</c:v>
                </c:pt>
                <c:pt idx="5829">
                  <c:v>2.937816</c:v>
                </c:pt>
                <c:pt idx="5830">
                  <c:v>2.93832</c:v>
                </c:pt>
                <c:pt idx="5831">
                  <c:v>2.938824</c:v>
                </c:pt>
                <c:pt idx="5832">
                  <c:v>2.939328</c:v>
                </c:pt>
                <c:pt idx="5833">
                  <c:v>2.939832</c:v>
                </c:pt>
                <c:pt idx="5834">
                  <c:v>2.940336</c:v>
                </c:pt>
                <c:pt idx="5835">
                  <c:v>2.94084</c:v>
                </c:pt>
                <c:pt idx="5836">
                  <c:v>2.941344</c:v>
                </c:pt>
                <c:pt idx="5837">
                  <c:v>2.941848</c:v>
                </c:pt>
                <c:pt idx="5838">
                  <c:v>2.942352</c:v>
                </c:pt>
                <c:pt idx="5839">
                  <c:v>2.942856</c:v>
                </c:pt>
                <c:pt idx="5840">
                  <c:v>2.94336</c:v>
                </c:pt>
                <c:pt idx="5841">
                  <c:v>2.943864</c:v>
                </c:pt>
                <c:pt idx="5842">
                  <c:v>2.944368</c:v>
                </c:pt>
                <c:pt idx="5843">
                  <c:v>2.944872</c:v>
                </c:pt>
                <c:pt idx="5844">
                  <c:v>2.945376</c:v>
                </c:pt>
                <c:pt idx="5845">
                  <c:v>2.94588</c:v>
                </c:pt>
                <c:pt idx="5846">
                  <c:v>2.946384</c:v>
                </c:pt>
                <c:pt idx="5847">
                  <c:v>2.946888</c:v>
                </c:pt>
                <c:pt idx="5848">
                  <c:v>2.947392</c:v>
                </c:pt>
                <c:pt idx="5849">
                  <c:v>2.947896</c:v>
                </c:pt>
                <c:pt idx="5850">
                  <c:v>2.9484</c:v>
                </c:pt>
                <c:pt idx="5851">
                  <c:v>2.948904</c:v>
                </c:pt>
                <c:pt idx="5852">
                  <c:v>2.949408</c:v>
                </c:pt>
                <c:pt idx="5853">
                  <c:v>2.949912</c:v>
                </c:pt>
                <c:pt idx="5854">
                  <c:v>2.950416</c:v>
                </c:pt>
                <c:pt idx="5855">
                  <c:v>2.95092</c:v>
                </c:pt>
                <c:pt idx="5856">
                  <c:v>2.951424</c:v>
                </c:pt>
                <c:pt idx="5857">
                  <c:v>2.951928</c:v>
                </c:pt>
                <c:pt idx="5858">
                  <c:v>2.952432</c:v>
                </c:pt>
                <c:pt idx="5859">
                  <c:v>2.952936</c:v>
                </c:pt>
                <c:pt idx="5860">
                  <c:v>2.95344</c:v>
                </c:pt>
                <c:pt idx="5861">
                  <c:v>2.953944</c:v>
                </c:pt>
                <c:pt idx="5862">
                  <c:v>2.954448</c:v>
                </c:pt>
                <c:pt idx="5863">
                  <c:v>2.954952</c:v>
                </c:pt>
                <c:pt idx="5864">
                  <c:v>2.955456</c:v>
                </c:pt>
                <c:pt idx="5865">
                  <c:v>2.95596</c:v>
                </c:pt>
                <c:pt idx="5866">
                  <c:v>2.956464</c:v>
                </c:pt>
                <c:pt idx="5867">
                  <c:v>2.956968</c:v>
                </c:pt>
                <c:pt idx="5868">
                  <c:v>2.957472</c:v>
                </c:pt>
                <c:pt idx="5869">
                  <c:v>2.957976</c:v>
                </c:pt>
                <c:pt idx="5870">
                  <c:v>2.95848</c:v>
                </c:pt>
                <c:pt idx="5871">
                  <c:v>2.958984</c:v>
                </c:pt>
                <c:pt idx="5872">
                  <c:v>2.959488</c:v>
                </c:pt>
                <c:pt idx="5873">
                  <c:v>2.959992</c:v>
                </c:pt>
                <c:pt idx="5874">
                  <c:v>2.960496</c:v>
                </c:pt>
                <c:pt idx="5875">
                  <c:v>2.961</c:v>
                </c:pt>
                <c:pt idx="5876">
                  <c:v>2.961504</c:v>
                </c:pt>
                <c:pt idx="5877">
                  <c:v>2.962008</c:v>
                </c:pt>
                <c:pt idx="5878">
                  <c:v>2.962512</c:v>
                </c:pt>
                <c:pt idx="5879">
                  <c:v>2.963016</c:v>
                </c:pt>
                <c:pt idx="5880">
                  <c:v>2.96352</c:v>
                </c:pt>
                <c:pt idx="5881">
                  <c:v>2.964024</c:v>
                </c:pt>
                <c:pt idx="5882">
                  <c:v>2.964528</c:v>
                </c:pt>
                <c:pt idx="5883">
                  <c:v>2.965032</c:v>
                </c:pt>
                <c:pt idx="5884">
                  <c:v>2.965536</c:v>
                </c:pt>
                <c:pt idx="5885">
                  <c:v>2.96604</c:v>
                </c:pt>
                <c:pt idx="5886">
                  <c:v>2.966544</c:v>
                </c:pt>
                <c:pt idx="5887">
                  <c:v>2.967048</c:v>
                </c:pt>
                <c:pt idx="5888">
                  <c:v>2.967552</c:v>
                </c:pt>
                <c:pt idx="5889">
                  <c:v>2.968056</c:v>
                </c:pt>
                <c:pt idx="5890">
                  <c:v>2.96856</c:v>
                </c:pt>
                <c:pt idx="5891">
                  <c:v>2.969064</c:v>
                </c:pt>
                <c:pt idx="5892">
                  <c:v>2.969568</c:v>
                </c:pt>
                <c:pt idx="5893">
                  <c:v>2.970072</c:v>
                </c:pt>
                <c:pt idx="5894">
                  <c:v>2.970576</c:v>
                </c:pt>
                <c:pt idx="5895">
                  <c:v>2.97108</c:v>
                </c:pt>
                <c:pt idx="5896">
                  <c:v>2.971584</c:v>
                </c:pt>
                <c:pt idx="5897">
                  <c:v>2.972088</c:v>
                </c:pt>
                <c:pt idx="5898">
                  <c:v>2.972592</c:v>
                </c:pt>
                <c:pt idx="5899">
                  <c:v>2.973096</c:v>
                </c:pt>
                <c:pt idx="5900">
                  <c:v>2.9736</c:v>
                </c:pt>
                <c:pt idx="5901">
                  <c:v>2.974104</c:v>
                </c:pt>
                <c:pt idx="5902">
                  <c:v>2.974608</c:v>
                </c:pt>
                <c:pt idx="5903">
                  <c:v>2.975112</c:v>
                </c:pt>
                <c:pt idx="5904">
                  <c:v>2.975616</c:v>
                </c:pt>
                <c:pt idx="5905">
                  <c:v>2.97612</c:v>
                </c:pt>
                <c:pt idx="5906">
                  <c:v>2.976624</c:v>
                </c:pt>
                <c:pt idx="5907">
                  <c:v>2.977128</c:v>
                </c:pt>
                <c:pt idx="5908">
                  <c:v>2.977632</c:v>
                </c:pt>
                <c:pt idx="5909">
                  <c:v>2.978136</c:v>
                </c:pt>
                <c:pt idx="5910">
                  <c:v>2.97864</c:v>
                </c:pt>
                <c:pt idx="5911">
                  <c:v>2.979144</c:v>
                </c:pt>
                <c:pt idx="5912">
                  <c:v>2.979648</c:v>
                </c:pt>
                <c:pt idx="5913">
                  <c:v>2.980152</c:v>
                </c:pt>
                <c:pt idx="5914">
                  <c:v>2.980656</c:v>
                </c:pt>
                <c:pt idx="5915">
                  <c:v>2.98116</c:v>
                </c:pt>
                <c:pt idx="5916">
                  <c:v>2.981664</c:v>
                </c:pt>
                <c:pt idx="5917">
                  <c:v>2.982168</c:v>
                </c:pt>
                <c:pt idx="5918">
                  <c:v>2.982672</c:v>
                </c:pt>
                <c:pt idx="5919">
                  <c:v>2.983176</c:v>
                </c:pt>
                <c:pt idx="5920">
                  <c:v>2.98368</c:v>
                </c:pt>
                <c:pt idx="5921">
                  <c:v>2.984184</c:v>
                </c:pt>
                <c:pt idx="5922">
                  <c:v>2.984688</c:v>
                </c:pt>
                <c:pt idx="5923">
                  <c:v>2.985192</c:v>
                </c:pt>
                <c:pt idx="5924">
                  <c:v>2.985696</c:v>
                </c:pt>
                <c:pt idx="5925">
                  <c:v>2.9862</c:v>
                </c:pt>
                <c:pt idx="5926">
                  <c:v>2.986704</c:v>
                </c:pt>
                <c:pt idx="5927">
                  <c:v>2.987208</c:v>
                </c:pt>
                <c:pt idx="5928">
                  <c:v>2.987712</c:v>
                </c:pt>
                <c:pt idx="5929">
                  <c:v>2.988216</c:v>
                </c:pt>
                <c:pt idx="5930">
                  <c:v>2.98872</c:v>
                </c:pt>
                <c:pt idx="5931">
                  <c:v>2.989224</c:v>
                </c:pt>
                <c:pt idx="5932">
                  <c:v>2.989728</c:v>
                </c:pt>
                <c:pt idx="5933">
                  <c:v>2.990232</c:v>
                </c:pt>
                <c:pt idx="5934">
                  <c:v>2.990736</c:v>
                </c:pt>
                <c:pt idx="5935">
                  <c:v>2.99124</c:v>
                </c:pt>
                <c:pt idx="5936">
                  <c:v>2.991744</c:v>
                </c:pt>
                <c:pt idx="5937">
                  <c:v>2.992248</c:v>
                </c:pt>
                <c:pt idx="5938">
                  <c:v>2.992752</c:v>
                </c:pt>
                <c:pt idx="5939">
                  <c:v>2.993256</c:v>
                </c:pt>
                <c:pt idx="5940">
                  <c:v>2.99376</c:v>
                </c:pt>
                <c:pt idx="5941">
                  <c:v>2.994264</c:v>
                </c:pt>
                <c:pt idx="5942">
                  <c:v>2.994768</c:v>
                </c:pt>
                <c:pt idx="5943">
                  <c:v>2.995272</c:v>
                </c:pt>
                <c:pt idx="5944">
                  <c:v>2.995776</c:v>
                </c:pt>
                <c:pt idx="5945">
                  <c:v>2.99628</c:v>
                </c:pt>
                <c:pt idx="5946">
                  <c:v>2.996784</c:v>
                </c:pt>
                <c:pt idx="5947">
                  <c:v>2.997288</c:v>
                </c:pt>
                <c:pt idx="5948">
                  <c:v>2.997792</c:v>
                </c:pt>
                <c:pt idx="5949">
                  <c:v>2.998296</c:v>
                </c:pt>
                <c:pt idx="5950">
                  <c:v>2.9988</c:v>
                </c:pt>
                <c:pt idx="5951">
                  <c:v>2.999304</c:v>
                </c:pt>
                <c:pt idx="5952">
                  <c:v>2.999808</c:v>
                </c:pt>
                <c:pt idx="5953">
                  <c:v>3.000312</c:v>
                </c:pt>
                <c:pt idx="5954">
                  <c:v>3.000816</c:v>
                </c:pt>
                <c:pt idx="5955">
                  <c:v>3.00132</c:v>
                </c:pt>
                <c:pt idx="5956">
                  <c:v>3.001824</c:v>
                </c:pt>
                <c:pt idx="5957">
                  <c:v>3.002328</c:v>
                </c:pt>
                <c:pt idx="5958">
                  <c:v>3.002832</c:v>
                </c:pt>
                <c:pt idx="5959">
                  <c:v>3.003336</c:v>
                </c:pt>
                <c:pt idx="5960">
                  <c:v>3.00384</c:v>
                </c:pt>
                <c:pt idx="5961">
                  <c:v>3.004344</c:v>
                </c:pt>
                <c:pt idx="5962">
                  <c:v>3.004848</c:v>
                </c:pt>
                <c:pt idx="5963">
                  <c:v>3.005352</c:v>
                </c:pt>
                <c:pt idx="5964">
                  <c:v>3.005856</c:v>
                </c:pt>
                <c:pt idx="5965">
                  <c:v>3.00636</c:v>
                </c:pt>
                <c:pt idx="5966">
                  <c:v>3.006864</c:v>
                </c:pt>
                <c:pt idx="5967">
                  <c:v>3.007368</c:v>
                </c:pt>
                <c:pt idx="5968">
                  <c:v>3.007872</c:v>
                </c:pt>
                <c:pt idx="5969">
                  <c:v>3.008376</c:v>
                </c:pt>
                <c:pt idx="5970">
                  <c:v>3.00888</c:v>
                </c:pt>
                <c:pt idx="5971">
                  <c:v>3.009384</c:v>
                </c:pt>
                <c:pt idx="5972">
                  <c:v>3.009888</c:v>
                </c:pt>
                <c:pt idx="5973">
                  <c:v>3.010392</c:v>
                </c:pt>
                <c:pt idx="5974">
                  <c:v>3.010896</c:v>
                </c:pt>
                <c:pt idx="5975">
                  <c:v>3.0114</c:v>
                </c:pt>
                <c:pt idx="5976">
                  <c:v>3.011904</c:v>
                </c:pt>
                <c:pt idx="5977">
                  <c:v>3.012408</c:v>
                </c:pt>
                <c:pt idx="5978">
                  <c:v>3.012912</c:v>
                </c:pt>
                <c:pt idx="5979">
                  <c:v>3.013416</c:v>
                </c:pt>
                <c:pt idx="5980">
                  <c:v>3.01392</c:v>
                </c:pt>
                <c:pt idx="5981">
                  <c:v>3.014424</c:v>
                </c:pt>
                <c:pt idx="5982">
                  <c:v>3.014928</c:v>
                </c:pt>
                <c:pt idx="5983">
                  <c:v>3.015432</c:v>
                </c:pt>
                <c:pt idx="5984">
                  <c:v>3.015936</c:v>
                </c:pt>
                <c:pt idx="5985">
                  <c:v>3.01644</c:v>
                </c:pt>
                <c:pt idx="5986">
                  <c:v>3.016944</c:v>
                </c:pt>
                <c:pt idx="5987">
                  <c:v>3.017448</c:v>
                </c:pt>
                <c:pt idx="5988">
                  <c:v>3.017952</c:v>
                </c:pt>
                <c:pt idx="5989">
                  <c:v>3.018456</c:v>
                </c:pt>
                <c:pt idx="5990">
                  <c:v>3.01896</c:v>
                </c:pt>
                <c:pt idx="5991">
                  <c:v>3.019464</c:v>
                </c:pt>
                <c:pt idx="5992">
                  <c:v>3.019968</c:v>
                </c:pt>
                <c:pt idx="5993">
                  <c:v>3.020472</c:v>
                </c:pt>
                <c:pt idx="5994">
                  <c:v>3.020976</c:v>
                </c:pt>
                <c:pt idx="5995">
                  <c:v>3.02148</c:v>
                </c:pt>
                <c:pt idx="5996">
                  <c:v>3.021984</c:v>
                </c:pt>
                <c:pt idx="5997">
                  <c:v>3.022488</c:v>
                </c:pt>
                <c:pt idx="5998">
                  <c:v>3.022992</c:v>
                </c:pt>
                <c:pt idx="5999">
                  <c:v>3.023496</c:v>
                </c:pt>
                <c:pt idx="6000">
                  <c:v>3.024</c:v>
                </c:pt>
                <c:pt idx="6001">
                  <c:v>3.024504</c:v>
                </c:pt>
                <c:pt idx="6002">
                  <c:v>3.025008</c:v>
                </c:pt>
                <c:pt idx="6003">
                  <c:v>3.025512</c:v>
                </c:pt>
                <c:pt idx="6004">
                  <c:v>3.026016</c:v>
                </c:pt>
                <c:pt idx="6005">
                  <c:v>3.02652</c:v>
                </c:pt>
                <c:pt idx="6006">
                  <c:v>3.027024</c:v>
                </c:pt>
                <c:pt idx="6007">
                  <c:v>3.027528</c:v>
                </c:pt>
                <c:pt idx="6008">
                  <c:v>3.028032</c:v>
                </c:pt>
                <c:pt idx="6009">
                  <c:v>3.028536</c:v>
                </c:pt>
                <c:pt idx="6010">
                  <c:v>3.02904</c:v>
                </c:pt>
                <c:pt idx="6011">
                  <c:v>3.029544</c:v>
                </c:pt>
                <c:pt idx="6012">
                  <c:v>3.030048</c:v>
                </c:pt>
                <c:pt idx="6013">
                  <c:v>3.030552</c:v>
                </c:pt>
                <c:pt idx="6014">
                  <c:v>3.031056</c:v>
                </c:pt>
                <c:pt idx="6015">
                  <c:v>3.03156</c:v>
                </c:pt>
                <c:pt idx="6016">
                  <c:v>3.032064</c:v>
                </c:pt>
                <c:pt idx="6017">
                  <c:v>3.032568</c:v>
                </c:pt>
                <c:pt idx="6018">
                  <c:v>3.033072</c:v>
                </c:pt>
                <c:pt idx="6019">
                  <c:v>3.033576</c:v>
                </c:pt>
                <c:pt idx="6020">
                  <c:v>3.03408</c:v>
                </c:pt>
                <c:pt idx="6021">
                  <c:v>3.034584</c:v>
                </c:pt>
                <c:pt idx="6022">
                  <c:v>3.035088</c:v>
                </c:pt>
                <c:pt idx="6023">
                  <c:v>3.035592</c:v>
                </c:pt>
                <c:pt idx="6024">
                  <c:v>3.036096</c:v>
                </c:pt>
                <c:pt idx="6025">
                  <c:v>3.0366</c:v>
                </c:pt>
                <c:pt idx="6026">
                  <c:v>3.037104</c:v>
                </c:pt>
                <c:pt idx="6027">
                  <c:v>3.037608</c:v>
                </c:pt>
                <c:pt idx="6028">
                  <c:v>3.038112</c:v>
                </c:pt>
                <c:pt idx="6029">
                  <c:v>3.038616</c:v>
                </c:pt>
                <c:pt idx="6030">
                  <c:v>3.03912</c:v>
                </c:pt>
                <c:pt idx="6031">
                  <c:v>3.039624</c:v>
                </c:pt>
                <c:pt idx="6032">
                  <c:v>3.040128</c:v>
                </c:pt>
                <c:pt idx="6033">
                  <c:v>3.040632</c:v>
                </c:pt>
                <c:pt idx="6034">
                  <c:v>3.041136</c:v>
                </c:pt>
                <c:pt idx="6035">
                  <c:v>3.04164</c:v>
                </c:pt>
                <c:pt idx="6036">
                  <c:v>3.042144</c:v>
                </c:pt>
                <c:pt idx="6037">
                  <c:v>3.042648</c:v>
                </c:pt>
                <c:pt idx="6038">
                  <c:v>3.043152</c:v>
                </c:pt>
                <c:pt idx="6039">
                  <c:v>3.043656</c:v>
                </c:pt>
                <c:pt idx="6040">
                  <c:v>3.04416</c:v>
                </c:pt>
                <c:pt idx="6041">
                  <c:v>3.044664</c:v>
                </c:pt>
                <c:pt idx="6042">
                  <c:v>3.045168</c:v>
                </c:pt>
                <c:pt idx="6043">
                  <c:v>3.045672</c:v>
                </c:pt>
                <c:pt idx="6044">
                  <c:v>3.046176</c:v>
                </c:pt>
                <c:pt idx="6045">
                  <c:v>3.04668</c:v>
                </c:pt>
                <c:pt idx="6046">
                  <c:v>3.047184</c:v>
                </c:pt>
                <c:pt idx="6047">
                  <c:v>3.047688</c:v>
                </c:pt>
                <c:pt idx="6048">
                  <c:v>3.048192</c:v>
                </c:pt>
                <c:pt idx="6049">
                  <c:v>3.048696</c:v>
                </c:pt>
                <c:pt idx="6050">
                  <c:v>3.0492</c:v>
                </c:pt>
                <c:pt idx="6051">
                  <c:v>3.049704</c:v>
                </c:pt>
                <c:pt idx="6052">
                  <c:v>3.050208</c:v>
                </c:pt>
                <c:pt idx="6053">
                  <c:v>3.050712</c:v>
                </c:pt>
                <c:pt idx="6054">
                  <c:v>3.051216</c:v>
                </c:pt>
                <c:pt idx="6055">
                  <c:v>3.05172</c:v>
                </c:pt>
                <c:pt idx="6056">
                  <c:v>3.052224</c:v>
                </c:pt>
                <c:pt idx="6057">
                  <c:v>3.052728</c:v>
                </c:pt>
                <c:pt idx="6058">
                  <c:v>3.053232</c:v>
                </c:pt>
                <c:pt idx="6059">
                  <c:v>3.053736</c:v>
                </c:pt>
                <c:pt idx="6060">
                  <c:v>3.05424</c:v>
                </c:pt>
                <c:pt idx="6061">
                  <c:v>3.054744</c:v>
                </c:pt>
                <c:pt idx="6062">
                  <c:v>3.055248</c:v>
                </c:pt>
                <c:pt idx="6063">
                  <c:v>3.055752</c:v>
                </c:pt>
                <c:pt idx="6064">
                  <c:v>3.056256</c:v>
                </c:pt>
                <c:pt idx="6065">
                  <c:v>3.05676</c:v>
                </c:pt>
                <c:pt idx="6066">
                  <c:v>3.057264</c:v>
                </c:pt>
                <c:pt idx="6067">
                  <c:v>3.057768</c:v>
                </c:pt>
                <c:pt idx="6068">
                  <c:v>3.058272</c:v>
                </c:pt>
                <c:pt idx="6069">
                  <c:v>3.058776</c:v>
                </c:pt>
                <c:pt idx="6070">
                  <c:v>3.05928</c:v>
                </c:pt>
                <c:pt idx="6071">
                  <c:v>3.059784</c:v>
                </c:pt>
                <c:pt idx="6072">
                  <c:v>3.060288</c:v>
                </c:pt>
                <c:pt idx="6073">
                  <c:v>3.060792</c:v>
                </c:pt>
                <c:pt idx="6074">
                  <c:v>3.061296</c:v>
                </c:pt>
                <c:pt idx="6075">
                  <c:v>3.0618</c:v>
                </c:pt>
                <c:pt idx="6076">
                  <c:v>3.062304</c:v>
                </c:pt>
                <c:pt idx="6077">
                  <c:v>3.062808</c:v>
                </c:pt>
                <c:pt idx="6078">
                  <c:v>3.063312</c:v>
                </c:pt>
                <c:pt idx="6079">
                  <c:v>3.063816</c:v>
                </c:pt>
                <c:pt idx="6080">
                  <c:v>3.06432</c:v>
                </c:pt>
                <c:pt idx="6081">
                  <c:v>3.064824</c:v>
                </c:pt>
                <c:pt idx="6082">
                  <c:v>3.065328</c:v>
                </c:pt>
                <c:pt idx="6083">
                  <c:v>3.065832</c:v>
                </c:pt>
                <c:pt idx="6084">
                  <c:v>3.066336</c:v>
                </c:pt>
                <c:pt idx="6085">
                  <c:v>3.06684</c:v>
                </c:pt>
                <c:pt idx="6086">
                  <c:v>3.067344</c:v>
                </c:pt>
                <c:pt idx="6087">
                  <c:v>3.067848</c:v>
                </c:pt>
                <c:pt idx="6088">
                  <c:v>3.068352</c:v>
                </c:pt>
                <c:pt idx="6089">
                  <c:v>3.068856</c:v>
                </c:pt>
                <c:pt idx="6090">
                  <c:v>3.06936</c:v>
                </c:pt>
                <c:pt idx="6091">
                  <c:v>3.069864</c:v>
                </c:pt>
                <c:pt idx="6092">
                  <c:v>3.070368</c:v>
                </c:pt>
                <c:pt idx="6093">
                  <c:v>3.070872</c:v>
                </c:pt>
                <c:pt idx="6094">
                  <c:v>3.071376</c:v>
                </c:pt>
                <c:pt idx="6095">
                  <c:v>3.07188</c:v>
                </c:pt>
                <c:pt idx="6096">
                  <c:v>3.072384</c:v>
                </c:pt>
                <c:pt idx="6097">
                  <c:v>3.072888</c:v>
                </c:pt>
                <c:pt idx="6098">
                  <c:v>3.073392</c:v>
                </c:pt>
                <c:pt idx="6099">
                  <c:v>3.073896</c:v>
                </c:pt>
                <c:pt idx="6100">
                  <c:v>3.0744</c:v>
                </c:pt>
                <c:pt idx="6101">
                  <c:v>3.074904</c:v>
                </c:pt>
                <c:pt idx="6102">
                  <c:v>3.075408</c:v>
                </c:pt>
                <c:pt idx="6103">
                  <c:v>3.075912</c:v>
                </c:pt>
                <c:pt idx="6104">
                  <c:v>3.076416</c:v>
                </c:pt>
                <c:pt idx="6105">
                  <c:v>3.07692</c:v>
                </c:pt>
                <c:pt idx="6106">
                  <c:v>3.077424</c:v>
                </c:pt>
                <c:pt idx="6107">
                  <c:v>3.077928</c:v>
                </c:pt>
                <c:pt idx="6108">
                  <c:v>3.078432</c:v>
                </c:pt>
                <c:pt idx="6109">
                  <c:v>3.078936</c:v>
                </c:pt>
                <c:pt idx="6110">
                  <c:v>3.07944</c:v>
                </c:pt>
                <c:pt idx="6111">
                  <c:v>3.079944</c:v>
                </c:pt>
                <c:pt idx="6112">
                  <c:v>3.080448</c:v>
                </c:pt>
                <c:pt idx="6113">
                  <c:v>3.080952</c:v>
                </c:pt>
                <c:pt idx="6114">
                  <c:v>3.081456</c:v>
                </c:pt>
                <c:pt idx="6115">
                  <c:v>3.08196</c:v>
                </c:pt>
                <c:pt idx="6116">
                  <c:v>3.082464</c:v>
                </c:pt>
                <c:pt idx="6117">
                  <c:v>3.082968</c:v>
                </c:pt>
                <c:pt idx="6118">
                  <c:v>3.083472</c:v>
                </c:pt>
                <c:pt idx="6119">
                  <c:v>3.083976</c:v>
                </c:pt>
                <c:pt idx="6120">
                  <c:v>3.08448</c:v>
                </c:pt>
                <c:pt idx="6121">
                  <c:v>3.084984</c:v>
                </c:pt>
                <c:pt idx="6122">
                  <c:v>3.085488</c:v>
                </c:pt>
                <c:pt idx="6123">
                  <c:v>3.085992</c:v>
                </c:pt>
                <c:pt idx="6124">
                  <c:v>3.086496</c:v>
                </c:pt>
                <c:pt idx="6125">
                  <c:v>3.087</c:v>
                </c:pt>
                <c:pt idx="6126">
                  <c:v>3.087504</c:v>
                </c:pt>
                <c:pt idx="6127">
                  <c:v>3.088008</c:v>
                </c:pt>
                <c:pt idx="6128">
                  <c:v>3.088512</c:v>
                </c:pt>
                <c:pt idx="6129">
                  <c:v>3.089016</c:v>
                </c:pt>
                <c:pt idx="6130">
                  <c:v>3.08952</c:v>
                </c:pt>
                <c:pt idx="6131">
                  <c:v>3.090024</c:v>
                </c:pt>
                <c:pt idx="6132">
                  <c:v>3.090528</c:v>
                </c:pt>
                <c:pt idx="6133">
                  <c:v>3.091032</c:v>
                </c:pt>
                <c:pt idx="6134">
                  <c:v>3.091536</c:v>
                </c:pt>
                <c:pt idx="6135">
                  <c:v>3.09204</c:v>
                </c:pt>
                <c:pt idx="6136">
                  <c:v>3.092544</c:v>
                </c:pt>
                <c:pt idx="6137">
                  <c:v>3.093048</c:v>
                </c:pt>
                <c:pt idx="6138">
                  <c:v>3.093552</c:v>
                </c:pt>
                <c:pt idx="6139">
                  <c:v>3.094056</c:v>
                </c:pt>
                <c:pt idx="6140">
                  <c:v>3.09456</c:v>
                </c:pt>
                <c:pt idx="6141">
                  <c:v>3.095064</c:v>
                </c:pt>
                <c:pt idx="6142">
                  <c:v>3.095568</c:v>
                </c:pt>
                <c:pt idx="6143">
                  <c:v>3.096072</c:v>
                </c:pt>
                <c:pt idx="6144">
                  <c:v>3.096576</c:v>
                </c:pt>
                <c:pt idx="6145">
                  <c:v>3.09708</c:v>
                </c:pt>
                <c:pt idx="6146">
                  <c:v>3.097584</c:v>
                </c:pt>
                <c:pt idx="6147">
                  <c:v>3.098088</c:v>
                </c:pt>
                <c:pt idx="6148">
                  <c:v>3.098592</c:v>
                </c:pt>
                <c:pt idx="6149">
                  <c:v>3.099096</c:v>
                </c:pt>
                <c:pt idx="6150">
                  <c:v>3.0996</c:v>
                </c:pt>
                <c:pt idx="6151">
                  <c:v>3.100104</c:v>
                </c:pt>
                <c:pt idx="6152">
                  <c:v>3.100608</c:v>
                </c:pt>
                <c:pt idx="6153">
                  <c:v>3.101112</c:v>
                </c:pt>
                <c:pt idx="6154">
                  <c:v>3.101616</c:v>
                </c:pt>
                <c:pt idx="6155">
                  <c:v>3.10212</c:v>
                </c:pt>
                <c:pt idx="6156">
                  <c:v>3.102624</c:v>
                </c:pt>
                <c:pt idx="6157">
                  <c:v>3.103128</c:v>
                </c:pt>
                <c:pt idx="6158">
                  <c:v>3.103632</c:v>
                </c:pt>
                <c:pt idx="6159">
                  <c:v>3.104136</c:v>
                </c:pt>
                <c:pt idx="6160">
                  <c:v>3.10464</c:v>
                </c:pt>
                <c:pt idx="6161">
                  <c:v>3.105144</c:v>
                </c:pt>
                <c:pt idx="6162">
                  <c:v>3.105648</c:v>
                </c:pt>
                <c:pt idx="6163">
                  <c:v>3.106152</c:v>
                </c:pt>
                <c:pt idx="6164">
                  <c:v>3.106656</c:v>
                </c:pt>
                <c:pt idx="6165">
                  <c:v>3.10716</c:v>
                </c:pt>
                <c:pt idx="6166">
                  <c:v>3.107664</c:v>
                </c:pt>
                <c:pt idx="6167">
                  <c:v>3.108168</c:v>
                </c:pt>
                <c:pt idx="6168">
                  <c:v>3.108672</c:v>
                </c:pt>
                <c:pt idx="6169">
                  <c:v>3.109176</c:v>
                </c:pt>
                <c:pt idx="6170">
                  <c:v>3.10968</c:v>
                </c:pt>
                <c:pt idx="6171">
                  <c:v>3.110184</c:v>
                </c:pt>
                <c:pt idx="6172">
                  <c:v>3.110688</c:v>
                </c:pt>
                <c:pt idx="6173">
                  <c:v>3.111192</c:v>
                </c:pt>
                <c:pt idx="6174">
                  <c:v>3.111696</c:v>
                </c:pt>
                <c:pt idx="6175">
                  <c:v>3.1122</c:v>
                </c:pt>
                <c:pt idx="6176">
                  <c:v>3.112704</c:v>
                </c:pt>
                <c:pt idx="6177">
                  <c:v>3.113208</c:v>
                </c:pt>
                <c:pt idx="6178">
                  <c:v>3.113712</c:v>
                </c:pt>
                <c:pt idx="6179">
                  <c:v>3.114216</c:v>
                </c:pt>
                <c:pt idx="6180">
                  <c:v>3.11472</c:v>
                </c:pt>
                <c:pt idx="6181">
                  <c:v>3.115224</c:v>
                </c:pt>
                <c:pt idx="6182">
                  <c:v>3.115728</c:v>
                </c:pt>
                <c:pt idx="6183">
                  <c:v>3.116232</c:v>
                </c:pt>
                <c:pt idx="6184">
                  <c:v>3.116736</c:v>
                </c:pt>
                <c:pt idx="6185">
                  <c:v>3.11724</c:v>
                </c:pt>
                <c:pt idx="6186">
                  <c:v>3.117744</c:v>
                </c:pt>
                <c:pt idx="6187">
                  <c:v>3.118248</c:v>
                </c:pt>
                <c:pt idx="6188">
                  <c:v>3.118752</c:v>
                </c:pt>
                <c:pt idx="6189">
                  <c:v>3.119256</c:v>
                </c:pt>
                <c:pt idx="6190">
                  <c:v>3.11976</c:v>
                </c:pt>
                <c:pt idx="6191">
                  <c:v>3.120264</c:v>
                </c:pt>
                <c:pt idx="6192">
                  <c:v>3.120768</c:v>
                </c:pt>
                <c:pt idx="6193">
                  <c:v>3.121272</c:v>
                </c:pt>
                <c:pt idx="6194">
                  <c:v>3.121776</c:v>
                </c:pt>
                <c:pt idx="6195">
                  <c:v>3.12228</c:v>
                </c:pt>
                <c:pt idx="6196">
                  <c:v>3.122784</c:v>
                </c:pt>
                <c:pt idx="6197">
                  <c:v>3.123288</c:v>
                </c:pt>
                <c:pt idx="6198">
                  <c:v>3.123792</c:v>
                </c:pt>
                <c:pt idx="6199">
                  <c:v>3.124296</c:v>
                </c:pt>
                <c:pt idx="6200">
                  <c:v>3.1248</c:v>
                </c:pt>
                <c:pt idx="6201">
                  <c:v>3.125304</c:v>
                </c:pt>
                <c:pt idx="6202">
                  <c:v>3.125808</c:v>
                </c:pt>
                <c:pt idx="6203">
                  <c:v>3.126312</c:v>
                </c:pt>
                <c:pt idx="6204">
                  <c:v>3.126816</c:v>
                </c:pt>
                <c:pt idx="6205">
                  <c:v>3.12732</c:v>
                </c:pt>
                <c:pt idx="6206">
                  <c:v>3.127824</c:v>
                </c:pt>
                <c:pt idx="6207">
                  <c:v>3.128328</c:v>
                </c:pt>
                <c:pt idx="6208">
                  <c:v>3.128832</c:v>
                </c:pt>
                <c:pt idx="6209">
                  <c:v>3.129336</c:v>
                </c:pt>
                <c:pt idx="6210">
                  <c:v>3.12984</c:v>
                </c:pt>
                <c:pt idx="6211">
                  <c:v>3.130344</c:v>
                </c:pt>
                <c:pt idx="6212">
                  <c:v>3.130848</c:v>
                </c:pt>
                <c:pt idx="6213">
                  <c:v>3.131352</c:v>
                </c:pt>
                <c:pt idx="6214">
                  <c:v>3.131856</c:v>
                </c:pt>
                <c:pt idx="6215">
                  <c:v>3.13236</c:v>
                </c:pt>
                <c:pt idx="6216">
                  <c:v>3.132864</c:v>
                </c:pt>
                <c:pt idx="6217">
                  <c:v>3.133368</c:v>
                </c:pt>
                <c:pt idx="6218">
                  <c:v>3.133872</c:v>
                </c:pt>
                <c:pt idx="6219">
                  <c:v>3.134376</c:v>
                </c:pt>
                <c:pt idx="6220">
                  <c:v>3.13488</c:v>
                </c:pt>
                <c:pt idx="6221">
                  <c:v>3.135384</c:v>
                </c:pt>
                <c:pt idx="6222">
                  <c:v>3.135888</c:v>
                </c:pt>
                <c:pt idx="6223">
                  <c:v>3.136392</c:v>
                </c:pt>
                <c:pt idx="6224">
                  <c:v>3.136896</c:v>
                </c:pt>
                <c:pt idx="6225">
                  <c:v>3.1374</c:v>
                </c:pt>
                <c:pt idx="6226">
                  <c:v>3.137904</c:v>
                </c:pt>
                <c:pt idx="6227">
                  <c:v>3.138408</c:v>
                </c:pt>
                <c:pt idx="6228">
                  <c:v>3.138912</c:v>
                </c:pt>
                <c:pt idx="6229">
                  <c:v>3.139416</c:v>
                </c:pt>
                <c:pt idx="6230">
                  <c:v>3.13992</c:v>
                </c:pt>
                <c:pt idx="6231">
                  <c:v>3.140424</c:v>
                </c:pt>
                <c:pt idx="6232">
                  <c:v>3.140928</c:v>
                </c:pt>
                <c:pt idx="6233">
                  <c:v>3.141432</c:v>
                </c:pt>
                <c:pt idx="6234">
                  <c:v>3.141936</c:v>
                </c:pt>
                <c:pt idx="6235">
                  <c:v>3.14244</c:v>
                </c:pt>
                <c:pt idx="6236">
                  <c:v>3.142944</c:v>
                </c:pt>
                <c:pt idx="6237">
                  <c:v>3.143448</c:v>
                </c:pt>
                <c:pt idx="6238">
                  <c:v>3.143952</c:v>
                </c:pt>
                <c:pt idx="6239">
                  <c:v>3.144456</c:v>
                </c:pt>
                <c:pt idx="6240">
                  <c:v>3.14496</c:v>
                </c:pt>
                <c:pt idx="6241">
                  <c:v>3.145464</c:v>
                </c:pt>
                <c:pt idx="6242">
                  <c:v>3.145968</c:v>
                </c:pt>
                <c:pt idx="6243">
                  <c:v>3.146472</c:v>
                </c:pt>
                <c:pt idx="6244">
                  <c:v>3.146976</c:v>
                </c:pt>
                <c:pt idx="6245">
                  <c:v>3.14748</c:v>
                </c:pt>
                <c:pt idx="6246">
                  <c:v>3.147984</c:v>
                </c:pt>
                <c:pt idx="6247">
                  <c:v>3.148488</c:v>
                </c:pt>
                <c:pt idx="6248">
                  <c:v>3.148992</c:v>
                </c:pt>
                <c:pt idx="6249">
                  <c:v>3.149496</c:v>
                </c:pt>
                <c:pt idx="6250">
                  <c:v>3.15</c:v>
                </c:pt>
                <c:pt idx="6251">
                  <c:v>3.150504</c:v>
                </c:pt>
                <c:pt idx="6252">
                  <c:v>3.151008</c:v>
                </c:pt>
                <c:pt idx="6253">
                  <c:v>3.151512</c:v>
                </c:pt>
                <c:pt idx="6254">
                  <c:v>3.152016</c:v>
                </c:pt>
                <c:pt idx="6255">
                  <c:v>3.15252</c:v>
                </c:pt>
                <c:pt idx="6256">
                  <c:v>3.153024</c:v>
                </c:pt>
                <c:pt idx="6257">
                  <c:v>3.153528</c:v>
                </c:pt>
                <c:pt idx="6258">
                  <c:v>3.154032</c:v>
                </c:pt>
                <c:pt idx="6259">
                  <c:v>3.154536</c:v>
                </c:pt>
                <c:pt idx="6260">
                  <c:v>3.15504</c:v>
                </c:pt>
                <c:pt idx="6261">
                  <c:v>3.155544</c:v>
                </c:pt>
                <c:pt idx="6262">
                  <c:v>3.156048</c:v>
                </c:pt>
                <c:pt idx="6263">
                  <c:v>3.156552</c:v>
                </c:pt>
                <c:pt idx="6264">
                  <c:v>3.157056</c:v>
                </c:pt>
                <c:pt idx="6265">
                  <c:v>3.15756</c:v>
                </c:pt>
                <c:pt idx="6266">
                  <c:v>3.158064</c:v>
                </c:pt>
                <c:pt idx="6267">
                  <c:v>3.158568</c:v>
                </c:pt>
                <c:pt idx="6268">
                  <c:v>3.159072</c:v>
                </c:pt>
                <c:pt idx="6269">
                  <c:v>3.159576</c:v>
                </c:pt>
                <c:pt idx="6270">
                  <c:v>3.16008</c:v>
                </c:pt>
                <c:pt idx="6271">
                  <c:v>3.160584</c:v>
                </c:pt>
                <c:pt idx="6272">
                  <c:v>3.161088</c:v>
                </c:pt>
                <c:pt idx="6273">
                  <c:v>3.161592</c:v>
                </c:pt>
                <c:pt idx="6274">
                  <c:v>3.162096</c:v>
                </c:pt>
                <c:pt idx="6275">
                  <c:v>3.1626</c:v>
                </c:pt>
                <c:pt idx="6276">
                  <c:v>3.163104</c:v>
                </c:pt>
                <c:pt idx="6277">
                  <c:v>3.163608</c:v>
                </c:pt>
                <c:pt idx="6278">
                  <c:v>3.164112</c:v>
                </c:pt>
                <c:pt idx="6279">
                  <c:v>3.164616</c:v>
                </c:pt>
                <c:pt idx="6280">
                  <c:v>3.16512</c:v>
                </c:pt>
                <c:pt idx="6281">
                  <c:v>3.165624</c:v>
                </c:pt>
                <c:pt idx="6282">
                  <c:v>3.166128</c:v>
                </c:pt>
                <c:pt idx="6283">
                  <c:v>3.166632</c:v>
                </c:pt>
                <c:pt idx="6284">
                  <c:v>3.167136</c:v>
                </c:pt>
                <c:pt idx="6285">
                  <c:v>3.16764</c:v>
                </c:pt>
                <c:pt idx="6286">
                  <c:v>3.168144</c:v>
                </c:pt>
                <c:pt idx="6287">
                  <c:v>3.168648</c:v>
                </c:pt>
                <c:pt idx="6288">
                  <c:v>3.169152</c:v>
                </c:pt>
                <c:pt idx="6289">
                  <c:v>3.169656</c:v>
                </c:pt>
                <c:pt idx="6290">
                  <c:v>3.17016</c:v>
                </c:pt>
                <c:pt idx="6291">
                  <c:v>3.170664</c:v>
                </c:pt>
                <c:pt idx="6292">
                  <c:v>3.171168</c:v>
                </c:pt>
                <c:pt idx="6293">
                  <c:v>3.171672</c:v>
                </c:pt>
                <c:pt idx="6294">
                  <c:v>3.172176</c:v>
                </c:pt>
                <c:pt idx="6295">
                  <c:v>3.17268</c:v>
                </c:pt>
                <c:pt idx="6296">
                  <c:v>3.173184</c:v>
                </c:pt>
                <c:pt idx="6297">
                  <c:v>3.173688</c:v>
                </c:pt>
                <c:pt idx="6298">
                  <c:v>3.174192</c:v>
                </c:pt>
                <c:pt idx="6299">
                  <c:v>3.174696</c:v>
                </c:pt>
                <c:pt idx="6300">
                  <c:v>3.1752</c:v>
                </c:pt>
                <c:pt idx="6301">
                  <c:v>3.175704</c:v>
                </c:pt>
                <c:pt idx="6302">
                  <c:v>3.176208</c:v>
                </c:pt>
                <c:pt idx="6303">
                  <c:v>3.176712</c:v>
                </c:pt>
                <c:pt idx="6304">
                  <c:v>3.177216</c:v>
                </c:pt>
                <c:pt idx="6305">
                  <c:v>3.17772</c:v>
                </c:pt>
                <c:pt idx="6306">
                  <c:v>3.178224</c:v>
                </c:pt>
                <c:pt idx="6307">
                  <c:v>3.178728</c:v>
                </c:pt>
                <c:pt idx="6308">
                  <c:v>3.179232</c:v>
                </c:pt>
                <c:pt idx="6309">
                  <c:v>3.179736</c:v>
                </c:pt>
                <c:pt idx="6310">
                  <c:v>3.18024</c:v>
                </c:pt>
                <c:pt idx="6311">
                  <c:v>3.180744</c:v>
                </c:pt>
                <c:pt idx="6312">
                  <c:v>3.181248</c:v>
                </c:pt>
                <c:pt idx="6313">
                  <c:v>3.181752</c:v>
                </c:pt>
                <c:pt idx="6314">
                  <c:v>3.182256</c:v>
                </c:pt>
                <c:pt idx="6315">
                  <c:v>3.18276</c:v>
                </c:pt>
                <c:pt idx="6316">
                  <c:v>3.183264</c:v>
                </c:pt>
                <c:pt idx="6317">
                  <c:v>3.183768</c:v>
                </c:pt>
                <c:pt idx="6318">
                  <c:v>3.184272</c:v>
                </c:pt>
                <c:pt idx="6319">
                  <c:v>3.184776</c:v>
                </c:pt>
                <c:pt idx="6320">
                  <c:v>3.18528</c:v>
                </c:pt>
                <c:pt idx="6321">
                  <c:v>3.185784</c:v>
                </c:pt>
                <c:pt idx="6322">
                  <c:v>3.186288</c:v>
                </c:pt>
                <c:pt idx="6323">
                  <c:v>3.186792</c:v>
                </c:pt>
                <c:pt idx="6324">
                  <c:v>3.187296</c:v>
                </c:pt>
                <c:pt idx="6325">
                  <c:v>3.1878</c:v>
                </c:pt>
                <c:pt idx="6326">
                  <c:v>3.188304</c:v>
                </c:pt>
                <c:pt idx="6327">
                  <c:v>3.188808</c:v>
                </c:pt>
                <c:pt idx="6328">
                  <c:v>3.189312</c:v>
                </c:pt>
                <c:pt idx="6329">
                  <c:v>3.189816</c:v>
                </c:pt>
                <c:pt idx="6330">
                  <c:v>3.19032</c:v>
                </c:pt>
                <c:pt idx="6331">
                  <c:v>3.190824</c:v>
                </c:pt>
                <c:pt idx="6332">
                  <c:v>3.191328</c:v>
                </c:pt>
                <c:pt idx="6333">
                  <c:v>3.191832</c:v>
                </c:pt>
                <c:pt idx="6334">
                  <c:v>3.192336</c:v>
                </c:pt>
                <c:pt idx="6335">
                  <c:v>3.19284</c:v>
                </c:pt>
                <c:pt idx="6336">
                  <c:v>3.193344</c:v>
                </c:pt>
                <c:pt idx="6337">
                  <c:v>3.193848</c:v>
                </c:pt>
                <c:pt idx="6338">
                  <c:v>3.194352</c:v>
                </c:pt>
                <c:pt idx="6339">
                  <c:v>3.194856</c:v>
                </c:pt>
                <c:pt idx="6340">
                  <c:v>3.19536</c:v>
                </c:pt>
                <c:pt idx="6341">
                  <c:v>3.195864</c:v>
                </c:pt>
                <c:pt idx="6342">
                  <c:v>3.196368</c:v>
                </c:pt>
                <c:pt idx="6343">
                  <c:v>3.196872</c:v>
                </c:pt>
                <c:pt idx="6344">
                  <c:v>3.197376</c:v>
                </c:pt>
                <c:pt idx="6345">
                  <c:v>3.19788</c:v>
                </c:pt>
                <c:pt idx="6346">
                  <c:v>3.198384</c:v>
                </c:pt>
                <c:pt idx="6347">
                  <c:v>3.198888</c:v>
                </c:pt>
                <c:pt idx="6348">
                  <c:v>3.199392</c:v>
                </c:pt>
                <c:pt idx="6349">
                  <c:v>3.199896</c:v>
                </c:pt>
                <c:pt idx="6350">
                  <c:v>3.2004</c:v>
                </c:pt>
                <c:pt idx="6351">
                  <c:v>3.200904</c:v>
                </c:pt>
                <c:pt idx="6352">
                  <c:v>3.201408</c:v>
                </c:pt>
                <c:pt idx="6353">
                  <c:v>3.201912</c:v>
                </c:pt>
                <c:pt idx="6354">
                  <c:v>3.202416</c:v>
                </c:pt>
                <c:pt idx="6355">
                  <c:v>3.20292</c:v>
                </c:pt>
                <c:pt idx="6356">
                  <c:v>3.203424</c:v>
                </c:pt>
                <c:pt idx="6357">
                  <c:v>3.203928</c:v>
                </c:pt>
                <c:pt idx="6358">
                  <c:v>3.204432</c:v>
                </c:pt>
                <c:pt idx="6359">
                  <c:v>3.204936</c:v>
                </c:pt>
                <c:pt idx="6360">
                  <c:v>3.20544</c:v>
                </c:pt>
                <c:pt idx="6361">
                  <c:v>3.205944</c:v>
                </c:pt>
                <c:pt idx="6362">
                  <c:v>3.206448</c:v>
                </c:pt>
                <c:pt idx="6363">
                  <c:v>3.206952</c:v>
                </c:pt>
                <c:pt idx="6364">
                  <c:v>3.207456</c:v>
                </c:pt>
                <c:pt idx="6365">
                  <c:v>3.20796</c:v>
                </c:pt>
                <c:pt idx="6366">
                  <c:v>3.208464</c:v>
                </c:pt>
                <c:pt idx="6367">
                  <c:v>3.208968</c:v>
                </c:pt>
                <c:pt idx="6368">
                  <c:v>3.209472</c:v>
                </c:pt>
                <c:pt idx="6369">
                  <c:v>3.209976</c:v>
                </c:pt>
                <c:pt idx="6370">
                  <c:v>3.21048</c:v>
                </c:pt>
                <c:pt idx="6371">
                  <c:v>3.210984</c:v>
                </c:pt>
                <c:pt idx="6372">
                  <c:v>3.211488</c:v>
                </c:pt>
                <c:pt idx="6373">
                  <c:v>3.211992</c:v>
                </c:pt>
                <c:pt idx="6374">
                  <c:v>3.212496</c:v>
                </c:pt>
                <c:pt idx="6375">
                  <c:v>3.213</c:v>
                </c:pt>
                <c:pt idx="6376">
                  <c:v>3.213504</c:v>
                </c:pt>
                <c:pt idx="6377">
                  <c:v>3.214008</c:v>
                </c:pt>
                <c:pt idx="6378">
                  <c:v>3.214512</c:v>
                </c:pt>
                <c:pt idx="6379">
                  <c:v>3.215016</c:v>
                </c:pt>
                <c:pt idx="6380">
                  <c:v>3.21552</c:v>
                </c:pt>
                <c:pt idx="6381">
                  <c:v>3.216024</c:v>
                </c:pt>
                <c:pt idx="6382">
                  <c:v>3.216528</c:v>
                </c:pt>
                <c:pt idx="6383">
                  <c:v>3.217032</c:v>
                </c:pt>
                <c:pt idx="6384">
                  <c:v>3.217536</c:v>
                </c:pt>
                <c:pt idx="6385">
                  <c:v>3.21804</c:v>
                </c:pt>
                <c:pt idx="6386">
                  <c:v>3.218544</c:v>
                </c:pt>
                <c:pt idx="6387">
                  <c:v>3.219048</c:v>
                </c:pt>
                <c:pt idx="6388">
                  <c:v>3.219552</c:v>
                </c:pt>
                <c:pt idx="6389">
                  <c:v>3.220056</c:v>
                </c:pt>
                <c:pt idx="6390">
                  <c:v>3.22056</c:v>
                </c:pt>
                <c:pt idx="6391">
                  <c:v>3.221064</c:v>
                </c:pt>
                <c:pt idx="6392">
                  <c:v>3.221568</c:v>
                </c:pt>
                <c:pt idx="6393">
                  <c:v>3.222072</c:v>
                </c:pt>
                <c:pt idx="6394">
                  <c:v>3.222576</c:v>
                </c:pt>
                <c:pt idx="6395">
                  <c:v>3.22308</c:v>
                </c:pt>
                <c:pt idx="6396">
                  <c:v>3.223584</c:v>
                </c:pt>
                <c:pt idx="6397">
                  <c:v>3.224088</c:v>
                </c:pt>
                <c:pt idx="6398">
                  <c:v>3.224592</c:v>
                </c:pt>
                <c:pt idx="6399">
                  <c:v>3.225096</c:v>
                </c:pt>
                <c:pt idx="6400">
                  <c:v>3.2256</c:v>
                </c:pt>
                <c:pt idx="6401">
                  <c:v>3.226104</c:v>
                </c:pt>
                <c:pt idx="6402">
                  <c:v>3.226608</c:v>
                </c:pt>
                <c:pt idx="6403">
                  <c:v>3.227112</c:v>
                </c:pt>
                <c:pt idx="6404">
                  <c:v>3.227616</c:v>
                </c:pt>
                <c:pt idx="6405">
                  <c:v>3.22812</c:v>
                </c:pt>
                <c:pt idx="6406">
                  <c:v>3.228624</c:v>
                </c:pt>
                <c:pt idx="6407">
                  <c:v>3.229128</c:v>
                </c:pt>
                <c:pt idx="6408">
                  <c:v>3.229632</c:v>
                </c:pt>
                <c:pt idx="6409">
                  <c:v>3.230136</c:v>
                </c:pt>
                <c:pt idx="6410">
                  <c:v>3.23064</c:v>
                </c:pt>
                <c:pt idx="6411">
                  <c:v>3.231144</c:v>
                </c:pt>
                <c:pt idx="6412">
                  <c:v>3.231648</c:v>
                </c:pt>
                <c:pt idx="6413">
                  <c:v>3.232152</c:v>
                </c:pt>
                <c:pt idx="6414">
                  <c:v>3.232656</c:v>
                </c:pt>
                <c:pt idx="6415">
                  <c:v>3.23316</c:v>
                </c:pt>
                <c:pt idx="6416">
                  <c:v>3.233664</c:v>
                </c:pt>
                <c:pt idx="6417">
                  <c:v>3.234168</c:v>
                </c:pt>
                <c:pt idx="6418">
                  <c:v>3.234672</c:v>
                </c:pt>
                <c:pt idx="6419">
                  <c:v>3.235176</c:v>
                </c:pt>
                <c:pt idx="6420">
                  <c:v>3.23568</c:v>
                </c:pt>
                <c:pt idx="6421">
                  <c:v>3.236184</c:v>
                </c:pt>
                <c:pt idx="6422">
                  <c:v>3.236688</c:v>
                </c:pt>
                <c:pt idx="6423">
                  <c:v>3.237192</c:v>
                </c:pt>
                <c:pt idx="6424">
                  <c:v>3.237696</c:v>
                </c:pt>
                <c:pt idx="6425">
                  <c:v>3.2382</c:v>
                </c:pt>
                <c:pt idx="6426">
                  <c:v>3.238704</c:v>
                </c:pt>
                <c:pt idx="6427">
                  <c:v>3.239208</c:v>
                </c:pt>
                <c:pt idx="6428">
                  <c:v>3.239712</c:v>
                </c:pt>
                <c:pt idx="6429">
                  <c:v>3.240216</c:v>
                </c:pt>
                <c:pt idx="6430">
                  <c:v>3.24072</c:v>
                </c:pt>
                <c:pt idx="6431">
                  <c:v>3.241224</c:v>
                </c:pt>
                <c:pt idx="6432">
                  <c:v>3.241728</c:v>
                </c:pt>
                <c:pt idx="6433">
                  <c:v>3.242232</c:v>
                </c:pt>
                <c:pt idx="6434">
                  <c:v>3.242736</c:v>
                </c:pt>
                <c:pt idx="6435">
                  <c:v>3.24324</c:v>
                </c:pt>
                <c:pt idx="6436">
                  <c:v>3.243744</c:v>
                </c:pt>
                <c:pt idx="6437">
                  <c:v>3.244248</c:v>
                </c:pt>
                <c:pt idx="6438">
                  <c:v>3.244752</c:v>
                </c:pt>
                <c:pt idx="6439">
                  <c:v>3.245256</c:v>
                </c:pt>
                <c:pt idx="6440">
                  <c:v>3.24576</c:v>
                </c:pt>
                <c:pt idx="6441">
                  <c:v>3.246264</c:v>
                </c:pt>
                <c:pt idx="6442">
                  <c:v>3.246768</c:v>
                </c:pt>
                <c:pt idx="6443">
                  <c:v>3.247272</c:v>
                </c:pt>
                <c:pt idx="6444">
                  <c:v>3.247776</c:v>
                </c:pt>
                <c:pt idx="6445">
                  <c:v>3.24828</c:v>
                </c:pt>
                <c:pt idx="6446">
                  <c:v>3.248784</c:v>
                </c:pt>
                <c:pt idx="6447">
                  <c:v>3.249288</c:v>
                </c:pt>
                <c:pt idx="6448">
                  <c:v>3.249792</c:v>
                </c:pt>
                <c:pt idx="6449">
                  <c:v>3.250296</c:v>
                </c:pt>
                <c:pt idx="6450">
                  <c:v>3.2508</c:v>
                </c:pt>
                <c:pt idx="6451">
                  <c:v>3.251304</c:v>
                </c:pt>
                <c:pt idx="6452">
                  <c:v>3.251808</c:v>
                </c:pt>
                <c:pt idx="6453">
                  <c:v>3.252312</c:v>
                </c:pt>
                <c:pt idx="6454">
                  <c:v>3.252816</c:v>
                </c:pt>
                <c:pt idx="6455">
                  <c:v>3.25332</c:v>
                </c:pt>
                <c:pt idx="6456">
                  <c:v>3.253824</c:v>
                </c:pt>
                <c:pt idx="6457">
                  <c:v>3.254328</c:v>
                </c:pt>
                <c:pt idx="6458">
                  <c:v>3.254832</c:v>
                </c:pt>
                <c:pt idx="6459">
                  <c:v>3.255336</c:v>
                </c:pt>
                <c:pt idx="6460">
                  <c:v>3.25584</c:v>
                </c:pt>
                <c:pt idx="6461">
                  <c:v>3.256344</c:v>
                </c:pt>
                <c:pt idx="6462">
                  <c:v>3.256848</c:v>
                </c:pt>
                <c:pt idx="6463">
                  <c:v>3.257352</c:v>
                </c:pt>
                <c:pt idx="6464">
                  <c:v>3.257856</c:v>
                </c:pt>
                <c:pt idx="6465">
                  <c:v>3.25836</c:v>
                </c:pt>
                <c:pt idx="6466">
                  <c:v>3.258864</c:v>
                </c:pt>
                <c:pt idx="6467">
                  <c:v>3.259368</c:v>
                </c:pt>
                <c:pt idx="6468">
                  <c:v>3.259872</c:v>
                </c:pt>
                <c:pt idx="6469">
                  <c:v>3.260376</c:v>
                </c:pt>
                <c:pt idx="6470">
                  <c:v>3.26088</c:v>
                </c:pt>
                <c:pt idx="6471">
                  <c:v>3.261384</c:v>
                </c:pt>
                <c:pt idx="6472">
                  <c:v>3.261888</c:v>
                </c:pt>
                <c:pt idx="6473">
                  <c:v>3.262392</c:v>
                </c:pt>
                <c:pt idx="6474">
                  <c:v>3.262896</c:v>
                </c:pt>
                <c:pt idx="6475">
                  <c:v>3.2634</c:v>
                </c:pt>
                <c:pt idx="6476">
                  <c:v>3.263904</c:v>
                </c:pt>
                <c:pt idx="6477">
                  <c:v>3.264408</c:v>
                </c:pt>
                <c:pt idx="6478">
                  <c:v>3.264912</c:v>
                </c:pt>
                <c:pt idx="6479">
                  <c:v>3.265416</c:v>
                </c:pt>
                <c:pt idx="6480">
                  <c:v>3.26592</c:v>
                </c:pt>
                <c:pt idx="6481">
                  <c:v>3.266424</c:v>
                </c:pt>
                <c:pt idx="6482">
                  <c:v>3.266928</c:v>
                </c:pt>
                <c:pt idx="6483">
                  <c:v>3.267432</c:v>
                </c:pt>
                <c:pt idx="6484">
                  <c:v>3.267936</c:v>
                </c:pt>
                <c:pt idx="6485">
                  <c:v>3.26844</c:v>
                </c:pt>
                <c:pt idx="6486">
                  <c:v>3.268944</c:v>
                </c:pt>
                <c:pt idx="6487">
                  <c:v>3.269448</c:v>
                </c:pt>
                <c:pt idx="6488">
                  <c:v>3.269952</c:v>
                </c:pt>
                <c:pt idx="6489">
                  <c:v>3.270456</c:v>
                </c:pt>
                <c:pt idx="6490">
                  <c:v>3.27096</c:v>
                </c:pt>
                <c:pt idx="6491">
                  <c:v>3.271464</c:v>
                </c:pt>
                <c:pt idx="6492">
                  <c:v>3.271968</c:v>
                </c:pt>
                <c:pt idx="6493">
                  <c:v>3.272472</c:v>
                </c:pt>
                <c:pt idx="6494">
                  <c:v>3.272976</c:v>
                </c:pt>
                <c:pt idx="6495">
                  <c:v>3.27348</c:v>
                </c:pt>
                <c:pt idx="6496">
                  <c:v>3.273984</c:v>
                </c:pt>
                <c:pt idx="6497">
                  <c:v>3.274488</c:v>
                </c:pt>
                <c:pt idx="6498">
                  <c:v>3.274992</c:v>
                </c:pt>
                <c:pt idx="6499">
                  <c:v>3.275496</c:v>
                </c:pt>
                <c:pt idx="6500">
                  <c:v>3.276</c:v>
                </c:pt>
                <c:pt idx="6501">
                  <c:v>3.276504</c:v>
                </c:pt>
                <c:pt idx="6502">
                  <c:v>3.277008</c:v>
                </c:pt>
                <c:pt idx="6503">
                  <c:v>3.277512</c:v>
                </c:pt>
                <c:pt idx="6504">
                  <c:v>3.278016</c:v>
                </c:pt>
                <c:pt idx="6505">
                  <c:v>3.27852</c:v>
                </c:pt>
                <c:pt idx="6506">
                  <c:v>3.279024</c:v>
                </c:pt>
                <c:pt idx="6507">
                  <c:v>3.279528</c:v>
                </c:pt>
                <c:pt idx="6508">
                  <c:v>3.280032</c:v>
                </c:pt>
                <c:pt idx="6509">
                  <c:v>3.280536</c:v>
                </c:pt>
                <c:pt idx="6510">
                  <c:v>3.28104</c:v>
                </c:pt>
                <c:pt idx="6511">
                  <c:v>3.281544</c:v>
                </c:pt>
                <c:pt idx="6512">
                  <c:v>3.282048</c:v>
                </c:pt>
                <c:pt idx="6513">
                  <c:v>3.282552</c:v>
                </c:pt>
                <c:pt idx="6514">
                  <c:v>3.283056</c:v>
                </c:pt>
                <c:pt idx="6515">
                  <c:v>3.28356</c:v>
                </c:pt>
                <c:pt idx="6516">
                  <c:v>3.284064</c:v>
                </c:pt>
                <c:pt idx="6517">
                  <c:v>3.284568</c:v>
                </c:pt>
                <c:pt idx="6518">
                  <c:v>3.285072</c:v>
                </c:pt>
                <c:pt idx="6519">
                  <c:v>3.285576</c:v>
                </c:pt>
                <c:pt idx="6520">
                  <c:v>3.28608</c:v>
                </c:pt>
                <c:pt idx="6521">
                  <c:v>3.286584</c:v>
                </c:pt>
                <c:pt idx="6522">
                  <c:v>3.287088</c:v>
                </c:pt>
                <c:pt idx="6523">
                  <c:v>3.287592</c:v>
                </c:pt>
                <c:pt idx="6524">
                  <c:v>3.288096</c:v>
                </c:pt>
                <c:pt idx="6525">
                  <c:v>3.2886</c:v>
                </c:pt>
                <c:pt idx="6526">
                  <c:v>3.289104</c:v>
                </c:pt>
                <c:pt idx="6527">
                  <c:v>3.289608</c:v>
                </c:pt>
                <c:pt idx="6528">
                  <c:v>3.290112</c:v>
                </c:pt>
                <c:pt idx="6529">
                  <c:v>3.290616</c:v>
                </c:pt>
                <c:pt idx="6530">
                  <c:v>3.29112</c:v>
                </c:pt>
                <c:pt idx="6531">
                  <c:v>3.291624</c:v>
                </c:pt>
                <c:pt idx="6532">
                  <c:v>3.292128</c:v>
                </c:pt>
                <c:pt idx="6533">
                  <c:v>3.292632</c:v>
                </c:pt>
                <c:pt idx="6534">
                  <c:v>3.293136</c:v>
                </c:pt>
                <c:pt idx="6535">
                  <c:v>3.29364</c:v>
                </c:pt>
                <c:pt idx="6536">
                  <c:v>3.294144</c:v>
                </c:pt>
                <c:pt idx="6537">
                  <c:v>3.294648</c:v>
                </c:pt>
                <c:pt idx="6538">
                  <c:v>3.295152</c:v>
                </c:pt>
                <c:pt idx="6539">
                  <c:v>3.295656</c:v>
                </c:pt>
                <c:pt idx="6540">
                  <c:v>3.29616</c:v>
                </c:pt>
                <c:pt idx="6541">
                  <c:v>3.296664</c:v>
                </c:pt>
                <c:pt idx="6542">
                  <c:v>3.297168</c:v>
                </c:pt>
                <c:pt idx="6543">
                  <c:v>3.297672</c:v>
                </c:pt>
                <c:pt idx="6544">
                  <c:v>3.298176</c:v>
                </c:pt>
                <c:pt idx="6545">
                  <c:v>3.29868</c:v>
                </c:pt>
                <c:pt idx="6546">
                  <c:v>3.299184</c:v>
                </c:pt>
                <c:pt idx="6547">
                  <c:v>3.299688</c:v>
                </c:pt>
                <c:pt idx="6548">
                  <c:v>3.300192</c:v>
                </c:pt>
                <c:pt idx="6549">
                  <c:v>3.300696</c:v>
                </c:pt>
                <c:pt idx="6550">
                  <c:v>3.3012</c:v>
                </c:pt>
                <c:pt idx="6551">
                  <c:v>3.301704</c:v>
                </c:pt>
                <c:pt idx="6552">
                  <c:v>3.302208</c:v>
                </c:pt>
                <c:pt idx="6553">
                  <c:v>3.302712</c:v>
                </c:pt>
                <c:pt idx="6554">
                  <c:v>3.303216</c:v>
                </c:pt>
                <c:pt idx="6555">
                  <c:v>3.30372</c:v>
                </c:pt>
                <c:pt idx="6556">
                  <c:v>3.304224</c:v>
                </c:pt>
                <c:pt idx="6557">
                  <c:v>3.304728</c:v>
                </c:pt>
                <c:pt idx="6558">
                  <c:v>3.305232</c:v>
                </c:pt>
                <c:pt idx="6559">
                  <c:v>3.305736</c:v>
                </c:pt>
                <c:pt idx="6560">
                  <c:v>3.30624</c:v>
                </c:pt>
                <c:pt idx="6561">
                  <c:v>3.306744</c:v>
                </c:pt>
                <c:pt idx="6562">
                  <c:v>3.307248</c:v>
                </c:pt>
                <c:pt idx="6563">
                  <c:v>3.307752</c:v>
                </c:pt>
                <c:pt idx="6564">
                  <c:v>3.308256</c:v>
                </c:pt>
                <c:pt idx="6565">
                  <c:v>3.30876</c:v>
                </c:pt>
                <c:pt idx="6566">
                  <c:v>3.309264</c:v>
                </c:pt>
                <c:pt idx="6567">
                  <c:v>3.309768</c:v>
                </c:pt>
                <c:pt idx="6568">
                  <c:v>3.310272</c:v>
                </c:pt>
                <c:pt idx="6569">
                  <c:v>3.310776</c:v>
                </c:pt>
                <c:pt idx="6570">
                  <c:v>3.31128</c:v>
                </c:pt>
                <c:pt idx="6571">
                  <c:v>3.311784</c:v>
                </c:pt>
                <c:pt idx="6572">
                  <c:v>3.312288</c:v>
                </c:pt>
                <c:pt idx="6573">
                  <c:v>3.312792</c:v>
                </c:pt>
                <c:pt idx="6574">
                  <c:v>3.313296</c:v>
                </c:pt>
                <c:pt idx="6575">
                  <c:v>3.3138</c:v>
                </c:pt>
                <c:pt idx="6576">
                  <c:v>3.314304</c:v>
                </c:pt>
                <c:pt idx="6577">
                  <c:v>3.314808</c:v>
                </c:pt>
                <c:pt idx="6578">
                  <c:v>3.315312</c:v>
                </c:pt>
                <c:pt idx="6579">
                  <c:v>3.315816</c:v>
                </c:pt>
                <c:pt idx="6580">
                  <c:v>3.31632</c:v>
                </c:pt>
                <c:pt idx="6581">
                  <c:v>3.316824</c:v>
                </c:pt>
                <c:pt idx="6582">
                  <c:v>3.317328</c:v>
                </c:pt>
                <c:pt idx="6583">
                  <c:v>3.317832</c:v>
                </c:pt>
                <c:pt idx="6584">
                  <c:v>3.318336</c:v>
                </c:pt>
                <c:pt idx="6585">
                  <c:v>3.31884</c:v>
                </c:pt>
                <c:pt idx="6586">
                  <c:v>3.319344</c:v>
                </c:pt>
                <c:pt idx="6587">
                  <c:v>3.319848</c:v>
                </c:pt>
                <c:pt idx="6588">
                  <c:v>3.320352</c:v>
                </c:pt>
                <c:pt idx="6589">
                  <c:v>3.320856</c:v>
                </c:pt>
                <c:pt idx="6590">
                  <c:v>3.32136</c:v>
                </c:pt>
                <c:pt idx="6591">
                  <c:v>3.321864</c:v>
                </c:pt>
                <c:pt idx="6592">
                  <c:v>3.322368</c:v>
                </c:pt>
                <c:pt idx="6593">
                  <c:v>3.322872</c:v>
                </c:pt>
                <c:pt idx="6594">
                  <c:v>3.323376</c:v>
                </c:pt>
                <c:pt idx="6595">
                  <c:v>3.32388</c:v>
                </c:pt>
                <c:pt idx="6596">
                  <c:v>3.324384</c:v>
                </c:pt>
                <c:pt idx="6597">
                  <c:v>3.324888</c:v>
                </c:pt>
                <c:pt idx="6598">
                  <c:v>3.325392</c:v>
                </c:pt>
                <c:pt idx="6599">
                  <c:v>3.325896</c:v>
                </c:pt>
                <c:pt idx="6600">
                  <c:v>3.3264</c:v>
                </c:pt>
                <c:pt idx="6601">
                  <c:v>3.326904</c:v>
                </c:pt>
                <c:pt idx="6602">
                  <c:v>3.327408</c:v>
                </c:pt>
                <c:pt idx="6603">
                  <c:v>3.327912</c:v>
                </c:pt>
                <c:pt idx="6604">
                  <c:v>3.328416</c:v>
                </c:pt>
                <c:pt idx="6605">
                  <c:v>3.32892</c:v>
                </c:pt>
                <c:pt idx="6606">
                  <c:v>3.329424</c:v>
                </c:pt>
                <c:pt idx="6607">
                  <c:v>3.329928</c:v>
                </c:pt>
                <c:pt idx="6608">
                  <c:v>3.330432</c:v>
                </c:pt>
                <c:pt idx="6609">
                  <c:v>3.330936</c:v>
                </c:pt>
                <c:pt idx="6610">
                  <c:v>3.33144</c:v>
                </c:pt>
                <c:pt idx="6611">
                  <c:v>3.331944</c:v>
                </c:pt>
                <c:pt idx="6612">
                  <c:v>3.332448</c:v>
                </c:pt>
                <c:pt idx="6613">
                  <c:v>3.332952</c:v>
                </c:pt>
                <c:pt idx="6614">
                  <c:v>3.333456</c:v>
                </c:pt>
                <c:pt idx="6615">
                  <c:v>3.33396</c:v>
                </c:pt>
                <c:pt idx="6616">
                  <c:v>3.334464</c:v>
                </c:pt>
                <c:pt idx="6617">
                  <c:v>3.334968</c:v>
                </c:pt>
                <c:pt idx="6618">
                  <c:v>3.335472</c:v>
                </c:pt>
                <c:pt idx="6619">
                  <c:v>3.335976</c:v>
                </c:pt>
                <c:pt idx="6620">
                  <c:v>3.33648</c:v>
                </c:pt>
                <c:pt idx="6621">
                  <c:v>3.336984</c:v>
                </c:pt>
                <c:pt idx="6622">
                  <c:v>3.337488</c:v>
                </c:pt>
                <c:pt idx="6623">
                  <c:v>3.337992</c:v>
                </c:pt>
                <c:pt idx="6624">
                  <c:v>3.338496</c:v>
                </c:pt>
                <c:pt idx="6625">
                  <c:v>3.339</c:v>
                </c:pt>
                <c:pt idx="6626">
                  <c:v>3.339504</c:v>
                </c:pt>
                <c:pt idx="6627">
                  <c:v>3.340008</c:v>
                </c:pt>
                <c:pt idx="6628">
                  <c:v>3.340512</c:v>
                </c:pt>
                <c:pt idx="6629">
                  <c:v>3.341016</c:v>
                </c:pt>
                <c:pt idx="6630">
                  <c:v>3.34152</c:v>
                </c:pt>
                <c:pt idx="6631">
                  <c:v>3.342024</c:v>
                </c:pt>
                <c:pt idx="6632">
                  <c:v>3.342528</c:v>
                </c:pt>
                <c:pt idx="6633">
                  <c:v>3.343032</c:v>
                </c:pt>
                <c:pt idx="6634">
                  <c:v>3.343536</c:v>
                </c:pt>
                <c:pt idx="6635">
                  <c:v>3.34404</c:v>
                </c:pt>
                <c:pt idx="6636">
                  <c:v>3.344544</c:v>
                </c:pt>
                <c:pt idx="6637">
                  <c:v>3.345048</c:v>
                </c:pt>
                <c:pt idx="6638">
                  <c:v>3.345552</c:v>
                </c:pt>
                <c:pt idx="6639">
                  <c:v>3.346056</c:v>
                </c:pt>
                <c:pt idx="6640">
                  <c:v>3.34656</c:v>
                </c:pt>
                <c:pt idx="6641">
                  <c:v>3.347064</c:v>
                </c:pt>
                <c:pt idx="6642">
                  <c:v>3.347568</c:v>
                </c:pt>
                <c:pt idx="6643">
                  <c:v>3.348072</c:v>
                </c:pt>
                <c:pt idx="6644">
                  <c:v>3.348576</c:v>
                </c:pt>
                <c:pt idx="6645">
                  <c:v>3.34908</c:v>
                </c:pt>
                <c:pt idx="6646">
                  <c:v>3.349584</c:v>
                </c:pt>
                <c:pt idx="6647">
                  <c:v>3.350088</c:v>
                </c:pt>
                <c:pt idx="6648">
                  <c:v>3.350592</c:v>
                </c:pt>
                <c:pt idx="6649">
                  <c:v>3.351096</c:v>
                </c:pt>
                <c:pt idx="6650">
                  <c:v>3.3516</c:v>
                </c:pt>
                <c:pt idx="6651">
                  <c:v>3.352104</c:v>
                </c:pt>
                <c:pt idx="6652">
                  <c:v>3.352608</c:v>
                </c:pt>
                <c:pt idx="6653">
                  <c:v>3.353112</c:v>
                </c:pt>
                <c:pt idx="6654">
                  <c:v>3.353616</c:v>
                </c:pt>
                <c:pt idx="6655">
                  <c:v>3.35412</c:v>
                </c:pt>
                <c:pt idx="6656">
                  <c:v>3.354624</c:v>
                </c:pt>
                <c:pt idx="6657">
                  <c:v>3.355128</c:v>
                </c:pt>
                <c:pt idx="6658">
                  <c:v>3.355632</c:v>
                </c:pt>
                <c:pt idx="6659">
                  <c:v>3.356136</c:v>
                </c:pt>
                <c:pt idx="6660">
                  <c:v>3.35664</c:v>
                </c:pt>
                <c:pt idx="6661">
                  <c:v>3.357144</c:v>
                </c:pt>
                <c:pt idx="6662">
                  <c:v>3.357648</c:v>
                </c:pt>
                <c:pt idx="6663">
                  <c:v>3.358152</c:v>
                </c:pt>
                <c:pt idx="6664">
                  <c:v>3.358656</c:v>
                </c:pt>
                <c:pt idx="6665">
                  <c:v>3.35916</c:v>
                </c:pt>
                <c:pt idx="6666">
                  <c:v>3.359664</c:v>
                </c:pt>
                <c:pt idx="6667">
                  <c:v>3.360168</c:v>
                </c:pt>
                <c:pt idx="6668">
                  <c:v>3.360672</c:v>
                </c:pt>
                <c:pt idx="6669">
                  <c:v>3.361176</c:v>
                </c:pt>
                <c:pt idx="6670">
                  <c:v>3.36168</c:v>
                </c:pt>
                <c:pt idx="6671">
                  <c:v>3.362184</c:v>
                </c:pt>
                <c:pt idx="6672">
                  <c:v>3.362688</c:v>
                </c:pt>
                <c:pt idx="6673">
                  <c:v>3.363192</c:v>
                </c:pt>
                <c:pt idx="6674">
                  <c:v>3.363696</c:v>
                </c:pt>
                <c:pt idx="6675">
                  <c:v>3.3642</c:v>
                </c:pt>
                <c:pt idx="6676">
                  <c:v>3.364704</c:v>
                </c:pt>
                <c:pt idx="6677">
                  <c:v>3.365208</c:v>
                </c:pt>
                <c:pt idx="6678">
                  <c:v>3.365712</c:v>
                </c:pt>
                <c:pt idx="6679">
                  <c:v>3.366216</c:v>
                </c:pt>
                <c:pt idx="6680">
                  <c:v>3.36672</c:v>
                </c:pt>
                <c:pt idx="6681">
                  <c:v>3.367224</c:v>
                </c:pt>
                <c:pt idx="6682">
                  <c:v>3.367728</c:v>
                </c:pt>
                <c:pt idx="6683">
                  <c:v>3.368232</c:v>
                </c:pt>
                <c:pt idx="6684">
                  <c:v>3.368736</c:v>
                </c:pt>
                <c:pt idx="6685">
                  <c:v>3.36924</c:v>
                </c:pt>
                <c:pt idx="6686">
                  <c:v>3.369744</c:v>
                </c:pt>
                <c:pt idx="6687">
                  <c:v>3.370248</c:v>
                </c:pt>
                <c:pt idx="6688">
                  <c:v>3.370752</c:v>
                </c:pt>
                <c:pt idx="6689">
                  <c:v>3.371256</c:v>
                </c:pt>
                <c:pt idx="6690">
                  <c:v>3.37176</c:v>
                </c:pt>
                <c:pt idx="6691">
                  <c:v>3.372264</c:v>
                </c:pt>
                <c:pt idx="6692">
                  <c:v>3.372768</c:v>
                </c:pt>
                <c:pt idx="6693">
                  <c:v>3.373272</c:v>
                </c:pt>
                <c:pt idx="6694">
                  <c:v>3.373776</c:v>
                </c:pt>
                <c:pt idx="6695">
                  <c:v>3.37428</c:v>
                </c:pt>
                <c:pt idx="6696">
                  <c:v>3.374784</c:v>
                </c:pt>
                <c:pt idx="6697">
                  <c:v>3.375288</c:v>
                </c:pt>
                <c:pt idx="6698">
                  <c:v>3.375792</c:v>
                </c:pt>
                <c:pt idx="6699">
                  <c:v>3.376296</c:v>
                </c:pt>
                <c:pt idx="6700">
                  <c:v>3.3768</c:v>
                </c:pt>
                <c:pt idx="6701">
                  <c:v>3.377304</c:v>
                </c:pt>
                <c:pt idx="6702">
                  <c:v>3.377808</c:v>
                </c:pt>
                <c:pt idx="6703">
                  <c:v>3.378312</c:v>
                </c:pt>
                <c:pt idx="6704">
                  <c:v>3.378816</c:v>
                </c:pt>
                <c:pt idx="6705">
                  <c:v>3.37932</c:v>
                </c:pt>
                <c:pt idx="6706">
                  <c:v>3.379824</c:v>
                </c:pt>
                <c:pt idx="6707">
                  <c:v>3.380328</c:v>
                </c:pt>
                <c:pt idx="6708">
                  <c:v>3.380832</c:v>
                </c:pt>
                <c:pt idx="6709">
                  <c:v>3.381336</c:v>
                </c:pt>
                <c:pt idx="6710">
                  <c:v>3.38184</c:v>
                </c:pt>
                <c:pt idx="6711">
                  <c:v>3.382344</c:v>
                </c:pt>
                <c:pt idx="6712">
                  <c:v>3.382848</c:v>
                </c:pt>
                <c:pt idx="6713">
                  <c:v>3.383352</c:v>
                </c:pt>
                <c:pt idx="6714">
                  <c:v>3.383856</c:v>
                </c:pt>
                <c:pt idx="6715">
                  <c:v>3.38436</c:v>
                </c:pt>
                <c:pt idx="6716">
                  <c:v>3.384864</c:v>
                </c:pt>
                <c:pt idx="6717">
                  <c:v>3.385368</c:v>
                </c:pt>
                <c:pt idx="6718">
                  <c:v>3.385872</c:v>
                </c:pt>
                <c:pt idx="6719">
                  <c:v>3.386376</c:v>
                </c:pt>
                <c:pt idx="6720">
                  <c:v>3.38688</c:v>
                </c:pt>
                <c:pt idx="6721">
                  <c:v>3.387384</c:v>
                </c:pt>
                <c:pt idx="6722">
                  <c:v>3.387888</c:v>
                </c:pt>
                <c:pt idx="6723">
                  <c:v>3.388392</c:v>
                </c:pt>
                <c:pt idx="6724">
                  <c:v>3.388896</c:v>
                </c:pt>
                <c:pt idx="6725">
                  <c:v>3.3894</c:v>
                </c:pt>
                <c:pt idx="6726">
                  <c:v>3.389904</c:v>
                </c:pt>
                <c:pt idx="6727">
                  <c:v>3.390408</c:v>
                </c:pt>
                <c:pt idx="6728">
                  <c:v>3.390912</c:v>
                </c:pt>
                <c:pt idx="6729">
                  <c:v>3.391416</c:v>
                </c:pt>
                <c:pt idx="6730">
                  <c:v>3.39192</c:v>
                </c:pt>
                <c:pt idx="6731">
                  <c:v>3.392424</c:v>
                </c:pt>
                <c:pt idx="6732">
                  <c:v>3.392928</c:v>
                </c:pt>
                <c:pt idx="6733">
                  <c:v>3.393432</c:v>
                </c:pt>
                <c:pt idx="6734">
                  <c:v>3.393936</c:v>
                </c:pt>
                <c:pt idx="6735">
                  <c:v>3.39444</c:v>
                </c:pt>
                <c:pt idx="6736">
                  <c:v>3.394944</c:v>
                </c:pt>
                <c:pt idx="6737">
                  <c:v>3.395448</c:v>
                </c:pt>
                <c:pt idx="6738">
                  <c:v>3.395952</c:v>
                </c:pt>
                <c:pt idx="6739">
                  <c:v>3.396456</c:v>
                </c:pt>
                <c:pt idx="6740">
                  <c:v>3.39696</c:v>
                </c:pt>
                <c:pt idx="6741">
                  <c:v>3.397464</c:v>
                </c:pt>
                <c:pt idx="6742">
                  <c:v>3.397968</c:v>
                </c:pt>
                <c:pt idx="6743">
                  <c:v>3.398472</c:v>
                </c:pt>
                <c:pt idx="6744">
                  <c:v>3.398976</c:v>
                </c:pt>
                <c:pt idx="6745">
                  <c:v>3.39948</c:v>
                </c:pt>
                <c:pt idx="6746">
                  <c:v>3.399984</c:v>
                </c:pt>
                <c:pt idx="6747">
                  <c:v>3.400488</c:v>
                </c:pt>
                <c:pt idx="6748">
                  <c:v>3.400992</c:v>
                </c:pt>
                <c:pt idx="6749">
                  <c:v>3.401496</c:v>
                </c:pt>
                <c:pt idx="6750">
                  <c:v>3.402</c:v>
                </c:pt>
                <c:pt idx="6751">
                  <c:v>3.402504</c:v>
                </c:pt>
                <c:pt idx="6752">
                  <c:v>3.403008</c:v>
                </c:pt>
                <c:pt idx="6753">
                  <c:v>3.403512</c:v>
                </c:pt>
                <c:pt idx="6754">
                  <c:v>3.404016</c:v>
                </c:pt>
                <c:pt idx="6755">
                  <c:v>3.40452</c:v>
                </c:pt>
                <c:pt idx="6756">
                  <c:v>3.405024</c:v>
                </c:pt>
                <c:pt idx="6757">
                  <c:v>3.405528</c:v>
                </c:pt>
                <c:pt idx="6758">
                  <c:v>3.406032</c:v>
                </c:pt>
                <c:pt idx="6759">
                  <c:v>3.406536</c:v>
                </c:pt>
                <c:pt idx="6760">
                  <c:v>3.40704</c:v>
                </c:pt>
                <c:pt idx="6761">
                  <c:v>3.407544</c:v>
                </c:pt>
                <c:pt idx="6762">
                  <c:v>3.408048</c:v>
                </c:pt>
                <c:pt idx="6763">
                  <c:v>3.408552</c:v>
                </c:pt>
                <c:pt idx="6764">
                  <c:v>3.409056</c:v>
                </c:pt>
                <c:pt idx="6765">
                  <c:v>3.40956</c:v>
                </c:pt>
                <c:pt idx="6766">
                  <c:v>3.410064</c:v>
                </c:pt>
                <c:pt idx="6767">
                  <c:v>3.410568</c:v>
                </c:pt>
                <c:pt idx="6768">
                  <c:v>3.411072</c:v>
                </c:pt>
                <c:pt idx="6769">
                  <c:v>3.411576</c:v>
                </c:pt>
                <c:pt idx="6770">
                  <c:v>3.41208</c:v>
                </c:pt>
                <c:pt idx="6771">
                  <c:v>3.412584</c:v>
                </c:pt>
                <c:pt idx="6772">
                  <c:v>3.413088</c:v>
                </c:pt>
                <c:pt idx="6773">
                  <c:v>3.413592</c:v>
                </c:pt>
                <c:pt idx="6774">
                  <c:v>3.414096</c:v>
                </c:pt>
                <c:pt idx="6775">
                  <c:v>3.4146</c:v>
                </c:pt>
                <c:pt idx="6776">
                  <c:v>3.415104</c:v>
                </c:pt>
                <c:pt idx="6777">
                  <c:v>3.415608</c:v>
                </c:pt>
                <c:pt idx="6778">
                  <c:v>3.416112</c:v>
                </c:pt>
                <c:pt idx="6779">
                  <c:v>3.416616</c:v>
                </c:pt>
                <c:pt idx="6780">
                  <c:v>3.41712</c:v>
                </c:pt>
                <c:pt idx="6781">
                  <c:v>3.417624</c:v>
                </c:pt>
                <c:pt idx="6782">
                  <c:v>3.418128</c:v>
                </c:pt>
                <c:pt idx="6783">
                  <c:v>3.418632</c:v>
                </c:pt>
                <c:pt idx="6784">
                  <c:v>3.419136</c:v>
                </c:pt>
                <c:pt idx="6785">
                  <c:v>3.41964</c:v>
                </c:pt>
                <c:pt idx="6786">
                  <c:v>3.420144</c:v>
                </c:pt>
                <c:pt idx="6787">
                  <c:v>3.420648</c:v>
                </c:pt>
                <c:pt idx="6788">
                  <c:v>3.421152</c:v>
                </c:pt>
                <c:pt idx="6789">
                  <c:v>3.421656</c:v>
                </c:pt>
                <c:pt idx="6790">
                  <c:v>3.42216</c:v>
                </c:pt>
                <c:pt idx="6791">
                  <c:v>3.422664</c:v>
                </c:pt>
                <c:pt idx="6792">
                  <c:v>3.423168</c:v>
                </c:pt>
                <c:pt idx="6793">
                  <c:v>3.423672</c:v>
                </c:pt>
                <c:pt idx="6794">
                  <c:v>3.424176</c:v>
                </c:pt>
                <c:pt idx="6795">
                  <c:v>3.42468</c:v>
                </c:pt>
                <c:pt idx="6796">
                  <c:v>3.425184</c:v>
                </c:pt>
                <c:pt idx="6797">
                  <c:v>3.425688</c:v>
                </c:pt>
                <c:pt idx="6798">
                  <c:v>3.426192</c:v>
                </c:pt>
                <c:pt idx="6799">
                  <c:v>3.426696</c:v>
                </c:pt>
                <c:pt idx="6800">
                  <c:v>3.4272</c:v>
                </c:pt>
                <c:pt idx="6801">
                  <c:v>3.427704</c:v>
                </c:pt>
                <c:pt idx="6802">
                  <c:v>3.428208</c:v>
                </c:pt>
                <c:pt idx="6803">
                  <c:v>3.428712</c:v>
                </c:pt>
                <c:pt idx="6804">
                  <c:v>3.429216</c:v>
                </c:pt>
                <c:pt idx="6805">
                  <c:v>3.42972</c:v>
                </c:pt>
                <c:pt idx="6806">
                  <c:v>3.430224</c:v>
                </c:pt>
                <c:pt idx="6807">
                  <c:v>3.430728</c:v>
                </c:pt>
                <c:pt idx="6808">
                  <c:v>3.431232</c:v>
                </c:pt>
                <c:pt idx="6809">
                  <c:v>3.431736</c:v>
                </c:pt>
                <c:pt idx="6810">
                  <c:v>3.43224</c:v>
                </c:pt>
                <c:pt idx="6811">
                  <c:v>3.432744</c:v>
                </c:pt>
                <c:pt idx="6812">
                  <c:v>3.433248</c:v>
                </c:pt>
                <c:pt idx="6813">
                  <c:v>3.433752</c:v>
                </c:pt>
                <c:pt idx="6814">
                  <c:v>3.434256</c:v>
                </c:pt>
                <c:pt idx="6815">
                  <c:v>3.43476</c:v>
                </c:pt>
                <c:pt idx="6816">
                  <c:v>3.435264</c:v>
                </c:pt>
                <c:pt idx="6817">
                  <c:v>3.435768</c:v>
                </c:pt>
                <c:pt idx="6818">
                  <c:v>3.436272</c:v>
                </c:pt>
                <c:pt idx="6819">
                  <c:v>3.436776</c:v>
                </c:pt>
                <c:pt idx="6820">
                  <c:v>3.43728</c:v>
                </c:pt>
                <c:pt idx="6821">
                  <c:v>3.437784</c:v>
                </c:pt>
                <c:pt idx="6822">
                  <c:v>3.438288</c:v>
                </c:pt>
                <c:pt idx="6823">
                  <c:v>3.438792</c:v>
                </c:pt>
                <c:pt idx="6824">
                  <c:v>3.439296</c:v>
                </c:pt>
                <c:pt idx="6825">
                  <c:v>3.4398</c:v>
                </c:pt>
                <c:pt idx="6826">
                  <c:v>3.440304</c:v>
                </c:pt>
                <c:pt idx="6827">
                  <c:v>3.440808</c:v>
                </c:pt>
                <c:pt idx="6828">
                  <c:v>3.441312</c:v>
                </c:pt>
                <c:pt idx="6829">
                  <c:v>3.441816</c:v>
                </c:pt>
                <c:pt idx="6830">
                  <c:v>3.44232</c:v>
                </c:pt>
                <c:pt idx="6831">
                  <c:v>3.442824</c:v>
                </c:pt>
                <c:pt idx="6832">
                  <c:v>3.443328</c:v>
                </c:pt>
                <c:pt idx="6833">
                  <c:v>3.443832</c:v>
                </c:pt>
                <c:pt idx="6834">
                  <c:v>3.444336</c:v>
                </c:pt>
                <c:pt idx="6835">
                  <c:v>3.44484</c:v>
                </c:pt>
                <c:pt idx="6836">
                  <c:v>3.445344</c:v>
                </c:pt>
                <c:pt idx="6837">
                  <c:v>3.445848</c:v>
                </c:pt>
                <c:pt idx="6838">
                  <c:v>3.446352</c:v>
                </c:pt>
                <c:pt idx="6839">
                  <c:v>3.446856</c:v>
                </c:pt>
                <c:pt idx="6840">
                  <c:v>3.44736</c:v>
                </c:pt>
                <c:pt idx="6841">
                  <c:v>3.447864</c:v>
                </c:pt>
                <c:pt idx="6842">
                  <c:v>3.448368</c:v>
                </c:pt>
                <c:pt idx="6843">
                  <c:v>3.448872</c:v>
                </c:pt>
                <c:pt idx="6844">
                  <c:v>3.449376</c:v>
                </c:pt>
                <c:pt idx="6845">
                  <c:v>3.44988</c:v>
                </c:pt>
                <c:pt idx="6846">
                  <c:v>3.450384</c:v>
                </c:pt>
                <c:pt idx="6847">
                  <c:v>3.450888</c:v>
                </c:pt>
                <c:pt idx="6848">
                  <c:v>3.451392</c:v>
                </c:pt>
                <c:pt idx="6849">
                  <c:v>3.451896</c:v>
                </c:pt>
                <c:pt idx="6850">
                  <c:v>3.4524</c:v>
                </c:pt>
                <c:pt idx="6851">
                  <c:v>3.452904</c:v>
                </c:pt>
                <c:pt idx="6852">
                  <c:v>3.453408</c:v>
                </c:pt>
                <c:pt idx="6853">
                  <c:v>3.453912</c:v>
                </c:pt>
                <c:pt idx="6854">
                  <c:v>3.454416</c:v>
                </c:pt>
                <c:pt idx="6855">
                  <c:v>3.45492</c:v>
                </c:pt>
                <c:pt idx="6856">
                  <c:v>3.455424</c:v>
                </c:pt>
                <c:pt idx="6857">
                  <c:v>3.455928</c:v>
                </c:pt>
                <c:pt idx="6858">
                  <c:v>3.456432</c:v>
                </c:pt>
                <c:pt idx="6859">
                  <c:v>3.456936</c:v>
                </c:pt>
                <c:pt idx="6860">
                  <c:v>3.45744</c:v>
                </c:pt>
                <c:pt idx="6861">
                  <c:v>3.457944</c:v>
                </c:pt>
                <c:pt idx="6862">
                  <c:v>3.458448</c:v>
                </c:pt>
                <c:pt idx="6863">
                  <c:v>3.458952</c:v>
                </c:pt>
                <c:pt idx="6864">
                  <c:v>3.459456</c:v>
                </c:pt>
                <c:pt idx="6865">
                  <c:v>3.45996</c:v>
                </c:pt>
                <c:pt idx="6866">
                  <c:v>3.460464</c:v>
                </c:pt>
                <c:pt idx="6867">
                  <c:v>3.460968</c:v>
                </c:pt>
                <c:pt idx="6868">
                  <c:v>3.461472</c:v>
                </c:pt>
                <c:pt idx="6869">
                  <c:v>3.461976</c:v>
                </c:pt>
                <c:pt idx="6870">
                  <c:v>3.46248</c:v>
                </c:pt>
                <c:pt idx="6871">
                  <c:v>3.462984</c:v>
                </c:pt>
                <c:pt idx="6872">
                  <c:v>3.463488</c:v>
                </c:pt>
                <c:pt idx="6873">
                  <c:v>3.463992</c:v>
                </c:pt>
                <c:pt idx="6874">
                  <c:v>3.464496</c:v>
                </c:pt>
                <c:pt idx="6875">
                  <c:v>3.465</c:v>
                </c:pt>
                <c:pt idx="6876">
                  <c:v>3.465504</c:v>
                </c:pt>
                <c:pt idx="6877">
                  <c:v>3.466008</c:v>
                </c:pt>
                <c:pt idx="6878">
                  <c:v>3.466512</c:v>
                </c:pt>
                <c:pt idx="6879">
                  <c:v>3.467016</c:v>
                </c:pt>
                <c:pt idx="6880">
                  <c:v>3.46752</c:v>
                </c:pt>
                <c:pt idx="6881">
                  <c:v>3.468024</c:v>
                </c:pt>
                <c:pt idx="6882">
                  <c:v>3.468528</c:v>
                </c:pt>
                <c:pt idx="6883">
                  <c:v>3.469032</c:v>
                </c:pt>
                <c:pt idx="6884">
                  <c:v>3.469536</c:v>
                </c:pt>
                <c:pt idx="6885">
                  <c:v>3.47004</c:v>
                </c:pt>
                <c:pt idx="6886">
                  <c:v>3.470544</c:v>
                </c:pt>
                <c:pt idx="6887">
                  <c:v>3.471048</c:v>
                </c:pt>
                <c:pt idx="6888">
                  <c:v>3.471552</c:v>
                </c:pt>
                <c:pt idx="6889">
                  <c:v>3.472056</c:v>
                </c:pt>
                <c:pt idx="6890">
                  <c:v>3.47256</c:v>
                </c:pt>
                <c:pt idx="6891">
                  <c:v>3.473064</c:v>
                </c:pt>
                <c:pt idx="6892">
                  <c:v>3.473568</c:v>
                </c:pt>
                <c:pt idx="6893">
                  <c:v>3.474072</c:v>
                </c:pt>
                <c:pt idx="6894">
                  <c:v>3.474576</c:v>
                </c:pt>
                <c:pt idx="6895">
                  <c:v>3.47508</c:v>
                </c:pt>
                <c:pt idx="6896">
                  <c:v>3.475584</c:v>
                </c:pt>
                <c:pt idx="6897">
                  <c:v>3.476088</c:v>
                </c:pt>
                <c:pt idx="6898">
                  <c:v>3.476592</c:v>
                </c:pt>
                <c:pt idx="6899">
                  <c:v>3.477096</c:v>
                </c:pt>
                <c:pt idx="6900">
                  <c:v>3.4776</c:v>
                </c:pt>
                <c:pt idx="6901">
                  <c:v>3.478104</c:v>
                </c:pt>
                <c:pt idx="6902">
                  <c:v>3.478608</c:v>
                </c:pt>
                <c:pt idx="6903">
                  <c:v>3.479112</c:v>
                </c:pt>
                <c:pt idx="6904">
                  <c:v>3.479616</c:v>
                </c:pt>
                <c:pt idx="6905">
                  <c:v>3.48012</c:v>
                </c:pt>
                <c:pt idx="6906">
                  <c:v>3.480624</c:v>
                </c:pt>
                <c:pt idx="6907">
                  <c:v>3.481128</c:v>
                </c:pt>
                <c:pt idx="6908">
                  <c:v>3.481632</c:v>
                </c:pt>
                <c:pt idx="6909">
                  <c:v>3.482136</c:v>
                </c:pt>
                <c:pt idx="6910">
                  <c:v>3.48264</c:v>
                </c:pt>
                <c:pt idx="6911">
                  <c:v>3.483144</c:v>
                </c:pt>
              </c:strCache>
            </c:strRef>
          </c:cat>
          <c:val>
            <c:numRef>
              <c:f>Data!$B$3:$B$6914</c:f>
              <c:numCache>
                <c:formatCode>General</c:formatCode>
                <c:ptCount val="6912"/>
                <c:pt idx="0">
                  <c:v>1.9810000000000001E-2</c:v>
                </c:pt>
                <c:pt idx="1">
                  <c:v>-1.5200000000000001E-4</c:v>
                </c:pt>
                <c:pt idx="2">
                  <c:v>-5.6111000000000001E-2</c:v>
                </c:pt>
                <c:pt idx="3">
                  <c:v>-3.9341000000000001E-2</c:v>
                </c:pt>
                <c:pt idx="4">
                  <c:v>-3.2365999999999999E-2</c:v>
                </c:pt>
                <c:pt idx="5">
                  <c:v>-6.3274999999999998E-2</c:v>
                </c:pt>
                <c:pt idx="6">
                  <c:v>-8.0985000000000001E-2</c:v>
                </c:pt>
                <c:pt idx="7">
                  <c:v>-2.7605999999999999E-2</c:v>
                </c:pt>
                <c:pt idx="8">
                  <c:v>-3.01E-4</c:v>
                </c:pt>
                <c:pt idx="9">
                  <c:v>-1.5610000000000001E-2</c:v>
                </c:pt>
                <c:pt idx="10">
                  <c:v>-9.2000000000000003E-4</c:v>
                </c:pt>
                <c:pt idx="11">
                  <c:v>2.0511999999999999E-2</c:v>
                </c:pt>
                <c:pt idx="12">
                  <c:v>3.6072E-2</c:v>
                </c:pt>
                <c:pt idx="13">
                  <c:v>0.175812</c:v>
                </c:pt>
                <c:pt idx="14">
                  <c:v>0.12187099999999999</c:v>
                </c:pt>
                <c:pt idx="15">
                  <c:v>-3.9280000000000002E-2</c:v>
                </c:pt>
                <c:pt idx="16">
                  <c:v>-0.12639</c:v>
                </c:pt>
                <c:pt idx="17">
                  <c:v>8.9219999999999994E-2</c:v>
                </c:pt>
                <c:pt idx="18">
                  <c:v>0.200073</c:v>
                </c:pt>
                <c:pt idx="19">
                  <c:v>0.13405700000000001</c:v>
                </c:pt>
                <c:pt idx="20">
                  <c:v>0.106431</c:v>
                </c:pt>
                <c:pt idx="21">
                  <c:v>-4.3908000000000003E-2</c:v>
                </c:pt>
                <c:pt idx="22">
                  <c:v>1.2008E-2</c:v>
                </c:pt>
                <c:pt idx="23">
                  <c:v>0.16834099999999999</c:v>
                </c:pt>
                <c:pt idx="24">
                  <c:v>-1.7474E-2</c:v>
                </c:pt>
                <c:pt idx="25">
                  <c:v>2.3708E-2</c:v>
                </c:pt>
                <c:pt idx="26">
                  <c:v>0.173904</c:v>
                </c:pt>
                <c:pt idx="27">
                  <c:v>-0.22243299999999999</c:v>
                </c:pt>
                <c:pt idx="28">
                  <c:v>-9.0827000000000005E-2</c:v>
                </c:pt>
                <c:pt idx="29">
                  <c:v>0.29690800000000001</c:v>
                </c:pt>
                <c:pt idx="30">
                  <c:v>3.9303999999999999E-2</c:v>
                </c:pt>
                <c:pt idx="31">
                  <c:v>-8.8054999999999994E-2</c:v>
                </c:pt>
                <c:pt idx="32">
                  <c:v>0.1106</c:v>
                </c:pt>
                <c:pt idx="33">
                  <c:v>0.21416399999999999</c:v>
                </c:pt>
                <c:pt idx="34">
                  <c:v>0.144875</c:v>
                </c:pt>
                <c:pt idx="35">
                  <c:v>0.115652</c:v>
                </c:pt>
                <c:pt idx="36">
                  <c:v>0.103052</c:v>
                </c:pt>
                <c:pt idx="37">
                  <c:v>0.30531000000000003</c:v>
                </c:pt>
                <c:pt idx="38">
                  <c:v>7.2356000000000004E-2</c:v>
                </c:pt>
                <c:pt idx="39">
                  <c:v>-0.106234</c:v>
                </c:pt>
                <c:pt idx="40">
                  <c:v>0.120378</c:v>
                </c:pt>
                <c:pt idx="41">
                  <c:v>0.10226399999999999</c:v>
                </c:pt>
                <c:pt idx="42">
                  <c:v>-4.4194999999999998E-2</c:v>
                </c:pt>
                <c:pt idx="43">
                  <c:v>1.3270000000000001E-2</c:v>
                </c:pt>
                <c:pt idx="44">
                  <c:v>3.1558999999999997E-2</c:v>
                </c:pt>
                <c:pt idx="45">
                  <c:v>4.5581000000000003E-2</c:v>
                </c:pt>
                <c:pt idx="46">
                  <c:v>4.5829000000000002E-2</c:v>
                </c:pt>
                <c:pt idx="47">
                  <c:v>5.2333999999999999E-2</c:v>
                </c:pt>
                <c:pt idx="48">
                  <c:v>0.188057</c:v>
                </c:pt>
                <c:pt idx="49">
                  <c:v>0.13220000000000001</c:v>
                </c:pt>
                <c:pt idx="50">
                  <c:v>0.10864500000000001</c:v>
                </c:pt>
                <c:pt idx="51">
                  <c:v>9.8492999999999997E-2</c:v>
                </c:pt>
                <c:pt idx="52">
                  <c:v>9.3913999999999997E-2</c:v>
                </c:pt>
                <c:pt idx="53">
                  <c:v>9.1662999999999994E-2</c:v>
                </c:pt>
                <c:pt idx="54">
                  <c:v>9.0396000000000004E-2</c:v>
                </c:pt>
                <c:pt idx="55">
                  <c:v>-4.9077999999999997E-2</c:v>
                </c:pt>
                <c:pt idx="56">
                  <c:v>1.1287999999999999E-2</c:v>
                </c:pt>
                <c:pt idx="57">
                  <c:v>3.0786999999999998E-2</c:v>
                </c:pt>
                <c:pt idx="58">
                  <c:v>4.5317000000000003E-2</c:v>
                </c:pt>
                <c:pt idx="59">
                  <c:v>0.18441199999999999</c:v>
                </c:pt>
                <c:pt idx="60">
                  <c:v>0.129997</c:v>
                </c:pt>
                <c:pt idx="61">
                  <c:v>-3.1546999999999999E-2</c:v>
                </c:pt>
                <c:pt idx="62">
                  <c:v>1.9623000000000002E-2</c:v>
                </c:pt>
                <c:pt idx="63">
                  <c:v>0.17389399999999999</c:v>
                </c:pt>
                <c:pt idx="64">
                  <c:v>0.12576100000000001</c:v>
                </c:pt>
                <c:pt idx="65">
                  <c:v>0.105446</c:v>
                </c:pt>
                <c:pt idx="66">
                  <c:v>9.6673999999999996E-2</c:v>
                </c:pt>
                <c:pt idx="67">
                  <c:v>9.2702999999999994E-2</c:v>
                </c:pt>
                <c:pt idx="68">
                  <c:v>9.0737999999999999E-2</c:v>
                </c:pt>
                <c:pt idx="69">
                  <c:v>8.9621000000000006E-2</c:v>
                </c:pt>
                <c:pt idx="70">
                  <c:v>-4.9757999999999997E-2</c:v>
                </c:pt>
                <c:pt idx="71">
                  <c:v>1.0676E-2</c:v>
                </c:pt>
                <c:pt idx="72">
                  <c:v>3.0231000000000001E-2</c:v>
                </c:pt>
                <c:pt idx="73">
                  <c:v>4.4810000000000003E-2</c:v>
                </c:pt>
                <c:pt idx="74">
                  <c:v>4.5322000000000001E-2</c:v>
                </c:pt>
                <c:pt idx="75">
                  <c:v>-8.6665000000000006E-2</c:v>
                </c:pt>
                <c:pt idx="76">
                  <c:v>0.110161</c:v>
                </c:pt>
                <c:pt idx="77">
                  <c:v>0.21304999999999999</c:v>
                </c:pt>
                <c:pt idx="78">
                  <c:v>0.14355999999999999</c:v>
                </c:pt>
                <c:pt idx="79">
                  <c:v>-2.4301E-2</c:v>
                </c:pt>
                <c:pt idx="80">
                  <c:v>2.4184000000000001E-2</c:v>
                </c:pt>
                <c:pt idx="81">
                  <c:v>3.8644999999999999E-2</c:v>
                </c:pt>
                <c:pt idx="82">
                  <c:v>5.0978000000000002E-2</c:v>
                </c:pt>
                <c:pt idx="83">
                  <c:v>0.53563499999999997</c:v>
                </c:pt>
                <c:pt idx="84">
                  <c:v>0.18953</c:v>
                </c:pt>
                <c:pt idx="85">
                  <c:v>-0.16938600000000001</c:v>
                </c:pt>
                <c:pt idx="86">
                  <c:v>-4.4427000000000001E-2</c:v>
                </c:pt>
                <c:pt idx="87">
                  <c:v>1.3827000000000001E-2</c:v>
                </c:pt>
                <c:pt idx="88">
                  <c:v>0.171074</c:v>
                </c:pt>
                <c:pt idx="89">
                  <c:v>-1.4416999999999999E-2</c:v>
                </c:pt>
                <c:pt idx="90">
                  <c:v>2.6848E-2</c:v>
                </c:pt>
                <c:pt idx="91">
                  <c:v>3.8399000000000003E-2</c:v>
                </c:pt>
                <c:pt idx="92">
                  <c:v>-8.9028999999999997E-2</c:v>
                </c:pt>
                <c:pt idx="93">
                  <c:v>-2.8958999999999999E-2</c:v>
                </c:pt>
                <c:pt idx="94">
                  <c:v>0.13571</c:v>
                </c:pt>
                <c:pt idx="95">
                  <c:v>8.6577000000000001E-2</c:v>
                </c:pt>
                <c:pt idx="96">
                  <c:v>7.2487999999999997E-2</c:v>
                </c:pt>
                <c:pt idx="97">
                  <c:v>0.19955000000000001</c:v>
                </c:pt>
                <c:pt idx="98">
                  <c:v>0.13998099999999999</c:v>
                </c:pt>
                <c:pt idx="99">
                  <c:v>-2.3859999999999999E-2</c:v>
                </c:pt>
                <c:pt idx="100">
                  <c:v>-0.112424</c:v>
                </c:pt>
                <c:pt idx="101">
                  <c:v>-3.6371000000000001E-2</c:v>
                </c:pt>
                <c:pt idx="102">
                  <c:v>-3.823E-3</c:v>
                </c:pt>
                <c:pt idx="103">
                  <c:v>0.149281</c:v>
                </c:pt>
                <c:pt idx="104">
                  <c:v>9.5202999999999996E-2</c:v>
                </c:pt>
                <c:pt idx="105">
                  <c:v>-5.9712000000000001E-2</c:v>
                </c:pt>
                <c:pt idx="106">
                  <c:v>0.12731600000000001</c:v>
                </c:pt>
                <c:pt idx="107">
                  <c:v>8.7232000000000004E-2</c:v>
                </c:pt>
                <c:pt idx="108">
                  <c:v>7.6688000000000006E-2</c:v>
                </c:pt>
                <c:pt idx="109">
                  <c:v>0.20502500000000001</c:v>
                </c:pt>
                <c:pt idx="110">
                  <c:v>7.169E-3</c:v>
                </c:pt>
                <c:pt idx="111">
                  <c:v>-9.5687999999999995E-2</c:v>
                </c:pt>
                <c:pt idx="112">
                  <c:v>0.112882</c:v>
                </c:pt>
                <c:pt idx="113">
                  <c:v>0.22033</c:v>
                </c:pt>
                <c:pt idx="114">
                  <c:v>1.3806000000000001E-2</c:v>
                </c:pt>
                <c:pt idx="115">
                  <c:v>-9.2655000000000001E-2</c:v>
                </c:pt>
                <c:pt idx="116">
                  <c:v>0.114408</c:v>
                </c:pt>
                <c:pt idx="117">
                  <c:v>0.42916500000000002</c:v>
                </c:pt>
                <c:pt idx="118">
                  <c:v>0.47741699999999998</c:v>
                </c:pt>
                <c:pt idx="119">
                  <c:v>-1.9734999999999999E-2</c:v>
                </c:pt>
                <c:pt idx="120">
                  <c:v>-0.487037</c:v>
                </c:pt>
                <c:pt idx="121">
                  <c:v>-0.222695</c:v>
                </c:pt>
                <c:pt idx="122">
                  <c:v>8.8013999999999995E-2</c:v>
                </c:pt>
                <c:pt idx="123">
                  <c:v>5.0181000000000003E-2</c:v>
                </c:pt>
                <c:pt idx="124">
                  <c:v>0.174012</c:v>
                </c:pt>
                <c:pt idx="125">
                  <c:v>0.24632599999999999</c:v>
                </c:pt>
                <c:pt idx="126">
                  <c:v>0.16384899999999999</c:v>
                </c:pt>
                <c:pt idx="127">
                  <c:v>-9.698E-3</c:v>
                </c:pt>
                <c:pt idx="128">
                  <c:v>-0.102489</c:v>
                </c:pt>
                <c:pt idx="129">
                  <c:v>0.110247</c:v>
                </c:pt>
                <c:pt idx="130">
                  <c:v>8.0786999999999998E-2</c:v>
                </c:pt>
                <c:pt idx="131">
                  <c:v>-6.4010999999999998E-2</c:v>
                </c:pt>
                <c:pt idx="132">
                  <c:v>0.127133</c:v>
                </c:pt>
                <c:pt idx="133">
                  <c:v>8.8679999999999995E-2</c:v>
                </c:pt>
                <c:pt idx="134">
                  <c:v>7.8743999999999995E-2</c:v>
                </c:pt>
                <c:pt idx="135">
                  <c:v>6.8637000000000004E-2</c:v>
                </c:pt>
                <c:pt idx="136">
                  <c:v>-6.8187999999999999E-2</c:v>
                </c:pt>
                <c:pt idx="137">
                  <c:v>0.12621599999999999</c:v>
                </c:pt>
                <c:pt idx="138">
                  <c:v>0.22770499999999999</c:v>
                </c:pt>
                <c:pt idx="139">
                  <c:v>1.8626E-2</c:v>
                </c:pt>
                <c:pt idx="140">
                  <c:v>4.9654999999999998E-2</c:v>
                </c:pt>
                <c:pt idx="141">
                  <c:v>5.6522999999999997E-2</c:v>
                </c:pt>
                <c:pt idx="142">
                  <c:v>6.5364000000000005E-2</c:v>
                </c:pt>
                <c:pt idx="143">
                  <c:v>0.20167099999999999</c:v>
                </c:pt>
                <c:pt idx="144">
                  <c:v>7.0590000000000002E-3</c:v>
                </c:pt>
                <c:pt idx="145">
                  <c:v>-9.4508999999999996E-2</c:v>
                </c:pt>
                <c:pt idx="146">
                  <c:v>-2.4087999999999998E-2</c:v>
                </c:pt>
                <c:pt idx="147">
                  <c:v>5.8950000000000001E-3</c:v>
                </c:pt>
                <c:pt idx="148">
                  <c:v>1.9085999999999999E-2</c:v>
                </c:pt>
                <c:pt idx="149">
                  <c:v>2.5281999999999999E-2</c:v>
                </c:pt>
                <c:pt idx="150">
                  <c:v>0.16717399999999999</c:v>
                </c:pt>
                <c:pt idx="151">
                  <c:v>0.24679899999999999</c:v>
                </c:pt>
                <c:pt idx="152">
                  <c:v>0.167189</c:v>
                </c:pt>
                <c:pt idx="153">
                  <c:v>0.13330700000000001</c:v>
                </c:pt>
                <c:pt idx="154">
                  <c:v>0.118412</c:v>
                </c:pt>
                <c:pt idx="155">
                  <c:v>0.111427</c:v>
                </c:pt>
                <c:pt idx="156">
                  <c:v>0.10775999999999999</c:v>
                </c:pt>
                <c:pt idx="157">
                  <c:v>0.105507</c:v>
                </c:pt>
                <c:pt idx="158">
                  <c:v>0.103876</c:v>
                </c:pt>
                <c:pt idx="159">
                  <c:v>-3.6089999999999997E-2</c:v>
                </c:pt>
                <c:pt idx="160">
                  <c:v>2.3744000000000001E-2</c:v>
                </c:pt>
                <c:pt idx="161">
                  <c:v>4.2713000000000001E-2</c:v>
                </c:pt>
                <c:pt idx="162">
                  <c:v>-8.1903000000000004E-2</c:v>
                </c:pt>
                <c:pt idx="163">
                  <c:v>0.117715</c:v>
                </c:pt>
                <c:pt idx="164">
                  <c:v>8.2881999999999997E-2</c:v>
                </c:pt>
                <c:pt idx="165">
                  <c:v>7.4548000000000003E-2</c:v>
                </c:pt>
                <c:pt idx="166">
                  <c:v>6.5202999999999997E-2</c:v>
                </c:pt>
                <c:pt idx="167">
                  <c:v>-7.1212999999999999E-2</c:v>
                </c:pt>
                <c:pt idx="168">
                  <c:v>0.123449</c:v>
                </c:pt>
                <c:pt idx="169">
                  <c:v>0.225129</c:v>
                </c:pt>
                <c:pt idx="170">
                  <c:v>1.6211E-2</c:v>
                </c:pt>
                <c:pt idx="171">
                  <c:v>-9.1248999999999997E-2</c:v>
                </c:pt>
                <c:pt idx="172">
                  <c:v>0.115396</c:v>
                </c:pt>
                <c:pt idx="173">
                  <c:v>0.222029</c:v>
                </c:pt>
                <c:pt idx="174">
                  <c:v>1.5151E-2</c:v>
                </c:pt>
                <c:pt idx="175">
                  <c:v>-9.1472999999999999E-2</c:v>
                </c:pt>
                <c:pt idx="176">
                  <c:v>-2.3122E-2</c:v>
                </c:pt>
                <c:pt idx="177">
                  <c:v>0.14465600000000001</c:v>
                </c:pt>
                <c:pt idx="178">
                  <c:v>9.6506999999999996E-2</c:v>
                </c:pt>
                <c:pt idx="179">
                  <c:v>8.2535999999999998E-2</c:v>
                </c:pt>
                <c:pt idx="180">
                  <c:v>0.209372</c:v>
                </c:pt>
                <c:pt idx="181">
                  <c:v>1.0815999999999999E-2</c:v>
                </c:pt>
                <c:pt idx="182">
                  <c:v>4.6226000000000003E-2</c:v>
                </c:pt>
                <c:pt idx="183">
                  <c:v>0.19355900000000001</c:v>
                </c:pt>
                <c:pt idx="184">
                  <c:v>0.14216400000000001</c:v>
                </c:pt>
                <c:pt idx="185">
                  <c:v>-0.22644700000000001</c:v>
                </c:pt>
                <c:pt idx="186">
                  <c:v>-8.3741999999999997E-2</c:v>
                </c:pt>
                <c:pt idx="187">
                  <c:v>0.16959199999999999</c:v>
                </c:pt>
                <c:pt idx="188">
                  <c:v>-2.5593999999999999E-2</c:v>
                </c:pt>
                <c:pt idx="189">
                  <c:v>0.14460799999999999</c:v>
                </c:pt>
                <c:pt idx="190">
                  <c:v>9.7416000000000003E-2</c:v>
                </c:pt>
                <c:pt idx="191">
                  <c:v>-5.4831999999999999E-2</c:v>
                </c:pt>
                <c:pt idx="192">
                  <c:v>-5.5069999999999997E-3</c:v>
                </c:pt>
                <c:pt idx="193">
                  <c:v>0.15426999999999999</c:v>
                </c:pt>
                <c:pt idx="194">
                  <c:v>0.24132300000000001</c:v>
                </c:pt>
                <c:pt idx="195">
                  <c:v>2.6176999999999999E-2</c:v>
                </c:pt>
                <c:pt idx="196">
                  <c:v>5.4609999999999999E-2</c:v>
                </c:pt>
                <c:pt idx="197">
                  <c:v>0.19895299999999999</c:v>
                </c:pt>
                <c:pt idx="198">
                  <c:v>0.14622499999999999</c:v>
                </c:pt>
                <c:pt idx="199">
                  <c:v>0.123547</c:v>
                </c:pt>
                <c:pt idx="200">
                  <c:v>0.113361</c:v>
                </c:pt>
                <c:pt idx="201">
                  <c:v>-3.0242000000000002E-2</c:v>
                </c:pt>
                <c:pt idx="202">
                  <c:v>2.8000000000000001E-2</c:v>
                </c:pt>
                <c:pt idx="203">
                  <c:v>0.18485699999999999</c:v>
                </c:pt>
                <c:pt idx="204">
                  <c:v>-1.1609999999999999E-3</c:v>
                </c:pt>
                <c:pt idx="205">
                  <c:v>-9.9090999999999999E-2</c:v>
                </c:pt>
                <c:pt idx="206">
                  <c:v>0.111542</c:v>
                </c:pt>
                <c:pt idx="207">
                  <c:v>0.219864</c:v>
                </c:pt>
                <c:pt idx="208">
                  <c:v>1.3723000000000001E-2</c:v>
                </c:pt>
                <c:pt idx="209">
                  <c:v>-9.2561000000000004E-2</c:v>
                </c:pt>
                <c:pt idx="210">
                  <c:v>-2.4036999999999999E-2</c:v>
                </c:pt>
                <c:pt idx="211">
                  <c:v>0.143845</c:v>
                </c:pt>
                <c:pt idx="212">
                  <c:v>9.5768000000000006E-2</c:v>
                </c:pt>
                <c:pt idx="213">
                  <c:v>8.1854999999999997E-2</c:v>
                </c:pt>
                <c:pt idx="214">
                  <c:v>0.20874200000000001</c:v>
                </c:pt>
                <c:pt idx="215">
                  <c:v>0.148863</c:v>
                </c:pt>
                <c:pt idx="216">
                  <c:v>0.12330000000000001</c:v>
                </c:pt>
                <c:pt idx="217">
                  <c:v>-2.664E-2</c:v>
                </c:pt>
                <c:pt idx="218">
                  <c:v>-0.109622</c:v>
                </c:pt>
                <c:pt idx="219">
                  <c:v>0.10720499999999999</c:v>
                </c:pt>
                <c:pt idx="220">
                  <c:v>7.9465999999999995E-2</c:v>
                </c:pt>
                <c:pt idx="221">
                  <c:v>7.4037000000000006E-2</c:v>
                </c:pt>
                <c:pt idx="222">
                  <c:v>0.20449400000000001</c:v>
                </c:pt>
                <c:pt idx="223">
                  <c:v>7.5180000000000004E-3</c:v>
                </c:pt>
                <c:pt idx="224">
                  <c:v>4.3657000000000001E-2</c:v>
                </c:pt>
                <c:pt idx="225">
                  <c:v>0.19136300000000001</c:v>
                </c:pt>
                <c:pt idx="226">
                  <c:v>1.5610000000000001E-3</c:v>
                </c:pt>
                <c:pt idx="227">
                  <c:v>4.0697999999999998E-2</c:v>
                </c:pt>
                <c:pt idx="228">
                  <c:v>0.18967300000000001</c:v>
                </c:pt>
                <c:pt idx="229">
                  <c:v>4.2000000000000002E-4</c:v>
                </c:pt>
                <c:pt idx="230">
                  <c:v>-9.8821000000000006E-2</c:v>
                </c:pt>
                <c:pt idx="231">
                  <c:v>-2.7335000000000002E-2</c:v>
                </c:pt>
                <c:pt idx="232">
                  <c:v>0.141816</c:v>
                </c:pt>
                <c:pt idx="233">
                  <c:v>0.232935</c:v>
                </c:pt>
                <c:pt idx="234">
                  <c:v>1.9649E-2</c:v>
                </c:pt>
                <c:pt idx="235">
                  <c:v>-8.9612999999999998E-2</c:v>
                </c:pt>
                <c:pt idx="236">
                  <c:v>-2.2339000000000001E-2</c:v>
                </c:pt>
                <c:pt idx="237">
                  <c:v>0.145009</c:v>
                </c:pt>
                <c:pt idx="238">
                  <c:v>9.6695000000000003E-2</c:v>
                </c:pt>
                <c:pt idx="239">
                  <c:v>-5.5960000000000003E-2</c:v>
                </c:pt>
                <c:pt idx="240">
                  <c:v>0.131882</c:v>
                </c:pt>
                <c:pt idx="241">
                  <c:v>9.2019000000000004E-2</c:v>
                </c:pt>
                <c:pt idx="242">
                  <c:v>8.1456000000000001E-2</c:v>
                </c:pt>
                <c:pt idx="243">
                  <c:v>0.20968000000000001</c:v>
                </c:pt>
                <c:pt idx="244">
                  <c:v>0.150309</c:v>
                </c:pt>
                <c:pt idx="245">
                  <c:v>-1.372E-2</c:v>
                </c:pt>
                <c:pt idx="246">
                  <c:v>-0.102618</c:v>
                </c:pt>
                <c:pt idx="247">
                  <c:v>0.111683</c:v>
                </c:pt>
                <c:pt idx="248">
                  <c:v>0.22145599999999999</c:v>
                </c:pt>
                <c:pt idx="249">
                  <c:v>0.15448000000000001</c:v>
                </c:pt>
                <c:pt idx="250">
                  <c:v>0.125968</c:v>
                </c:pt>
                <c:pt idx="251">
                  <c:v>-2.52E-2</c:v>
                </c:pt>
                <c:pt idx="252">
                  <c:v>-0.108699</c:v>
                </c:pt>
                <c:pt idx="253">
                  <c:v>0.107907</c:v>
                </c:pt>
                <c:pt idx="254">
                  <c:v>0.21870000000000001</c:v>
                </c:pt>
                <c:pt idx="255">
                  <c:v>0.15220900000000001</c:v>
                </c:pt>
                <c:pt idx="256">
                  <c:v>-1.4673E-2</c:v>
                </c:pt>
                <c:pt idx="257">
                  <c:v>-0.10466200000000001</c:v>
                </c:pt>
                <c:pt idx="258">
                  <c:v>-2.9356E-2</c:v>
                </c:pt>
                <c:pt idx="259">
                  <c:v>2.7330000000000002E-3</c:v>
                </c:pt>
                <c:pt idx="260">
                  <c:v>0.15550600000000001</c:v>
                </c:pt>
                <c:pt idx="261">
                  <c:v>0.101156</c:v>
                </c:pt>
                <c:pt idx="262">
                  <c:v>-5.3999999999999999E-2</c:v>
                </c:pt>
                <c:pt idx="263">
                  <c:v>0.13280700000000001</c:v>
                </c:pt>
                <c:pt idx="264">
                  <c:v>0.23114499999999999</c:v>
                </c:pt>
                <c:pt idx="265">
                  <c:v>2.0759E-2</c:v>
                </c:pt>
                <c:pt idx="266">
                  <c:v>-8.7387000000000006E-2</c:v>
                </c:pt>
                <c:pt idx="267">
                  <c:v>-1.9732E-2</c:v>
                </c:pt>
                <c:pt idx="268">
                  <c:v>9.0650000000000001E-3</c:v>
                </c:pt>
                <c:pt idx="269">
                  <c:v>2.1727E-2</c:v>
                </c:pt>
                <c:pt idx="270">
                  <c:v>0.166299</c:v>
                </c:pt>
                <c:pt idx="271">
                  <c:v>0.108405</c:v>
                </c:pt>
                <c:pt idx="272">
                  <c:v>9.0272000000000005E-2</c:v>
                </c:pt>
                <c:pt idx="273">
                  <c:v>7.6635999999999996E-2</c:v>
                </c:pt>
                <c:pt idx="274">
                  <c:v>7.6850000000000002E-2</c:v>
                </c:pt>
                <c:pt idx="275">
                  <c:v>7.0827000000000001E-2</c:v>
                </c:pt>
                <c:pt idx="276">
                  <c:v>-6.4421999999999993E-2</c:v>
                </c:pt>
                <c:pt idx="277">
                  <c:v>0.130525</c:v>
                </c:pt>
                <c:pt idx="278">
                  <c:v>0.23213400000000001</c:v>
                </c:pt>
                <c:pt idx="279">
                  <c:v>2.3005999999999999E-2</c:v>
                </c:pt>
                <c:pt idx="280">
                  <c:v>5.3920000000000003E-2</c:v>
                </c:pt>
                <c:pt idx="281">
                  <c:v>6.0650000000000003E-2</c:v>
                </c:pt>
                <c:pt idx="282">
                  <c:v>-6.9280999999999995E-2</c:v>
                </c:pt>
                <c:pt idx="283">
                  <c:v>0.12790199999999999</c:v>
                </c:pt>
                <c:pt idx="284">
                  <c:v>9.1838000000000003E-2</c:v>
                </c:pt>
                <c:pt idx="285">
                  <c:v>8.2782999999999995E-2</c:v>
                </c:pt>
                <c:pt idx="286">
                  <c:v>7.2939000000000004E-2</c:v>
                </c:pt>
                <c:pt idx="287">
                  <c:v>-6.3874E-2</c:v>
                </c:pt>
                <c:pt idx="288">
                  <c:v>-8.1869999999999998E-3</c:v>
                </c:pt>
                <c:pt idx="289">
                  <c:v>0.154193</c:v>
                </c:pt>
                <c:pt idx="290">
                  <c:v>0.10366300000000001</c:v>
                </c:pt>
                <c:pt idx="291">
                  <c:v>8.8568999999999995E-2</c:v>
                </c:pt>
                <c:pt idx="292">
                  <c:v>7.6179999999999998E-2</c:v>
                </c:pt>
                <c:pt idx="293">
                  <c:v>-6.173E-2</c:v>
                </c:pt>
                <c:pt idx="294">
                  <c:v>0.13209199999999999</c:v>
                </c:pt>
                <c:pt idx="295">
                  <c:v>9.4583E-2</c:v>
                </c:pt>
                <c:pt idx="296">
                  <c:v>-5.3751E-2</c:v>
                </c:pt>
                <c:pt idx="297">
                  <c:v>0.13573499999999999</c:v>
                </c:pt>
                <c:pt idx="298">
                  <c:v>9.6412999999999999E-2</c:v>
                </c:pt>
                <c:pt idx="299">
                  <c:v>8.5942000000000005E-2</c:v>
                </c:pt>
                <c:pt idx="300">
                  <c:v>0.21407799999999999</c:v>
                </c:pt>
                <c:pt idx="301">
                  <c:v>0.15454999999999999</c:v>
                </c:pt>
                <c:pt idx="302">
                  <c:v>-9.6559999999999997E-3</c:v>
                </c:pt>
                <c:pt idx="303">
                  <c:v>3.9893999999999999E-2</c:v>
                </c:pt>
                <c:pt idx="304">
                  <c:v>0.19300100000000001</c:v>
                </c:pt>
                <c:pt idx="305">
                  <c:v>0.14391799999999999</c:v>
                </c:pt>
                <c:pt idx="306">
                  <c:v>-1.5865000000000001E-2</c:v>
                </c:pt>
                <c:pt idx="307">
                  <c:v>-0.10302</c:v>
                </c:pt>
                <c:pt idx="308">
                  <c:v>-2.6643E-2</c:v>
                </c:pt>
                <c:pt idx="309">
                  <c:v>0.144423</c:v>
                </c:pt>
                <c:pt idx="310">
                  <c:v>9.7600999999999993E-2</c:v>
                </c:pt>
                <c:pt idx="311">
                  <c:v>-5.4482999999999997E-2</c:v>
                </c:pt>
                <c:pt idx="312">
                  <c:v>-5.0790000000000002E-3</c:v>
                </c:pt>
                <c:pt idx="313">
                  <c:v>1.6111E-2</c:v>
                </c:pt>
                <c:pt idx="314">
                  <c:v>2.5576999999999999E-2</c:v>
                </c:pt>
                <c:pt idx="315">
                  <c:v>0.37672699999999998</c:v>
                </c:pt>
                <c:pt idx="316">
                  <c:v>0.36533199999999999</c:v>
                </c:pt>
                <c:pt idx="317">
                  <c:v>-9.0761999999999995E-2</c:v>
                </c:pt>
                <c:pt idx="318">
                  <c:v>5.3880000000000004E-3</c:v>
                </c:pt>
                <c:pt idx="319">
                  <c:v>3.9217000000000002E-2</c:v>
                </c:pt>
                <c:pt idx="320">
                  <c:v>-7.9417000000000001E-2</c:v>
                </c:pt>
                <c:pt idx="321">
                  <c:v>-1.6118E-2</c:v>
                </c:pt>
                <c:pt idx="322">
                  <c:v>1.0865E-2</c:v>
                </c:pt>
                <c:pt idx="323">
                  <c:v>0.16139600000000001</c:v>
                </c:pt>
                <c:pt idx="324">
                  <c:v>0.24462700000000001</c:v>
                </c:pt>
                <c:pt idx="325">
                  <c:v>0.16653599999999999</c:v>
                </c:pt>
                <c:pt idx="326">
                  <c:v>-5.3220000000000003E-3</c:v>
                </c:pt>
                <c:pt idx="327">
                  <c:v>-9.7536999999999999E-2</c:v>
                </c:pt>
                <c:pt idx="328">
                  <c:v>-2.3309E-2</c:v>
                </c:pt>
                <c:pt idx="329">
                  <c:v>8.1860000000000006E-3</c:v>
                </c:pt>
                <c:pt idx="330">
                  <c:v>0.16057199999999999</c:v>
                </c:pt>
                <c:pt idx="331">
                  <c:v>0.244558</c:v>
                </c:pt>
                <c:pt idx="332">
                  <c:v>2.8136999999999999E-2</c:v>
                </c:pt>
                <c:pt idx="333">
                  <c:v>-8.2594000000000001E-2</c:v>
                </c:pt>
                <c:pt idx="334">
                  <c:v>-1.609E-2</c:v>
                </c:pt>
                <c:pt idx="335">
                  <c:v>0.150784</c:v>
                </c:pt>
                <c:pt idx="336">
                  <c:v>0.240758</c:v>
                </c:pt>
                <c:pt idx="337">
                  <c:v>0.165435</c:v>
                </c:pt>
                <c:pt idx="338">
                  <c:v>0.133329</c:v>
                </c:pt>
                <c:pt idx="339">
                  <c:v>-1.9459000000000001E-2</c:v>
                </c:pt>
                <c:pt idx="340">
                  <c:v>-0.103753</c:v>
                </c:pt>
                <c:pt idx="341">
                  <c:v>-2.6224000000000001E-2</c:v>
                </c:pt>
                <c:pt idx="342">
                  <c:v>0.145287</c:v>
                </c:pt>
                <c:pt idx="343">
                  <c:v>9.8618999999999998E-2</c:v>
                </c:pt>
                <c:pt idx="344">
                  <c:v>-5.3430999999999999E-2</c:v>
                </c:pt>
                <c:pt idx="345">
                  <c:v>-4.0410000000000003E-3</c:v>
                </c:pt>
                <c:pt idx="346">
                  <c:v>3.643E-3</c:v>
                </c:pt>
                <c:pt idx="347">
                  <c:v>0.13772999999999999</c:v>
                </c:pt>
                <c:pt idx="348">
                  <c:v>0.20543400000000001</c:v>
                </c:pt>
                <c:pt idx="349">
                  <c:v>-2.6686999999999999E-2</c:v>
                </c:pt>
                <c:pt idx="350">
                  <c:v>-1.4489E-2</c:v>
                </c:pt>
                <c:pt idx="351">
                  <c:v>-2.4936E-2</c:v>
                </c:pt>
                <c:pt idx="352">
                  <c:v>-0.37957400000000002</c:v>
                </c:pt>
                <c:pt idx="353">
                  <c:v>-0.24629999999999999</c:v>
                </c:pt>
                <c:pt idx="354">
                  <c:v>-2.4909000000000001E-2</c:v>
                </c:pt>
                <c:pt idx="355">
                  <c:v>-0.12778</c:v>
                </c:pt>
                <c:pt idx="356">
                  <c:v>-0.197991</c:v>
                </c:pt>
                <c:pt idx="357">
                  <c:v>-0.25574400000000003</c:v>
                </c:pt>
                <c:pt idx="358">
                  <c:v>-0.17303499999999999</c:v>
                </c:pt>
                <c:pt idx="359">
                  <c:v>-0.148892</c:v>
                </c:pt>
                <c:pt idx="360">
                  <c:v>-0.42049199999999998</c:v>
                </c:pt>
                <c:pt idx="361">
                  <c:v>-0.451463</c:v>
                </c:pt>
                <c:pt idx="362">
                  <c:v>-0.40161799999999998</c:v>
                </c:pt>
                <c:pt idx="363">
                  <c:v>-0.55300199999999999</c:v>
                </c:pt>
                <c:pt idx="364">
                  <c:v>-0.67820199999999997</c:v>
                </c:pt>
                <c:pt idx="365">
                  <c:v>-0.79473700000000003</c:v>
                </c:pt>
                <c:pt idx="366">
                  <c:v>-0.90976199999999996</c:v>
                </c:pt>
                <c:pt idx="367">
                  <c:v>-1.0261469999999999</c:v>
                </c:pt>
                <c:pt idx="368">
                  <c:v>-1.144987</c:v>
                </c:pt>
                <c:pt idx="369">
                  <c:v>-1.266651</c:v>
                </c:pt>
                <c:pt idx="370">
                  <c:v>-1.4443809999999999</c:v>
                </c:pt>
                <c:pt idx="371">
                  <c:v>-1.6289199999999999</c:v>
                </c:pt>
                <c:pt idx="372">
                  <c:v>-1.6154980000000001</c:v>
                </c:pt>
                <c:pt idx="373">
                  <c:v>-1.6972739999999999</c:v>
                </c:pt>
                <c:pt idx="374">
                  <c:v>-1.8868739999999999</c:v>
                </c:pt>
                <c:pt idx="375">
                  <c:v>-2.0722520000000002</c:v>
                </c:pt>
                <c:pt idx="376">
                  <c:v>-2.3930470000000001</c:v>
                </c:pt>
                <c:pt idx="377">
                  <c:v>-2.320011</c:v>
                </c:pt>
                <c:pt idx="378">
                  <c:v>-2.4296679999999999</c:v>
                </c:pt>
                <c:pt idx="379">
                  <c:v>-2.5942829999999999</c:v>
                </c:pt>
                <c:pt idx="380">
                  <c:v>-2.5915119999999998</c:v>
                </c:pt>
                <c:pt idx="381">
                  <c:v>-2.692091</c:v>
                </c:pt>
                <c:pt idx="382">
                  <c:v>-2.914209</c:v>
                </c:pt>
                <c:pt idx="383">
                  <c:v>-3.1329959999999999</c:v>
                </c:pt>
                <c:pt idx="384">
                  <c:v>-2.9523459999999999</c:v>
                </c:pt>
                <c:pt idx="385">
                  <c:v>-2.9551850000000002</c:v>
                </c:pt>
                <c:pt idx="386">
                  <c:v>-3.1022219999999998</c:v>
                </c:pt>
                <c:pt idx="387">
                  <c:v>-3.1628090000000002</c:v>
                </c:pt>
                <c:pt idx="388">
                  <c:v>-3.3088109999999999</c:v>
                </c:pt>
                <c:pt idx="389">
                  <c:v>-3.0931000000000002</c:v>
                </c:pt>
                <c:pt idx="390">
                  <c:v>-3.1514340000000001</c:v>
                </c:pt>
                <c:pt idx="391">
                  <c:v>-3.4745170000000001</c:v>
                </c:pt>
                <c:pt idx="392">
                  <c:v>-3.3447230000000001</c:v>
                </c:pt>
                <c:pt idx="393">
                  <c:v>-3.3793760000000002</c:v>
                </c:pt>
                <c:pt idx="394">
                  <c:v>-3.739404</c:v>
                </c:pt>
                <c:pt idx="395">
                  <c:v>-3.8556189999999999</c:v>
                </c:pt>
                <c:pt idx="396">
                  <c:v>-3.918901</c:v>
                </c:pt>
                <c:pt idx="397">
                  <c:v>-4.4239189999999997</c:v>
                </c:pt>
                <c:pt idx="398">
                  <c:v>-4.9722280000000003</c:v>
                </c:pt>
                <c:pt idx="399">
                  <c:v>-5.3014679999999998</c:v>
                </c:pt>
                <c:pt idx="400">
                  <c:v>-5.660514</c:v>
                </c:pt>
                <c:pt idx="401">
                  <c:v>-6.0402240000000003</c:v>
                </c:pt>
                <c:pt idx="402">
                  <c:v>-6.4780920000000002</c:v>
                </c:pt>
                <c:pt idx="403">
                  <c:v>-6.7273310000000004</c:v>
                </c:pt>
                <c:pt idx="404">
                  <c:v>-7.0800999999999998</c:v>
                </c:pt>
                <c:pt idx="405">
                  <c:v>-7.6847310000000002</c:v>
                </c:pt>
                <c:pt idx="406">
                  <c:v>-8.2330919999999992</c:v>
                </c:pt>
                <c:pt idx="407">
                  <c:v>-8.5604739999999993</c:v>
                </c:pt>
                <c:pt idx="408">
                  <c:v>-8.6356769999999994</c:v>
                </c:pt>
                <c:pt idx="409">
                  <c:v>-8.7626039999999996</c:v>
                </c:pt>
                <c:pt idx="410">
                  <c:v>-9.0709060000000008</c:v>
                </c:pt>
                <c:pt idx="411">
                  <c:v>-9.4492419999999999</c:v>
                </c:pt>
                <c:pt idx="412">
                  <c:v>-9.8663679999999996</c:v>
                </c:pt>
                <c:pt idx="413">
                  <c:v>-10.3088865</c:v>
                </c:pt>
                <c:pt idx="414">
                  <c:v>-10.5663242</c:v>
                </c:pt>
                <c:pt idx="415">
                  <c:v>-10.588424699999999</c:v>
                </c:pt>
                <c:pt idx="416">
                  <c:v>-11.0119057</c:v>
                </c:pt>
                <c:pt idx="417">
                  <c:v>-11.777051</c:v>
                </c:pt>
                <c:pt idx="418">
                  <c:v>-12.091760600000001</c:v>
                </c:pt>
                <c:pt idx="419">
                  <c:v>-12.1666107</c:v>
                </c:pt>
                <c:pt idx="420">
                  <c:v>-12.705481499999999</c:v>
                </c:pt>
                <c:pt idx="421">
                  <c:v>-13.215652499999999</c:v>
                </c:pt>
                <c:pt idx="422">
                  <c:v>-13.3192825</c:v>
                </c:pt>
                <c:pt idx="423">
                  <c:v>-13.74011</c:v>
                </c:pt>
                <c:pt idx="424">
                  <c:v>-14.18384</c:v>
                </c:pt>
                <c:pt idx="425">
                  <c:v>-14.3111382</c:v>
                </c:pt>
                <c:pt idx="426">
                  <c:v>-14.627853399999999</c:v>
                </c:pt>
                <c:pt idx="427">
                  <c:v>-14.884353600000001</c:v>
                </c:pt>
                <c:pt idx="428">
                  <c:v>-15.1752272</c:v>
                </c:pt>
                <c:pt idx="429">
                  <c:v>-15.544351600000001</c:v>
                </c:pt>
                <c:pt idx="430">
                  <c:v>-15.6868134</c:v>
                </c:pt>
                <c:pt idx="431">
                  <c:v>-15.769531300000001</c:v>
                </c:pt>
                <c:pt idx="432">
                  <c:v>-16.214061699999998</c:v>
                </c:pt>
                <c:pt idx="433">
                  <c:v>-16.509202999999999</c:v>
                </c:pt>
                <c:pt idx="434">
                  <c:v>-16.62201</c:v>
                </c:pt>
                <c:pt idx="435">
                  <c:v>-17.0903168</c:v>
                </c:pt>
                <c:pt idx="436">
                  <c:v>-17.2754555</c:v>
                </c:pt>
                <c:pt idx="437">
                  <c:v>-17.587263100000001</c:v>
                </c:pt>
                <c:pt idx="438">
                  <c:v>-18.092578899999999</c:v>
                </c:pt>
                <c:pt idx="439">
                  <c:v>-18.376915</c:v>
                </c:pt>
                <c:pt idx="440">
                  <c:v>-18.612735700000002</c:v>
                </c:pt>
                <c:pt idx="441">
                  <c:v>-18.81897</c:v>
                </c:pt>
                <c:pt idx="442">
                  <c:v>-19.156078300000001</c:v>
                </c:pt>
                <c:pt idx="443">
                  <c:v>-19.5537949</c:v>
                </c:pt>
                <c:pt idx="444">
                  <c:v>-19.784685100000001</c:v>
                </c:pt>
                <c:pt idx="445">
                  <c:v>-20.336574599999999</c:v>
                </c:pt>
                <c:pt idx="446">
                  <c:v>-20.7197</c:v>
                </c:pt>
                <c:pt idx="447">
                  <c:v>-20.6231823</c:v>
                </c:pt>
                <c:pt idx="448">
                  <c:v>-20.790286999999999</c:v>
                </c:pt>
                <c:pt idx="449">
                  <c:v>-20.944545699999999</c:v>
                </c:pt>
                <c:pt idx="450">
                  <c:v>-21.086986499999998</c:v>
                </c:pt>
                <c:pt idx="451">
                  <c:v>-21.217052500000001</c:v>
                </c:pt>
                <c:pt idx="452">
                  <c:v>-21.268672899999999</c:v>
                </c:pt>
                <c:pt idx="453">
                  <c:v>-21.474027599999999</c:v>
                </c:pt>
                <c:pt idx="454">
                  <c:v>-21.6214218</c:v>
                </c:pt>
                <c:pt idx="455">
                  <c:v>-21.741160000000001</c:v>
                </c:pt>
                <c:pt idx="456">
                  <c:v>-22.180789999999998</c:v>
                </c:pt>
                <c:pt idx="457">
                  <c:v>-22.528335599999998</c:v>
                </c:pt>
                <c:pt idx="458">
                  <c:v>-22.6231346</c:v>
                </c:pt>
                <c:pt idx="459">
                  <c:v>-22.8618469</c:v>
                </c:pt>
                <c:pt idx="460">
                  <c:v>-22.833173800000001</c:v>
                </c:pt>
                <c:pt idx="461">
                  <c:v>-22.931098899999999</c:v>
                </c:pt>
                <c:pt idx="462">
                  <c:v>-23.1465073</c:v>
                </c:pt>
                <c:pt idx="463">
                  <c:v>-23.0930939</c:v>
                </c:pt>
                <c:pt idx="464">
                  <c:v>-23.361673400000001</c:v>
                </c:pt>
                <c:pt idx="465">
                  <c:v>-23.528148699999999</c:v>
                </c:pt>
                <c:pt idx="466">
                  <c:v>-23.327545199999999</c:v>
                </c:pt>
                <c:pt idx="467">
                  <c:v>-23.351161999999999</c:v>
                </c:pt>
                <c:pt idx="468">
                  <c:v>-23.481403400000001</c:v>
                </c:pt>
                <c:pt idx="469">
                  <c:v>-23.5384216</c:v>
                </c:pt>
                <c:pt idx="470">
                  <c:v>-23.761232400000001</c:v>
                </c:pt>
                <c:pt idx="471">
                  <c:v>-23.737533599999999</c:v>
                </c:pt>
                <c:pt idx="472">
                  <c:v>-23.6544685</c:v>
                </c:pt>
                <c:pt idx="473">
                  <c:v>-23.728284800000001</c:v>
                </c:pt>
                <c:pt idx="474">
                  <c:v>-23.627557800000002</c:v>
                </c:pt>
                <c:pt idx="475">
                  <c:v>-23.524183300000001</c:v>
                </c:pt>
                <c:pt idx="476">
                  <c:v>-23.5485954</c:v>
                </c:pt>
                <c:pt idx="477">
                  <c:v>-23.502925900000001</c:v>
                </c:pt>
                <c:pt idx="478">
                  <c:v>-23.423278799999999</c:v>
                </c:pt>
                <c:pt idx="479">
                  <c:v>-23.523328800000002</c:v>
                </c:pt>
                <c:pt idx="480">
                  <c:v>-23.383323699999998</c:v>
                </c:pt>
                <c:pt idx="481">
                  <c:v>-23.456994999999999</c:v>
                </c:pt>
                <c:pt idx="482">
                  <c:v>-23.504909999999999</c:v>
                </c:pt>
                <c:pt idx="483">
                  <c:v>-23.451477100000002</c:v>
                </c:pt>
                <c:pt idx="484">
                  <c:v>-23.544107400000001</c:v>
                </c:pt>
                <c:pt idx="485">
                  <c:v>-23.587646500000002</c:v>
                </c:pt>
                <c:pt idx="486">
                  <c:v>-23.404016500000001</c:v>
                </c:pt>
                <c:pt idx="487">
                  <c:v>-23.233875300000001</c:v>
                </c:pt>
                <c:pt idx="488">
                  <c:v>-23.257915499999999</c:v>
                </c:pt>
                <c:pt idx="489">
                  <c:v>-23.185142500000001</c:v>
                </c:pt>
                <c:pt idx="490">
                  <c:v>-23.359991099999998</c:v>
                </c:pt>
                <c:pt idx="491">
                  <c:v>-23.2877121</c:v>
                </c:pt>
                <c:pt idx="492">
                  <c:v>-23.369087199999999</c:v>
                </c:pt>
                <c:pt idx="493">
                  <c:v>-23.7986279</c:v>
                </c:pt>
                <c:pt idx="494">
                  <c:v>-23.694109000000001</c:v>
                </c:pt>
                <c:pt idx="495">
                  <c:v>-23.787778899999999</c:v>
                </c:pt>
                <c:pt idx="496">
                  <c:v>-23.9771252</c:v>
                </c:pt>
                <c:pt idx="497">
                  <c:v>-23.891475700000001</c:v>
                </c:pt>
                <c:pt idx="498">
                  <c:v>-24.2238331</c:v>
                </c:pt>
                <c:pt idx="499">
                  <c:v>-24.264102900000001</c:v>
                </c:pt>
                <c:pt idx="500">
                  <c:v>-23.758626899999999</c:v>
                </c:pt>
                <c:pt idx="501">
                  <c:v>-24.021778099999999</c:v>
                </c:pt>
                <c:pt idx="502">
                  <c:v>-24.413301499999999</c:v>
                </c:pt>
                <c:pt idx="503">
                  <c:v>-24.227664900000001</c:v>
                </c:pt>
                <c:pt idx="504">
                  <c:v>-24.071059999999999</c:v>
                </c:pt>
                <c:pt idx="505">
                  <c:v>-24.18515</c:v>
                </c:pt>
                <c:pt idx="506">
                  <c:v>-24.331211100000001</c:v>
                </c:pt>
                <c:pt idx="507">
                  <c:v>-23.988012300000001</c:v>
                </c:pt>
                <c:pt idx="508">
                  <c:v>-23.582742700000001</c:v>
                </c:pt>
                <c:pt idx="509">
                  <c:v>-23.591051100000001</c:v>
                </c:pt>
                <c:pt idx="510">
                  <c:v>-23.6816444</c:v>
                </c:pt>
                <c:pt idx="511">
                  <c:v>-23.625080000000001</c:v>
                </c:pt>
                <c:pt idx="512">
                  <c:v>-23.361160000000002</c:v>
                </c:pt>
                <c:pt idx="513">
                  <c:v>-23.3189487</c:v>
                </c:pt>
                <c:pt idx="514">
                  <c:v>-23.163969000000002</c:v>
                </c:pt>
                <c:pt idx="515">
                  <c:v>-23.0370445</c:v>
                </c:pt>
                <c:pt idx="516">
                  <c:v>-22.712844799999999</c:v>
                </c:pt>
                <c:pt idx="517">
                  <c:v>-22.5576477</c:v>
                </c:pt>
                <c:pt idx="518">
                  <c:v>-22.747465099999999</c:v>
                </c:pt>
                <c:pt idx="519">
                  <c:v>-22.533502599999998</c:v>
                </c:pt>
                <c:pt idx="520">
                  <c:v>-22.310615500000001</c:v>
                </c:pt>
                <c:pt idx="521">
                  <c:v>-22.211254100000001</c:v>
                </c:pt>
                <c:pt idx="522">
                  <c:v>-22.006748200000001</c:v>
                </c:pt>
                <c:pt idx="523">
                  <c:v>-21.700285000000001</c:v>
                </c:pt>
                <c:pt idx="524">
                  <c:v>-21.603480000000001</c:v>
                </c:pt>
                <c:pt idx="525">
                  <c:v>-21.482694599999999</c:v>
                </c:pt>
                <c:pt idx="526">
                  <c:v>-21.220929999999999</c:v>
                </c:pt>
                <c:pt idx="527">
                  <c:v>-21.085266099999998</c:v>
                </c:pt>
                <c:pt idx="528">
                  <c:v>-20.946716299999999</c:v>
                </c:pt>
                <c:pt idx="529">
                  <c:v>-20.948370000000001</c:v>
                </c:pt>
                <c:pt idx="530">
                  <c:v>-20.804086699999999</c:v>
                </c:pt>
                <c:pt idx="531">
                  <c:v>-20.81073</c:v>
                </c:pt>
                <c:pt idx="532">
                  <c:v>-20.896568299999998</c:v>
                </c:pt>
                <c:pt idx="533">
                  <c:v>-20.842783000000001</c:v>
                </c:pt>
                <c:pt idx="534">
                  <c:v>-20.919339999999998</c:v>
                </c:pt>
                <c:pt idx="535">
                  <c:v>-20.940427799999998</c:v>
                </c:pt>
                <c:pt idx="536">
                  <c:v>-21.208984399999999</c:v>
                </c:pt>
                <c:pt idx="537">
                  <c:v>-21.418900000000001</c:v>
                </c:pt>
                <c:pt idx="538">
                  <c:v>-21.101140000000001</c:v>
                </c:pt>
                <c:pt idx="539">
                  <c:v>-20.991959999999999</c:v>
                </c:pt>
                <c:pt idx="540">
                  <c:v>-21.041496299999999</c:v>
                </c:pt>
                <c:pt idx="541">
                  <c:v>-20.913013500000002</c:v>
                </c:pt>
                <c:pt idx="542">
                  <c:v>-20.888595599999999</c:v>
                </c:pt>
                <c:pt idx="543">
                  <c:v>-20.851642600000002</c:v>
                </c:pt>
                <c:pt idx="544">
                  <c:v>-20.876405699999999</c:v>
                </c:pt>
                <c:pt idx="545">
                  <c:v>-20.732713700000001</c:v>
                </c:pt>
                <c:pt idx="546">
                  <c:v>-20.6716576</c:v>
                </c:pt>
                <c:pt idx="547">
                  <c:v>-20.731016199999999</c:v>
                </c:pt>
                <c:pt idx="548">
                  <c:v>-20.592056299999999</c:v>
                </c:pt>
                <c:pt idx="549">
                  <c:v>-20.3459</c:v>
                </c:pt>
                <c:pt idx="550">
                  <c:v>-20.169065499999999</c:v>
                </c:pt>
                <c:pt idx="551">
                  <c:v>-20.359107999999999</c:v>
                </c:pt>
                <c:pt idx="552">
                  <c:v>-20.209001499999999</c:v>
                </c:pt>
                <c:pt idx="553">
                  <c:v>-20.094165799999999</c:v>
                </c:pt>
                <c:pt idx="554">
                  <c:v>-20.166837699999999</c:v>
                </c:pt>
                <c:pt idx="555">
                  <c:v>-20.158927899999998</c:v>
                </c:pt>
                <c:pt idx="556">
                  <c:v>-20.1770611</c:v>
                </c:pt>
                <c:pt idx="557">
                  <c:v>-20.081790000000002</c:v>
                </c:pt>
                <c:pt idx="558">
                  <c:v>-20.330760999999999</c:v>
                </c:pt>
                <c:pt idx="559">
                  <c:v>-20.2274818</c:v>
                </c:pt>
                <c:pt idx="560">
                  <c:v>-19.947372399999999</c:v>
                </c:pt>
                <c:pt idx="561">
                  <c:v>-19.89048</c:v>
                </c:pt>
                <c:pt idx="562">
                  <c:v>-19.961196900000001</c:v>
                </c:pt>
                <c:pt idx="563">
                  <c:v>-20.095283500000001</c:v>
                </c:pt>
                <c:pt idx="564">
                  <c:v>-20.2775383</c:v>
                </c:pt>
                <c:pt idx="565">
                  <c:v>-20.152582200000001</c:v>
                </c:pt>
                <c:pt idx="566">
                  <c:v>-20.278381299999999</c:v>
                </c:pt>
                <c:pt idx="567">
                  <c:v>-20.593446700000001</c:v>
                </c:pt>
                <c:pt idx="568">
                  <c:v>-20.4237213</c:v>
                </c:pt>
                <c:pt idx="569">
                  <c:v>-20.395851100000002</c:v>
                </c:pt>
                <c:pt idx="570">
                  <c:v>-20.448944099999999</c:v>
                </c:pt>
                <c:pt idx="571">
                  <c:v>-20.401669999999999</c:v>
                </c:pt>
                <c:pt idx="572">
                  <c:v>-20.504201900000002</c:v>
                </c:pt>
                <c:pt idx="573">
                  <c:v>-20.6159134</c:v>
                </c:pt>
                <c:pt idx="574">
                  <c:v>-20.334144599999998</c:v>
                </c:pt>
                <c:pt idx="575">
                  <c:v>-20.2390823</c:v>
                </c:pt>
                <c:pt idx="576">
                  <c:v>-20.4306068</c:v>
                </c:pt>
                <c:pt idx="577">
                  <c:v>-20.307865100000001</c:v>
                </c:pt>
                <c:pt idx="578">
                  <c:v>-20.106210000000001</c:v>
                </c:pt>
                <c:pt idx="579">
                  <c:v>-19.9070663</c:v>
                </c:pt>
                <c:pt idx="580">
                  <c:v>-19.9052048</c:v>
                </c:pt>
                <c:pt idx="581">
                  <c:v>-20.0702076</c:v>
                </c:pt>
                <c:pt idx="582">
                  <c:v>-19.795805000000001</c:v>
                </c:pt>
                <c:pt idx="583">
                  <c:v>-19.488077199999999</c:v>
                </c:pt>
                <c:pt idx="584">
                  <c:v>-19.413530000000002</c:v>
                </c:pt>
                <c:pt idx="585">
                  <c:v>-19.595659999999999</c:v>
                </c:pt>
                <c:pt idx="586">
                  <c:v>-19.657505</c:v>
                </c:pt>
                <c:pt idx="587">
                  <c:v>-19.603502299999999</c:v>
                </c:pt>
                <c:pt idx="588">
                  <c:v>-19.688896199999999</c:v>
                </c:pt>
                <c:pt idx="589">
                  <c:v>-19.514404299999999</c:v>
                </c:pt>
                <c:pt idx="590">
                  <c:v>-19.334987600000002</c:v>
                </c:pt>
                <c:pt idx="591">
                  <c:v>-19.343360000000001</c:v>
                </c:pt>
                <c:pt idx="592">
                  <c:v>-19.315782500000001</c:v>
                </c:pt>
                <c:pt idx="593">
                  <c:v>-19.068401300000001</c:v>
                </c:pt>
                <c:pt idx="594">
                  <c:v>-18.848161699999999</c:v>
                </c:pt>
                <c:pt idx="595">
                  <c:v>-18.958728799999999</c:v>
                </c:pt>
                <c:pt idx="596">
                  <c:v>-19.181343099999999</c:v>
                </c:pt>
                <c:pt idx="597">
                  <c:v>-18.937608699999998</c:v>
                </c:pt>
                <c:pt idx="598">
                  <c:v>-18.583046</c:v>
                </c:pt>
                <c:pt idx="599">
                  <c:v>-18.347003900000001</c:v>
                </c:pt>
                <c:pt idx="600">
                  <c:v>-18.0278168</c:v>
                </c:pt>
                <c:pt idx="601">
                  <c:v>-17.718316999999999</c:v>
                </c:pt>
                <c:pt idx="602">
                  <c:v>-17.628971100000001</c:v>
                </c:pt>
                <c:pt idx="603">
                  <c:v>-17.572372399999999</c:v>
                </c:pt>
                <c:pt idx="604">
                  <c:v>-17.2716751</c:v>
                </c:pt>
                <c:pt idx="605">
                  <c:v>-17.038762999999999</c:v>
                </c:pt>
                <c:pt idx="606">
                  <c:v>-16.9016476</c:v>
                </c:pt>
                <c:pt idx="607">
                  <c:v>-16.542812300000001</c:v>
                </c:pt>
                <c:pt idx="608">
                  <c:v>-16.2662449</c:v>
                </c:pt>
                <c:pt idx="609">
                  <c:v>-16.428472500000002</c:v>
                </c:pt>
                <c:pt idx="610">
                  <c:v>-16.237594600000001</c:v>
                </c:pt>
                <c:pt idx="611">
                  <c:v>-15.9335775</c:v>
                </c:pt>
                <c:pt idx="612">
                  <c:v>-15.757</c:v>
                </c:pt>
                <c:pt idx="613">
                  <c:v>-15.580083800000001</c:v>
                </c:pt>
                <c:pt idx="614">
                  <c:v>-15.807262400000001</c:v>
                </c:pt>
                <c:pt idx="615">
                  <c:v>-15.9253941</c:v>
                </c:pt>
                <c:pt idx="616">
                  <c:v>-15.60116</c:v>
                </c:pt>
                <c:pt idx="617">
                  <c:v>-15.3071289</c:v>
                </c:pt>
                <c:pt idx="618">
                  <c:v>-15.36872</c:v>
                </c:pt>
                <c:pt idx="619">
                  <c:v>-15.4744358</c:v>
                </c:pt>
                <c:pt idx="620">
                  <c:v>-15.414373400000001</c:v>
                </c:pt>
                <c:pt idx="621">
                  <c:v>-15.0654755</c:v>
                </c:pt>
                <c:pt idx="622">
                  <c:v>-14.6873627</c:v>
                </c:pt>
                <c:pt idx="623">
                  <c:v>-14.541893</c:v>
                </c:pt>
                <c:pt idx="624">
                  <c:v>-14.30992</c:v>
                </c:pt>
                <c:pt idx="625">
                  <c:v>-14.030486099999999</c:v>
                </c:pt>
                <c:pt idx="626">
                  <c:v>-13.8668575</c:v>
                </c:pt>
                <c:pt idx="627">
                  <c:v>-13.617864600000001</c:v>
                </c:pt>
                <c:pt idx="628">
                  <c:v>-13.185288399999999</c:v>
                </c:pt>
                <c:pt idx="629">
                  <c:v>-13.118850699999999</c:v>
                </c:pt>
                <c:pt idx="630">
                  <c:v>-12.9016018</c:v>
                </c:pt>
                <c:pt idx="631">
                  <c:v>-12.481162100000001</c:v>
                </c:pt>
                <c:pt idx="632">
                  <c:v>-12.138590799999999</c:v>
                </c:pt>
                <c:pt idx="633">
                  <c:v>-11.764846800000001</c:v>
                </c:pt>
                <c:pt idx="634">
                  <c:v>-11.791684200000001</c:v>
                </c:pt>
                <c:pt idx="635">
                  <c:v>-11.8934975</c:v>
                </c:pt>
                <c:pt idx="636">
                  <c:v>-11.6489067</c:v>
                </c:pt>
                <c:pt idx="637">
                  <c:v>-11.4308929</c:v>
                </c:pt>
                <c:pt idx="638">
                  <c:v>-11.420276599999999</c:v>
                </c:pt>
                <c:pt idx="639">
                  <c:v>-11.188038799999999</c:v>
                </c:pt>
                <c:pt idx="640">
                  <c:v>-10.9749289</c:v>
                </c:pt>
                <c:pt idx="641">
                  <c:v>-10.7644348</c:v>
                </c:pt>
                <c:pt idx="642">
                  <c:v>-10.6403</c:v>
                </c:pt>
                <c:pt idx="643">
                  <c:v>-10.2763662</c:v>
                </c:pt>
                <c:pt idx="644">
                  <c:v>-9.7142160000000004</c:v>
                </c:pt>
                <c:pt idx="645">
                  <c:v>-9.4955479999999994</c:v>
                </c:pt>
                <c:pt idx="646">
                  <c:v>-9.3155439999999992</c:v>
                </c:pt>
                <c:pt idx="647">
                  <c:v>-8.9578089999999992</c:v>
                </c:pt>
                <c:pt idx="648">
                  <c:v>-8.5710820000000005</c:v>
                </c:pt>
                <c:pt idx="649">
                  <c:v>-8.2948500000000003</c:v>
                </c:pt>
                <c:pt idx="650">
                  <c:v>-7.9530479999999999</c:v>
                </c:pt>
                <c:pt idx="651">
                  <c:v>-7.498329</c:v>
                </c:pt>
                <c:pt idx="652">
                  <c:v>-6.9046450000000004</c:v>
                </c:pt>
                <c:pt idx="653">
                  <c:v>-6.7667739999999998</c:v>
                </c:pt>
                <c:pt idx="654">
                  <c:v>-6.7299480000000003</c:v>
                </c:pt>
                <c:pt idx="655">
                  <c:v>-6.5029490000000001</c:v>
                </c:pt>
                <c:pt idx="656">
                  <c:v>-6.3136539999999997</c:v>
                </c:pt>
                <c:pt idx="657">
                  <c:v>-6.0168559999999998</c:v>
                </c:pt>
                <c:pt idx="658">
                  <c:v>-5.9975820000000004</c:v>
                </c:pt>
                <c:pt idx="659">
                  <c:v>-5.9294159999999998</c:v>
                </c:pt>
                <c:pt idx="660">
                  <c:v>-5.6458130000000004</c:v>
                </c:pt>
                <c:pt idx="661">
                  <c:v>-5.3133140000000001</c:v>
                </c:pt>
                <c:pt idx="662">
                  <c:v>-5.2863920000000002</c:v>
                </c:pt>
                <c:pt idx="663">
                  <c:v>-5.2866780000000002</c:v>
                </c:pt>
                <c:pt idx="664">
                  <c:v>-4.9114329999999997</c:v>
                </c:pt>
                <c:pt idx="665">
                  <c:v>-4.5344199999999999</c:v>
                </c:pt>
                <c:pt idx="666">
                  <c:v>-4.2075379999999996</c:v>
                </c:pt>
                <c:pt idx="667">
                  <c:v>-3.8970940000000001</c:v>
                </c:pt>
                <c:pt idx="668">
                  <c:v>-3.5883259999999999</c:v>
                </c:pt>
                <c:pt idx="669">
                  <c:v>-3.48123</c:v>
                </c:pt>
                <c:pt idx="670">
                  <c:v>-3.2109589999999999</c:v>
                </c:pt>
                <c:pt idx="671">
                  <c:v>-2.7945250000000001</c:v>
                </c:pt>
                <c:pt idx="672">
                  <c:v>-2.4218280000000001</c:v>
                </c:pt>
                <c:pt idx="673">
                  <c:v>-2.3399399999999999</c:v>
                </c:pt>
                <c:pt idx="674">
                  <c:v>-2.1367889999999998</c:v>
                </c:pt>
                <c:pt idx="675">
                  <c:v>-1.750532</c:v>
                </c:pt>
                <c:pt idx="676">
                  <c:v>-1.592651</c:v>
                </c:pt>
                <c:pt idx="677">
                  <c:v>-1.2891060000000001</c:v>
                </c:pt>
                <c:pt idx="678">
                  <c:v>-0.974491</c:v>
                </c:pt>
                <c:pt idx="679">
                  <c:v>-0.854827</c:v>
                </c:pt>
                <c:pt idx="680">
                  <c:v>-0.63599799999999995</c:v>
                </c:pt>
                <c:pt idx="681">
                  <c:v>-0.30648599999999998</c:v>
                </c:pt>
                <c:pt idx="682">
                  <c:v>-0.25506699999999999</c:v>
                </c:pt>
                <c:pt idx="683">
                  <c:v>-0.150145</c:v>
                </c:pt>
                <c:pt idx="684">
                  <c:v>0.176925</c:v>
                </c:pt>
                <c:pt idx="685">
                  <c:v>0.55732300000000001</c:v>
                </c:pt>
                <c:pt idx="686">
                  <c:v>0.63847900000000002</c:v>
                </c:pt>
                <c:pt idx="687">
                  <c:v>0.56009399999999998</c:v>
                </c:pt>
                <c:pt idx="688">
                  <c:v>0.78610000000000002</c:v>
                </c:pt>
                <c:pt idx="689">
                  <c:v>1.0310349999999999</c:v>
                </c:pt>
                <c:pt idx="690">
                  <c:v>0.88733899999999999</c:v>
                </c:pt>
                <c:pt idx="691">
                  <c:v>0.52498900000000004</c:v>
                </c:pt>
                <c:pt idx="692">
                  <c:v>0.42446600000000001</c:v>
                </c:pt>
                <c:pt idx="693">
                  <c:v>0.64575000000000005</c:v>
                </c:pt>
                <c:pt idx="694">
                  <c:v>0.77434499999999995</c:v>
                </c:pt>
                <c:pt idx="695">
                  <c:v>0.66075600000000001</c:v>
                </c:pt>
                <c:pt idx="696">
                  <c:v>0.68642000000000003</c:v>
                </c:pt>
                <c:pt idx="697">
                  <c:v>0.64135699999999995</c:v>
                </c:pt>
                <c:pt idx="698">
                  <c:v>0.83529299999999995</c:v>
                </c:pt>
                <c:pt idx="699">
                  <c:v>1.1531100000000001</c:v>
                </c:pt>
                <c:pt idx="700">
                  <c:v>1.0856239999999999</c:v>
                </c:pt>
                <c:pt idx="701">
                  <c:v>1.2183090000000001</c:v>
                </c:pt>
                <c:pt idx="702">
                  <c:v>1.317936</c:v>
                </c:pt>
                <c:pt idx="703">
                  <c:v>1.5421</c:v>
                </c:pt>
                <c:pt idx="704">
                  <c:v>1.8343739999999999</c:v>
                </c:pt>
                <c:pt idx="705">
                  <c:v>1.838706</c:v>
                </c:pt>
                <c:pt idx="706">
                  <c:v>1.958658</c:v>
                </c:pt>
                <c:pt idx="707">
                  <c:v>2.3390770000000001</c:v>
                </c:pt>
                <c:pt idx="708">
                  <c:v>2.6654089999999999</c:v>
                </c:pt>
                <c:pt idx="709">
                  <c:v>2.7748010000000001</c:v>
                </c:pt>
                <c:pt idx="710">
                  <c:v>2.8368380000000002</c:v>
                </c:pt>
                <c:pt idx="711">
                  <c:v>3.0012970000000001</c:v>
                </c:pt>
                <c:pt idx="712">
                  <c:v>3.1483509999999999</c:v>
                </c:pt>
                <c:pt idx="713">
                  <c:v>2.94659</c:v>
                </c:pt>
                <c:pt idx="714">
                  <c:v>3.2280039999999999</c:v>
                </c:pt>
                <c:pt idx="715">
                  <c:v>3.4138600000000001</c:v>
                </c:pt>
                <c:pt idx="716">
                  <c:v>3.2307329999999999</c:v>
                </c:pt>
                <c:pt idx="717">
                  <c:v>3.3050600000000001</c:v>
                </c:pt>
                <c:pt idx="718">
                  <c:v>3.3766449999999999</c:v>
                </c:pt>
                <c:pt idx="719">
                  <c:v>3.5798760000000001</c:v>
                </c:pt>
                <c:pt idx="720">
                  <c:v>3.3835440000000001</c:v>
                </c:pt>
                <c:pt idx="721">
                  <c:v>3.1052729999999999</c:v>
                </c:pt>
                <c:pt idx="722">
                  <c:v>3.231824</c:v>
                </c:pt>
                <c:pt idx="723">
                  <c:v>3.3683399999999999</c:v>
                </c:pt>
                <c:pt idx="724">
                  <c:v>3.2499449999999999</c:v>
                </c:pt>
                <c:pt idx="725">
                  <c:v>3.1979899999999999</c:v>
                </c:pt>
                <c:pt idx="726">
                  <c:v>3.239954</c:v>
                </c:pt>
                <c:pt idx="727">
                  <c:v>2.994459</c:v>
                </c:pt>
                <c:pt idx="728">
                  <c:v>2.8606020000000001</c:v>
                </c:pt>
                <c:pt idx="729">
                  <c:v>2.975422</c:v>
                </c:pt>
                <c:pt idx="730">
                  <c:v>3.0273490000000001</c:v>
                </c:pt>
                <c:pt idx="731">
                  <c:v>2.7128730000000001</c:v>
                </c:pt>
                <c:pt idx="732">
                  <c:v>2.53687</c:v>
                </c:pt>
                <c:pt idx="733">
                  <c:v>2.6182539999999999</c:v>
                </c:pt>
                <c:pt idx="734">
                  <c:v>2.6429619999999998</c:v>
                </c:pt>
                <c:pt idx="735">
                  <c:v>2.5744220000000002</c:v>
                </c:pt>
                <c:pt idx="736">
                  <c:v>2.665778</c:v>
                </c:pt>
                <c:pt idx="737">
                  <c:v>2.5003190000000002</c:v>
                </c:pt>
                <c:pt idx="738">
                  <c:v>2.0687069999999999</c:v>
                </c:pt>
                <c:pt idx="739">
                  <c:v>2.079329</c:v>
                </c:pt>
                <c:pt idx="740">
                  <c:v>2.1184470000000002</c:v>
                </c:pt>
                <c:pt idx="741">
                  <c:v>2.2514880000000002</c:v>
                </c:pt>
                <c:pt idx="742">
                  <c:v>2.241123</c:v>
                </c:pt>
                <c:pt idx="743">
                  <c:v>1.9602360000000001</c:v>
                </c:pt>
                <c:pt idx="744">
                  <c:v>1.999895</c:v>
                </c:pt>
                <c:pt idx="745">
                  <c:v>2.1363150000000002</c:v>
                </c:pt>
                <c:pt idx="746">
                  <c:v>2.0686909999999998</c:v>
                </c:pt>
                <c:pt idx="747">
                  <c:v>2.029404</c:v>
                </c:pt>
                <c:pt idx="748">
                  <c:v>1.9349400000000001</c:v>
                </c:pt>
                <c:pt idx="749">
                  <c:v>1.8766860000000001</c:v>
                </c:pt>
                <c:pt idx="750">
                  <c:v>1.83351</c:v>
                </c:pt>
                <c:pt idx="751">
                  <c:v>1.7995779999999999</c:v>
                </c:pt>
                <c:pt idx="752">
                  <c:v>1.769401</c:v>
                </c:pt>
                <c:pt idx="753">
                  <c:v>1.60731</c:v>
                </c:pt>
                <c:pt idx="754">
                  <c:v>1.6420220000000001</c:v>
                </c:pt>
                <c:pt idx="755">
                  <c:v>1.302489</c:v>
                </c:pt>
                <c:pt idx="756">
                  <c:v>0.89850399999999997</c:v>
                </c:pt>
                <c:pt idx="757">
                  <c:v>0.70098499999999997</c:v>
                </c:pt>
                <c:pt idx="758">
                  <c:v>0.81576099999999996</c:v>
                </c:pt>
                <c:pt idx="759">
                  <c:v>0.62170300000000001</c:v>
                </c:pt>
                <c:pt idx="760">
                  <c:v>0.28273999999999999</c:v>
                </c:pt>
                <c:pt idx="761">
                  <c:v>0.38484099999999999</c:v>
                </c:pt>
                <c:pt idx="762">
                  <c:v>0.26051800000000003</c:v>
                </c:pt>
                <c:pt idx="763">
                  <c:v>8.7222999999999995E-2</c:v>
                </c:pt>
                <c:pt idx="764">
                  <c:v>-4.4324000000000002E-2</c:v>
                </c:pt>
                <c:pt idx="765">
                  <c:v>0.11405</c:v>
                </c:pt>
                <c:pt idx="766">
                  <c:v>3.0463E-2</c:v>
                </c:pt>
                <c:pt idx="767">
                  <c:v>-3.3695000000000003E-2</c:v>
                </c:pt>
                <c:pt idx="768">
                  <c:v>4.2261E-2</c:v>
                </c:pt>
                <c:pt idx="769">
                  <c:v>-3.1000000000000001E-5</c:v>
                </c:pt>
                <c:pt idx="770">
                  <c:v>-0.37675799999999998</c:v>
                </c:pt>
                <c:pt idx="771">
                  <c:v>-0.59990699999999997</c:v>
                </c:pt>
                <c:pt idx="772">
                  <c:v>-0.49248700000000001</c:v>
                </c:pt>
                <c:pt idx="773">
                  <c:v>-0.74021000000000003</c:v>
                </c:pt>
                <c:pt idx="774">
                  <c:v>-0.90531700000000004</c:v>
                </c:pt>
                <c:pt idx="775">
                  <c:v>-1.1726080000000001</c:v>
                </c:pt>
                <c:pt idx="776">
                  <c:v>-1.2243569999999999</c:v>
                </c:pt>
                <c:pt idx="777">
                  <c:v>-1.509533</c:v>
                </c:pt>
                <c:pt idx="778">
                  <c:v>-1.9788669999999999</c:v>
                </c:pt>
                <c:pt idx="779">
                  <c:v>-1.75746</c:v>
                </c:pt>
                <c:pt idx="780">
                  <c:v>-1.9728669999999999</c:v>
                </c:pt>
                <c:pt idx="781">
                  <c:v>-2.2680579999999999</c:v>
                </c:pt>
                <c:pt idx="782">
                  <c:v>-2.28335</c:v>
                </c:pt>
                <c:pt idx="783">
                  <c:v>-2.3449469999999999</c:v>
                </c:pt>
                <c:pt idx="784">
                  <c:v>-2.4263530000000002</c:v>
                </c:pt>
                <c:pt idx="785">
                  <c:v>-2.5107149999999998</c:v>
                </c:pt>
                <c:pt idx="786">
                  <c:v>-2.5290089999999998</c:v>
                </c:pt>
                <c:pt idx="787">
                  <c:v>-2.3682949999999998</c:v>
                </c:pt>
                <c:pt idx="788">
                  <c:v>-2.3071199999999998</c:v>
                </c:pt>
                <c:pt idx="789">
                  <c:v>-2.4174440000000001</c:v>
                </c:pt>
                <c:pt idx="790">
                  <c:v>-2.3526590000000001</c:v>
                </c:pt>
                <c:pt idx="791">
                  <c:v>-2.259001</c:v>
                </c:pt>
                <c:pt idx="792">
                  <c:v>-2.2112690000000002</c:v>
                </c:pt>
                <c:pt idx="793">
                  <c:v>-2.3178390000000002</c:v>
                </c:pt>
                <c:pt idx="794">
                  <c:v>-2.1018240000000001</c:v>
                </c:pt>
                <c:pt idx="795">
                  <c:v>-2.0529000000000002</c:v>
                </c:pt>
                <c:pt idx="796">
                  <c:v>-2.2817910000000001</c:v>
                </c:pt>
                <c:pt idx="797">
                  <c:v>-2.3358629999999998</c:v>
                </c:pt>
                <c:pt idx="798">
                  <c:v>-2.5076939999999999</c:v>
                </c:pt>
                <c:pt idx="799">
                  <c:v>-2.4771830000000001</c:v>
                </c:pt>
                <c:pt idx="800">
                  <c:v>-2.615046</c:v>
                </c:pt>
                <c:pt idx="801">
                  <c:v>-2.9064399999999999</c:v>
                </c:pt>
                <c:pt idx="802">
                  <c:v>-2.889459</c:v>
                </c:pt>
                <c:pt idx="803">
                  <c:v>-3.0491280000000001</c:v>
                </c:pt>
                <c:pt idx="804">
                  <c:v>-3.095415</c:v>
                </c:pt>
                <c:pt idx="805">
                  <c:v>-3.086992</c:v>
                </c:pt>
                <c:pt idx="806">
                  <c:v>-3.0382199999999999</c:v>
                </c:pt>
                <c:pt idx="807">
                  <c:v>-2.9660669999999998</c:v>
                </c:pt>
                <c:pt idx="808">
                  <c:v>-3.4128539999999998</c:v>
                </c:pt>
                <c:pt idx="809">
                  <c:v>-3.673956</c:v>
                </c:pt>
                <c:pt idx="810">
                  <c:v>-3.4520710000000001</c:v>
                </c:pt>
                <c:pt idx="811">
                  <c:v>-3.5048400000000002</c:v>
                </c:pt>
                <c:pt idx="812">
                  <c:v>-3.6888459999999998</c:v>
                </c:pt>
                <c:pt idx="813">
                  <c:v>-3.5438049999999999</c:v>
                </c:pt>
                <c:pt idx="814">
                  <c:v>-3.489182</c:v>
                </c:pt>
                <c:pt idx="815">
                  <c:v>-3.537239</c:v>
                </c:pt>
                <c:pt idx="816">
                  <c:v>-3.6411630000000001</c:v>
                </c:pt>
                <c:pt idx="817">
                  <c:v>-3.6402839999999999</c:v>
                </c:pt>
                <c:pt idx="818">
                  <c:v>-3.7923770000000001</c:v>
                </c:pt>
                <c:pt idx="819">
                  <c:v>-3.955384</c:v>
                </c:pt>
                <c:pt idx="820">
                  <c:v>-3.7986589999999998</c:v>
                </c:pt>
                <c:pt idx="821">
                  <c:v>-3.7334360000000002</c:v>
                </c:pt>
                <c:pt idx="822">
                  <c:v>-3.8427159999999998</c:v>
                </c:pt>
                <c:pt idx="823">
                  <c:v>-3.7042790000000001</c:v>
                </c:pt>
                <c:pt idx="824">
                  <c:v>-3.5710769999999998</c:v>
                </c:pt>
                <c:pt idx="825">
                  <c:v>-3.7638240000000001</c:v>
                </c:pt>
                <c:pt idx="826">
                  <c:v>-3.867178</c:v>
                </c:pt>
                <c:pt idx="827">
                  <c:v>-3.7964669999999998</c:v>
                </c:pt>
                <c:pt idx="828">
                  <c:v>-3.4279440000000001</c:v>
                </c:pt>
                <c:pt idx="829">
                  <c:v>-3.4272399999999998</c:v>
                </c:pt>
                <c:pt idx="830">
                  <c:v>-3.4714079999999998</c:v>
                </c:pt>
                <c:pt idx="831">
                  <c:v>-3.4181309999999998</c:v>
                </c:pt>
                <c:pt idx="832">
                  <c:v>-3.3754059999999999</c:v>
                </c:pt>
                <c:pt idx="833">
                  <c:v>-3.4121630000000001</c:v>
                </c:pt>
                <c:pt idx="834">
                  <c:v>-3.350695</c:v>
                </c:pt>
                <c:pt idx="835">
                  <c:v>-3.382495</c:v>
                </c:pt>
                <c:pt idx="836">
                  <c:v>-3.523209</c:v>
                </c:pt>
                <c:pt idx="837">
                  <c:v>-3.3314469999999998</c:v>
                </c:pt>
                <c:pt idx="838">
                  <c:v>-3.3617750000000002</c:v>
                </c:pt>
                <c:pt idx="839">
                  <c:v>-3.302918</c:v>
                </c:pt>
                <c:pt idx="840">
                  <c:v>-3.1986349999999999</c:v>
                </c:pt>
                <c:pt idx="841">
                  <c:v>-3.3356479999999999</c:v>
                </c:pt>
                <c:pt idx="842">
                  <c:v>-3.3334280000000001</c:v>
                </c:pt>
                <c:pt idx="843">
                  <c:v>-2.9251849999999999</c:v>
                </c:pt>
                <c:pt idx="844">
                  <c:v>-2.6917879999999998</c:v>
                </c:pt>
                <c:pt idx="845">
                  <c:v>-2.9381889999999999</c:v>
                </c:pt>
                <c:pt idx="846">
                  <c:v>-2.9751050000000001</c:v>
                </c:pt>
                <c:pt idx="847">
                  <c:v>-3.1920220000000001</c:v>
                </c:pt>
                <c:pt idx="848">
                  <c:v>-3.1678850000000001</c:v>
                </c:pt>
                <c:pt idx="849">
                  <c:v>-2.7601840000000002</c:v>
                </c:pt>
                <c:pt idx="850">
                  <c:v>-2.5955460000000001</c:v>
                </c:pt>
                <c:pt idx="851">
                  <c:v>-2.5490219999999999</c:v>
                </c:pt>
                <c:pt idx="852">
                  <c:v>-2.765263</c:v>
                </c:pt>
                <c:pt idx="853">
                  <c:v>-2.728488</c:v>
                </c:pt>
                <c:pt idx="854">
                  <c:v>-2.4993319999999999</c:v>
                </c:pt>
                <c:pt idx="855">
                  <c:v>-2.4283769999999998</c:v>
                </c:pt>
                <c:pt idx="856">
                  <c:v>-2.5032779999999999</c:v>
                </c:pt>
                <c:pt idx="857">
                  <c:v>-2.3211750000000002</c:v>
                </c:pt>
                <c:pt idx="858">
                  <c:v>-2.0718209999999999</c:v>
                </c:pt>
                <c:pt idx="859">
                  <c:v>-2.1787489999999998</c:v>
                </c:pt>
                <c:pt idx="860">
                  <c:v>-2.2072340000000001</c:v>
                </c:pt>
                <c:pt idx="861">
                  <c:v>-2.0704899999999999</c:v>
                </c:pt>
                <c:pt idx="862">
                  <c:v>-1.9104829999999999</c:v>
                </c:pt>
                <c:pt idx="863">
                  <c:v>-2.0046580000000001</c:v>
                </c:pt>
                <c:pt idx="864">
                  <c:v>-2.0307750000000002</c:v>
                </c:pt>
                <c:pt idx="865">
                  <c:v>-1.8305849999999999</c:v>
                </c:pt>
                <c:pt idx="866">
                  <c:v>-1.7046749999999999</c:v>
                </c:pt>
                <c:pt idx="867">
                  <c:v>-1.817212</c:v>
                </c:pt>
                <c:pt idx="868">
                  <c:v>-1.718645</c:v>
                </c:pt>
                <c:pt idx="869">
                  <c:v>-1.4500850000000001</c:v>
                </c:pt>
                <c:pt idx="870">
                  <c:v>-1.481339</c:v>
                </c:pt>
                <c:pt idx="871">
                  <c:v>-1.6063080000000001</c:v>
                </c:pt>
                <c:pt idx="872">
                  <c:v>-1.6552230000000001</c:v>
                </c:pt>
                <c:pt idx="873">
                  <c:v>-1.5392479999999999</c:v>
                </c:pt>
                <c:pt idx="874">
                  <c:v>-1.604031</c:v>
                </c:pt>
                <c:pt idx="875">
                  <c:v>-1.765093</c:v>
                </c:pt>
                <c:pt idx="876">
                  <c:v>-1.92133</c:v>
                </c:pt>
                <c:pt idx="877">
                  <c:v>-1.812208</c:v>
                </c:pt>
                <c:pt idx="878">
                  <c:v>-1.6306069999999999</c:v>
                </c:pt>
                <c:pt idx="879">
                  <c:v>-1.665124</c:v>
                </c:pt>
                <c:pt idx="880">
                  <c:v>-1.540994</c:v>
                </c:pt>
                <c:pt idx="881">
                  <c:v>-1.4669140000000001</c:v>
                </c:pt>
                <c:pt idx="882">
                  <c:v>-1.479611</c:v>
                </c:pt>
                <c:pt idx="883">
                  <c:v>-1.6105309999999999</c:v>
                </c:pt>
                <c:pt idx="884">
                  <c:v>-1.6053390000000001</c:v>
                </c:pt>
                <c:pt idx="885">
                  <c:v>-1.469257</c:v>
                </c:pt>
                <c:pt idx="886">
                  <c:v>-1.5249630000000001</c:v>
                </c:pt>
                <c:pt idx="887">
                  <c:v>-1.5481549999999999</c:v>
                </c:pt>
                <c:pt idx="888">
                  <c:v>-1.3532649999999999</c:v>
                </c:pt>
                <c:pt idx="889">
                  <c:v>-1.1734169999999999</c:v>
                </c:pt>
                <c:pt idx="890">
                  <c:v>-1.2589170000000001</c:v>
                </c:pt>
                <c:pt idx="891">
                  <c:v>-1.4216230000000001</c:v>
                </c:pt>
                <c:pt idx="892">
                  <c:v>-1.365899</c:v>
                </c:pt>
                <c:pt idx="893">
                  <c:v>-1.3362449999999999</c:v>
                </c:pt>
                <c:pt idx="894">
                  <c:v>-1.381278</c:v>
                </c:pt>
                <c:pt idx="895">
                  <c:v>-1.267736</c:v>
                </c:pt>
                <c:pt idx="896">
                  <c:v>-1.473684</c:v>
                </c:pt>
                <c:pt idx="897">
                  <c:v>-1.64924</c:v>
                </c:pt>
                <c:pt idx="898">
                  <c:v>-1.4864900000000001</c:v>
                </c:pt>
                <c:pt idx="899">
                  <c:v>-1.477244</c:v>
                </c:pt>
                <c:pt idx="900">
                  <c:v>-1.6088420000000001</c:v>
                </c:pt>
                <c:pt idx="901">
                  <c:v>-1.4813559999999999</c:v>
                </c:pt>
                <c:pt idx="902">
                  <c:v>-1.5554889999999999</c:v>
                </c:pt>
                <c:pt idx="903">
                  <c:v>-1.5250589999999999</c:v>
                </c:pt>
                <c:pt idx="904">
                  <c:v>-1.3798079999999999</c:v>
                </c:pt>
                <c:pt idx="905">
                  <c:v>-1.566343</c:v>
                </c:pt>
                <c:pt idx="906">
                  <c:v>-1.4610879999999999</c:v>
                </c:pt>
                <c:pt idx="907">
                  <c:v>-1.4076040000000001</c:v>
                </c:pt>
                <c:pt idx="908">
                  <c:v>-1.5077700000000001</c:v>
                </c:pt>
                <c:pt idx="909">
                  <c:v>-1.4925010000000001</c:v>
                </c:pt>
                <c:pt idx="910">
                  <c:v>-1.621572</c:v>
                </c:pt>
                <c:pt idx="911">
                  <c:v>-1.762732</c:v>
                </c:pt>
                <c:pt idx="912">
                  <c:v>-1.6485460000000001</c:v>
                </c:pt>
                <c:pt idx="913">
                  <c:v>-1.66753</c:v>
                </c:pt>
                <c:pt idx="914">
                  <c:v>-1.8171520000000001</c:v>
                </c:pt>
                <c:pt idx="915">
                  <c:v>-1.841037</c:v>
                </c:pt>
                <c:pt idx="916">
                  <c:v>-2.004248</c:v>
                </c:pt>
                <c:pt idx="917">
                  <c:v>-2.1767789999999998</c:v>
                </c:pt>
                <c:pt idx="918">
                  <c:v>-2.1603110000000001</c:v>
                </c:pt>
                <c:pt idx="919">
                  <c:v>-2.1096509999999999</c:v>
                </c:pt>
                <c:pt idx="920">
                  <c:v>-2.2365309999999998</c:v>
                </c:pt>
                <c:pt idx="921">
                  <c:v>-2.388827</c:v>
                </c:pt>
                <c:pt idx="922">
                  <c:v>-2.5635349999999999</c:v>
                </c:pt>
                <c:pt idx="923">
                  <c:v>-2.618204</c:v>
                </c:pt>
                <c:pt idx="924">
                  <c:v>-2.5455770000000002</c:v>
                </c:pt>
                <c:pt idx="925">
                  <c:v>-2.5980850000000002</c:v>
                </c:pt>
                <c:pt idx="926">
                  <c:v>-2.6454430000000002</c:v>
                </c:pt>
                <c:pt idx="927">
                  <c:v>-2.8259699999999999</c:v>
                </c:pt>
                <c:pt idx="928">
                  <c:v>-3.0812430000000002</c:v>
                </c:pt>
                <c:pt idx="929">
                  <c:v>-3.0483910000000001</c:v>
                </c:pt>
                <c:pt idx="930">
                  <c:v>-3.0672160000000002</c:v>
                </c:pt>
                <c:pt idx="931">
                  <c:v>-3.1699630000000001</c:v>
                </c:pt>
                <c:pt idx="932">
                  <c:v>-3.3211560000000002</c:v>
                </c:pt>
                <c:pt idx="933">
                  <c:v>-3.3618760000000001</c:v>
                </c:pt>
                <c:pt idx="934">
                  <c:v>-3.2128670000000001</c:v>
                </c:pt>
                <c:pt idx="935">
                  <c:v>-3.2879369999999999</c:v>
                </c:pt>
                <c:pt idx="936">
                  <c:v>-3.2734860000000001</c:v>
                </c:pt>
                <c:pt idx="937">
                  <c:v>-3.280529</c:v>
                </c:pt>
                <c:pt idx="938">
                  <c:v>-3.3613249999999999</c:v>
                </c:pt>
                <c:pt idx="939">
                  <c:v>-3.5537990000000002</c:v>
                </c:pt>
                <c:pt idx="940">
                  <c:v>-3.8108490000000002</c:v>
                </c:pt>
                <c:pt idx="941">
                  <c:v>-3.9135970000000002</c:v>
                </c:pt>
                <c:pt idx="942">
                  <c:v>-3.8700709999999998</c:v>
                </c:pt>
                <c:pt idx="943">
                  <c:v>-4.2206799999999998</c:v>
                </c:pt>
                <c:pt idx="944">
                  <c:v>-4.3730929999999999</c:v>
                </c:pt>
                <c:pt idx="945">
                  <c:v>-4.2360639999999998</c:v>
                </c:pt>
                <c:pt idx="946">
                  <c:v>-4.5370419999999996</c:v>
                </c:pt>
                <c:pt idx="947">
                  <c:v>-4.6673080000000002</c:v>
                </c:pt>
                <c:pt idx="948">
                  <c:v>-4.5789939999999998</c:v>
                </c:pt>
                <c:pt idx="949">
                  <c:v>-4.7731019999999997</c:v>
                </c:pt>
                <c:pt idx="950">
                  <c:v>-5.0446439999999999</c:v>
                </c:pt>
                <c:pt idx="951">
                  <c:v>-5.0319609999999999</c:v>
                </c:pt>
                <c:pt idx="952">
                  <c:v>-4.7967190000000004</c:v>
                </c:pt>
                <c:pt idx="953">
                  <c:v>-4.6298349999999999</c:v>
                </c:pt>
                <c:pt idx="954">
                  <c:v>-4.4770279999999998</c:v>
                </c:pt>
                <c:pt idx="955">
                  <c:v>-4.7327050000000002</c:v>
                </c:pt>
                <c:pt idx="956">
                  <c:v>-5.2058280000000003</c:v>
                </c:pt>
                <c:pt idx="957">
                  <c:v>-4.9453110000000002</c:v>
                </c:pt>
                <c:pt idx="958">
                  <c:v>-4.8363290000000001</c:v>
                </c:pt>
                <c:pt idx="959">
                  <c:v>-5.4648459999999996</c:v>
                </c:pt>
                <c:pt idx="960">
                  <c:v>-5.8280370000000001</c:v>
                </c:pt>
                <c:pt idx="961">
                  <c:v>-5.6077120000000003</c:v>
                </c:pt>
                <c:pt idx="962">
                  <c:v>-5.5396150000000004</c:v>
                </c:pt>
                <c:pt idx="963">
                  <c:v>-5.8719640000000002</c:v>
                </c:pt>
                <c:pt idx="964">
                  <c:v>-5.9470190000000001</c:v>
                </c:pt>
                <c:pt idx="965">
                  <c:v>-5.8967960000000001</c:v>
                </c:pt>
                <c:pt idx="966">
                  <c:v>-6.105842</c:v>
                </c:pt>
                <c:pt idx="967">
                  <c:v>-5.9798470000000004</c:v>
                </c:pt>
                <c:pt idx="968">
                  <c:v>-6.0128339999999998</c:v>
                </c:pt>
                <c:pt idx="969">
                  <c:v>-6.0477489999999996</c:v>
                </c:pt>
                <c:pt idx="970">
                  <c:v>-5.8178179999999999</c:v>
                </c:pt>
                <c:pt idx="971">
                  <c:v>-6.042573</c:v>
                </c:pt>
                <c:pt idx="972">
                  <c:v>-5.896452</c:v>
                </c:pt>
                <c:pt idx="973">
                  <c:v>-5.5606419999999996</c:v>
                </c:pt>
                <c:pt idx="974">
                  <c:v>-5.7756809999999996</c:v>
                </c:pt>
                <c:pt idx="975">
                  <c:v>-5.8120649999999996</c:v>
                </c:pt>
                <c:pt idx="976">
                  <c:v>-5.4943289999999996</c:v>
                </c:pt>
                <c:pt idx="977">
                  <c:v>-5.6559359999999996</c:v>
                </c:pt>
                <c:pt idx="978">
                  <c:v>-5.8625119999999997</c:v>
                </c:pt>
                <c:pt idx="979">
                  <c:v>-5.5735960000000002</c:v>
                </c:pt>
                <c:pt idx="980">
                  <c:v>-5.5548200000000003</c:v>
                </c:pt>
                <c:pt idx="981">
                  <c:v>-5.6689679999999996</c:v>
                </c:pt>
                <c:pt idx="982">
                  <c:v>-5.9323610000000002</c:v>
                </c:pt>
                <c:pt idx="983">
                  <c:v>-5.946116</c:v>
                </c:pt>
                <c:pt idx="984">
                  <c:v>-5.6360960000000002</c:v>
                </c:pt>
                <c:pt idx="985">
                  <c:v>-5.6765280000000002</c:v>
                </c:pt>
                <c:pt idx="986">
                  <c:v>-5.9645299999999999</c:v>
                </c:pt>
                <c:pt idx="987">
                  <c:v>-5.990672</c:v>
                </c:pt>
                <c:pt idx="988">
                  <c:v>-5.616784</c:v>
                </c:pt>
                <c:pt idx="989">
                  <c:v>-5.6226180000000001</c:v>
                </c:pt>
                <c:pt idx="990">
                  <c:v>-5.679583</c:v>
                </c:pt>
                <c:pt idx="991">
                  <c:v>-5.4355580000000003</c:v>
                </c:pt>
                <c:pt idx="992">
                  <c:v>-5.497268</c:v>
                </c:pt>
                <c:pt idx="993">
                  <c:v>-5.7867709999999999</c:v>
                </c:pt>
                <c:pt idx="994">
                  <c:v>-5.6716329999999999</c:v>
                </c:pt>
                <c:pt idx="995">
                  <c:v>-5.5526249999999999</c:v>
                </c:pt>
                <c:pt idx="996">
                  <c:v>-5.755782</c:v>
                </c:pt>
                <c:pt idx="997">
                  <c:v>-5.3908399999999999</c:v>
                </c:pt>
                <c:pt idx="998">
                  <c:v>-5.2632250000000003</c:v>
                </c:pt>
                <c:pt idx="999">
                  <c:v>-5.372503</c:v>
                </c:pt>
                <c:pt idx="1000">
                  <c:v>-5.3519759999999996</c:v>
                </c:pt>
                <c:pt idx="1001">
                  <c:v>-5.5330139999999997</c:v>
                </c:pt>
                <c:pt idx="1002">
                  <c:v>-5.4944329999999999</c:v>
                </c:pt>
                <c:pt idx="1003">
                  <c:v>-5.5468019999999996</c:v>
                </c:pt>
                <c:pt idx="1004">
                  <c:v>-5.5097100000000001</c:v>
                </c:pt>
                <c:pt idx="1005">
                  <c:v>-5.4282240000000002</c:v>
                </c:pt>
                <c:pt idx="1006">
                  <c:v>-5.382136</c:v>
                </c:pt>
                <c:pt idx="1007">
                  <c:v>-5.1500560000000002</c:v>
                </c:pt>
                <c:pt idx="1008">
                  <c:v>-5.1487080000000001</c:v>
                </c:pt>
                <c:pt idx="1009">
                  <c:v>-4.9232810000000002</c:v>
                </c:pt>
                <c:pt idx="1010">
                  <c:v>-4.511641</c:v>
                </c:pt>
                <c:pt idx="1011">
                  <c:v>-4.9294440000000002</c:v>
                </c:pt>
                <c:pt idx="1012">
                  <c:v>-5.0508689999999996</c:v>
                </c:pt>
                <c:pt idx="1013">
                  <c:v>-4.7097980000000002</c:v>
                </c:pt>
                <c:pt idx="1014">
                  <c:v>-4.7834830000000004</c:v>
                </c:pt>
                <c:pt idx="1015">
                  <c:v>-4.599996</c:v>
                </c:pt>
                <c:pt idx="1016">
                  <c:v>-4.2131309999999997</c:v>
                </c:pt>
                <c:pt idx="1017">
                  <c:v>-4.1058570000000003</c:v>
                </c:pt>
                <c:pt idx="1018">
                  <c:v>-4.2067750000000004</c:v>
                </c:pt>
                <c:pt idx="1019">
                  <c:v>-4.4303369999999997</c:v>
                </c:pt>
                <c:pt idx="1020">
                  <c:v>-3.920172</c:v>
                </c:pt>
                <c:pt idx="1021">
                  <c:v>-3.6297570000000001</c:v>
                </c:pt>
                <c:pt idx="1022">
                  <c:v>-3.9629479999999999</c:v>
                </c:pt>
                <c:pt idx="1023">
                  <c:v>-4.0432550000000003</c:v>
                </c:pt>
                <c:pt idx="1024">
                  <c:v>-3.8675139999999999</c:v>
                </c:pt>
                <c:pt idx="1025">
                  <c:v>-3.5581299999999998</c:v>
                </c:pt>
                <c:pt idx="1026">
                  <c:v>-3.770127</c:v>
                </c:pt>
                <c:pt idx="1027">
                  <c:v>-3.7203149999999998</c:v>
                </c:pt>
                <c:pt idx="1028">
                  <c:v>-3.6838449999999998</c:v>
                </c:pt>
                <c:pt idx="1029">
                  <c:v>-3.7811499999999998</c:v>
                </c:pt>
                <c:pt idx="1030">
                  <c:v>-3.5553170000000001</c:v>
                </c:pt>
                <c:pt idx="1031">
                  <c:v>-3.3529520000000002</c:v>
                </c:pt>
                <c:pt idx="1032">
                  <c:v>-3.2881010000000002</c:v>
                </c:pt>
                <c:pt idx="1033">
                  <c:v>-3.3592499999999998</c:v>
                </c:pt>
                <c:pt idx="1034">
                  <c:v>-3.1710180000000001</c:v>
                </c:pt>
                <c:pt idx="1035">
                  <c:v>-2.913252</c:v>
                </c:pt>
                <c:pt idx="1036">
                  <c:v>-2.9443419999999998</c:v>
                </c:pt>
                <c:pt idx="1037">
                  <c:v>-2.9256199999999999</c:v>
                </c:pt>
                <c:pt idx="1038">
                  <c:v>-2.8223180000000001</c:v>
                </c:pt>
                <c:pt idx="1039">
                  <c:v>-2.6718600000000001</c:v>
                </c:pt>
                <c:pt idx="1040">
                  <c:v>-2.6309680000000002</c:v>
                </c:pt>
                <c:pt idx="1041">
                  <c:v>-2.8491399999999998</c:v>
                </c:pt>
                <c:pt idx="1042">
                  <c:v>-2.9489529999999999</c:v>
                </c:pt>
                <c:pt idx="1043">
                  <c:v>-2.796243</c:v>
                </c:pt>
                <c:pt idx="1044">
                  <c:v>-2.5742989999999999</c:v>
                </c:pt>
                <c:pt idx="1045">
                  <c:v>-2.437354</c:v>
                </c:pt>
                <c:pt idx="1046">
                  <c:v>-2.610033</c:v>
                </c:pt>
                <c:pt idx="1047">
                  <c:v>-2.8174090000000001</c:v>
                </c:pt>
                <c:pt idx="1048">
                  <c:v>-2.5201880000000001</c:v>
                </c:pt>
                <c:pt idx="1049">
                  <c:v>-2.1526800000000001</c:v>
                </c:pt>
                <c:pt idx="1050">
                  <c:v>-2.061706</c:v>
                </c:pt>
                <c:pt idx="1051">
                  <c:v>-2.0420970000000001</c:v>
                </c:pt>
                <c:pt idx="1052">
                  <c:v>-1.9975350000000001</c:v>
                </c:pt>
                <c:pt idx="1053">
                  <c:v>-1.807644</c:v>
                </c:pt>
                <c:pt idx="1054">
                  <c:v>-1.810921</c:v>
                </c:pt>
                <c:pt idx="1055">
                  <c:v>-1.8457159999999999</c:v>
                </c:pt>
                <c:pt idx="1056">
                  <c:v>-1.8427640000000001</c:v>
                </c:pt>
                <c:pt idx="1057">
                  <c:v>-1.615788</c:v>
                </c:pt>
                <c:pt idx="1058">
                  <c:v>-1.202089</c:v>
                </c:pt>
                <c:pt idx="1059">
                  <c:v>-1.344462</c:v>
                </c:pt>
                <c:pt idx="1060">
                  <c:v>-1.649097</c:v>
                </c:pt>
                <c:pt idx="1061">
                  <c:v>-1.6597770000000001</c:v>
                </c:pt>
                <c:pt idx="1062">
                  <c:v>-1.5270090000000001</c:v>
                </c:pt>
                <c:pt idx="1063">
                  <c:v>-1.58375</c:v>
                </c:pt>
                <c:pt idx="1064">
                  <c:v>-1.8766069999999999</c:v>
                </c:pt>
                <c:pt idx="1065">
                  <c:v>-1.7658689999999999</c:v>
                </c:pt>
                <c:pt idx="1066">
                  <c:v>-1.6523330000000001</c:v>
                </c:pt>
                <c:pt idx="1067">
                  <c:v>-1.5864419999999999</c:v>
                </c:pt>
                <c:pt idx="1068">
                  <c:v>-1.684469</c:v>
                </c:pt>
                <c:pt idx="1069">
                  <c:v>-1.8637969999999999</c:v>
                </c:pt>
                <c:pt idx="1070">
                  <c:v>-1.766454</c:v>
                </c:pt>
                <c:pt idx="1071">
                  <c:v>-1.5147379999999999</c:v>
                </c:pt>
                <c:pt idx="1072">
                  <c:v>-1.307547</c:v>
                </c:pt>
                <c:pt idx="1073">
                  <c:v>-1.3750150000000001</c:v>
                </c:pt>
                <c:pt idx="1074">
                  <c:v>-1.2539769999999999</c:v>
                </c:pt>
                <c:pt idx="1075">
                  <c:v>-1.305728</c:v>
                </c:pt>
                <c:pt idx="1076">
                  <c:v>-1.3811100000000001</c:v>
                </c:pt>
                <c:pt idx="1077">
                  <c:v>-1.2767630000000001</c:v>
                </c:pt>
                <c:pt idx="1078">
                  <c:v>-1.210485</c:v>
                </c:pt>
                <c:pt idx="1079">
                  <c:v>-1.2287999999999999</c:v>
                </c:pt>
                <c:pt idx="1080">
                  <c:v>-1.0885579999999999</c:v>
                </c:pt>
                <c:pt idx="1081">
                  <c:v>-1.0000579999999999</c:v>
                </c:pt>
                <c:pt idx="1082">
                  <c:v>-1.202172</c:v>
                </c:pt>
                <c:pt idx="1083">
                  <c:v>-1.4349240000000001</c:v>
                </c:pt>
                <c:pt idx="1084">
                  <c:v>-1.088082</c:v>
                </c:pt>
                <c:pt idx="1085">
                  <c:v>-1.1787829999999999</c:v>
                </c:pt>
                <c:pt idx="1086">
                  <c:v>-1.6858379999999999</c:v>
                </c:pt>
                <c:pt idx="1087">
                  <c:v>-1.500621</c:v>
                </c:pt>
                <c:pt idx="1088">
                  <c:v>-1.4228609999999999</c:v>
                </c:pt>
                <c:pt idx="1089">
                  <c:v>-1.3182700000000001</c:v>
                </c:pt>
                <c:pt idx="1090">
                  <c:v>-1.1951290000000001</c:v>
                </c:pt>
                <c:pt idx="1091">
                  <c:v>-0.98165599999999997</c:v>
                </c:pt>
                <c:pt idx="1092">
                  <c:v>-1.054759</c:v>
                </c:pt>
                <c:pt idx="1093">
                  <c:v>-1.2048300000000001</c:v>
                </c:pt>
                <c:pt idx="1094">
                  <c:v>-0.87267799999999995</c:v>
                </c:pt>
                <c:pt idx="1095">
                  <c:v>-0.952511</c:v>
                </c:pt>
                <c:pt idx="1096">
                  <c:v>-1.1764250000000001</c:v>
                </c:pt>
                <c:pt idx="1097">
                  <c:v>-0.95313800000000004</c:v>
                </c:pt>
                <c:pt idx="1098">
                  <c:v>-0.69344700000000004</c:v>
                </c:pt>
                <c:pt idx="1099">
                  <c:v>-0.93997900000000001</c:v>
                </c:pt>
                <c:pt idx="1100">
                  <c:v>-1.120438</c:v>
                </c:pt>
                <c:pt idx="1101">
                  <c:v>-0.81325499999999995</c:v>
                </c:pt>
                <c:pt idx="1102">
                  <c:v>-0.78042400000000001</c:v>
                </c:pt>
                <c:pt idx="1103">
                  <c:v>-1.0165709999999999</c:v>
                </c:pt>
                <c:pt idx="1104">
                  <c:v>-1.343556</c:v>
                </c:pt>
                <c:pt idx="1105">
                  <c:v>-1.3968290000000001</c:v>
                </c:pt>
                <c:pt idx="1106">
                  <c:v>-1.1817219999999999</c:v>
                </c:pt>
                <c:pt idx="1107">
                  <c:v>-1.2823800000000001</c:v>
                </c:pt>
                <c:pt idx="1108">
                  <c:v>-1.410131</c:v>
                </c:pt>
                <c:pt idx="1109">
                  <c:v>-1.49312</c:v>
                </c:pt>
                <c:pt idx="1110">
                  <c:v>-1.350106</c:v>
                </c:pt>
                <c:pt idx="1111">
                  <c:v>-1.2872239999999999</c:v>
                </c:pt>
                <c:pt idx="1112">
                  <c:v>-1.3878820000000001</c:v>
                </c:pt>
                <c:pt idx="1113">
                  <c:v>-1.3783540000000001</c:v>
                </c:pt>
                <c:pt idx="1114">
                  <c:v>-1.5135080000000001</c:v>
                </c:pt>
                <c:pt idx="1115">
                  <c:v>-1.4575959999999999</c:v>
                </c:pt>
                <c:pt idx="1116">
                  <c:v>-1.370374</c:v>
                </c:pt>
                <c:pt idx="1117">
                  <c:v>-1.391419</c:v>
                </c:pt>
                <c:pt idx="1118">
                  <c:v>-1.266256</c:v>
                </c:pt>
                <c:pt idx="1119">
                  <c:v>-1.398987</c:v>
                </c:pt>
                <c:pt idx="1120">
                  <c:v>-1.463997</c:v>
                </c:pt>
                <c:pt idx="1121">
                  <c:v>-1.369848</c:v>
                </c:pt>
                <c:pt idx="1122">
                  <c:v>-1.3869769999999999</c:v>
                </c:pt>
                <c:pt idx="1123">
                  <c:v>-1.5318419999999999</c:v>
                </c:pt>
                <c:pt idx="1124">
                  <c:v>-1.8165720000000001</c:v>
                </c:pt>
                <c:pt idx="1125">
                  <c:v>-1.7844340000000001</c:v>
                </c:pt>
                <c:pt idx="1126">
                  <c:v>-1.655932</c:v>
                </c:pt>
                <c:pt idx="1127">
                  <c:v>-1.665985</c:v>
                </c:pt>
                <c:pt idx="1128">
                  <c:v>-1.608862</c:v>
                </c:pt>
                <c:pt idx="1129">
                  <c:v>-1.5813280000000001</c:v>
                </c:pt>
                <c:pt idx="1130">
                  <c:v>-1.6327210000000001</c:v>
                </c:pt>
                <c:pt idx="1131">
                  <c:v>-1.5240959999999999</c:v>
                </c:pt>
                <c:pt idx="1132">
                  <c:v>-1.6008420000000001</c:v>
                </c:pt>
                <c:pt idx="1133">
                  <c:v>-1.7723949999999999</c:v>
                </c:pt>
                <c:pt idx="1134">
                  <c:v>-1.736666</c:v>
                </c:pt>
                <c:pt idx="1135">
                  <c:v>-1.7265219999999999</c:v>
                </c:pt>
                <c:pt idx="1136">
                  <c:v>-1.6584490000000001</c:v>
                </c:pt>
                <c:pt idx="1137">
                  <c:v>-1.55576</c:v>
                </c:pt>
                <c:pt idx="1138">
                  <c:v>-1.563409</c:v>
                </c:pt>
                <c:pt idx="1139">
                  <c:v>-1.6957679999999999</c:v>
                </c:pt>
                <c:pt idx="1140">
                  <c:v>-1.6292720000000001</c:v>
                </c:pt>
                <c:pt idx="1141">
                  <c:v>-1.665022</c:v>
                </c:pt>
                <c:pt idx="1142">
                  <c:v>-1.749026</c:v>
                </c:pt>
                <c:pt idx="1143">
                  <c:v>-1.800791</c:v>
                </c:pt>
                <c:pt idx="1144">
                  <c:v>-1.833936</c:v>
                </c:pt>
                <c:pt idx="1145">
                  <c:v>-1.794969</c:v>
                </c:pt>
                <c:pt idx="1146">
                  <c:v>-1.642509</c:v>
                </c:pt>
                <c:pt idx="1147">
                  <c:v>-1.6979200000000001</c:v>
                </c:pt>
                <c:pt idx="1148">
                  <c:v>-1.99102</c:v>
                </c:pt>
                <c:pt idx="1149">
                  <c:v>-2.091621</c:v>
                </c:pt>
                <c:pt idx="1150">
                  <c:v>-2.0971839999999999</c:v>
                </c:pt>
                <c:pt idx="1151">
                  <c:v>-2.1212879999999998</c:v>
                </c:pt>
                <c:pt idx="1152">
                  <c:v>-2.1491220000000002</c:v>
                </c:pt>
                <c:pt idx="1153">
                  <c:v>-2.0442659999999999</c:v>
                </c:pt>
                <c:pt idx="1154">
                  <c:v>-2.2008519999999998</c:v>
                </c:pt>
                <c:pt idx="1155">
                  <c:v>-2.4966430000000002</c:v>
                </c:pt>
                <c:pt idx="1156">
                  <c:v>-2.5433309999999998</c:v>
                </c:pt>
                <c:pt idx="1157">
                  <c:v>-2.4637169999999999</c:v>
                </c:pt>
                <c:pt idx="1158">
                  <c:v>-2.5111940000000001</c:v>
                </c:pt>
                <c:pt idx="1159">
                  <c:v>-2.6891940000000001</c:v>
                </c:pt>
                <c:pt idx="1160">
                  <c:v>-2.6015139999999999</c:v>
                </c:pt>
                <c:pt idx="1161">
                  <c:v>-2.372627</c:v>
                </c:pt>
                <c:pt idx="1162">
                  <c:v>-2.2525270000000002</c:v>
                </c:pt>
                <c:pt idx="1163">
                  <c:v>-2.1118109999999999</c:v>
                </c:pt>
                <c:pt idx="1164">
                  <c:v>-2.1562060000000001</c:v>
                </c:pt>
                <c:pt idx="1165">
                  <c:v>-2.2991700000000002</c:v>
                </c:pt>
                <c:pt idx="1166">
                  <c:v>-2.3705569999999998</c:v>
                </c:pt>
                <c:pt idx="1167">
                  <c:v>-2.1390950000000002</c:v>
                </c:pt>
                <c:pt idx="1168">
                  <c:v>-2.1495340000000001</c:v>
                </c:pt>
                <c:pt idx="1169">
                  <c:v>-2.344201</c:v>
                </c:pt>
                <c:pt idx="1170">
                  <c:v>-2.1782010000000001</c:v>
                </c:pt>
                <c:pt idx="1171">
                  <c:v>-2.2933119999999998</c:v>
                </c:pt>
                <c:pt idx="1172">
                  <c:v>-2.5550169999999999</c:v>
                </c:pt>
                <c:pt idx="1173">
                  <c:v>-2.6410480000000001</c:v>
                </c:pt>
                <c:pt idx="1174">
                  <c:v>-2.6406369999999999</c:v>
                </c:pt>
                <c:pt idx="1175">
                  <c:v>-2.729117</c:v>
                </c:pt>
                <c:pt idx="1176">
                  <c:v>-2.7260399999999998</c:v>
                </c:pt>
                <c:pt idx="1177">
                  <c:v>-2.472029</c:v>
                </c:pt>
                <c:pt idx="1178">
                  <c:v>-2.6130520000000002</c:v>
                </c:pt>
                <c:pt idx="1179">
                  <c:v>-2.8220960000000002</c:v>
                </c:pt>
                <c:pt idx="1180">
                  <c:v>-2.33683</c:v>
                </c:pt>
                <c:pt idx="1181">
                  <c:v>-2.0788359999999999</c:v>
                </c:pt>
                <c:pt idx="1182">
                  <c:v>-2.3856630000000001</c:v>
                </c:pt>
                <c:pt idx="1183">
                  <c:v>-2.4644699999999999</c:v>
                </c:pt>
                <c:pt idx="1184">
                  <c:v>-2.2346879999999998</c:v>
                </c:pt>
                <c:pt idx="1185">
                  <c:v>-2.4460600000000001</c:v>
                </c:pt>
                <c:pt idx="1186">
                  <c:v>-2.6855060000000002</c:v>
                </c:pt>
                <c:pt idx="1187">
                  <c:v>-2.6259199999999998</c:v>
                </c:pt>
                <c:pt idx="1188">
                  <c:v>-2.6068910000000001</c:v>
                </c:pt>
                <c:pt idx="1189">
                  <c:v>-2.4710329999999998</c:v>
                </c:pt>
                <c:pt idx="1190">
                  <c:v>-2.6037569999999999</c:v>
                </c:pt>
                <c:pt idx="1191">
                  <c:v>-2.947346</c:v>
                </c:pt>
                <c:pt idx="1192">
                  <c:v>-2.809663</c:v>
                </c:pt>
                <c:pt idx="1193">
                  <c:v>-2.761031</c:v>
                </c:pt>
                <c:pt idx="1194">
                  <c:v>-2.8083149999999999</c:v>
                </c:pt>
                <c:pt idx="1195">
                  <c:v>-2.7781359999999999</c:v>
                </c:pt>
                <c:pt idx="1196">
                  <c:v>-3.0383339999999999</c:v>
                </c:pt>
                <c:pt idx="1197">
                  <c:v>-2.8523489999999998</c:v>
                </c:pt>
                <c:pt idx="1198">
                  <c:v>-2.8372389999999998</c:v>
                </c:pt>
                <c:pt idx="1199">
                  <c:v>-2.827979</c:v>
                </c:pt>
                <c:pt idx="1200">
                  <c:v>-2.4211429999999998</c:v>
                </c:pt>
                <c:pt idx="1201">
                  <c:v>-2.460582</c:v>
                </c:pt>
                <c:pt idx="1202">
                  <c:v>-2.5923389999999999</c:v>
                </c:pt>
                <c:pt idx="1203">
                  <c:v>-2.5851419999999998</c:v>
                </c:pt>
                <c:pt idx="1204">
                  <c:v>-2.4387620000000001</c:v>
                </c:pt>
                <c:pt idx="1205">
                  <c:v>-2.4885969999999999</c:v>
                </c:pt>
                <c:pt idx="1206">
                  <c:v>-2.5687530000000001</c:v>
                </c:pt>
                <c:pt idx="1207">
                  <c:v>-2.3386309999999999</c:v>
                </c:pt>
                <c:pt idx="1208">
                  <c:v>-2.409761</c:v>
                </c:pt>
                <c:pt idx="1209">
                  <c:v>-2.4335719999999998</c:v>
                </c:pt>
                <c:pt idx="1210">
                  <c:v>-2.4424009999999998</c:v>
                </c:pt>
                <c:pt idx="1211">
                  <c:v>-2.6451349999999998</c:v>
                </c:pt>
                <c:pt idx="1212">
                  <c:v>-2.5546470000000001</c:v>
                </c:pt>
                <c:pt idx="1213">
                  <c:v>-2.65143</c:v>
                </c:pt>
                <c:pt idx="1214">
                  <c:v>-2.7738529999999999</c:v>
                </c:pt>
                <c:pt idx="1215">
                  <c:v>-2.651268</c:v>
                </c:pt>
                <c:pt idx="1216">
                  <c:v>-2.6618689999999998</c:v>
                </c:pt>
                <c:pt idx="1217">
                  <c:v>-2.6715049999999998</c:v>
                </c:pt>
                <c:pt idx="1218">
                  <c:v>-2.6805279999999998</c:v>
                </c:pt>
                <c:pt idx="1219">
                  <c:v>-2.6209380000000002</c:v>
                </c:pt>
                <c:pt idx="1220">
                  <c:v>-2.5906220000000002</c:v>
                </c:pt>
                <c:pt idx="1221">
                  <c:v>-2.5030450000000002</c:v>
                </c:pt>
                <c:pt idx="1222">
                  <c:v>-2.3832309999999999</c:v>
                </c:pt>
                <c:pt idx="1223">
                  <c:v>-2.2374879999999999</c:v>
                </c:pt>
                <c:pt idx="1224">
                  <c:v>-2.2096689999999999</c:v>
                </c:pt>
                <c:pt idx="1225">
                  <c:v>-2.3758050000000002</c:v>
                </c:pt>
                <c:pt idx="1226">
                  <c:v>-2.317777</c:v>
                </c:pt>
                <c:pt idx="1227">
                  <c:v>-2.4185680000000001</c:v>
                </c:pt>
                <c:pt idx="1228">
                  <c:v>-2.6032060000000001</c:v>
                </c:pt>
                <c:pt idx="1229">
                  <c:v>-2.6442019999999999</c:v>
                </c:pt>
                <c:pt idx="1230">
                  <c:v>-2.5429590000000002</c:v>
                </c:pt>
                <c:pt idx="1231">
                  <c:v>-2.4311180000000001</c:v>
                </c:pt>
                <c:pt idx="1232">
                  <c:v>-2.7774009999999998</c:v>
                </c:pt>
                <c:pt idx="1233">
                  <c:v>-2.9015610000000001</c:v>
                </c:pt>
                <c:pt idx="1234">
                  <c:v>-2.5183140000000002</c:v>
                </c:pt>
                <c:pt idx="1235">
                  <c:v>-2.4573420000000001</c:v>
                </c:pt>
                <c:pt idx="1236">
                  <c:v>-2.617235</c:v>
                </c:pt>
                <c:pt idx="1237">
                  <c:v>-2.4289689999999999</c:v>
                </c:pt>
                <c:pt idx="1238">
                  <c:v>-2.257657</c:v>
                </c:pt>
                <c:pt idx="1239">
                  <c:v>-2.2842060000000002</c:v>
                </c:pt>
                <c:pt idx="1240">
                  <c:v>-2.1451289999999998</c:v>
                </c:pt>
                <c:pt idx="1241">
                  <c:v>-2.2582529999999998</c:v>
                </c:pt>
                <c:pt idx="1242">
                  <c:v>-2.0961090000000002</c:v>
                </c:pt>
                <c:pt idx="1243">
                  <c:v>-1.7966070000000001</c:v>
                </c:pt>
                <c:pt idx="1244">
                  <c:v>-1.944034</c:v>
                </c:pt>
                <c:pt idx="1245">
                  <c:v>-2.065445</c:v>
                </c:pt>
                <c:pt idx="1246">
                  <c:v>-1.91395</c:v>
                </c:pt>
                <c:pt idx="1247">
                  <c:v>-1.7561880000000001</c:v>
                </c:pt>
                <c:pt idx="1248">
                  <c:v>-1.9215180000000001</c:v>
                </c:pt>
                <c:pt idx="1249">
                  <c:v>-2.063329</c:v>
                </c:pt>
                <c:pt idx="1250">
                  <c:v>-2.274991</c:v>
                </c:pt>
                <c:pt idx="1251">
                  <c:v>-2.4671979999999998</c:v>
                </c:pt>
                <c:pt idx="1252">
                  <c:v>-2.458488</c:v>
                </c:pt>
                <c:pt idx="1253">
                  <c:v>-2.4788190000000001</c:v>
                </c:pt>
                <c:pt idx="1254">
                  <c:v>-2.6449910000000001</c:v>
                </c:pt>
                <c:pt idx="1255">
                  <c:v>-2.6881840000000001</c:v>
                </c:pt>
                <c:pt idx="1256">
                  <c:v>-2.260869</c:v>
                </c:pt>
                <c:pt idx="1257">
                  <c:v>-2.1077650000000001</c:v>
                </c:pt>
                <c:pt idx="1258">
                  <c:v>-2.2774640000000002</c:v>
                </c:pt>
                <c:pt idx="1259">
                  <c:v>-2.1552349999999998</c:v>
                </c:pt>
                <c:pt idx="1260">
                  <c:v>-1.8777870000000001</c:v>
                </c:pt>
                <c:pt idx="1261">
                  <c:v>-1.981762</c:v>
                </c:pt>
                <c:pt idx="1262">
                  <c:v>-2.0795629999999998</c:v>
                </c:pt>
                <c:pt idx="1263">
                  <c:v>-2.1262080000000001</c:v>
                </c:pt>
                <c:pt idx="1264">
                  <c:v>-2.212161</c:v>
                </c:pt>
                <c:pt idx="1265">
                  <c:v>-2.1275140000000001</c:v>
                </c:pt>
                <c:pt idx="1266">
                  <c:v>-2.0813839999999999</c:v>
                </c:pt>
                <c:pt idx="1267">
                  <c:v>-2.054532</c:v>
                </c:pt>
                <c:pt idx="1268">
                  <c:v>-2.3737919999999999</c:v>
                </c:pt>
                <c:pt idx="1269">
                  <c:v>-2.4821170000000001</c:v>
                </c:pt>
                <c:pt idx="1270">
                  <c:v>-2.5634670000000002</c:v>
                </c:pt>
                <c:pt idx="1271">
                  <c:v>-2.489903</c:v>
                </c:pt>
                <c:pt idx="1272">
                  <c:v>-2.3362569999999998</c:v>
                </c:pt>
                <c:pt idx="1273">
                  <c:v>-2.528489</c:v>
                </c:pt>
                <c:pt idx="1274">
                  <c:v>-2.7071360000000002</c:v>
                </c:pt>
                <c:pt idx="1275">
                  <c:v>-2.7528049999999999</c:v>
                </c:pt>
                <c:pt idx="1276">
                  <c:v>-2.5966109999999998</c:v>
                </c:pt>
                <c:pt idx="1277">
                  <c:v>-2.2536689999999999</c:v>
                </c:pt>
                <c:pt idx="1278">
                  <c:v>-2.3363339999999999</c:v>
                </c:pt>
                <c:pt idx="1279">
                  <c:v>-2.497636</c:v>
                </c:pt>
                <c:pt idx="1280">
                  <c:v>-2.3137240000000001</c:v>
                </c:pt>
                <c:pt idx="1281">
                  <c:v>-2.3464330000000002</c:v>
                </c:pt>
                <c:pt idx="1282">
                  <c:v>-2.5601630000000002</c:v>
                </c:pt>
                <c:pt idx="1283">
                  <c:v>-2.6086779999999998</c:v>
                </c:pt>
                <c:pt idx="1284">
                  <c:v>-2.5120779999999998</c:v>
                </c:pt>
                <c:pt idx="1285">
                  <c:v>-2.6022470000000002</c:v>
                </c:pt>
                <c:pt idx="1286">
                  <c:v>-2.723884</c:v>
                </c:pt>
                <c:pt idx="1287">
                  <c:v>-2.8014709999999998</c:v>
                </c:pt>
                <c:pt idx="1288">
                  <c:v>-3.0641780000000001</c:v>
                </c:pt>
                <c:pt idx="1289">
                  <c:v>-3.0925210000000001</c:v>
                </c:pt>
                <c:pt idx="1290">
                  <c:v>-3.1416900000000001</c:v>
                </c:pt>
                <c:pt idx="1291">
                  <c:v>-3.2588170000000001</c:v>
                </c:pt>
                <c:pt idx="1292">
                  <c:v>-3.1479379999999999</c:v>
                </c:pt>
                <c:pt idx="1293">
                  <c:v>-2.904134</c:v>
                </c:pt>
                <c:pt idx="1294">
                  <c:v>-2.848366</c:v>
                </c:pt>
                <c:pt idx="1295">
                  <c:v>-3.1485530000000002</c:v>
                </c:pt>
                <c:pt idx="1296">
                  <c:v>-3.110395</c:v>
                </c:pt>
                <c:pt idx="1297">
                  <c:v>-2.8996010000000001</c:v>
                </c:pt>
                <c:pt idx="1298">
                  <c:v>-3.1270539999999998</c:v>
                </c:pt>
                <c:pt idx="1299">
                  <c:v>-3.247754</c:v>
                </c:pt>
                <c:pt idx="1300">
                  <c:v>-3.1260680000000001</c:v>
                </c:pt>
                <c:pt idx="1301">
                  <c:v>-2.9327109999999998</c:v>
                </c:pt>
                <c:pt idx="1302">
                  <c:v>-2.8287429999999998</c:v>
                </c:pt>
                <c:pt idx="1303">
                  <c:v>-2.8933170000000001</c:v>
                </c:pt>
                <c:pt idx="1304">
                  <c:v>-2.850892</c:v>
                </c:pt>
                <c:pt idx="1305">
                  <c:v>-3.0236930000000002</c:v>
                </c:pt>
                <c:pt idx="1306">
                  <c:v>-3.1822530000000002</c:v>
                </c:pt>
                <c:pt idx="1307">
                  <c:v>-3.1429279999999999</c:v>
                </c:pt>
                <c:pt idx="1308">
                  <c:v>-3.1347269999999998</c:v>
                </c:pt>
                <c:pt idx="1309">
                  <c:v>-3.0695299999999999</c:v>
                </c:pt>
                <c:pt idx="1310">
                  <c:v>-3.1762260000000002</c:v>
                </c:pt>
                <c:pt idx="1311">
                  <c:v>-3.4400870000000001</c:v>
                </c:pt>
                <c:pt idx="1312">
                  <c:v>-3.328068</c:v>
                </c:pt>
                <c:pt idx="1313">
                  <c:v>-3.2884129999999998</c:v>
                </c:pt>
                <c:pt idx="1314">
                  <c:v>-3.3423180000000001</c:v>
                </c:pt>
                <c:pt idx="1315">
                  <c:v>-3.3133499999999998</c:v>
                </c:pt>
                <c:pt idx="1316">
                  <c:v>-3.2362540000000002</c:v>
                </c:pt>
                <c:pt idx="1317">
                  <c:v>-3.1303990000000002</c:v>
                </c:pt>
                <c:pt idx="1318">
                  <c:v>-3.2724129999999998</c:v>
                </c:pt>
                <c:pt idx="1319">
                  <c:v>-3.345777</c:v>
                </c:pt>
                <c:pt idx="1320">
                  <c:v>-3.1886580000000002</c:v>
                </c:pt>
                <c:pt idx="1321">
                  <c:v>-3.3106849999999999</c:v>
                </c:pt>
                <c:pt idx="1322">
                  <c:v>-3.374034</c:v>
                </c:pt>
                <c:pt idx="1323">
                  <c:v>-3.2140369999999998</c:v>
                </c:pt>
                <c:pt idx="1324">
                  <c:v>-3.1968369999999999</c:v>
                </c:pt>
                <c:pt idx="1325">
                  <c:v>-3.5240689999999999</c:v>
                </c:pt>
                <c:pt idx="1326">
                  <c:v>-3.773066</c:v>
                </c:pt>
                <c:pt idx="1327">
                  <c:v>-3.5283829999999998</c:v>
                </c:pt>
                <c:pt idx="1328">
                  <c:v>-3.4182640000000002</c:v>
                </c:pt>
                <c:pt idx="1329">
                  <c:v>-3.497773</c:v>
                </c:pt>
                <c:pt idx="1330">
                  <c:v>-3.6799050000000002</c:v>
                </c:pt>
                <c:pt idx="1331">
                  <c:v>-3.7202130000000002</c:v>
                </c:pt>
                <c:pt idx="1332">
                  <c:v>-3.5568840000000002</c:v>
                </c:pt>
                <c:pt idx="1333">
                  <c:v>-3.4776069999999999</c:v>
                </c:pt>
                <c:pt idx="1334">
                  <c:v>-3.5700940000000001</c:v>
                </c:pt>
                <c:pt idx="1335">
                  <c:v>-3.7548750000000002</c:v>
                </c:pt>
                <c:pt idx="1336">
                  <c:v>-3.7284470000000001</c:v>
                </c:pt>
                <c:pt idx="1337">
                  <c:v>-3.5245959999999998</c:v>
                </c:pt>
                <c:pt idx="1338">
                  <c:v>-3.4858159999999998</c:v>
                </c:pt>
                <c:pt idx="1339">
                  <c:v>-3.8661110000000001</c:v>
                </c:pt>
                <c:pt idx="1340">
                  <c:v>-4.0081030000000002</c:v>
                </c:pt>
                <c:pt idx="1341">
                  <c:v>-3.9768080000000001</c:v>
                </c:pt>
                <c:pt idx="1342">
                  <c:v>-3.9804339999999998</c:v>
                </c:pt>
                <c:pt idx="1343">
                  <c:v>-4.0705850000000003</c:v>
                </c:pt>
                <c:pt idx="1344">
                  <c:v>-3.929141</c:v>
                </c:pt>
                <c:pt idx="1345">
                  <c:v>-3.4614569999999998</c:v>
                </c:pt>
                <c:pt idx="1346">
                  <c:v>-3.468531</c:v>
                </c:pt>
                <c:pt idx="1347">
                  <c:v>-3.5816400000000002</c:v>
                </c:pt>
                <c:pt idx="1348">
                  <c:v>-3.4922119999999999</c:v>
                </c:pt>
                <c:pt idx="1349">
                  <c:v>-3.2970169999999999</c:v>
                </c:pt>
                <c:pt idx="1350">
                  <c:v>-3.3096920000000001</c:v>
                </c:pt>
                <c:pt idx="1351">
                  <c:v>-3.3612880000000001</c:v>
                </c:pt>
                <c:pt idx="1352">
                  <c:v>-3.308373</c:v>
                </c:pt>
                <c:pt idx="1353">
                  <c:v>-3.3356539999999999</c:v>
                </c:pt>
                <c:pt idx="1354">
                  <c:v>-3.3406229999999999</c:v>
                </c:pt>
                <c:pt idx="1355">
                  <c:v>-3.132234</c:v>
                </c:pt>
                <c:pt idx="1356">
                  <c:v>-3.1457959999999998</c:v>
                </c:pt>
                <c:pt idx="1357">
                  <c:v>-3.2008740000000002</c:v>
                </c:pt>
                <c:pt idx="1358">
                  <c:v>-3.0871309999999998</c:v>
                </c:pt>
                <c:pt idx="1359">
                  <c:v>-3.21794</c:v>
                </c:pt>
                <c:pt idx="1360">
                  <c:v>-3.212323</c:v>
                </c:pt>
                <c:pt idx="1361">
                  <c:v>-3.2774350000000001</c:v>
                </c:pt>
                <c:pt idx="1362">
                  <c:v>-3.311124</c:v>
                </c:pt>
                <c:pt idx="1363">
                  <c:v>-3.0633499999999998</c:v>
                </c:pt>
                <c:pt idx="1364">
                  <c:v>-2.9939179999999999</c:v>
                </c:pt>
                <c:pt idx="1365">
                  <c:v>-2.940515</c:v>
                </c:pt>
                <c:pt idx="1366">
                  <c:v>-2.8977560000000002</c:v>
                </c:pt>
                <c:pt idx="1367">
                  <c:v>-3.0618620000000001</c:v>
                </c:pt>
                <c:pt idx="1368">
                  <c:v>-2.937411</c:v>
                </c:pt>
                <c:pt idx="1369">
                  <c:v>-2.7317819999999999</c:v>
                </c:pt>
                <c:pt idx="1370">
                  <c:v>-2.739522</c:v>
                </c:pt>
                <c:pt idx="1371">
                  <c:v>-2.8609450000000001</c:v>
                </c:pt>
                <c:pt idx="1372">
                  <c:v>-2.9144399999999999</c:v>
                </c:pt>
                <c:pt idx="1373">
                  <c:v>-2.8744529999999999</c:v>
                </c:pt>
                <c:pt idx="1374">
                  <c:v>-2.85046</c:v>
                </c:pt>
                <c:pt idx="1375">
                  <c:v>-2.7667169999999999</c:v>
                </c:pt>
                <c:pt idx="1376">
                  <c:v>-2.7830490000000001</c:v>
                </c:pt>
                <c:pt idx="1377">
                  <c:v>-2.851823</c:v>
                </c:pt>
                <c:pt idx="1378">
                  <c:v>-3.0224790000000001</c:v>
                </c:pt>
                <c:pt idx="1379">
                  <c:v>-3.2556470000000002</c:v>
                </c:pt>
                <c:pt idx="1380">
                  <c:v>-3.128155</c:v>
                </c:pt>
                <c:pt idx="1381">
                  <c:v>-2.9445130000000002</c:v>
                </c:pt>
                <c:pt idx="1382">
                  <c:v>-2.9154870000000002</c:v>
                </c:pt>
                <c:pt idx="1383">
                  <c:v>-3.1009359999999999</c:v>
                </c:pt>
                <c:pt idx="1384">
                  <c:v>-2.8596010000000001</c:v>
                </c:pt>
                <c:pt idx="1385">
                  <c:v>-2.6677170000000001</c:v>
                </c:pt>
                <c:pt idx="1386">
                  <c:v>-2.8146420000000001</c:v>
                </c:pt>
                <c:pt idx="1387">
                  <c:v>-2.6795339999999999</c:v>
                </c:pt>
                <c:pt idx="1388">
                  <c:v>-2.5268839999999999</c:v>
                </c:pt>
                <c:pt idx="1389">
                  <c:v>-2.563825</c:v>
                </c:pt>
                <c:pt idx="1390">
                  <c:v>-2.6983839999999999</c:v>
                </c:pt>
                <c:pt idx="1391">
                  <c:v>-2.6959979999999999</c:v>
                </c:pt>
                <c:pt idx="1392">
                  <c:v>-2.4869119999999998</c:v>
                </c:pt>
                <c:pt idx="1393">
                  <c:v>-2.2311480000000001</c:v>
                </c:pt>
                <c:pt idx="1394">
                  <c:v>-2.4080840000000001</c:v>
                </c:pt>
                <c:pt idx="1395">
                  <c:v>-2.4800960000000001</c:v>
                </c:pt>
                <c:pt idx="1396">
                  <c:v>-2.3767230000000001</c:v>
                </c:pt>
                <c:pt idx="1397">
                  <c:v>-2.516375</c:v>
                </c:pt>
                <c:pt idx="1398">
                  <c:v>-2.6535139999999999</c:v>
                </c:pt>
                <c:pt idx="1399">
                  <c:v>-2.5978219999999999</c:v>
                </c:pt>
                <c:pt idx="1400">
                  <c:v>-2.6436920000000002</c:v>
                </c:pt>
                <c:pt idx="1401">
                  <c:v>-2.7403599999999999</c:v>
                </c:pt>
                <c:pt idx="1402">
                  <c:v>-2.7345220000000001</c:v>
                </c:pt>
                <c:pt idx="1403">
                  <c:v>-2.8098510000000001</c:v>
                </c:pt>
                <c:pt idx="1404">
                  <c:v>-2.9286500000000002</c:v>
                </c:pt>
                <c:pt idx="1405">
                  <c:v>-2.803722</c:v>
                </c:pt>
                <c:pt idx="1406">
                  <c:v>-2.6820710000000001</c:v>
                </c:pt>
                <c:pt idx="1407">
                  <c:v>-2.6153270000000002</c:v>
                </c:pt>
                <c:pt idx="1408">
                  <c:v>-2.3022689999999999</c:v>
                </c:pt>
                <c:pt idx="1409">
                  <c:v>-2.2526250000000001</c:v>
                </c:pt>
                <c:pt idx="1410">
                  <c:v>-2.400156</c:v>
                </c:pt>
                <c:pt idx="1411">
                  <c:v>-2.1903670000000002</c:v>
                </c:pt>
                <c:pt idx="1412">
                  <c:v>-2.2670110000000001</c:v>
                </c:pt>
                <c:pt idx="1413">
                  <c:v>-2.422183</c:v>
                </c:pt>
                <c:pt idx="1414">
                  <c:v>-2.5033729999999998</c:v>
                </c:pt>
                <c:pt idx="1415">
                  <c:v>-2.410955</c:v>
                </c:pt>
                <c:pt idx="1416">
                  <c:v>-2.2314639999999999</c:v>
                </c:pt>
                <c:pt idx="1417">
                  <c:v>-2.327496</c:v>
                </c:pt>
                <c:pt idx="1418">
                  <c:v>-2.371197</c:v>
                </c:pt>
                <c:pt idx="1419">
                  <c:v>-2.5960049999999999</c:v>
                </c:pt>
                <c:pt idx="1420">
                  <c:v>-2.5871490000000001</c:v>
                </c:pt>
                <c:pt idx="1421">
                  <c:v>-2.530573</c:v>
                </c:pt>
                <c:pt idx="1422">
                  <c:v>-2.710048</c:v>
                </c:pt>
                <c:pt idx="1423">
                  <c:v>-2.5454059999999998</c:v>
                </c:pt>
                <c:pt idx="1424">
                  <c:v>-2.3320180000000001</c:v>
                </c:pt>
                <c:pt idx="1425">
                  <c:v>-2.2768199999999998</c:v>
                </c:pt>
                <c:pt idx="1426">
                  <c:v>-2.4380769999999998</c:v>
                </c:pt>
                <c:pt idx="1427">
                  <c:v>-2.4464800000000002</c:v>
                </c:pt>
                <c:pt idx="1428">
                  <c:v>-2.1822119999999998</c:v>
                </c:pt>
                <c:pt idx="1429">
                  <c:v>-1.960788</c:v>
                </c:pt>
                <c:pt idx="1430">
                  <c:v>-1.613715</c:v>
                </c:pt>
                <c:pt idx="1431">
                  <c:v>-1.5918239999999999</c:v>
                </c:pt>
                <c:pt idx="1432">
                  <c:v>-1.669114</c:v>
                </c:pt>
                <c:pt idx="1433">
                  <c:v>-1.6113519999999999</c:v>
                </c:pt>
                <c:pt idx="1434">
                  <c:v>-1.621507</c:v>
                </c:pt>
                <c:pt idx="1435">
                  <c:v>-1.604627</c:v>
                </c:pt>
                <c:pt idx="1436">
                  <c:v>-1.7135830000000001</c:v>
                </c:pt>
                <c:pt idx="1437">
                  <c:v>-1.827725</c:v>
                </c:pt>
                <c:pt idx="1438">
                  <c:v>-1.88886</c:v>
                </c:pt>
                <c:pt idx="1439">
                  <c:v>-2.1303239999999999</c:v>
                </c:pt>
                <c:pt idx="1440">
                  <c:v>-2.2054879999999999</c:v>
                </c:pt>
                <c:pt idx="1441">
                  <c:v>-2.3388249999999999</c:v>
                </c:pt>
                <c:pt idx="1442">
                  <c:v>-2.5005999999999999</c:v>
                </c:pt>
                <c:pt idx="1443">
                  <c:v>-2.415956</c:v>
                </c:pt>
                <c:pt idx="1444">
                  <c:v>-2.3280609999999999</c:v>
                </c:pt>
                <c:pt idx="1445">
                  <c:v>-2.4323160000000001</c:v>
                </c:pt>
                <c:pt idx="1446">
                  <c:v>-2.4986570000000001</c:v>
                </c:pt>
                <c:pt idx="1447">
                  <c:v>-2.348185</c:v>
                </c:pt>
                <c:pt idx="1448">
                  <c:v>-2.2759999999999998</c:v>
                </c:pt>
                <c:pt idx="1449">
                  <c:v>-2.1684230000000002</c:v>
                </c:pt>
                <c:pt idx="1450">
                  <c:v>-2.1044010000000002</c:v>
                </c:pt>
                <c:pt idx="1451">
                  <c:v>-1.98952</c:v>
                </c:pt>
                <c:pt idx="1452">
                  <c:v>-1.913678</c:v>
                </c:pt>
                <c:pt idx="1453">
                  <c:v>-1.98847</c:v>
                </c:pt>
                <c:pt idx="1454">
                  <c:v>-2.0821200000000002</c:v>
                </c:pt>
                <c:pt idx="1455">
                  <c:v>-2.2621440000000002</c:v>
                </c:pt>
                <c:pt idx="1456">
                  <c:v>-2.4314990000000001</c:v>
                </c:pt>
                <c:pt idx="1457">
                  <c:v>-2.5388169999999999</c:v>
                </c:pt>
                <c:pt idx="1458">
                  <c:v>-2.4825020000000002</c:v>
                </c:pt>
                <c:pt idx="1459">
                  <c:v>-2.5408110000000002</c:v>
                </c:pt>
                <c:pt idx="1460">
                  <c:v>-2.6533220000000002</c:v>
                </c:pt>
                <c:pt idx="1461">
                  <c:v>-2.597594</c:v>
                </c:pt>
                <c:pt idx="1462">
                  <c:v>-2.5835759999999999</c:v>
                </c:pt>
                <c:pt idx="1463">
                  <c:v>-2.7227489999999999</c:v>
                </c:pt>
                <c:pt idx="1464">
                  <c:v>-2.74105</c:v>
                </c:pt>
                <c:pt idx="1465">
                  <c:v>-2.496251</c:v>
                </c:pt>
                <c:pt idx="1466">
                  <c:v>-2.4369239999999999</c:v>
                </c:pt>
                <c:pt idx="1467">
                  <c:v>-2.5324529999999998</c:v>
                </c:pt>
                <c:pt idx="1468">
                  <c:v>-2.3754420000000001</c:v>
                </c:pt>
                <c:pt idx="1469">
                  <c:v>-2.1508099999999999</c:v>
                </c:pt>
                <c:pt idx="1470">
                  <c:v>-2.2831100000000002</c:v>
                </c:pt>
                <c:pt idx="1471">
                  <c:v>-2.403251</c:v>
                </c:pt>
                <c:pt idx="1472">
                  <c:v>-2.328611</c:v>
                </c:pt>
                <c:pt idx="1473">
                  <c:v>-2.3537469999999998</c:v>
                </c:pt>
                <c:pt idx="1474">
                  <c:v>-2.2946140000000002</c:v>
                </c:pt>
                <c:pt idx="1475">
                  <c:v>-2.2599339999999999</c:v>
                </c:pt>
                <c:pt idx="1476">
                  <c:v>-2.4373040000000001</c:v>
                </c:pt>
                <c:pt idx="1477">
                  <c:v>-2.6004130000000001</c:v>
                </c:pt>
                <c:pt idx="1478">
                  <c:v>-2.7002549999999998</c:v>
                </c:pt>
                <c:pt idx="1479">
                  <c:v>-2.8406829999999998</c:v>
                </c:pt>
                <c:pt idx="1480">
                  <c:v>-3.143214</c:v>
                </c:pt>
                <c:pt idx="1481">
                  <c:v>-3.1345550000000002</c:v>
                </c:pt>
                <c:pt idx="1482">
                  <c:v>-2.8980399999999999</c:v>
                </c:pt>
                <c:pt idx="1483">
                  <c:v>-2.8579029999999999</c:v>
                </c:pt>
                <c:pt idx="1484">
                  <c:v>-2.8431440000000001</c:v>
                </c:pt>
                <c:pt idx="1485">
                  <c:v>-2.8388439999999999</c:v>
                </c:pt>
                <c:pt idx="1486">
                  <c:v>-2.8388230000000001</c:v>
                </c:pt>
                <c:pt idx="1487">
                  <c:v>-2.908693</c:v>
                </c:pt>
                <c:pt idx="1488">
                  <c:v>-2.7450899999999998</c:v>
                </c:pt>
                <c:pt idx="1489">
                  <c:v>-2.6594470000000001</c:v>
                </c:pt>
                <c:pt idx="1490">
                  <c:v>-2.873634</c:v>
                </c:pt>
                <c:pt idx="1491">
                  <c:v>-2.8509760000000002</c:v>
                </c:pt>
                <c:pt idx="1492">
                  <c:v>-2.708656</c:v>
                </c:pt>
                <c:pt idx="1493">
                  <c:v>-2.9021409999999999</c:v>
                </c:pt>
                <c:pt idx="1494">
                  <c:v>-3.0040239999999998</c:v>
                </c:pt>
                <c:pt idx="1495">
                  <c:v>-2.9366400000000001</c:v>
                </c:pt>
                <c:pt idx="1496">
                  <c:v>-2.907972</c:v>
                </c:pt>
                <c:pt idx="1497">
                  <c:v>-3.1028280000000001</c:v>
                </c:pt>
                <c:pt idx="1498">
                  <c:v>-3.349939</c:v>
                </c:pt>
                <c:pt idx="1499">
                  <c:v>-3.2364160000000002</c:v>
                </c:pt>
                <c:pt idx="1500">
                  <c:v>-3.130207</c:v>
                </c:pt>
                <c:pt idx="1501">
                  <c:v>-3.0831490000000001</c:v>
                </c:pt>
                <c:pt idx="1502">
                  <c:v>-2.9926189999999999</c:v>
                </c:pt>
                <c:pt idx="1503">
                  <c:v>-2.8739910000000002</c:v>
                </c:pt>
                <c:pt idx="1504">
                  <c:v>-2.9370660000000002</c:v>
                </c:pt>
                <c:pt idx="1505">
                  <c:v>-2.960677</c:v>
                </c:pt>
                <c:pt idx="1506">
                  <c:v>-2.971028</c:v>
                </c:pt>
                <c:pt idx="1507">
                  <c:v>-2.836652</c:v>
                </c:pt>
                <c:pt idx="1508">
                  <c:v>-2.7611789999999998</c:v>
                </c:pt>
                <c:pt idx="1509">
                  <c:v>-2.8414190000000001</c:v>
                </c:pt>
                <c:pt idx="1510">
                  <c:v>-2.8773059999999999</c:v>
                </c:pt>
                <c:pt idx="1511">
                  <c:v>-2.8236479999999999</c:v>
                </c:pt>
                <c:pt idx="1512">
                  <c:v>-2.7256019999999999</c:v>
                </c:pt>
                <c:pt idx="1513">
                  <c:v>-2.867486</c:v>
                </c:pt>
                <c:pt idx="1514">
                  <c:v>-3.1434389999999999</c:v>
                </c:pt>
                <c:pt idx="1515">
                  <c:v>-2.893262</c:v>
                </c:pt>
                <c:pt idx="1516">
                  <c:v>-2.705444</c:v>
                </c:pt>
                <c:pt idx="1517">
                  <c:v>-2.7947839999999999</c:v>
                </c:pt>
                <c:pt idx="1518">
                  <c:v>-3.1097570000000001</c:v>
                </c:pt>
                <c:pt idx="1519">
                  <c:v>-3.28057</c:v>
                </c:pt>
                <c:pt idx="1520">
                  <c:v>-2.9928110000000001</c:v>
                </c:pt>
                <c:pt idx="1521">
                  <c:v>-3.1212939999999998</c:v>
                </c:pt>
                <c:pt idx="1522">
                  <c:v>-3.1264970000000001</c:v>
                </c:pt>
                <c:pt idx="1523">
                  <c:v>-3.0043540000000002</c:v>
                </c:pt>
                <c:pt idx="1524">
                  <c:v>-2.9403890000000001</c:v>
                </c:pt>
                <c:pt idx="1525">
                  <c:v>-2.9707560000000002</c:v>
                </c:pt>
                <c:pt idx="1526">
                  <c:v>-2.9813550000000002</c:v>
                </c:pt>
                <c:pt idx="1527">
                  <c:v>-3.1913130000000001</c:v>
                </c:pt>
                <c:pt idx="1528">
                  <c:v>-3.3072499999999998</c:v>
                </c:pt>
                <c:pt idx="1529">
                  <c:v>-2.8451430000000002</c:v>
                </c:pt>
                <c:pt idx="1530">
                  <c:v>-2.666131</c:v>
                </c:pt>
                <c:pt idx="1531">
                  <c:v>-2.7489319999999999</c:v>
                </c:pt>
                <c:pt idx="1532">
                  <c:v>-2.7743799999999998</c:v>
                </c:pt>
                <c:pt idx="1533">
                  <c:v>-2.843159</c:v>
                </c:pt>
                <c:pt idx="1534">
                  <c:v>-2.873901</c:v>
                </c:pt>
                <c:pt idx="1535">
                  <c:v>-2.8206470000000001</c:v>
                </c:pt>
                <c:pt idx="1536">
                  <c:v>-2.8585850000000002</c:v>
                </c:pt>
                <c:pt idx="1537">
                  <c:v>-2.9434610000000001</c:v>
                </c:pt>
                <c:pt idx="1538">
                  <c:v>-2.9246439999999998</c:v>
                </c:pt>
                <c:pt idx="1539">
                  <c:v>-2.9868969999999999</c:v>
                </c:pt>
                <c:pt idx="1540">
                  <c:v>-2.9566270000000001</c:v>
                </c:pt>
                <c:pt idx="1541">
                  <c:v>-3.0150709999999998</c:v>
                </c:pt>
                <c:pt idx="1542">
                  <c:v>-2.981201</c:v>
                </c:pt>
                <c:pt idx="1543">
                  <c:v>-2.834667</c:v>
                </c:pt>
                <c:pt idx="1544">
                  <c:v>-2.887578</c:v>
                </c:pt>
                <c:pt idx="1545">
                  <c:v>-2.843064</c:v>
                </c:pt>
                <c:pt idx="1546">
                  <c:v>-2.9523579999999998</c:v>
                </c:pt>
                <c:pt idx="1547">
                  <c:v>-2.8040120000000002</c:v>
                </c:pt>
                <c:pt idx="1548">
                  <c:v>-2.590265</c:v>
                </c:pt>
                <c:pt idx="1549">
                  <c:v>-2.797892</c:v>
                </c:pt>
                <c:pt idx="1550">
                  <c:v>-2.762016</c:v>
                </c:pt>
                <c:pt idx="1551">
                  <c:v>-2.6737649999999999</c:v>
                </c:pt>
                <c:pt idx="1552">
                  <c:v>-2.7538550000000002</c:v>
                </c:pt>
                <c:pt idx="1553">
                  <c:v>-2.8598129999999999</c:v>
                </c:pt>
                <c:pt idx="1554">
                  <c:v>-2.85025</c:v>
                </c:pt>
                <c:pt idx="1555">
                  <c:v>-2.851585</c:v>
                </c:pt>
                <c:pt idx="1556">
                  <c:v>-3.126941</c:v>
                </c:pt>
                <c:pt idx="1557">
                  <c:v>-3.0826190000000002</c:v>
                </c:pt>
                <c:pt idx="1558">
                  <c:v>-2.8761130000000001</c:v>
                </c:pt>
                <c:pt idx="1559">
                  <c:v>-3.040756</c:v>
                </c:pt>
                <c:pt idx="1560">
                  <c:v>-2.9269919999999998</c:v>
                </c:pt>
                <c:pt idx="1561">
                  <c:v>-2.737276</c:v>
                </c:pt>
                <c:pt idx="1562">
                  <c:v>-2.8293089999999999</c:v>
                </c:pt>
                <c:pt idx="1563">
                  <c:v>-2.870209</c:v>
                </c:pt>
                <c:pt idx="1564">
                  <c:v>-2.8898290000000002</c:v>
                </c:pt>
                <c:pt idx="1565">
                  <c:v>-2.8323809999999998</c:v>
                </c:pt>
                <c:pt idx="1566">
                  <c:v>-2.7326440000000001</c:v>
                </c:pt>
                <c:pt idx="1567">
                  <c:v>-2.8084739999999999</c:v>
                </c:pt>
                <c:pt idx="1568">
                  <c:v>-3.0465409999999999</c:v>
                </c:pt>
                <c:pt idx="1569">
                  <c:v>-2.9765139999999999</c:v>
                </c:pt>
                <c:pt idx="1570">
                  <c:v>-2.7480570000000002</c:v>
                </c:pt>
                <c:pt idx="1571">
                  <c:v>-2.8260649999999998</c:v>
                </c:pt>
                <c:pt idx="1572">
                  <c:v>-2.9964789999999999</c:v>
                </c:pt>
                <c:pt idx="1573">
                  <c:v>-3.0922689999999999</c:v>
                </c:pt>
                <c:pt idx="1574">
                  <c:v>-2.8834780000000002</c:v>
                </c:pt>
                <c:pt idx="1575">
                  <c:v>-2.7109429999999999</c:v>
                </c:pt>
                <c:pt idx="1576">
                  <c:v>-2.9470109999999998</c:v>
                </c:pt>
                <c:pt idx="1577">
                  <c:v>-2.932366</c:v>
                </c:pt>
                <c:pt idx="1578">
                  <c:v>-2.6589649999999998</c:v>
                </c:pt>
                <c:pt idx="1579">
                  <c:v>-2.5038580000000001</c:v>
                </c:pt>
                <c:pt idx="1580">
                  <c:v>-2.7403029999999999</c:v>
                </c:pt>
                <c:pt idx="1581">
                  <c:v>-2.8511470000000001</c:v>
                </c:pt>
                <c:pt idx="1582">
                  <c:v>-2.64412</c:v>
                </c:pt>
                <c:pt idx="1583">
                  <c:v>-2.4606590000000002</c:v>
                </c:pt>
                <c:pt idx="1584">
                  <c:v>-2.279366</c:v>
                </c:pt>
                <c:pt idx="1585">
                  <c:v>-2.496248</c:v>
                </c:pt>
                <c:pt idx="1586">
                  <c:v>-2.6602380000000001</c:v>
                </c:pt>
                <c:pt idx="1587">
                  <c:v>-2.6818550000000001</c:v>
                </c:pt>
                <c:pt idx="1588">
                  <c:v>-2.6288909999999999</c:v>
                </c:pt>
                <c:pt idx="1589">
                  <c:v>-2.3329219999999999</c:v>
                </c:pt>
                <c:pt idx="1590">
                  <c:v>-2.3679600000000001</c:v>
                </c:pt>
                <c:pt idx="1591">
                  <c:v>-2.5713599999999999</c:v>
                </c:pt>
                <c:pt idx="1592">
                  <c:v>-2.6091440000000001</c:v>
                </c:pt>
                <c:pt idx="1593">
                  <c:v>-2.6338089999999998</c:v>
                </c:pt>
                <c:pt idx="1594">
                  <c:v>-2.5844689999999999</c:v>
                </c:pt>
                <c:pt idx="1595">
                  <c:v>-2.4938120000000001</c:v>
                </c:pt>
                <c:pt idx="1596">
                  <c:v>-2.4425110000000001</c:v>
                </c:pt>
                <c:pt idx="1597">
                  <c:v>-2.6125310000000002</c:v>
                </c:pt>
                <c:pt idx="1598">
                  <c:v>-2.4965799999999998</c:v>
                </c:pt>
                <c:pt idx="1599">
                  <c:v>-2.3712979999999999</c:v>
                </c:pt>
                <c:pt idx="1600">
                  <c:v>-2.4960469999999999</c:v>
                </c:pt>
                <c:pt idx="1601">
                  <c:v>-2.4909889999999999</c:v>
                </c:pt>
                <c:pt idx="1602">
                  <c:v>-2.5547569999999999</c:v>
                </c:pt>
                <c:pt idx="1603">
                  <c:v>-2.6588270000000001</c:v>
                </c:pt>
                <c:pt idx="1604">
                  <c:v>-2.8575940000000002</c:v>
                </c:pt>
                <c:pt idx="1605">
                  <c:v>-2.9122840000000001</c:v>
                </c:pt>
                <c:pt idx="1606">
                  <c:v>-2.8286349999999998</c:v>
                </c:pt>
                <c:pt idx="1607">
                  <c:v>-2.7992710000000001</c:v>
                </c:pt>
                <c:pt idx="1608">
                  <c:v>-2.9966560000000002</c:v>
                </c:pt>
                <c:pt idx="1609">
                  <c:v>-3.1140919999999999</c:v>
                </c:pt>
                <c:pt idx="1610">
                  <c:v>-2.9287030000000001</c:v>
                </c:pt>
                <c:pt idx="1611">
                  <c:v>-2.7752840000000001</c:v>
                </c:pt>
                <c:pt idx="1612">
                  <c:v>-2.760062</c:v>
                </c:pt>
                <c:pt idx="1613">
                  <c:v>-2.949516</c:v>
                </c:pt>
                <c:pt idx="1614">
                  <c:v>-2.847442</c:v>
                </c:pt>
                <c:pt idx="1615">
                  <c:v>-2.8002349999999998</c:v>
                </c:pt>
                <c:pt idx="1616">
                  <c:v>-2.495984</c:v>
                </c:pt>
                <c:pt idx="1617">
                  <c:v>-2.3246639999999998</c:v>
                </c:pt>
                <c:pt idx="1618">
                  <c:v>-2.674188</c:v>
                </c:pt>
                <c:pt idx="1619">
                  <c:v>-2.6452930000000001</c:v>
                </c:pt>
                <c:pt idx="1620">
                  <c:v>-2.4927579999999998</c:v>
                </c:pt>
                <c:pt idx="1621">
                  <c:v>-2.5397989999999999</c:v>
                </c:pt>
                <c:pt idx="1622">
                  <c:v>-2.6896450000000001</c:v>
                </c:pt>
                <c:pt idx="1623">
                  <c:v>-2.4982739999999999</c:v>
                </c:pt>
                <c:pt idx="1624">
                  <c:v>-2.6674820000000001</c:v>
                </c:pt>
                <c:pt idx="1625">
                  <c:v>-2.7510620000000001</c:v>
                </c:pt>
                <c:pt idx="1626">
                  <c:v>-2.6725439999999998</c:v>
                </c:pt>
                <c:pt idx="1627">
                  <c:v>-2.6995659999999999</c:v>
                </c:pt>
                <c:pt idx="1628">
                  <c:v>-2.7882600000000002</c:v>
                </c:pt>
                <c:pt idx="1629">
                  <c:v>-2.974666</c:v>
                </c:pt>
                <c:pt idx="1630">
                  <c:v>-2.8199049999999999</c:v>
                </c:pt>
                <c:pt idx="1631">
                  <c:v>-2.9537719999999998</c:v>
                </c:pt>
                <c:pt idx="1632">
                  <c:v>-2.9641829999999998</c:v>
                </c:pt>
                <c:pt idx="1633">
                  <c:v>-2.7817789999999998</c:v>
                </c:pt>
                <c:pt idx="1634">
                  <c:v>-3.0259260000000001</c:v>
                </c:pt>
                <c:pt idx="1635">
                  <c:v>-2.956655</c:v>
                </c:pt>
                <c:pt idx="1636">
                  <c:v>-2.6615899999999999</c:v>
                </c:pt>
                <c:pt idx="1637">
                  <c:v>-2.6318229999999998</c:v>
                </c:pt>
                <c:pt idx="1638">
                  <c:v>-2.6009350000000002</c:v>
                </c:pt>
                <c:pt idx="1639">
                  <c:v>-2.774832</c:v>
                </c:pt>
                <c:pt idx="1640">
                  <c:v>-2.9969510000000001</c:v>
                </c:pt>
                <c:pt idx="1641">
                  <c:v>-3.0589400000000002</c:v>
                </c:pt>
                <c:pt idx="1642">
                  <c:v>-2.9731299999999998</c:v>
                </c:pt>
                <c:pt idx="1643">
                  <c:v>-3.0090270000000001</c:v>
                </c:pt>
                <c:pt idx="1644">
                  <c:v>-3.0344060000000002</c:v>
                </c:pt>
                <c:pt idx="1645">
                  <c:v>-2.923098</c:v>
                </c:pt>
                <c:pt idx="1646">
                  <c:v>-3.0704660000000001</c:v>
                </c:pt>
                <c:pt idx="1647">
                  <c:v>-3.2214330000000002</c:v>
                </c:pt>
                <c:pt idx="1648">
                  <c:v>-3.0454210000000002</c:v>
                </c:pt>
                <c:pt idx="1649">
                  <c:v>-3.0990129999999998</c:v>
                </c:pt>
                <c:pt idx="1650">
                  <c:v>-3.1961490000000001</c:v>
                </c:pt>
                <c:pt idx="1651">
                  <c:v>-3.260535</c:v>
                </c:pt>
                <c:pt idx="1652">
                  <c:v>-3.2363770000000001</c:v>
                </c:pt>
                <c:pt idx="1653">
                  <c:v>-3.102322</c:v>
                </c:pt>
                <c:pt idx="1654">
                  <c:v>-2.894415</c:v>
                </c:pt>
                <c:pt idx="1655">
                  <c:v>-2.9131360000000002</c:v>
                </c:pt>
                <c:pt idx="1656">
                  <c:v>-2.9039640000000002</c:v>
                </c:pt>
                <c:pt idx="1657">
                  <c:v>-3.0305759999999999</c:v>
                </c:pt>
                <c:pt idx="1658">
                  <c:v>-2.883178</c:v>
                </c:pt>
                <c:pt idx="1659">
                  <c:v>-2.4000270000000001</c:v>
                </c:pt>
                <c:pt idx="1660">
                  <c:v>-2.6533760000000002</c:v>
                </c:pt>
                <c:pt idx="1661">
                  <c:v>-2.8976329999999999</c:v>
                </c:pt>
                <c:pt idx="1662">
                  <c:v>-2.8206690000000001</c:v>
                </c:pt>
                <c:pt idx="1663">
                  <c:v>-2.715068</c:v>
                </c:pt>
                <c:pt idx="1664">
                  <c:v>-2.787649</c:v>
                </c:pt>
                <c:pt idx="1665">
                  <c:v>-2.9583550000000001</c:v>
                </c:pt>
                <c:pt idx="1666">
                  <c:v>-3.1900719999999998</c:v>
                </c:pt>
                <c:pt idx="1667">
                  <c:v>-3.060568</c:v>
                </c:pt>
                <c:pt idx="1668">
                  <c:v>-2.8747370000000001</c:v>
                </c:pt>
                <c:pt idx="1669">
                  <c:v>-3.0479889999999998</c:v>
                </c:pt>
                <c:pt idx="1670">
                  <c:v>-3.2104780000000002</c:v>
                </c:pt>
                <c:pt idx="1671">
                  <c:v>-3.244491</c:v>
                </c:pt>
                <c:pt idx="1672">
                  <c:v>-3.2121430000000002</c:v>
                </c:pt>
                <c:pt idx="1673">
                  <c:v>-3.0048499999999998</c:v>
                </c:pt>
                <c:pt idx="1674">
                  <c:v>-2.9650720000000002</c:v>
                </c:pt>
                <c:pt idx="1675">
                  <c:v>-3.0711400000000002</c:v>
                </c:pt>
                <c:pt idx="1676">
                  <c:v>-2.990529</c:v>
                </c:pt>
                <c:pt idx="1677">
                  <c:v>-2.741968</c:v>
                </c:pt>
                <c:pt idx="1678">
                  <c:v>-2.8691610000000001</c:v>
                </c:pt>
                <c:pt idx="1679">
                  <c:v>-2.9874550000000002</c:v>
                </c:pt>
                <c:pt idx="1680">
                  <c:v>-2.984947</c:v>
                </c:pt>
                <c:pt idx="1681">
                  <c:v>-3.1867740000000002</c:v>
                </c:pt>
                <c:pt idx="1682">
                  <c:v>-3.169219</c:v>
                </c:pt>
                <c:pt idx="1683">
                  <c:v>-3.1055190000000001</c:v>
                </c:pt>
                <c:pt idx="1684">
                  <c:v>-3.2150080000000001</c:v>
                </c:pt>
                <c:pt idx="1685">
                  <c:v>-3.2123590000000002</c:v>
                </c:pt>
                <c:pt idx="1686">
                  <c:v>-3.291461</c:v>
                </c:pt>
                <c:pt idx="1687">
                  <c:v>-3.5461770000000001</c:v>
                </c:pt>
                <c:pt idx="1688">
                  <c:v>-3.5688580000000001</c:v>
                </c:pt>
                <c:pt idx="1689">
                  <c:v>-3.2667920000000001</c:v>
                </c:pt>
                <c:pt idx="1690">
                  <c:v>-3.1852100000000001</c:v>
                </c:pt>
                <c:pt idx="1691">
                  <c:v>-3.473109</c:v>
                </c:pt>
                <c:pt idx="1692">
                  <c:v>-3.5646529999999998</c:v>
                </c:pt>
                <c:pt idx="1693">
                  <c:v>-3.1540330000000001</c:v>
                </c:pt>
                <c:pt idx="1694">
                  <c:v>-2.733571</c:v>
                </c:pt>
                <c:pt idx="1695">
                  <c:v>-2.884836</c:v>
                </c:pt>
                <c:pt idx="1696">
                  <c:v>-2.8653420000000001</c:v>
                </c:pt>
                <c:pt idx="1697">
                  <c:v>-2.9061880000000002</c:v>
                </c:pt>
                <c:pt idx="1698">
                  <c:v>-2.977255</c:v>
                </c:pt>
                <c:pt idx="1699">
                  <c:v>-2.7382520000000001</c:v>
                </c:pt>
                <c:pt idx="1700">
                  <c:v>-2.7326700000000002</c:v>
                </c:pt>
                <c:pt idx="1701">
                  <c:v>-3.0506009999999999</c:v>
                </c:pt>
                <c:pt idx="1702">
                  <c:v>-3.0124040000000001</c:v>
                </c:pt>
                <c:pt idx="1703">
                  <c:v>-2.7988629999999999</c:v>
                </c:pt>
                <c:pt idx="1704">
                  <c:v>-3.0180920000000002</c:v>
                </c:pt>
                <c:pt idx="1705">
                  <c:v>-2.928445</c:v>
                </c:pt>
                <c:pt idx="1706">
                  <c:v>-3.1591230000000001</c:v>
                </c:pt>
                <c:pt idx="1707">
                  <c:v>-3.3519730000000001</c:v>
                </c:pt>
                <c:pt idx="1708">
                  <c:v>-3.142493</c:v>
                </c:pt>
                <c:pt idx="1709">
                  <c:v>-3.1782940000000002</c:v>
                </c:pt>
                <c:pt idx="1710">
                  <c:v>-3.0686110000000002</c:v>
                </c:pt>
                <c:pt idx="1711">
                  <c:v>-3.0125229999999998</c:v>
                </c:pt>
                <c:pt idx="1712">
                  <c:v>-3.0458129999999999</c:v>
                </c:pt>
                <c:pt idx="1713">
                  <c:v>-2.5830850000000001</c:v>
                </c:pt>
                <c:pt idx="1714">
                  <c:v>-2.8654099999999998</c:v>
                </c:pt>
                <c:pt idx="1715">
                  <c:v>-2.985935</c:v>
                </c:pt>
                <c:pt idx="1716">
                  <c:v>-2.7205119999999998</c:v>
                </c:pt>
                <c:pt idx="1717">
                  <c:v>-2.9705680000000001</c:v>
                </c:pt>
                <c:pt idx="1718">
                  <c:v>-3.0353729999999999</c:v>
                </c:pt>
                <c:pt idx="1719">
                  <c:v>-2.8697629999999998</c:v>
                </c:pt>
                <c:pt idx="1720">
                  <c:v>-2.85446</c:v>
                </c:pt>
                <c:pt idx="1721">
                  <c:v>-2.9716670000000001</c:v>
                </c:pt>
                <c:pt idx="1722">
                  <c:v>-2.8343159999999998</c:v>
                </c:pt>
                <c:pt idx="1723">
                  <c:v>-2.8934099999999998</c:v>
                </c:pt>
                <c:pt idx="1724">
                  <c:v>-3.0582069999999999</c:v>
                </c:pt>
                <c:pt idx="1725">
                  <c:v>-3.0826889999999998</c:v>
                </c:pt>
                <c:pt idx="1726">
                  <c:v>-3.1088809999999998</c:v>
                </c:pt>
                <c:pt idx="1727">
                  <c:v>-3.3352189999999999</c:v>
                </c:pt>
                <c:pt idx="1728">
                  <c:v>-3.4066149999999999</c:v>
                </c:pt>
                <c:pt idx="1729">
                  <c:v>-3.129054</c:v>
                </c:pt>
                <c:pt idx="1730">
                  <c:v>-3.0617350000000001</c:v>
                </c:pt>
                <c:pt idx="1731">
                  <c:v>-3.1549619999999998</c:v>
                </c:pt>
                <c:pt idx="1732">
                  <c:v>-2.8661150000000002</c:v>
                </c:pt>
                <c:pt idx="1733">
                  <c:v>-3.04434</c:v>
                </c:pt>
                <c:pt idx="1734">
                  <c:v>-3.125464</c:v>
                </c:pt>
                <c:pt idx="1735">
                  <c:v>-2.8355640000000002</c:v>
                </c:pt>
                <c:pt idx="1736">
                  <c:v>-2.8749370000000001</c:v>
                </c:pt>
                <c:pt idx="1737">
                  <c:v>-2.8818609999999998</c:v>
                </c:pt>
                <c:pt idx="1738">
                  <c:v>-2.7408920000000001</c:v>
                </c:pt>
                <c:pt idx="1739">
                  <c:v>-2.7214520000000002</c:v>
                </c:pt>
                <c:pt idx="1740">
                  <c:v>-2.762372</c:v>
                </c:pt>
                <c:pt idx="1741">
                  <c:v>-2.842292</c:v>
                </c:pt>
                <c:pt idx="1742">
                  <c:v>-2.9473760000000002</c:v>
                </c:pt>
                <c:pt idx="1743">
                  <c:v>-2.9396100000000001</c:v>
                </c:pt>
                <c:pt idx="1744">
                  <c:v>-2.8726569999999998</c:v>
                </c:pt>
                <c:pt idx="1745">
                  <c:v>-2.90706</c:v>
                </c:pt>
                <c:pt idx="1746">
                  <c:v>-2.7880159999999998</c:v>
                </c:pt>
                <c:pt idx="1747">
                  <c:v>-2.7239969999999998</c:v>
                </c:pt>
                <c:pt idx="1748">
                  <c:v>-2.813828</c:v>
                </c:pt>
                <c:pt idx="1749">
                  <c:v>-2.9264559999999999</c:v>
                </c:pt>
                <c:pt idx="1750">
                  <c:v>-2.8510740000000001</c:v>
                </c:pt>
                <c:pt idx="1751">
                  <c:v>-2.6129120000000001</c:v>
                </c:pt>
                <c:pt idx="1752">
                  <c:v>-2.9508740000000002</c:v>
                </c:pt>
                <c:pt idx="1753">
                  <c:v>-2.9223789999999998</c:v>
                </c:pt>
                <c:pt idx="1754">
                  <c:v>-2.7852679999999999</c:v>
                </c:pt>
                <c:pt idx="1755">
                  <c:v>-2.9112260000000001</c:v>
                </c:pt>
                <c:pt idx="1756">
                  <c:v>-2.7777050000000001</c:v>
                </c:pt>
                <c:pt idx="1757">
                  <c:v>-2.7051759999999998</c:v>
                </c:pt>
                <c:pt idx="1758">
                  <c:v>-2.6586189999999998</c:v>
                </c:pt>
                <c:pt idx="1759">
                  <c:v>-2.4871599999999998</c:v>
                </c:pt>
                <c:pt idx="1760">
                  <c:v>-2.448534</c:v>
                </c:pt>
                <c:pt idx="1761">
                  <c:v>-2.6782020000000002</c:v>
                </c:pt>
                <c:pt idx="1762">
                  <c:v>-2.792929</c:v>
                </c:pt>
                <c:pt idx="1763">
                  <c:v>-2.724345</c:v>
                </c:pt>
                <c:pt idx="1764">
                  <c:v>-2.8295889999999999</c:v>
                </c:pt>
                <c:pt idx="1765">
                  <c:v>-2.957843</c:v>
                </c:pt>
                <c:pt idx="1766">
                  <c:v>-2.7687900000000001</c:v>
                </c:pt>
                <c:pt idx="1767">
                  <c:v>-2.6074830000000002</c:v>
                </c:pt>
                <c:pt idx="1768">
                  <c:v>-2.6495419999999998</c:v>
                </c:pt>
                <c:pt idx="1769">
                  <c:v>-2.5944790000000002</c:v>
                </c:pt>
                <c:pt idx="1770">
                  <c:v>-2.4905279999999999</c:v>
                </c:pt>
                <c:pt idx="1771">
                  <c:v>-2.5581070000000001</c:v>
                </c:pt>
                <c:pt idx="1772">
                  <c:v>-2.515288</c:v>
                </c:pt>
                <c:pt idx="1773">
                  <c:v>-2.4861610000000001</c:v>
                </c:pt>
                <c:pt idx="1774">
                  <c:v>-2.5965180000000001</c:v>
                </c:pt>
                <c:pt idx="1775">
                  <c:v>-2.5160149999999999</c:v>
                </c:pt>
                <c:pt idx="1776">
                  <c:v>-2.3354360000000001</c:v>
                </c:pt>
                <c:pt idx="1777">
                  <c:v>-2.2266439999999998</c:v>
                </c:pt>
                <c:pt idx="1778">
                  <c:v>-2.2170930000000002</c:v>
                </c:pt>
                <c:pt idx="1779">
                  <c:v>-2.3283619999999998</c:v>
                </c:pt>
                <c:pt idx="1780">
                  <c:v>-2.307998</c:v>
                </c:pt>
                <c:pt idx="1781">
                  <c:v>-2.2241529999999998</c:v>
                </c:pt>
                <c:pt idx="1782">
                  <c:v>-2.305501</c:v>
                </c:pt>
                <c:pt idx="1783">
                  <c:v>-2.2735609999999999</c:v>
                </c:pt>
                <c:pt idx="1784">
                  <c:v>-2.2538550000000002</c:v>
                </c:pt>
                <c:pt idx="1785">
                  <c:v>-2.3727839999999998</c:v>
                </c:pt>
                <c:pt idx="1786">
                  <c:v>-2.3684280000000002</c:v>
                </c:pt>
                <c:pt idx="1787">
                  <c:v>-2.165718</c:v>
                </c:pt>
                <c:pt idx="1788">
                  <c:v>-2.2572969999999999</c:v>
                </c:pt>
                <c:pt idx="1789">
                  <c:v>-2.4316019999999998</c:v>
                </c:pt>
                <c:pt idx="1790">
                  <c:v>-2.3953229999999999</c:v>
                </c:pt>
                <c:pt idx="1791">
                  <c:v>-2.3137889999999999</c:v>
                </c:pt>
                <c:pt idx="1792">
                  <c:v>-2.2727140000000001</c:v>
                </c:pt>
                <c:pt idx="1793">
                  <c:v>-2.4501729999999999</c:v>
                </c:pt>
                <c:pt idx="1794">
                  <c:v>-2.4114270000000002</c:v>
                </c:pt>
                <c:pt idx="1795">
                  <c:v>-2.1948089999999998</c:v>
                </c:pt>
                <c:pt idx="1796">
                  <c:v>-2.209857</c:v>
                </c:pt>
                <c:pt idx="1797">
                  <c:v>-2.342641</c:v>
                </c:pt>
                <c:pt idx="1798">
                  <c:v>-2.2753380000000001</c:v>
                </c:pt>
                <c:pt idx="1799">
                  <c:v>-2.1039479999999999</c:v>
                </c:pt>
                <c:pt idx="1800">
                  <c:v>-2.2069770000000002</c:v>
                </c:pt>
                <c:pt idx="1801">
                  <c:v>-2.3875030000000002</c:v>
                </c:pt>
                <c:pt idx="1802">
                  <c:v>-2.3522820000000002</c:v>
                </c:pt>
                <c:pt idx="1803">
                  <c:v>-2.2726609999999998</c:v>
                </c:pt>
                <c:pt idx="1804">
                  <c:v>-2.2308599999999998</c:v>
                </c:pt>
                <c:pt idx="1805">
                  <c:v>-2.2731650000000001</c:v>
                </c:pt>
                <c:pt idx="1806">
                  <c:v>-2.1563620000000001</c:v>
                </c:pt>
                <c:pt idx="1807">
                  <c:v>-2.1588940000000001</c:v>
                </c:pt>
                <c:pt idx="1808">
                  <c:v>-2.353669</c:v>
                </c:pt>
                <c:pt idx="1809">
                  <c:v>-2.3243119999999999</c:v>
                </c:pt>
                <c:pt idx="1810">
                  <c:v>-2.178922</c:v>
                </c:pt>
                <c:pt idx="1811">
                  <c:v>-2.0314030000000001</c:v>
                </c:pt>
                <c:pt idx="1812">
                  <c:v>-2.1446139999999998</c:v>
                </c:pt>
                <c:pt idx="1813">
                  <c:v>-2.397796</c:v>
                </c:pt>
                <c:pt idx="1814">
                  <c:v>-2.266877</c:v>
                </c:pt>
                <c:pt idx="1815">
                  <c:v>-2.2067969999999999</c:v>
                </c:pt>
                <c:pt idx="1816">
                  <c:v>-2.306667</c:v>
                </c:pt>
                <c:pt idx="1817">
                  <c:v>-2.2269549999999998</c:v>
                </c:pt>
                <c:pt idx="1818">
                  <c:v>-2.184984</c:v>
                </c:pt>
                <c:pt idx="1819">
                  <c:v>-2.2270889999999999</c:v>
                </c:pt>
                <c:pt idx="1820">
                  <c:v>-2.382733</c:v>
                </c:pt>
                <c:pt idx="1821">
                  <c:v>-2.4027669999999999</c:v>
                </c:pt>
                <c:pt idx="1822">
                  <c:v>-2.1522779999999999</c:v>
                </c:pt>
                <c:pt idx="1823">
                  <c:v>-2.0858680000000001</c:v>
                </c:pt>
                <c:pt idx="1824">
                  <c:v>-2.0360740000000002</c:v>
                </c:pt>
                <c:pt idx="1825">
                  <c:v>-2.1347179999999999</c:v>
                </c:pt>
                <c:pt idx="1826">
                  <c:v>-2.3116059999999998</c:v>
                </c:pt>
                <c:pt idx="1827">
                  <c:v>-2.5487109999999999</c:v>
                </c:pt>
                <c:pt idx="1828">
                  <c:v>-2.5530300000000001</c:v>
                </c:pt>
                <c:pt idx="1829">
                  <c:v>-2.4458959999999998</c:v>
                </c:pt>
                <c:pt idx="1830">
                  <c:v>-2.601388</c:v>
                </c:pt>
                <c:pt idx="1831">
                  <c:v>-2.4949919999999999</c:v>
                </c:pt>
                <c:pt idx="1832">
                  <c:v>-2.5857269999999999</c:v>
                </c:pt>
                <c:pt idx="1833">
                  <c:v>-2.9135339999999998</c:v>
                </c:pt>
                <c:pt idx="1834">
                  <c:v>-2.9753120000000002</c:v>
                </c:pt>
                <c:pt idx="1835">
                  <c:v>-2.9052190000000002</c:v>
                </c:pt>
                <c:pt idx="1836">
                  <c:v>-2.7538649999999998</c:v>
                </c:pt>
                <c:pt idx="1837">
                  <c:v>-2.6855190000000002</c:v>
                </c:pt>
                <c:pt idx="1838">
                  <c:v>-2.7837100000000001</c:v>
                </c:pt>
                <c:pt idx="1839">
                  <c:v>-2.9080789999999999</c:v>
                </c:pt>
                <c:pt idx="1840">
                  <c:v>-3.0514579999999998</c:v>
                </c:pt>
                <c:pt idx="1841">
                  <c:v>-2.9423059999999999</c:v>
                </c:pt>
                <c:pt idx="1842">
                  <c:v>-2.6266319999999999</c:v>
                </c:pt>
                <c:pt idx="1843">
                  <c:v>-2.5902810000000001</c:v>
                </c:pt>
                <c:pt idx="1844">
                  <c:v>-2.6889940000000001</c:v>
                </c:pt>
                <c:pt idx="1845">
                  <c:v>-2.5301939999999998</c:v>
                </c:pt>
                <c:pt idx="1846">
                  <c:v>-2.4352550000000002</c:v>
                </c:pt>
                <c:pt idx="1847">
                  <c:v>-2.5709849999999999</c:v>
                </c:pt>
                <c:pt idx="1848">
                  <c:v>-2.6312660000000001</c:v>
                </c:pt>
                <c:pt idx="1849">
                  <c:v>-2.7993649999999999</c:v>
                </c:pt>
                <c:pt idx="1850">
                  <c:v>-2.8931230000000001</c:v>
                </c:pt>
                <c:pt idx="1851">
                  <c:v>-2.688304</c:v>
                </c:pt>
                <c:pt idx="1852">
                  <c:v>-2.6524549999999998</c:v>
                </c:pt>
                <c:pt idx="1853">
                  <c:v>-2.6295009999999999</c:v>
                </c:pt>
                <c:pt idx="1854">
                  <c:v>-2.886333</c:v>
                </c:pt>
                <c:pt idx="1855">
                  <c:v>-3.0944569999999998</c:v>
                </c:pt>
                <c:pt idx="1856">
                  <c:v>-2.9578259999999998</c:v>
                </c:pt>
                <c:pt idx="1857">
                  <c:v>-2.8338670000000001</c:v>
                </c:pt>
                <c:pt idx="1858">
                  <c:v>-2.8412000000000002</c:v>
                </c:pt>
                <c:pt idx="1859">
                  <c:v>-2.7758099999999999</c:v>
                </c:pt>
                <c:pt idx="1860">
                  <c:v>-2.7411479999999999</c:v>
                </c:pt>
                <c:pt idx="1861">
                  <c:v>-2.6469819999999999</c:v>
                </c:pt>
                <c:pt idx="1862">
                  <c:v>-2.5227879999999998</c:v>
                </c:pt>
                <c:pt idx="1863">
                  <c:v>-2.7115279999999999</c:v>
                </c:pt>
                <c:pt idx="1864">
                  <c:v>-2.5995949999999999</c:v>
                </c:pt>
                <c:pt idx="1865">
                  <c:v>-2.4013260000000001</c:v>
                </c:pt>
                <c:pt idx="1866">
                  <c:v>-2.5504869999999999</c:v>
                </c:pt>
                <c:pt idx="1867">
                  <c:v>-2.8211210000000002</c:v>
                </c:pt>
                <c:pt idx="1868">
                  <c:v>-2.9711430000000001</c:v>
                </c:pt>
                <c:pt idx="1869">
                  <c:v>-2.8666140000000002</c:v>
                </c:pt>
                <c:pt idx="1870">
                  <c:v>-2.8954409999999999</c:v>
                </c:pt>
                <c:pt idx="1871">
                  <c:v>-2.7822089999999999</c:v>
                </c:pt>
                <c:pt idx="1872">
                  <c:v>-2.7298619999999998</c:v>
                </c:pt>
                <c:pt idx="1873">
                  <c:v>-2.8319580000000002</c:v>
                </c:pt>
                <c:pt idx="1874">
                  <c:v>-2.821952</c:v>
                </c:pt>
                <c:pt idx="1875">
                  <c:v>-3.091002</c:v>
                </c:pt>
                <c:pt idx="1876">
                  <c:v>-3.0425270000000002</c:v>
                </c:pt>
                <c:pt idx="1877">
                  <c:v>-2.7646679999999999</c:v>
                </c:pt>
                <c:pt idx="1878">
                  <c:v>-2.7517399999999999</c:v>
                </c:pt>
                <c:pt idx="1879">
                  <c:v>-3.0083299999999999</c:v>
                </c:pt>
                <c:pt idx="1880">
                  <c:v>-3.0106169999999999</c:v>
                </c:pt>
                <c:pt idx="1881">
                  <c:v>-2.753784</c:v>
                </c:pt>
                <c:pt idx="1882">
                  <c:v>-2.9540540000000002</c:v>
                </c:pt>
                <c:pt idx="1883">
                  <c:v>-2.8526449999999999</c:v>
                </c:pt>
                <c:pt idx="1884">
                  <c:v>-2.5323579999999999</c:v>
                </c:pt>
                <c:pt idx="1885">
                  <c:v>-2.4792610000000002</c:v>
                </c:pt>
                <c:pt idx="1886">
                  <c:v>-2.4959829999999998</c:v>
                </c:pt>
                <c:pt idx="1887">
                  <c:v>-2.2789959999999998</c:v>
                </c:pt>
                <c:pt idx="1888">
                  <c:v>-2.4152360000000002</c:v>
                </c:pt>
                <c:pt idx="1889">
                  <c:v>-2.8016030000000001</c:v>
                </c:pt>
                <c:pt idx="1890">
                  <c:v>-2.4023140000000001</c:v>
                </c:pt>
                <c:pt idx="1891">
                  <c:v>-2.190448</c:v>
                </c:pt>
                <c:pt idx="1892">
                  <c:v>-2.3915790000000001</c:v>
                </c:pt>
                <c:pt idx="1893">
                  <c:v>-2.6882679999999999</c:v>
                </c:pt>
                <c:pt idx="1894">
                  <c:v>-2.7141410000000001</c:v>
                </c:pt>
                <c:pt idx="1895">
                  <c:v>-2.678194</c:v>
                </c:pt>
                <c:pt idx="1896">
                  <c:v>-2.9389280000000002</c:v>
                </c:pt>
                <c:pt idx="1897">
                  <c:v>-3.1648900000000002</c:v>
                </c:pt>
                <c:pt idx="1898">
                  <c:v>-2.7712050000000001</c:v>
                </c:pt>
                <c:pt idx="1899">
                  <c:v>-2.8556849999999998</c:v>
                </c:pt>
                <c:pt idx="1900">
                  <c:v>-3.167163</c:v>
                </c:pt>
                <c:pt idx="1901">
                  <c:v>-2.8829220000000002</c:v>
                </c:pt>
                <c:pt idx="1902">
                  <c:v>-2.7413110000000001</c:v>
                </c:pt>
                <c:pt idx="1903">
                  <c:v>-2.6627299999999998</c:v>
                </c:pt>
                <c:pt idx="1904">
                  <c:v>-2.8126470000000001</c:v>
                </c:pt>
                <c:pt idx="1905">
                  <c:v>-2.682922</c:v>
                </c:pt>
                <c:pt idx="1906">
                  <c:v>-2.6119810000000001</c:v>
                </c:pt>
                <c:pt idx="1907">
                  <c:v>-2.6283970000000001</c:v>
                </c:pt>
                <c:pt idx="1908">
                  <c:v>-2.7662249999999999</c:v>
                </c:pt>
                <c:pt idx="1909">
                  <c:v>-2.8343850000000002</c:v>
                </c:pt>
                <c:pt idx="1910">
                  <c:v>-2.6760830000000002</c:v>
                </c:pt>
                <c:pt idx="1911">
                  <c:v>-2.862212</c:v>
                </c:pt>
                <c:pt idx="1912">
                  <c:v>-3.0995819999999998</c:v>
                </c:pt>
                <c:pt idx="1913">
                  <c:v>-3.1080380000000001</c:v>
                </c:pt>
                <c:pt idx="1914">
                  <c:v>-2.999228</c:v>
                </c:pt>
                <c:pt idx="1915">
                  <c:v>-3.0900449999999999</c:v>
                </c:pt>
                <c:pt idx="1916">
                  <c:v>-3.3523149999999999</c:v>
                </c:pt>
                <c:pt idx="1917">
                  <c:v>-3.2414390000000002</c:v>
                </c:pt>
                <c:pt idx="1918">
                  <c:v>-3.0023879999999998</c:v>
                </c:pt>
                <c:pt idx="1919">
                  <c:v>-3.0806529999999999</c:v>
                </c:pt>
                <c:pt idx="1920">
                  <c:v>-3.1207980000000002</c:v>
                </c:pt>
                <c:pt idx="1921">
                  <c:v>-2.9418790000000001</c:v>
                </c:pt>
                <c:pt idx="1922">
                  <c:v>-2.912258</c:v>
                </c:pt>
                <c:pt idx="1923">
                  <c:v>-2.8165239999999998</c:v>
                </c:pt>
                <c:pt idx="1924">
                  <c:v>-2.6200459999999999</c:v>
                </c:pt>
                <c:pt idx="1925">
                  <c:v>-2.6289440000000002</c:v>
                </c:pt>
                <c:pt idx="1926">
                  <c:v>-2.7483219999999999</c:v>
                </c:pt>
                <c:pt idx="1927">
                  <c:v>-2.7985500000000001</c:v>
                </c:pt>
                <c:pt idx="1928">
                  <c:v>-2.4140730000000001</c:v>
                </c:pt>
                <c:pt idx="1929">
                  <c:v>-2.6027520000000002</c:v>
                </c:pt>
                <c:pt idx="1930">
                  <c:v>-2.8144840000000002</c:v>
                </c:pt>
                <c:pt idx="1931">
                  <c:v>-2.5258060000000002</c:v>
                </c:pt>
                <c:pt idx="1932">
                  <c:v>-2.63672</c:v>
                </c:pt>
                <c:pt idx="1933">
                  <c:v>-2.7544360000000001</c:v>
                </c:pt>
                <c:pt idx="1934">
                  <c:v>-2.8880110000000001</c:v>
                </c:pt>
                <c:pt idx="1935">
                  <c:v>-3.2407569999999999</c:v>
                </c:pt>
                <c:pt idx="1936">
                  <c:v>-3.1138409999999999</c:v>
                </c:pt>
                <c:pt idx="1937">
                  <c:v>-2.8051840000000001</c:v>
                </c:pt>
                <c:pt idx="1938">
                  <c:v>-2.9145219999999998</c:v>
                </c:pt>
                <c:pt idx="1939">
                  <c:v>-3.1076640000000002</c:v>
                </c:pt>
                <c:pt idx="1940">
                  <c:v>-3.0844360000000002</c:v>
                </c:pt>
                <c:pt idx="1941">
                  <c:v>-3.0193289999999999</c:v>
                </c:pt>
                <c:pt idx="1942">
                  <c:v>-2.9898750000000001</c:v>
                </c:pt>
                <c:pt idx="1943">
                  <c:v>-2.9782649999999999</c:v>
                </c:pt>
                <c:pt idx="1944">
                  <c:v>-2.9029600000000002</c:v>
                </c:pt>
                <c:pt idx="1945">
                  <c:v>-2.52142</c:v>
                </c:pt>
                <c:pt idx="1946">
                  <c:v>-2.5711379999999999</c:v>
                </c:pt>
                <c:pt idx="1947">
                  <c:v>-2.8403450000000001</c:v>
                </c:pt>
                <c:pt idx="1948">
                  <c:v>-2.5015909999999999</c:v>
                </c:pt>
                <c:pt idx="1949">
                  <c:v>-2.5166629999999999</c:v>
                </c:pt>
                <c:pt idx="1950">
                  <c:v>-2.9764550000000001</c:v>
                </c:pt>
                <c:pt idx="1951">
                  <c:v>-3.0916199999999998</c:v>
                </c:pt>
                <c:pt idx="1952">
                  <c:v>-2.9713419999999999</c:v>
                </c:pt>
                <c:pt idx="1953">
                  <c:v>-2.7879119999999999</c:v>
                </c:pt>
                <c:pt idx="1954">
                  <c:v>-2.8955609999999998</c:v>
                </c:pt>
                <c:pt idx="1955">
                  <c:v>-3.0873179999999998</c:v>
                </c:pt>
                <c:pt idx="1956">
                  <c:v>-2.8613</c:v>
                </c:pt>
                <c:pt idx="1957">
                  <c:v>-2.7487680000000001</c:v>
                </c:pt>
                <c:pt idx="1958">
                  <c:v>-2.8144990000000001</c:v>
                </c:pt>
                <c:pt idx="1959">
                  <c:v>-2.913332</c:v>
                </c:pt>
                <c:pt idx="1960">
                  <c:v>-2.760443</c:v>
                </c:pt>
                <c:pt idx="1961">
                  <c:v>-2.5446</c:v>
                </c:pt>
                <c:pt idx="1962">
                  <c:v>-2.6148150000000001</c:v>
                </c:pt>
                <c:pt idx="1963">
                  <c:v>-3.3192029999999999</c:v>
                </c:pt>
                <c:pt idx="1964">
                  <c:v>-3.092733</c:v>
                </c:pt>
                <c:pt idx="1965">
                  <c:v>-2.1959590000000002</c:v>
                </c:pt>
                <c:pt idx="1966">
                  <c:v>-2.3678530000000002</c:v>
                </c:pt>
                <c:pt idx="1967">
                  <c:v>-2.693635</c:v>
                </c:pt>
                <c:pt idx="1968">
                  <c:v>-2.7189429999999999</c:v>
                </c:pt>
                <c:pt idx="1969">
                  <c:v>-2.601054</c:v>
                </c:pt>
                <c:pt idx="1970">
                  <c:v>-2.669743</c:v>
                </c:pt>
                <c:pt idx="1971">
                  <c:v>-2.7717969999999998</c:v>
                </c:pt>
                <c:pt idx="1972">
                  <c:v>-2.8977059999999999</c:v>
                </c:pt>
                <c:pt idx="1973">
                  <c:v>-2.9764279999999999</c:v>
                </c:pt>
                <c:pt idx="1974">
                  <c:v>-2.9663390000000001</c:v>
                </c:pt>
                <c:pt idx="1975">
                  <c:v>-2.9081480000000002</c:v>
                </c:pt>
                <c:pt idx="1976">
                  <c:v>-2.6132339999999998</c:v>
                </c:pt>
                <c:pt idx="1977">
                  <c:v>-2.7925550000000001</c:v>
                </c:pt>
                <c:pt idx="1978">
                  <c:v>-3.0791240000000002</c:v>
                </c:pt>
                <c:pt idx="1979">
                  <c:v>-2.840376</c:v>
                </c:pt>
                <c:pt idx="1980">
                  <c:v>-2.720434</c:v>
                </c:pt>
                <c:pt idx="1981">
                  <c:v>-2.7869160000000002</c:v>
                </c:pt>
                <c:pt idx="1982">
                  <c:v>-2.8156840000000001</c:v>
                </c:pt>
                <c:pt idx="1983">
                  <c:v>-2.6953960000000001</c:v>
                </c:pt>
                <c:pt idx="1984">
                  <c:v>-2.6260430000000001</c:v>
                </c:pt>
                <c:pt idx="1985">
                  <c:v>-2.7830819999999998</c:v>
                </c:pt>
                <c:pt idx="1986">
                  <c:v>-2.9291670000000001</c:v>
                </c:pt>
                <c:pt idx="1987">
                  <c:v>-2.8803730000000001</c:v>
                </c:pt>
                <c:pt idx="1988">
                  <c:v>-2.862587</c:v>
                </c:pt>
                <c:pt idx="1989">
                  <c:v>-2.925719</c:v>
                </c:pt>
                <c:pt idx="1990">
                  <c:v>-3.0325549999999999</c:v>
                </c:pt>
                <c:pt idx="1991">
                  <c:v>-3.3050579999999998</c:v>
                </c:pt>
                <c:pt idx="1992">
                  <c:v>-3.198912</c:v>
                </c:pt>
                <c:pt idx="1993">
                  <c:v>-2.9652189999999998</c:v>
                </c:pt>
                <c:pt idx="1994">
                  <c:v>-2.909675</c:v>
                </c:pt>
                <c:pt idx="1995">
                  <c:v>-2.9452229999999999</c:v>
                </c:pt>
                <c:pt idx="1996">
                  <c:v>-2.956642</c:v>
                </c:pt>
                <c:pt idx="1997">
                  <c:v>-2.895947</c:v>
                </c:pt>
                <c:pt idx="1998">
                  <c:v>-2.9936389999999999</c:v>
                </c:pt>
                <c:pt idx="1999">
                  <c:v>-2.8416670000000002</c:v>
                </c:pt>
                <c:pt idx="2000">
                  <c:v>-2.7580070000000001</c:v>
                </c:pt>
                <c:pt idx="2001">
                  <c:v>-3.0413920000000001</c:v>
                </c:pt>
                <c:pt idx="2002">
                  <c:v>-2.9186299999999998</c:v>
                </c:pt>
                <c:pt idx="2003">
                  <c:v>-2.5896210000000002</c:v>
                </c:pt>
                <c:pt idx="2004">
                  <c:v>-2.8056760000000001</c:v>
                </c:pt>
                <c:pt idx="2005">
                  <c:v>-2.838775</c:v>
                </c:pt>
                <c:pt idx="2006">
                  <c:v>-2.8578990000000002</c:v>
                </c:pt>
                <c:pt idx="2007">
                  <c:v>-2.7969879999999998</c:v>
                </c:pt>
                <c:pt idx="2008">
                  <c:v>-2.6985619999999999</c:v>
                </c:pt>
                <c:pt idx="2009">
                  <c:v>-3.0443310000000001</c:v>
                </c:pt>
                <c:pt idx="2010">
                  <c:v>-3.0972469999999999</c:v>
                </c:pt>
                <c:pt idx="2011">
                  <c:v>-2.941195</c:v>
                </c:pt>
                <c:pt idx="2012">
                  <c:v>-3.137953</c:v>
                </c:pt>
                <c:pt idx="2013">
                  <c:v>-3.114935</c:v>
                </c:pt>
                <c:pt idx="2014">
                  <c:v>-2.9834559999999999</c:v>
                </c:pt>
                <c:pt idx="2015">
                  <c:v>-3.1194160000000002</c:v>
                </c:pt>
                <c:pt idx="2016">
                  <c:v>-3.1293470000000001</c:v>
                </c:pt>
                <c:pt idx="2017">
                  <c:v>-2.871454</c:v>
                </c:pt>
                <c:pt idx="2018">
                  <c:v>-2.8004709999999999</c:v>
                </c:pt>
                <c:pt idx="2019">
                  <c:v>-2.950472</c:v>
                </c:pt>
                <c:pt idx="2020">
                  <c:v>-2.9571190000000001</c:v>
                </c:pt>
                <c:pt idx="2021">
                  <c:v>-3.02847</c:v>
                </c:pt>
                <c:pt idx="2022">
                  <c:v>-3.0005809999999999</c:v>
                </c:pt>
                <c:pt idx="2023">
                  <c:v>-2.9223620000000001</c:v>
                </c:pt>
                <c:pt idx="2024">
                  <c:v>-3.0145460000000002</c:v>
                </c:pt>
                <c:pt idx="2025">
                  <c:v>-3.1316790000000001</c:v>
                </c:pt>
                <c:pt idx="2026">
                  <c:v>-3.2023139999999999</c:v>
                </c:pt>
                <c:pt idx="2027">
                  <c:v>-3.048324</c:v>
                </c:pt>
                <c:pt idx="2028">
                  <c:v>-2.974116</c:v>
                </c:pt>
                <c:pt idx="2029">
                  <c:v>-3.2016779999999998</c:v>
                </c:pt>
                <c:pt idx="2030">
                  <c:v>-3.0550730000000001</c:v>
                </c:pt>
                <c:pt idx="2031">
                  <c:v>-2.8489040000000001</c:v>
                </c:pt>
                <c:pt idx="2032">
                  <c:v>-2.9314049999999998</c:v>
                </c:pt>
                <c:pt idx="2033">
                  <c:v>-2.8294410000000001</c:v>
                </c:pt>
                <c:pt idx="2034">
                  <c:v>-2.9713500000000002</c:v>
                </c:pt>
                <c:pt idx="2035">
                  <c:v>-3.174865</c:v>
                </c:pt>
                <c:pt idx="2036">
                  <c:v>-3.0224929999999999</c:v>
                </c:pt>
                <c:pt idx="2037">
                  <c:v>-3.0165600000000001</c:v>
                </c:pt>
                <c:pt idx="2038">
                  <c:v>-3.0124209999999998</c:v>
                </c:pt>
                <c:pt idx="2039">
                  <c:v>-2.8757380000000001</c:v>
                </c:pt>
                <c:pt idx="2040">
                  <c:v>-2.8651279999999999</c:v>
                </c:pt>
                <c:pt idx="2041">
                  <c:v>-2.7816360000000002</c:v>
                </c:pt>
                <c:pt idx="2042">
                  <c:v>-2.6596169999999999</c:v>
                </c:pt>
                <c:pt idx="2043">
                  <c:v>-2.8500519999999998</c:v>
                </c:pt>
                <c:pt idx="2044">
                  <c:v>-2.9411399999999999</c:v>
                </c:pt>
                <c:pt idx="2045">
                  <c:v>-2.8586580000000001</c:v>
                </c:pt>
                <c:pt idx="2046">
                  <c:v>-2.9513199999999999</c:v>
                </c:pt>
                <c:pt idx="2047">
                  <c:v>-2.8663020000000001</c:v>
                </c:pt>
                <c:pt idx="2048">
                  <c:v>-2.7562389999999999</c:v>
                </c:pt>
                <c:pt idx="2049">
                  <c:v>-2.8940619999999999</c:v>
                </c:pt>
                <c:pt idx="2050">
                  <c:v>-2.964712</c:v>
                </c:pt>
                <c:pt idx="2051">
                  <c:v>-2.8039689999999999</c:v>
                </c:pt>
                <c:pt idx="2052">
                  <c:v>-2.718982</c:v>
                </c:pt>
                <c:pt idx="2053">
                  <c:v>-2.7995320000000001</c:v>
                </c:pt>
                <c:pt idx="2054">
                  <c:v>-2.7685010000000001</c:v>
                </c:pt>
                <c:pt idx="2055">
                  <c:v>-2.817142</c:v>
                </c:pt>
                <c:pt idx="2056">
                  <c:v>-2.9078680000000001</c:v>
                </c:pt>
                <c:pt idx="2057">
                  <c:v>-2.8928099999999999</c:v>
                </c:pt>
                <c:pt idx="2058">
                  <c:v>-2.8897140000000001</c:v>
                </c:pt>
                <c:pt idx="2059">
                  <c:v>-2.8232870000000001</c:v>
                </c:pt>
                <c:pt idx="2060">
                  <c:v>-2.9247230000000002</c:v>
                </c:pt>
                <c:pt idx="2061">
                  <c:v>-3.1150769999999999</c:v>
                </c:pt>
                <c:pt idx="2062">
                  <c:v>-3.0259209999999999</c:v>
                </c:pt>
                <c:pt idx="2063">
                  <c:v>-3.05985</c:v>
                </c:pt>
                <c:pt idx="2064">
                  <c:v>-3.2883390000000001</c:v>
                </c:pt>
                <c:pt idx="2065">
                  <c:v>-3.2914560000000002</c:v>
                </c:pt>
                <c:pt idx="2066">
                  <c:v>-3.1106910000000001</c:v>
                </c:pt>
                <c:pt idx="2067">
                  <c:v>-3.091771</c:v>
                </c:pt>
                <c:pt idx="2068">
                  <c:v>-3.149248</c:v>
                </c:pt>
                <c:pt idx="2069">
                  <c:v>-3.1154139999999999</c:v>
                </c:pt>
                <c:pt idx="2070">
                  <c:v>-3.0316290000000001</c:v>
                </c:pt>
                <c:pt idx="2071">
                  <c:v>-2.98515</c:v>
                </c:pt>
                <c:pt idx="2072">
                  <c:v>-2.8168639999999998</c:v>
                </c:pt>
                <c:pt idx="2073">
                  <c:v>-2.852249</c:v>
                </c:pt>
                <c:pt idx="2074">
                  <c:v>-2.7849729999999999</c:v>
                </c:pt>
                <c:pt idx="2075">
                  <c:v>-2.5365030000000002</c:v>
                </c:pt>
                <c:pt idx="2076">
                  <c:v>-2.9238050000000002</c:v>
                </c:pt>
                <c:pt idx="2077">
                  <c:v>-2.8453870000000001</c:v>
                </c:pt>
                <c:pt idx="2078">
                  <c:v>-2.6070679999999999</c:v>
                </c:pt>
                <c:pt idx="2079">
                  <c:v>-2.7356729999999998</c:v>
                </c:pt>
                <c:pt idx="2080">
                  <c:v>-2.8635449999999998</c:v>
                </c:pt>
                <c:pt idx="2081">
                  <c:v>-2.9300169999999999</c:v>
                </c:pt>
                <c:pt idx="2082">
                  <c:v>-2.8385729999999998</c:v>
                </c:pt>
                <c:pt idx="2083">
                  <c:v>-2.8605320000000001</c:v>
                </c:pt>
                <c:pt idx="2084">
                  <c:v>-2.8733909999999998</c:v>
                </c:pt>
                <c:pt idx="2085">
                  <c:v>-2.9504899999999998</c:v>
                </c:pt>
                <c:pt idx="2086">
                  <c:v>-2.8598370000000002</c:v>
                </c:pt>
                <c:pt idx="2087">
                  <c:v>-2.9527009999999998</c:v>
                </c:pt>
                <c:pt idx="2088">
                  <c:v>-3.0016579999999999</c:v>
                </c:pt>
                <c:pt idx="2089">
                  <c:v>-2.8348550000000001</c:v>
                </c:pt>
                <c:pt idx="2090">
                  <c:v>-2.9487800000000002</c:v>
                </c:pt>
                <c:pt idx="2091">
                  <c:v>-3.0091600000000001</c:v>
                </c:pt>
                <c:pt idx="2092">
                  <c:v>-2.911972</c:v>
                </c:pt>
                <c:pt idx="2093">
                  <c:v>-2.9314119999999999</c:v>
                </c:pt>
                <c:pt idx="2094">
                  <c:v>-3.14466</c:v>
                </c:pt>
                <c:pt idx="2095">
                  <c:v>-3.2674400000000001</c:v>
                </c:pt>
                <c:pt idx="2096">
                  <c:v>-3.1483379999999999</c:v>
                </c:pt>
                <c:pt idx="2097">
                  <c:v>-2.9635159999999998</c:v>
                </c:pt>
                <c:pt idx="2098">
                  <c:v>-3.0688049999999998</c:v>
                </c:pt>
                <c:pt idx="2099">
                  <c:v>-3.1215660000000001</c:v>
                </c:pt>
                <c:pt idx="2100">
                  <c:v>-3.1566290000000001</c:v>
                </c:pt>
                <c:pt idx="2101">
                  <c:v>-3.2476099999999999</c:v>
                </c:pt>
                <c:pt idx="2102">
                  <c:v>-3.239805</c:v>
                </c:pt>
                <c:pt idx="2103">
                  <c:v>-3.4496289999999998</c:v>
                </c:pt>
                <c:pt idx="2104">
                  <c:v>-3.577102</c:v>
                </c:pt>
                <c:pt idx="2105">
                  <c:v>-3.4672990000000001</c:v>
                </c:pt>
                <c:pt idx="2106">
                  <c:v>-3.1556419999999998</c:v>
                </c:pt>
                <c:pt idx="2107">
                  <c:v>-2.8539430000000001</c:v>
                </c:pt>
                <c:pt idx="2108">
                  <c:v>-3.1464379999999998</c:v>
                </c:pt>
                <c:pt idx="2109">
                  <c:v>-3.0793499999999998</c:v>
                </c:pt>
                <c:pt idx="2110">
                  <c:v>-2.7725110000000002</c:v>
                </c:pt>
                <c:pt idx="2111">
                  <c:v>-2.7213370000000001</c:v>
                </c:pt>
                <c:pt idx="2112">
                  <c:v>-2.6701540000000001</c:v>
                </c:pt>
                <c:pt idx="2113">
                  <c:v>-2.6839759999999999</c:v>
                </c:pt>
                <c:pt idx="2114">
                  <c:v>-2.6726139999999998</c:v>
                </c:pt>
                <c:pt idx="2115">
                  <c:v>-2.6485880000000002</c:v>
                </c:pt>
                <c:pt idx="2116">
                  <c:v>-2.7593610000000002</c:v>
                </c:pt>
                <c:pt idx="2117">
                  <c:v>-2.8760530000000002</c:v>
                </c:pt>
                <c:pt idx="2118">
                  <c:v>-2.8067299999999999</c:v>
                </c:pt>
                <c:pt idx="2119">
                  <c:v>-2.77095</c:v>
                </c:pt>
                <c:pt idx="2120">
                  <c:v>-2.7508119999999998</c:v>
                </c:pt>
                <c:pt idx="2121">
                  <c:v>-3.0767030000000002</c:v>
                </c:pt>
                <c:pt idx="2122">
                  <c:v>-3.0537320000000001</c:v>
                </c:pt>
                <c:pt idx="2123">
                  <c:v>-2.8593839999999999</c:v>
                </c:pt>
                <c:pt idx="2124">
                  <c:v>-2.9611100000000001</c:v>
                </c:pt>
                <c:pt idx="2125">
                  <c:v>-2.9504519999999999</c:v>
                </c:pt>
                <c:pt idx="2126">
                  <c:v>-3.1535160000000002</c:v>
                </c:pt>
                <c:pt idx="2127">
                  <c:v>-2.9305219999999998</c:v>
                </c:pt>
                <c:pt idx="2128">
                  <c:v>-2.7553510000000001</c:v>
                </c:pt>
                <c:pt idx="2129">
                  <c:v>-2.7830759999999999</c:v>
                </c:pt>
                <c:pt idx="2130">
                  <c:v>-2.5863529999999999</c:v>
                </c:pt>
                <c:pt idx="2131">
                  <c:v>-2.5312950000000001</c:v>
                </c:pt>
                <c:pt idx="2132">
                  <c:v>-2.6179999999999999</c:v>
                </c:pt>
                <c:pt idx="2133">
                  <c:v>-2.7154289999999999</c:v>
                </c:pt>
                <c:pt idx="2134">
                  <c:v>-2.7640669999999998</c:v>
                </c:pt>
                <c:pt idx="2135">
                  <c:v>-2.6528659999999999</c:v>
                </c:pt>
                <c:pt idx="2136">
                  <c:v>-2.5939380000000001</c:v>
                </c:pt>
                <c:pt idx="2137">
                  <c:v>-2.8239429999999999</c:v>
                </c:pt>
                <c:pt idx="2138">
                  <c:v>-2.8805179999999999</c:v>
                </c:pt>
                <c:pt idx="2139">
                  <c:v>-2.7174079999999998</c:v>
                </c:pt>
                <c:pt idx="2140">
                  <c:v>-2.7029010000000002</c:v>
                </c:pt>
                <c:pt idx="2141">
                  <c:v>-2.8260610000000002</c:v>
                </c:pt>
                <c:pt idx="2142">
                  <c:v>-2.6906530000000002</c:v>
                </c:pt>
                <c:pt idx="2143">
                  <c:v>-2.7558959999999999</c:v>
                </c:pt>
                <c:pt idx="2144">
                  <c:v>-2.8543069999999999</c:v>
                </c:pt>
                <c:pt idx="2145">
                  <c:v>-2.709803</c:v>
                </c:pt>
                <c:pt idx="2146">
                  <c:v>-2.5649649999999999</c:v>
                </c:pt>
                <c:pt idx="2147">
                  <c:v>-2.5467140000000001</c:v>
                </c:pt>
                <c:pt idx="2148">
                  <c:v>-2.5907710000000002</c:v>
                </c:pt>
                <c:pt idx="2149">
                  <c:v>-2.2655219999999998</c:v>
                </c:pt>
                <c:pt idx="2150">
                  <c:v>-2.2116730000000002</c:v>
                </c:pt>
                <c:pt idx="2151">
                  <c:v>-2.28715</c:v>
                </c:pt>
                <c:pt idx="2152">
                  <c:v>-2.2425989999999998</c:v>
                </c:pt>
                <c:pt idx="2153">
                  <c:v>-2.200583</c:v>
                </c:pt>
                <c:pt idx="2154">
                  <c:v>-2.2330860000000001</c:v>
                </c:pt>
                <c:pt idx="2155">
                  <c:v>-2.3711509999999998</c:v>
                </c:pt>
                <c:pt idx="2156">
                  <c:v>-2.1707879999999999</c:v>
                </c:pt>
                <c:pt idx="2157">
                  <c:v>-2.0581480000000001</c:v>
                </c:pt>
                <c:pt idx="2158">
                  <c:v>-2.116371</c:v>
                </c:pt>
                <c:pt idx="2159">
                  <c:v>-2.4745349999999999</c:v>
                </c:pt>
                <c:pt idx="2160">
                  <c:v>-2.667675</c:v>
                </c:pt>
                <c:pt idx="2161">
                  <c:v>-2.6615389999999999</c:v>
                </c:pt>
                <c:pt idx="2162">
                  <c:v>-2.815474</c:v>
                </c:pt>
                <c:pt idx="2163">
                  <c:v>-2.5826410000000002</c:v>
                </c:pt>
                <c:pt idx="2164">
                  <c:v>-2.3393700000000002</c:v>
                </c:pt>
                <c:pt idx="2165">
                  <c:v>-2.5428760000000001</c:v>
                </c:pt>
                <c:pt idx="2166">
                  <c:v>-2.6463939999999999</c:v>
                </c:pt>
                <c:pt idx="2167">
                  <c:v>-2.6438959999999998</c:v>
                </c:pt>
                <c:pt idx="2168">
                  <c:v>-2.4454850000000001</c:v>
                </c:pt>
                <c:pt idx="2169">
                  <c:v>-2.1377039999999998</c:v>
                </c:pt>
                <c:pt idx="2170">
                  <c:v>-2.15625</c:v>
                </c:pt>
                <c:pt idx="2171">
                  <c:v>-2.2097500000000001</c:v>
                </c:pt>
                <c:pt idx="2172">
                  <c:v>-2.2221579999999999</c:v>
                </c:pt>
                <c:pt idx="2173">
                  <c:v>-2.5586709999999999</c:v>
                </c:pt>
                <c:pt idx="2174">
                  <c:v>-2.5358239999999999</c:v>
                </c:pt>
                <c:pt idx="2175">
                  <c:v>-2.202496</c:v>
                </c:pt>
                <c:pt idx="2176">
                  <c:v>-2.4264589999999999</c:v>
                </c:pt>
                <c:pt idx="2177">
                  <c:v>-2.4038900000000001</c:v>
                </c:pt>
                <c:pt idx="2178">
                  <c:v>-2.4666079999999999</c:v>
                </c:pt>
                <c:pt idx="2179">
                  <c:v>-2.5673520000000001</c:v>
                </c:pt>
                <c:pt idx="2180">
                  <c:v>-2.2254619999999998</c:v>
                </c:pt>
                <c:pt idx="2181">
                  <c:v>-2.5162399999999998</c:v>
                </c:pt>
                <c:pt idx="2182">
                  <c:v>-2.9368259999999999</c:v>
                </c:pt>
                <c:pt idx="2183">
                  <c:v>-2.7130489999999998</c:v>
                </c:pt>
                <c:pt idx="2184">
                  <c:v>-2.6183969999999999</c:v>
                </c:pt>
                <c:pt idx="2185">
                  <c:v>-2.6410420000000001</c:v>
                </c:pt>
                <c:pt idx="2186">
                  <c:v>-2.5908540000000002</c:v>
                </c:pt>
                <c:pt idx="2187">
                  <c:v>-2.565064</c:v>
                </c:pt>
                <c:pt idx="2188">
                  <c:v>-2.414698</c:v>
                </c:pt>
                <c:pt idx="2189">
                  <c:v>-2.327143</c:v>
                </c:pt>
                <c:pt idx="2190">
                  <c:v>-2.333304</c:v>
                </c:pt>
                <c:pt idx="2191">
                  <c:v>-2.3228759999999999</c:v>
                </c:pt>
                <c:pt idx="2192">
                  <c:v>-2.306057</c:v>
                </c:pt>
                <c:pt idx="2193">
                  <c:v>-2.150725</c:v>
                </c:pt>
                <c:pt idx="2194">
                  <c:v>-2.2587130000000002</c:v>
                </c:pt>
                <c:pt idx="2195">
                  <c:v>-2.43675</c:v>
                </c:pt>
                <c:pt idx="2196">
                  <c:v>-2.3990990000000001</c:v>
                </c:pt>
                <c:pt idx="2197">
                  <c:v>-2.4505379999999999</c:v>
                </c:pt>
                <c:pt idx="2198">
                  <c:v>-2.4142830000000002</c:v>
                </c:pt>
                <c:pt idx="2199">
                  <c:v>-2.2627640000000002</c:v>
                </c:pt>
                <c:pt idx="2200">
                  <c:v>-2.450402</c:v>
                </c:pt>
                <c:pt idx="2201">
                  <c:v>-2.750848</c:v>
                </c:pt>
                <c:pt idx="2202">
                  <c:v>-2.657915</c:v>
                </c:pt>
                <c:pt idx="2203">
                  <c:v>-2.3557790000000001</c:v>
                </c:pt>
                <c:pt idx="2204">
                  <c:v>-2.3996689999999998</c:v>
                </c:pt>
                <c:pt idx="2205">
                  <c:v>-2.7524989999999998</c:v>
                </c:pt>
                <c:pt idx="2206">
                  <c:v>-2.4060980000000001</c:v>
                </c:pt>
                <c:pt idx="2207">
                  <c:v>-2.1627730000000001</c:v>
                </c:pt>
                <c:pt idx="2208">
                  <c:v>-2.5548310000000001</c:v>
                </c:pt>
                <c:pt idx="2209">
                  <c:v>-2.623027</c:v>
                </c:pt>
                <c:pt idx="2210">
                  <c:v>-2.4652259999999999</c:v>
                </c:pt>
                <c:pt idx="2211">
                  <c:v>-2.383181</c:v>
                </c:pt>
                <c:pt idx="2212">
                  <c:v>-2.469341</c:v>
                </c:pt>
                <c:pt idx="2213">
                  <c:v>-2.3735430000000002</c:v>
                </c:pt>
                <c:pt idx="2214">
                  <c:v>-2.4570120000000002</c:v>
                </c:pt>
                <c:pt idx="2215">
                  <c:v>-2.561601</c:v>
                </c:pt>
                <c:pt idx="2216">
                  <c:v>-2.4211</c:v>
                </c:pt>
                <c:pt idx="2217">
                  <c:v>-2.4125260000000002</c:v>
                </c:pt>
                <c:pt idx="2218">
                  <c:v>-2.3327969999999998</c:v>
                </c:pt>
                <c:pt idx="2219">
                  <c:v>-2.485573</c:v>
                </c:pt>
                <c:pt idx="2220">
                  <c:v>-2.6294909999999998</c:v>
                </c:pt>
                <c:pt idx="2221">
                  <c:v>-2.6471499999999999</c:v>
                </c:pt>
                <c:pt idx="2222">
                  <c:v>-2.8022809999999998</c:v>
                </c:pt>
                <c:pt idx="2223">
                  <c:v>-2.8310010000000001</c:v>
                </c:pt>
                <c:pt idx="2224">
                  <c:v>-2.6604869999999998</c:v>
                </c:pt>
                <c:pt idx="2225">
                  <c:v>-2.5087100000000002</c:v>
                </c:pt>
                <c:pt idx="2226">
                  <c:v>-2.5537139999999998</c:v>
                </c:pt>
                <c:pt idx="2227">
                  <c:v>-2.702658</c:v>
                </c:pt>
                <c:pt idx="2228">
                  <c:v>-2.5768879999999998</c:v>
                </c:pt>
                <c:pt idx="2229">
                  <c:v>-2.373281</c:v>
                </c:pt>
                <c:pt idx="2230">
                  <c:v>-2.4532389999999999</c:v>
                </c:pt>
                <c:pt idx="2231">
                  <c:v>-2.3431129999999998</c:v>
                </c:pt>
                <c:pt idx="2232">
                  <c:v>-2.0680730000000001</c:v>
                </c:pt>
                <c:pt idx="2233">
                  <c:v>-1.7565299999999999</c:v>
                </c:pt>
                <c:pt idx="2234">
                  <c:v>-1.95488</c:v>
                </c:pt>
                <c:pt idx="2235">
                  <c:v>-2.3570069999999999</c:v>
                </c:pt>
                <c:pt idx="2236">
                  <c:v>-2.1582319999999999</c:v>
                </c:pt>
                <c:pt idx="2237">
                  <c:v>-2.1855739999999999</c:v>
                </c:pt>
                <c:pt idx="2238">
                  <c:v>-2.256183</c:v>
                </c:pt>
                <c:pt idx="2239">
                  <c:v>-2.360277</c:v>
                </c:pt>
                <c:pt idx="2240">
                  <c:v>-2.3465720000000001</c:v>
                </c:pt>
                <c:pt idx="2241">
                  <c:v>-2.3464369999999999</c:v>
                </c:pt>
                <c:pt idx="2242">
                  <c:v>-2.4761039999999999</c:v>
                </c:pt>
                <c:pt idx="2243">
                  <c:v>-2.3471609999999998</c:v>
                </c:pt>
                <c:pt idx="2244">
                  <c:v>-2.3465259999999999</c:v>
                </c:pt>
                <c:pt idx="2245">
                  <c:v>-2.3406959999999999</c:v>
                </c:pt>
                <c:pt idx="2246">
                  <c:v>-2.469659</c:v>
                </c:pt>
                <c:pt idx="2247">
                  <c:v>-2.5363440000000002</c:v>
                </c:pt>
                <c:pt idx="2248">
                  <c:v>-2.5118589999999998</c:v>
                </c:pt>
                <c:pt idx="2249">
                  <c:v>-2.5013800000000002</c:v>
                </c:pt>
                <c:pt idx="2250">
                  <c:v>-2.3582260000000002</c:v>
                </c:pt>
                <c:pt idx="2251">
                  <c:v>-2.2052260000000001</c:v>
                </c:pt>
                <c:pt idx="2252">
                  <c:v>-2.242194</c:v>
                </c:pt>
                <c:pt idx="2253">
                  <c:v>-2.2408730000000001</c:v>
                </c:pt>
                <c:pt idx="2254">
                  <c:v>-2.091234</c:v>
                </c:pt>
                <c:pt idx="2255">
                  <c:v>-2.0590060000000001</c:v>
                </c:pt>
                <c:pt idx="2256">
                  <c:v>-2.0193530000000002</c:v>
                </c:pt>
                <c:pt idx="2257">
                  <c:v>-2.1128149999999999</c:v>
                </c:pt>
                <c:pt idx="2258">
                  <c:v>-2.0760480000000001</c:v>
                </c:pt>
                <c:pt idx="2259">
                  <c:v>-2.0456470000000002</c:v>
                </c:pt>
                <c:pt idx="2260">
                  <c:v>-2.1491359999999999</c:v>
                </c:pt>
                <c:pt idx="2261">
                  <c:v>-2.1280939999999999</c:v>
                </c:pt>
                <c:pt idx="2262">
                  <c:v>-2.0422739999999999</c:v>
                </c:pt>
                <c:pt idx="2263">
                  <c:v>-1.918439</c:v>
                </c:pt>
                <c:pt idx="2264">
                  <c:v>-2.039323</c:v>
                </c:pt>
                <c:pt idx="2265">
                  <c:v>-2.0198100000000001</c:v>
                </c:pt>
                <c:pt idx="2266">
                  <c:v>-1.9072309999999999</c:v>
                </c:pt>
                <c:pt idx="2267">
                  <c:v>-1.749671</c:v>
                </c:pt>
                <c:pt idx="2268">
                  <c:v>-1.635081</c:v>
                </c:pt>
                <c:pt idx="2269">
                  <c:v>-1.940971</c:v>
                </c:pt>
                <c:pt idx="2270">
                  <c:v>-1.8749359999999999</c:v>
                </c:pt>
                <c:pt idx="2271">
                  <c:v>-1.6240289999999999</c:v>
                </c:pt>
                <c:pt idx="2272">
                  <c:v>-1.5293909999999999</c:v>
                </c:pt>
                <c:pt idx="2273">
                  <c:v>-1.5808610000000001</c:v>
                </c:pt>
                <c:pt idx="2274">
                  <c:v>-1.450976</c:v>
                </c:pt>
                <c:pt idx="2275">
                  <c:v>-1.258553</c:v>
                </c:pt>
                <c:pt idx="2276">
                  <c:v>-1.293892</c:v>
                </c:pt>
                <c:pt idx="2277">
                  <c:v>-1.115953</c:v>
                </c:pt>
                <c:pt idx="2278">
                  <c:v>-0.89389099999999999</c:v>
                </c:pt>
                <c:pt idx="2279">
                  <c:v>-0.77427699999999999</c:v>
                </c:pt>
                <c:pt idx="2280">
                  <c:v>-0.63894700000000004</c:v>
                </c:pt>
                <c:pt idx="2281">
                  <c:v>-0.83577199999999996</c:v>
                </c:pt>
                <c:pt idx="2282">
                  <c:v>-0.88258000000000003</c:v>
                </c:pt>
                <c:pt idx="2283">
                  <c:v>-0.62903600000000004</c:v>
                </c:pt>
                <c:pt idx="2284">
                  <c:v>-0.47935299999999997</c:v>
                </c:pt>
                <c:pt idx="2285">
                  <c:v>-0.51494799999999996</c:v>
                </c:pt>
                <c:pt idx="2286">
                  <c:v>-0.44761000000000001</c:v>
                </c:pt>
                <c:pt idx="2287">
                  <c:v>-0.33504200000000001</c:v>
                </c:pt>
                <c:pt idx="2288">
                  <c:v>-0.19248799999999999</c:v>
                </c:pt>
                <c:pt idx="2289">
                  <c:v>-3.5577999999999999E-2</c:v>
                </c:pt>
                <c:pt idx="2290">
                  <c:v>6.3147999999999996E-2</c:v>
                </c:pt>
                <c:pt idx="2291">
                  <c:v>0.23527500000000001</c:v>
                </c:pt>
                <c:pt idx="2292">
                  <c:v>0.44893899999999998</c:v>
                </c:pt>
                <c:pt idx="2293">
                  <c:v>0.61933300000000002</c:v>
                </c:pt>
                <c:pt idx="2294">
                  <c:v>0.56728400000000001</c:v>
                </c:pt>
                <c:pt idx="2295">
                  <c:v>0.59227799999999997</c:v>
                </c:pt>
                <c:pt idx="2296">
                  <c:v>0.78241899999999998</c:v>
                </c:pt>
                <c:pt idx="2297">
                  <c:v>1.0628919999999999</c:v>
                </c:pt>
                <c:pt idx="2298">
                  <c:v>1.0471790000000001</c:v>
                </c:pt>
                <c:pt idx="2299">
                  <c:v>1.1890590000000001</c:v>
                </c:pt>
                <c:pt idx="2300">
                  <c:v>1.3996569999999999</c:v>
                </c:pt>
                <c:pt idx="2301">
                  <c:v>1.659559</c:v>
                </c:pt>
                <c:pt idx="2302">
                  <c:v>1.9421759999999999</c:v>
                </c:pt>
                <c:pt idx="2303">
                  <c:v>1.7768139999999999</c:v>
                </c:pt>
                <c:pt idx="2304">
                  <c:v>1.8323560000000001</c:v>
                </c:pt>
                <c:pt idx="2305">
                  <c:v>2.1953119999999999</c:v>
                </c:pt>
                <c:pt idx="2306">
                  <c:v>2.52732</c:v>
                </c:pt>
                <c:pt idx="2307">
                  <c:v>2.7554270000000001</c:v>
                </c:pt>
                <c:pt idx="2308">
                  <c:v>2.7909989999999998</c:v>
                </c:pt>
                <c:pt idx="2309">
                  <c:v>2.923934</c:v>
                </c:pt>
                <c:pt idx="2310">
                  <c:v>3.2973729999999999</c:v>
                </c:pt>
                <c:pt idx="2311">
                  <c:v>3.7420810000000002</c:v>
                </c:pt>
                <c:pt idx="2312">
                  <c:v>4.1671630000000004</c:v>
                </c:pt>
                <c:pt idx="2313">
                  <c:v>4.3266999999999998</c:v>
                </c:pt>
                <c:pt idx="2314">
                  <c:v>4.6586600000000002</c:v>
                </c:pt>
                <c:pt idx="2315">
                  <c:v>5.1236990000000002</c:v>
                </c:pt>
                <c:pt idx="2316">
                  <c:v>5.5996370000000004</c:v>
                </c:pt>
                <c:pt idx="2317">
                  <c:v>5.9549060000000003</c:v>
                </c:pt>
                <c:pt idx="2318">
                  <c:v>6.0457739999999998</c:v>
                </c:pt>
                <c:pt idx="2319">
                  <c:v>6.3927550000000002</c:v>
                </c:pt>
                <c:pt idx="2320">
                  <c:v>6.8643700000000001</c:v>
                </c:pt>
                <c:pt idx="2321">
                  <c:v>7.0066329999999999</c:v>
                </c:pt>
                <c:pt idx="2322">
                  <c:v>7.3946589999999999</c:v>
                </c:pt>
                <c:pt idx="2323">
                  <c:v>7.8287560000000003</c:v>
                </c:pt>
                <c:pt idx="2324">
                  <c:v>7.8890529999999996</c:v>
                </c:pt>
                <c:pt idx="2325">
                  <c:v>8.0120690000000003</c:v>
                </c:pt>
                <c:pt idx="2326">
                  <c:v>8.1492609999999992</c:v>
                </c:pt>
                <c:pt idx="2327">
                  <c:v>8.4231189999999998</c:v>
                </c:pt>
                <c:pt idx="2328">
                  <c:v>8.8991930000000004</c:v>
                </c:pt>
                <c:pt idx="2329">
                  <c:v>9.1564010000000007</c:v>
                </c:pt>
                <c:pt idx="2330">
                  <c:v>9.3889329999999998</c:v>
                </c:pt>
                <c:pt idx="2331">
                  <c:v>9.7276100000000003</c:v>
                </c:pt>
                <c:pt idx="2332">
                  <c:v>10.1223679</c:v>
                </c:pt>
                <c:pt idx="2333">
                  <c:v>10.483737</c:v>
                </c:pt>
                <c:pt idx="2334">
                  <c:v>10.831997899999999</c:v>
                </c:pt>
                <c:pt idx="2335">
                  <c:v>11.037668200000001</c:v>
                </c:pt>
                <c:pt idx="2336">
                  <c:v>11.164318099999999</c:v>
                </c:pt>
                <c:pt idx="2337">
                  <c:v>11.6436043</c:v>
                </c:pt>
                <c:pt idx="2338">
                  <c:v>11.9266691</c:v>
                </c:pt>
                <c:pt idx="2339">
                  <c:v>12.034610000000001</c:v>
                </c:pt>
                <c:pt idx="2340">
                  <c:v>12.2357</c:v>
                </c:pt>
                <c:pt idx="2341">
                  <c:v>12.3443308</c:v>
                </c:pt>
                <c:pt idx="2342">
                  <c:v>12.528090000000001</c:v>
                </c:pt>
                <c:pt idx="2343">
                  <c:v>12.814046899999999</c:v>
                </c:pt>
                <c:pt idx="2344">
                  <c:v>13.2901621</c:v>
                </c:pt>
                <c:pt idx="2345">
                  <c:v>13.4023533</c:v>
                </c:pt>
                <c:pt idx="2346">
                  <c:v>13.4955368</c:v>
                </c:pt>
                <c:pt idx="2347">
                  <c:v>14.0870733</c:v>
                </c:pt>
                <c:pt idx="2348">
                  <c:v>14.6829109</c:v>
                </c:pt>
                <c:pt idx="2349">
                  <c:v>14.9646978</c:v>
                </c:pt>
                <c:pt idx="2350">
                  <c:v>15.084501299999999</c:v>
                </c:pt>
                <c:pt idx="2351">
                  <c:v>15.1717739</c:v>
                </c:pt>
                <c:pt idx="2352">
                  <c:v>15.567309399999999</c:v>
                </c:pt>
                <c:pt idx="2353">
                  <c:v>16.053894</c:v>
                </c:pt>
                <c:pt idx="2354">
                  <c:v>16.155113199999999</c:v>
                </c:pt>
                <c:pt idx="2355">
                  <c:v>16.785623600000001</c:v>
                </c:pt>
                <c:pt idx="2356">
                  <c:v>17.289211300000002</c:v>
                </c:pt>
                <c:pt idx="2357">
                  <c:v>17.277717599999999</c:v>
                </c:pt>
                <c:pt idx="2358">
                  <c:v>17.515229999999999</c:v>
                </c:pt>
                <c:pt idx="2359">
                  <c:v>17.805002200000001</c:v>
                </c:pt>
                <c:pt idx="2360">
                  <c:v>18.187830000000002</c:v>
                </c:pt>
                <c:pt idx="2361">
                  <c:v>18.21499</c:v>
                </c:pt>
                <c:pt idx="2362">
                  <c:v>17.981618900000001</c:v>
                </c:pt>
                <c:pt idx="2363">
                  <c:v>18.1238651</c:v>
                </c:pt>
                <c:pt idx="2364">
                  <c:v>18.3148689</c:v>
                </c:pt>
                <c:pt idx="2365">
                  <c:v>18.401733400000001</c:v>
                </c:pt>
                <c:pt idx="2366">
                  <c:v>18.428941699999999</c:v>
                </c:pt>
                <c:pt idx="2367">
                  <c:v>18.488040000000002</c:v>
                </c:pt>
                <c:pt idx="2368">
                  <c:v>18.555005999999999</c:v>
                </c:pt>
                <c:pt idx="2369">
                  <c:v>18.694006000000002</c:v>
                </c:pt>
                <c:pt idx="2370">
                  <c:v>18.7077065</c:v>
                </c:pt>
                <c:pt idx="2371">
                  <c:v>18.740451799999999</c:v>
                </c:pt>
                <c:pt idx="2372">
                  <c:v>18.8416882</c:v>
                </c:pt>
                <c:pt idx="2373">
                  <c:v>18.9859276</c:v>
                </c:pt>
                <c:pt idx="2374">
                  <c:v>19.219750000000001</c:v>
                </c:pt>
                <c:pt idx="2375">
                  <c:v>19.310085300000001</c:v>
                </c:pt>
                <c:pt idx="2376">
                  <c:v>19.596771199999999</c:v>
                </c:pt>
                <c:pt idx="2377">
                  <c:v>19.9258442</c:v>
                </c:pt>
                <c:pt idx="2378">
                  <c:v>20.181785600000001</c:v>
                </c:pt>
                <c:pt idx="2379">
                  <c:v>20.496938700000001</c:v>
                </c:pt>
                <c:pt idx="2380">
                  <c:v>20.511747400000001</c:v>
                </c:pt>
                <c:pt idx="2381">
                  <c:v>20.774927099999999</c:v>
                </c:pt>
                <c:pt idx="2382">
                  <c:v>21.092336700000001</c:v>
                </c:pt>
                <c:pt idx="2383">
                  <c:v>21.1158714</c:v>
                </c:pt>
                <c:pt idx="2384">
                  <c:v>21.176544199999999</c:v>
                </c:pt>
                <c:pt idx="2385">
                  <c:v>21.454341899999999</c:v>
                </c:pt>
                <c:pt idx="2386">
                  <c:v>21.53933</c:v>
                </c:pt>
                <c:pt idx="2387">
                  <c:v>21.342493099999999</c:v>
                </c:pt>
                <c:pt idx="2388">
                  <c:v>21.721738800000001</c:v>
                </c:pt>
                <c:pt idx="2389">
                  <c:v>22.000679000000002</c:v>
                </c:pt>
                <c:pt idx="2390">
                  <c:v>21.907064399999999</c:v>
                </c:pt>
                <c:pt idx="2391">
                  <c:v>22.48997</c:v>
                </c:pt>
                <c:pt idx="2392">
                  <c:v>22.417026499999999</c:v>
                </c:pt>
                <c:pt idx="2393">
                  <c:v>21.946052600000002</c:v>
                </c:pt>
                <c:pt idx="2394">
                  <c:v>22.064966200000001</c:v>
                </c:pt>
                <c:pt idx="2395">
                  <c:v>22.102336900000001</c:v>
                </c:pt>
                <c:pt idx="2396">
                  <c:v>21.9606438</c:v>
                </c:pt>
                <c:pt idx="2397">
                  <c:v>21.789562199999999</c:v>
                </c:pt>
                <c:pt idx="2398">
                  <c:v>21.6534023</c:v>
                </c:pt>
                <c:pt idx="2399">
                  <c:v>21.531942399999998</c:v>
                </c:pt>
                <c:pt idx="2400">
                  <c:v>21.544183700000001</c:v>
                </c:pt>
                <c:pt idx="2401">
                  <c:v>21.42821</c:v>
                </c:pt>
                <c:pt idx="2402">
                  <c:v>21.271251700000001</c:v>
                </c:pt>
                <c:pt idx="2403">
                  <c:v>21.179594000000002</c:v>
                </c:pt>
                <c:pt idx="2404">
                  <c:v>21.122102699999999</c:v>
                </c:pt>
                <c:pt idx="2405">
                  <c:v>21.155090000000001</c:v>
                </c:pt>
                <c:pt idx="2406">
                  <c:v>20.969415699999999</c:v>
                </c:pt>
                <c:pt idx="2407">
                  <c:v>21.079688999999998</c:v>
                </c:pt>
                <c:pt idx="2408">
                  <c:v>21.548227300000001</c:v>
                </c:pt>
                <c:pt idx="2409">
                  <c:v>21.561779000000001</c:v>
                </c:pt>
                <c:pt idx="2410">
                  <c:v>21.5989246</c:v>
                </c:pt>
                <c:pt idx="2411">
                  <c:v>21.7256012</c:v>
                </c:pt>
                <c:pt idx="2412">
                  <c:v>21.9088478</c:v>
                </c:pt>
                <c:pt idx="2413">
                  <c:v>21.923749999999998</c:v>
                </c:pt>
                <c:pt idx="2414">
                  <c:v>21.924213399999999</c:v>
                </c:pt>
                <c:pt idx="2415">
                  <c:v>22.383400000000002</c:v>
                </c:pt>
                <c:pt idx="2416">
                  <c:v>22.286302599999999</c:v>
                </c:pt>
                <c:pt idx="2417">
                  <c:v>22.038948099999999</c:v>
                </c:pt>
                <c:pt idx="2418">
                  <c:v>22.505287200000001</c:v>
                </c:pt>
                <c:pt idx="2419">
                  <c:v>22.818721799999999</c:v>
                </c:pt>
                <c:pt idx="2420">
                  <c:v>22.5333939</c:v>
                </c:pt>
                <c:pt idx="2421">
                  <c:v>22.5985546</c:v>
                </c:pt>
                <c:pt idx="2422">
                  <c:v>23.034880000000001</c:v>
                </c:pt>
                <c:pt idx="2423">
                  <c:v>23.147115700000001</c:v>
                </c:pt>
                <c:pt idx="2424">
                  <c:v>23.163913699999998</c:v>
                </c:pt>
                <c:pt idx="2425">
                  <c:v>23.3277073</c:v>
                </c:pt>
                <c:pt idx="2426">
                  <c:v>23.451899999999998</c:v>
                </c:pt>
                <c:pt idx="2427">
                  <c:v>23.350169999999999</c:v>
                </c:pt>
                <c:pt idx="2428">
                  <c:v>23.323081999999999</c:v>
                </c:pt>
                <c:pt idx="2429">
                  <c:v>23.5969658</c:v>
                </c:pt>
                <c:pt idx="2430">
                  <c:v>23.696110000000001</c:v>
                </c:pt>
                <c:pt idx="2431">
                  <c:v>23.782188399999999</c:v>
                </c:pt>
                <c:pt idx="2432">
                  <c:v>23.922403299999999</c:v>
                </c:pt>
                <c:pt idx="2433">
                  <c:v>24.030529000000001</c:v>
                </c:pt>
                <c:pt idx="2434">
                  <c:v>23.853355400000002</c:v>
                </c:pt>
                <c:pt idx="2435">
                  <c:v>23.862369999999999</c:v>
                </c:pt>
                <c:pt idx="2436">
                  <c:v>24.291419999999999</c:v>
                </c:pt>
                <c:pt idx="2437">
                  <c:v>24.219936400000002</c:v>
                </c:pt>
                <c:pt idx="2438">
                  <c:v>24.158090000000001</c:v>
                </c:pt>
                <c:pt idx="2439">
                  <c:v>24.290836299999999</c:v>
                </c:pt>
                <c:pt idx="2440">
                  <c:v>24.460733399999999</c:v>
                </c:pt>
                <c:pt idx="2441">
                  <c:v>24.792678800000001</c:v>
                </c:pt>
                <c:pt idx="2442">
                  <c:v>24.817356100000001</c:v>
                </c:pt>
                <c:pt idx="2443">
                  <c:v>24.756031</c:v>
                </c:pt>
                <c:pt idx="2444">
                  <c:v>24.8370514</c:v>
                </c:pt>
                <c:pt idx="2445">
                  <c:v>24.994037599999999</c:v>
                </c:pt>
                <c:pt idx="2446">
                  <c:v>25.327621499999999</c:v>
                </c:pt>
                <c:pt idx="2447">
                  <c:v>25.7023926</c:v>
                </c:pt>
                <c:pt idx="2448">
                  <c:v>25.500663800000002</c:v>
                </c:pt>
                <c:pt idx="2449">
                  <c:v>25.05772</c:v>
                </c:pt>
                <c:pt idx="2450">
                  <c:v>25.266574899999998</c:v>
                </c:pt>
                <c:pt idx="2451">
                  <c:v>25.473423</c:v>
                </c:pt>
                <c:pt idx="2452">
                  <c:v>25.832424199999998</c:v>
                </c:pt>
                <c:pt idx="2453">
                  <c:v>26.0108414</c:v>
                </c:pt>
                <c:pt idx="2454">
                  <c:v>26.043189999999999</c:v>
                </c:pt>
                <c:pt idx="2455">
                  <c:v>26.189981499999998</c:v>
                </c:pt>
                <c:pt idx="2456">
                  <c:v>25.9922638</c:v>
                </c:pt>
                <c:pt idx="2457">
                  <c:v>26.0051041</c:v>
                </c:pt>
                <c:pt idx="2458">
                  <c:v>26.398326900000001</c:v>
                </c:pt>
                <c:pt idx="2459">
                  <c:v>26.526008600000001</c:v>
                </c:pt>
                <c:pt idx="2460">
                  <c:v>26.662189999999999</c:v>
                </c:pt>
                <c:pt idx="2461">
                  <c:v>26.8645611</c:v>
                </c:pt>
                <c:pt idx="2462">
                  <c:v>26.906484599999999</c:v>
                </c:pt>
                <c:pt idx="2463">
                  <c:v>27.265626900000001</c:v>
                </c:pt>
                <c:pt idx="2464">
                  <c:v>27.7311382</c:v>
                </c:pt>
                <c:pt idx="2465">
                  <c:v>28.070119999999999</c:v>
                </c:pt>
                <c:pt idx="2466">
                  <c:v>28.2264233</c:v>
                </c:pt>
                <c:pt idx="2467">
                  <c:v>28.417581599999998</c:v>
                </c:pt>
                <c:pt idx="2468">
                  <c:v>28.687107099999999</c:v>
                </c:pt>
                <c:pt idx="2469">
                  <c:v>28.864740000000001</c:v>
                </c:pt>
                <c:pt idx="2470">
                  <c:v>29.058877899999999</c:v>
                </c:pt>
                <c:pt idx="2471">
                  <c:v>29.326602900000001</c:v>
                </c:pt>
                <c:pt idx="2472">
                  <c:v>29.7699432</c:v>
                </c:pt>
                <c:pt idx="2473">
                  <c:v>30.111883200000001</c:v>
                </c:pt>
                <c:pt idx="2474">
                  <c:v>29.951702099999999</c:v>
                </c:pt>
                <c:pt idx="2475">
                  <c:v>29.9768963</c:v>
                </c:pt>
                <c:pt idx="2476">
                  <c:v>30.549287799999998</c:v>
                </c:pt>
                <c:pt idx="2477">
                  <c:v>30.883066199999998</c:v>
                </c:pt>
                <c:pt idx="2478">
                  <c:v>30.971683500000001</c:v>
                </c:pt>
                <c:pt idx="2479">
                  <c:v>31.193813299999999</c:v>
                </c:pt>
                <c:pt idx="2480">
                  <c:v>31.685091</c:v>
                </c:pt>
                <c:pt idx="2481">
                  <c:v>32.056339999999999</c:v>
                </c:pt>
                <c:pt idx="2482">
                  <c:v>32.256862599999998</c:v>
                </c:pt>
                <c:pt idx="2483">
                  <c:v>32.627162900000002</c:v>
                </c:pt>
                <c:pt idx="2484">
                  <c:v>32.611446399999998</c:v>
                </c:pt>
                <c:pt idx="2485">
                  <c:v>33.2698441</c:v>
                </c:pt>
                <c:pt idx="2486">
                  <c:v>34.144370000000002</c:v>
                </c:pt>
                <c:pt idx="2487">
                  <c:v>34.164894099999998</c:v>
                </c:pt>
                <c:pt idx="2488">
                  <c:v>34.334281900000001</c:v>
                </c:pt>
                <c:pt idx="2489">
                  <c:v>34.629875200000001</c:v>
                </c:pt>
                <c:pt idx="2490">
                  <c:v>34.931495699999999</c:v>
                </c:pt>
                <c:pt idx="2491">
                  <c:v>35.161605799999997</c:v>
                </c:pt>
                <c:pt idx="2492">
                  <c:v>35.486514999999997</c:v>
                </c:pt>
                <c:pt idx="2493">
                  <c:v>35.653770000000002</c:v>
                </c:pt>
                <c:pt idx="2494">
                  <c:v>35.600112899999999</c:v>
                </c:pt>
                <c:pt idx="2495">
                  <c:v>35.884113300000003</c:v>
                </c:pt>
                <c:pt idx="2496">
                  <c:v>35.998840000000001</c:v>
                </c:pt>
                <c:pt idx="2497">
                  <c:v>36.094886799999998</c:v>
                </c:pt>
                <c:pt idx="2498">
                  <c:v>36.277526899999998</c:v>
                </c:pt>
                <c:pt idx="2499">
                  <c:v>36.386673000000002</c:v>
                </c:pt>
                <c:pt idx="2500">
                  <c:v>36.3142128</c:v>
                </c:pt>
                <c:pt idx="2501">
                  <c:v>36.343437199999997</c:v>
                </c:pt>
                <c:pt idx="2502">
                  <c:v>36.749565099999998</c:v>
                </c:pt>
                <c:pt idx="2503">
                  <c:v>36.758487700000003</c:v>
                </c:pt>
                <c:pt idx="2504">
                  <c:v>36.560592700000001</c:v>
                </c:pt>
                <c:pt idx="2505">
                  <c:v>36.775775899999999</c:v>
                </c:pt>
                <c:pt idx="2506">
                  <c:v>37.1092224</c:v>
                </c:pt>
                <c:pt idx="2507">
                  <c:v>36.924480000000003</c:v>
                </c:pt>
                <c:pt idx="2508">
                  <c:v>36.732019999999999</c:v>
                </c:pt>
                <c:pt idx="2509">
                  <c:v>36.644782999999997</c:v>
                </c:pt>
                <c:pt idx="2510">
                  <c:v>36.538359999999997</c:v>
                </c:pt>
                <c:pt idx="2511">
                  <c:v>36.682580000000002</c:v>
                </c:pt>
                <c:pt idx="2512">
                  <c:v>36.351979999999998</c:v>
                </c:pt>
                <c:pt idx="2513">
                  <c:v>35.968490000000003</c:v>
                </c:pt>
                <c:pt idx="2514">
                  <c:v>36.034183499999997</c:v>
                </c:pt>
                <c:pt idx="2515">
                  <c:v>35.9488068</c:v>
                </c:pt>
                <c:pt idx="2516">
                  <c:v>35.859142300000002</c:v>
                </c:pt>
                <c:pt idx="2517">
                  <c:v>35.491325400000001</c:v>
                </c:pt>
                <c:pt idx="2518">
                  <c:v>35.037525199999997</c:v>
                </c:pt>
                <c:pt idx="2519">
                  <c:v>35.190776800000002</c:v>
                </c:pt>
                <c:pt idx="2520">
                  <c:v>35.264972700000001</c:v>
                </c:pt>
                <c:pt idx="2521">
                  <c:v>34.844192499999998</c:v>
                </c:pt>
                <c:pt idx="2522">
                  <c:v>34.454006200000002</c:v>
                </c:pt>
                <c:pt idx="2523">
                  <c:v>34.416076699999998</c:v>
                </c:pt>
                <c:pt idx="2524">
                  <c:v>34.158813500000001</c:v>
                </c:pt>
                <c:pt idx="2525">
                  <c:v>33.722683000000004</c:v>
                </c:pt>
                <c:pt idx="2526">
                  <c:v>33.583179999999999</c:v>
                </c:pt>
                <c:pt idx="2527">
                  <c:v>33.598709999999997</c:v>
                </c:pt>
                <c:pt idx="2528">
                  <c:v>33.301659999999998</c:v>
                </c:pt>
                <c:pt idx="2529">
                  <c:v>32.842727699999998</c:v>
                </c:pt>
                <c:pt idx="2530">
                  <c:v>32.651589999999999</c:v>
                </c:pt>
                <c:pt idx="2531">
                  <c:v>32.343887299999999</c:v>
                </c:pt>
                <c:pt idx="2532">
                  <c:v>32.046080000000003</c:v>
                </c:pt>
                <c:pt idx="2533">
                  <c:v>32.018259999999998</c:v>
                </c:pt>
                <c:pt idx="2534">
                  <c:v>31.9410667</c:v>
                </c:pt>
                <c:pt idx="2535">
                  <c:v>31.646560000000001</c:v>
                </c:pt>
                <c:pt idx="2536">
                  <c:v>31.305095699999999</c:v>
                </c:pt>
                <c:pt idx="2537">
                  <c:v>30.859174700000001</c:v>
                </c:pt>
                <c:pt idx="2538">
                  <c:v>30.572654700000001</c:v>
                </c:pt>
                <c:pt idx="2539">
                  <c:v>30.52121</c:v>
                </c:pt>
                <c:pt idx="2540">
                  <c:v>30.271265</c:v>
                </c:pt>
                <c:pt idx="2541">
                  <c:v>30.058216099999999</c:v>
                </c:pt>
                <c:pt idx="2542">
                  <c:v>29.9340172</c:v>
                </c:pt>
                <c:pt idx="2543">
                  <c:v>29.590789999999998</c:v>
                </c:pt>
                <c:pt idx="2544">
                  <c:v>29.4044056</c:v>
                </c:pt>
                <c:pt idx="2545">
                  <c:v>29.2258949</c:v>
                </c:pt>
                <c:pt idx="2546">
                  <c:v>28.786377000000002</c:v>
                </c:pt>
                <c:pt idx="2547">
                  <c:v>28.538414</c:v>
                </c:pt>
                <c:pt idx="2548">
                  <c:v>28.319230000000001</c:v>
                </c:pt>
                <c:pt idx="2549">
                  <c:v>28.050291099999999</c:v>
                </c:pt>
                <c:pt idx="2550">
                  <c:v>27.823270000000001</c:v>
                </c:pt>
                <c:pt idx="2551">
                  <c:v>27.6183777</c:v>
                </c:pt>
                <c:pt idx="2552">
                  <c:v>27.564903300000001</c:v>
                </c:pt>
                <c:pt idx="2553">
                  <c:v>27.257995600000001</c:v>
                </c:pt>
                <c:pt idx="2554">
                  <c:v>26.604289999999999</c:v>
                </c:pt>
                <c:pt idx="2555">
                  <c:v>26.226844799999999</c:v>
                </c:pt>
                <c:pt idx="2556">
                  <c:v>26.1180229</c:v>
                </c:pt>
                <c:pt idx="2557">
                  <c:v>25.888300000000001</c:v>
                </c:pt>
                <c:pt idx="2558">
                  <c:v>25.469768500000001</c:v>
                </c:pt>
                <c:pt idx="2559">
                  <c:v>25.148685499999999</c:v>
                </c:pt>
                <c:pt idx="2560">
                  <c:v>24.737648</c:v>
                </c:pt>
                <c:pt idx="2561">
                  <c:v>24.344064700000001</c:v>
                </c:pt>
                <c:pt idx="2562">
                  <c:v>23.9405155</c:v>
                </c:pt>
                <c:pt idx="2563">
                  <c:v>23.538022999999999</c:v>
                </c:pt>
                <c:pt idx="2564">
                  <c:v>23.266390000000001</c:v>
                </c:pt>
                <c:pt idx="2565">
                  <c:v>22.7287827</c:v>
                </c:pt>
                <c:pt idx="2566">
                  <c:v>22.3871632</c:v>
                </c:pt>
                <c:pt idx="2567">
                  <c:v>22.140344599999999</c:v>
                </c:pt>
                <c:pt idx="2568">
                  <c:v>21.752981200000001</c:v>
                </c:pt>
                <c:pt idx="2569">
                  <c:v>21.220203399999999</c:v>
                </c:pt>
                <c:pt idx="2570">
                  <c:v>20.578645699999999</c:v>
                </c:pt>
                <c:pt idx="2571">
                  <c:v>20.146825799999998</c:v>
                </c:pt>
                <c:pt idx="2572">
                  <c:v>19.550979999999999</c:v>
                </c:pt>
                <c:pt idx="2573">
                  <c:v>19.204675699999999</c:v>
                </c:pt>
                <c:pt idx="2574">
                  <c:v>18.783187900000001</c:v>
                </c:pt>
                <c:pt idx="2575">
                  <c:v>18.3347473</c:v>
                </c:pt>
                <c:pt idx="2576">
                  <c:v>18.0688362</c:v>
                </c:pt>
                <c:pt idx="2577">
                  <c:v>17.572759999999999</c:v>
                </c:pt>
                <c:pt idx="2578">
                  <c:v>17.406374</c:v>
                </c:pt>
                <c:pt idx="2579">
                  <c:v>16.9550877</c:v>
                </c:pt>
                <c:pt idx="2580">
                  <c:v>16.229471199999999</c:v>
                </c:pt>
                <c:pt idx="2581">
                  <c:v>15.946233700000001</c:v>
                </c:pt>
                <c:pt idx="2582">
                  <c:v>15.7618723</c:v>
                </c:pt>
                <c:pt idx="2583">
                  <c:v>15.6461515</c:v>
                </c:pt>
                <c:pt idx="2584">
                  <c:v>15.2430229</c:v>
                </c:pt>
                <c:pt idx="2585">
                  <c:v>14.8311186</c:v>
                </c:pt>
                <c:pt idx="2586">
                  <c:v>14.7300472</c:v>
                </c:pt>
                <c:pt idx="2587">
                  <c:v>14.401897399999999</c:v>
                </c:pt>
                <c:pt idx="2588">
                  <c:v>14.096697799999999</c:v>
                </c:pt>
                <c:pt idx="2589">
                  <c:v>13.9348812</c:v>
                </c:pt>
                <c:pt idx="2590">
                  <c:v>13.857918700000001</c:v>
                </c:pt>
                <c:pt idx="2591">
                  <c:v>13.5633917</c:v>
                </c:pt>
                <c:pt idx="2592">
                  <c:v>13.2974291</c:v>
                </c:pt>
                <c:pt idx="2593">
                  <c:v>12.968417199999999</c:v>
                </c:pt>
                <c:pt idx="2594">
                  <c:v>12.6878271</c:v>
                </c:pt>
                <c:pt idx="2595">
                  <c:v>12.6187592</c:v>
                </c:pt>
                <c:pt idx="2596">
                  <c:v>12.676104499999999</c:v>
                </c:pt>
                <c:pt idx="2597">
                  <c:v>12.265893</c:v>
                </c:pt>
                <c:pt idx="2598">
                  <c:v>11.752174399999999</c:v>
                </c:pt>
                <c:pt idx="2599">
                  <c:v>11.557290999999999</c:v>
                </c:pt>
                <c:pt idx="2600">
                  <c:v>11.1963606</c:v>
                </c:pt>
                <c:pt idx="2601">
                  <c:v>11.2156544</c:v>
                </c:pt>
                <c:pt idx="2602">
                  <c:v>10.9244032</c:v>
                </c:pt>
                <c:pt idx="2603">
                  <c:v>10.739765200000001</c:v>
                </c:pt>
                <c:pt idx="2604">
                  <c:v>10.601028400000001</c:v>
                </c:pt>
                <c:pt idx="2605">
                  <c:v>10.432359999999999</c:v>
                </c:pt>
                <c:pt idx="2606">
                  <c:v>10.3099346</c:v>
                </c:pt>
                <c:pt idx="2607">
                  <c:v>10.019404400000001</c:v>
                </c:pt>
                <c:pt idx="2608">
                  <c:v>9.766527</c:v>
                </c:pt>
                <c:pt idx="2609">
                  <c:v>9.6003349999999994</c:v>
                </c:pt>
                <c:pt idx="2610">
                  <c:v>9.508324</c:v>
                </c:pt>
                <c:pt idx="2611">
                  <c:v>9.3818429999999999</c:v>
                </c:pt>
                <c:pt idx="2612">
                  <c:v>9.5094139999999996</c:v>
                </c:pt>
                <c:pt idx="2613">
                  <c:v>9.4456579999999999</c:v>
                </c:pt>
                <c:pt idx="2614">
                  <c:v>9.3603380000000005</c:v>
                </c:pt>
                <c:pt idx="2615">
                  <c:v>9.3285579999999992</c:v>
                </c:pt>
                <c:pt idx="2616">
                  <c:v>8.9902499999999996</c:v>
                </c:pt>
                <c:pt idx="2617">
                  <c:v>8.6837780000000002</c:v>
                </c:pt>
                <c:pt idx="2618">
                  <c:v>8.5357819999999993</c:v>
                </c:pt>
                <c:pt idx="2619">
                  <c:v>8.4578290000000003</c:v>
                </c:pt>
                <c:pt idx="2620">
                  <c:v>8.4868819999999996</c:v>
                </c:pt>
                <c:pt idx="2621">
                  <c:v>8.3783530000000006</c:v>
                </c:pt>
                <c:pt idx="2622">
                  <c:v>7.9976339999999997</c:v>
                </c:pt>
                <c:pt idx="2623">
                  <c:v>8.0053800000000006</c:v>
                </c:pt>
                <c:pt idx="2624">
                  <c:v>8.2124249999999996</c:v>
                </c:pt>
                <c:pt idx="2625">
                  <c:v>7.7340260000000001</c:v>
                </c:pt>
                <c:pt idx="2626">
                  <c:v>7.4569229999999997</c:v>
                </c:pt>
                <c:pt idx="2627">
                  <c:v>7.4486549999999996</c:v>
                </c:pt>
                <c:pt idx="2628">
                  <c:v>7.3872249999999999</c:v>
                </c:pt>
                <c:pt idx="2629">
                  <c:v>7.4357790000000001</c:v>
                </c:pt>
                <c:pt idx="2630">
                  <c:v>7.2127629999999998</c:v>
                </c:pt>
                <c:pt idx="2631">
                  <c:v>7.0486209999999998</c:v>
                </c:pt>
                <c:pt idx="2632">
                  <c:v>6.8367690000000003</c:v>
                </c:pt>
                <c:pt idx="2633">
                  <c:v>6.7347070000000002</c:v>
                </c:pt>
                <c:pt idx="2634">
                  <c:v>6.7844759999999997</c:v>
                </c:pt>
                <c:pt idx="2635">
                  <c:v>6.9095829999999996</c:v>
                </c:pt>
                <c:pt idx="2636">
                  <c:v>7.0127810000000004</c:v>
                </c:pt>
                <c:pt idx="2637">
                  <c:v>7.0531139999999999</c:v>
                </c:pt>
                <c:pt idx="2638">
                  <c:v>7.2636159999999999</c:v>
                </c:pt>
                <c:pt idx="2639">
                  <c:v>7.1005880000000001</c:v>
                </c:pt>
                <c:pt idx="2640">
                  <c:v>6.8730820000000001</c:v>
                </c:pt>
                <c:pt idx="2641">
                  <c:v>7.0679249999999998</c:v>
                </c:pt>
                <c:pt idx="2642">
                  <c:v>7.0096819999999997</c:v>
                </c:pt>
                <c:pt idx="2643">
                  <c:v>7.0313650000000001</c:v>
                </c:pt>
                <c:pt idx="2644">
                  <c:v>7.1526100000000001</c:v>
                </c:pt>
                <c:pt idx="2645">
                  <c:v>7.0004999999999997</c:v>
                </c:pt>
                <c:pt idx="2646">
                  <c:v>6.9653869999999998</c:v>
                </c:pt>
                <c:pt idx="2647">
                  <c:v>7.1242539999999996</c:v>
                </c:pt>
                <c:pt idx="2648">
                  <c:v>7.1853720000000001</c:v>
                </c:pt>
                <c:pt idx="2649">
                  <c:v>7.069985</c:v>
                </c:pt>
                <c:pt idx="2650">
                  <c:v>7.1929449999999999</c:v>
                </c:pt>
                <c:pt idx="2651">
                  <c:v>7.235131</c:v>
                </c:pt>
                <c:pt idx="2652">
                  <c:v>7.0345820000000003</c:v>
                </c:pt>
                <c:pt idx="2653">
                  <c:v>7.1707780000000003</c:v>
                </c:pt>
                <c:pt idx="2654">
                  <c:v>7.4801549999999999</c:v>
                </c:pt>
                <c:pt idx="2655">
                  <c:v>7.2222059999999999</c:v>
                </c:pt>
                <c:pt idx="2656">
                  <c:v>6.8615029999999999</c:v>
                </c:pt>
                <c:pt idx="2657">
                  <c:v>7.0288399999999998</c:v>
                </c:pt>
                <c:pt idx="2658">
                  <c:v>7.1300140000000001</c:v>
                </c:pt>
                <c:pt idx="2659">
                  <c:v>7.0757700000000003</c:v>
                </c:pt>
                <c:pt idx="2660">
                  <c:v>7.0691699999999997</c:v>
                </c:pt>
                <c:pt idx="2661">
                  <c:v>7.0201909999999996</c:v>
                </c:pt>
                <c:pt idx="2662">
                  <c:v>7.0114489999999998</c:v>
                </c:pt>
                <c:pt idx="2663">
                  <c:v>6.8877730000000001</c:v>
                </c:pt>
                <c:pt idx="2664">
                  <c:v>6.7656749999999999</c:v>
                </c:pt>
                <c:pt idx="2665">
                  <c:v>6.704453</c:v>
                </c:pt>
                <c:pt idx="2666">
                  <c:v>6.8244189999999998</c:v>
                </c:pt>
                <c:pt idx="2667">
                  <c:v>6.694223</c:v>
                </c:pt>
                <c:pt idx="2668">
                  <c:v>6.5704130000000003</c:v>
                </c:pt>
                <c:pt idx="2669">
                  <c:v>6.6387739999999997</c:v>
                </c:pt>
                <c:pt idx="2670">
                  <c:v>6.6800759999999997</c:v>
                </c:pt>
                <c:pt idx="2671">
                  <c:v>6.709238</c:v>
                </c:pt>
                <c:pt idx="2672">
                  <c:v>6.6701819999999996</c:v>
                </c:pt>
                <c:pt idx="2673">
                  <c:v>6.6596349999999997</c:v>
                </c:pt>
                <c:pt idx="2674">
                  <c:v>6.6041449999999999</c:v>
                </c:pt>
                <c:pt idx="2675">
                  <c:v>6.8576639999999998</c:v>
                </c:pt>
                <c:pt idx="2676">
                  <c:v>7.0099239999999998</c:v>
                </c:pt>
                <c:pt idx="2677">
                  <c:v>6.922129</c:v>
                </c:pt>
                <c:pt idx="2678">
                  <c:v>6.8347600000000002</c:v>
                </c:pt>
                <c:pt idx="2679">
                  <c:v>6.6723369999999997</c:v>
                </c:pt>
                <c:pt idx="2680">
                  <c:v>6.6618469999999999</c:v>
                </c:pt>
                <c:pt idx="2681">
                  <c:v>6.7956120000000002</c:v>
                </c:pt>
                <c:pt idx="2682">
                  <c:v>6.7433930000000002</c:v>
                </c:pt>
                <c:pt idx="2683">
                  <c:v>6.5272889999999997</c:v>
                </c:pt>
                <c:pt idx="2684">
                  <c:v>6.5509969999999997</c:v>
                </c:pt>
                <c:pt idx="2685">
                  <c:v>6.4254049999999996</c:v>
                </c:pt>
                <c:pt idx="2686">
                  <c:v>6.1546399999999997</c:v>
                </c:pt>
                <c:pt idx="2687">
                  <c:v>5.8582660000000004</c:v>
                </c:pt>
                <c:pt idx="2688">
                  <c:v>5.809266</c:v>
                </c:pt>
                <c:pt idx="2689">
                  <c:v>5.7475300000000002</c:v>
                </c:pt>
                <c:pt idx="2690">
                  <c:v>5.4959049999999996</c:v>
                </c:pt>
                <c:pt idx="2691">
                  <c:v>5.3319130000000001</c:v>
                </c:pt>
                <c:pt idx="2692">
                  <c:v>5.2802300000000004</c:v>
                </c:pt>
                <c:pt idx="2693">
                  <c:v>5.1506360000000004</c:v>
                </c:pt>
                <c:pt idx="2694">
                  <c:v>4.8506070000000001</c:v>
                </c:pt>
                <c:pt idx="2695">
                  <c:v>4.9244919999999999</c:v>
                </c:pt>
                <c:pt idx="2696">
                  <c:v>4.9967280000000001</c:v>
                </c:pt>
                <c:pt idx="2697">
                  <c:v>4.950005</c:v>
                </c:pt>
                <c:pt idx="2698">
                  <c:v>4.7121409999999999</c:v>
                </c:pt>
                <c:pt idx="2699">
                  <c:v>4.434634</c:v>
                </c:pt>
                <c:pt idx="2700">
                  <c:v>4.527234</c:v>
                </c:pt>
                <c:pt idx="2701">
                  <c:v>4.6857129999999998</c:v>
                </c:pt>
                <c:pt idx="2702">
                  <c:v>4.5569730000000002</c:v>
                </c:pt>
                <c:pt idx="2703">
                  <c:v>4.3483299999999998</c:v>
                </c:pt>
                <c:pt idx="2704">
                  <c:v>4.2208610000000002</c:v>
                </c:pt>
                <c:pt idx="2705">
                  <c:v>4.2004359999999998</c:v>
                </c:pt>
                <c:pt idx="2706">
                  <c:v>4.0322329999999997</c:v>
                </c:pt>
                <c:pt idx="2707">
                  <c:v>3.583256</c:v>
                </c:pt>
                <c:pt idx="2708">
                  <c:v>3.7138529999999998</c:v>
                </c:pt>
                <c:pt idx="2709">
                  <c:v>3.6730849999999999</c:v>
                </c:pt>
                <c:pt idx="2710">
                  <c:v>3.291471</c:v>
                </c:pt>
                <c:pt idx="2711">
                  <c:v>3.3216600000000001</c:v>
                </c:pt>
                <c:pt idx="2712">
                  <c:v>3.232224</c:v>
                </c:pt>
                <c:pt idx="2713">
                  <c:v>3.155586</c:v>
                </c:pt>
                <c:pt idx="2714">
                  <c:v>2.9473600000000002</c:v>
                </c:pt>
                <c:pt idx="2715">
                  <c:v>2.7379009999999999</c:v>
                </c:pt>
                <c:pt idx="2716">
                  <c:v>2.7195800000000001</c:v>
                </c:pt>
                <c:pt idx="2717">
                  <c:v>2.9455209999999998</c:v>
                </c:pt>
                <c:pt idx="2718">
                  <c:v>2.9059020000000002</c:v>
                </c:pt>
                <c:pt idx="2719">
                  <c:v>2.539434</c:v>
                </c:pt>
                <c:pt idx="2720">
                  <c:v>2.5907390000000001</c:v>
                </c:pt>
                <c:pt idx="2721">
                  <c:v>2.6584599999999998</c:v>
                </c:pt>
                <c:pt idx="2722">
                  <c:v>2.5428730000000002</c:v>
                </c:pt>
                <c:pt idx="2723">
                  <c:v>2.33</c:v>
                </c:pt>
                <c:pt idx="2724">
                  <c:v>2.1245850000000002</c:v>
                </c:pt>
                <c:pt idx="2725">
                  <c:v>1.9129400000000001</c:v>
                </c:pt>
                <c:pt idx="2726">
                  <c:v>1.6912339999999999</c:v>
                </c:pt>
                <c:pt idx="2727">
                  <c:v>1.4566859999999999</c:v>
                </c:pt>
                <c:pt idx="2728">
                  <c:v>1.346271</c:v>
                </c:pt>
                <c:pt idx="2729">
                  <c:v>1.0270900000000001</c:v>
                </c:pt>
                <c:pt idx="2730">
                  <c:v>0.59798200000000001</c:v>
                </c:pt>
                <c:pt idx="2731">
                  <c:v>0.42907899999999999</c:v>
                </c:pt>
                <c:pt idx="2732">
                  <c:v>0.46482000000000001</c:v>
                </c:pt>
                <c:pt idx="2733">
                  <c:v>0.41565299999999999</c:v>
                </c:pt>
                <c:pt idx="2734">
                  <c:v>0.27008900000000002</c:v>
                </c:pt>
                <c:pt idx="2735">
                  <c:v>0.27662399999999998</c:v>
                </c:pt>
                <c:pt idx="2736">
                  <c:v>0.304201</c:v>
                </c:pt>
                <c:pt idx="2737">
                  <c:v>0.28421999999999997</c:v>
                </c:pt>
                <c:pt idx="2738">
                  <c:v>0.247499</c:v>
                </c:pt>
                <c:pt idx="2739">
                  <c:v>0.27128799999999997</c:v>
                </c:pt>
                <c:pt idx="2740">
                  <c:v>0.12836400000000001</c:v>
                </c:pt>
                <c:pt idx="2741">
                  <c:v>0.100747</c:v>
                </c:pt>
                <c:pt idx="2742">
                  <c:v>0.26580399999999998</c:v>
                </c:pt>
                <c:pt idx="2743">
                  <c:v>0.41047099999999997</c:v>
                </c:pt>
                <c:pt idx="2744">
                  <c:v>0.42003400000000002</c:v>
                </c:pt>
                <c:pt idx="2745">
                  <c:v>0.63648800000000005</c:v>
                </c:pt>
                <c:pt idx="2746">
                  <c:v>0.62409300000000001</c:v>
                </c:pt>
                <c:pt idx="2747">
                  <c:v>0.638764</c:v>
                </c:pt>
                <c:pt idx="2748">
                  <c:v>0.78962399999999999</c:v>
                </c:pt>
                <c:pt idx="2749">
                  <c:v>0.61815699999999996</c:v>
                </c:pt>
                <c:pt idx="2750">
                  <c:v>0.46739000000000003</c:v>
                </c:pt>
                <c:pt idx="2751">
                  <c:v>0.38480599999999998</c:v>
                </c:pt>
                <c:pt idx="2752">
                  <c:v>0.12363399999999999</c:v>
                </c:pt>
                <c:pt idx="2753">
                  <c:v>0.10209699999999999</c:v>
                </c:pt>
                <c:pt idx="2754">
                  <c:v>0.26397599999999999</c:v>
                </c:pt>
                <c:pt idx="2755">
                  <c:v>-0.20610200000000001</c:v>
                </c:pt>
                <c:pt idx="2756">
                  <c:v>-0.41314400000000001</c:v>
                </c:pt>
                <c:pt idx="2757">
                  <c:v>-0.36744500000000002</c:v>
                </c:pt>
                <c:pt idx="2758">
                  <c:v>-0.58513999999999999</c:v>
                </c:pt>
                <c:pt idx="2759">
                  <c:v>-0.46754299999999999</c:v>
                </c:pt>
                <c:pt idx="2760">
                  <c:v>-0.64621099999999998</c:v>
                </c:pt>
                <c:pt idx="2761">
                  <c:v>-0.90230200000000005</c:v>
                </c:pt>
                <c:pt idx="2762">
                  <c:v>-0.74496200000000001</c:v>
                </c:pt>
                <c:pt idx="2763">
                  <c:v>-1.0346500000000001</c:v>
                </c:pt>
                <c:pt idx="2764">
                  <c:v>-1.221352</c:v>
                </c:pt>
                <c:pt idx="2765">
                  <c:v>-0.755471</c:v>
                </c:pt>
                <c:pt idx="2766">
                  <c:v>-0.736402</c:v>
                </c:pt>
                <c:pt idx="2767">
                  <c:v>-1.336565</c:v>
                </c:pt>
                <c:pt idx="2768">
                  <c:v>-1.4801420000000001</c:v>
                </c:pt>
                <c:pt idx="2769">
                  <c:v>-1.197085</c:v>
                </c:pt>
                <c:pt idx="2770">
                  <c:v>-1.2802899999999999</c:v>
                </c:pt>
                <c:pt idx="2771">
                  <c:v>-1.4076690000000001</c:v>
                </c:pt>
                <c:pt idx="2772">
                  <c:v>-1.29775</c:v>
                </c:pt>
                <c:pt idx="2773">
                  <c:v>-1.324233</c:v>
                </c:pt>
                <c:pt idx="2774">
                  <c:v>-1.1466190000000001</c:v>
                </c:pt>
                <c:pt idx="2775">
                  <c:v>-1.262432</c:v>
                </c:pt>
                <c:pt idx="2776">
                  <c:v>-1.1864809999999999</c:v>
                </c:pt>
                <c:pt idx="2777">
                  <c:v>-0.81483099999999997</c:v>
                </c:pt>
                <c:pt idx="2778">
                  <c:v>-0.94009799999999999</c:v>
                </c:pt>
                <c:pt idx="2779">
                  <c:v>-1.1934579999999999</c:v>
                </c:pt>
                <c:pt idx="2780">
                  <c:v>-1.125232</c:v>
                </c:pt>
                <c:pt idx="2781">
                  <c:v>-0.96175699999999997</c:v>
                </c:pt>
                <c:pt idx="2782">
                  <c:v>-0.93729499999999999</c:v>
                </c:pt>
                <c:pt idx="2783">
                  <c:v>-0.848769</c:v>
                </c:pt>
                <c:pt idx="2784">
                  <c:v>-0.79097300000000004</c:v>
                </c:pt>
                <c:pt idx="2785">
                  <c:v>-0.67903800000000003</c:v>
                </c:pt>
                <c:pt idx="2786">
                  <c:v>-0.671601</c:v>
                </c:pt>
                <c:pt idx="2787">
                  <c:v>-0.71799000000000002</c:v>
                </c:pt>
                <c:pt idx="2788">
                  <c:v>-0.596549</c:v>
                </c:pt>
                <c:pt idx="2789">
                  <c:v>-0.52044599999999996</c:v>
                </c:pt>
                <c:pt idx="2790">
                  <c:v>-0.66756899999999997</c:v>
                </c:pt>
                <c:pt idx="2791">
                  <c:v>-0.804539</c:v>
                </c:pt>
                <c:pt idx="2792">
                  <c:v>-0.74605399999999999</c:v>
                </c:pt>
                <c:pt idx="2793">
                  <c:v>-0.44774799999999998</c:v>
                </c:pt>
                <c:pt idx="2794">
                  <c:v>-0.417126</c:v>
                </c:pt>
                <c:pt idx="2795">
                  <c:v>-0.31109599999999998</c:v>
                </c:pt>
                <c:pt idx="2796">
                  <c:v>-0.104099</c:v>
                </c:pt>
                <c:pt idx="2797">
                  <c:v>-0.16814599999999999</c:v>
                </c:pt>
                <c:pt idx="2798">
                  <c:v>2.5253999999999999E-2</c:v>
                </c:pt>
                <c:pt idx="2799">
                  <c:v>0.42483199999999999</c:v>
                </c:pt>
                <c:pt idx="2800">
                  <c:v>0.47450900000000001</c:v>
                </c:pt>
                <c:pt idx="2801">
                  <c:v>0.483792</c:v>
                </c:pt>
                <c:pt idx="2802">
                  <c:v>0.52440200000000003</c:v>
                </c:pt>
                <c:pt idx="2803">
                  <c:v>0.377639</c:v>
                </c:pt>
                <c:pt idx="2804">
                  <c:v>0.38734200000000002</c:v>
                </c:pt>
                <c:pt idx="2805">
                  <c:v>0.47332999999999997</c:v>
                </c:pt>
                <c:pt idx="2806">
                  <c:v>0.53228600000000004</c:v>
                </c:pt>
                <c:pt idx="2807">
                  <c:v>0.64855700000000005</c:v>
                </c:pt>
                <c:pt idx="2808">
                  <c:v>0.864402</c:v>
                </c:pt>
                <c:pt idx="2809">
                  <c:v>0.93906100000000003</c:v>
                </c:pt>
                <c:pt idx="2810">
                  <c:v>0.46548699999999998</c:v>
                </c:pt>
                <c:pt idx="2811">
                  <c:v>0.42915399999999998</c:v>
                </c:pt>
                <c:pt idx="2812">
                  <c:v>0.93702399999999997</c:v>
                </c:pt>
                <c:pt idx="2813">
                  <c:v>1.2226919999999999</c:v>
                </c:pt>
                <c:pt idx="2814">
                  <c:v>1.410169</c:v>
                </c:pt>
                <c:pt idx="2815">
                  <c:v>1.4888220000000001</c:v>
                </c:pt>
                <c:pt idx="2816">
                  <c:v>1.6425970000000001</c:v>
                </c:pt>
                <c:pt idx="2817">
                  <c:v>1.7688550000000001</c:v>
                </c:pt>
                <c:pt idx="2818">
                  <c:v>1.744799</c:v>
                </c:pt>
                <c:pt idx="2819">
                  <c:v>1.703635</c:v>
                </c:pt>
                <c:pt idx="2820">
                  <c:v>1.5725070000000001</c:v>
                </c:pt>
                <c:pt idx="2821">
                  <c:v>1.7249650000000001</c:v>
                </c:pt>
                <c:pt idx="2822">
                  <c:v>2.2257400000000001</c:v>
                </c:pt>
                <c:pt idx="2823">
                  <c:v>2.2584939999999998</c:v>
                </c:pt>
                <c:pt idx="2824">
                  <c:v>1.7796650000000001</c:v>
                </c:pt>
                <c:pt idx="2825">
                  <c:v>1.680396</c:v>
                </c:pt>
                <c:pt idx="2826">
                  <c:v>2.095459</c:v>
                </c:pt>
                <c:pt idx="2827">
                  <c:v>1.987304</c:v>
                </c:pt>
                <c:pt idx="2828">
                  <c:v>1.814589</c:v>
                </c:pt>
                <c:pt idx="2829">
                  <c:v>1.7900119999999999</c:v>
                </c:pt>
                <c:pt idx="2830">
                  <c:v>1.6394249999999999</c:v>
                </c:pt>
                <c:pt idx="2831">
                  <c:v>1.548273</c:v>
                </c:pt>
                <c:pt idx="2832">
                  <c:v>1.6889609999999999</c:v>
                </c:pt>
                <c:pt idx="2833">
                  <c:v>1.819861</c:v>
                </c:pt>
                <c:pt idx="2834">
                  <c:v>1.6219269999999999</c:v>
                </c:pt>
                <c:pt idx="2835">
                  <c:v>1.9231199999999999</c:v>
                </c:pt>
                <c:pt idx="2836">
                  <c:v>2.356058</c:v>
                </c:pt>
                <c:pt idx="2837">
                  <c:v>2.348258</c:v>
                </c:pt>
                <c:pt idx="2838">
                  <c:v>2.1089630000000001</c:v>
                </c:pt>
                <c:pt idx="2839">
                  <c:v>2.1387879999999999</c:v>
                </c:pt>
                <c:pt idx="2840">
                  <c:v>2.2966579999999999</c:v>
                </c:pt>
                <c:pt idx="2841">
                  <c:v>2.5352030000000001</c:v>
                </c:pt>
                <c:pt idx="2842">
                  <c:v>2.8219129999999999</c:v>
                </c:pt>
                <c:pt idx="2843">
                  <c:v>2.949999</c:v>
                </c:pt>
                <c:pt idx="2844">
                  <c:v>3.1991589999999999</c:v>
                </c:pt>
                <c:pt idx="2845">
                  <c:v>3.2470340000000002</c:v>
                </c:pt>
                <c:pt idx="2846">
                  <c:v>3.1196990000000002</c:v>
                </c:pt>
                <c:pt idx="2847">
                  <c:v>3.4291969999999998</c:v>
                </c:pt>
                <c:pt idx="2848">
                  <c:v>3.832589</c:v>
                </c:pt>
                <c:pt idx="2849">
                  <c:v>3.6983959999999998</c:v>
                </c:pt>
                <c:pt idx="2850">
                  <c:v>3.5439780000000001</c:v>
                </c:pt>
                <c:pt idx="2851">
                  <c:v>3.6958120000000001</c:v>
                </c:pt>
                <c:pt idx="2852">
                  <c:v>3.665842</c:v>
                </c:pt>
                <c:pt idx="2853">
                  <c:v>3.6096490000000001</c:v>
                </c:pt>
                <c:pt idx="2854">
                  <c:v>3.5939410000000001</c:v>
                </c:pt>
                <c:pt idx="2855">
                  <c:v>3.5994410000000001</c:v>
                </c:pt>
                <c:pt idx="2856">
                  <c:v>3.881815</c:v>
                </c:pt>
                <c:pt idx="2857">
                  <c:v>4.1199279999999998</c:v>
                </c:pt>
                <c:pt idx="2858">
                  <c:v>4.1451320000000003</c:v>
                </c:pt>
                <c:pt idx="2859">
                  <c:v>4.1275339999999998</c:v>
                </c:pt>
                <c:pt idx="2860">
                  <c:v>4.2822180000000003</c:v>
                </c:pt>
                <c:pt idx="2861">
                  <c:v>4.2569739999999996</c:v>
                </c:pt>
                <c:pt idx="2862">
                  <c:v>4.2047460000000001</c:v>
                </c:pt>
                <c:pt idx="2863">
                  <c:v>4.3986369999999999</c:v>
                </c:pt>
                <c:pt idx="2864">
                  <c:v>4.5918770000000002</c:v>
                </c:pt>
                <c:pt idx="2865">
                  <c:v>4.4543569999999999</c:v>
                </c:pt>
                <c:pt idx="2866">
                  <c:v>4.6140400000000001</c:v>
                </c:pt>
                <c:pt idx="2867">
                  <c:v>4.7172409999999996</c:v>
                </c:pt>
                <c:pt idx="2868">
                  <c:v>4.2609519999999996</c:v>
                </c:pt>
                <c:pt idx="2869">
                  <c:v>4.1606189999999996</c:v>
                </c:pt>
                <c:pt idx="2870">
                  <c:v>4.2973929999999996</c:v>
                </c:pt>
                <c:pt idx="2871">
                  <c:v>4.3646459999999996</c:v>
                </c:pt>
                <c:pt idx="2872">
                  <c:v>4.4031029999999998</c:v>
                </c:pt>
                <c:pt idx="2873">
                  <c:v>4.225142</c:v>
                </c:pt>
                <c:pt idx="2874">
                  <c:v>4.3356890000000003</c:v>
                </c:pt>
                <c:pt idx="2875">
                  <c:v>4.3889399999999998</c:v>
                </c:pt>
                <c:pt idx="2876">
                  <c:v>4.3592250000000003</c:v>
                </c:pt>
                <c:pt idx="2877">
                  <c:v>4.4802980000000003</c:v>
                </c:pt>
                <c:pt idx="2878">
                  <c:v>4.4196220000000004</c:v>
                </c:pt>
                <c:pt idx="2879">
                  <c:v>4.4625690000000002</c:v>
                </c:pt>
                <c:pt idx="2880">
                  <c:v>4.4924569999999999</c:v>
                </c:pt>
                <c:pt idx="2881">
                  <c:v>4.5168600000000003</c:v>
                </c:pt>
                <c:pt idx="2882">
                  <c:v>4.4026050000000003</c:v>
                </c:pt>
                <c:pt idx="2883">
                  <c:v>4.4829530000000002</c:v>
                </c:pt>
                <c:pt idx="2884">
                  <c:v>4.5259799999999997</c:v>
                </c:pt>
                <c:pt idx="2885">
                  <c:v>4.4231220000000002</c:v>
                </c:pt>
                <c:pt idx="2886">
                  <c:v>4.4376769999999999</c:v>
                </c:pt>
                <c:pt idx="2887">
                  <c:v>4.5149590000000002</c:v>
                </c:pt>
                <c:pt idx="2888">
                  <c:v>4.3546699999999996</c:v>
                </c:pt>
                <c:pt idx="2889">
                  <c:v>4.1361650000000001</c:v>
                </c:pt>
                <c:pt idx="2890">
                  <c:v>4.2756959999999999</c:v>
                </c:pt>
                <c:pt idx="2891">
                  <c:v>4.2022149999999998</c:v>
                </c:pt>
                <c:pt idx="2892">
                  <c:v>4.0216010000000004</c:v>
                </c:pt>
                <c:pt idx="2893">
                  <c:v>4.1815850000000001</c:v>
                </c:pt>
                <c:pt idx="2894">
                  <c:v>4.050014</c:v>
                </c:pt>
                <c:pt idx="2895">
                  <c:v>3.7713510000000001</c:v>
                </c:pt>
                <c:pt idx="2896">
                  <c:v>3.8022649999999998</c:v>
                </c:pt>
                <c:pt idx="2897">
                  <c:v>3.7948930000000001</c:v>
                </c:pt>
                <c:pt idx="2898">
                  <c:v>3.5001679999999999</c:v>
                </c:pt>
                <c:pt idx="2899">
                  <c:v>3.4553889999999998</c:v>
                </c:pt>
                <c:pt idx="2900">
                  <c:v>3.7360319999999998</c:v>
                </c:pt>
                <c:pt idx="2901">
                  <c:v>3.7365159999999999</c:v>
                </c:pt>
                <c:pt idx="2902">
                  <c:v>3.5301979999999999</c:v>
                </c:pt>
                <c:pt idx="2903">
                  <c:v>3.4107690000000002</c:v>
                </c:pt>
                <c:pt idx="2904">
                  <c:v>3.4623870000000001</c:v>
                </c:pt>
                <c:pt idx="2905">
                  <c:v>3.3373940000000002</c:v>
                </c:pt>
                <c:pt idx="2906">
                  <c:v>3.323833</c:v>
                </c:pt>
                <c:pt idx="2907">
                  <c:v>3.297072</c:v>
                </c:pt>
                <c:pt idx="2908">
                  <c:v>3.2021769999999998</c:v>
                </c:pt>
                <c:pt idx="2909">
                  <c:v>3.2697259999999999</c:v>
                </c:pt>
                <c:pt idx="2910">
                  <c:v>3.2931400000000002</c:v>
                </c:pt>
                <c:pt idx="2911">
                  <c:v>3.2304909999999998</c:v>
                </c:pt>
                <c:pt idx="2912">
                  <c:v>2.9859610000000001</c:v>
                </c:pt>
                <c:pt idx="2913">
                  <c:v>2.9753790000000002</c:v>
                </c:pt>
                <c:pt idx="2914">
                  <c:v>2.9450449999999999</c:v>
                </c:pt>
                <c:pt idx="2915">
                  <c:v>2.7773020000000002</c:v>
                </c:pt>
                <c:pt idx="2916">
                  <c:v>2.936124</c:v>
                </c:pt>
                <c:pt idx="2917">
                  <c:v>2.7990780000000002</c:v>
                </c:pt>
                <c:pt idx="2918">
                  <c:v>2.5116480000000001</c:v>
                </c:pt>
                <c:pt idx="2919">
                  <c:v>2.465776</c:v>
                </c:pt>
                <c:pt idx="2920">
                  <c:v>2.341669</c:v>
                </c:pt>
                <c:pt idx="2921">
                  <c:v>2.2446519999999999</c:v>
                </c:pt>
                <c:pt idx="2922">
                  <c:v>2.5683050000000001</c:v>
                </c:pt>
                <c:pt idx="2923">
                  <c:v>2.5177839999999998</c:v>
                </c:pt>
                <c:pt idx="2924">
                  <c:v>2.151691</c:v>
                </c:pt>
                <c:pt idx="2925">
                  <c:v>2.137292</c:v>
                </c:pt>
                <c:pt idx="2926">
                  <c:v>1.9658</c:v>
                </c:pt>
                <c:pt idx="2927">
                  <c:v>1.8462350000000001</c:v>
                </c:pt>
                <c:pt idx="2928">
                  <c:v>1.9517329999999999</c:v>
                </c:pt>
                <c:pt idx="2929">
                  <c:v>1.845432</c:v>
                </c:pt>
                <c:pt idx="2930">
                  <c:v>1.70102</c:v>
                </c:pt>
                <c:pt idx="2931">
                  <c:v>1.663761</c:v>
                </c:pt>
                <c:pt idx="2932">
                  <c:v>1.685932</c:v>
                </c:pt>
                <c:pt idx="2933">
                  <c:v>1.8108900000000001</c:v>
                </c:pt>
                <c:pt idx="2934">
                  <c:v>1.934523</c:v>
                </c:pt>
                <c:pt idx="2935">
                  <c:v>1.7950120000000001</c:v>
                </c:pt>
                <c:pt idx="2936">
                  <c:v>1.516513</c:v>
                </c:pt>
                <c:pt idx="2937">
                  <c:v>1.48516</c:v>
                </c:pt>
                <c:pt idx="2938">
                  <c:v>1.5802719999999999</c:v>
                </c:pt>
                <c:pt idx="2939">
                  <c:v>1.54637</c:v>
                </c:pt>
                <c:pt idx="2940">
                  <c:v>1.6548229999999999</c:v>
                </c:pt>
                <c:pt idx="2941">
                  <c:v>1.703997</c:v>
                </c:pt>
                <c:pt idx="2942">
                  <c:v>1.2570790000000001</c:v>
                </c:pt>
                <c:pt idx="2943">
                  <c:v>1.207991</c:v>
                </c:pt>
                <c:pt idx="2944">
                  <c:v>1.693635</c:v>
                </c:pt>
                <c:pt idx="2945">
                  <c:v>1.8116479999999999</c:v>
                </c:pt>
                <c:pt idx="2946">
                  <c:v>1.7574559999999999</c:v>
                </c:pt>
                <c:pt idx="2947">
                  <c:v>1.604039</c:v>
                </c:pt>
                <c:pt idx="2948">
                  <c:v>1.5960719999999999</c:v>
                </c:pt>
                <c:pt idx="2949">
                  <c:v>1.6531739999999999</c:v>
                </c:pt>
                <c:pt idx="2950">
                  <c:v>1.41425</c:v>
                </c:pt>
                <c:pt idx="2951">
                  <c:v>1.414191</c:v>
                </c:pt>
                <c:pt idx="2952">
                  <c:v>1.3305709999999999</c:v>
                </c:pt>
                <c:pt idx="2953">
                  <c:v>1.3418399999999999</c:v>
                </c:pt>
                <c:pt idx="2954">
                  <c:v>1.262758</c:v>
                </c:pt>
                <c:pt idx="2955">
                  <c:v>1.210521</c:v>
                </c:pt>
                <c:pt idx="2956">
                  <c:v>1.0945720000000001</c:v>
                </c:pt>
                <c:pt idx="2957">
                  <c:v>0.95023599999999997</c:v>
                </c:pt>
                <c:pt idx="2958">
                  <c:v>1.048708</c:v>
                </c:pt>
                <c:pt idx="2959">
                  <c:v>1.0831789999999999</c:v>
                </c:pt>
                <c:pt idx="2960">
                  <c:v>1.224615</c:v>
                </c:pt>
                <c:pt idx="2961">
                  <c:v>1.2295590000000001</c:v>
                </c:pt>
                <c:pt idx="2962">
                  <c:v>0.89427800000000002</c:v>
                </c:pt>
                <c:pt idx="2963">
                  <c:v>0.97837600000000002</c:v>
                </c:pt>
                <c:pt idx="2964">
                  <c:v>1.2051240000000001</c:v>
                </c:pt>
                <c:pt idx="2965">
                  <c:v>0.98856900000000003</c:v>
                </c:pt>
                <c:pt idx="2966">
                  <c:v>0.86905399999999999</c:v>
                </c:pt>
                <c:pt idx="2967">
                  <c:v>0.99527200000000005</c:v>
                </c:pt>
                <c:pt idx="2968">
                  <c:v>1.118776</c:v>
                </c:pt>
                <c:pt idx="2969">
                  <c:v>1.255517</c:v>
                </c:pt>
                <c:pt idx="2970">
                  <c:v>1.1996929999999999</c:v>
                </c:pt>
                <c:pt idx="2971">
                  <c:v>1.1149579999999999</c:v>
                </c:pt>
                <c:pt idx="2972">
                  <c:v>1.3410059999999999</c:v>
                </c:pt>
                <c:pt idx="2973">
                  <c:v>1.3340920000000001</c:v>
                </c:pt>
                <c:pt idx="2974">
                  <c:v>1.481136</c:v>
                </c:pt>
                <c:pt idx="2975">
                  <c:v>1.572535</c:v>
                </c:pt>
                <c:pt idx="2976">
                  <c:v>1.509028</c:v>
                </c:pt>
                <c:pt idx="2977">
                  <c:v>1.4215279999999999</c:v>
                </c:pt>
                <c:pt idx="2978">
                  <c:v>1.5889880000000001</c:v>
                </c:pt>
                <c:pt idx="2979">
                  <c:v>1.6157349999999999</c:v>
                </c:pt>
                <c:pt idx="2980">
                  <c:v>1.513404</c:v>
                </c:pt>
                <c:pt idx="2981">
                  <c:v>1.462053</c:v>
                </c:pt>
                <c:pt idx="2982">
                  <c:v>1.507584</c:v>
                </c:pt>
                <c:pt idx="2983">
                  <c:v>1.732456</c:v>
                </c:pt>
                <c:pt idx="2984">
                  <c:v>1.593939</c:v>
                </c:pt>
                <c:pt idx="2985">
                  <c:v>1.7347490000000001</c:v>
                </c:pt>
                <c:pt idx="2986">
                  <c:v>2.020791</c:v>
                </c:pt>
                <c:pt idx="2987">
                  <c:v>2.402641</c:v>
                </c:pt>
                <c:pt idx="2988">
                  <c:v>2.237581</c:v>
                </c:pt>
                <c:pt idx="2989">
                  <c:v>1.9229499999999999</c:v>
                </c:pt>
                <c:pt idx="2990">
                  <c:v>2.0347789999999999</c:v>
                </c:pt>
                <c:pt idx="2991">
                  <c:v>2.033579</c:v>
                </c:pt>
                <c:pt idx="2992">
                  <c:v>1.9714750000000001</c:v>
                </c:pt>
                <c:pt idx="2993">
                  <c:v>1.806878</c:v>
                </c:pt>
                <c:pt idx="2994">
                  <c:v>1.9854019999999999</c:v>
                </c:pt>
                <c:pt idx="2995">
                  <c:v>1.9392180000000001</c:v>
                </c:pt>
                <c:pt idx="2996">
                  <c:v>1.7845850000000001</c:v>
                </c:pt>
                <c:pt idx="2997">
                  <c:v>1.9645840000000001</c:v>
                </c:pt>
                <c:pt idx="2998">
                  <c:v>1.9905040000000001</c:v>
                </c:pt>
                <c:pt idx="2999">
                  <c:v>2.077814</c:v>
                </c:pt>
                <c:pt idx="3000">
                  <c:v>2.3353100000000002</c:v>
                </c:pt>
                <c:pt idx="3001">
                  <c:v>2.2192090000000002</c:v>
                </c:pt>
                <c:pt idx="3002">
                  <c:v>2.111151</c:v>
                </c:pt>
                <c:pt idx="3003">
                  <c:v>2.3974440000000001</c:v>
                </c:pt>
                <c:pt idx="3004">
                  <c:v>2.4276010000000001</c:v>
                </c:pt>
                <c:pt idx="3005">
                  <c:v>2.6032579999999998</c:v>
                </c:pt>
                <c:pt idx="3006">
                  <c:v>2.7860849999999999</c:v>
                </c:pt>
                <c:pt idx="3007">
                  <c:v>2.7151589999999999</c:v>
                </c:pt>
                <c:pt idx="3008">
                  <c:v>2.7727439999999999</c:v>
                </c:pt>
                <c:pt idx="3009">
                  <c:v>2.8264320000000001</c:v>
                </c:pt>
                <c:pt idx="3010">
                  <c:v>2.9455100000000001</c:v>
                </c:pt>
                <c:pt idx="3011">
                  <c:v>3.0326870000000001</c:v>
                </c:pt>
                <c:pt idx="3012">
                  <c:v>3.1066560000000001</c:v>
                </c:pt>
                <c:pt idx="3013">
                  <c:v>3.1722269999999999</c:v>
                </c:pt>
                <c:pt idx="3014">
                  <c:v>3.0299900000000002</c:v>
                </c:pt>
                <c:pt idx="3015">
                  <c:v>3.10887</c:v>
                </c:pt>
                <c:pt idx="3016">
                  <c:v>3.297031</c:v>
                </c:pt>
                <c:pt idx="3017">
                  <c:v>3.1472609999999999</c:v>
                </c:pt>
                <c:pt idx="3018">
                  <c:v>3.084419</c:v>
                </c:pt>
                <c:pt idx="3019">
                  <c:v>3.0548380000000002</c:v>
                </c:pt>
                <c:pt idx="3020">
                  <c:v>3.178588</c:v>
                </c:pt>
                <c:pt idx="3021">
                  <c:v>3.5199539999999998</c:v>
                </c:pt>
                <c:pt idx="3022">
                  <c:v>3.520734</c:v>
                </c:pt>
                <c:pt idx="3023">
                  <c:v>3.551628</c:v>
                </c:pt>
                <c:pt idx="3024">
                  <c:v>3.5213559999999999</c:v>
                </c:pt>
                <c:pt idx="3025">
                  <c:v>3.3227099999999998</c:v>
                </c:pt>
                <c:pt idx="3026">
                  <c:v>3.5623610000000001</c:v>
                </c:pt>
                <c:pt idx="3027">
                  <c:v>3.8328899999999999</c:v>
                </c:pt>
                <c:pt idx="3028">
                  <c:v>3.8005770000000001</c:v>
                </c:pt>
                <c:pt idx="3029">
                  <c:v>3.6067969999999998</c:v>
                </c:pt>
                <c:pt idx="3030">
                  <c:v>3.5857209999999999</c:v>
                </c:pt>
                <c:pt idx="3031">
                  <c:v>3.575955</c:v>
                </c:pt>
                <c:pt idx="3032">
                  <c:v>3.643707</c:v>
                </c:pt>
                <c:pt idx="3033">
                  <c:v>3.4768590000000001</c:v>
                </c:pt>
                <c:pt idx="3034">
                  <c:v>3.18771</c:v>
                </c:pt>
                <c:pt idx="3035">
                  <c:v>3.4211170000000002</c:v>
                </c:pt>
                <c:pt idx="3036">
                  <c:v>3.3275420000000002</c:v>
                </c:pt>
                <c:pt idx="3037">
                  <c:v>3.0702379999999998</c:v>
                </c:pt>
                <c:pt idx="3038">
                  <c:v>3.18486</c:v>
                </c:pt>
                <c:pt idx="3039">
                  <c:v>3.2953830000000002</c:v>
                </c:pt>
                <c:pt idx="3040">
                  <c:v>3.3496359999999998</c:v>
                </c:pt>
                <c:pt idx="3041">
                  <c:v>3.3789289999999998</c:v>
                </c:pt>
                <c:pt idx="3042">
                  <c:v>3.3992399999999998</c:v>
                </c:pt>
                <c:pt idx="3043">
                  <c:v>3.414193</c:v>
                </c:pt>
                <c:pt idx="3044">
                  <c:v>3.3601369999999999</c:v>
                </c:pt>
                <c:pt idx="3045">
                  <c:v>3.4019219999999999</c:v>
                </c:pt>
                <c:pt idx="3046">
                  <c:v>3.562179</c:v>
                </c:pt>
                <c:pt idx="3047">
                  <c:v>3.793425</c:v>
                </c:pt>
                <c:pt idx="3048">
                  <c:v>3.734283</c:v>
                </c:pt>
                <c:pt idx="3049">
                  <c:v>3.5236499999999999</c:v>
                </c:pt>
                <c:pt idx="3050">
                  <c:v>3.5538240000000001</c:v>
                </c:pt>
                <c:pt idx="3051">
                  <c:v>3.3659300000000001</c:v>
                </c:pt>
                <c:pt idx="3052">
                  <c:v>3.058376</c:v>
                </c:pt>
                <c:pt idx="3053">
                  <c:v>3.0065919999999999</c:v>
                </c:pt>
                <c:pt idx="3054">
                  <c:v>3.1536080000000002</c:v>
                </c:pt>
                <c:pt idx="3055">
                  <c:v>3.2124079999999999</c:v>
                </c:pt>
                <c:pt idx="3056">
                  <c:v>3.033344</c:v>
                </c:pt>
                <c:pt idx="3057">
                  <c:v>3.131059</c:v>
                </c:pt>
                <c:pt idx="3058">
                  <c:v>3.0334490000000001</c:v>
                </c:pt>
                <c:pt idx="3059">
                  <c:v>3.0449380000000001</c:v>
                </c:pt>
                <c:pt idx="3060">
                  <c:v>3.2402030000000002</c:v>
                </c:pt>
                <c:pt idx="3061">
                  <c:v>3.0762489999999998</c:v>
                </c:pt>
                <c:pt idx="3062">
                  <c:v>2.9199860000000002</c:v>
                </c:pt>
                <c:pt idx="3063">
                  <c:v>2.8939089999999998</c:v>
                </c:pt>
                <c:pt idx="3064">
                  <c:v>3.0682119999999999</c:v>
                </c:pt>
                <c:pt idx="3065">
                  <c:v>3.2238519999999999</c:v>
                </c:pt>
                <c:pt idx="3066">
                  <c:v>3.1103230000000002</c:v>
                </c:pt>
                <c:pt idx="3067">
                  <c:v>3.0579710000000002</c:v>
                </c:pt>
                <c:pt idx="3068">
                  <c:v>3.1632120000000001</c:v>
                </c:pt>
                <c:pt idx="3069">
                  <c:v>3.086525</c:v>
                </c:pt>
                <c:pt idx="3070">
                  <c:v>2.843744</c:v>
                </c:pt>
                <c:pt idx="3071">
                  <c:v>2.5002450000000001</c:v>
                </c:pt>
                <c:pt idx="3072">
                  <c:v>2.4237540000000002</c:v>
                </c:pt>
                <c:pt idx="3073">
                  <c:v>2.4117630000000001</c:v>
                </c:pt>
                <c:pt idx="3074">
                  <c:v>2.511377</c:v>
                </c:pt>
                <c:pt idx="3075">
                  <c:v>2.6761759999999999</c:v>
                </c:pt>
                <c:pt idx="3076">
                  <c:v>2.4859779999999998</c:v>
                </c:pt>
                <c:pt idx="3077">
                  <c:v>2.3767960000000001</c:v>
                </c:pt>
                <c:pt idx="3078">
                  <c:v>2.4358339999999998</c:v>
                </c:pt>
                <c:pt idx="3079">
                  <c:v>2.3167239999999998</c:v>
                </c:pt>
                <c:pt idx="3080">
                  <c:v>2.3080660000000002</c:v>
                </c:pt>
                <c:pt idx="3081">
                  <c:v>2.3536280000000001</c:v>
                </c:pt>
                <c:pt idx="3082">
                  <c:v>2.2326139999999999</c:v>
                </c:pt>
                <c:pt idx="3083">
                  <c:v>2.1555780000000002</c:v>
                </c:pt>
                <c:pt idx="3084">
                  <c:v>2.3704960000000002</c:v>
                </c:pt>
                <c:pt idx="3085">
                  <c:v>2.271347</c:v>
                </c:pt>
                <c:pt idx="3086">
                  <c:v>2.084616</c:v>
                </c:pt>
                <c:pt idx="3087">
                  <c:v>2.3764349999999999</c:v>
                </c:pt>
                <c:pt idx="3088">
                  <c:v>2.5280999999999998</c:v>
                </c:pt>
                <c:pt idx="3089">
                  <c:v>2.3492220000000001</c:v>
                </c:pt>
                <c:pt idx="3090">
                  <c:v>2.1940469999999999</c:v>
                </c:pt>
                <c:pt idx="3091">
                  <c:v>2.1026820000000002</c:v>
                </c:pt>
                <c:pt idx="3092">
                  <c:v>2.0417749999999999</c:v>
                </c:pt>
                <c:pt idx="3093">
                  <c:v>1.9232910000000001</c:v>
                </c:pt>
                <c:pt idx="3094">
                  <c:v>1.8427659999999999</c:v>
                </c:pt>
                <c:pt idx="3095">
                  <c:v>1.774802</c:v>
                </c:pt>
                <c:pt idx="3096">
                  <c:v>1.717795</c:v>
                </c:pt>
                <c:pt idx="3097">
                  <c:v>1.593871</c:v>
                </c:pt>
                <c:pt idx="3098">
                  <c:v>1.6420729999999999</c:v>
                </c:pt>
                <c:pt idx="3099">
                  <c:v>1.777666</c:v>
                </c:pt>
                <c:pt idx="3100">
                  <c:v>1.7750649999999999</c:v>
                </c:pt>
                <c:pt idx="3101">
                  <c:v>1.8348979999999999</c:v>
                </c:pt>
                <c:pt idx="3102">
                  <c:v>1.9354549999999999</c:v>
                </c:pt>
                <c:pt idx="3103">
                  <c:v>1.7871509999999999</c:v>
                </c:pt>
                <c:pt idx="3104">
                  <c:v>1.6449590000000001</c:v>
                </c:pt>
                <c:pt idx="3105">
                  <c:v>1.8274440000000001</c:v>
                </c:pt>
                <c:pt idx="3106">
                  <c:v>1.7168909999999999</c:v>
                </c:pt>
                <c:pt idx="3107">
                  <c:v>1.7926040000000001</c:v>
                </c:pt>
                <c:pt idx="3108">
                  <c:v>1.9635849999999999</c:v>
                </c:pt>
                <c:pt idx="3109">
                  <c:v>1.6548989999999999</c:v>
                </c:pt>
                <c:pt idx="3110">
                  <c:v>1.490594</c:v>
                </c:pt>
                <c:pt idx="3111">
                  <c:v>1.4497739999999999</c:v>
                </c:pt>
                <c:pt idx="3112">
                  <c:v>1.341493</c:v>
                </c:pt>
                <c:pt idx="3113">
                  <c:v>1.4640569999999999</c:v>
                </c:pt>
                <c:pt idx="3114">
                  <c:v>1.444736</c:v>
                </c:pt>
                <c:pt idx="3115">
                  <c:v>1.3577680000000001</c:v>
                </c:pt>
                <c:pt idx="3116">
                  <c:v>1.3661859999999999</c:v>
                </c:pt>
                <c:pt idx="3117">
                  <c:v>1.2903530000000001</c:v>
                </c:pt>
                <c:pt idx="3118">
                  <c:v>1.3059700000000001</c:v>
                </c:pt>
                <c:pt idx="3119">
                  <c:v>1.2326520000000001</c:v>
                </c:pt>
                <c:pt idx="3120">
                  <c:v>1.183629</c:v>
                </c:pt>
                <c:pt idx="3121">
                  <c:v>1.2090179999999999</c:v>
                </c:pt>
                <c:pt idx="3122">
                  <c:v>1.280654</c:v>
                </c:pt>
                <c:pt idx="3123">
                  <c:v>1.3107249999999999</c:v>
                </c:pt>
                <c:pt idx="3124">
                  <c:v>1.1914579999999999</c:v>
                </c:pt>
                <c:pt idx="3125">
                  <c:v>1.325817</c:v>
                </c:pt>
                <c:pt idx="3126">
                  <c:v>1.3255440000000001</c:v>
                </c:pt>
                <c:pt idx="3127">
                  <c:v>1.3296399999999999</c:v>
                </c:pt>
                <c:pt idx="3128">
                  <c:v>1.398949</c:v>
                </c:pt>
                <c:pt idx="3129">
                  <c:v>1.3053079999999999</c:v>
                </c:pt>
                <c:pt idx="3130">
                  <c:v>1.1880949999999999</c:v>
                </c:pt>
                <c:pt idx="3131">
                  <c:v>1.1874180000000001</c:v>
                </c:pt>
                <c:pt idx="3132">
                  <c:v>1.0399879999999999</c:v>
                </c:pt>
                <c:pt idx="3133">
                  <c:v>1.018907</c:v>
                </c:pt>
                <c:pt idx="3134">
                  <c:v>1.260025</c:v>
                </c:pt>
                <c:pt idx="3135">
                  <c:v>1.2499579999999999</c:v>
                </c:pt>
                <c:pt idx="3136">
                  <c:v>1.1807030000000001</c:v>
                </c:pt>
                <c:pt idx="3137">
                  <c:v>1.074881</c:v>
                </c:pt>
                <c:pt idx="3138">
                  <c:v>1.0119819999999999</c:v>
                </c:pt>
                <c:pt idx="3139">
                  <c:v>1.102309</c:v>
                </c:pt>
                <c:pt idx="3140">
                  <c:v>1.0742640000000001</c:v>
                </c:pt>
                <c:pt idx="3141">
                  <c:v>1.2607159999999999</c:v>
                </c:pt>
                <c:pt idx="3142">
                  <c:v>1.2231609999999999</c:v>
                </c:pt>
                <c:pt idx="3143">
                  <c:v>0.94220099999999996</c:v>
                </c:pt>
                <c:pt idx="3144">
                  <c:v>1.1220190000000001</c:v>
                </c:pt>
                <c:pt idx="3145">
                  <c:v>1.0729900000000001</c:v>
                </c:pt>
                <c:pt idx="3146">
                  <c:v>0.97898700000000005</c:v>
                </c:pt>
                <c:pt idx="3147">
                  <c:v>1.054729</c:v>
                </c:pt>
                <c:pt idx="3148">
                  <c:v>1.0901019999999999</c:v>
                </c:pt>
                <c:pt idx="3149">
                  <c:v>1.1750849999999999</c:v>
                </c:pt>
                <c:pt idx="3150">
                  <c:v>1.1557489999999999</c:v>
                </c:pt>
                <c:pt idx="3151">
                  <c:v>1.218496</c:v>
                </c:pt>
                <c:pt idx="3152">
                  <c:v>1.1192690000000001</c:v>
                </c:pt>
                <c:pt idx="3153">
                  <c:v>1.0710150000000001</c:v>
                </c:pt>
                <c:pt idx="3154">
                  <c:v>0.96995399999999998</c:v>
                </c:pt>
                <c:pt idx="3155">
                  <c:v>0.97928800000000005</c:v>
                </c:pt>
                <c:pt idx="3156">
                  <c:v>1.1741109999999999</c:v>
                </c:pt>
                <c:pt idx="3157">
                  <c:v>1.0767949999999999</c:v>
                </c:pt>
                <c:pt idx="3158">
                  <c:v>1.0946039999999999</c:v>
                </c:pt>
                <c:pt idx="3159">
                  <c:v>1.0342800000000001</c:v>
                </c:pt>
                <c:pt idx="3160">
                  <c:v>0.93257999999999996</c:v>
                </c:pt>
                <c:pt idx="3161">
                  <c:v>1.1415029999999999</c:v>
                </c:pt>
                <c:pt idx="3162">
                  <c:v>1.181548</c:v>
                </c:pt>
                <c:pt idx="3163">
                  <c:v>1.144687</c:v>
                </c:pt>
                <c:pt idx="3164">
                  <c:v>1.2635190000000001</c:v>
                </c:pt>
                <c:pt idx="3165">
                  <c:v>1.1309009999999999</c:v>
                </c:pt>
                <c:pt idx="3166">
                  <c:v>1.201541</c:v>
                </c:pt>
                <c:pt idx="3167">
                  <c:v>1.4424189999999999</c:v>
                </c:pt>
                <c:pt idx="3168">
                  <c:v>1.4492350000000001</c:v>
                </c:pt>
                <c:pt idx="3169">
                  <c:v>1.4714609999999999</c:v>
                </c:pt>
                <c:pt idx="3170">
                  <c:v>1.702142</c:v>
                </c:pt>
                <c:pt idx="3171">
                  <c:v>1.709813</c:v>
                </c:pt>
                <c:pt idx="3172">
                  <c:v>1.6053740000000001</c:v>
                </c:pt>
                <c:pt idx="3173">
                  <c:v>1.63127</c:v>
                </c:pt>
                <c:pt idx="3174">
                  <c:v>1.7242150000000001</c:v>
                </c:pt>
                <c:pt idx="3175">
                  <c:v>1.648574</c:v>
                </c:pt>
                <c:pt idx="3176">
                  <c:v>1.6889639999999999</c:v>
                </c:pt>
                <c:pt idx="3177">
                  <c:v>2.054227</c:v>
                </c:pt>
                <c:pt idx="3178">
                  <c:v>1.998912</c:v>
                </c:pt>
                <c:pt idx="3179">
                  <c:v>1.5210060000000001</c:v>
                </c:pt>
                <c:pt idx="3180">
                  <c:v>1.6072360000000001</c:v>
                </c:pt>
                <c:pt idx="3181">
                  <c:v>1.771895</c:v>
                </c:pt>
                <c:pt idx="3182">
                  <c:v>1.6607499999999999</c:v>
                </c:pt>
                <c:pt idx="3183">
                  <c:v>1.3946240000000001</c:v>
                </c:pt>
                <c:pt idx="3184">
                  <c:v>1.311104</c:v>
                </c:pt>
                <c:pt idx="3185">
                  <c:v>1.5789599999999999</c:v>
                </c:pt>
                <c:pt idx="3186">
                  <c:v>1.78285</c:v>
                </c:pt>
                <c:pt idx="3187">
                  <c:v>2.0346289999999998</c:v>
                </c:pt>
                <c:pt idx="3188">
                  <c:v>2.193514</c:v>
                </c:pt>
                <c:pt idx="3189">
                  <c:v>1.9693240000000001</c:v>
                </c:pt>
                <c:pt idx="3190">
                  <c:v>1.875224</c:v>
                </c:pt>
                <c:pt idx="3191">
                  <c:v>2.0306989999999998</c:v>
                </c:pt>
                <c:pt idx="3192">
                  <c:v>2.1250719999999998</c:v>
                </c:pt>
                <c:pt idx="3193">
                  <c:v>2.120295</c:v>
                </c:pt>
                <c:pt idx="3194">
                  <c:v>2.2038760000000002</c:v>
                </c:pt>
                <c:pt idx="3195">
                  <c:v>2.0550739999999998</c:v>
                </c:pt>
                <c:pt idx="3196">
                  <c:v>1.9219729999999999</c:v>
                </c:pt>
                <c:pt idx="3197">
                  <c:v>2.3187790000000001</c:v>
                </c:pt>
                <c:pt idx="3198">
                  <c:v>2.4048479999999999</c:v>
                </c:pt>
                <c:pt idx="3199">
                  <c:v>2.3392529999999998</c:v>
                </c:pt>
                <c:pt idx="3200">
                  <c:v>2.3904030000000001</c:v>
                </c:pt>
                <c:pt idx="3201">
                  <c:v>2.295296</c:v>
                </c:pt>
                <c:pt idx="3202">
                  <c:v>2.1878799999999998</c:v>
                </c:pt>
                <c:pt idx="3203">
                  <c:v>2.3333539999999999</c:v>
                </c:pt>
                <c:pt idx="3204">
                  <c:v>2.4134760000000002</c:v>
                </c:pt>
                <c:pt idx="3205">
                  <c:v>2.6035189999999999</c:v>
                </c:pt>
                <c:pt idx="3206">
                  <c:v>2.3802289999999999</c:v>
                </c:pt>
                <c:pt idx="3207">
                  <c:v>2.2780049999999998</c:v>
                </c:pt>
                <c:pt idx="3208">
                  <c:v>2.2146330000000001</c:v>
                </c:pt>
                <c:pt idx="3209">
                  <c:v>2.179999</c:v>
                </c:pt>
                <c:pt idx="3210">
                  <c:v>2.7593640000000001</c:v>
                </c:pt>
                <c:pt idx="3211">
                  <c:v>2.8120069999999999</c:v>
                </c:pt>
                <c:pt idx="3212">
                  <c:v>2.6033650000000002</c:v>
                </c:pt>
                <c:pt idx="3213">
                  <c:v>2.7135150000000001</c:v>
                </c:pt>
                <c:pt idx="3214">
                  <c:v>2.8520729999999999</c:v>
                </c:pt>
                <c:pt idx="3215">
                  <c:v>2.8101759999999998</c:v>
                </c:pt>
                <c:pt idx="3216">
                  <c:v>2.738229</c:v>
                </c:pt>
                <c:pt idx="3217">
                  <c:v>2.8461090000000002</c:v>
                </c:pt>
                <c:pt idx="3218">
                  <c:v>2.844573</c:v>
                </c:pt>
                <c:pt idx="3219">
                  <c:v>2.7895669999999999</c:v>
                </c:pt>
                <c:pt idx="3220">
                  <c:v>2.765428</c:v>
                </c:pt>
                <c:pt idx="3221">
                  <c:v>2.6208399999999998</c:v>
                </c:pt>
                <c:pt idx="3222">
                  <c:v>2.675551</c:v>
                </c:pt>
                <c:pt idx="3223">
                  <c:v>2.6980309999999998</c:v>
                </c:pt>
                <c:pt idx="3224">
                  <c:v>2.4375429999999998</c:v>
                </c:pt>
                <c:pt idx="3225">
                  <c:v>2.4929199999999998</c:v>
                </c:pt>
                <c:pt idx="3226">
                  <c:v>2.7087949999999998</c:v>
                </c:pt>
                <c:pt idx="3227">
                  <c:v>2.6890580000000002</c:v>
                </c:pt>
                <c:pt idx="3228">
                  <c:v>3.0243259999999998</c:v>
                </c:pt>
                <c:pt idx="3229">
                  <c:v>2.8763670000000001</c:v>
                </c:pt>
                <c:pt idx="3230">
                  <c:v>2.8228909999999998</c:v>
                </c:pt>
                <c:pt idx="3231">
                  <c:v>2.9299729999999999</c:v>
                </c:pt>
                <c:pt idx="3232">
                  <c:v>3.0028579999999998</c:v>
                </c:pt>
                <c:pt idx="3233">
                  <c:v>3.2532429999999999</c:v>
                </c:pt>
                <c:pt idx="3234">
                  <c:v>3.0057290000000001</c:v>
                </c:pt>
                <c:pt idx="3235">
                  <c:v>3.094185</c:v>
                </c:pt>
                <c:pt idx="3236">
                  <c:v>3.1473640000000001</c:v>
                </c:pt>
                <c:pt idx="3237">
                  <c:v>2.9867620000000001</c:v>
                </c:pt>
                <c:pt idx="3238">
                  <c:v>2.7001460000000002</c:v>
                </c:pt>
                <c:pt idx="3239">
                  <c:v>2.8098860000000001</c:v>
                </c:pt>
                <c:pt idx="3240">
                  <c:v>3.0528059999999999</c:v>
                </c:pt>
                <c:pt idx="3241">
                  <c:v>2.8485649999999998</c:v>
                </c:pt>
                <c:pt idx="3242">
                  <c:v>2.8761580000000002</c:v>
                </c:pt>
                <c:pt idx="3243">
                  <c:v>2.885116</c:v>
                </c:pt>
                <c:pt idx="3244">
                  <c:v>2.6850149999999999</c:v>
                </c:pt>
                <c:pt idx="3245">
                  <c:v>2.8417729999999999</c:v>
                </c:pt>
                <c:pt idx="3246">
                  <c:v>2.8466320000000001</c:v>
                </c:pt>
                <c:pt idx="3247">
                  <c:v>2.717241</c:v>
                </c:pt>
                <c:pt idx="3248">
                  <c:v>2.7754240000000001</c:v>
                </c:pt>
                <c:pt idx="3249">
                  <c:v>2.8025060000000002</c:v>
                </c:pt>
                <c:pt idx="3250">
                  <c:v>3.018224</c:v>
                </c:pt>
                <c:pt idx="3251">
                  <c:v>3.073277</c:v>
                </c:pt>
                <c:pt idx="3252">
                  <c:v>2.9153500000000001</c:v>
                </c:pt>
                <c:pt idx="3253">
                  <c:v>2.9753820000000002</c:v>
                </c:pt>
                <c:pt idx="3254">
                  <c:v>3.009007</c:v>
                </c:pt>
                <c:pt idx="3255">
                  <c:v>2.899518</c:v>
                </c:pt>
                <c:pt idx="3256">
                  <c:v>2.9098570000000001</c:v>
                </c:pt>
                <c:pt idx="3257">
                  <c:v>2.9140329999999999</c:v>
                </c:pt>
                <c:pt idx="3258">
                  <c:v>2.847601</c:v>
                </c:pt>
                <c:pt idx="3259">
                  <c:v>2.6735899999999999</c:v>
                </c:pt>
                <c:pt idx="3260">
                  <c:v>2.433516</c:v>
                </c:pt>
                <c:pt idx="3261">
                  <c:v>2.4862700000000002</c:v>
                </c:pt>
                <c:pt idx="3262">
                  <c:v>2.555574</c:v>
                </c:pt>
                <c:pt idx="3263">
                  <c:v>2.6487970000000001</c:v>
                </c:pt>
                <c:pt idx="3264">
                  <c:v>2.7580019999999998</c:v>
                </c:pt>
                <c:pt idx="3265">
                  <c:v>2.4809589999999999</c:v>
                </c:pt>
                <c:pt idx="3266">
                  <c:v>2.4645790000000001</c:v>
                </c:pt>
                <c:pt idx="3267">
                  <c:v>2.5754009999999998</c:v>
                </c:pt>
                <c:pt idx="3268">
                  <c:v>2.4935</c:v>
                </c:pt>
                <c:pt idx="3269">
                  <c:v>2.7851110000000001</c:v>
                </c:pt>
                <c:pt idx="3270">
                  <c:v>3.010831</c:v>
                </c:pt>
                <c:pt idx="3271">
                  <c:v>2.748272</c:v>
                </c:pt>
                <c:pt idx="3272">
                  <c:v>2.622789</c:v>
                </c:pt>
                <c:pt idx="3273">
                  <c:v>2.6200679999999998</c:v>
                </c:pt>
                <c:pt idx="3274">
                  <c:v>2.75041</c:v>
                </c:pt>
                <c:pt idx="3275">
                  <c:v>2.7507169999999999</c:v>
                </c:pt>
                <c:pt idx="3276">
                  <c:v>2.8270740000000001</c:v>
                </c:pt>
                <c:pt idx="3277">
                  <c:v>2.8709030000000002</c:v>
                </c:pt>
                <c:pt idx="3278">
                  <c:v>2.567345</c:v>
                </c:pt>
                <c:pt idx="3279">
                  <c:v>2.5375969999999999</c:v>
                </c:pt>
                <c:pt idx="3280">
                  <c:v>2.3708930000000001</c:v>
                </c:pt>
                <c:pt idx="3281">
                  <c:v>2.1987990000000002</c:v>
                </c:pt>
                <c:pt idx="3282">
                  <c:v>2.2142909999999998</c:v>
                </c:pt>
                <c:pt idx="3283">
                  <c:v>2.2663389999999999</c:v>
                </c:pt>
                <c:pt idx="3284">
                  <c:v>2.3432780000000002</c:v>
                </c:pt>
                <c:pt idx="3285">
                  <c:v>2.2397840000000002</c:v>
                </c:pt>
                <c:pt idx="3286">
                  <c:v>2.2439809999999998</c:v>
                </c:pt>
                <c:pt idx="3287">
                  <c:v>2.4387859999999999</c:v>
                </c:pt>
                <c:pt idx="3288">
                  <c:v>2.405961</c:v>
                </c:pt>
                <c:pt idx="3289">
                  <c:v>2.4633050000000001</c:v>
                </c:pt>
                <c:pt idx="3290">
                  <c:v>2.6319189999999999</c:v>
                </c:pt>
                <c:pt idx="3291">
                  <c:v>2.4637289999999998</c:v>
                </c:pt>
                <c:pt idx="3292">
                  <c:v>2.3150580000000001</c:v>
                </c:pt>
                <c:pt idx="3293">
                  <c:v>2.5707</c:v>
                </c:pt>
                <c:pt idx="3294">
                  <c:v>2.570503</c:v>
                </c:pt>
                <c:pt idx="3295">
                  <c:v>2.3802590000000001</c:v>
                </c:pt>
                <c:pt idx="3296">
                  <c:v>2.4119000000000002</c:v>
                </c:pt>
                <c:pt idx="3297">
                  <c:v>2.2206700000000001</c:v>
                </c:pt>
                <c:pt idx="3298">
                  <c:v>2.109321</c:v>
                </c:pt>
                <c:pt idx="3299">
                  <c:v>2.1657769999999998</c:v>
                </c:pt>
                <c:pt idx="3300">
                  <c:v>2.4529299999999998</c:v>
                </c:pt>
                <c:pt idx="3301">
                  <c:v>2.4681220000000001</c:v>
                </c:pt>
                <c:pt idx="3302">
                  <c:v>2.0138199999999999</c:v>
                </c:pt>
                <c:pt idx="3303">
                  <c:v>1.8970860000000001</c:v>
                </c:pt>
                <c:pt idx="3304">
                  <c:v>1.8737600000000001</c:v>
                </c:pt>
                <c:pt idx="3305">
                  <c:v>1.7010639999999999</c:v>
                </c:pt>
                <c:pt idx="3306">
                  <c:v>1.7848740000000001</c:v>
                </c:pt>
                <c:pt idx="3307">
                  <c:v>2.0077240000000001</c:v>
                </c:pt>
                <c:pt idx="3308">
                  <c:v>2.1195140000000001</c:v>
                </c:pt>
                <c:pt idx="3309">
                  <c:v>2.1162679999999998</c:v>
                </c:pt>
                <c:pt idx="3310">
                  <c:v>2.0542699999999998</c:v>
                </c:pt>
                <c:pt idx="3311">
                  <c:v>2.0239919999999998</c:v>
                </c:pt>
                <c:pt idx="3312">
                  <c:v>2.1433140000000002</c:v>
                </c:pt>
                <c:pt idx="3313">
                  <c:v>2.1407959999999999</c:v>
                </c:pt>
                <c:pt idx="3314">
                  <c:v>2.0115829999999999</c:v>
                </c:pt>
                <c:pt idx="3315">
                  <c:v>2.0772059999999999</c:v>
                </c:pt>
                <c:pt idx="3316">
                  <c:v>2.1098840000000001</c:v>
                </c:pt>
                <c:pt idx="3317">
                  <c:v>2.0619450000000001</c:v>
                </c:pt>
                <c:pt idx="3318">
                  <c:v>2.1048680000000002</c:v>
                </c:pt>
                <c:pt idx="3319">
                  <c:v>2.1277159999999999</c:v>
                </c:pt>
                <c:pt idx="3320">
                  <c:v>2.0071340000000002</c:v>
                </c:pt>
                <c:pt idx="3321">
                  <c:v>1.9411449999999999</c:v>
                </c:pt>
                <c:pt idx="3322">
                  <c:v>1.6924269999999999</c:v>
                </c:pt>
                <c:pt idx="3323">
                  <c:v>1.5437909999999999</c:v>
                </c:pt>
                <c:pt idx="3324">
                  <c:v>1.8415269999999999</c:v>
                </c:pt>
                <c:pt idx="3325">
                  <c:v>1.8483430000000001</c:v>
                </c:pt>
                <c:pt idx="3326">
                  <c:v>1.852465</c:v>
                </c:pt>
                <c:pt idx="3327">
                  <c:v>1.7813000000000001</c:v>
                </c:pt>
                <c:pt idx="3328">
                  <c:v>1.674658</c:v>
                </c:pt>
                <c:pt idx="3329">
                  <c:v>1.8086409999999999</c:v>
                </c:pt>
                <c:pt idx="3330">
                  <c:v>1.8073410000000001</c:v>
                </c:pt>
                <c:pt idx="3331">
                  <c:v>2.0103460000000002</c:v>
                </c:pt>
                <c:pt idx="3332">
                  <c:v>1.9879450000000001</c:v>
                </c:pt>
                <c:pt idx="3333">
                  <c:v>1.718396</c:v>
                </c:pt>
                <c:pt idx="3334">
                  <c:v>1.774581</c:v>
                </c:pt>
                <c:pt idx="3335">
                  <c:v>1.7949299999999999</c:v>
                </c:pt>
                <c:pt idx="3336">
                  <c:v>1.8034060000000001</c:v>
                </c:pt>
                <c:pt idx="3337">
                  <c:v>1.8721019999999999</c:v>
                </c:pt>
                <c:pt idx="3338">
                  <c:v>1.842665</c:v>
                </c:pt>
                <c:pt idx="3339">
                  <c:v>1.8966529999999999</c:v>
                </c:pt>
                <c:pt idx="3340">
                  <c:v>1.7228270000000001</c:v>
                </c:pt>
                <c:pt idx="3341">
                  <c:v>1.5611790000000001</c:v>
                </c:pt>
                <c:pt idx="3342">
                  <c:v>1.7300420000000001</c:v>
                </c:pt>
                <c:pt idx="3343">
                  <c:v>1.6737649999999999</c:v>
                </c:pt>
                <c:pt idx="3344">
                  <c:v>1.64096</c:v>
                </c:pt>
                <c:pt idx="3345">
                  <c:v>1.681929</c:v>
                </c:pt>
                <c:pt idx="3346">
                  <c:v>1.4959480000000001</c:v>
                </c:pt>
                <c:pt idx="3347">
                  <c:v>1.659173</c:v>
                </c:pt>
                <c:pt idx="3348">
                  <c:v>1.9397390000000001</c:v>
                </c:pt>
                <c:pt idx="3349">
                  <c:v>1.8294840000000001</c:v>
                </c:pt>
                <c:pt idx="3350">
                  <c:v>1.783957</c:v>
                </c:pt>
                <c:pt idx="3351">
                  <c:v>1.8985339999999999</c:v>
                </c:pt>
                <c:pt idx="3352">
                  <c:v>1.8984570000000001</c:v>
                </c:pt>
                <c:pt idx="3353">
                  <c:v>1.9760040000000001</c:v>
                </c:pt>
                <c:pt idx="3354">
                  <c:v>2.0258820000000002</c:v>
                </c:pt>
                <c:pt idx="3355">
                  <c:v>1.930107</c:v>
                </c:pt>
                <c:pt idx="3356">
                  <c:v>1.954113</c:v>
                </c:pt>
                <c:pt idx="3357">
                  <c:v>1.901807</c:v>
                </c:pt>
                <c:pt idx="3358">
                  <c:v>1.8087759999999999</c:v>
                </c:pt>
                <c:pt idx="3359">
                  <c:v>1.9583870000000001</c:v>
                </c:pt>
                <c:pt idx="3360">
                  <c:v>2.1732390000000001</c:v>
                </c:pt>
                <c:pt idx="3361">
                  <c:v>2.2333690000000002</c:v>
                </c:pt>
                <c:pt idx="3362">
                  <c:v>2.081137</c:v>
                </c:pt>
                <c:pt idx="3363">
                  <c:v>2.0801310000000002</c:v>
                </c:pt>
                <c:pt idx="3364">
                  <c:v>2.285641</c:v>
                </c:pt>
                <c:pt idx="3365">
                  <c:v>2.339175</c:v>
                </c:pt>
                <c:pt idx="3366">
                  <c:v>2.2497859999999998</c:v>
                </c:pt>
                <c:pt idx="3367">
                  <c:v>2.2826209999999998</c:v>
                </c:pt>
                <c:pt idx="3368">
                  <c:v>2.2384840000000001</c:v>
                </c:pt>
                <c:pt idx="3369">
                  <c:v>2.1546789999999998</c:v>
                </c:pt>
                <c:pt idx="3370">
                  <c:v>2.1078130000000002</c:v>
                </c:pt>
                <c:pt idx="3371">
                  <c:v>2.079666</c:v>
                </c:pt>
                <c:pt idx="3372">
                  <c:v>2.1248450000000001</c:v>
                </c:pt>
                <c:pt idx="3373">
                  <c:v>2.077728</c:v>
                </c:pt>
                <c:pt idx="3374">
                  <c:v>2.1850019999999999</c:v>
                </c:pt>
                <c:pt idx="3375">
                  <c:v>2.2408260000000002</c:v>
                </c:pt>
                <c:pt idx="3376">
                  <c:v>2.345939</c:v>
                </c:pt>
                <c:pt idx="3377">
                  <c:v>2.4782220000000001</c:v>
                </c:pt>
                <c:pt idx="3378">
                  <c:v>2.362933</c:v>
                </c:pt>
                <c:pt idx="3379">
                  <c:v>2.314403</c:v>
                </c:pt>
                <c:pt idx="3380">
                  <c:v>2.4284140000000001</c:v>
                </c:pt>
                <c:pt idx="3381">
                  <c:v>2.4955449999999999</c:v>
                </c:pt>
                <c:pt idx="3382">
                  <c:v>2.4075899999999999</c:v>
                </c:pt>
                <c:pt idx="3383">
                  <c:v>2.368862</c:v>
                </c:pt>
                <c:pt idx="3384">
                  <c:v>2.4854970000000001</c:v>
                </c:pt>
                <c:pt idx="3385">
                  <c:v>2.4160210000000002</c:v>
                </c:pt>
                <c:pt idx="3386">
                  <c:v>2.3177859999999999</c:v>
                </c:pt>
                <c:pt idx="3387">
                  <c:v>2.533846</c:v>
                </c:pt>
                <c:pt idx="3388">
                  <c:v>2.379505</c:v>
                </c:pt>
                <c:pt idx="3389">
                  <c:v>2.2368939999999999</c:v>
                </c:pt>
                <c:pt idx="3390">
                  <c:v>2.421322</c:v>
                </c:pt>
                <c:pt idx="3391">
                  <c:v>2.3818980000000001</c:v>
                </c:pt>
                <c:pt idx="3392">
                  <c:v>2.3632230000000001</c:v>
                </c:pt>
                <c:pt idx="3393">
                  <c:v>2.2836280000000002</c:v>
                </c:pt>
                <c:pt idx="3394">
                  <c:v>2.374644</c:v>
                </c:pt>
                <c:pt idx="3395">
                  <c:v>2.8271139999999999</c:v>
                </c:pt>
                <c:pt idx="3396">
                  <c:v>2.7468159999999999</c:v>
                </c:pt>
                <c:pt idx="3397">
                  <c:v>2.4625710000000001</c:v>
                </c:pt>
                <c:pt idx="3398">
                  <c:v>2.5187590000000002</c:v>
                </c:pt>
                <c:pt idx="3399">
                  <c:v>2.6843249999999999</c:v>
                </c:pt>
                <c:pt idx="3400">
                  <c:v>2.9155389999999999</c:v>
                </c:pt>
                <c:pt idx="3401">
                  <c:v>2.7874110000000001</c:v>
                </c:pt>
                <c:pt idx="3402">
                  <c:v>2.6037110000000001</c:v>
                </c:pt>
                <c:pt idx="3403">
                  <c:v>2.6430470000000001</c:v>
                </c:pt>
                <c:pt idx="3404">
                  <c:v>2.7310150000000002</c:v>
                </c:pt>
                <c:pt idx="3405">
                  <c:v>2.5085039999999998</c:v>
                </c:pt>
                <c:pt idx="3406">
                  <c:v>2.5262159999999998</c:v>
                </c:pt>
                <c:pt idx="3407">
                  <c:v>2.794117</c:v>
                </c:pt>
                <c:pt idx="3408">
                  <c:v>2.535949</c:v>
                </c:pt>
                <c:pt idx="3409">
                  <c:v>2.1967159999999999</c:v>
                </c:pt>
                <c:pt idx="3410">
                  <c:v>1.9943630000000001</c:v>
                </c:pt>
                <c:pt idx="3411">
                  <c:v>1.9876149999999999</c:v>
                </c:pt>
                <c:pt idx="3412">
                  <c:v>2.2212190000000001</c:v>
                </c:pt>
                <c:pt idx="3413">
                  <c:v>2.3272569999999999</c:v>
                </c:pt>
                <c:pt idx="3414">
                  <c:v>2.4511599999999998</c:v>
                </c:pt>
                <c:pt idx="3415">
                  <c:v>2.4529869999999998</c:v>
                </c:pt>
                <c:pt idx="3416">
                  <c:v>2.465776</c:v>
                </c:pt>
                <c:pt idx="3417">
                  <c:v>2.5449090000000001</c:v>
                </c:pt>
                <c:pt idx="3418">
                  <c:v>2.2584740000000001</c:v>
                </c:pt>
                <c:pt idx="3419">
                  <c:v>2.172936</c:v>
                </c:pt>
                <c:pt idx="3420">
                  <c:v>2.3157320000000001</c:v>
                </c:pt>
                <c:pt idx="3421">
                  <c:v>2.3849320000000001</c:v>
                </c:pt>
                <c:pt idx="3422">
                  <c:v>2.2869079999999999</c:v>
                </c:pt>
                <c:pt idx="3423">
                  <c:v>2.3713220000000002</c:v>
                </c:pt>
                <c:pt idx="3424">
                  <c:v>2.8220290000000001</c:v>
                </c:pt>
                <c:pt idx="3425">
                  <c:v>2.6056059999999999</c:v>
                </c:pt>
                <c:pt idx="3426">
                  <c:v>2.108981</c:v>
                </c:pt>
                <c:pt idx="3427">
                  <c:v>1.7621910000000001</c:v>
                </c:pt>
                <c:pt idx="3428">
                  <c:v>1.6791</c:v>
                </c:pt>
                <c:pt idx="3429">
                  <c:v>2.0638359999999998</c:v>
                </c:pt>
                <c:pt idx="3430">
                  <c:v>2.1801349999999999</c:v>
                </c:pt>
                <c:pt idx="3431">
                  <c:v>2.17536</c:v>
                </c:pt>
                <c:pt idx="3432">
                  <c:v>2.1065640000000001</c:v>
                </c:pt>
                <c:pt idx="3433">
                  <c:v>2.070516</c:v>
                </c:pt>
                <c:pt idx="3434">
                  <c:v>1.909057</c:v>
                </c:pt>
                <c:pt idx="3435">
                  <c:v>1.814743</c:v>
                </c:pt>
                <c:pt idx="3436">
                  <c:v>2.0842700000000001</c:v>
                </c:pt>
                <c:pt idx="3437">
                  <c:v>2.222216</c:v>
                </c:pt>
                <c:pt idx="3438">
                  <c:v>2.1696710000000001</c:v>
                </c:pt>
                <c:pt idx="3439">
                  <c:v>2.1513819999999999</c:v>
                </c:pt>
                <c:pt idx="3440">
                  <c:v>2.2138010000000001</c:v>
                </c:pt>
                <c:pt idx="3441">
                  <c:v>2.0486330000000001</c:v>
                </c:pt>
                <c:pt idx="3442">
                  <c:v>2.0304310000000001</c:v>
                </c:pt>
                <c:pt idx="3443">
                  <c:v>1.9433659999999999</c:v>
                </c:pt>
                <c:pt idx="3444">
                  <c:v>1.8237920000000001</c:v>
                </c:pt>
                <c:pt idx="3445">
                  <c:v>1.94638</c:v>
                </c:pt>
                <c:pt idx="3446">
                  <c:v>2.002764</c:v>
                </c:pt>
                <c:pt idx="3447">
                  <c:v>1.757325</c:v>
                </c:pt>
                <c:pt idx="3448">
                  <c:v>1.4833460000000001</c:v>
                </c:pt>
                <c:pt idx="3449">
                  <c:v>1.3755599999999999</c:v>
                </c:pt>
                <c:pt idx="3450">
                  <c:v>1.2856259999999999</c:v>
                </c:pt>
                <c:pt idx="3451">
                  <c:v>1.474567</c:v>
                </c:pt>
                <c:pt idx="3452">
                  <c:v>1.620374</c:v>
                </c:pt>
                <c:pt idx="3453">
                  <c:v>1.4887779999999999</c:v>
                </c:pt>
                <c:pt idx="3454">
                  <c:v>1.482003</c:v>
                </c:pt>
                <c:pt idx="3455">
                  <c:v>1.398668</c:v>
                </c:pt>
                <c:pt idx="3456">
                  <c:v>1.2781389999999999</c:v>
                </c:pt>
                <c:pt idx="3457">
                  <c:v>1.331148</c:v>
                </c:pt>
                <c:pt idx="3458">
                  <c:v>1.4140699999999999</c:v>
                </c:pt>
                <c:pt idx="3459">
                  <c:v>1.7228300000000001</c:v>
                </c:pt>
                <c:pt idx="3460">
                  <c:v>1.623661</c:v>
                </c:pt>
                <c:pt idx="3461">
                  <c:v>1.3835120000000001</c:v>
                </c:pt>
                <c:pt idx="3462">
                  <c:v>1.590287</c:v>
                </c:pt>
                <c:pt idx="3463">
                  <c:v>1.834773</c:v>
                </c:pt>
                <c:pt idx="3464">
                  <c:v>1.7765010000000001</c:v>
                </c:pt>
                <c:pt idx="3465">
                  <c:v>2.0371640000000002</c:v>
                </c:pt>
                <c:pt idx="3466">
                  <c:v>1.9207380000000001</c:v>
                </c:pt>
                <c:pt idx="3467">
                  <c:v>1.2062349999999999</c:v>
                </c:pt>
                <c:pt idx="3468">
                  <c:v>1.283148</c:v>
                </c:pt>
                <c:pt idx="3469">
                  <c:v>1.4246620000000001</c:v>
                </c:pt>
                <c:pt idx="3470">
                  <c:v>1.4187810000000001</c:v>
                </c:pt>
                <c:pt idx="3471">
                  <c:v>1.4717519999999999</c:v>
                </c:pt>
                <c:pt idx="3472">
                  <c:v>1.359693</c:v>
                </c:pt>
                <c:pt idx="3473">
                  <c:v>1.3600559999999999</c:v>
                </c:pt>
                <c:pt idx="3474">
                  <c:v>1.4180189999999999</c:v>
                </c:pt>
                <c:pt idx="3475">
                  <c:v>1.443713</c:v>
                </c:pt>
                <c:pt idx="3476">
                  <c:v>1.3876759999999999</c:v>
                </c:pt>
                <c:pt idx="3477">
                  <c:v>1.5599689999999999</c:v>
                </c:pt>
                <c:pt idx="3478">
                  <c:v>1.720113</c:v>
                </c:pt>
                <c:pt idx="3479">
                  <c:v>1.549582</c:v>
                </c:pt>
                <c:pt idx="3480">
                  <c:v>1.6721200000000001</c:v>
                </c:pt>
                <c:pt idx="3481">
                  <c:v>1.7412799999999999</c:v>
                </c:pt>
                <c:pt idx="3482">
                  <c:v>1.3162</c:v>
                </c:pt>
                <c:pt idx="3483">
                  <c:v>1.425481</c:v>
                </c:pt>
                <c:pt idx="3484">
                  <c:v>1.600765</c:v>
                </c:pt>
                <c:pt idx="3485">
                  <c:v>1.495017</c:v>
                </c:pt>
                <c:pt idx="3486">
                  <c:v>1.4365209999999999</c:v>
                </c:pt>
                <c:pt idx="3487">
                  <c:v>1.1298509999999999</c:v>
                </c:pt>
                <c:pt idx="3488">
                  <c:v>1.084141</c:v>
                </c:pt>
                <c:pt idx="3489">
                  <c:v>1.713044</c:v>
                </c:pt>
                <c:pt idx="3490">
                  <c:v>1.571034</c:v>
                </c:pt>
                <c:pt idx="3491">
                  <c:v>1.1130040000000001</c:v>
                </c:pt>
                <c:pt idx="3492">
                  <c:v>1.259301</c:v>
                </c:pt>
                <c:pt idx="3493">
                  <c:v>1.459543</c:v>
                </c:pt>
                <c:pt idx="3494">
                  <c:v>1.63131</c:v>
                </c:pt>
                <c:pt idx="3495">
                  <c:v>1.3293109999999999</c:v>
                </c:pt>
                <c:pt idx="3496">
                  <c:v>1.2405539999999999</c:v>
                </c:pt>
                <c:pt idx="3497">
                  <c:v>1.3835120000000001</c:v>
                </c:pt>
                <c:pt idx="3498">
                  <c:v>1.523714</c:v>
                </c:pt>
                <c:pt idx="3499">
                  <c:v>1.6027629999999999</c:v>
                </c:pt>
                <c:pt idx="3500">
                  <c:v>1.7265870000000001</c:v>
                </c:pt>
                <c:pt idx="3501">
                  <c:v>1.943405</c:v>
                </c:pt>
                <c:pt idx="3502">
                  <c:v>1.74526</c:v>
                </c:pt>
                <c:pt idx="3503">
                  <c:v>1.72909</c:v>
                </c:pt>
                <c:pt idx="3504">
                  <c:v>1.724553</c:v>
                </c:pt>
                <c:pt idx="3505">
                  <c:v>1.5956900000000001</c:v>
                </c:pt>
                <c:pt idx="3506">
                  <c:v>1.591461</c:v>
                </c:pt>
                <c:pt idx="3507">
                  <c:v>1.4497580000000001</c:v>
                </c:pt>
                <c:pt idx="3508">
                  <c:v>1.568505</c:v>
                </c:pt>
                <c:pt idx="3509">
                  <c:v>1.4180120000000001</c:v>
                </c:pt>
                <c:pt idx="3510">
                  <c:v>1.401934</c:v>
                </c:pt>
                <c:pt idx="3511">
                  <c:v>1.7164600000000001</c:v>
                </c:pt>
                <c:pt idx="3512">
                  <c:v>1.61683</c:v>
                </c:pt>
                <c:pt idx="3513">
                  <c:v>1.845054</c:v>
                </c:pt>
                <c:pt idx="3514">
                  <c:v>1.9746410000000001</c:v>
                </c:pt>
                <c:pt idx="3515">
                  <c:v>1.7980069999999999</c:v>
                </c:pt>
                <c:pt idx="3516">
                  <c:v>1.9881120000000001</c:v>
                </c:pt>
                <c:pt idx="3517">
                  <c:v>2.0336820000000002</c:v>
                </c:pt>
                <c:pt idx="3518">
                  <c:v>2.0105499999999998</c:v>
                </c:pt>
                <c:pt idx="3519">
                  <c:v>2.1476510000000002</c:v>
                </c:pt>
                <c:pt idx="3520">
                  <c:v>2.1696589999999998</c:v>
                </c:pt>
                <c:pt idx="3521">
                  <c:v>1.9278299999999999</c:v>
                </c:pt>
                <c:pt idx="3522">
                  <c:v>1.942212</c:v>
                </c:pt>
                <c:pt idx="3523">
                  <c:v>1.875257</c:v>
                </c:pt>
                <c:pt idx="3524">
                  <c:v>1.840015</c:v>
                </c:pt>
                <c:pt idx="3525">
                  <c:v>2.0138690000000001</c:v>
                </c:pt>
                <c:pt idx="3526">
                  <c:v>2.0419520000000002</c:v>
                </c:pt>
                <c:pt idx="3527">
                  <c:v>2.266597</c:v>
                </c:pt>
                <c:pt idx="3528">
                  <c:v>2.0607540000000002</c:v>
                </c:pt>
                <c:pt idx="3529">
                  <c:v>1.7612749999999999</c:v>
                </c:pt>
                <c:pt idx="3530">
                  <c:v>1.792748</c:v>
                </c:pt>
                <c:pt idx="3531">
                  <c:v>1.8622080000000001</c:v>
                </c:pt>
                <c:pt idx="3532">
                  <c:v>1.889972</c:v>
                </c:pt>
                <c:pt idx="3533">
                  <c:v>1.9019459999999999</c:v>
                </c:pt>
                <c:pt idx="3534">
                  <c:v>2.0421830000000001</c:v>
                </c:pt>
                <c:pt idx="3535">
                  <c:v>2.1212620000000002</c:v>
                </c:pt>
                <c:pt idx="3536">
                  <c:v>2.380064</c:v>
                </c:pt>
                <c:pt idx="3537">
                  <c:v>2.53728</c:v>
                </c:pt>
                <c:pt idx="3538">
                  <c:v>2.3154170000000001</c:v>
                </c:pt>
                <c:pt idx="3539">
                  <c:v>2.2860550000000002</c:v>
                </c:pt>
                <c:pt idx="3540">
                  <c:v>2.4136549999999999</c:v>
                </c:pt>
                <c:pt idx="3541">
                  <c:v>2.2206670000000002</c:v>
                </c:pt>
                <c:pt idx="3542">
                  <c:v>2.2616809999999998</c:v>
                </c:pt>
                <c:pt idx="3543">
                  <c:v>2.4149620000000001</c:v>
                </c:pt>
                <c:pt idx="3544">
                  <c:v>2.3033199999999998</c:v>
                </c:pt>
                <c:pt idx="3545">
                  <c:v>2.1803949999999999</c:v>
                </c:pt>
                <c:pt idx="3546">
                  <c:v>2.2488579999999998</c:v>
                </c:pt>
                <c:pt idx="3547">
                  <c:v>2.483101</c:v>
                </c:pt>
                <c:pt idx="3548">
                  <c:v>2.413707</c:v>
                </c:pt>
                <c:pt idx="3549">
                  <c:v>2.2528730000000001</c:v>
                </c:pt>
                <c:pt idx="3550">
                  <c:v>2.3713549999999999</c:v>
                </c:pt>
                <c:pt idx="3551">
                  <c:v>2.5690339999999998</c:v>
                </c:pt>
                <c:pt idx="3552">
                  <c:v>2.551358</c:v>
                </c:pt>
                <c:pt idx="3553">
                  <c:v>2.7617919999999998</c:v>
                </c:pt>
                <c:pt idx="3554">
                  <c:v>2.8910969999999998</c:v>
                </c:pt>
                <c:pt idx="3555">
                  <c:v>2.9228360000000002</c:v>
                </c:pt>
                <c:pt idx="3556">
                  <c:v>3.1006659999999999</c:v>
                </c:pt>
                <c:pt idx="3557">
                  <c:v>3.0902419999999999</c:v>
                </c:pt>
                <c:pt idx="3558">
                  <c:v>2.9096150000000001</c:v>
                </c:pt>
                <c:pt idx="3559">
                  <c:v>2.8296389999999998</c:v>
                </c:pt>
                <c:pt idx="3560">
                  <c:v>2.9250829999999999</c:v>
                </c:pt>
                <c:pt idx="3561">
                  <c:v>2.9807830000000002</c:v>
                </c:pt>
                <c:pt idx="3562">
                  <c:v>2.8831500000000001</c:v>
                </c:pt>
                <c:pt idx="3563">
                  <c:v>2.7690969999999999</c:v>
                </c:pt>
                <c:pt idx="3564">
                  <c:v>2.7717019999999999</c:v>
                </c:pt>
                <c:pt idx="3565">
                  <c:v>2.6989200000000002</c:v>
                </c:pt>
                <c:pt idx="3566">
                  <c:v>2.6531500000000001</c:v>
                </c:pt>
                <c:pt idx="3567">
                  <c:v>2.6178520000000001</c:v>
                </c:pt>
                <c:pt idx="3568">
                  <c:v>2.7936160000000001</c:v>
                </c:pt>
                <c:pt idx="3569">
                  <c:v>2.882355</c:v>
                </c:pt>
                <c:pt idx="3570">
                  <c:v>2.6677119999999999</c:v>
                </c:pt>
                <c:pt idx="3571">
                  <c:v>2.688625</c:v>
                </c:pt>
                <c:pt idx="3572">
                  <c:v>2.7606920000000001</c:v>
                </c:pt>
                <c:pt idx="3573">
                  <c:v>2.6629580000000002</c:v>
                </c:pt>
                <c:pt idx="3574">
                  <c:v>2.6770969999999998</c:v>
                </c:pt>
                <c:pt idx="3575">
                  <c:v>2.8151899999999999</c:v>
                </c:pt>
                <c:pt idx="3576">
                  <c:v>2.755722</c:v>
                </c:pt>
                <c:pt idx="3577">
                  <c:v>2.7294700000000001</c:v>
                </c:pt>
                <c:pt idx="3578">
                  <c:v>2.714207</c:v>
                </c:pt>
                <c:pt idx="3579">
                  <c:v>2.7748590000000002</c:v>
                </c:pt>
                <c:pt idx="3580">
                  <c:v>2.8062770000000001</c:v>
                </c:pt>
                <c:pt idx="3581">
                  <c:v>2.557169</c:v>
                </c:pt>
                <c:pt idx="3582">
                  <c:v>2.6231469999999999</c:v>
                </c:pt>
                <c:pt idx="3583">
                  <c:v>2.8505440000000002</c:v>
                </c:pt>
                <c:pt idx="3584">
                  <c:v>2.7727840000000001</c:v>
                </c:pt>
                <c:pt idx="3585">
                  <c:v>2.7395589999999999</c:v>
                </c:pt>
                <c:pt idx="3586">
                  <c:v>2.7901359999999999</c:v>
                </c:pt>
                <c:pt idx="3587">
                  <c:v>2.6162339999999999</c:v>
                </c:pt>
                <c:pt idx="3588">
                  <c:v>2.725714</c:v>
                </c:pt>
                <c:pt idx="3589">
                  <c:v>2.9133390000000001</c:v>
                </c:pt>
                <c:pt idx="3590">
                  <c:v>2.8202430000000001</c:v>
                </c:pt>
                <c:pt idx="3591">
                  <c:v>2.778826</c:v>
                </c:pt>
                <c:pt idx="3592">
                  <c:v>2.895346</c:v>
                </c:pt>
                <c:pt idx="3593">
                  <c:v>2.8935529999999998</c:v>
                </c:pt>
                <c:pt idx="3594">
                  <c:v>2.9029180000000001</c:v>
                </c:pt>
                <c:pt idx="3595">
                  <c:v>2.9121839999999999</c:v>
                </c:pt>
                <c:pt idx="3596">
                  <c:v>2.6530399999999998</c:v>
                </c:pt>
                <c:pt idx="3597">
                  <c:v>2.5777220000000001</c:v>
                </c:pt>
                <c:pt idx="3598">
                  <c:v>2.588943</c:v>
                </c:pt>
                <c:pt idx="3599">
                  <c:v>2.5140349999999998</c:v>
                </c:pt>
                <c:pt idx="3600">
                  <c:v>2.3922530000000002</c:v>
                </c:pt>
                <c:pt idx="3601">
                  <c:v>2.3780999999999999</c:v>
                </c:pt>
                <c:pt idx="3602">
                  <c:v>2.6231930000000001</c:v>
                </c:pt>
                <c:pt idx="3603">
                  <c:v>2.7479939999999998</c:v>
                </c:pt>
                <c:pt idx="3604">
                  <c:v>2.552349</c:v>
                </c:pt>
                <c:pt idx="3605">
                  <c:v>2.5197539999999998</c:v>
                </c:pt>
                <c:pt idx="3606">
                  <c:v>2.7673939999999999</c:v>
                </c:pt>
                <c:pt idx="3607">
                  <c:v>2.6318410000000001</c:v>
                </c:pt>
                <c:pt idx="3608">
                  <c:v>2.5010530000000002</c:v>
                </c:pt>
                <c:pt idx="3609">
                  <c:v>2.627596</c:v>
                </c:pt>
                <c:pt idx="3610">
                  <c:v>2.7621380000000002</c:v>
                </c:pt>
                <c:pt idx="3611">
                  <c:v>2.7037870000000002</c:v>
                </c:pt>
                <c:pt idx="3612">
                  <c:v>2.5470640000000002</c:v>
                </c:pt>
                <c:pt idx="3613">
                  <c:v>2.7320509999999998</c:v>
                </c:pt>
                <c:pt idx="3614">
                  <c:v>2.7627989999999998</c:v>
                </c:pt>
                <c:pt idx="3615">
                  <c:v>2.72146</c:v>
                </c:pt>
                <c:pt idx="3616">
                  <c:v>2.5669019999999998</c:v>
                </c:pt>
                <c:pt idx="3617">
                  <c:v>2.347944</c:v>
                </c:pt>
                <c:pt idx="3618">
                  <c:v>2.485684</c:v>
                </c:pt>
                <c:pt idx="3619">
                  <c:v>2.2717869999999998</c:v>
                </c:pt>
                <c:pt idx="3620">
                  <c:v>2.4874939999999999</c:v>
                </c:pt>
                <c:pt idx="3621">
                  <c:v>2.720774</c:v>
                </c:pt>
                <c:pt idx="3622">
                  <c:v>2.5206080000000002</c:v>
                </c:pt>
                <c:pt idx="3623">
                  <c:v>2.619834</c:v>
                </c:pt>
                <c:pt idx="3624">
                  <c:v>2.67625</c:v>
                </c:pt>
                <c:pt idx="3625">
                  <c:v>2.917357</c:v>
                </c:pt>
                <c:pt idx="3626">
                  <c:v>2.9941089999999999</c:v>
                </c:pt>
                <c:pt idx="3627">
                  <c:v>2.9936440000000002</c:v>
                </c:pt>
                <c:pt idx="3628">
                  <c:v>3.0132699999999999</c:v>
                </c:pt>
                <c:pt idx="3629">
                  <c:v>2.9070930000000001</c:v>
                </c:pt>
                <c:pt idx="3630">
                  <c:v>2.8608229999999999</c:v>
                </c:pt>
                <c:pt idx="3631">
                  <c:v>2.771388</c:v>
                </c:pt>
                <c:pt idx="3632">
                  <c:v>2.7221329999999999</c:v>
                </c:pt>
                <c:pt idx="3633">
                  <c:v>2.6204809999999998</c:v>
                </c:pt>
                <c:pt idx="3634">
                  <c:v>2.5570909999999998</c:v>
                </c:pt>
                <c:pt idx="3635">
                  <c:v>2.643888</c:v>
                </c:pt>
                <c:pt idx="3636">
                  <c:v>2.6129159999999998</c:v>
                </c:pt>
                <c:pt idx="3637">
                  <c:v>2.3865630000000002</c:v>
                </c:pt>
                <c:pt idx="3638">
                  <c:v>2.4563920000000001</c:v>
                </c:pt>
                <c:pt idx="3639">
                  <c:v>2.6103559999999999</c:v>
                </c:pt>
                <c:pt idx="3640">
                  <c:v>2.4185919999999999</c:v>
                </c:pt>
                <c:pt idx="3641">
                  <c:v>2.3100969999999998</c:v>
                </c:pt>
                <c:pt idx="3642">
                  <c:v>2.3040210000000001</c:v>
                </c:pt>
                <c:pt idx="3643">
                  <c:v>2.2851780000000002</c:v>
                </c:pt>
                <c:pt idx="3644">
                  <c:v>2.466221</c:v>
                </c:pt>
                <c:pt idx="3645">
                  <c:v>2.4207260000000002</c:v>
                </c:pt>
                <c:pt idx="3646">
                  <c:v>2.4009290000000001</c:v>
                </c:pt>
                <c:pt idx="3647">
                  <c:v>2.4526500000000002</c:v>
                </c:pt>
                <c:pt idx="3648">
                  <c:v>2.3474740000000001</c:v>
                </c:pt>
                <c:pt idx="3649">
                  <c:v>2.2868249999999999</c:v>
                </c:pt>
                <c:pt idx="3650">
                  <c:v>2.5209130000000002</c:v>
                </c:pt>
                <c:pt idx="3651">
                  <c:v>2.77948</c:v>
                </c:pt>
                <c:pt idx="3652">
                  <c:v>2.4630529999999999</c:v>
                </c:pt>
                <c:pt idx="3653">
                  <c:v>2.373767</c:v>
                </c:pt>
                <c:pt idx="3654">
                  <c:v>2.590033</c:v>
                </c:pt>
                <c:pt idx="3655">
                  <c:v>2.2990339999999998</c:v>
                </c:pt>
                <c:pt idx="3656">
                  <c:v>2.144082</c:v>
                </c:pt>
                <c:pt idx="3657">
                  <c:v>2.4470839999999998</c:v>
                </c:pt>
                <c:pt idx="3658">
                  <c:v>2.5348229999999998</c:v>
                </c:pt>
                <c:pt idx="3659">
                  <c:v>2.2492200000000002</c:v>
                </c:pt>
                <c:pt idx="3660">
                  <c:v>2.0961699999999999</c:v>
                </c:pt>
                <c:pt idx="3661">
                  <c:v>2.3344040000000001</c:v>
                </c:pt>
                <c:pt idx="3662">
                  <c:v>2.4527559999999999</c:v>
                </c:pt>
                <c:pt idx="3663">
                  <c:v>2.3176079999999999</c:v>
                </c:pt>
                <c:pt idx="3664">
                  <c:v>2.2488079999999999</c:v>
                </c:pt>
                <c:pt idx="3665">
                  <c:v>2.273247</c:v>
                </c:pt>
                <c:pt idx="3666">
                  <c:v>2.486456</c:v>
                </c:pt>
                <c:pt idx="3667">
                  <c:v>2.670938</c:v>
                </c:pt>
                <c:pt idx="3668">
                  <c:v>2.5177010000000002</c:v>
                </c:pt>
                <c:pt idx="3669">
                  <c:v>2.6544379999999999</c:v>
                </c:pt>
                <c:pt idx="3670">
                  <c:v>2.6681900000000001</c:v>
                </c:pt>
                <c:pt idx="3671">
                  <c:v>2.4892470000000002</c:v>
                </c:pt>
                <c:pt idx="3672">
                  <c:v>2.532346</c:v>
                </c:pt>
                <c:pt idx="3673">
                  <c:v>2.487228</c:v>
                </c:pt>
                <c:pt idx="3674">
                  <c:v>2.258778</c:v>
                </c:pt>
                <c:pt idx="3675">
                  <c:v>2.3313069999999998</c:v>
                </c:pt>
                <c:pt idx="3676">
                  <c:v>2.3534600000000001</c:v>
                </c:pt>
                <c:pt idx="3677">
                  <c:v>1.817126</c:v>
                </c:pt>
                <c:pt idx="3678">
                  <c:v>1.846028</c:v>
                </c:pt>
                <c:pt idx="3679">
                  <c:v>2.1597170000000001</c:v>
                </c:pt>
                <c:pt idx="3680">
                  <c:v>1.974445</c:v>
                </c:pt>
                <c:pt idx="3681">
                  <c:v>2.070916</c:v>
                </c:pt>
                <c:pt idx="3682">
                  <c:v>2.3132259999999998</c:v>
                </c:pt>
                <c:pt idx="3683">
                  <c:v>2.4496709999999999</c:v>
                </c:pt>
                <c:pt idx="3684">
                  <c:v>2.5377990000000001</c:v>
                </c:pt>
                <c:pt idx="3685">
                  <c:v>2.3348810000000002</c:v>
                </c:pt>
                <c:pt idx="3686">
                  <c:v>2.2386349999999999</c:v>
                </c:pt>
                <c:pt idx="3687">
                  <c:v>2.4567839999999999</c:v>
                </c:pt>
                <c:pt idx="3688">
                  <c:v>2.5771329999999999</c:v>
                </c:pt>
                <c:pt idx="3689">
                  <c:v>2.45418</c:v>
                </c:pt>
                <c:pt idx="3690">
                  <c:v>2.5361899999999999</c:v>
                </c:pt>
                <c:pt idx="3691">
                  <c:v>2.5178410000000002</c:v>
                </c:pt>
                <c:pt idx="3692">
                  <c:v>2.246918</c:v>
                </c:pt>
                <c:pt idx="3693">
                  <c:v>2.164844</c:v>
                </c:pt>
                <c:pt idx="3694">
                  <c:v>2.2410000000000001</c:v>
                </c:pt>
                <c:pt idx="3695">
                  <c:v>2.2013029999999998</c:v>
                </c:pt>
                <c:pt idx="3696">
                  <c:v>2.036762</c:v>
                </c:pt>
                <c:pt idx="3697">
                  <c:v>2.001979</c:v>
                </c:pt>
                <c:pt idx="3698">
                  <c:v>2.1007910000000001</c:v>
                </c:pt>
                <c:pt idx="3699">
                  <c:v>2.0733920000000001</c:v>
                </c:pt>
                <c:pt idx="3700">
                  <c:v>2.1211980000000001</c:v>
                </c:pt>
                <c:pt idx="3701">
                  <c:v>2.412315</c:v>
                </c:pt>
                <c:pt idx="3702">
                  <c:v>2.099952</c:v>
                </c:pt>
                <c:pt idx="3703">
                  <c:v>2.078767</c:v>
                </c:pt>
                <c:pt idx="3704">
                  <c:v>2.4607779999999999</c:v>
                </c:pt>
                <c:pt idx="3705">
                  <c:v>2.5415459999999999</c:v>
                </c:pt>
                <c:pt idx="3706">
                  <c:v>2.5368189999999999</c:v>
                </c:pt>
                <c:pt idx="3707">
                  <c:v>2.4199299999999999</c:v>
                </c:pt>
                <c:pt idx="3708">
                  <c:v>2.639723</c:v>
                </c:pt>
                <c:pt idx="3709">
                  <c:v>2.5645850000000001</c:v>
                </c:pt>
                <c:pt idx="3710">
                  <c:v>2.3392940000000002</c:v>
                </c:pt>
                <c:pt idx="3711">
                  <c:v>2.284411</c:v>
                </c:pt>
                <c:pt idx="3712">
                  <c:v>2.1797059999999999</c:v>
                </c:pt>
                <c:pt idx="3713">
                  <c:v>2.3143690000000001</c:v>
                </c:pt>
                <c:pt idx="3714">
                  <c:v>2.2407530000000002</c:v>
                </c:pt>
                <c:pt idx="3715">
                  <c:v>1.994791</c:v>
                </c:pt>
                <c:pt idx="3716">
                  <c:v>2.1183239999999999</c:v>
                </c:pt>
                <c:pt idx="3717">
                  <c:v>2.1667480000000001</c:v>
                </c:pt>
                <c:pt idx="3718">
                  <c:v>2.052225</c:v>
                </c:pt>
                <c:pt idx="3719">
                  <c:v>1.9814769999999999</c:v>
                </c:pt>
                <c:pt idx="3720">
                  <c:v>1.9994149999999999</c:v>
                </c:pt>
                <c:pt idx="3721">
                  <c:v>2.3363740000000002</c:v>
                </c:pt>
                <c:pt idx="3722">
                  <c:v>2.3830629999999999</c:v>
                </c:pt>
                <c:pt idx="3723">
                  <c:v>2.4278689999999998</c:v>
                </c:pt>
                <c:pt idx="3724">
                  <c:v>2.531641</c:v>
                </c:pt>
                <c:pt idx="3725">
                  <c:v>2.4722490000000001</c:v>
                </c:pt>
                <c:pt idx="3726">
                  <c:v>2.385602</c:v>
                </c:pt>
                <c:pt idx="3727">
                  <c:v>2.3482370000000001</c:v>
                </c:pt>
                <c:pt idx="3728">
                  <c:v>2.8040780000000001</c:v>
                </c:pt>
                <c:pt idx="3729">
                  <c:v>2.6546669999999999</c:v>
                </c:pt>
                <c:pt idx="3730">
                  <c:v>2.3321960000000002</c:v>
                </c:pt>
                <c:pt idx="3731">
                  <c:v>2.4270849999999999</c:v>
                </c:pt>
                <c:pt idx="3732">
                  <c:v>2.4739469999999999</c:v>
                </c:pt>
                <c:pt idx="3733">
                  <c:v>2.4976780000000001</c:v>
                </c:pt>
                <c:pt idx="3734">
                  <c:v>2.3101129999999999</c:v>
                </c:pt>
                <c:pt idx="3735">
                  <c:v>2.205473</c:v>
                </c:pt>
                <c:pt idx="3736">
                  <c:v>2.1348340000000001</c:v>
                </c:pt>
                <c:pt idx="3737">
                  <c:v>1.944547</c:v>
                </c:pt>
                <c:pt idx="3738">
                  <c:v>1.8200149999999999</c:v>
                </c:pt>
                <c:pt idx="3739">
                  <c:v>2.1320839999999999</c:v>
                </c:pt>
                <c:pt idx="3740">
                  <c:v>2.3491330000000001</c:v>
                </c:pt>
                <c:pt idx="3741">
                  <c:v>2.2027800000000002</c:v>
                </c:pt>
                <c:pt idx="3742">
                  <c:v>2.1982029999999999</c:v>
                </c:pt>
                <c:pt idx="3743">
                  <c:v>2.6039119999999998</c:v>
                </c:pt>
                <c:pt idx="3744">
                  <c:v>2.7655789999999998</c:v>
                </c:pt>
                <c:pt idx="3745">
                  <c:v>2.4116930000000001</c:v>
                </c:pt>
                <c:pt idx="3746">
                  <c:v>2.7154729999999998</c:v>
                </c:pt>
                <c:pt idx="3747">
                  <c:v>2.8861080000000001</c:v>
                </c:pt>
                <c:pt idx="3748">
                  <c:v>2.53437</c:v>
                </c:pt>
                <c:pt idx="3749">
                  <c:v>2.4938199999999999</c:v>
                </c:pt>
                <c:pt idx="3750">
                  <c:v>2.4691860000000001</c:v>
                </c:pt>
                <c:pt idx="3751">
                  <c:v>2.5892789999999999</c:v>
                </c:pt>
                <c:pt idx="3752">
                  <c:v>2.3115480000000002</c:v>
                </c:pt>
                <c:pt idx="3753">
                  <c:v>2.0941779999999999</c:v>
                </c:pt>
                <c:pt idx="3754">
                  <c:v>2.2901929999999999</c:v>
                </c:pt>
                <c:pt idx="3755">
                  <c:v>2.4487009999999998</c:v>
                </c:pt>
                <c:pt idx="3756">
                  <c:v>2.5304660000000001</c:v>
                </c:pt>
                <c:pt idx="3757">
                  <c:v>2.3796930000000001</c:v>
                </c:pt>
                <c:pt idx="3758">
                  <c:v>2.0965630000000002</c:v>
                </c:pt>
                <c:pt idx="3759">
                  <c:v>2.001109</c:v>
                </c:pt>
                <c:pt idx="3760">
                  <c:v>2.1956470000000001</c:v>
                </c:pt>
                <c:pt idx="3761">
                  <c:v>2.490688</c:v>
                </c:pt>
                <c:pt idx="3762">
                  <c:v>2.5169320000000002</c:v>
                </c:pt>
                <c:pt idx="3763">
                  <c:v>2.4140160000000002</c:v>
                </c:pt>
                <c:pt idx="3764">
                  <c:v>2.433265</c:v>
                </c:pt>
                <c:pt idx="3765">
                  <c:v>2.3817279999999998</c:v>
                </c:pt>
                <c:pt idx="3766">
                  <c:v>2.4236309999999999</c:v>
                </c:pt>
                <c:pt idx="3767">
                  <c:v>2.5161799999999999</c:v>
                </c:pt>
                <c:pt idx="3768">
                  <c:v>2.503368</c:v>
                </c:pt>
                <c:pt idx="3769">
                  <c:v>2.5055749999999999</c:v>
                </c:pt>
                <c:pt idx="3770">
                  <c:v>2.4426049999999999</c:v>
                </c:pt>
                <c:pt idx="3771">
                  <c:v>2.3451330000000001</c:v>
                </c:pt>
                <c:pt idx="3772">
                  <c:v>2.4233199999999999</c:v>
                </c:pt>
                <c:pt idx="3773">
                  <c:v>2.5984980000000002</c:v>
                </c:pt>
                <c:pt idx="3774">
                  <c:v>2.5614840000000001</c:v>
                </c:pt>
                <c:pt idx="3775">
                  <c:v>2.3497129999999999</c:v>
                </c:pt>
                <c:pt idx="3776">
                  <c:v>2.2330290000000002</c:v>
                </c:pt>
                <c:pt idx="3777">
                  <c:v>2.1584080000000001</c:v>
                </c:pt>
                <c:pt idx="3778">
                  <c:v>2.3053149999999998</c:v>
                </c:pt>
                <c:pt idx="3779">
                  <c:v>2.2365520000000001</c:v>
                </c:pt>
                <c:pt idx="3780">
                  <c:v>2.2650399999999999</c:v>
                </c:pt>
                <c:pt idx="3781">
                  <c:v>2.4749850000000002</c:v>
                </c:pt>
                <c:pt idx="3782">
                  <c:v>2.4576950000000002</c:v>
                </c:pt>
                <c:pt idx="3783">
                  <c:v>2.7304400000000002</c:v>
                </c:pt>
                <c:pt idx="3784">
                  <c:v>2.8233100000000002</c:v>
                </c:pt>
                <c:pt idx="3785">
                  <c:v>2.6989719999999999</c:v>
                </c:pt>
                <c:pt idx="3786">
                  <c:v>2.71746</c:v>
                </c:pt>
                <c:pt idx="3787">
                  <c:v>2.3993030000000002</c:v>
                </c:pt>
                <c:pt idx="3788">
                  <c:v>2.569896</c:v>
                </c:pt>
                <c:pt idx="3789">
                  <c:v>2.6492429999999998</c:v>
                </c:pt>
                <c:pt idx="3790">
                  <c:v>2.4310239999999999</c:v>
                </c:pt>
                <c:pt idx="3791">
                  <c:v>2.5115129999999999</c:v>
                </c:pt>
                <c:pt idx="3792">
                  <c:v>2.4144929999999998</c:v>
                </c:pt>
                <c:pt idx="3793">
                  <c:v>2.1520760000000001</c:v>
                </c:pt>
                <c:pt idx="3794">
                  <c:v>2.0637189999999999</c:v>
                </c:pt>
                <c:pt idx="3795">
                  <c:v>2.1916329999999999</c:v>
                </c:pt>
                <c:pt idx="3796">
                  <c:v>2.174814</c:v>
                </c:pt>
                <c:pt idx="3797">
                  <c:v>2.0181879999999999</c:v>
                </c:pt>
                <c:pt idx="3798">
                  <c:v>2.1244459999999998</c:v>
                </c:pt>
                <c:pt idx="3799">
                  <c:v>2.2324980000000001</c:v>
                </c:pt>
                <c:pt idx="3800">
                  <c:v>2.2227250000000001</c:v>
                </c:pt>
                <c:pt idx="3801">
                  <c:v>2.283728</c:v>
                </c:pt>
                <c:pt idx="3802">
                  <c:v>2.3888210000000001</c:v>
                </c:pt>
                <c:pt idx="3803">
                  <c:v>2.4508480000000001</c:v>
                </c:pt>
                <c:pt idx="3804">
                  <c:v>2.294171</c:v>
                </c:pt>
                <c:pt idx="3805">
                  <c:v>2.215233</c:v>
                </c:pt>
                <c:pt idx="3806">
                  <c:v>2.4417089999999999</c:v>
                </c:pt>
                <c:pt idx="3807">
                  <c:v>2.4273609999999999</c:v>
                </c:pt>
                <c:pt idx="3808">
                  <c:v>2.2974060000000001</c:v>
                </c:pt>
                <c:pt idx="3809">
                  <c:v>2.4304950000000001</c:v>
                </c:pt>
                <c:pt idx="3810">
                  <c:v>2.369151</c:v>
                </c:pt>
                <c:pt idx="3811">
                  <c:v>2.4089049999999999</c:v>
                </c:pt>
                <c:pt idx="3812">
                  <c:v>2.5676260000000002</c:v>
                </c:pt>
                <c:pt idx="3813">
                  <c:v>2.526211</c:v>
                </c:pt>
                <c:pt idx="3814">
                  <c:v>2.2438199999999999</c:v>
                </c:pt>
                <c:pt idx="3815">
                  <c:v>2.2262599999999999</c:v>
                </c:pt>
                <c:pt idx="3816">
                  <c:v>2.4056869999999999</c:v>
                </c:pt>
                <c:pt idx="3817">
                  <c:v>2.3633250000000001</c:v>
                </c:pt>
                <c:pt idx="3818">
                  <c:v>2.4107460000000001</c:v>
                </c:pt>
                <c:pt idx="3819">
                  <c:v>2.5042909999999998</c:v>
                </c:pt>
                <c:pt idx="3820">
                  <c:v>2.4935870000000002</c:v>
                </c:pt>
                <c:pt idx="3821">
                  <c:v>2.4271889999999998</c:v>
                </c:pt>
                <c:pt idx="3822">
                  <c:v>2.3953530000000001</c:v>
                </c:pt>
                <c:pt idx="3823">
                  <c:v>2.5128810000000001</c:v>
                </c:pt>
                <c:pt idx="3824">
                  <c:v>2.51004</c:v>
                </c:pt>
                <c:pt idx="3825">
                  <c:v>2.3115260000000002</c:v>
                </c:pt>
                <c:pt idx="3826">
                  <c:v>2.4068900000000002</c:v>
                </c:pt>
                <c:pt idx="3827">
                  <c:v>2.449967</c:v>
                </c:pt>
                <c:pt idx="3828">
                  <c:v>2.4089499999999999</c:v>
                </c:pt>
                <c:pt idx="3829">
                  <c:v>2.384735</c:v>
                </c:pt>
                <c:pt idx="3830">
                  <c:v>2.3040219999999998</c:v>
                </c:pt>
                <c:pt idx="3831">
                  <c:v>2.2534939999999999</c:v>
                </c:pt>
                <c:pt idx="3832">
                  <c:v>2.2872729999999999</c:v>
                </c:pt>
                <c:pt idx="3833">
                  <c:v>2.5683449999999999</c:v>
                </c:pt>
                <c:pt idx="3834">
                  <c:v>2.5885940000000001</c:v>
                </c:pt>
                <c:pt idx="3835">
                  <c:v>2.2755830000000001</c:v>
                </c:pt>
                <c:pt idx="3836">
                  <c:v>2.1769319999999999</c:v>
                </c:pt>
                <c:pt idx="3837">
                  <c:v>2.175942</c:v>
                </c:pt>
                <c:pt idx="3838">
                  <c:v>2.1630820000000002</c:v>
                </c:pt>
                <c:pt idx="3839">
                  <c:v>2.3473489999999999</c:v>
                </c:pt>
                <c:pt idx="3840">
                  <c:v>2.511301</c:v>
                </c:pt>
                <c:pt idx="3841">
                  <c:v>2.5414310000000002</c:v>
                </c:pt>
                <c:pt idx="3842">
                  <c:v>2.5045950000000001</c:v>
                </c:pt>
                <c:pt idx="3843">
                  <c:v>2.2911769999999998</c:v>
                </c:pt>
                <c:pt idx="3844">
                  <c:v>2.3143419999999999</c:v>
                </c:pt>
                <c:pt idx="3845">
                  <c:v>2.316344</c:v>
                </c:pt>
                <c:pt idx="3846">
                  <c:v>2.1127410000000002</c:v>
                </c:pt>
                <c:pt idx="3847">
                  <c:v>2.1266069999999999</c:v>
                </c:pt>
                <c:pt idx="3848">
                  <c:v>2.1192679999999999</c:v>
                </c:pt>
                <c:pt idx="3849">
                  <c:v>2.2399819999999999</c:v>
                </c:pt>
                <c:pt idx="3850">
                  <c:v>2.2302949999999999</c:v>
                </c:pt>
                <c:pt idx="3851">
                  <c:v>2.090706</c:v>
                </c:pt>
                <c:pt idx="3852">
                  <c:v>2.213114</c:v>
                </c:pt>
                <c:pt idx="3853">
                  <c:v>2.4773000000000001</c:v>
                </c:pt>
                <c:pt idx="3854">
                  <c:v>2.6290870000000002</c:v>
                </c:pt>
                <c:pt idx="3855">
                  <c:v>2.4613679999999998</c:v>
                </c:pt>
                <c:pt idx="3856">
                  <c:v>2.1851530000000001</c:v>
                </c:pt>
                <c:pt idx="3857">
                  <c:v>2.3059989999999999</c:v>
                </c:pt>
                <c:pt idx="3858">
                  <c:v>2.5657839999999998</c:v>
                </c:pt>
                <c:pt idx="3859">
                  <c:v>2.4424489999999999</c:v>
                </c:pt>
                <c:pt idx="3860">
                  <c:v>2.3887749999999999</c:v>
                </c:pt>
                <c:pt idx="3861">
                  <c:v>2.2915019999999999</c:v>
                </c:pt>
                <c:pt idx="3862">
                  <c:v>1.9660899999999999</c:v>
                </c:pt>
                <c:pt idx="3863">
                  <c:v>1.9768520000000001</c:v>
                </c:pt>
                <c:pt idx="3864">
                  <c:v>2.0919349999999999</c:v>
                </c:pt>
                <c:pt idx="3865">
                  <c:v>2.07172</c:v>
                </c:pt>
                <c:pt idx="3866">
                  <c:v>2.0518339999999999</c:v>
                </c:pt>
                <c:pt idx="3867">
                  <c:v>2.1688399999999999</c:v>
                </c:pt>
                <c:pt idx="3868">
                  <c:v>2.2271909999999999</c:v>
                </c:pt>
                <c:pt idx="3869">
                  <c:v>2.1274039999999999</c:v>
                </c:pt>
                <c:pt idx="3870">
                  <c:v>2.0744060000000002</c:v>
                </c:pt>
                <c:pt idx="3871">
                  <c:v>1.9049039999999999</c:v>
                </c:pt>
                <c:pt idx="3872">
                  <c:v>2.144155</c:v>
                </c:pt>
                <c:pt idx="3873">
                  <c:v>2.1252580000000001</c:v>
                </c:pt>
                <c:pt idx="3874">
                  <c:v>2.0565169999999999</c:v>
                </c:pt>
                <c:pt idx="3875">
                  <c:v>2.2159439999999999</c:v>
                </c:pt>
                <c:pt idx="3876">
                  <c:v>2.3086030000000002</c:v>
                </c:pt>
                <c:pt idx="3877">
                  <c:v>2.5696110000000001</c:v>
                </c:pt>
                <c:pt idx="3878">
                  <c:v>2.5287600000000001</c:v>
                </c:pt>
                <c:pt idx="3879">
                  <c:v>2.1223139999999998</c:v>
                </c:pt>
                <c:pt idx="3880">
                  <c:v>2.2502879999999998</c:v>
                </c:pt>
                <c:pt idx="3881">
                  <c:v>2.5773190000000001</c:v>
                </c:pt>
                <c:pt idx="3882">
                  <c:v>2.2927219999999999</c:v>
                </c:pt>
                <c:pt idx="3883">
                  <c:v>2.216977</c:v>
                </c:pt>
                <c:pt idx="3884">
                  <c:v>2.2376200000000002</c:v>
                </c:pt>
                <c:pt idx="3885">
                  <c:v>2.243887</c:v>
                </c:pt>
                <c:pt idx="3886">
                  <c:v>2.2428059999999999</c:v>
                </c:pt>
                <c:pt idx="3887">
                  <c:v>2.2402839999999999</c:v>
                </c:pt>
                <c:pt idx="3888">
                  <c:v>2.3720859999999999</c:v>
                </c:pt>
                <c:pt idx="3889">
                  <c:v>2.377186</c:v>
                </c:pt>
                <c:pt idx="3890">
                  <c:v>2.388369</c:v>
                </c:pt>
                <c:pt idx="3891">
                  <c:v>2.3305920000000002</c:v>
                </c:pt>
                <c:pt idx="3892">
                  <c:v>2.304824</c:v>
                </c:pt>
                <c:pt idx="3893">
                  <c:v>2.492467</c:v>
                </c:pt>
                <c:pt idx="3894">
                  <c:v>2.395006</c:v>
                </c:pt>
                <c:pt idx="3895">
                  <c:v>2.3519000000000001</c:v>
                </c:pt>
                <c:pt idx="3896">
                  <c:v>2.1906979999999998</c:v>
                </c:pt>
                <c:pt idx="3897">
                  <c:v>1.9647140000000001</c:v>
                </c:pt>
                <c:pt idx="3898">
                  <c:v>2.3665639999999999</c:v>
                </c:pt>
                <c:pt idx="3899">
                  <c:v>2.571812</c:v>
                </c:pt>
                <c:pt idx="3900">
                  <c:v>2.2923710000000002</c:v>
                </c:pt>
                <c:pt idx="3901">
                  <c:v>2.1502979999999998</c:v>
                </c:pt>
                <c:pt idx="3902">
                  <c:v>2.2010689999999999</c:v>
                </c:pt>
                <c:pt idx="3903">
                  <c:v>2.2184949999999999</c:v>
                </c:pt>
                <c:pt idx="3904">
                  <c:v>2.087383</c:v>
                </c:pt>
                <c:pt idx="3905">
                  <c:v>1.9409449999999999</c:v>
                </c:pt>
                <c:pt idx="3906">
                  <c:v>1.913707</c:v>
                </c:pt>
                <c:pt idx="3907">
                  <c:v>1.743025</c:v>
                </c:pt>
                <c:pt idx="3908">
                  <c:v>1.7673939999999999</c:v>
                </c:pt>
                <c:pt idx="3909">
                  <c:v>2.2311570000000001</c:v>
                </c:pt>
                <c:pt idx="3910">
                  <c:v>2.1391369999999998</c:v>
                </c:pt>
                <c:pt idx="3911">
                  <c:v>2.0387189999999999</c:v>
                </c:pt>
                <c:pt idx="3912">
                  <c:v>2.0502980000000002</c:v>
                </c:pt>
                <c:pt idx="3913">
                  <c:v>2.1279240000000001</c:v>
                </c:pt>
                <c:pt idx="3914">
                  <c:v>2.1674310000000001</c:v>
                </c:pt>
                <c:pt idx="3915">
                  <c:v>2.2677679999999998</c:v>
                </c:pt>
                <c:pt idx="3916">
                  <c:v>2.6667169999999998</c:v>
                </c:pt>
                <c:pt idx="3917">
                  <c:v>2.5005030000000001</c:v>
                </c:pt>
                <c:pt idx="3918">
                  <c:v>2.3732039999999999</c:v>
                </c:pt>
                <c:pt idx="3919">
                  <c:v>2.313631</c:v>
                </c:pt>
                <c:pt idx="3920">
                  <c:v>2.1504690000000002</c:v>
                </c:pt>
                <c:pt idx="3921">
                  <c:v>2.124012</c:v>
                </c:pt>
                <c:pt idx="3922">
                  <c:v>2.0988639999999998</c:v>
                </c:pt>
                <c:pt idx="3923">
                  <c:v>1.938499</c:v>
                </c:pt>
                <c:pt idx="3924">
                  <c:v>1.9065920000000001</c:v>
                </c:pt>
                <c:pt idx="3925">
                  <c:v>1.9365859999999999</c:v>
                </c:pt>
                <c:pt idx="3926">
                  <c:v>1.939716</c:v>
                </c:pt>
                <c:pt idx="3927">
                  <c:v>1.860959</c:v>
                </c:pt>
                <c:pt idx="3928">
                  <c:v>1.809536</c:v>
                </c:pt>
                <c:pt idx="3929">
                  <c:v>2.038395</c:v>
                </c:pt>
                <c:pt idx="3930">
                  <c:v>2.088905</c:v>
                </c:pt>
                <c:pt idx="3931">
                  <c:v>2.1920060000000001</c:v>
                </c:pt>
                <c:pt idx="3932">
                  <c:v>2.2554349999999999</c:v>
                </c:pt>
                <c:pt idx="3933">
                  <c:v>2.1696070000000001</c:v>
                </c:pt>
                <c:pt idx="3934">
                  <c:v>2.2004489999999999</c:v>
                </c:pt>
                <c:pt idx="3935">
                  <c:v>2.2913939999999999</c:v>
                </c:pt>
                <c:pt idx="3936">
                  <c:v>2.1444130000000001</c:v>
                </c:pt>
                <c:pt idx="3937">
                  <c:v>2.0049999999999999</c:v>
                </c:pt>
                <c:pt idx="3938">
                  <c:v>2.057458</c:v>
                </c:pt>
                <c:pt idx="3939">
                  <c:v>2.0790630000000001</c:v>
                </c:pt>
                <c:pt idx="3940">
                  <c:v>2.018221</c:v>
                </c:pt>
                <c:pt idx="3941">
                  <c:v>1.9144479999999999</c:v>
                </c:pt>
                <c:pt idx="3942">
                  <c:v>1.6437470000000001</c:v>
                </c:pt>
                <c:pt idx="3943">
                  <c:v>1.7525820000000001</c:v>
                </c:pt>
                <c:pt idx="3944">
                  <c:v>1.919605</c:v>
                </c:pt>
                <c:pt idx="3945">
                  <c:v>1.666401</c:v>
                </c:pt>
                <c:pt idx="3946">
                  <c:v>1.723419</c:v>
                </c:pt>
                <c:pt idx="3947">
                  <c:v>1.8747450000000001</c:v>
                </c:pt>
                <c:pt idx="3948">
                  <c:v>1.9525680000000001</c:v>
                </c:pt>
                <c:pt idx="3949">
                  <c:v>2.2037239999999998</c:v>
                </c:pt>
                <c:pt idx="3950">
                  <c:v>2.216018</c:v>
                </c:pt>
                <c:pt idx="3951">
                  <c:v>1.975004</c:v>
                </c:pt>
                <c:pt idx="3952">
                  <c:v>2.2611029999999999</c:v>
                </c:pt>
                <c:pt idx="3953">
                  <c:v>2.2842630000000002</c:v>
                </c:pt>
                <c:pt idx="3954">
                  <c:v>2.2517230000000001</c:v>
                </c:pt>
                <c:pt idx="3955">
                  <c:v>2.6515900000000001</c:v>
                </c:pt>
                <c:pt idx="3956">
                  <c:v>2.4828739999999998</c:v>
                </c:pt>
                <c:pt idx="3957">
                  <c:v>2.2865510000000002</c:v>
                </c:pt>
                <c:pt idx="3958">
                  <c:v>2.1853570000000002</c:v>
                </c:pt>
                <c:pt idx="3959">
                  <c:v>2.06209</c:v>
                </c:pt>
                <c:pt idx="3960">
                  <c:v>1.9822360000000001</c:v>
                </c:pt>
                <c:pt idx="3961">
                  <c:v>2.062262</c:v>
                </c:pt>
                <c:pt idx="3962">
                  <c:v>2.0892629999999999</c:v>
                </c:pt>
                <c:pt idx="3963">
                  <c:v>1.965541</c:v>
                </c:pt>
                <c:pt idx="3964">
                  <c:v>2.0922160000000001</c:v>
                </c:pt>
                <c:pt idx="3965">
                  <c:v>2.0180889999999998</c:v>
                </c:pt>
                <c:pt idx="3966">
                  <c:v>1.839799</c:v>
                </c:pt>
                <c:pt idx="3967">
                  <c:v>2.2769189999999999</c:v>
                </c:pt>
                <c:pt idx="3968">
                  <c:v>2.3709069999999999</c:v>
                </c:pt>
                <c:pt idx="3969">
                  <c:v>2.2437209999999999</c:v>
                </c:pt>
                <c:pt idx="3970">
                  <c:v>2.250461</c:v>
                </c:pt>
                <c:pt idx="3971">
                  <c:v>1.9927569999999999</c:v>
                </c:pt>
                <c:pt idx="3972">
                  <c:v>2.1203820000000002</c:v>
                </c:pt>
                <c:pt idx="3973">
                  <c:v>2.3168839999999999</c:v>
                </c:pt>
                <c:pt idx="3974">
                  <c:v>2.3605830000000001</c:v>
                </c:pt>
                <c:pt idx="3975">
                  <c:v>2.1249479999999998</c:v>
                </c:pt>
                <c:pt idx="3976">
                  <c:v>2.0028969999999999</c:v>
                </c:pt>
                <c:pt idx="3977">
                  <c:v>1.9244829999999999</c:v>
                </c:pt>
                <c:pt idx="3978">
                  <c:v>1.8015080000000001</c:v>
                </c:pt>
                <c:pt idx="3979">
                  <c:v>1.98709</c:v>
                </c:pt>
                <c:pt idx="3980">
                  <c:v>1.868832</c:v>
                </c:pt>
                <c:pt idx="3981">
                  <c:v>1.86904</c:v>
                </c:pt>
                <c:pt idx="3982">
                  <c:v>2.1946319999999999</c:v>
                </c:pt>
                <c:pt idx="3983">
                  <c:v>2.1704669999999999</c:v>
                </c:pt>
                <c:pt idx="3984">
                  <c:v>1.8990469999999999</c:v>
                </c:pt>
                <c:pt idx="3985">
                  <c:v>1.7533270000000001</c:v>
                </c:pt>
                <c:pt idx="3986">
                  <c:v>1.8625430000000001</c:v>
                </c:pt>
                <c:pt idx="3987">
                  <c:v>1.976186</c:v>
                </c:pt>
                <c:pt idx="3988">
                  <c:v>2.0351689999999998</c:v>
                </c:pt>
                <c:pt idx="3989">
                  <c:v>2.1391230000000001</c:v>
                </c:pt>
                <c:pt idx="3990">
                  <c:v>2.0669759999999999</c:v>
                </c:pt>
                <c:pt idx="3991">
                  <c:v>2.1063689999999999</c:v>
                </c:pt>
                <c:pt idx="3992">
                  <c:v>2.4022380000000001</c:v>
                </c:pt>
                <c:pt idx="3993">
                  <c:v>2.5101749999999998</c:v>
                </c:pt>
                <c:pt idx="3994">
                  <c:v>2.5277639999999999</c:v>
                </c:pt>
                <c:pt idx="3995">
                  <c:v>2.4263210000000002</c:v>
                </c:pt>
                <c:pt idx="3996">
                  <c:v>2.3220489999999998</c:v>
                </c:pt>
                <c:pt idx="3997">
                  <c:v>2.2713190000000001</c:v>
                </c:pt>
                <c:pt idx="3998">
                  <c:v>2.3808769999999999</c:v>
                </c:pt>
                <c:pt idx="3999">
                  <c:v>2.3716650000000001</c:v>
                </c:pt>
                <c:pt idx="4000">
                  <c:v>2.3749920000000002</c:v>
                </c:pt>
                <c:pt idx="4001">
                  <c:v>2.3773529999999998</c:v>
                </c:pt>
                <c:pt idx="4002">
                  <c:v>2.1806709999999998</c:v>
                </c:pt>
                <c:pt idx="4003">
                  <c:v>2.0690599999999999</c:v>
                </c:pt>
                <c:pt idx="4004">
                  <c:v>2.0635650000000001</c:v>
                </c:pt>
                <c:pt idx="4005">
                  <c:v>2.1801189999999999</c:v>
                </c:pt>
                <c:pt idx="4006">
                  <c:v>2.2350989999999999</c:v>
                </c:pt>
                <c:pt idx="4007">
                  <c:v>2.2642790000000002</c:v>
                </c:pt>
                <c:pt idx="4008">
                  <c:v>2.2825009999999999</c:v>
                </c:pt>
                <c:pt idx="4009">
                  <c:v>2.2959160000000001</c:v>
                </c:pt>
                <c:pt idx="4010">
                  <c:v>2.307096</c:v>
                </c:pt>
                <c:pt idx="4011">
                  <c:v>2.3852720000000001</c:v>
                </c:pt>
                <c:pt idx="4012">
                  <c:v>2.3649269999999998</c:v>
                </c:pt>
                <c:pt idx="4013">
                  <c:v>2.2261669999999998</c:v>
                </c:pt>
                <c:pt idx="4014">
                  <c:v>2.2191209999999999</c:v>
                </c:pt>
                <c:pt idx="4015">
                  <c:v>2.3458000000000001</c:v>
                </c:pt>
                <c:pt idx="4016">
                  <c:v>2.277517</c:v>
                </c:pt>
                <c:pt idx="4017">
                  <c:v>2.245072</c:v>
                </c:pt>
                <c:pt idx="4018">
                  <c:v>2.2914089999999998</c:v>
                </c:pt>
                <c:pt idx="4019">
                  <c:v>2.2490760000000001</c:v>
                </c:pt>
                <c:pt idx="4020">
                  <c:v>2.0202059999999999</c:v>
                </c:pt>
                <c:pt idx="4021">
                  <c:v>2.0257990000000001</c:v>
                </c:pt>
                <c:pt idx="4022">
                  <c:v>2.1446640000000001</c:v>
                </c:pt>
                <c:pt idx="4023">
                  <c:v>2.0679460000000001</c:v>
                </c:pt>
                <c:pt idx="4024">
                  <c:v>2.0878369999999999</c:v>
                </c:pt>
                <c:pt idx="4025">
                  <c:v>1.8208</c:v>
                </c:pt>
                <c:pt idx="4026">
                  <c:v>1.801399</c:v>
                </c:pt>
                <c:pt idx="4027">
                  <c:v>2.0388670000000002</c:v>
                </c:pt>
                <c:pt idx="4028">
                  <c:v>2.0232739999999998</c:v>
                </c:pt>
                <c:pt idx="4029">
                  <c:v>2.0843560000000001</c:v>
                </c:pt>
                <c:pt idx="4030">
                  <c:v>1.981503</c:v>
                </c:pt>
                <c:pt idx="4031">
                  <c:v>2.0654050000000002</c:v>
                </c:pt>
                <c:pt idx="4032">
                  <c:v>2.1053769999999998</c:v>
                </c:pt>
                <c:pt idx="4033">
                  <c:v>2.0675469999999998</c:v>
                </c:pt>
                <c:pt idx="4034">
                  <c:v>2.1822849999999998</c:v>
                </c:pt>
                <c:pt idx="4035">
                  <c:v>2.047507</c:v>
                </c:pt>
                <c:pt idx="4036">
                  <c:v>2.1140150000000002</c:v>
                </c:pt>
                <c:pt idx="4037">
                  <c:v>2.1486700000000001</c:v>
                </c:pt>
                <c:pt idx="4038">
                  <c:v>1.9682489999999999</c:v>
                </c:pt>
                <c:pt idx="4039">
                  <c:v>2.0735269999999999</c:v>
                </c:pt>
                <c:pt idx="4040">
                  <c:v>2.0548299999999999</c:v>
                </c:pt>
                <c:pt idx="4041">
                  <c:v>2.1164329999999998</c:v>
                </c:pt>
                <c:pt idx="4042">
                  <c:v>2.21414</c:v>
                </c:pt>
                <c:pt idx="4043">
                  <c:v>2.2093660000000002</c:v>
                </c:pt>
                <c:pt idx="4044">
                  <c:v>2.2798829999999999</c:v>
                </c:pt>
                <c:pt idx="4045">
                  <c:v>2.0567229999999999</c:v>
                </c:pt>
                <c:pt idx="4046">
                  <c:v>2.1426949999999998</c:v>
                </c:pt>
                <c:pt idx="4047">
                  <c:v>2.1826460000000001</c:v>
                </c:pt>
                <c:pt idx="4048">
                  <c:v>2.0047139999999999</c:v>
                </c:pt>
                <c:pt idx="4049">
                  <c:v>2.1083769999999999</c:v>
                </c:pt>
                <c:pt idx="4050">
                  <c:v>2.1575829999999998</c:v>
                </c:pt>
                <c:pt idx="4051">
                  <c:v>2.118719</c:v>
                </c:pt>
                <c:pt idx="4052">
                  <c:v>2.0297770000000002</c:v>
                </c:pt>
                <c:pt idx="4053">
                  <c:v>2.0477799999999999</c:v>
                </c:pt>
                <c:pt idx="4054">
                  <c:v>2.186105</c:v>
                </c:pt>
                <c:pt idx="4055">
                  <c:v>2.1267689999999999</c:v>
                </c:pt>
                <c:pt idx="4056">
                  <c:v>2.099027</c:v>
                </c:pt>
                <c:pt idx="4057">
                  <c:v>2.151179</c:v>
                </c:pt>
                <c:pt idx="4058">
                  <c:v>2.2483279999999999</c:v>
                </c:pt>
                <c:pt idx="4059">
                  <c:v>2.2377389999999999</c:v>
                </c:pt>
                <c:pt idx="4060">
                  <c:v>1.9684980000000001</c:v>
                </c:pt>
                <c:pt idx="4061">
                  <c:v>2.0248840000000001</c:v>
                </c:pt>
                <c:pt idx="4062">
                  <c:v>2.3136860000000001</c:v>
                </c:pt>
                <c:pt idx="4063">
                  <c:v>2.2703350000000002</c:v>
                </c:pt>
                <c:pt idx="4064">
                  <c:v>2.0553780000000001</c:v>
                </c:pt>
                <c:pt idx="4065">
                  <c:v>2.0079020000000001</c:v>
                </c:pt>
                <c:pt idx="4066">
                  <c:v>2.1760199999999998</c:v>
                </c:pt>
                <c:pt idx="4067">
                  <c:v>2.3315359999999998</c:v>
                </c:pt>
                <c:pt idx="4068">
                  <c:v>2.2883420000000001</c:v>
                </c:pt>
                <c:pt idx="4069">
                  <c:v>2.277412</c:v>
                </c:pt>
                <c:pt idx="4070">
                  <c:v>2.4129429999999998</c:v>
                </c:pt>
                <c:pt idx="4071">
                  <c:v>2.2916569999999998</c:v>
                </c:pt>
                <c:pt idx="4072">
                  <c:v>2.1683759999999999</c:v>
                </c:pt>
                <c:pt idx="4073">
                  <c:v>2.3706109999999998</c:v>
                </c:pt>
                <c:pt idx="4074">
                  <c:v>2.548025</c:v>
                </c:pt>
                <c:pt idx="4075">
                  <c:v>2.522834</c:v>
                </c:pt>
                <c:pt idx="4076">
                  <c:v>2.3220010000000002</c:v>
                </c:pt>
                <c:pt idx="4077">
                  <c:v>2.2200479999999998</c:v>
                </c:pt>
                <c:pt idx="4078">
                  <c:v>2.565887</c:v>
                </c:pt>
                <c:pt idx="4079">
                  <c:v>2.9581810000000002</c:v>
                </c:pt>
                <c:pt idx="4080">
                  <c:v>2.9274640000000001</c:v>
                </c:pt>
                <c:pt idx="4081">
                  <c:v>2.8120509999999999</c:v>
                </c:pt>
                <c:pt idx="4082">
                  <c:v>2.9760930000000001</c:v>
                </c:pt>
                <c:pt idx="4083">
                  <c:v>3.2197800000000001</c:v>
                </c:pt>
                <c:pt idx="4084">
                  <c:v>2.9731040000000002</c:v>
                </c:pt>
                <c:pt idx="4085">
                  <c:v>2.7318769999999999</c:v>
                </c:pt>
                <c:pt idx="4086">
                  <c:v>2.872735</c:v>
                </c:pt>
                <c:pt idx="4087">
                  <c:v>2.879426</c:v>
                </c:pt>
                <c:pt idx="4088">
                  <c:v>2.8196829999999999</c:v>
                </c:pt>
                <c:pt idx="4089">
                  <c:v>2.9931860000000001</c:v>
                </c:pt>
                <c:pt idx="4090">
                  <c:v>2.8855059999999999</c:v>
                </c:pt>
                <c:pt idx="4091">
                  <c:v>2.9066529999999999</c:v>
                </c:pt>
                <c:pt idx="4092">
                  <c:v>2.8465039999999999</c:v>
                </c:pt>
                <c:pt idx="4093">
                  <c:v>2.4801630000000001</c:v>
                </c:pt>
                <c:pt idx="4094">
                  <c:v>2.4692910000000001</c:v>
                </c:pt>
                <c:pt idx="4095">
                  <c:v>2.7799200000000002</c:v>
                </c:pt>
                <c:pt idx="4096">
                  <c:v>3.2762159999999998</c:v>
                </c:pt>
                <c:pt idx="4097">
                  <c:v>3.2254809999999998</c:v>
                </c:pt>
                <c:pt idx="4098">
                  <c:v>2.8933849999999999</c:v>
                </c:pt>
                <c:pt idx="4099">
                  <c:v>2.9302100000000002</c:v>
                </c:pt>
                <c:pt idx="4100">
                  <c:v>3.0156969999999998</c:v>
                </c:pt>
                <c:pt idx="4101">
                  <c:v>2.7270650000000001</c:v>
                </c:pt>
                <c:pt idx="4102">
                  <c:v>2.433049</c:v>
                </c:pt>
                <c:pt idx="4103">
                  <c:v>2.8633039999999998</c:v>
                </c:pt>
                <c:pt idx="4104">
                  <c:v>2.9403329999999999</c:v>
                </c:pt>
                <c:pt idx="4105">
                  <c:v>2.9290319999999999</c:v>
                </c:pt>
                <c:pt idx="4106">
                  <c:v>3.1960549999999999</c:v>
                </c:pt>
                <c:pt idx="4107">
                  <c:v>2.8830239999999998</c:v>
                </c:pt>
                <c:pt idx="4108">
                  <c:v>2.7936510000000001</c:v>
                </c:pt>
                <c:pt idx="4109">
                  <c:v>2.8736730000000001</c:v>
                </c:pt>
                <c:pt idx="4110">
                  <c:v>2.708885</c:v>
                </c:pt>
                <c:pt idx="4111">
                  <c:v>2.6828729999999998</c:v>
                </c:pt>
                <c:pt idx="4112">
                  <c:v>2.9273159999999998</c:v>
                </c:pt>
                <c:pt idx="4113">
                  <c:v>2.9211119999999999</c:v>
                </c:pt>
                <c:pt idx="4114">
                  <c:v>2.7227320000000002</c:v>
                </c:pt>
                <c:pt idx="4115">
                  <c:v>2.750054</c:v>
                </c:pt>
                <c:pt idx="4116">
                  <c:v>2.756281</c:v>
                </c:pt>
                <c:pt idx="4117">
                  <c:v>3.0977950000000001</c:v>
                </c:pt>
                <c:pt idx="4118">
                  <c:v>3.2859720000000001</c:v>
                </c:pt>
                <c:pt idx="4119">
                  <c:v>3.282737</c:v>
                </c:pt>
                <c:pt idx="4120">
                  <c:v>3.1672210000000001</c:v>
                </c:pt>
                <c:pt idx="4121">
                  <c:v>3.3319969999999999</c:v>
                </c:pt>
                <c:pt idx="4122">
                  <c:v>3.496877</c:v>
                </c:pt>
                <c:pt idx="4123">
                  <c:v>3.2085750000000002</c:v>
                </c:pt>
                <c:pt idx="4124">
                  <c:v>2.9964840000000001</c:v>
                </c:pt>
                <c:pt idx="4125">
                  <c:v>2.947562</c:v>
                </c:pt>
                <c:pt idx="4126">
                  <c:v>2.9037980000000001</c:v>
                </c:pt>
                <c:pt idx="4127">
                  <c:v>2.8024360000000001</c:v>
                </c:pt>
                <c:pt idx="4128">
                  <c:v>3.0011389999999998</c:v>
                </c:pt>
                <c:pt idx="4129">
                  <c:v>2.9635470000000002</c:v>
                </c:pt>
                <c:pt idx="4130">
                  <c:v>2.5342959999999999</c:v>
                </c:pt>
                <c:pt idx="4131">
                  <c:v>2.423816</c:v>
                </c:pt>
                <c:pt idx="4132">
                  <c:v>2.4629810000000001</c:v>
                </c:pt>
                <c:pt idx="4133">
                  <c:v>2.391178</c:v>
                </c:pt>
                <c:pt idx="4134">
                  <c:v>2.7352599999999998</c:v>
                </c:pt>
                <c:pt idx="4135">
                  <c:v>2.8420139999999998</c:v>
                </c:pt>
                <c:pt idx="4136">
                  <c:v>2.9114529999999998</c:v>
                </c:pt>
                <c:pt idx="4137">
                  <c:v>2.9585789999999998</c:v>
                </c:pt>
                <c:pt idx="4138">
                  <c:v>2.6606869999999998</c:v>
                </c:pt>
                <c:pt idx="4139">
                  <c:v>2.8434020000000002</c:v>
                </c:pt>
                <c:pt idx="4140">
                  <c:v>3.0039359999999999</c:v>
                </c:pt>
                <c:pt idx="4141">
                  <c:v>2.6965910000000002</c:v>
                </c:pt>
                <c:pt idx="4142">
                  <c:v>2.806683</c:v>
                </c:pt>
                <c:pt idx="4143">
                  <c:v>3.1308319999999998</c:v>
                </c:pt>
                <c:pt idx="4144">
                  <c:v>2.9102749999999999</c:v>
                </c:pt>
                <c:pt idx="4145">
                  <c:v>2.7396159999999998</c:v>
                </c:pt>
                <c:pt idx="4146">
                  <c:v>3.047256</c:v>
                </c:pt>
                <c:pt idx="4147">
                  <c:v>3.0092089999999998</c:v>
                </c:pt>
                <c:pt idx="4148">
                  <c:v>2.6621039999999998</c:v>
                </c:pt>
                <c:pt idx="4149">
                  <c:v>2.6731370000000001</c:v>
                </c:pt>
                <c:pt idx="4150">
                  <c:v>2.7971810000000001</c:v>
                </c:pt>
                <c:pt idx="4151">
                  <c:v>2.6528119999999999</c:v>
                </c:pt>
                <c:pt idx="4152">
                  <c:v>2.5008710000000001</c:v>
                </c:pt>
                <c:pt idx="4153">
                  <c:v>2.4016739999999999</c:v>
                </c:pt>
                <c:pt idx="4154">
                  <c:v>2.3921709999999998</c:v>
                </c:pt>
                <c:pt idx="4155">
                  <c:v>2.5673149999999998</c:v>
                </c:pt>
                <c:pt idx="4156">
                  <c:v>2.6489419999999999</c:v>
                </c:pt>
                <c:pt idx="4157">
                  <c:v>2.7607689999999998</c:v>
                </c:pt>
                <c:pt idx="4158">
                  <c:v>2.8931939999999998</c:v>
                </c:pt>
                <c:pt idx="4159">
                  <c:v>2.7055030000000002</c:v>
                </c:pt>
                <c:pt idx="4160">
                  <c:v>2.6137679999999999</c:v>
                </c:pt>
                <c:pt idx="4161">
                  <c:v>2.6939799999999998</c:v>
                </c:pt>
                <c:pt idx="4162">
                  <c:v>2.7988360000000001</c:v>
                </c:pt>
                <c:pt idx="4163">
                  <c:v>2.6506980000000002</c:v>
                </c:pt>
                <c:pt idx="4164">
                  <c:v>2.5050940000000002</c:v>
                </c:pt>
                <c:pt idx="4165">
                  <c:v>2.6156540000000001</c:v>
                </c:pt>
                <c:pt idx="4166">
                  <c:v>2.3926850000000002</c:v>
                </c:pt>
                <c:pt idx="4167">
                  <c:v>1.9882550000000001</c:v>
                </c:pt>
                <c:pt idx="4168">
                  <c:v>2.1458089999999999</c:v>
                </c:pt>
                <c:pt idx="4169">
                  <c:v>2.3946930000000002</c:v>
                </c:pt>
                <c:pt idx="4170">
                  <c:v>2.174328</c:v>
                </c:pt>
                <c:pt idx="4171">
                  <c:v>2.1790099999999999</c:v>
                </c:pt>
                <c:pt idx="4172">
                  <c:v>2.0923080000000001</c:v>
                </c:pt>
                <c:pt idx="4173">
                  <c:v>1.893691</c:v>
                </c:pt>
                <c:pt idx="4174">
                  <c:v>2.0314809999999999</c:v>
                </c:pt>
                <c:pt idx="4175">
                  <c:v>2.2176179999999999</c:v>
                </c:pt>
                <c:pt idx="4176">
                  <c:v>2.3103549999999999</c:v>
                </c:pt>
                <c:pt idx="4177">
                  <c:v>2.2947229999999998</c:v>
                </c:pt>
                <c:pt idx="4178">
                  <c:v>2.4234779999999998</c:v>
                </c:pt>
                <c:pt idx="4179">
                  <c:v>2.495098</c:v>
                </c:pt>
                <c:pt idx="4180">
                  <c:v>2.409341</c:v>
                </c:pt>
                <c:pt idx="4181">
                  <c:v>2.2997190000000001</c:v>
                </c:pt>
                <c:pt idx="4182">
                  <c:v>2.1024690000000001</c:v>
                </c:pt>
                <c:pt idx="4183">
                  <c:v>2.2540420000000001</c:v>
                </c:pt>
                <c:pt idx="4184">
                  <c:v>2.3191609999999998</c:v>
                </c:pt>
                <c:pt idx="4185">
                  <c:v>2.080578</c:v>
                </c:pt>
                <c:pt idx="4186">
                  <c:v>2.0727139999999999</c:v>
                </c:pt>
                <c:pt idx="4187">
                  <c:v>1.910595</c:v>
                </c:pt>
                <c:pt idx="4188">
                  <c:v>1.6666909999999999</c:v>
                </c:pt>
                <c:pt idx="4189">
                  <c:v>1.771927</c:v>
                </c:pt>
                <c:pt idx="4190">
                  <c:v>1.7946899999999999</c:v>
                </c:pt>
                <c:pt idx="4191">
                  <c:v>1.5132159999999999</c:v>
                </c:pt>
                <c:pt idx="4192">
                  <c:v>1.333869</c:v>
                </c:pt>
                <c:pt idx="4193">
                  <c:v>1.4678949999999999</c:v>
                </c:pt>
                <c:pt idx="4194">
                  <c:v>1.5028429999999999</c:v>
                </c:pt>
                <c:pt idx="4195">
                  <c:v>1.4998089999999999</c:v>
                </c:pt>
                <c:pt idx="4196">
                  <c:v>1.4774970000000001</c:v>
                </c:pt>
                <c:pt idx="4197">
                  <c:v>1.5178259999999999</c:v>
                </c:pt>
                <c:pt idx="4198">
                  <c:v>1.5227059999999999</c:v>
                </c:pt>
                <c:pt idx="4199">
                  <c:v>1.51647</c:v>
                </c:pt>
                <c:pt idx="4200">
                  <c:v>1.772885</c:v>
                </c:pt>
                <c:pt idx="4201">
                  <c:v>1.7738780000000001</c:v>
                </c:pt>
                <c:pt idx="4202">
                  <c:v>1.5605450000000001</c:v>
                </c:pt>
                <c:pt idx="4203">
                  <c:v>1.4331609999999999</c:v>
                </c:pt>
                <c:pt idx="4204">
                  <c:v>1.477233</c:v>
                </c:pt>
                <c:pt idx="4205">
                  <c:v>1.4079349999999999</c:v>
                </c:pt>
                <c:pt idx="4206">
                  <c:v>1.2830699999999999</c:v>
                </c:pt>
                <c:pt idx="4207">
                  <c:v>1.1877519999999999</c:v>
                </c:pt>
                <c:pt idx="4208">
                  <c:v>1.311828</c:v>
                </c:pt>
                <c:pt idx="4209">
                  <c:v>1.5542959999999999</c:v>
                </c:pt>
                <c:pt idx="4210">
                  <c:v>1.2821020000000001</c:v>
                </c:pt>
                <c:pt idx="4211">
                  <c:v>0.89569399999999999</c:v>
                </c:pt>
                <c:pt idx="4212">
                  <c:v>0.62907000000000002</c:v>
                </c:pt>
                <c:pt idx="4213">
                  <c:v>0.75225399999999998</c:v>
                </c:pt>
                <c:pt idx="4214">
                  <c:v>0.81503899999999996</c:v>
                </c:pt>
                <c:pt idx="4215">
                  <c:v>0.52692899999999998</c:v>
                </c:pt>
                <c:pt idx="4216">
                  <c:v>0.52036000000000004</c:v>
                </c:pt>
                <c:pt idx="4217">
                  <c:v>0.66004099999999999</c:v>
                </c:pt>
                <c:pt idx="4218">
                  <c:v>0.55916900000000003</c:v>
                </c:pt>
                <c:pt idx="4219">
                  <c:v>0.50089899999999998</c:v>
                </c:pt>
                <c:pt idx="4220">
                  <c:v>0.463007</c:v>
                </c:pt>
                <c:pt idx="4221">
                  <c:v>0.30429400000000001</c:v>
                </c:pt>
                <c:pt idx="4222">
                  <c:v>0.14555499999999999</c:v>
                </c:pt>
                <c:pt idx="4223">
                  <c:v>0.11751</c:v>
                </c:pt>
                <c:pt idx="4224">
                  <c:v>0.15880900000000001</c:v>
                </c:pt>
                <c:pt idx="4225">
                  <c:v>-9.4438999999999995E-2</c:v>
                </c:pt>
                <c:pt idx="4226">
                  <c:v>-0.29976199999999997</c:v>
                </c:pt>
                <c:pt idx="4227">
                  <c:v>-0.39526499999999998</c:v>
                </c:pt>
                <c:pt idx="4228">
                  <c:v>-0.69981700000000002</c:v>
                </c:pt>
                <c:pt idx="4229">
                  <c:v>-0.78263899999999997</c:v>
                </c:pt>
                <c:pt idx="4230">
                  <c:v>-0.81857199999999997</c:v>
                </c:pt>
                <c:pt idx="4231">
                  <c:v>-0.88681100000000002</c:v>
                </c:pt>
                <c:pt idx="4232">
                  <c:v>-1.1732579999999999</c:v>
                </c:pt>
                <c:pt idx="4233">
                  <c:v>-1.1678010000000001</c:v>
                </c:pt>
                <c:pt idx="4234">
                  <c:v>-1.0680400000000001</c:v>
                </c:pt>
                <c:pt idx="4235">
                  <c:v>-1.276548</c:v>
                </c:pt>
                <c:pt idx="4236">
                  <c:v>-1.447862</c:v>
                </c:pt>
                <c:pt idx="4237">
                  <c:v>-1.670188</c:v>
                </c:pt>
                <c:pt idx="4238">
                  <c:v>-1.5857749999999999</c:v>
                </c:pt>
                <c:pt idx="4239">
                  <c:v>-1.6049720000000001</c:v>
                </c:pt>
                <c:pt idx="4240">
                  <c:v>-1.936105</c:v>
                </c:pt>
                <c:pt idx="4241">
                  <c:v>-2.1716099999999998</c:v>
                </c:pt>
                <c:pt idx="4242">
                  <c:v>-2.2305670000000002</c:v>
                </c:pt>
                <c:pt idx="4243">
                  <c:v>-2.6365069999999999</c:v>
                </c:pt>
                <c:pt idx="4244">
                  <c:v>-3.0214150000000002</c:v>
                </c:pt>
                <c:pt idx="4245">
                  <c:v>-3.3498480000000002</c:v>
                </c:pt>
                <c:pt idx="4246">
                  <c:v>-3.919136</c:v>
                </c:pt>
                <c:pt idx="4247">
                  <c:v>-4.0238709999999998</c:v>
                </c:pt>
                <c:pt idx="4248">
                  <c:v>-4.2894500000000004</c:v>
                </c:pt>
                <c:pt idx="4249">
                  <c:v>-4.7632329999999996</c:v>
                </c:pt>
                <c:pt idx="4250">
                  <c:v>-5.1437169999999997</c:v>
                </c:pt>
                <c:pt idx="4251">
                  <c:v>-5.5868609999999999</c:v>
                </c:pt>
                <c:pt idx="4252">
                  <c:v>-5.9306799999999997</c:v>
                </c:pt>
                <c:pt idx="4253">
                  <c:v>-6.4278279999999999</c:v>
                </c:pt>
                <c:pt idx="4254">
                  <c:v>-6.6658989999999996</c:v>
                </c:pt>
                <c:pt idx="4255">
                  <c:v>-6.838203</c:v>
                </c:pt>
                <c:pt idx="4256">
                  <c:v>-7.3622430000000003</c:v>
                </c:pt>
                <c:pt idx="4257">
                  <c:v>-7.3311719999999996</c:v>
                </c:pt>
                <c:pt idx="4258">
                  <c:v>-7.354088</c:v>
                </c:pt>
                <c:pt idx="4259">
                  <c:v>-7.7742269999999998</c:v>
                </c:pt>
                <c:pt idx="4260">
                  <c:v>-7.9330670000000003</c:v>
                </c:pt>
                <c:pt idx="4261">
                  <c:v>-8.0216639999999995</c:v>
                </c:pt>
                <c:pt idx="4262">
                  <c:v>-8.1958219999999997</c:v>
                </c:pt>
                <c:pt idx="4263">
                  <c:v>-8.5458320000000008</c:v>
                </c:pt>
                <c:pt idx="4264">
                  <c:v>-8.7871039999999994</c:v>
                </c:pt>
                <c:pt idx="4265">
                  <c:v>-8.9787929999999996</c:v>
                </c:pt>
                <c:pt idx="4266">
                  <c:v>-9.2949839999999995</c:v>
                </c:pt>
                <c:pt idx="4267">
                  <c:v>-9.6010139999999993</c:v>
                </c:pt>
                <c:pt idx="4268">
                  <c:v>-10.038259999999999</c:v>
                </c:pt>
                <c:pt idx="4269">
                  <c:v>-10.622033099999999</c:v>
                </c:pt>
                <c:pt idx="4270">
                  <c:v>-10.9574471</c:v>
                </c:pt>
                <c:pt idx="4271">
                  <c:v>-11.103775000000001</c:v>
                </c:pt>
                <c:pt idx="4272">
                  <c:v>-11.4746723</c:v>
                </c:pt>
                <c:pt idx="4273">
                  <c:v>-12.0305119</c:v>
                </c:pt>
                <c:pt idx="4274">
                  <c:v>-12.37138</c:v>
                </c:pt>
                <c:pt idx="4275">
                  <c:v>-12.5969734</c:v>
                </c:pt>
                <c:pt idx="4276">
                  <c:v>-13.01928</c:v>
                </c:pt>
                <c:pt idx="4277">
                  <c:v>-13.342859300000001</c:v>
                </c:pt>
                <c:pt idx="4278">
                  <c:v>-13.5453777</c:v>
                </c:pt>
                <c:pt idx="4279">
                  <c:v>-13.8122177</c:v>
                </c:pt>
                <c:pt idx="4280">
                  <c:v>-13.96744</c:v>
                </c:pt>
                <c:pt idx="4281">
                  <c:v>-14.0583525</c:v>
                </c:pt>
                <c:pt idx="4282">
                  <c:v>-14.407087300000001</c:v>
                </c:pt>
                <c:pt idx="4283">
                  <c:v>-14.601255399999999</c:v>
                </c:pt>
                <c:pt idx="4284">
                  <c:v>-14.9178181</c:v>
                </c:pt>
                <c:pt idx="4285">
                  <c:v>-15.225936900000001</c:v>
                </c:pt>
                <c:pt idx="4286">
                  <c:v>-15.19684</c:v>
                </c:pt>
                <c:pt idx="4287">
                  <c:v>-15.3139381</c:v>
                </c:pt>
                <c:pt idx="4288">
                  <c:v>-15.5613022</c:v>
                </c:pt>
                <c:pt idx="4289">
                  <c:v>-15.742366799999999</c:v>
                </c:pt>
                <c:pt idx="4290">
                  <c:v>-15.845493299999999</c:v>
                </c:pt>
                <c:pt idx="4291">
                  <c:v>-16.027942700000001</c:v>
                </c:pt>
                <c:pt idx="4292">
                  <c:v>-16.4515171</c:v>
                </c:pt>
                <c:pt idx="4293">
                  <c:v>-16.809227</c:v>
                </c:pt>
                <c:pt idx="4294">
                  <c:v>-17.2140427</c:v>
                </c:pt>
                <c:pt idx="4295">
                  <c:v>-17.513782500000001</c:v>
                </c:pt>
                <c:pt idx="4296">
                  <c:v>-17.766483300000001</c:v>
                </c:pt>
                <c:pt idx="4297">
                  <c:v>-18.260079999999999</c:v>
                </c:pt>
                <c:pt idx="4298">
                  <c:v>-18.356191599999999</c:v>
                </c:pt>
                <c:pt idx="4299">
                  <c:v>-18.443656900000001</c:v>
                </c:pt>
                <c:pt idx="4300">
                  <c:v>-18.573255499999998</c:v>
                </c:pt>
                <c:pt idx="4301">
                  <c:v>-18.790327099999999</c:v>
                </c:pt>
                <c:pt idx="4302">
                  <c:v>-19.248302500000001</c:v>
                </c:pt>
                <c:pt idx="4303">
                  <c:v>-19.304870000000001</c:v>
                </c:pt>
                <c:pt idx="4304">
                  <c:v>-19.350826300000001</c:v>
                </c:pt>
                <c:pt idx="4305">
                  <c:v>-19.7141533</c:v>
                </c:pt>
                <c:pt idx="4306">
                  <c:v>-19.750820000000001</c:v>
                </c:pt>
                <c:pt idx="4307">
                  <c:v>-19.629867600000001</c:v>
                </c:pt>
                <c:pt idx="4308">
                  <c:v>-19.94774</c:v>
                </c:pt>
                <c:pt idx="4309">
                  <c:v>-20.091266600000001</c:v>
                </c:pt>
                <c:pt idx="4310">
                  <c:v>-19.880287200000001</c:v>
                </c:pt>
                <c:pt idx="4311">
                  <c:v>-20.007038099999999</c:v>
                </c:pt>
                <c:pt idx="4312">
                  <c:v>-20.2337551</c:v>
                </c:pt>
                <c:pt idx="4313">
                  <c:v>-20.253234899999999</c:v>
                </c:pt>
                <c:pt idx="4314">
                  <c:v>-20.10371</c:v>
                </c:pt>
                <c:pt idx="4315">
                  <c:v>-19.951332099999998</c:v>
                </c:pt>
                <c:pt idx="4316">
                  <c:v>-19.986682900000002</c:v>
                </c:pt>
                <c:pt idx="4317">
                  <c:v>-20.392608599999999</c:v>
                </c:pt>
                <c:pt idx="4318">
                  <c:v>-20.671508800000002</c:v>
                </c:pt>
                <c:pt idx="4319">
                  <c:v>-20.501014699999999</c:v>
                </c:pt>
                <c:pt idx="4320">
                  <c:v>-20.490058900000001</c:v>
                </c:pt>
                <c:pt idx="4321">
                  <c:v>-20.6867771</c:v>
                </c:pt>
                <c:pt idx="4322">
                  <c:v>-20.870185899999999</c:v>
                </c:pt>
                <c:pt idx="4323">
                  <c:v>-20.95054</c:v>
                </c:pt>
                <c:pt idx="4324">
                  <c:v>-20.913711500000002</c:v>
                </c:pt>
                <c:pt idx="4325">
                  <c:v>-21.081611599999999</c:v>
                </c:pt>
                <c:pt idx="4326">
                  <c:v>-21.085550000000001</c:v>
                </c:pt>
                <c:pt idx="4327">
                  <c:v>-21.1440144</c:v>
                </c:pt>
                <c:pt idx="4328">
                  <c:v>-21.358247800000001</c:v>
                </c:pt>
                <c:pt idx="4329">
                  <c:v>-21.258690000000001</c:v>
                </c:pt>
                <c:pt idx="4330">
                  <c:v>-21.294605300000001</c:v>
                </c:pt>
                <c:pt idx="4331">
                  <c:v>-21.478675800000001</c:v>
                </c:pt>
                <c:pt idx="4332">
                  <c:v>-21.409898800000001</c:v>
                </c:pt>
                <c:pt idx="4333">
                  <c:v>-21.34235</c:v>
                </c:pt>
                <c:pt idx="4334">
                  <c:v>-21.6045418</c:v>
                </c:pt>
                <c:pt idx="4335">
                  <c:v>-21.640392299999998</c:v>
                </c:pt>
                <c:pt idx="4336">
                  <c:v>-21.7027</c:v>
                </c:pt>
                <c:pt idx="4337">
                  <c:v>-21.7025471</c:v>
                </c:pt>
                <c:pt idx="4338">
                  <c:v>-21.705439999999999</c:v>
                </c:pt>
                <c:pt idx="4339">
                  <c:v>-22.061256400000001</c:v>
                </c:pt>
                <c:pt idx="4340">
                  <c:v>-22.080210000000001</c:v>
                </c:pt>
                <c:pt idx="4341">
                  <c:v>-21.996387500000001</c:v>
                </c:pt>
                <c:pt idx="4342">
                  <c:v>-22.051635699999999</c:v>
                </c:pt>
                <c:pt idx="4343">
                  <c:v>-22.17773</c:v>
                </c:pt>
                <c:pt idx="4344">
                  <c:v>-22.073135400000002</c:v>
                </c:pt>
                <c:pt idx="4345">
                  <c:v>-22.116542800000001</c:v>
                </c:pt>
                <c:pt idx="4346">
                  <c:v>-22.204366700000001</c:v>
                </c:pt>
                <c:pt idx="4347">
                  <c:v>-22.207280000000001</c:v>
                </c:pt>
                <c:pt idx="4348">
                  <c:v>-22.162859999999998</c:v>
                </c:pt>
                <c:pt idx="4349">
                  <c:v>-22.095897699999998</c:v>
                </c:pt>
                <c:pt idx="4350">
                  <c:v>-22.076034499999999</c:v>
                </c:pt>
                <c:pt idx="4351">
                  <c:v>-21.87894</c:v>
                </c:pt>
                <c:pt idx="4352">
                  <c:v>-21.850249999999999</c:v>
                </c:pt>
                <c:pt idx="4353">
                  <c:v>-21.70119</c:v>
                </c:pt>
                <c:pt idx="4354">
                  <c:v>-21.757392899999999</c:v>
                </c:pt>
                <c:pt idx="4355">
                  <c:v>-21.8575287</c:v>
                </c:pt>
                <c:pt idx="4356">
                  <c:v>-21.660144800000001</c:v>
                </c:pt>
                <c:pt idx="4357">
                  <c:v>-21.638225599999998</c:v>
                </c:pt>
                <c:pt idx="4358">
                  <c:v>-21.366415</c:v>
                </c:pt>
                <c:pt idx="4359">
                  <c:v>-21.297893500000001</c:v>
                </c:pt>
                <c:pt idx="4360">
                  <c:v>-21.5293636</c:v>
                </c:pt>
                <c:pt idx="4361">
                  <c:v>-21.5323563</c:v>
                </c:pt>
                <c:pt idx="4362">
                  <c:v>-21.316036199999999</c:v>
                </c:pt>
                <c:pt idx="4363">
                  <c:v>-21.376102400000001</c:v>
                </c:pt>
                <c:pt idx="4364">
                  <c:v>-21.644748700000001</c:v>
                </c:pt>
                <c:pt idx="4365">
                  <c:v>-21.707193400000001</c:v>
                </c:pt>
                <c:pt idx="4366">
                  <c:v>-21.939867</c:v>
                </c:pt>
                <c:pt idx="4367">
                  <c:v>-21.999486900000001</c:v>
                </c:pt>
                <c:pt idx="4368">
                  <c:v>-21.975570000000001</c:v>
                </c:pt>
                <c:pt idx="4369">
                  <c:v>-22.307205199999999</c:v>
                </c:pt>
                <c:pt idx="4370">
                  <c:v>-22.331674599999999</c:v>
                </c:pt>
                <c:pt idx="4371">
                  <c:v>-22.392953899999998</c:v>
                </c:pt>
                <c:pt idx="4372">
                  <c:v>-22.5969753</c:v>
                </c:pt>
                <c:pt idx="4373">
                  <c:v>-22.480716699999999</c:v>
                </c:pt>
                <c:pt idx="4374">
                  <c:v>-22.797136299999998</c:v>
                </c:pt>
                <c:pt idx="4375">
                  <c:v>-23.004051199999999</c:v>
                </c:pt>
                <c:pt idx="4376">
                  <c:v>-22.89873</c:v>
                </c:pt>
                <c:pt idx="4377">
                  <c:v>-22.886358300000001</c:v>
                </c:pt>
                <c:pt idx="4378">
                  <c:v>-22.707075100000001</c:v>
                </c:pt>
                <c:pt idx="4379">
                  <c:v>-22.705732300000001</c:v>
                </c:pt>
                <c:pt idx="4380">
                  <c:v>-23.062280000000001</c:v>
                </c:pt>
                <c:pt idx="4381">
                  <c:v>-23.149276700000001</c:v>
                </c:pt>
                <c:pt idx="4382">
                  <c:v>-23.312461899999999</c:v>
                </c:pt>
                <c:pt idx="4383">
                  <c:v>-23.7176075</c:v>
                </c:pt>
                <c:pt idx="4384">
                  <c:v>-23.863578799999999</c:v>
                </c:pt>
                <c:pt idx="4385">
                  <c:v>-24.151784899999999</c:v>
                </c:pt>
                <c:pt idx="4386">
                  <c:v>-24.524457900000002</c:v>
                </c:pt>
                <c:pt idx="4387">
                  <c:v>-24.409463899999999</c:v>
                </c:pt>
                <c:pt idx="4388">
                  <c:v>-24.573282200000001</c:v>
                </c:pt>
                <c:pt idx="4389">
                  <c:v>-24.8669586</c:v>
                </c:pt>
                <c:pt idx="4390">
                  <c:v>-25.0412064</c:v>
                </c:pt>
                <c:pt idx="4391">
                  <c:v>-25.351871500000001</c:v>
                </c:pt>
                <c:pt idx="4392">
                  <c:v>-25.268000000000001</c:v>
                </c:pt>
                <c:pt idx="4393">
                  <c:v>-25.4419918</c:v>
                </c:pt>
                <c:pt idx="4394">
                  <c:v>-25.670988099999999</c:v>
                </c:pt>
                <c:pt idx="4395">
                  <c:v>-26.075923899999999</c:v>
                </c:pt>
                <c:pt idx="4396">
                  <c:v>-26.372762699999999</c:v>
                </c:pt>
                <c:pt idx="4397">
                  <c:v>-26.155437500000001</c:v>
                </c:pt>
                <c:pt idx="4398">
                  <c:v>-26.253444699999999</c:v>
                </c:pt>
                <c:pt idx="4399">
                  <c:v>-26.9120235</c:v>
                </c:pt>
                <c:pt idx="4400">
                  <c:v>-27.137589999999999</c:v>
                </c:pt>
                <c:pt idx="4401">
                  <c:v>-26.953142199999998</c:v>
                </c:pt>
                <c:pt idx="4402">
                  <c:v>-27.2203789</c:v>
                </c:pt>
                <c:pt idx="4403">
                  <c:v>-27.4396381</c:v>
                </c:pt>
                <c:pt idx="4404">
                  <c:v>-27.774513200000001</c:v>
                </c:pt>
                <c:pt idx="4405">
                  <c:v>-27.833168000000001</c:v>
                </c:pt>
                <c:pt idx="4406">
                  <c:v>-27.8841362</c:v>
                </c:pt>
                <c:pt idx="4407">
                  <c:v>-28.3197346</c:v>
                </c:pt>
                <c:pt idx="4408">
                  <c:v>-28.631242799999999</c:v>
                </c:pt>
                <c:pt idx="4409">
                  <c:v>-28.751228300000001</c:v>
                </c:pt>
                <c:pt idx="4410">
                  <c:v>-28.9363785</c:v>
                </c:pt>
                <c:pt idx="4411">
                  <c:v>-29.131119999999999</c:v>
                </c:pt>
                <c:pt idx="4412">
                  <c:v>-29.058393500000001</c:v>
                </c:pt>
                <c:pt idx="4413">
                  <c:v>-29.306069999999998</c:v>
                </c:pt>
                <c:pt idx="4414">
                  <c:v>-29.850547800000001</c:v>
                </c:pt>
                <c:pt idx="4415">
                  <c:v>-29.961812999999999</c:v>
                </c:pt>
                <c:pt idx="4416">
                  <c:v>-29.916824299999998</c:v>
                </c:pt>
                <c:pt idx="4417">
                  <c:v>-30.109094599999999</c:v>
                </c:pt>
                <c:pt idx="4418">
                  <c:v>-30.457208600000001</c:v>
                </c:pt>
                <c:pt idx="4419">
                  <c:v>-30.879069999999999</c:v>
                </c:pt>
                <c:pt idx="4420">
                  <c:v>-31.1484585</c:v>
                </c:pt>
                <c:pt idx="4421">
                  <c:v>-31.412492799999999</c:v>
                </c:pt>
                <c:pt idx="4422">
                  <c:v>-32.010936700000002</c:v>
                </c:pt>
                <c:pt idx="4423">
                  <c:v>-32.187564799999997</c:v>
                </c:pt>
                <c:pt idx="4424">
                  <c:v>-32.558250000000001</c:v>
                </c:pt>
                <c:pt idx="4425">
                  <c:v>-33.222145099999999</c:v>
                </c:pt>
                <c:pt idx="4426">
                  <c:v>-33.682670000000002</c:v>
                </c:pt>
                <c:pt idx="4427">
                  <c:v>-34.236862199999997</c:v>
                </c:pt>
                <c:pt idx="4428">
                  <c:v>-34.579880000000003</c:v>
                </c:pt>
                <c:pt idx="4429">
                  <c:v>-35.082756000000003</c:v>
                </c:pt>
                <c:pt idx="4430">
                  <c:v>-35.395919999999997</c:v>
                </c:pt>
                <c:pt idx="4431">
                  <c:v>-35.747520000000002</c:v>
                </c:pt>
                <c:pt idx="4432">
                  <c:v>-35.9689178</c:v>
                </c:pt>
                <c:pt idx="4433">
                  <c:v>-36.121006000000001</c:v>
                </c:pt>
                <c:pt idx="4434">
                  <c:v>-36.354293800000001</c:v>
                </c:pt>
                <c:pt idx="4435">
                  <c:v>-36.422718000000003</c:v>
                </c:pt>
                <c:pt idx="4436">
                  <c:v>-36.384709999999998</c:v>
                </c:pt>
                <c:pt idx="4437">
                  <c:v>-36.616990000000001</c:v>
                </c:pt>
                <c:pt idx="4438">
                  <c:v>-36.567869999999999</c:v>
                </c:pt>
                <c:pt idx="4439">
                  <c:v>-36.372979999999998</c:v>
                </c:pt>
                <c:pt idx="4440">
                  <c:v>-36.608420000000002</c:v>
                </c:pt>
                <c:pt idx="4441">
                  <c:v>-36.396636999999998</c:v>
                </c:pt>
                <c:pt idx="4442">
                  <c:v>-36.3187256</c:v>
                </c:pt>
                <c:pt idx="4443">
                  <c:v>-36.237740000000002</c:v>
                </c:pt>
                <c:pt idx="4444">
                  <c:v>-36.017036400000002</c:v>
                </c:pt>
                <c:pt idx="4445">
                  <c:v>-36.046239999999997</c:v>
                </c:pt>
                <c:pt idx="4446">
                  <c:v>-35.796875</c:v>
                </c:pt>
                <c:pt idx="4447">
                  <c:v>-35.464239999999997</c:v>
                </c:pt>
                <c:pt idx="4448">
                  <c:v>-35.472827899999999</c:v>
                </c:pt>
                <c:pt idx="4449">
                  <c:v>-35.2536354</c:v>
                </c:pt>
                <c:pt idx="4450">
                  <c:v>-35.035170000000001</c:v>
                </c:pt>
                <c:pt idx="4451">
                  <c:v>-35.013885500000001</c:v>
                </c:pt>
                <c:pt idx="4452">
                  <c:v>-34.557580000000002</c:v>
                </c:pt>
                <c:pt idx="4453">
                  <c:v>-34.26923</c:v>
                </c:pt>
                <c:pt idx="4454">
                  <c:v>-34.524880000000003</c:v>
                </c:pt>
                <c:pt idx="4455">
                  <c:v>-34.339910000000003</c:v>
                </c:pt>
                <c:pt idx="4456">
                  <c:v>-34.071536999999999</c:v>
                </c:pt>
                <c:pt idx="4457">
                  <c:v>-33.877914400000002</c:v>
                </c:pt>
                <c:pt idx="4458">
                  <c:v>-33.596092200000001</c:v>
                </c:pt>
                <c:pt idx="4459">
                  <c:v>-33.421700000000001</c:v>
                </c:pt>
                <c:pt idx="4460">
                  <c:v>-33.239370000000001</c:v>
                </c:pt>
                <c:pt idx="4461">
                  <c:v>-33.187377900000001</c:v>
                </c:pt>
                <c:pt idx="4462">
                  <c:v>-33.213073700000002</c:v>
                </c:pt>
                <c:pt idx="4463">
                  <c:v>-33.358750000000001</c:v>
                </c:pt>
                <c:pt idx="4464">
                  <c:v>-33.108894300000003</c:v>
                </c:pt>
                <c:pt idx="4465">
                  <c:v>-33.061252600000003</c:v>
                </c:pt>
                <c:pt idx="4466">
                  <c:v>-32.916710000000002</c:v>
                </c:pt>
                <c:pt idx="4467">
                  <c:v>-32.554397600000001</c:v>
                </c:pt>
                <c:pt idx="4468">
                  <c:v>-32.532867400000001</c:v>
                </c:pt>
                <c:pt idx="4469">
                  <c:v>-32.423564900000002</c:v>
                </c:pt>
                <c:pt idx="4470">
                  <c:v>-32.1364059</c:v>
                </c:pt>
                <c:pt idx="4471">
                  <c:v>-31.749954200000001</c:v>
                </c:pt>
                <c:pt idx="4472">
                  <c:v>-31.567409999999999</c:v>
                </c:pt>
                <c:pt idx="4473">
                  <c:v>-31.554914499999999</c:v>
                </c:pt>
                <c:pt idx="4474">
                  <c:v>-31.194934799999999</c:v>
                </c:pt>
                <c:pt idx="4475">
                  <c:v>-30.874126400000002</c:v>
                </c:pt>
                <c:pt idx="4476">
                  <c:v>-30.899000000000001</c:v>
                </c:pt>
                <c:pt idx="4477">
                  <c:v>-30.573886900000002</c:v>
                </c:pt>
                <c:pt idx="4478">
                  <c:v>-29.862575499999998</c:v>
                </c:pt>
                <c:pt idx="4479">
                  <c:v>-29.667593</c:v>
                </c:pt>
                <c:pt idx="4480">
                  <c:v>-29.731855400000001</c:v>
                </c:pt>
                <c:pt idx="4481">
                  <c:v>-29.4148</c:v>
                </c:pt>
                <c:pt idx="4482">
                  <c:v>-29.266647299999999</c:v>
                </c:pt>
                <c:pt idx="4483">
                  <c:v>-29.296758700000002</c:v>
                </c:pt>
                <c:pt idx="4484">
                  <c:v>-29.1679344</c:v>
                </c:pt>
                <c:pt idx="4485">
                  <c:v>-28.964437499999999</c:v>
                </c:pt>
                <c:pt idx="4486">
                  <c:v>-28.857784299999999</c:v>
                </c:pt>
                <c:pt idx="4487">
                  <c:v>-28.7353439</c:v>
                </c:pt>
                <c:pt idx="4488">
                  <c:v>-28.338043200000001</c:v>
                </c:pt>
                <c:pt idx="4489">
                  <c:v>-28.1262665</c:v>
                </c:pt>
                <c:pt idx="4490">
                  <c:v>-28.208200000000001</c:v>
                </c:pt>
                <c:pt idx="4491">
                  <c:v>-27.985332499999998</c:v>
                </c:pt>
                <c:pt idx="4492">
                  <c:v>-27.608276400000001</c:v>
                </c:pt>
                <c:pt idx="4493">
                  <c:v>-27.202781699999999</c:v>
                </c:pt>
                <c:pt idx="4494">
                  <c:v>-26.838327400000001</c:v>
                </c:pt>
                <c:pt idx="4495">
                  <c:v>-26.413765000000001</c:v>
                </c:pt>
                <c:pt idx="4496">
                  <c:v>-25.88306</c:v>
                </c:pt>
                <c:pt idx="4497">
                  <c:v>-25.550758399999999</c:v>
                </c:pt>
                <c:pt idx="4498">
                  <c:v>-25.021562599999999</c:v>
                </c:pt>
                <c:pt idx="4499">
                  <c:v>-24.263999999999999</c:v>
                </c:pt>
                <c:pt idx="4500">
                  <c:v>-23.704904599999999</c:v>
                </c:pt>
                <c:pt idx="4501">
                  <c:v>-23.168254900000001</c:v>
                </c:pt>
                <c:pt idx="4502">
                  <c:v>-22.506588000000001</c:v>
                </c:pt>
                <c:pt idx="4503">
                  <c:v>-22.1774883</c:v>
                </c:pt>
                <c:pt idx="4504">
                  <c:v>-21.958791699999999</c:v>
                </c:pt>
                <c:pt idx="4505">
                  <c:v>-21.3432827</c:v>
                </c:pt>
                <c:pt idx="4506">
                  <c:v>-20.783308000000002</c:v>
                </c:pt>
                <c:pt idx="4507">
                  <c:v>-20.313234300000001</c:v>
                </c:pt>
                <c:pt idx="4508">
                  <c:v>-19.962722800000002</c:v>
                </c:pt>
                <c:pt idx="4509">
                  <c:v>-19.746263500000001</c:v>
                </c:pt>
                <c:pt idx="4510">
                  <c:v>-19.2109928</c:v>
                </c:pt>
                <c:pt idx="4511">
                  <c:v>-18.7804012</c:v>
                </c:pt>
                <c:pt idx="4512">
                  <c:v>-18.398240999999999</c:v>
                </c:pt>
                <c:pt idx="4513">
                  <c:v>-17.843723300000001</c:v>
                </c:pt>
                <c:pt idx="4514">
                  <c:v>-17.436145799999998</c:v>
                </c:pt>
                <c:pt idx="4515">
                  <c:v>-17.051168400000002</c:v>
                </c:pt>
                <c:pt idx="4516">
                  <c:v>-16.549389999999999</c:v>
                </c:pt>
                <c:pt idx="4517">
                  <c:v>-16.324695599999998</c:v>
                </c:pt>
                <c:pt idx="4518">
                  <c:v>-15.980138800000001</c:v>
                </c:pt>
                <c:pt idx="4519">
                  <c:v>-15.7233448</c:v>
                </c:pt>
                <c:pt idx="4520">
                  <c:v>-15.5126448</c:v>
                </c:pt>
                <c:pt idx="4521">
                  <c:v>-15.0722942</c:v>
                </c:pt>
                <c:pt idx="4522">
                  <c:v>-14.889026599999999</c:v>
                </c:pt>
                <c:pt idx="4523">
                  <c:v>-14.586255100000001</c:v>
                </c:pt>
                <c:pt idx="4524">
                  <c:v>-14.297046699999999</c:v>
                </c:pt>
                <c:pt idx="4525">
                  <c:v>-14.1492</c:v>
                </c:pt>
                <c:pt idx="4526">
                  <c:v>-13.8826675</c:v>
                </c:pt>
                <c:pt idx="4527">
                  <c:v>-13.625937499999999</c:v>
                </c:pt>
                <c:pt idx="4528">
                  <c:v>-13.3746519</c:v>
                </c:pt>
                <c:pt idx="4529">
                  <c:v>-13.1964931</c:v>
                </c:pt>
                <c:pt idx="4530">
                  <c:v>-12.9787006</c:v>
                </c:pt>
                <c:pt idx="4531">
                  <c:v>-12.614536299999999</c:v>
                </c:pt>
                <c:pt idx="4532">
                  <c:v>-12.439316699999999</c:v>
                </c:pt>
                <c:pt idx="4533">
                  <c:v>-12.22641</c:v>
                </c:pt>
                <c:pt idx="4534">
                  <c:v>-11.933056799999999</c:v>
                </c:pt>
                <c:pt idx="4535">
                  <c:v>-11.8645248</c:v>
                </c:pt>
                <c:pt idx="4536">
                  <c:v>-11.717639</c:v>
                </c:pt>
                <c:pt idx="4537">
                  <c:v>-11.539056799999999</c:v>
                </c:pt>
                <c:pt idx="4538">
                  <c:v>-11.2173157</c:v>
                </c:pt>
                <c:pt idx="4539">
                  <c:v>-10.8794994</c:v>
                </c:pt>
                <c:pt idx="4540">
                  <c:v>-10.995523499999999</c:v>
                </c:pt>
                <c:pt idx="4541">
                  <c:v>-10.95528</c:v>
                </c:pt>
                <c:pt idx="4542">
                  <c:v>-10.647642100000001</c:v>
                </c:pt>
                <c:pt idx="4543">
                  <c:v>-10.530656799999999</c:v>
                </c:pt>
                <c:pt idx="4544">
                  <c:v>-10.512064000000001</c:v>
                </c:pt>
                <c:pt idx="4545">
                  <c:v>-10.349779099999999</c:v>
                </c:pt>
                <c:pt idx="4546">
                  <c:v>-10.2050734</c:v>
                </c:pt>
                <c:pt idx="4547">
                  <c:v>-10.326993</c:v>
                </c:pt>
                <c:pt idx="4548">
                  <c:v>-10.3958683</c:v>
                </c:pt>
                <c:pt idx="4549">
                  <c:v>-10.180023200000001</c:v>
                </c:pt>
                <c:pt idx="4550">
                  <c:v>-10.0132227</c:v>
                </c:pt>
                <c:pt idx="4551">
                  <c:v>-9.9297269999999997</c:v>
                </c:pt>
                <c:pt idx="4552">
                  <c:v>-9.8222480000000001</c:v>
                </c:pt>
                <c:pt idx="4553">
                  <c:v>-9.7008500000000009</c:v>
                </c:pt>
                <c:pt idx="4554">
                  <c:v>-9.6721249999999994</c:v>
                </c:pt>
                <c:pt idx="4555">
                  <c:v>-9.3361929999999997</c:v>
                </c:pt>
                <c:pt idx="4556">
                  <c:v>-9.1727760000000007</c:v>
                </c:pt>
                <c:pt idx="4557">
                  <c:v>-9.0824979999999993</c:v>
                </c:pt>
                <c:pt idx="4558">
                  <c:v>-8.9735150000000008</c:v>
                </c:pt>
                <c:pt idx="4559">
                  <c:v>-8.9153749999999992</c:v>
                </c:pt>
                <c:pt idx="4560">
                  <c:v>-8.6909890000000001</c:v>
                </c:pt>
                <c:pt idx="4561">
                  <c:v>-8.3686659999999993</c:v>
                </c:pt>
                <c:pt idx="4562">
                  <c:v>-7.94339</c:v>
                </c:pt>
                <c:pt idx="4563">
                  <c:v>-7.9070130000000001</c:v>
                </c:pt>
                <c:pt idx="4564">
                  <c:v>-7.8727879999999999</c:v>
                </c:pt>
                <c:pt idx="4565">
                  <c:v>-7.5810529999999998</c:v>
                </c:pt>
                <c:pt idx="4566">
                  <c:v>-7.217428</c:v>
                </c:pt>
                <c:pt idx="4567">
                  <c:v>-7.2111929999999997</c:v>
                </c:pt>
                <c:pt idx="4568">
                  <c:v>-7.3951250000000002</c:v>
                </c:pt>
                <c:pt idx="4569">
                  <c:v>-7.3646880000000001</c:v>
                </c:pt>
                <c:pt idx="4570">
                  <c:v>-7.3291719999999998</c:v>
                </c:pt>
                <c:pt idx="4571">
                  <c:v>-7.4137979999999999</c:v>
                </c:pt>
                <c:pt idx="4572">
                  <c:v>-7.4998209999999998</c:v>
                </c:pt>
                <c:pt idx="4573">
                  <c:v>-7.5965490000000004</c:v>
                </c:pt>
                <c:pt idx="4574">
                  <c:v>-7.7726009999999999</c:v>
                </c:pt>
                <c:pt idx="4575">
                  <c:v>-8.0011259999999993</c:v>
                </c:pt>
                <c:pt idx="4576">
                  <c:v>-8.1323679999999996</c:v>
                </c:pt>
                <c:pt idx="4577">
                  <c:v>-8.2208020000000008</c:v>
                </c:pt>
                <c:pt idx="4578">
                  <c:v>-8.4539869999999997</c:v>
                </c:pt>
                <c:pt idx="4579">
                  <c:v>-8.4783799999999996</c:v>
                </c:pt>
                <c:pt idx="4580">
                  <c:v>-8.5953630000000008</c:v>
                </c:pt>
                <c:pt idx="4581">
                  <c:v>-8.6845590000000001</c:v>
                </c:pt>
                <c:pt idx="4582">
                  <c:v>-8.7626950000000008</c:v>
                </c:pt>
                <c:pt idx="4583">
                  <c:v>-8.894539</c:v>
                </c:pt>
                <c:pt idx="4584">
                  <c:v>-8.9233609999999999</c:v>
                </c:pt>
                <c:pt idx="4585">
                  <c:v>-9.095205</c:v>
                </c:pt>
                <c:pt idx="4586">
                  <c:v>-9.1372949999999999</c:v>
                </c:pt>
                <c:pt idx="4587">
                  <c:v>-8.9740420000000007</c:v>
                </c:pt>
                <c:pt idx="4588">
                  <c:v>-8.8917029999999997</c:v>
                </c:pt>
                <c:pt idx="4589">
                  <c:v>-9.109394</c:v>
                </c:pt>
                <c:pt idx="4590">
                  <c:v>-9.2864570000000004</c:v>
                </c:pt>
                <c:pt idx="4591">
                  <c:v>-9.182601</c:v>
                </c:pt>
                <c:pt idx="4592">
                  <c:v>-9.1962430000000008</c:v>
                </c:pt>
                <c:pt idx="4593">
                  <c:v>-9.2624340000000007</c:v>
                </c:pt>
                <c:pt idx="4594">
                  <c:v>-9.1566510000000001</c:v>
                </c:pt>
                <c:pt idx="4595">
                  <c:v>-9.2884879999999992</c:v>
                </c:pt>
                <c:pt idx="4596">
                  <c:v>-9.4748640000000002</c:v>
                </c:pt>
                <c:pt idx="4597">
                  <c:v>-9.5663560000000007</c:v>
                </c:pt>
                <c:pt idx="4598">
                  <c:v>-9.6768750000000008</c:v>
                </c:pt>
                <c:pt idx="4599">
                  <c:v>-9.7323470000000007</c:v>
                </c:pt>
                <c:pt idx="4600">
                  <c:v>-9.6204900000000002</c:v>
                </c:pt>
                <c:pt idx="4601">
                  <c:v>-9.6168449999999996</c:v>
                </c:pt>
                <c:pt idx="4602">
                  <c:v>-9.7224850000000007</c:v>
                </c:pt>
                <c:pt idx="4603">
                  <c:v>-9.6179869999999994</c:v>
                </c:pt>
                <c:pt idx="4604">
                  <c:v>-9.5308670000000006</c:v>
                </c:pt>
                <c:pt idx="4605">
                  <c:v>-9.6468550000000004</c:v>
                </c:pt>
                <c:pt idx="4606">
                  <c:v>-9.6665390000000002</c:v>
                </c:pt>
                <c:pt idx="4607">
                  <c:v>-9.4369980000000009</c:v>
                </c:pt>
                <c:pt idx="4608">
                  <c:v>-9.4703769999999992</c:v>
                </c:pt>
                <c:pt idx="4609">
                  <c:v>-9.4998419999999992</c:v>
                </c:pt>
                <c:pt idx="4610">
                  <c:v>-9.3465620000000005</c:v>
                </c:pt>
                <c:pt idx="4611">
                  <c:v>-9.4173980000000004</c:v>
                </c:pt>
                <c:pt idx="4612">
                  <c:v>-9.4002110000000005</c:v>
                </c:pt>
                <c:pt idx="4613">
                  <c:v>-9.5458079999999992</c:v>
                </c:pt>
                <c:pt idx="4614">
                  <c:v>-9.6409540000000007</c:v>
                </c:pt>
                <c:pt idx="4615">
                  <c:v>-9.9285610000000002</c:v>
                </c:pt>
                <c:pt idx="4616">
                  <c:v>-10.116043100000001</c:v>
                </c:pt>
                <c:pt idx="4617">
                  <c:v>-9.7286479999999997</c:v>
                </c:pt>
                <c:pt idx="4618">
                  <c:v>-9.7662940000000003</c:v>
                </c:pt>
                <c:pt idx="4619">
                  <c:v>-9.6700079999999993</c:v>
                </c:pt>
                <c:pt idx="4620">
                  <c:v>-9.4358400000000007</c:v>
                </c:pt>
                <c:pt idx="4621">
                  <c:v>-9.3133590000000002</c:v>
                </c:pt>
                <c:pt idx="4622">
                  <c:v>-9.1758450000000007</c:v>
                </c:pt>
                <c:pt idx="4623">
                  <c:v>-9.2951510000000006</c:v>
                </c:pt>
                <c:pt idx="4624">
                  <c:v>-9.0799810000000001</c:v>
                </c:pt>
                <c:pt idx="4625">
                  <c:v>-8.4860810000000004</c:v>
                </c:pt>
                <c:pt idx="4626">
                  <c:v>-8.1381929999999993</c:v>
                </c:pt>
                <c:pt idx="4627">
                  <c:v>-7.8968600000000002</c:v>
                </c:pt>
                <c:pt idx="4628">
                  <c:v>-7.7761230000000001</c:v>
                </c:pt>
                <c:pt idx="4629">
                  <c:v>-7.5160960000000001</c:v>
                </c:pt>
                <c:pt idx="4630">
                  <c:v>-7.1183569999999996</c:v>
                </c:pt>
                <c:pt idx="4631">
                  <c:v>-6.7694049999999999</c:v>
                </c:pt>
                <c:pt idx="4632">
                  <c:v>-6.3029400000000004</c:v>
                </c:pt>
                <c:pt idx="4633">
                  <c:v>-6.238569</c:v>
                </c:pt>
                <c:pt idx="4634">
                  <c:v>-6.3972540000000002</c:v>
                </c:pt>
                <c:pt idx="4635">
                  <c:v>-6.2224139999999997</c:v>
                </c:pt>
                <c:pt idx="4636">
                  <c:v>-6.2219759999999997</c:v>
                </c:pt>
                <c:pt idx="4637">
                  <c:v>-6.3847110000000002</c:v>
                </c:pt>
                <c:pt idx="4638">
                  <c:v>-6.1106259999999999</c:v>
                </c:pt>
                <c:pt idx="4639">
                  <c:v>-5.9460499999999996</c:v>
                </c:pt>
                <c:pt idx="4640">
                  <c:v>-5.8254950000000001</c:v>
                </c:pt>
                <c:pt idx="4641">
                  <c:v>-5.5972720000000002</c:v>
                </c:pt>
                <c:pt idx="4642">
                  <c:v>-5.6479609999999996</c:v>
                </c:pt>
                <c:pt idx="4643">
                  <c:v>-5.8506229999999997</c:v>
                </c:pt>
                <c:pt idx="4644">
                  <c:v>-5.8791190000000002</c:v>
                </c:pt>
                <c:pt idx="4645">
                  <c:v>-5.6254010000000001</c:v>
                </c:pt>
                <c:pt idx="4646">
                  <c:v>-5.4157479999999998</c:v>
                </c:pt>
                <c:pt idx="4647">
                  <c:v>-5.2163449999999996</c:v>
                </c:pt>
                <c:pt idx="4648">
                  <c:v>-5.1512869999999999</c:v>
                </c:pt>
                <c:pt idx="4649">
                  <c:v>-5.0867889999999996</c:v>
                </c:pt>
                <c:pt idx="4650">
                  <c:v>-4.8929020000000003</c:v>
                </c:pt>
                <c:pt idx="4651">
                  <c:v>-4.7611670000000004</c:v>
                </c:pt>
                <c:pt idx="4652">
                  <c:v>-4.3864830000000001</c:v>
                </c:pt>
                <c:pt idx="4653">
                  <c:v>-4.1464660000000002</c:v>
                </c:pt>
                <c:pt idx="4654">
                  <c:v>-4.1661039999999998</c:v>
                </c:pt>
                <c:pt idx="4655">
                  <c:v>-4.0625869999999997</c:v>
                </c:pt>
                <c:pt idx="4656">
                  <c:v>-4.036111</c:v>
                </c:pt>
                <c:pt idx="4657">
                  <c:v>-3.919295</c:v>
                </c:pt>
                <c:pt idx="4658">
                  <c:v>-3.8267410000000002</c:v>
                </c:pt>
                <c:pt idx="4659">
                  <c:v>-3.7442570000000002</c:v>
                </c:pt>
                <c:pt idx="4660">
                  <c:v>-3.1946699999999999</c:v>
                </c:pt>
                <c:pt idx="4661">
                  <c:v>-2.9928539999999999</c:v>
                </c:pt>
                <c:pt idx="4662">
                  <c:v>-3.0902240000000001</c:v>
                </c:pt>
                <c:pt idx="4663">
                  <c:v>-3.0268670000000002</c:v>
                </c:pt>
                <c:pt idx="4664">
                  <c:v>-2.8165279999999999</c:v>
                </c:pt>
                <c:pt idx="4665">
                  <c:v>-2.394288</c:v>
                </c:pt>
                <c:pt idx="4666">
                  <c:v>-2.5217830000000001</c:v>
                </c:pt>
                <c:pt idx="4667">
                  <c:v>-2.4662269999999999</c:v>
                </c:pt>
                <c:pt idx="4668">
                  <c:v>-2.0627680000000002</c:v>
                </c:pt>
                <c:pt idx="4669">
                  <c:v>-1.9326810000000001</c:v>
                </c:pt>
                <c:pt idx="4670">
                  <c:v>-1.534769</c:v>
                </c:pt>
                <c:pt idx="4671">
                  <c:v>-1.192547</c:v>
                </c:pt>
                <c:pt idx="4672">
                  <c:v>-1.0664979999999999</c:v>
                </c:pt>
                <c:pt idx="4673">
                  <c:v>-0.99197800000000003</c:v>
                </c:pt>
                <c:pt idx="4674">
                  <c:v>-0.68016299999999996</c:v>
                </c:pt>
                <c:pt idx="4675">
                  <c:v>-0.380853</c:v>
                </c:pt>
                <c:pt idx="4676">
                  <c:v>-0.27767799999999998</c:v>
                </c:pt>
                <c:pt idx="4677">
                  <c:v>-8.2284999999999997E-2</c:v>
                </c:pt>
                <c:pt idx="4678">
                  <c:v>-0.17958199999999999</c:v>
                </c:pt>
                <c:pt idx="4679">
                  <c:v>-0.103544</c:v>
                </c:pt>
                <c:pt idx="4680">
                  <c:v>-0.15606300000000001</c:v>
                </c:pt>
                <c:pt idx="4681">
                  <c:v>-0.27840399999999998</c:v>
                </c:pt>
                <c:pt idx="4682">
                  <c:v>-0.187967</c:v>
                </c:pt>
                <c:pt idx="4683">
                  <c:v>-0.32346000000000003</c:v>
                </c:pt>
                <c:pt idx="4684">
                  <c:v>-0.17829900000000001</c:v>
                </c:pt>
                <c:pt idx="4685">
                  <c:v>0.112925</c:v>
                </c:pt>
                <c:pt idx="4686">
                  <c:v>-4.4706000000000003E-2</c:v>
                </c:pt>
                <c:pt idx="4687">
                  <c:v>-0.44333899999999998</c:v>
                </c:pt>
                <c:pt idx="4688">
                  <c:v>-0.930836</c:v>
                </c:pt>
                <c:pt idx="4689">
                  <c:v>-0.74553599999999998</c:v>
                </c:pt>
                <c:pt idx="4690">
                  <c:v>-0.34529700000000002</c:v>
                </c:pt>
                <c:pt idx="4691">
                  <c:v>-0.26649200000000001</c:v>
                </c:pt>
                <c:pt idx="4692">
                  <c:v>-0.14594799999999999</c:v>
                </c:pt>
                <c:pt idx="4693">
                  <c:v>-0.13025</c:v>
                </c:pt>
                <c:pt idx="4694">
                  <c:v>0.10040499999999999</c:v>
                </c:pt>
                <c:pt idx="4695">
                  <c:v>0.11111699999999999</c:v>
                </c:pt>
                <c:pt idx="4696">
                  <c:v>0.14767</c:v>
                </c:pt>
                <c:pt idx="4697">
                  <c:v>0.59707299999999996</c:v>
                </c:pt>
                <c:pt idx="4698">
                  <c:v>0.60173900000000002</c:v>
                </c:pt>
                <c:pt idx="4699">
                  <c:v>0.38102599999999998</c:v>
                </c:pt>
                <c:pt idx="4700">
                  <c:v>0.49252699999999999</c:v>
                </c:pt>
                <c:pt idx="4701">
                  <c:v>0.63953599999999999</c:v>
                </c:pt>
                <c:pt idx="4702">
                  <c:v>0.88022100000000003</c:v>
                </c:pt>
                <c:pt idx="4703">
                  <c:v>1.110716</c:v>
                </c:pt>
                <c:pt idx="4704">
                  <c:v>1.2117309999999999</c:v>
                </c:pt>
                <c:pt idx="4705">
                  <c:v>1.1766220000000001</c:v>
                </c:pt>
                <c:pt idx="4706">
                  <c:v>1.540627</c:v>
                </c:pt>
                <c:pt idx="4707">
                  <c:v>1.844346</c:v>
                </c:pt>
                <c:pt idx="4708">
                  <c:v>1.59538</c:v>
                </c:pt>
                <c:pt idx="4709">
                  <c:v>1.714715</c:v>
                </c:pt>
                <c:pt idx="4710">
                  <c:v>1.8113060000000001</c:v>
                </c:pt>
                <c:pt idx="4711">
                  <c:v>1.834832</c:v>
                </c:pt>
                <c:pt idx="4712">
                  <c:v>2.0148920000000001</c:v>
                </c:pt>
                <c:pt idx="4713">
                  <c:v>1.806827</c:v>
                </c:pt>
                <c:pt idx="4714">
                  <c:v>1.5190140000000001</c:v>
                </c:pt>
                <c:pt idx="4715">
                  <c:v>1.503045</c:v>
                </c:pt>
                <c:pt idx="4716">
                  <c:v>1.6236619999999999</c:v>
                </c:pt>
                <c:pt idx="4717">
                  <c:v>1.551186</c:v>
                </c:pt>
                <c:pt idx="4718">
                  <c:v>1.243333</c:v>
                </c:pt>
                <c:pt idx="4719">
                  <c:v>1.2022470000000001</c:v>
                </c:pt>
                <c:pt idx="4720">
                  <c:v>1.4296880000000001</c:v>
                </c:pt>
                <c:pt idx="4721">
                  <c:v>1.202113</c:v>
                </c:pt>
                <c:pt idx="4722">
                  <c:v>0.94086800000000004</c:v>
                </c:pt>
                <c:pt idx="4723">
                  <c:v>1.0469120000000001</c:v>
                </c:pt>
                <c:pt idx="4724">
                  <c:v>0.94602799999999998</c:v>
                </c:pt>
                <c:pt idx="4725">
                  <c:v>0.53525299999999998</c:v>
                </c:pt>
                <c:pt idx="4726">
                  <c:v>0.62508900000000001</c:v>
                </c:pt>
                <c:pt idx="4727">
                  <c:v>0.83673699999999995</c:v>
                </c:pt>
                <c:pt idx="4728">
                  <c:v>0.46148299999999998</c:v>
                </c:pt>
                <c:pt idx="4729">
                  <c:v>0.44534200000000002</c:v>
                </c:pt>
                <c:pt idx="4730">
                  <c:v>0.54045699999999997</c:v>
                </c:pt>
                <c:pt idx="4731">
                  <c:v>0.302537</c:v>
                </c:pt>
                <c:pt idx="4732">
                  <c:v>0.35888700000000001</c:v>
                </c:pt>
                <c:pt idx="4733">
                  <c:v>0.56891499999999995</c:v>
                </c:pt>
                <c:pt idx="4734">
                  <c:v>0.40326099999999998</c:v>
                </c:pt>
                <c:pt idx="4735">
                  <c:v>0.10713300000000001</c:v>
                </c:pt>
                <c:pt idx="4736">
                  <c:v>0.20017799999999999</c:v>
                </c:pt>
                <c:pt idx="4737">
                  <c:v>0.15740999999999999</c:v>
                </c:pt>
                <c:pt idx="4738">
                  <c:v>5.5065000000000003E-2</c:v>
                </c:pt>
                <c:pt idx="4739">
                  <c:v>0.25215900000000002</c:v>
                </c:pt>
                <c:pt idx="4740">
                  <c:v>-5.9678000000000002E-2</c:v>
                </c:pt>
                <c:pt idx="4741">
                  <c:v>-0.37165199999999998</c:v>
                </c:pt>
                <c:pt idx="4742">
                  <c:v>-0.16552500000000001</c:v>
                </c:pt>
                <c:pt idx="4743">
                  <c:v>-0.15109</c:v>
                </c:pt>
                <c:pt idx="4744">
                  <c:v>-0.63199300000000003</c:v>
                </c:pt>
                <c:pt idx="4745">
                  <c:v>-0.507633</c:v>
                </c:pt>
                <c:pt idx="4746">
                  <c:v>-0.27757999999999999</c:v>
                </c:pt>
                <c:pt idx="4747">
                  <c:v>-0.502224</c:v>
                </c:pt>
                <c:pt idx="4748">
                  <c:v>-0.63669500000000001</c:v>
                </c:pt>
                <c:pt idx="4749">
                  <c:v>-0.592638</c:v>
                </c:pt>
                <c:pt idx="4750">
                  <c:v>-0.52347299999999997</c:v>
                </c:pt>
                <c:pt idx="4751">
                  <c:v>-0.69952099999999995</c:v>
                </c:pt>
                <c:pt idx="4752">
                  <c:v>-0.67136099999999999</c:v>
                </c:pt>
                <c:pt idx="4753">
                  <c:v>-0.87724800000000003</c:v>
                </c:pt>
                <c:pt idx="4754">
                  <c:v>-1.2072620000000001</c:v>
                </c:pt>
                <c:pt idx="4755">
                  <c:v>-1.147913</c:v>
                </c:pt>
                <c:pt idx="4756">
                  <c:v>-1.2207669999999999</c:v>
                </c:pt>
                <c:pt idx="4757">
                  <c:v>-1.4907330000000001</c:v>
                </c:pt>
                <c:pt idx="4758">
                  <c:v>-1.603372</c:v>
                </c:pt>
                <c:pt idx="4759">
                  <c:v>-1.637651</c:v>
                </c:pt>
                <c:pt idx="4760">
                  <c:v>-1.693535</c:v>
                </c:pt>
                <c:pt idx="4761">
                  <c:v>-1.6884509999999999</c:v>
                </c:pt>
                <c:pt idx="4762">
                  <c:v>-1.714332</c:v>
                </c:pt>
                <c:pt idx="4763">
                  <c:v>-2.159376</c:v>
                </c:pt>
                <c:pt idx="4764">
                  <c:v>-2.431149</c:v>
                </c:pt>
                <c:pt idx="4765">
                  <c:v>-2.2940939999999999</c:v>
                </c:pt>
                <c:pt idx="4766">
                  <c:v>-2.2660819999999999</c:v>
                </c:pt>
                <c:pt idx="4767">
                  <c:v>-2.2139700000000002</c:v>
                </c:pt>
                <c:pt idx="4768">
                  <c:v>-2.1405379999999998</c:v>
                </c:pt>
                <c:pt idx="4769">
                  <c:v>-2.0459489999999998</c:v>
                </c:pt>
                <c:pt idx="4770">
                  <c:v>-2.1367319999999999</c:v>
                </c:pt>
                <c:pt idx="4771">
                  <c:v>-2.1874069999999999</c:v>
                </c:pt>
                <c:pt idx="4772">
                  <c:v>-2.0890960000000001</c:v>
                </c:pt>
                <c:pt idx="4773">
                  <c:v>-2.0398369999999999</c:v>
                </c:pt>
                <c:pt idx="4774">
                  <c:v>-1.7401599999999999</c:v>
                </c:pt>
                <c:pt idx="4775">
                  <c:v>-1.6353580000000001</c:v>
                </c:pt>
                <c:pt idx="4776">
                  <c:v>-1.6873990000000001</c:v>
                </c:pt>
                <c:pt idx="4777">
                  <c:v>-1.6962489999999999</c:v>
                </c:pt>
                <c:pt idx="4778">
                  <c:v>-1.9574929999999999</c:v>
                </c:pt>
                <c:pt idx="4779">
                  <c:v>-2.0953360000000001</c:v>
                </c:pt>
                <c:pt idx="4780">
                  <c:v>-2.3201529999999999</c:v>
                </c:pt>
                <c:pt idx="4781">
                  <c:v>-2.597378</c:v>
                </c:pt>
                <c:pt idx="4782">
                  <c:v>-2.6481859999999999</c:v>
                </c:pt>
                <c:pt idx="4783">
                  <c:v>-2.6470030000000002</c:v>
                </c:pt>
                <c:pt idx="4784">
                  <c:v>-3.0893730000000001</c:v>
                </c:pt>
                <c:pt idx="4785">
                  <c:v>-3.4335680000000002</c:v>
                </c:pt>
                <c:pt idx="4786">
                  <c:v>-3.549499</c:v>
                </c:pt>
                <c:pt idx="4787">
                  <c:v>-3.6735120000000001</c:v>
                </c:pt>
                <c:pt idx="4788">
                  <c:v>-3.7356750000000001</c:v>
                </c:pt>
                <c:pt idx="4789">
                  <c:v>-4.1620359999999996</c:v>
                </c:pt>
                <c:pt idx="4790">
                  <c:v>-4.3838730000000004</c:v>
                </c:pt>
                <c:pt idx="4791">
                  <c:v>-4.304792</c:v>
                </c:pt>
                <c:pt idx="4792">
                  <c:v>-4.2561960000000001</c:v>
                </c:pt>
                <c:pt idx="4793">
                  <c:v>-4.2748520000000001</c:v>
                </c:pt>
                <c:pt idx="4794">
                  <c:v>-4.2519770000000001</c:v>
                </c:pt>
                <c:pt idx="4795">
                  <c:v>-4.2004650000000003</c:v>
                </c:pt>
                <c:pt idx="4796">
                  <c:v>-4.3291449999999996</c:v>
                </c:pt>
                <c:pt idx="4797">
                  <c:v>-4.2120369999999996</c:v>
                </c:pt>
                <c:pt idx="4798">
                  <c:v>-4.1005469999999997</c:v>
                </c:pt>
                <c:pt idx="4799">
                  <c:v>-4.1784489999999996</c:v>
                </c:pt>
                <c:pt idx="4800">
                  <c:v>-4.1576399999999998</c:v>
                </c:pt>
                <c:pt idx="4801">
                  <c:v>-4.286988</c:v>
                </c:pt>
                <c:pt idx="4802">
                  <c:v>-4.5008850000000002</c:v>
                </c:pt>
                <c:pt idx="4803">
                  <c:v>-4.4985799999999996</c:v>
                </c:pt>
                <c:pt idx="4804">
                  <c:v>-4.5225020000000002</c:v>
                </c:pt>
                <c:pt idx="4805">
                  <c:v>-4.8249219999999999</c:v>
                </c:pt>
                <c:pt idx="4806">
                  <c:v>-5.015161</c:v>
                </c:pt>
                <c:pt idx="4807">
                  <c:v>-4.8855149999999998</c:v>
                </c:pt>
                <c:pt idx="4808">
                  <c:v>-4.7830950000000003</c:v>
                </c:pt>
                <c:pt idx="4809">
                  <c:v>-4.7451020000000002</c:v>
                </c:pt>
                <c:pt idx="4810">
                  <c:v>-4.737012</c:v>
                </c:pt>
                <c:pt idx="4811">
                  <c:v>-4.8748529999999999</c:v>
                </c:pt>
                <c:pt idx="4812">
                  <c:v>-4.8924010000000004</c:v>
                </c:pt>
                <c:pt idx="4813">
                  <c:v>-4.8491330000000001</c:v>
                </c:pt>
                <c:pt idx="4814">
                  <c:v>-4.8368419999999999</c:v>
                </c:pt>
                <c:pt idx="4815">
                  <c:v>-4.7694570000000001</c:v>
                </c:pt>
                <c:pt idx="4816">
                  <c:v>-5.0781780000000003</c:v>
                </c:pt>
                <c:pt idx="4817">
                  <c:v>-5.1842610000000002</c:v>
                </c:pt>
                <c:pt idx="4818">
                  <c:v>-4.7263669999999998</c:v>
                </c:pt>
                <c:pt idx="4819">
                  <c:v>-4.4863770000000001</c:v>
                </c:pt>
                <c:pt idx="4820">
                  <c:v>-4.6103769999999997</c:v>
                </c:pt>
                <c:pt idx="4821">
                  <c:v>-4.9302000000000001</c:v>
                </c:pt>
                <c:pt idx="4822">
                  <c:v>-4.9682870000000001</c:v>
                </c:pt>
                <c:pt idx="4823">
                  <c:v>-4.6648199999999997</c:v>
                </c:pt>
                <c:pt idx="4824">
                  <c:v>-4.5044729999999999</c:v>
                </c:pt>
                <c:pt idx="4825">
                  <c:v>-4.675001</c:v>
                </c:pt>
                <c:pt idx="4826">
                  <c:v>-5.0966820000000004</c:v>
                </c:pt>
                <c:pt idx="4827">
                  <c:v>-4.995088</c:v>
                </c:pt>
                <c:pt idx="4828">
                  <c:v>-5.0365209999999996</c:v>
                </c:pt>
                <c:pt idx="4829">
                  <c:v>-5.3400350000000003</c:v>
                </c:pt>
                <c:pt idx="4830">
                  <c:v>-5.2610029999999997</c:v>
                </c:pt>
                <c:pt idx="4831">
                  <c:v>-5.1090660000000003</c:v>
                </c:pt>
                <c:pt idx="4832">
                  <c:v>-4.9757759999999998</c:v>
                </c:pt>
                <c:pt idx="4833">
                  <c:v>-4.9724190000000004</c:v>
                </c:pt>
                <c:pt idx="4834">
                  <c:v>-4.7645819999999999</c:v>
                </c:pt>
                <c:pt idx="4835">
                  <c:v>-4.5766090000000004</c:v>
                </c:pt>
                <c:pt idx="4836">
                  <c:v>-4.5218160000000003</c:v>
                </c:pt>
                <c:pt idx="4837">
                  <c:v>-4.6043779999999996</c:v>
                </c:pt>
                <c:pt idx="4838">
                  <c:v>-4.4252630000000002</c:v>
                </c:pt>
                <c:pt idx="4839">
                  <c:v>-3.9743080000000002</c:v>
                </c:pt>
                <c:pt idx="4840">
                  <c:v>-3.9673660000000002</c:v>
                </c:pt>
                <c:pt idx="4841">
                  <c:v>-4.0533010000000003</c:v>
                </c:pt>
                <c:pt idx="4842">
                  <c:v>-4.1382580000000004</c:v>
                </c:pt>
                <c:pt idx="4843">
                  <c:v>-4.2993990000000002</c:v>
                </c:pt>
                <c:pt idx="4844">
                  <c:v>-4.3814739999999999</c:v>
                </c:pt>
                <c:pt idx="4845">
                  <c:v>-4.4290029999999998</c:v>
                </c:pt>
                <c:pt idx="4846">
                  <c:v>-4.1226459999999996</c:v>
                </c:pt>
                <c:pt idx="4847">
                  <c:v>-4.0255390000000002</c:v>
                </c:pt>
                <c:pt idx="4848">
                  <c:v>-4.2940469999999999</c:v>
                </c:pt>
                <c:pt idx="4849">
                  <c:v>-4.2972029999999997</c:v>
                </c:pt>
                <c:pt idx="4850">
                  <c:v>-4.0326969999999998</c:v>
                </c:pt>
                <c:pt idx="4851">
                  <c:v>-4.090433</c:v>
                </c:pt>
                <c:pt idx="4852">
                  <c:v>-3.9705530000000002</c:v>
                </c:pt>
                <c:pt idx="4853">
                  <c:v>-3.696313</c:v>
                </c:pt>
                <c:pt idx="4854">
                  <c:v>-3.7952620000000001</c:v>
                </c:pt>
                <c:pt idx="4855">
                  <c:v>-3.689527</c:v>
                </c:pt>
                <c:pt idx="4856">
                  <c:v>-3.4791210000000001</c:v>
                </c:pt>
                <c:pt idx="4857">
                  <c:v>-3.33968</c:v>
                </c:pt>
                <c:pt idx="4858">
                  <c:v>-3.2319969999999998</c:v>
                </c:pt>
                <c:pt idx="4859">
                  <c:v>-3.2078820000000001</c:v>
                </c:pt>
                <c:pt idx="4860">
                  <c:v>-3.0944690000000001</c:v>
                </c:pt>
                <c:pt idx="4861">
                  <c:v>-2.664221</c:v>
                </c:pt>
                <c:pt idx="4862">
                  <c:v>-2.3911220000000002</c:v>
                </c:pt>
                <c:pt idx="4863">
                  <c:v>-2.5235500000000002</c:v>
                </c:pt>
                <c:pt idx="4864">
                  <c:v>-2.4065979999999998</c:v>
                </c:pt>
                <c:pt idx="4865">
                  <c:v>-2.442901</c:v>
                </c:pt>
                <c:pt idx="4866">
                  <c:v>-2.2868780000000002</c:v>
                </c:pt>
                <c:pt idx="4867">
                  <c:v>-2.040902</c:v>
                </c:pt>
                <c:pt idx="4868">
                  <c:v>-2.2043659999999998</c:v>
                </c:pt>
                <c:pt idx="4869">
                  <c:v>-2.191735</c:v>
                </c:pt>
                <c:pt idx="4870">
                  <c:v>-1.9585699999999999</c:v>
                </c:pt>
                <c:pt idx="4871">
                  <c:v>-2.013137</c:v>
                </c:pt>
                <c:pt idx="4872">
                  <c:v>-2.079132</c:v>
                </c:pt>
                <c:pt idx="4873">
                  <c:v>-1.897254</c:v>
                </c:pt>
                <c:pt idx="4874">
                  <c:v>-1.77915</c:v>
                </c:pt>
                <c:pt idx="4875">
                  <c:v>-1.623929</c:v>
                </c:pt>
                <c:pt idx="4876">
                  <c:v>-1.6460859999999999</c:v>
                </c:pt>
                <c:pt idx="4877">
                  <c:v>-1.697519</c:v>
                </c:pt>
                <c:pt idx="4878">
                  <c:v>-1.2966439999999999</c:v>
                </c:pt>
                <c:pt idx="4879">
                  <c:v>-1.1924760000000001</c:v>
                </c:pt>
                <c:pt idx="4880">
                  <c:v>-1.5666929999999999</c:v>
                </c:pt>
                <c:pt idx="4881">
                  <c:v>-1.4070860000000001</c:v>
                </c:pt>
                <c:pt idx="4882">
                  <c:v>-1.04043</c:v>
                </c:pt>
                <c:pt idx="4883">
                  <c:v>-1.0191600000000001</c:v>
                </c:pt>
                <c:pt idx="4884">
                  <c:v>-1.310964</c:v>
                </c:pt>
                <c:pt idx="4885">
                  <c:v>-1.380709</c:v>
                </c:pt>
                <c:pt idx="4886">
                  <c:v>-1.1457379999999999</c:v>
                </c:pt>
                <c:pt idx="4887">
                  <c:v>-1.2837810000000001</c:v>
                </c:pt>
                <c:pt idx="4888">
                  <c:v>-1.480974</c:v>
                </c:pt>
                <c:pt idx="4889">
                  <c:v>-1.5938749999999999</c:v>
                </c:pt>
                <c:pt idx="4890">
                  <c:v>-1.4614860000000001</c:v>
                </c:pt>
                <c:pt idx="4891">
                  <c:v>-1.3361670000000001</c:v>
                </c:pt>
                <c:pt idx="4892">
                  <c:v>-1.6035820000000001</c:v>
                </c:pt>
                <c:pt idx="4893">
                  <c:v>-1.6159559999999999</c:v>
                </c:pt>
                <c:pt idx="4894">
                  <c:v>-1.432231</c:v>
                </c:pt>
                <c:pt idx="4895">
                  <c:v>-1.200861</c:v>
                </c:pt>
                <c:pt idx="4896">
                  <c:v>-1.269166</c:v>
                </c:pt>
                <c:pt idx="4897">
                  <c:v>-1.219792</c:v>
                </c:pt>
                <c:pt idx="4898">
                  <c:v>-0.77665899999999999</c:v>
                </c:pt>
                <c:pt idx="4899">
                  <c:v>-0.78343200000000002</c:v>
                </c:pt>
                <c:pt idx="4900">
                  <c:v>-0.88305400000000001</c:v>
                </c:pt>
                <c:pt idx="4901">
                  <c:v>-0.70961200000000002</c:v>
                </c:pt>
                <c:pt idx="4902">
                  <c:v>-0.660667</c:v>
                </c:pt>
                <c:pt idx="4903">
                  <c:v>-0.60702800000000001</c:v>
                </c:pt>
                <c:pt idx="4904">
                  <c:v>-0.69034799999999996</c:v>
                </c:pt>
                <c:pt idx="4905">
                  <c:v>-0.71415899999999999</c:v>
                </c:pt>
                <c:pt idx="4906">
                  <c:v>-0.64973199999999998</c:v>
                </c:pt>
                <c:pt idx="4907">
                  <c:v>-0.874865</c:v>
                </c:pt>
                <c:pt idx="4908">
                  <c:v>-0.99191200000000002</c:v>
                </c:pt>
                <c:pt idx="4909">
                  <c:v>-0.99770700000000001</c:v>
                </c:pt>
                <c:pt idx="4910">
                  <c:v>-0.94289999999999996</c:v>
                </c:pt>
                <c:pt idx="4911">
                  <c:v>-0.78531899999999999</c:v>
                </c:pt>
                <c:pt idx="4912">
                  <c:v>-1.038503</c:v>
                </c:pt>
                <c:pt idx="4913">
                  <c:v>-1.309396</c:v>
                </c:pt>
                <c:pt idx="4914">
                  <c:v>-1.2050689999999999</c:v>
                </c:pt>
                <c:pt idx="4915">
                  <c:v>-1.306249</c:v>
                </c:pt>
                <c:pt idx="4916">
                  <c:v>-1.4429259999999999</c:v>
                </c:pt>
                <c:pt idx="4917">
                  <c:v>-1.198707</c:v>
                </c:pt>
                <c:pt idx="4918">
                  <c:v>-0.80871899999999997</c:v>
                </c:pt>
                <c:pt idx="4919">
                  <c:v>-0.79045799999999999</c:v>
                </c:pt>
                <c:pt idx="4920">
                  <c:v>-1.026014</c:v>
                </c:pt>
                <c:pt idx="4921">
                  <c:v>-1.2783450000000001</c:v>
                </c:pt>
                <c:pt idx="4922">
                  <c:v>-1.2845470000000001</c:v>
                </c:pt>
                <c:pt idx="4923">
                  <c:v>-1.033085</c:v>
                </c:pt>
                <c:pt idx="4924">
                  <c:v>-1.308581</c:v>
                </c:pt>
                <c:pt idx="4925">
                  <c:v>-1.5923659999999999</c:v>
                </c:pt>
                <c:pt idx="4926">
                  <c:v>-1.566562</c:v>
                </c:pt>
                <c:pt idx="4927">
                  <c:v>-1.5094559999999999</c:v>
                </c:pt>
                <c:pt idx="4928">
                  <c:v>-1.9066540000000001</c:v>
                </c:pt>
                <c:pt idx="4929">
                  <c:v>-2.2092969999999998</c:v>
                </c:pt>
                <c:pt idx="4930">
                  <c:v>-1.8783190000000001</c:v>
                </c:pt>
                <c:pt idx="4931">
                  <c:v>-1.870255</c:v>
                </c:pt>
                <c:pt idx="4932">
                  <c:v>-2.0152450000000002</c:v>
                </c:pt>
                <c:pt idx="4933">
                  <c:v>-2.0435120000000002</c:v>
                </c:pt>
                <c:pt idx="4934">
                  <c:v>-1.873786</c:v>
                </c:pt>
                <c:pt idx="4935">
                  <c:v>-1.658363</c:v>
                </c:pt>
                <c:pt idx="4936">
                  <c:v>-1.8764860000000001</c:v>
                </c:pt>
                <c:pt idx="4937">
                  <c:v>-2.0556930000000002</c:v>
                </c:pt>
                <c:pt idx="4938">
                  <c:v>-1.961346</c:v>
                </c:pt>
                <c:pt idx="4939">
                  <c:v>-1.9214</c:v>
                </c:pt>
                <c:pt idx="4940">
                  <c:v>-1.972124</c:v>
                </c:pt>
                <c:pt idx="4941">
                  <c:v>-2.070659</c:v>
                </c:pt>
                <c:pt idx="4942">
                  <c:v>-2.2002969999999999</c:v>
                </c:pt>
                <c:pt idx="4943">
                  <c:v>-2.3521899999999998</c:v>
                </c:pt>
                <c:pt idx="4944">
                  <c:v>-2.3192810000000001</c:v>
                </c:pt>
                <c:pt idx="4945">
                  <c:v>-2.3920569999999999</c:v>
                </c:pt>
                <c:pt idx="4946">
                  <c:v>-2.583348</c:v>
                </c:pt>
                <c:pt idx="4947">
                  <c:v>-2.6431580000000001</c:v>
                </c:pt>
                <c:pt idx="4948">
                  <c:v>-3.1800609999999998</c:v>
                </c:pt>
                <c:pt idx="4949">
                  <c:v>-3.0989710000000001</c:v>
                </c:pt>
                <c:pt idx="4950">
                  <c:v>-2.910717</c:v>
                </c:pt>
                <c:pt idx="4951">
                  <c:v>-3.1033119999999998</c:v>
                </c:pt>
                <c:pt idx="4952">
                  <c:v>-3.0324819999999999</c:v>
                </c:pt>
                <c:pt idx="4953">
                  <c:v>-3.1515710000000001</c:v>
                </c:pt>
                <c:pt idx="4954">
                  <c:v>-3.0330789999999999</c:v>
                </c:pt>
                <c:pt idx="4955">
                  <c:v>-3.191449</c:v>
                </c:pt>
                <c:pt idx="4956">
                  <c:v>-3.492378</c:v>
                </c:pt>
                <c:pt idx="4957">
                  <c:v>-3.1395879999999998</c:v>
                </c:pt>
                <c:pt idx="4958">
                  <c:v>-2.9735130000000001</c:v>
                </c:pt>
                <c:pt idx="4959">
                  <c:v>-3.217746</c:v>
                </c:pt>
                <c:pt idx="4960">
                  <c:v>-3.2162579999999998</c:v>
                </c:pt>
                <c:pt idx="4961">
                  <c:v>-3.2941959999999999</c:v>
                </c:pt>
                <c:pt idx="4962">
                  <c:v>-3.5498759999999998</c:v>
                </c:pt>
                <c:pt idx="4963">
                  <c:v>-3.7759809999999998</c:v>
                </c:pt>
                <c:pt idx="4964">
                  <c:v>-3.7269420000000002</c:v>
                </c:pt>
                <c:pt idx="4965">
                  <c:v>-3.8033809999999999</c:v>
                </c:pt>
                <c:pt idx="4966">
                  <c:v>-3.8685209999999999</c:v>
                </c:pt>
                <c:pt idx="4967">
                  <c:v>-3.7973469999999998</c:v>
                </c:pt>
                <c:pt idx="4968">
                  <c:v>-3.846409</c:v>
                </c:pt>
                <c:pt idx="4969">
                  <c:v>-3.8219530000000002</c:v>
                </c:pt>
                <c:pt idx="4970">
                  <c:v>-4.0953670000000004</c:v>
                </c:pt>
                <c:pt idx="4971">
                  <c:v>-4.1922290000000002</c:v>
                </c:pt>
                <c:pt idx="4972">
                  <c:v>-3.8688530000000001</c:v>
                </c:pt>
                <c:pt idx="4973">
                  <c:v>-4.0505709999999997</c:v>
                </c:pt>
                <c:pt idx="4974">
                  <c:v>-4.0837320000000004</c:v>
                </c:pt>
                <c:pt idx="4975">
                  <c:v>-3.9167459999999998</c:v>
                </c:pt>
                <c:pt idx="4976">
                  <c:v>-4.0340030000000002</c:v>
                </c:pt>
                <c:pt idx="4977">
                  <c:v>-3.965884</c:v>
                </c:pt>
                <c:pt idx="4978">
                  <c:v>-4.2073790000000004</c:v>
                </c:pt>
                <c:pt idx="4979">
                  <c:v>-4.3444779999999996</c:v>
                </c:pt>
                <c:pt idx="4980">
                  <c:v>-4.1717610000000001</c:v>
                </c:pt>
                <c:pt idx="4981">
                  <c:v>-4.2297390000000004</c:v>
                </c:pt>
                <c:pt idx="4982">
                  <c:v>-4.2013619999999996</c:v>
                </c:pt>
                <c:pt idx="4983">
                  <c:v>-4.1280359999999998</c:v>
                </c:pt>
                <c:pt idx="4984">
                  <c:v>-4.2273719999999999</c:v>
                </c:pt>
                <c:pt idx="4985">
                  <c:v>-4.2163040000000001</c:v>
                </c:pt>
                <c:pt idx="4986">
                  <c:v>-4.2184790000000003</c:v>
                </c:pt>
                <c:pt idx="4987">
                  <c:v>-4.1550370000000001</c:v>
                </c:pt>
                <c:pt idx="4988">
                  <c:v>-4.1935209999999996</c:v>
                </c:pt>
                <c:pt idx="4989">
                  <c:v>-4.3486690000000001</c:v>
                </c:pt>
                <c:pt idx="4990">
                  <c:v>-4.0334219999999998</c:v>
                </c:pt>
                <c:pt idx="4991">
                  <c:v>-4.003101</c:v>
                </c:pt>
                <c:pt idx="4992">
                  <c:v>-4.2435580000000002</c:v>
                </c:pt>
                <c:pt idx="4993">
                  <c:v>-4.1018600000000003</c:v>
                </c:pt>
                <c:pt idx="4994">
                  <c:v>-4.0976039999999996</c:v>
                </c:pt>
                <c:pt idx="4995">
                  <c:v>-4.1584459999999996</c:v>
                </c:pt>
                <c:pt idx="4996">
                  <c:v>-4.1250910000000003</c:v>
                </c:pt>
                <c:pt idx="4997">
                  <c:v>-4.3120120000000002</c:v>
                </c:pt>
                <c:pt idx="4998">
                  <c:v>-4.3502299999999998</c:v>
                </c:pt>
                <c:pt idx="4999">
                  <c:v>-4.2504119999999999</c:v>
                </c:pt>
                <c:pt idx="5000">
                  <c:v>-4.1360400000000004</c:v>
                </c:pt>
                <c:pt idx="5001">
                  <c:v>-4.0072960000000002</c:v>
                </c:pt>
                <c:pt idx="5002">
                  <c:v>-3.9965139999999999</c:v>
                </c:pt>
                <c:pt idx="5003">
                  <c:v>-4.0476400000000003</c:v>
                </c:pt>
                <c:pt idx="5004">
                  <c:v>-3.794632</c:v>
                </c:pt>
                <c:pt idx="5005">
                  <c:v>-3.71712</c:v>
                </c:pt>
                <c:pt idx="5006">
                  <c:v>-3.7171479999999999</c:v>
                </c:pt>
                <c:pt idx="5007">
                  <c:v>-3.77007</c:v>
                </c:pt>
                <c:pt idx="5008">
                  <c:v>-3.7805010000000001</c:v>
                </c:pt>
                <c:pt idx="5009">
                  <c:v>-3.7828029999999999</c:v>
                </c:pt>
                <c:pt idx="5010">
                  <c:v>-3.6368800000000001</c:v>
                </c:pt>
                <c:pt idx="5011">
                  <c:v>-3.4184350000000001</c:v>
                </c:pt>
                <c:pt idx="5012">
                  <c:v>-3.8203490000000002</c:v>
                </c:pt>
                <c:pt idx="5013">
                  <c:v>-3.6864690000000002</c:v>
                </c:pt>
                <c:pt idx="5014">
                  <c:v>-3.2807059999999999</c:v>
                </c:pt>
                <c:pt idx="5015">
                  <c:v>-3.246524</c:v>
                </c:pt>
                <c:pt idx="5016">
                  <c:v>-3.3349150000000001</c:v>
                </c:pt>
                <c:pt idx="5017">
                  <c:v>-3.429449</c:v>
                </c:pt>
                <c:pt idx="5018">
                  <c:v>-3.4024869999999998</c:v>
                </c:pt>
                <c:pt idx="5019">
                  <c:v>-3.3831190000000002</c:v>
                </c:pt>
                <c:pt idx="5020">
                  <c:v>-3.502202</c:v>
                </c:pt>
                <c:pt idx="5021">
                  <c:v>-3.4966599999999999</c:v>
                </c:pt>
                <c:pt idx="5022">
                  <c:v>-3.2939229999999999</c:v>
                </c:pt>
                <c:pt idx="5023">
                  <c:v>-3.2483420000000001</c:v>
                </c:pt>
                <c:pt idx="5024">
                  <c:v>-3.2779940000000001</c:v>
                </c:pt>
                <c:pt idx="5025">
                  <c:v>-3.2166090000000001</c:v>
                </c:pt>
                <c:pt idx="5026">
                  <c:v>-3.106077</c:v>
                </c:pt>
                <c:pt idx="5027">
                  <c:v>-3.033868</c:v>
                </c:pt>
                <c:pt idx="5028">
                  <c:v>-2.9772289999999999</c:v>
                </c:pt>
                <c:pt idx="5029">
                  <c:v>-2.9296720000000001</c:v>
                </c:pt>
                <c:pt idx="5030">
                  <c:v>-2.9536229999999999</c:v>
                </c:pt>
                <c:pt idx="5031">
                  <c:v>-3.0199980000000002</c:v>
                </c:pt>
                <c:pt idx="5032">
                  <c:v>-2.910256</c:v>
                </c:pt>
                <c:pt idx="5033">
                  <c:v>-2.913043</c:v>
                </c:pt>
                <c:pt idx="5034">
                  <c:v>-2.9010090000000002</c:v>
                </c:pt>
                <c:pt idx="5035">
                  <c:v>-2.7529499999999998</c:v>
                </c:pt>
                <c:pt idx="5036">
                  <c:v>-2.9314019999999998</c:v>
                </c:pt>
                <c:pt idx="5037">
                  <c:v>-2.8815339999999998</c:v>
                </c:pt>
                <c:pt idx="5038">
                  <c:v>-2.8553030000000001</c:v>
                </c:pt>
                <c:pt idx="5039">
                  <c:v>-3.0377160000000001</c:v>
                </c:pt>
                <c:pt idx="5040">
                  <c:v>-2.86659</c:v>
                </c:pt>
                <c:pt idx="5041">
                  <c:v>-2.9825330000000001</c:v>
                </c:pt>
                <c:pt idx="5042">
                  <c:v>-2.9719030000000002</c:v>
                </c:pt>
                <c:pt idx="5043">
                  <c:v>-2.7706729999999999</c:v>
                </c:pt>
                <c:pt idx="5044">
                  <c:v>-2.7217410000000002</c:v>
                </c:pt>
                <c:pt idx="5045">
                  <c:v>-2.617121</c:v>
                </c:pt>
                <c:pt idx="5046">
                  <c:v>-2.407257</c:v>
                </c:pt>
                <c:pt idx="5047">
                  <c:v>-2.205587</c:v>
                </c:pt>
                <c:pt idx="5048">
                  <c:v>-2.1975440000000002</c:v>
                </c:pt>
                <c:pt idx="5049">
                  <c:v>-2.1608019999999999</c:v>
                </c:pt>
                <c:pt idx="5050">
                  <c:v>-2.4528289999999999</c:v>
                </c:pt>
                <c:pt idx="5051">
                  <c:v>-2.2535729999999998</c:v>
                </c:pt>
                <c:pt idx="5052">
                  <c:v>-1.8725590000000001</c:v>
                </c:pt>
                <c:pt idx="5053">
                  <c:v>-1.976394</c:v>
                </c:pt>
                <c:pt idx="5054">
                  <c:v>-2.1384639999999999</c:v>
                </c:pt>
                <c:pt idx="5055">
                  <c:v>-2.141324</c:v>
                </c:pt>
                <c:pt idx="5056">
                  <c:v>-2.2069489999999998</c:v>
                </c:pt>
                <c:pt idx="5057">
                  <c:v>-2.3044880000000001</c:v>
                </c:pt>
                <c:pt idx="5058">
                  <c:v>-2.1585489999999998</c:v>
                </c:pt>
                <c:pt idx="5059">
                  <c:v>-2.1483310000000002</c:v>
                </c:pt>
                <c:pt idx="5060">
                  <c:v>-2.1370800000000001</c:v>
                </c:pt>
                <c:pt idx="5061">
                  <c:v>-2.0588890000000002</c:v>
                </c:pt>
                <c:pt idx="5062">
                  <c:v>-2.009503</c:v>
                </c:pt>
                <c:pt idx="5063">
                  <c:v>-1.9044749999999999</c:v>
                </c:pt>
                <c:pt idx="5064">
                  <c:v>-1.766686</c:v>
                </c:pt>
                <c:pt idx="5065">
                  <c:v>-1.8771850000000001</c:v>
                </c:pt>
                <c:pt idx="5066">
                  <c:v>-1.7137659999999999</c:v>
                </c:pt>
                <c:pt idx="5067">
                  <c:v>-1.3423579999999999</c:v>
                </c:pt>
                <c:pt idx="5068">
                  <c:v>-1.4494769999999999</c:v>
                </c:pt>
                <c:pt idx="5069">
                  <c:v>-1.8122450000000001</c:v>
                </c:pt>
                <c:pt idx="5070">
                  <c:v>-1.9966170000000001</c:v>
                </c:pt>
                <c:pt idx="5071">
                  <c:v>-1.972119</c:v>
                </c:pt>
                <c:pt idx="5072">
                  <c:v>-1.8359909999999999</c:v>
                </c:pt>
                <c:pt idx="5073">
                  <c:v>-2.109632</c:v>
                </c:pt>
                <c:pt idx="5074">
                  <c:v>-2.1245959999999999</c:v>
                </c:pt>
                <c:pt idx="5075">
                  <c:v>-1.679621</c:v>
                </c:pt>
                <c:pt idx="5076">
                  <c:v>-1.775733</c:v>
                </c:pt>
                <c:pt idx="5077">
                  <c:v>-2.0844670000000001</c:v>
                </c:pt>
                <c:pt idx="5078">
                  <c:v>-2.1859690000000001</c:v>
                </c:pt>
                <c:pt idx="5079">
                  <c:v>-1.9183079999999999</c:v>
                </c:pt>
                <c:pt idx="5080">
                  <c:v>-1.8509850000000001</c:v>
                </c:pt>
                <c:pt idx="5081">
                  <c:v>-2.1460539999999999</c:v>
                </c:pt>
                <c:pt idx="5082">
                  <c:v>-1.8311379999999999</c:v>
                </c:pt>
                <c:pt idx="5083">
                  <c:v>-1.7366109999999999</c:v>
                </c:pt>
                <c:pt idx="5084">
                  <c:v>-2.0057520000000002</c:v>
                </c:pt>
                <c:pt idx="5085">
                  <c:v>-1.6052139999999999</c:v>
                </c:pt>
                <c:pt idx="5086">
                  <c:v>-1.31484</c:v>
                </c:pt>
                <c:pt idx="5087">
                  <c:v>-1.601418</c:v>
                </c:pt>
                <c:pt idx="5088">
                  <c:v>-1.456261</c:v>
                </c:pt>
                <c:pt idx="5089">
                  <c:v>-1.1646650000000001</c:v>
                </c:pt>
                <c:pt idx="5090">
                  <c:v>-1.2479119999999999</c:v>
                </c:pt>
                <c:pt idx="5091">
                  <c:v>-1.469339</c:v>
                </c:pt>
                <c:pt idx="5092">
                  <c:v>-1.5733900000000001</c:v>
                </c:pt>
                <c:pt idx="5093">
                  <c:v>-1.6339760000000001</c:v>
                </c:pt>
                <c:pt idx="5094">
                  <c:v>-1.737932</c:v>
                </c:pt>
                <c:pt idx="5095">
                  <c:v>-1.534554</c:v>
                </c:pt>
                <c:pt idx="5096">
                  <c:v>-1.83873</c:v>
                </c:pt>
                <c:pt idx="5097">
                  <c:v>-2.0731820000000001</c:v>
                </c:pt>
                <c:pt idx="5098">
                  <c:v>-1.956653</c:v>
                </c:pt>
                <c:pt idx="5099">
                  <c:v>-1.983061</c:v>
                </c:pt>
                <c:pt idx="5100">
                  <c:v>-1.876986</c:v>
                </c:pt>
                <c:pt idx="5101">
                  <c:v>-1.8294079999999999</c:v>
                </c:pt>
                <c:pt idx="5102">
                  <c:v>-1.7364470000000001</c:v>
                </c:pt>
                <c:pt idx="5103">
                  <c:v>-1.820444</c:v>
                </c:pt>
                <c:pt idx="5104">
                  <c:v>-1.859453</c:v>
                </c:pt>
                <c:pt idx="5105">
                  <c:v>-1.7490669999999999</c:v>
                </c:pt>
                <c:pt idx="5106">
                  <c:v>-1.617993</c:v>
                </c:pt>
                <c:pt idx="5107">
                  <c:v>-1.6079110000000001</c:v>
                </c:pt>
                <c:pt idx="5108">
                  <c:v>-1.654657</c:v>
                </c:pt>
                <c:pt idx="5109">
                  <c:v>-1.673492</c:v>
                </c:pt>
                <c:pt idx="5110">
                  <c:v>-1.8807100000000001</c:v>
                </c:pt>
                <c:pt idx="5111">
                  <c:v>-2.0649259999999998</c:v>
                </c:pt>
                <c:pt idx="5112">
                  <c:v>-2.044006</c:v>
                </c:pt>
                <c:pt idx="5113">
                  <c:v>-1.8491329999999999</c:v>
                </c:pt>
                <c:pt idx="5114">
                  <c:v>-1.750589</c:v>
                </c:pt>
                <c:pt idx="5115">
                  <c:v>-1.8288850000000001</c:v>
                </c:pt>
                <c:pt idx="5116">
                  <c:v>-2.001566</c:v>
                </c:pt>
                <c:pt idx="5117">
                  <c:v>-2.1002100000000001</c:v>
                </c:pt>
                <c:pt idx="5118">
                  <c:v>-2.0987900000000002</c:v>
                </c:pt>
                <c:pt idx="5119">
                  <c:v>-2.0444650000000002</c:v>
                </c:pt>
                <c:pt idx="5120">
                  <c:v>-2.023952</c:v>
                </c:pt>
                <c:pt idx="5121">
                  <c:v>-2.0172590000000001</c:v>
                </c:pt>
                <c:pt idx="5122">
                  <c:v>-2.0161220000000002</c:v>
                </c:pt>
                <c:pt idx="5123">
                  <c:v>-2.0171220000000001</c:v>
                </c:pt>
                <c:pt idx="5124">
                  <c:v>-2.2914949999999998</c:v>
                </c:pt>
                <c:pt idx="5125">
                  <c:v>-1.902112</c:v>
                </c:pt>
                <c:pt idx="5126">
                  <c:v>-1.4322859999999999</c:v>
                </c:pt>
                <c:pt idx="5127">
                  <c:v>-1.757922</c:v>
                </c:pt>
                <c:pt idx="5128">
                  <c:v>-1.975703</c:v>
                </c:pt>
                <c:pt idx="5129">
                  <c:v>-1.9553370000000001</c:v>
                </c:pt>
                <c:pt idx="5130">
                  <c:v>-1.814602</c:v>
                </c:pt>
                <c:pt idx="5131">
                  <c:v>-1.9410559999999999</c:v>
                </c:pt>
                <c:pt idx="5132">
                  <c:v>-2.0052349999999999</c:v>
                </c:pt>
                <c:pt idx="5133">
                  <c:v>-2.1155819999999999</c:v>
                </c:pt>
                <c:pt idx="5134">
                  <c:v>-2.3183370000000001</c:v>
                </c:pt>
                <c:pt idx="5135">
                  <c:v>-2.3803619999999999</c:v>
                </c:pt>
                <c:pt idx="5136">
                  <c:v>-2.505217</c:v>
                </c:pt>
                <c:pt idx="5137">
                  <c:v>-2.4620129999999998</c:v>
                </c:pt>
                <c:pt idx="5138">
                  <c:v>-2.3268800000000001</c:v>
                </c:pt>
                <c:pt idx="5139">
                  <c:v>-2.6064880000000001</c:v>
                </c:pt>
                <c:pt idx="5140">
                  <c:v>-2.5641440000000002</c:v>
                </c:pt>
                <c:pt idx="5141">
                  <c:v>-2.294851</c:v>
                </c:pt>
                <c:pt idx="5142">
                  <c:v>-2.286797</c:v>
                </c:pt>
                <c:pt idx="5143">
                  <c:v>-2.4147050000000001</c:v>
                </c:pt>
                <c:pt idx="5144">
                  <c:v>-2.1395849999999998</c:v>
                </c:pt>
                <c:pt idx="5145">
                  <c:v>-2.0604399999999998</c:v>
                </c:pt>
                <c:pt idx="5146">
                  <c:v>-2.4016829999999998</c:v>
                </c:pt>
                <c:pt idx="5147">
                  <c:v>-2.5176470000000002</c:v>
                </c:pt>
                <c:pt idx="5148">
                  <c:v>-2.5905040000000001</c:v>
                </c:pt>
                <c:pt idx="5149">
                  <c:v>-2.3762099999999999</c:v>
                </c:pt>
                <c:pt idx="5150">
                  <c:v>-2.4052549999999999</c:v>
                </c:pt>
                <c:pt idx="5151">
                  <c:v>-2.5549249999999999</c:v>
                </c:pt>
                <c:pt idx="5152">
                  <c:v>-2.5067849999999998</c:v>
                </c:pt>
                <c:pt idx="5153">
                  <c:v>-2.6262400000000001</c:v>
                </c:pt>
                <c:pt idx="5154">
                  <c:v>-2.9022250000000001</c:v>
                </c:pt>
                <c:pt idx="5155">
                  <c:v>-3.0047100000000002</c:v>
                </c:pt>
                <c:pt idx="5156">
                  <c:v>-2.8864190000000001</c:v>
                </c:pt>
                <c:pt idx="5157">
                  <c:v>-2.9152529999999999</c:v>
                </c:pt>
                <c:pt idx="5158">
                  <c:v>-2.8756789999999999</c:v>
                </c:pt>
                <c:pt idx="5159">
                  <c:v>-2.7330930000000002</c:v>
                </c:pt>
                <c:pt idx="5160">
                  <c:v>-2.7936909999999999</c:v>
                </c:pt>
                <c:pt idx="5161">
                  <c:v>-2.7581739999999999</c:v>
                </c:pt>
                <c:pt idx="5162">
                  <c:v>-2.8086190000000002</c:v>
                </c:pt>
                <c:pt idx="5163">
                  <c:v>-2.9718059999999999</c:v>
                </c:pt>
                <c:pt idx="5164">
                  <c:v>-2.9323199999999998</c:v>
                </c:pt>
                <c:pt idx="5165">
                  <c:v>-2.991657</c:v>
                </c:pt>
                <c:pt idx="5166">
                  <c:v>-2.9626860000000002</c:v>
                </c:pt>
                <c:pt idx="5167">
                  <c:v>-2.8225570000000002</c:v>
                </c:pt>
                <c:pt idx="5168">
                  <c:v>-2.677845</c:v>
                </c:pt>
                <c:pt idx="5169">
                  <c:v>-2.6610390000000002</c:v>
                </c:pt>
                <c:pt idx="5170">
                  <c:v>-3.0449730000000002</c:v>
                </c:pt>
                <c:pt idx="5171">
                  <c:v>-3.0497420000000002</c:v>
                </c:pt>
                <c:pt idx="5172">
                  <c:v>-2.9357060000000001</c:v>
                </c:pt>
                <c:pt idx="5173">
                  <c:v>-3.0846</c:v>
                </c:pt>
                <c:pt idx="5174">
                  <c:v>-3.0372240000000001</c:v>
                </c:pt>
                <c:pt idx="5175">
                  <c:v>-3.0914269999999999</c:v>
                </c:pt>
                <c:pt idx="5176">
                  <c:v>-3.1948720000000002</c:v>
                </c:pt>
                <c:pt idx="5177">
                  <c:v>-3.1284510000000001</c:v>
                </c:pt>
                <c:pt idx="5178">
                  <c:v>-3.2397930000000001</c:v>
                </c:pt>
                <c:pt idx="5179">
                  <c:v>-3.2408079999999999</c:v>
                </c:pt>
                <c:pt idx="5180">
                  <c:v>-3.1879200000000001</c:v>
                </c:pt>
                <c:pt idx="5181">
                  <c:v>-3.1656650000000002</c:v>
                </c:pt>
                <c:pt idx="5182">
                  <c:v>-3.3636300000000001</c:v>
                </c:pt>
                <c:pt idx="5183">
                  <c:v>-3.271712</c:v>
                </c:pt>
                <c:pt idx="5184">
                  <c:v>-2.898746</c:v>
                </c:pt>
                <c:pt idx="5185">
                  <c:v>-3.0958899999999998</c:v>
                </c:pt>
                <c:pt idx="5186">
                  <c:v>-3.0523950000000002</c:v>
                </c:pt>
                <c:pt idx="5187">
                  <c:v>-2.8245369999999999</c:v>
                </c:pt>
                <c:pt idx="5188">
                  <c:v>-2.8914219999999999</c:v>
                </c:pt>
                <c:pt idx="5189">
                  <c:v>-2.9796870000000002</c:v>
                </c:pt>
                <c:pt idx="5190">
                  <c:v>-2.8844430000000001</c:v>
                </c:pt>
                <c:pt idx="5191">
                  <c:v>-2.8969960000000001</c:v>
                </c:pt>
                <c:pt idx="5192">
                  <c:v>-2.9622670000000002</c:v>
                </c:pt>
                <c:pt idx="5193">
                  <c:v>-2.72363</c:v>
                </c:pt>
                <c:pt idx="5194">
                  <c:v>-2.7238150000000001</c:v>
                </c:pt>
                <c:pt idx="5195">
                  <c:v>-2.7739609999999999</c:v>
                </c:pt>
                <c:pt idx="5196">
                  <c:v>-2.8617270000000001</c:v>
                </c:pt>
                <c:pt idx="5197">
                  <c:v>-3.0391970000000001</c:v>
                </c:pt>
                <c:pt idx="5198">
                  <c:v>-2.8711069999999999</c:v>
                </c:pt>
                <c:pt idx="5199">
                  <c:v>-2.5827740000000001</c:v>
                </c:pt>
                <c:pt idx="5200">
                  <c:v>-2.6204719999999999</c:v>
                </c:pt>
                <c:pt idx="5201">
                  <c:v>-2.8927200000000002</c:v>
                </c:pt>
                <c:pt idx="5202">
                  <c:v>-2.8326389999999999</c:v>
                </c:pt>
                <c:pt idx="5203">
                  <c:v>-2.6709580000000002</c:v>
                </c:pt>
                <c:pt idx="5204">
                  <c:v>-2.7149359999999998</c:v>
                </c:pt>
                <c:pt idx="5205">
                  <c:v>-2.594541</c:v>
                </c:pt>
                <c:pt idx="5206">
                  <c:v>-2.3870879999999999</c:v>
                </c:pt>
                <c:pt idx="5207">
                  <c:v>-2.3239939999999999</c:v>
                </c:pt>
                <c:pt idx="5208">
                  <c:v>-2.4706329999999999</c:v>
                </c:pt>
                <c:pt idx="5209">
                  <c:v>-2.5317780000000001</c:v>
                </c:pt>
                <c:pt idx="5210">
                  <c:v>-2.4937149999999999</c:v>
                </c:pt>
                <c:pt idx="5211">
                  <c:v>-2.53599</c:v>
                </c:pt>
                <c:pt idx="5212">
                  <c:v>-2.7614770000000002</c:v>
                </c:pt>
                <c:pt idx="5213">
                  <c:v>-2.7512349999999999</c:v>
                </c:pt>
                <c:pt idx="5214">
                  <c:v>-2.5591560000000002</c:v>
                </c:pt>
                <c:pt idx="5215">
                  <c:v>-2.7285659999999998</c:v>
                </c:pt>
                <c:pt idx="5216">
                  <c:v>-2.6852170000000002</c:v>
                </c:pt>
                <c:pt idx="5217">
                  <c:v>-2.6018699999999999</c:v>
                </c:pt>
                <c:pt idx="5218">
                  <c:v>-2.623494</c:v>
                </c:pt>
                <c:pt idx="5219">
                  <c:v>-2.6341320000000001</c:v>
                </c:pt>
                <c:pt idx="5220">
                  <c:v>-2.570522</c:v>
                </c:pt>
                <c:pt idx="5221">
                  <c:v>-2.4673379999999998</c:v>
                </c:pt>
                <c:pt idx="5222">
                  <c:v>-2.5393880000000002</c:v>
                </c:pt>
                <c:pt idx="5223">
                  <c:v>-2.5024299999999999</c:v>
                </c:pt>
                <c:pt idx="5224">
                  <c:v>-2.4114429999999998</c:v>
                </c:pt>
                <c:pt idx="5225">
                  <c:v>-2.3533149999999998</c:v>
                </c:pt>
                <c:pt idx="5226">
                  <c:v>-2.379254</c:v>
                </c:pt>
                <c:pt idx="5227">
                  <c:v>-2.3132160000000002</c:v>
                </c:pt>
                <c:pt idx="5228">
                  <c:v>-2.133899</c:v>
                </c:pt>
                <c:pt idx="5229">
                  <c:v>-2.019638</c:v>
                </c:pt>
                <c:pt idx="5230">
                  <c:v>-2.1398790000000001</c:v>
                </c:pt>
                <c:pt idx="5231">
                  <c:v>-2.1835819999999999</c:v>
                </c:pt>
                <c:pt idx="5232">
                  <c:v>-2.0653139999999999</c:v>
                </c:pt>
                <c:pt idx="5233">
                  <c:v>-2.0579489999999998</c:v>
                </c:pt>
                <c:pt idx="5234">
                  <c:v>-1.838106</c:v>
                </c:pt>
                <c:pt idx="5235">
                  <c:v>-1.839197</c:v>
                </c:pt>
                <c:pt idx="5236">
                  <c:v>-1.9511449999999999</c:v>
                </c:pt>
                <c:pt idx="5237">
                  <c:v>-1.795544</c:v>
                </c:pt>
                <c:pt idx="5238">
                  <c:v>-1.9041220000000001</c:v>
                </c:pt>
                <c:pt idx="5239">
                  <c:v>-1.9481850000000001</c:v>
                </c:pt>
                <c:pt idx="5240">
                  <c:v>-1.766834</c:v>
                </c:pt>
                <c:pt idx="5241">
                  <c:v>-1.7277469999999999</c:v>
                </c:pt>
                <c:pt idx="5242">
                  <c:v>-1.624215</c:v>
                </c:pt>
                <c:pt idx="5243">
                  <c:v>-1.8251900000000001</c:v>
                </c:pt>
                <c:pt idx="5244">
                  <c:v>-1.8521650000000001</c:v>
                </c:pt>
                <c:pt idx="5245">
                  <c:v>-1.5308660000000001</c:v>
                </c:pt>
                <c:pt idx="5246">
                  <c:v>-1.4136200000000001</c:v>
                </c:pt>
                <c:pt idx="5247">
                  <c:v>-1.59914</c:v>
                </c:pt>
                <c:pt idx="5248">
                  <c:v>-1.6799569999999999</c:v>
                </c:pt>
                <c:pt idx="5249">
                  <c:v>-1.518462</c:v>
                </c:pt>
                <c:pt idx="5250">
                  <c:v>-1.4238459999999999</c:v>
                </c:pt>
                <c:pt idx="5251">
                  <c:v>-1.2912220000000001</c:v>
                </c:pt>
                <c:pt idx="5252">
                  <c:v>-1.4046369999999999</c:v>
                </c:pt>
                <c:pt idx="5253">
                  <c:v>-1.7202630000000001</c:v>
                </c:pt>
                <c:pt idx="5254">
                  <c:v>-1.6198399999999999</c:v>
                </c:pt>
                <c:pt idx="5255">
                  <c:v>-1.4418869999999999</c:v>
                </c:pt>
                <c:pt idx="5256">
                  <c:v>-1.4764170000000001</c:v>
                </c:pt>
                <c:pt idx="5257">
                  <c:v>-1.5567439999999999</c:v>
                </c:pt>
                <c:pt idx="5258">
                  <c:v>-1.6647650000000001</c:v>
                </c:pt>
                <c:pt idx="5259">
                  <c:v>-1.5243739999999999</c:v>
                </c:pt>
                <c:pt idx="5260">
                  <c:v>-1.5886439999999999</c:v>
                </c:pt>
                <c:pt idx="5261">
                  <c:v>-1.8920349999999999</c:v>
                </c:pt>
                <c:pt idx="5262">
                  <c:v>-1.7958160000000001</c:v>
                </c:pt>
                <c:pt idx="5263">
                  <c:v>-1.7633810000000001</c:v>
                </c:pt>
                <c:pt idx="5264">
                  <c:v>-2.023692</c:v>
                </c:pt>
                <c:pt idx="5265">
                  <c:v>-2.043085</c:v>
                </c:pt>
                <c:pt idx="5266">
                  <c:v>-1.8718699999999999</c:v>
                </c:pt>
                <c:pt idx="5267">
                  <c:v>-1.7231129999999999</c:v>
                </c:pt>
                <c:pt idx="5268">
                  <c:v>-1.8448549999999999</c:v>
                </c:pt>
                <c:pt idx="5269">
                  <c:v>-1.9738929999999999</c:v>
                </c:pt>
                <c:pt idx="5270">
                  <c:v>-1.8474379999999999</c:v>
                </c:pt>
                <c:pt idx="5271">
                  <c:v>-1.580273</c:v>
                </c:pt>
                <c:pt idx="5272">
                  <c:v>-1.3591679999999999</c:v>
                </c:pt>
                <c:pt idx="5273">
                  <c:v>-1.4182079999999999</c:v>
                </c:pt>
                <c:pt idx="5274">
                  <c:v>-1.695824</c:v>
                </c:pt>
                <c:pt idx="5275">
                  <c:v>-1.97235</c:v>
                </c:pt>
                <c:pt idx="5276">
                  <c:v>-1.998078</c:v>
                </c:pt>
                <c:pt idx="5277">
                  <c:v>-1.8291230000000001</c:v>
                </c:pt>
                <c:pt idx="5278">
                  <c:v>-1.817275</c:v>
                </c:pt>
                <c:pt idx="5279">
                  <c:v>-1.811458</c:v>
                </c:pt>
                <c:pt idx="5280">
                  <c:v>-1.8791580000000001</c:v>
                </c:pt>
                <c:pt idx="5281">
                  <c:v>-1.984461</c:v>
                </c:pt>
                <c:pt idx="5282">
                  <c:v>-2.0513710000000001</c:v>
                </c:pt>
                <c:pt idx="5283">
                  <c:v>-2.2347060000000001</c:v>
                </c:pt>
                <c:pt idx="5284">
                  <c:v>-2.4207010000000002</c:v>
                </c:pt>
                <c:pt idx="5285">
                  <c:v>-2.411781</c:v>
                </c:pt>
                <c:pt idx="5286">
                  <c:v>-2.3690669999999998</c:v>
                </c:pt>
                <c:pt idx="5287">
                  <c:v>-2.3645930000000002</c:v>
                </c:pt>
                <c:pt idx="5288">
                  <c:v>-2.3101400000000001</c:v>
                </c:pt>
                <c:pt idx="5289">
                  <c:v>-2.357424</c:v>
                </c:pt>
                <c:pt idx="5290">
                  <c:v>-2.322168</c:v>
                </c:pt>
                <c:pt idx="5291">
                  <c:v>-2.310028</c:v>
                </c:pt>
                <c:pt idx="5292">
                  <c:v>-1.96506</c:v>
                </c:pt>
                <c:pt idx="5293">
                  <c:v>-2.045715</c:v>
                </c:pt>
                <c:pt idx="5294">
                  <c:v>-2.4051079999999998</c:v>
                </c:pt>
                <c:pt idx="5295">
                  <c:v>-2.401284</c:v>
                </c:pt>
                <c:pt idx="5296">
                  <c:v>-2.6156380000000001</c:v>
                </c:pt>
                <c:pt idx="5297">
                  <c:v>-2.408334</c:v>
                </c:pt>
                <c:pt idx="5298">
                  <c:v>-2.3154129999999999</c:v>
                </c:pt>
                <c:pt idx="5299">
                  <c:v>-2.4658289999999998</c:v>
                </c:pt>
                <c:pt idx="5300">
                  <c:v>-2.3483299999999998</c:v>
                </c:pt>
                <c:pt idx="5301">
                  <c:v>-2.5607280000000001</c:v>
                </c:pt>
                <c:pt idx="5302">
                  <c:v>-2.5423689999999999</c:v>
                </c:pt>
                <c:pt idx="5303">
                  <c:v>-2.548832</c:v>
                </c:pt>
                <c:pt idx="5304">
                  <c:v>-2.692507</c:v>
                </c:pt>
                <c:pt idx="5305">
                  <c:v>-2.649546</c:v>
                </c:pt>
                <c:pt idx="5306">
                  <c:v>-2.7059549999999999</c:v>
                </c:pt>
                <c:pt idx="5307">
                  <c:v>-2.6801840000000001</c:v>
                </c:pt>
                <c:pt idx="5308">
                  <c:v>-2.6078619999999999</c:v>
                </c:pt>
                <c:pt idx="5309">
                  <c:v>-2.5057450000000001</c:v>
                </c:pt>
                <c:pt idx="5310">
                  <c:v>-2.3115700000000001</c:v>
                </c:pt>
                <c:pt idx="5311">
                  <c:v>-2.3320259999999999</c:v>
                </c:pt>
                <c:pt idx="5312">
                  <c:v>-2.3241459999999998</c:v>
                </c:pt>
                <c:pt idx="5313">
                  <c:v>-2.2429100000000002</c:v>
                </c:pt>
                <c:pt idx="5314">
                  <c:v>-2.3200289999999999</c:v>
                </c:pt>
                <c:pt idx="5315">
                  <c:v>-2.2160929999999999</c:v>
                </c:pt>
                <c:pt idx="5316">
                  <c:v>-2.287757</c:v>
                </c:pt>
                <c:pt idx="5317">
                  <c:v>-2.3157909999999999</c:v>
                </c:pt>
                <c:pt idx="5318">
                  <c:v>-2.5346860000000002</c:v>
                </c:pt>
                <c:pt idx="5319">
                  <c:v>-2.3136320000000001</c:v>
                </c:pt>
                <c:pt idx="5320">
                  <c:v>-2.2073670000000001</c:v>
                </c:pt>
                <c:pt idx="5321">
                  <c:v>-2.6783999999999999</c:v>
                </c:pt>
                <c:pt idx="5322">
                  <c:v>-2.8746740000000002</c:v>
                </c:pt>
                <c:pt idx="5323">
                  <c:v>-3.0759099999999999</c:v>
                </c:pt>
                <c:pt idx="5324">
                  <c:v>-2.9494829999999999</c:v>
                </c:pt>
                <c:pt idx="5325">
                  <c:v>-2.9830160000000001</c:v>
                </c:pt>
                <c:pt idx="5326">
                  <c:v>-3.087996</c:v>
                </c:pt>
                <c:pt idx="5327">
                  <c:v>-2.9651770000000002</c:v>
                </c:pt>
                <c:pt idx="5328">
                  <c:v>-2.9157459999999999</c:v>
                </c:pt>
                <c:pt idx="5329">
                  <c:v>-3.0330439999999999</c:v>
                </c:pt>
                <c:pt idx="5330">
                  <c:v>-2.9673180000000001</c:v>
                </c:pt>
                <c:pt idx="5331">
                  <c:v>-2.943654</c:v>
                </c:pt>
                <c:pt idx="5332">
                  <c:v>-3.0677919999999999</c:v>
                </c:pt>
                <c:pt idx="5333">
                  <c:v>-2.9389419999999999</c:v>
                </c:pt>
                <c:pt idx="5334">
                  <c:v>-2.6706159999999999</c:v>
                </c:pt>
                <c:pt idx="5335">
                  <c:v>-2.7898740000000002</c:v>
                </c:pt>
                <c:pt idx="5336">
                  <c:v>-2.9733209999999999</c:v>
                </c:pt>
                <c:pt idx="5337">
                  <c:v>-2.940223</c:v>
                </c:pt>
                <c:pt idx="5338">
                  <c:v>-3.1307580000000002</c:v>
                </c:pt>
                <c:pt idx="5339">
                  <c:v>-3.106957</c:v>
                </c:pt>
                <c:pt idx="5340">
                  <c:v>-3.2466300000000001</c:v>
                </c:pt>
                <c:pt idx="5341">
                  <c:v>-3.4015409999999999</c:v>
                </c:pt>
                <c:pt idx="5342">
                  <c:v>-3.3747940000000001</c:v>
                </c:pt>
                <c:pt idx="5343">
                  <c:v>-3.3809339999999999</c:v>
                </c:pt>
                <c:pt idx="5344">
                  <c:v>-3.1985579999999998</c:v>
                </c:pt>
                <c:pt idx="5345">
                  <c:v>-3.380773</c:v>
                </c:pt>
                <c:pt idx="5346">
                  <c:v>-3.4135659999999999</c:v>
                </c:pt>
                <c:pt idx="5347">
                  <c:v>-3.1079530000000002</c:v>
                </c:pt>
                <c:pt idx="5348">
                  <c:v>-3.2146810000000001</c:v>
                </c:pt>
                <c:pt idx="5349">
                  <c:v>-3.2638690000000001</c:v>
                </c:pt>
                <c:pt idx="5350">
                  <c:v>-3.3616980000000001</c:v>
                </c:pt>
                <c:pt idx="5351">
                  <c:v>-3.2807940000000002</c:v>
                </c:pt>
                <c:pt idx="5352">
                  <c:v>-3.0425249999999999</c:v>
                </c:pt>
                <c:pt idx="5353">
                  <c:v>-2.7677309999999999</c:v>
                </c:pt>
                <c:pt idx="5354">
                  <c:v>-2.599742</c:v>
                </c:pt>
                <c:pt idx="5355">
                  <c:v>-2.9481120000000001</c:v>
                </c:pt>
                <c:pt idx="5356">
                  <c:v>-3.1831659999999999</c:v>
                </c:pt>
                <c:pt idx="5357">
                  <c:v>-3.179144</c:v>
                </c:pt>
                <c:pt idx="5358">
                  <c:v>-3.1208779999999998</c:v>
                </c:pt>
                <c:pt idx="5359">
                  <c:v>-3.232491</c:v>
                </c:pt>
                <c:pt idx="5360">
                  <c:v>-3.1624910000000002</c:v>
                </c:pt>
                <c:pt idx="5361">
                  <c:v>-2.9307439999999998</c:v>
                </c:pt>
                <c:pt idx="5362">
                  <c:v>-3.2769439999999999</c:v>
                </c:pt>
                <c:pt idx="5363">
                  <c:v>-3.4603280000000001</c:v>
                </c:pt>
                <c:pt idx="5364">
                  <c:v>-3.3790300000000002</c:v>
                </c:pt>
                <c:pt idx="5365">
                  <c:v>-3.5555910000000002</c:v>
                </c:pt>
                <c:pt idx="5366">
                  <c:v>-3.533255</c:v>
                </c:pt>
                <c:pt idx="5367">
                  <c:v>-3.2019319999999998</c:v>
                </c:pt>
                <c:pt idx="5368">
                  <c:v>-3.1648040000000002</c:v>
                </c:pt>
                <c:pt idx="5369">
                  <c:v>-3.3354560000000002</c:v>
                </c:pt>
                <c:pt idx="5370">
                  <c:v>-3.494888</c:v>
                </c:pt>
                <c:pt idx="5371">
                  <c:v>-3.4517869999999999</c:v>
                </c:pt>
                <c:pt idx="5372">
                  <c:v>-3.1031629999999999</c:v>
                </c:pt>
                <c:pt idx="5373">
                  <c:v>-2.9779559999999998</c:v>
                </c:pt>
                <c:pt idx="5374">
                  <c:v>-3.0258639999999999</c:v>
                </c:pt>
                <c:pt idx="5375">
                  <c:v>-3.237263</c:v>
                </c:pt>
                <c:pt idx="5376">
                  <c:v>-3.1403249999999998</c:v>
                </c:pt>
                <c:pt idx="5377">
                  <c:v>-2.8188849999999999</c:v>
                </c:pt>
                <c:pt idx="5378">
                  <c:v>-3.174404</c:v>
                </c:pt>
                <c:pt idx="5379">
                  <c:v>-3.5556040000000002</c:v>
                </c:pt>
                <c:pt idx="5380">
                  <c:v>-3.2376209999999999</c:v>
                </c:pt>
                <c:pt idx="5381">
                  <c:v>-2.8799950000000001</c:v>
                </c:pt>
                <c:pt idx="5382">
                  <c:v>-3.2200120000000001</c:v>
                </c:pt>
                <c:pt idx="5383">
                  <c:v>-3.5943100000000001</c:v>
                </c:pt>
                <c:pt idx="5384">
                  <c:v>-3.6138180000000002</c:v>
                </c:pt>
                <c:pt idx="5385">
                  <c:v>-3.4469210000000001</c:v>
                </c:pt>
                <c:pt idx="5386">
                  <c:v>-3.1723599999999998</c:v>
                </c:pt>
                <c:pt idx="5387">
                  <c:v>-3.0211459999999999</c:v>
                </c:pt>
                <c:pt idx="5388">
                  <c:v>-2.9241480000000002</c:v>
                </c:pt>
                <c:pt idx="5389">
                  <c:v>-3.0541390000000002</c:v>
                </c:pt>
                <c:pt idx="5390">
                  <c:v>-2.9029639999999999</c:v>
                </c:pt>
                <c:pt idx="5391">
                  <c:v>-2.8120180000000001</c:v>
                </c:pt>
                <c:pt idx="5392">
                  <c:v>-2.808081</c:v>
                </c:pt>
                <c:pt idx="5393">
                  <c:v>-2.7911079999999999</c:v>
                </c:pt>
                <c:pt idx="5394">
                  <c:v>-2.7635429999999999</c:v>
                </c:pt>
                <c:pt idx="5395">
                  <c:v>-2.8065120000000001</c:v>
                </c:pt>
                <c:pt idx="5396">
                  <c:v>-2.9518589999999998</c:v>
                </c:pt>
                <c:pt idx="5397">
                  <c:v>-2.8952520000000002</c:v>
                </c:pt>
                <c:pt idx="5398">
                  <c:v>-2.7292670000000001</c:v>
                </c:pt>
                <c:pt idx="5399">
                  <c:v>-2.5673409999999999</c:v>
                </c:pt>
                <c:pt idx="5400">
                  <c:v>-2.9387729999999999</c:v>
                </c:pt>
                <c:pt idx="5401">
                  <c:v>-3.0623049999999998</c:v>
                </c:pt>
                <c:pt idx="5402">
                  <c:v>-2.8741859999999999</c:v>
                </c:pt>
                <c:pt idx="5403">
                  <c:v>-2.9146999999999998</c:v>
                </c:pt>
                <c:pt idx="5404">
                  <c:v>-2.8696830000000002</c:v>
                </c:pt>
                <c:pt idx="5405">
                  <c:v>-2.642404</c:v>
                </c:pt>
                <c:pt idx="5406">
                  <c:v>-2.7165119999999998</c:v>
                </c:pt>
                <c:pt idx="5407">
                  <c:v>-2.6722130000000002</c:v>
                </c:pt>
                <c:pt idx="5408">
                  <c:v>-2.4399039999999999</c:v>
                </c:pt>
                <c:pt idx="5409">
                  <c:v>-2.8402660000000002</c:v>
                </c:pt>
                <c:pt idx="5410">
                  <c:v>-3.0460020000000001</c:v>
                </c:pt>
                <c:pt idx="5411">
                  <c:v>-2.9723290000000002</c:v>
                </c:pt>
                <c:pt idx="5412">
                  <c:v>-2.8110539999999999</c:v>
                </c:pt>
                <c:pt idx="5413">
                  <c:v>-2.5956730000000001</c:v>
                </c:pt>
                <c:pt idx="5414">
                  <c:v>-2.4683109999999999</c:v>
                </c:pt>
                <c:pt idx="5415">
                  <c:v>-2.654569</c:v>
                </c:pt>
                <c:pt idx="5416">
                  <c:v>-2.737641</c:v>
                </c:pt>
                <c:pt idx="5417">
                  <c:v>-2.6501980000000001</c:v>
                </c:pt>
                <c:pt idx="5418">
                  <c:v>-2.73482</c:v>
                </c:pt>
                <c:pt idx="5419">
                  <c:v>-2.9859330000000002</c:v>
                </c:pt>
                <c:pt idx="5420">
                  <c:v>-3.1970909999999999</c:v>
                </c:pt>
                <c:pt idx="5421">
                  <c:v>-2.726099</c:v>
                </c:pt>
                <c:pt idx="5422">
                  <c:v>-2.5535749999999999</c:v>
                </c:pt>
                <c:pt idx="5423">
                  <c:v>-2.9184950000000001</c:v>
                </c:pt>
                <c:pt idx="5424">
                  <c:v>-2.9068290000000001</c:v>
                </c:pt>
                <c:pt idx="5425">
                  <c:v>-2.639948</c:v>
                </c:pt>
                <c:pt idx="5426">
                  <c:v>-2.7652589999999999</c:v>
                </c:pt>
                <c:pt idx="5427">
                  <c:v>-2.8911630000000001</c:v>
                </c:pt>
                <c:pt idx="5428">
                  <c:v>-2.76058</c:v>
                </c:pt>
                <c:pt idx="5429">
                  <c:v>-2.4876390000000002</c:v>
                </c:pt>
                <c:pt idx="5430">
                  <c:v>-2.3299970000000001</c:v>
                </c:pt>
                <c:pt idx="5431">
                  <c:v>-2.4901949999999999</c:v>
                </c:pt>
                <c:pt idx="5432">
                  <c:v>-2.624994</c:v>
                </c:pt>
                <c:pt idx="5433">
                  <c:v>-2.5564909999999998</c:v>
                </c:pt>
                <c:pt idx="5434">
                  <c:v>-2.5190320000000002</c:v>
                </c:pt>
                <c:pt idx="5435">
                  <c:v>-2.5600179999999999</c:v>
                </c:pt>
                <c:pt idx="5436">
                  <c:v>-2.510834</c:v>
                </c:pt>
                <c:pt idx="5437">
                  <c:v>-2.6851050000000001</c:v>
                </c:pt>
                <c:pt idx="5438">
                  <c:v>-2.8468040000000001</c:v>
                </c:pt>
                <c:pt idx="5439">
                  <c:v>-2.7444329999999999</c:v>
                </c:pt>
                <c:pt idx="5440">
                  <c:v>-2.7700939999999998</c:v>
                </c:pt>
                <c:pt idx="5441">
                  <c:v>-2.7894429999999999</c:v>
                </c:pt>
                <c:pt idx="5442">
                  <c:v>-2.7405750000000002</c:v>
                </c:pt>
                <c:pt idx="5443">
                  <c:v>-2.717937</c:v>
                </c:pt>
                <c:pt idx="5444">
                  <c:v>-2.7077300000000002</c:v>
                </c:pt>
                <c:pt idx="5445">
                  <c:v>-2.7012360000000002</c:v>
                </c:pt>
                <c:pt idx="5446">
                  <c:v>-2.7660070000000001</c:v>
                </c:pt>
                <c:pt idx="5447">
                  <c:v>-2.732796</c:v>
                </c:pt>
                <c:pt idx="5448">
                  <c:v>-2.7876539999999999</c:v>
                </c:pt>
                <c:pt idx="5449">
                  <c:v>-2.8166790000000002</c:v>
                </c:pt>
                <c:pt idx="5450">
                  <c:v>-2.8406159999999998</c:v>
                </c:pt>
                <c:pt idx="5451">
                  <c:v>-2.9924140000000001</c:v>
                </c:pt>
                <c:pt idx="5452">
                  <c:v>-2.7462390000000001</c:v>
                </c:pt>
                <c:pt idx="5453">
                  <c:v>-2.6885859999999999</c:v>
                </c:pt>
                <c:pt idx="5454">
                  <c:v>-3.0566970000000002</c:v>
                </c:pt>
                <c:pt idx="5455">
                  <c:v>-3.055939</c:v>
                </c:pt>
                <c:pt idx="5456">
                  <c:v>-2.872401</c:v>
                </c:pt>
                <c:pt idx="5457">
                  <c:v>-2.846787</c:v>
                </c:pt>
                <c:pt idx="5458">
                  <c:v>-2.6960739999999999</c:v>
                </c:pt>
                <c:pt idx="5459">
                  <c:v>-2.6080239999999999</c:v>
                </c:pt>
                <c:pt idx="5460">
                  <c:v>-2.6136979999999999</c:v>
                </c:pt>
                <c:pt idx="5461">
                  <c:v>-2.6028500000000001</c:v>
                </c:pt>
                <c:pt idx="5462">
                  <c:v>-2.5175399999999999</c:v>
                </c:pt>
                <c:pt idx="5463">
                  <c:v>-2.5279509999999998</c:v>
                </c:pt>
                <c:pt idx="5464">
                  <c:v>-2.5877319999999999</c:v>
                </c:pt>
                <c:pt idx="5465">
                  <c:v>-2.7498390000000001</c:v>
                </c:pt>
                <c:pt idx="5466">
                  <c:v>-2.8370259999999998</c:v>
                </c:pt>
                <c:pt idx="5467">
                  <c:v>-2.6240950000000001</c:v>
                </c:pt>
                <c:pt idx="5468">
                  <c:v>-2.5811769999999998</c:v>
                </c:pt>
                <c:pt idx="5469">
                  <c:v>-2.686588</c:v>
                </c:pt>
                <c:pt idx="5470">
                  <c:v>-2.8092899999999998</c:v>
                </c:pt>
                <c:pt idx="5471">
                  <c:v>-2.81264</c:v>
                </c:pt>
                <c:pt idx="5472">
                  <c:v>-2.6887240000000001</c:v>
                </c:pt>
                <c:pt idx="5473">
                  <c:v>-2.6926350000000001</c:v>
                </c:pt>
                <c:pt idx="5474">
                  <c:v>-2.6921379999999999</c:v>
                </c:pt>
                <c:pt idx="5475">
                  <c:v>-2.55504</c:v>
                </c:pt>
                <c:pt idx="5476">
                  <c:v>-2.4756819999999999</c:v>
                </c:pt>
                <c:pt idx="5477">
                  <c:v>-2.4196900000000001</c:v>
                </c:pt>
                <c:pt idx="5478">
                  <c:v>-2.44394</c:v>
                </c:pt>
                <c:pt idx="5479">
                  <c:v>-2.5792259999999998</c:v>
                </c:pt>
                <c:pt idx="5480">
                  <c:v>-2.4436019999999998</c:v>
                </c:pt>
                <c:pt idx="5481">
                  <c:v>-2.368859</c:v>
                </c:pt>
                <c:pt idx="5482">
                  <c:v>-2.4519869999999999</c:v>
                </c:pt>
                <c:pt idx="5483">
                  <c:v>-2.5581779999999998</c:v>
                </c:pt>
                <c:pt idx="5484">
                  <c:v>-2.5462120000000001</c:v>
                </c:pt>
                <c:pt idx="5485">
                  <c:v>-2.47742</c:v>
                </c:pt>
                <c:pt idx="5486">
                  <c:v>-2.642846</c:v>
                </c:pt>
                <c:pt idx="5487">
                  <c:v>-2.666801</c:v>
                </c:pt>
                <c:pt idx="5488">
                  <c:v>-2.690496</c:v>
                </c:pt>
                <c:pt idx="5489">
                  <c:v>-2.846886</c:v>
                </c:pt>
                <c:pt idx="5490">
                  <c:v>-2.8767879999999999</c:v>
                </c:pt>
                <c:pt idx="5491">
                  <c:v>-2.7744770000000001</c:v>
                </c:pt>
                <c:pt idx="5492">
                  <c:v>-2.7308089999999998</c:v>
                </c:pt>
                <c:pt idx="5493">
                  <c:v>-2.7781799999999999</c:v>
                </c:pt>
                <c:pt idx="5494">
                  <c:v>-2.8069519999999999</c:v>
                </c:pt>
                <c:pt idx="5495">
                  <c:v>-2.759477</c:v>
                </c:pt>
                <c:pt idx="5496">
                  <c:v>-2.737943</c:v>
                </c:pt>
                <c:pt idx="5497">
                  <c:v>-2.6576110000000002</c:v>
                </c:pt>
                <c:pt idx="5498">
                  <c:v>-2.5442480000000001</c:v>
                </c:pt>
                <c:pt idx="5499">
                  <c:v>-2.540807</c:v>
                </c:pt>
                <c:pt idx="5500">
                  <c:v>-2.5274869999999998</c:v>
                </c:pt>
                <c:pt idx="5501">
                  <c:v>-2.5105439999999999</c:v>
                </c:pt>
                <c:pt idx="5502">
                  <c:v>-2.4925579999999998</c:v>
                </c:pt>
                <c:pt idx="5503">
                  <c:v>-2.4745629999999998</c:v>
                </c:pt>
                <c:pt idx="5504">
                  <c:v>-2.388808</c:v>
                </c:pt>
                <c:pt idx="5505">
                  <c:v>-2.265101</c:v>
                </c:pt>
                <c:pt idx="5506">
                  <c:v>-2.3873679999999999</c:v>
                </c:pt>
                <c:pt idx="5507">
                  <c:v>-2.6435770000000001</c:v>
                </c:pt>
                <c:pt idx="5508">
                  <c:v>-2.649591</c:v>
                </c:pt>
                <c:pt idx="5509">
                  <c:v>-2.6662089999999998</c:v>
                </c:pt>
                <c:pt idx="5510">
                  <c:v>-2.8199909999999999</c:v>
                </c:pt>
                <c:pt idx="5511">
                  <c:v>-2.8491270000000002</c:v>
                </c:pt>
                <c:pt idx="5512">
                  <c:v>-2.7467899999999998</c:v>
                </c:pt>
                <c:pt idx="5513">
                  <c:v>-2.63523</c:v>
                </c:pt>
                <c:pt idx="5514">
                  <c:v>-2.7126250000000001</c:v>
                </c:pt>
                <c:pt idx="5515">
                  <c:v>-3.0256769999999999</c:v>
                </c:pt>
                <c:pt idx="5516">
                  <c:v>-3.1392139999999999</c:v>
                </c:pt>
                <c:pt idx="5517">
                  <c:v>-2.6153400000000002</c:v>
                </c:pt>
                <c:pt idx="5518">
                  <c:v>-2.4786000000000001</c:v>
                </c:pt>
                <c:pt idx="5519">
                  <c:v>-2.7207759999999999</c:v>
                </c:pt>
                <c:pt idx="5520">
                  <c:v>-2.5031270000000001</c:v>
                </c:pt>
                <c:pt idx="5521">
                  <c:v>-2.3790969999999998</c:v>
                </c:pt>
                <c:pt idx="5522">
                  <c:v>-2.9057529999999998</c:v>
                </c:pt>
                <c:pt idx="5523">
                  <c:v>-3.185327</c:v>
                </c:pt>
                <c:pt idx="5524">
                  <c:v>-2.8931450000000001</c:v>
                </c:pt>
                <c:pt idx="5525">
                  <c:v>-2.7562310000000001</c:v>
                </c:pt>
                <c:pt idx="5526">
                  <c:v>-2.684304</c:v>
                </c:pt>
                <c:pt idx="5527">
                  <c:v>-2.844417</c:v>
                </c:pt>
                <c:pt idx="5528">
                  <c:v>-3.1320800000000002</c:v>
                </c:pt>
                <c:pt idx="5529">
                  <c:v>-3.029979</c:v>
                </c:pt>
                <c:pt idx="5530">
                  <c:v>-2.859559</c:v>
                </c:pt>
                <c:pt idx="5531">
                  <c:v>-2.974923</c:v>
                </c:pt>
                <c:pt idx="5532">
                  <c:v>-2.9705650000000001</c:v>
                </c:pt>
                <c:pt idx="5533">
                  <c:v>-3.0434999999999999</c:v>
                </c:pt>
                <c:pt idx="5534">
                  <c:v>-3.0192220000000001</c:v>
                </c:pt>
                <c:pt idx="5535">
                  <c:v>-2.9482810000000002</c:v>
                </c:pt>
                <c:pt idx="5536">
                  <c:v>-3.1142470000000002</c:v>
                </c:pt>
                <c:pt idx="5537">
                  <c:v>-2.8005300000000002</c:v>
                </c:pt>
                <c:pt idx="5538">
                  <c:v>-2.634388</c:v>
                </c:pt>
                <c:pt idx="5539">
                  <c:v>-2.65842</c:v>
                </c:pt>
                <c:pt idx="5540">
                  <c:v>-2.3834200000000001</c:v>
                </c:pt>
                <c:pt idx="5541">
                  <c:v>-2.3470719999999998</c:v>
                </c:pt>
                <c:pt idx="5542">
                  <c:v>-2.3643830000000001</c:v>
                </c:pt>
                <c:pt idx="5543">
                  <c:v>-2.4867490000000001</c:v>
                </c:pt>
                <c:pt idx="5544">
                  <c:v>-2.468067</c:v>
                </c:pt>
                <c:pt idx="5545">
                  <c:v>-2.4532639999999999</c:v>
                </c:pt>
                <c:pt idx="5546">
                  <c:v>-2.502615</c:v>
                </c:pt>
                <c:pt idx="5547">
                  <c:v>-2.4588489999999998</c:v>
                </c:pt>
                <c:pt idx="5548">
                  <c:v>-2.7706010000000001</c:v>
                </c:pt>
                <c:pt idx="5549">
                  <c:v>-3.079853</c:v>
                </c:pt>
                <c:pt idx="5550">
                  <c:v>-3.0022129999999998</c:v>
                </c:pt>
                <c:pt idx="5551">
                  <c:v>-2.9234659999999999</c:v>
                </c:pt>
                <c:pt idx="5552">
                  <c:v>-3.033185</c:v>
                </c:pt>
                <c:pt idx="5553">
                  <c:v>-2.9034080000000002</c:v>
                </c:pt>
                <c:pt idx="5554">
                  <c:v>-2.778737</c:v>
                </c:pt>
                <c:pt idx="5555">
                  <c:v>-2.846117</c:v>
                </c:pt>
                <c:pt idx="5556">
                  <c:v>-2.812783</c:v>
                </c:pt>
                <c:pt idx="5557">
                  <c:v>-2.9316599999999999</c:v>
                </c:pt>
                <c:pt idx="5558">
                  <c:v>-2.792027</c:v>
                </c:pt>
                <c:pt idx="5559">
                  <c:v>-2.4501010000000001</c:v>
                </c:pt>
                <c:pt idx="5560">
                  <c:v>-2.6565789999999998</c:v>
                </c:pt>
                <c:pt idx="5561">
                  <c:v>-2.9528319999999999</c:v>
                </c:pt>
                <c:pt idx="5562">
                  <c:v>-2.913726</c:v>
                </c:pt>
                <c:pt idx="5563">
                  <c:v>-2.8379789999999998</c:v>
                </c:pt>
                <c:pt idx="5564">
                  <c:v>-2.801666</c:v>
                </c:pt>
                <c:pt idx="5565">
                  <c:v>-2.919689</c:v>
                </c:pt>
                <c:pt idx="5566">
                  <c:v>-3.12087</c:v>
                </c:pt>
                <c:pt idx="5567">
                  <c:v>-2.971838</c:v>
                </c:pt>
                <c:pt idx="5568">
                  <c:v>-3.0425</c:v>
                </c:pt>
                <c:pt idx="5569">
                  <c:v>-3.152342</c:v>
                </c:pt>
                <c:pt idx="5570">
                  <c:v>-3.0228950000000001</c:v>
                </c:pt>
                <c:pt idx="5571">
                  <c:v>-3.0291039999999998</c:v>
                </c:pt>
                <c:pt idx="5572">
                  <c:v>-3.1036320000000002</c:v>
                </c:pt>
                <c:pt idx="5573">
                  <c:v>-3.1484559999999999</c:v>
                </c:pt>
                <c:pt idx="5574">
                  <c:v>-2.9774210000000001</c:v>
                </c:pt>
                <c:pt idx="5575">
                  <c:v>-2.7522760000000002</c:v>
                </c:pt>
                <c:pt idx="5576">
                  <c:v>-2.7546650000000001</c:v>
                </c:pt>
                <c:pt idx="5577">
                  <c:v>-2.8054060000000001</c:v>
                </c:pt>
                <c:pt idx="5578">
                  <c:v>-2.753841</c:v>
                </c:pt>
                <c:pt idx="5579">
                  <c:v>-2.8528380000000002</c:v>
                </c:pt>
                <c:pt idx="5580">
                  <c:v>-2.5582929999999999</c:v>
                </c:pt>
                <c:pt idx="5581">
                  <c:v>-2.2565740000000001</c:v>
                </c:pt>
                <c:pt idx="5582">
                  <c:v>-2.5363090000000001</c:v>
                </c:pt>
                <c:pt idx="5583">
                  <c:v>-2.5256699999999999</c:v>
                </c:pt>
                <c:pt idx="5584">
                  <c:v>-2.4448629999999998</c:v>
                </c:pt>
                <c:pt idx="5585">
                  <c:v>-2.5918060000000001</c:v>
                </c:pt>
                <c:pt idx="5586">
                  <c:v>-2.732955</c:v>
                </c:pt>
                <c:pt idx="5587">
                  <c:v>-2.7451189999999999</c:v>
                </c:pt>
                <c:pt idx="5588">
                  <c:v>-2.5577990000000002</c:v>
                </c:pt>
                <c:pt idx="5589">
                  <c:v>-2.6625380000000001</c:v>
                </c:pt>
                <c:pt idx="5590">
                  <c:v>-2.8503409999999998</c:v>
                </c:pt>
                <c:pt idx="5591">
                  <c:v>-2.894129</c:v>
                </c:pt>
                <c:pt idx="5592">
                  <c:v>-2.7954629999999998</c:v>
                </c:pt>
                <c:pt idx="5593">
                  <c:v>-2.6860560000000002</c:v>
                </c:pt>
                <c:pt idx="5594">
                  <c:v>-2.8301889999999998</c:v>
                </c:pt>
                <c:pt idx="5595">
                  <c:v>-2.8410660000000001</c:v>
                </c:pt>
                <c:pt idx="5596">
                  <c:v>-2.7871350000000001</c:v>
                </c:pt>
                <c:pt idx="5597">
                  <c:v>-2.7609110000000001</c:v>
                </c:pt>
                <c:pt idx="5598">
                  <c:v>-2.543307</c:v>
                </c:pt>
                <c:pt idx="5599">
                  <c:v>-2.418714</c:v>
                </c:pt>
                <c:pt idx="5600">
                  <c:v>-2.2629570000000001</c:v>
                </c:pt>
                <c:pt idx="5601">
                  <c:v>-2.2247439999999998</c:v>
                </c:pt>
                <c:pt idx="5602">
                  <c:v>-2.5835849999999998</c:v>
                </c:pt>
                <c:pt idx="5603">
                  <c:v>-2.6304799999999999</c:v>
                </c:pt>
                <c:pt idx="5604">
                  <c:v>-2.6654</c:v>
                </c:pt>
                <c:pt idx="5605">
                  <c:v>-2.7569720000000002</c:v>
                </c:pt>
                <c:pt idx="5606">
                  <c:v>-2.887759</c:v>
                </c:pt>
                <c:pt idx="5607">
                  <c:v>-2.971454</c:v>
                </c:pt>
                <c:pt idx="5608">
                  <c:v>-2.7676310000000002</c:v>
                </c:pt>
                <c:pt idx="5609">
                  <c:v>-2.94163</c:v>
                </c:pt>
                <c:pt idx="5610">
                  <c:v>-3.1774879999999999</c:v>
                </c:pt>
                <c:pt idx="5611">
                  <c:v>-3.1234510000000002</c:v>
                </c:pt>
                <c:pt idx="5612">
                  <c:v>-2.9134150000000001</c:v>
                </c:pt>
                <c:pt idx="5613">
                  <c:v>-2.8784519999999998</c:v>
                </c:pt>
                <c:pt idx="5614">
                  <c:v>-2.8558819999999998</c:v>
                </c:pt>
                <c:pt idx="5615">
                  <c:v>-2.8431980000000001</c:v>
                </c:pt>
                <c:pt idx="5616">
                  <c:v>-2.966688</c:v>
                </c:pt>
                <c:pt idx="5617">
                  <c:v>-2.7628970000000002</c:v>
                </c:pt>
                <c:pt idx="5618">
                  <c:v>-2.3802599999999998</c:v>
                </c:pt>
                <c:pt idx="5619">
                  <c:v>-2.4244080000000001</c:v>
                </c:pt>
                <c:pt idx="5620">
                  <c:v>-2.4151980000000002</c:v>
                </c:pt>
                <c:pt idx="5621">
                  <c:v>-2.528667</c:v>
                </c:pt>
                <c:pt idx="5622">
                  <c:v>-2.2979440000000002</c:v>
                </c:pt>
                <c:pt idx="5623">
                  <c:v>-2.166652</c:v>
                </c:pt>
                <c:pt idx="5624">
                  <c:v>-2.470812</c:v>
                </c:pt>
                <c:pt idx="5625">
                  <c:v>-2.6943450000000002</c:v>
                </c:pt>
                <c:pt idx="5626">
                  <c:v>-2.8861530000000002</c:v>
                </c:pt>
                <c:pt idx="5627">
                  <c:v>-2.673603</c:v>
                </c:pt>
                <c:pt idx="5628">
                  <c:v>-2.6417820000000001</c:v>
                </c:pt>
                <c:pt idx="5629">
                  <c:v>-2.9000509999999999</c:v>
                </c:pt>
                <c:pt idx="5630">
                  <c:v>-2.843944</c:v>
                </c:pt>
                <c:pt idx="5631">
                  <c:v>-2.629467</c:v>
                </c:pt>
                <c:pt idx="5632">
                  <c:v>-2.445532</c:v>
                </c:pt>
                <c:pt idx="5633">
                  <c:v>-2.4739610000000001</c:v>
                </c:pt>
                <c:pt idx="5634">
                  <c:v>-2.4699939999999998</c:v>
                </c:pt>
                <c:pt idx="5635">
                  <c:v>-2.1212209999999998</c:v>
                </c:pt>
                <c:pt idx="5636">
                  <c:v>-2.455775</c:v>
                </c:pt>
                <c:pt idx="5637">
                  <c:v>-2.7507540000000001</c:v>
                </c:pt>
                <c:pt idx="5638">
                  <c:v>-2.5821480000000001</c:v>
                </c:pt>
                <c:pt idx="5639">
                  <c:v>-2.5015100000000001</c:v>
                </c:pt>
                <c:pt idx="5640">
                  <c:v>-2.457719</c:v>
                </c:pt>
                <c:pt idx="5641">
                  <c:v>-2.2932610000000002</c:v>
                </c:pt>
                <c:pt idx="5642">
                  <c:v>-2.2631260000000002</c:v>
                </c:pt>
                <c:pt idx="5643">
                  <c:v>-2.297161</c:v>
                </c:pt>
                <c:pt idx="5644">
                  <c:v>-2.1688049999999999</c:v>
                </c:pt>
                <c:pt idx="5645">
                  <c:v>-2.1543700000000001</c:v>
                </c:pt>
                <c:pt idx="5646">
                  <c:v>-2.5393569999999999</c:v>
                </c:pt>
                <c:pt idx="5647">
                  <c:v>-2.6082740000000002</c:v>
                </c:pt>
                <c:pt idx="5648">
                  <c:v>-2.462942</c:v>
                </c:pt>
                <c:pt idx="5649">
                  <c:v>-2.5272579999999998</c:v>
                </c:pt>
                <c:pt idx="5650">
                  <c:v>-2.6371069999999999</c:v>
                </c:pt>
                <c:pt idx="5651">
                  <c:v>-2.6361599999999998</c:v>
                </c:pt>
                <c:pt idx="5652">
                  <c:v>-2.3780260000000002</c:v>
                </c:pt>
                <c:pt idx="5653">
                  <c:v>-2.3747090000000002</c:v>
                </c:pt>
                <c:pt idx="5654">
                  <c:v>-2.3624779999999999</c:v>
                </c:pt>
                <c:pt idx="5655">
                  <c:v>-2.349885</c:v>
                </c:pt>
                <c:pt idx="5656">
                  <c:v>-2.1981440000000001</c:v>
                </c:pt>
                <c:pt idx="5657">
                  <c:v>-2.2441599999999999</c:v>
                </c:pt>
                <c:pt idx="5658">
                  <c:v>-2.2515179999999999</c:v>
                </c:pt>
                <c:pt idx="5659">
                  <c:v>-2.2520799999999999</c:v>
                </c:pt>
                <c:pt idx="5660">
                  <c:v>-2.2410549999999998</c:v>
                </c:pt>
                <c:pt idx="5661">
                  <c:v>-1.9617800000000001</c:v>
                </c:pt>
                <c:pt idx="5662">
                  <c:v>-2.066789</c:v>
                </c:pt>
                <c:pt idx="5663">
                  <c:v>-2.1044230000000002</c:v>
                </c:pt>
                <c:pt idx="5664">
                  <c:v>-1.8445830000000001</c:v>
                </c:pt>
                <c:pt idx="5665">
                  <c:v>-2.030967</c:v>
                </c:pt>
                <c:pt idx="5666">
                  <c:v>-2.3161230000000002</c:v>
                </c:pt>
                <c:pt idx="5667">
                  <c:v>-2.27407</c:v>
                </c:pt>
                <c:pt idx="5668">
                  <c:v>-2.262346</c:v>
                </c:pt>
                <c:pt idx="5669">
                  <c:v>-2.196164</c:v>
                </c:pt>
                <c:pt idx="5670">
                  <c:v>-2.1634790000000002</c:v>
                </c:pt>
                <c:pt idx="5671">
                  <c:v>-2.1448</c:v>
                </c:pt>
                <c:pt idx="5672">
                  <c:v>-2.1320440000000001</c:v>
                </c:pt>
                <c:pt idx="5673">
                  <c:v>-2.1900249999999999</c:v>
                </c:pt>
                <c:pt idx="5674">
                  <c:v>-2.2876889999999999</c:v>
                </c:pt>
                <c:pt idx="5675">
                  <c:v>-2.2768959999999998</c:v>
                </c:pt>
                <c:pt idx="5676">
                  <c:v>-2.3464450000000001</c:v>
                </c:pt>
                <c:pt idx="5677">
                  <c:v>-2.4577619999999998</c:v>
                </c:pt>
                <c:pt idx="5678">
                  <c:v>-2.3944350000000001</c:v>
                </c:pt>
                <c:pt idx="5679">
                  <c:v>-2.3719030000000001</c:v>
                </c:pt>
                <c:pt idx="5680">
                  <c:v>-2.2964229999999999</c:v>
                </c:pt>
                <c:pt idx="5681">
                  <c:v>-2.1219000000000001</c:v>
                </c:pt>
                <c:pt idx="5682">
                  <c:v>-2.2239019999999998</c:v>
                </c:pt>
                <c:pt idx="5683">
                  <c:v>-2.4042849999999998</c:v>
                </c:pt>
                <c:pt idx="5684">
                  <c:v>-2.3011300000000001</c:v>
                </c:pt>
                <c:pt idx="5685">
                  <c:v>-2.1152340000000001</c:v>
                </c:pt>
                <c:pt idx="5686">
                  <c:v>-2.2126100000000002</c:v>
                </c:pt>
                <c:pt idx="5687">
                  <c:v>-2.3229980000000001</c:v>
                </c:pt>
                <c:pt idx="5688">
                  <c:v>-2.18065</c:v>
                </c:pt>
                <c:pt idx="5689">
                  <c:v>-2.2399200000000001</c:v>
                </c:pt>
                <c:pt idx="5690">
                  <c:v>-2.197978</c:v>
                </c:pt>
                <c:pt idx="5691">
                  <c:v>-2.0399349999999998</c:v>
                </c:pt>
                <c:pt idx="5692">
                  <c:v>-2.0801370000000001</c:v>
                </c:pt>
                <c:pt idx="5693">
                  <c:v>-2.158963</c:v>
                </c:pt>
                <c:pt idx="5694">
                  <c:v>-2.2642229999999999</c:v>
                </c:pt>
                <c:pt idx="5695">
                  <c:v>-2.391912</c:v>
                </c:pt>
                <c:pt idx="5696">
                  <c:v>-2.333942</c:v>
                </c:pt>
                <c:pt idx="5697">
                  <c:v>-2.2470330000000001</c:v>
                </c:pt>
                <c:pt idx="5698">
                  <c:v>-2.3376610000000002</c:v>
                </c:pt>
                <c:pt idx="5699">
                  <c:v>-2.3893239999999998</c:v>
                </c:pt>
                <c:pt idx="5700">
                  <c:v>-2.356039</c:v>
                </c:pt>
                <c:pt idx="5701">
                  <c:v>-2.276678</c:v>
                </c:pt>
                <c:pt idx="5702">
                  <c:v>-2.3708130000000001</c:v>
                </c:pt>
                <c:pt idx="5703">
                  <c:v>-2.3532069999999998</c:v>
                </c:pt>
                <c:pt idx="5704">
                  <c:v>-2.213279</c:v>
                </c:pt>
                <c:pt idx="5705">
                  <c:v>-2.202013</c:v>
                </c:pt>
                <c:pt idx="5706">
                  <c:v>-2.3247710000000001</c:v>
                </c:pt>
                <c:pt idx="5707">
                  <c:v>-2.455743</c:v>
                </c:pt>
                <c:pt idx="5708">
                  <c:v>-2.3301210000000001</c:v>
                </c:pt>
                <c:pt idx="5709">
                  <c:v>-2.541992</c:v>
                </c:pt>
                <c:pt idx="5710">
                  <c:v>-2.7958129999999999</c:v>
                </c:pt>
                <c:pt idx="5711">
                  <c:v>-2.686121</c:v>
                </c:pt>
                <c:pt idx="5712">
                  <c:v>-2.7172879999999999</c:v>
                </c:pt>
                <c:pt idx="5713">
                  <c:v>-2.8167080000000002</c:v>
                </c:pt>
                <c:pt idx="5714">
                  <c:v>-2.8190580000000001</c:v>
                </c:pt>
                <c:pt idx="5715">
                  <c:v>-2.8378730000000001</c:v>
                </c:pt>
                <c:pt idx="5716">
                  <c:v>-2.9294739999999999</c:v>
                </c:pt>
                <c:pt idx="5717">
                  <c:v>-2.7896879999999999</c:v>
                </c:pt>
                <c:pt idx="5718">
                  <c:v>-2.9311180000000001</c:v>
                </c:pt>
                <c:pt idx="5719">
                  <c:v>-3.0793680000000001</c:v>
                </c:pt>
                <c:pt idx="5720">
                  <c:v>-2.9078529999999998</c:v>
                </c:pt>
                <c:pt idx="5721">
                  <c:v>-2.894657</c:v>
                </c:pt>
                <c:pt idx="5722">
                  <c:v>-2.9592510000000001</c:v>
                </c:pt>
                <c:pt idx="5723">
                  <c:v>-2.9299759999999999</c:v>
                </c:pt>
                <c:pt idx="5724">
                  <c:v>-2.8525529999999999</c:v>
                </c:pt>
                <c:pt idx="5725">
                  <c:v>-2.810066</c:v>
                </c:pt>
                <c:pt idx="5726">
                  <c:v>-2.7158220000000002</c:v>
                </c:pt>
                <c:pt idx="5727">
                  <c:v>-2.7932670000000002</c:v>
                </c:pt>
                <c:pt idx="5728">
                  <c:v>-2.6905890000000001</c:v>
                </c:pt>
                <c:pt idx="5729">
                  <c:v>-2.5638019999999999</c:v>
                </c:pt>
                <c:pt idx="5730">
                  <c:v>-2.6842199999999998</c:v>
                </c:pt>
                <c:pt idx="5731">
                  <c:v>-2.6027719999999999</c:v>
                </c:pt>
                <c:pt idx="5732">
                  <c:v>-2.6896089999999999</c:v>
                </c:pt>
                <c:pt idx="5733">
                  <c:v>-2.9325869999999998</c:v>
                </c:pt>
                <c:pt idx="5734">
                  <c:v>-3.0041950000000002</c:v>
                </c:pt>
                <c:pt idx="5735">
                  <c:v>-2.9233159999999998</c:v>
                </c:pt>
                <c:pt idx="5736">
                  <c:v>-2.8940130000000002</c:v>
                </c:pt>
                <c:pt idx="5737">
                  <c:v>-3.019323</c:v>
                </c:pt>
                <c:pt idx="5738">
                  <c:v>-3.0276589999999999</c:v>
                </c:pt>
                <c:pt idx="5739">
                  <c:v>-2.9081320000000002</c:v>
                </c:pt>
                <c:pt idx="5740">
                  <c:v>-2.917602</c:v>
                </c:pt>
                <c:pt idx="5741">
                  <c:v>-3.0578970000000001</c:v>
                </c:pt>
                <c:pt idx="5742">
                  <c:v>-3.0714239999999999</c:v>
                </c:pt>
                <c:pt idx="5743">
                  <c:v>-2.8167490000000002</c:v>
                </c:pt>
                <c:pt idx="5744">
                  <c:v>-2.6806070000000002</c:v>
                </c:pt>
                <c:pt idx="5745">
                  <c:v>-2.5904720000000001</c:v>
                </c:pt>
                <c:pt idx="5746">
                  <c:v>-2.4570560000000001</c:v>
                </c:pt>
                <c:pt idx="5747">
                  <c:v>-2.4966940000000002</c:v>
                </c:pt>
                <c:pt idx="5748">
                  <c:v>-2.496893</c:v>
                </c:pt>
                <c:pt idx="5749">
                  <c:v>-2.4814189999999998</c:v>
                </c:pt>
                <c:pt idx="5750">
                  <c:v>-2.8008999999999999</c:v>
                </c:pt>
                <c:pt idx="5751">
                  <c:v>-2.970294</c:v>
                </c:pt>
                <c:pt idx="5752">
                  <c:v>-2.878841</c:v>
                </c:pt>
                <c:pt idx="5753">
                  <c:v>-2.7075770000000001</c:v>
                </c:pt>
                <c:pt idx="5754">
                  <c:v>-2.8263509999999998</c:v>
                </c:pt>
                <c:pt idx="5755">
                  <c:v>-3.0908380000000002</c:v>
                </c:pt>
                <c:pt idx="5756">
                  <c:v>-2.8428909999999998</c:v>
                </c:pt>
                <c:pt idx="5757">
                  <c:v>-2.9265270000000001</c:v>
                </c:pt>
                <c:pt idx="5758">
                  <c:v>-3.1761810000000001</c:v>
                </c:pt>
                <c:pt idx="5759">
                  <c:v>-3.0552280000000001</c:v>
                </c:pt>
                <c:pt idx="5760">
                  <c:v>-3.0755819999999998</c:v>
                </c:pt>
                <c:pt idx="5761">
                  <c:v>-3.0254439999999998</c:v>
                </c:pt>
                <c:pt idx="5762">
                  <c:v>-2.8717280000000001</c:v>
                </c:pt>
                <c:pt idx="5763">
                  <c:v>-2.9212449999999999</c:v>
                </c:pt>
                <c:pt idx="5764">
                  <c:v>-2.7386240000000002</c:v>
                </c:pt>
                <c:pt idx="5765">
                  <c:v>-2.701654</c:v>
                </c:pt>
                <c:pt idx="5766">
                  <c:v>-2.6639759999999999</c:v>
                </c:pt>
                <c:pt idx="5767">
                  <c:v>-2.5646640000000001</c:v>
                </c:pt>
                <c:pt idx="5768">
                  <c:v>-2.6288179999999999</c:v>
                </c:pt>
                <c:pt idx="5769">
                  <c:v>-2.514278</c:v>
                </c:pt>
                <c:pt idx="5770">
                  <c:v>-2.3720659999999998</c:v>
                </c:pt>
                <c:pt idx="5771">
                  <c:v>-2.4122309999999998</c:v>
                </c:pt>
                <c:pt idx="5772">
                  <c:v>-2.4818470000000001</c:v>
                </c:pt>
                <c:pt idx="5773">
                  <c:v>-2.3729909999999999</c:v>
                </c:pt>
                <c:pt idx="5774">
                  <c:v>-2.6453549999999999</c:v>
                </c:pt>
                <c:pt idx="5775">
                  <c:v>-2.717498</c:v>
                </c:pt>
                <c:pt idx="5776">
                  <c:v>-2.4995910000000001</c:v>
                </c:pt>
                <c:pt idx="5777">
                  <c:v>-2.858905</c:v>
                </c:pt>
                <c:pt idx="5778">
                  <c:v>-2.9894630000000002</c:v>
                </c:pt>
                <c:pt idx="5779">
                  <c:v>-2.746149</c:v>
                </c:pt>
                <c:pt idx="5780">
                  <c:v>-2.8327640000000001</c:v>
                </c:pt>
                <c:pt idx="5781">
                  <c:v>-2.8149329999999999</c:v>
                </c:pt>
                <c:pt idx="5782">
                  <c:v>-2.5428929999999998</c:v>
                </c:pt>
                <c:pt idx="5783">
                  <c:v>-2.5272389999999998</c:v>
                </c:pt>
                <c:pt idx="5784">
                  <c:v>-2.6399590000000002</c:v>
                </c:pt>
                <c:pt idx="5785">
                  <c:v>-2.6937120000000001</c:v>
                </c:pt>
                <c:pt idx="5786">
                  <c:v>-2.5864210000000001</c:v>
                </c:pt>
                <c:pt idx="5787">
                  <c:v>-2.4597500000000001</c:v>
                </c:pt>
                <c:pt idx="5788">
                  <c:v>-2.3124129999999998</c:v>
                </c:pt>
                <c:pt idx="5789">
                  <c:v>-2.6940900000000001</c:v>
                </c:pt>
                <c:pt idx="5790">
                  <c:v>-3.0926279999999999</c:v>
                </c:pt>
                <c:pt idx="5791">
                  <c:v>-2.859064</c:v>
                </c:pt>
                <c:pt idx="5792">
                  <c:v>-2.8250000000000002</c:v>
                </c:pt>
                <c:pt idx="5793">
                  <c:v>-2.8144529999999999</c:v>
                </c:pt>
                <c:pt idx="5794">
                  <c:v>-2.6801249999999999</c:v>
                </c:pt>
                <c:pt idx="5795">
                  <c:v>-2.7434349999999998</c:v>
                </c:pt>
                <c:pt idx="5796">
                  <c:v>-2.9780479999999998</c:v>
                </c:pt>
                <c:pt idx="5797">
                  <c:v>-3.1127359999999999</c:v>
                </c:pt>
                <c:pt idx="5798">
                  <c:v>-3.1378119999999998</c:v>
                </c:pt>
                <c:pt idx="5799">
                  <c:v>-3.17239</c:v>
                </c:pt>
                <c:pt idx="5800">
                  <c:v>-3.141785</c:v>
                </c:pt>
                <c:pt idx="5801">
                  <c:v>-3.209317</c:v>
                </c:pt>
                <c:pt idx="5802">
                  <c:v>-3.3258649999999998</c:v>
                </c:pt>
                <c:pt idx="5803">
                  <c:v>-2.9298489999999999</c:v>
                </c:pt>
                <c:pt idx="5804">
                  <c:v>-2.587653</c:v>
                </c:pt>
                <c:pt idx="5805">
                  <c:v>-2.512829</c:v>
                </c:pt>
                <c:pt idx="5806">
                  <c:v>-2.441757</c:v>
                </c:pt>
                <c:pt idx="5807">
                  <c:v>-2.5072969999999999</c:v>
                </c:pt>
                <c:pt idx="5808">
                  <c:v>-2.5182959999999999</c:v>
                </c:pt>
                <c:pt idx="5809">
                  <c:v>-2.5073650000000001</c:v>
                </c:pt>
                <c:pt idx="5810">
                  <c:v>-2.4198189999999999</c:v>
                </c:pt>
                <c:pt idx="5811">
                  <c:v>-2.4953479999999999</c:v>
                </c:pt>
                <c:pt idx="5812">
                  <c:v>-2.7266599999999999</c:v>
                </c:pt>
                <c:pt idx="5813">
                  <c:v>-2.717076</c:v>
                </c:pt>
                <c:pt idx="5814">
                  <c:v>-2.5858599999999998</c:v>
                </c:pt>
                <c:pt idx="5815">
                  <c:v>-2.7893690000000002</c:v>
                </c:pt>
                <c:pt idx="5816">
                  <c:v>-2.8324099999999999</c:v>
                </c:pt>
                <c:pt idx="5817">
                  <c:v>-2.803461</c:v>
                </c:pt>
                <c:pt idx="5818">
                  <c:v>-3.067005</c:v>
                </c:pt>
                <c:pt idx="5819">
                  <c:v>-3.0895869999999999</c:v>
                </c:pt>
                <c:pt idx="5820">
                  <c:v>-2.85345</c:v>
                </c:pt>
                <c:pt idx="5821">
                  <c:v>-2.805828</c:v>
                </c:pt>
                <c:pt idx="5822">
                  <c:v>-2.9807299999999999</c:v>
                </c:pt>
                <c:pt idx="5823">
                  <c:v>-2.8744800000000001</c:v>
                </c:pt>
                <c:pt idx="5824">
                  <c:v>-2.824398</c:v>
                </c:pt>
                <c:pt idx="5825">
                  <c:v>-2.7252960000000002</c:v>
                </c:pt>
                <c:pt idx="5826">
                  <c:v>-2.6004589999999999</c:v>
                </c:pt>
                <c:pt idx="5827">
                  <c:v>-2.722127</c:v>
                </c:pt>
                <c:pt idx="5828">
                  <c:v>-2.7779379999999998</c:v>
                </c:pt>
                <c:pt idx="5829">
                  <c:v>-2.6699229999999998</c:v>
                </c:pt>
                <c:pt idx="5830">
                  <c:v>-2.6096180000000002</c:v>
                </c:pt>
                <c:pt idx="5831">
                  <c:v>-2.8394379999999999</c:v>
                </c:pt>
                <c:pt idx="5832">
                  <c:v>-2.8252269999999999</c:v>
                </c:pt>
                <c:pt idx="5833">
                  <c:v>-2.4867249999999999</c:v>
                </c:pt>
                <c:pt idx="5834">
                  <c:v>-2.6379429999999999</c:v>
                </c:pt>
                <c:pt idx="5835">
                  <c:v>-2.9076270000000002</c:v>
                </c:pt>
                <c:pt idx="5836">
                  <c:v>-2.8569279999999999</c:v>
                </c:pt>
                <c:pt idx="5837">
                  <c:v>-2.9092030000000002</c:v>
                </c:pt>
                <c:pt idx="5838">
                  <c:v>-3.0823710000000002</c:v>
                </c:pt>
                <c:pt idx="5839">
                  <c:v>-2.8498839999999999</c:v>
                </c:pt>
                <c:pt idx="5840">
                  <c:v>-2.5343</c:v>
                </c:pt>
                <c:pt idx="5841">
                  <c:v>-2.7587570000000001</c:v>
                </c:pt>
                <c:pt idx="5842">
                  <c:v>-2.6617280000000001</c:v>
                </c:pt>
                <c:pt idx="5843">
                  <c:v>-2.677171</c:v>
                </c:pt>
                <c:pt idx="5844">
                  <c:v>-2.673028</c:v>
                </c:pt>
                <c:pt idx="5845">
                  <c:v>-2.5351560000000002</c:v>
                </c:pt>
                <c:pt idx="5846">
                  <c:v>-2.7881930000000001</c:v>
                </c:pt>
                <c:pt idx="5847">
                  <c:v>-2.7859850000000002</c:v>
                </c:pt>
                <c:pt idx="5848">
                  <c:v>-2.7244480000000002</c:v>
                </c:pt>
                <c:pt idx="5849">
                  <c:v>-2.6929810000000001</c:v>
                </c:pt>
                <c:pt idx="5850">
                  <c:v>-2.7438400000000001</c:v>
                </c:pt>
                <c:pt idx="5851">
                  <c:v>-2.8377849999999998</c:v>
                </c:pt>
                <c:pt idx="5852">
                  <c:v>-2.9625919999999999</c:v>
                </c:pt>
                <c:pt idx="5853">
                  <c:v>-2.8356119999999998</c:v>
                </c:pt>
                <c:pt idx="5854">
                  <c:v>-2.7117200000000001</c:v>
                </c:pt>
                <c:pt idx="5855">
                  <c:v>-2.7079610000000001</c:v>
                </c:pt>
                <c:pt idx="5856">
                  <c:v>-2.7709670000000002</c:v>
                </c:pt>
                <c:pt idx="5857">
                  <c:v>-2.9358140000000001</c:v>
                </c:pt>
                <c:pt idx="5858">
                  <c:v>-3.0328490000000001</c:v>
                </c:pt>
                <c:pt idx="5859">
                  <c:v>-3.0295230000000002</c:v>
                </c:pt>
                <c:pt idx="5860">
                  <c:v>-2.7036449999999999</c:v>
                </c:pt>
                <c:pt idx="5861">
                  <c:v>-2.6648710000000002</c:v>
                </c:pt>
                <c:pt idx="5862">
                  <c:v>-2.7643140000000002</c:v>
                </c:pt>
                <c:pt idx="5863">
                  <c:v>-2.880131</c:v>
                </c:pt>
                <c:pt idx="5864">
                  <c:v>-2.9416500000000001</c:v>
                </c:pt>
                <c:pt idx="5865">
                  <c:v>-2.7800509999999998</c:v>
                </c:pt>
                <c:pt idx="5866">
                  <c:v>-2.4901059999999999</c:v>
                </c:pt>
                <c:pt idx="5867">
                  <c:v>-2.7304089999999999</c:v>
                </c:pt>
                <c:pt idx="5868">
                  <c:v>-2.9087900000000002</c:v>
                </c:pt>
                <c:pt idx="5869">
                  <c:v>-3.0164049999999998</c:v>
                </c:pt>
                <c:pt idx="5870">
                  <c:v>-2.945255</c:v>
                </c:pt>
                <c:pt idx="5871">
                  <c:v>-2.654096</c:v>
                </c:pt>
                <c:pt idx="5872">
                  <c:v>-3.0335429999999999</c:v>
                </c:pt>
                <c:pt idx="5873">
                  <c:v>-3.1020300000000001</c:v>
                </c:pt>
                <c:pt idx="5874">
                  <c:v>-2.8176670000000001</c:v>
                </c:pt>
                <c:pt idx="5875">
                  <c:v>-2.7377410000000002</c:v>
                </c:pt>
                <c:pt idx="5876">
                  <c:v>-2.752586</c:v>
                </c:pt>
                <c:pt idx="5877">
                  <c:v>-3.0252289999999999</c:v>
                </c:pt>
                <c:pt idx="5878">
                  <c:v>-3.3082370000000001</c:v>
                </c:pt>
                <c:pt idx="5879">
                  <c:v>-2.9404309999999998</c:v>
                </c:pt>
                <c:pt idx="5880">
                  <c:v>-2.8274560000000002</c:v>
                </c:pt>
                <c:pt idx="5881">
                  <c:v>-3.096848</c:v>
                </c:pt>
                <c:pt idx="5882">
                  <c:v>-3.0405570000000002</c:v>
                </c:pt>
                <c:pt idx="5883">
                  <c:v>-2.815588</c:v>
                </c:pt>
                <c:pt idx="5884">
                  <c:v>-2.6914009999999999</c:v>
                </c:pt>
                <c:pt idx="5885">
                  <c:v>-2.6088040000000001</c:v>
                </c:pt>
                <c:pt idx="5886">
                  <c:v>-2.7506900000000001</c:v>
                </c:pt>
                <c:pt idx="5887">
                  <c:v>-3.0161009999999999</c:v>
                </c:pt>
                <c:pt idx="5888">
                  <c:v>-2.8921540000000001</c:v>
                </c:pt>
                <c:pt idx="5889">
                  <c:v>-2.6991019999999999</c:v>
                </c:pt>
                <c:pt idx="5890">
                  <c:v>-2.793526</c:v>
                </c:pt>
                <c:pt idx="5891">
                  <c:v>-3.0405739999999999</c:v>
                </c:pt>
                <c:pt idx="5892">
                  <c:v>-3.1118139999999999</c:v>
                </c:pt>
                <c:pt idx="5893">
                  <c:v>-3.099923</c:v>
                </c:pt>
                <c:pt idx="5894">
                  <c:v>-3.1756280000000001</c:v>
                </c:pt>
                <c:pt idx="5895">
                  <c:v>-3.094398</c:v>
                </c:pt>
                <c:pt idx="5896">
                  <c:v>-2.8585150000000001</c:v>
                </c:pt>
                <c:pt idx="5897">
                  <c:v>-2.7292489999999998</c:v>
                </c:pt>
                <c:pt idx="5898">
                  <c:v>-2.7803390000000001</c:v>
                </c:pt>
                <c:pt idx="5899">
                  <c:v>-2.793164</c:v>
                </c:pt>
                <c:pt idx="5900">
                  <c:v>-2.996451</c:v>
                </c:pt>
                <c:pt idx="5901">
                  <c:v>-3.3082729999999998</c:v>
                </c:pt>
                <c:pt idx="5902">
                  <c:v>-3.1555179999999998</c:v>
                </c:pt>
                <c:pt idx="5903">
                  <c:v>-2.9595799999999999</c:v>
                </c:pt>
                <c:pt idx="5904">
                  <c:v>-3.060041</c:v>
                </c:pt>
                <c:pt idx="5905">
                  <c:v>-3.1135329999999999</c:v>
                </c:pt>
                <c:pt idx="5906">
                  <c:v>-3.0804230000000001</c:v>
                </c:pt>
                <c:pt idx="5907">
                  <c:v>-3.0673750000000002</c:v>
                </c:pt>
                <c:pt idx="5908">
                  <c:v>-3.0626549999999999</c:v>
                </c:pt>
                <c:pt idx="5909">
                  <c:v>-2.9932379999999998</c:v>
                </c:pt>
                <c:pt idx="5910">
                  <c:v>-3.023088</c:v>
                </c:pt>
                <c:pt idx="5911">
                  <c:v>-3.1032999999999999</c:v>
                </c:pt>
                <c:pt idx="5912">
                  <c:v>-3.0131480000000002</c:v>
                </c:pt>
                <c:pt idx="5913">
                  <c:v>-2.9662440000000001</c:v>
                </c:pt>
                <c:pt idx="5914">
                  <c:v>-2.9362270000000001</c:v>
                </c:pt>
                <c:pt idx="5915">
                  <c:v>-3.0514700000000001</c:v>
                </c:pt>
                <c:pt idx="5916">
                  <c:v>-2.9737079999999998</c:v>
                </c:pt>
                <c:pt idx="5917">
                  <c:v>-2.935765</c:v>
                </c:pt>
                <c:pt idx="5918">
                  <c:v>-2.9072460000000002</c:v>
                </c:pt>
                <c:pt idx="5919">
                  <c:v>-2.7542080000000002</c:v>
                </c:pt>
                <c:pt idx="5920">
                  <c:v>-2.930904</c:v>
                </c:pt>
                <c:pt idx="5921">
                  <c:v>-2.8820790000000001</c:v>
                </c:pt>
                <c:pt idx="5922">
                  <c:v>-2.9246629999999998</c:v>
                </c:pt>
                <c:pt idx="5923">
                  <c:v>-3.0112260000000002</c:v>
                </c:pt>
                <c:pt idx="5924">
                  <c:v>-2.8594900000000001</c:v>
                </c:pt>
                <c:pt idx="5925">
                  <c:v>-2.7776320000000001</c:v>
                </c:pt>
                <c:pt idx="5926">
                  <c:v>-2.657362</c:v>
                </c:pt>
                <c:pt idx="5927">
                  <c:v>-2.7161499999999998</c:v>
                </c:pt>
                <c:pt idx="5928">
                  <c:v>-2.8011810000000001</c:v>
                </c:pt>
                <c:pt idx="5929">
                  <c:v>-2.7757360000000002</c:v>
                </c:pt>
                <c:pt idx="5930">
                  <c:v>-2.6228530000000001</c:v>
                </c:pt>
                <c:pt idx="5931">
                  <c:v>-2.6028340000000001</c:v>
                </c:pt>
                <c:pt idx="5932">
                  <c:v>-2.8492220000000001</c:v>
                </c:pt>
                <c:pt idx="5933">
                  <c:v>-2.8446859999999998</c:v>
                </c:pt>
                <c:pt idx="5934">
                  <c:v>-2.714423</c:v>
                </c:pt>
                <c:pt idx="5935">
                  <c:v>-2.849078</c:v>
                </c:pt>
                <c:pt idx="5936">
                  <c:v>-2.7159680000000002</c:v>
                </c:pt>
                <c:pt idx="5937">
                  <c:v>-2.649359</c:v>
                </c:pt>
                <c:pt idx="5938">
                  <c:v>-2.8064420000000001</c:v>
                </c:pt>
                <c:pt idx="5939">
                  <c:v>-2.6876479999999998</c:v>
                </c:pt>
                <c:pt idx="5940">
                  <c:v>-2.6911399999999999</c:v>
                </c:pt>
                <c:pt idx="5941">
                  <c:v>-2.8243510000000001</c:v>
                </c:pt>
                <c:pt idx="5942">
                  <c:v>-3.169807</c:v>
                </c:pt>
                <c:pt idx="5943">
                  <c:v>-3.372363</c:v>
                </c:pt>
                <c:pt idx="5944">
                  <c:v>-3.1768719999999999</c:v>
                </c:pt>
                <c:pt idx="5945">
                  <c:v>-3.1671969999999998</c:v>
                </c:pt>
                <c:pt idx="5946">
                  <c:v>-3.1054089999999999</c:v>
                </c:pt>
                <c:pt idx="5947">
                  <c:v>-3.0839400000000001</c:v>
                </c:pt>
                <c:pt idx="5948">
                  <c:v>-3.1413329999999999</c:v>
                </c:pt>
                <c:pt idx="5949">
                  <c:v>-3.1113330000000001</c:v>
                </c:pt>
                <c:pt idx="5950">
                  <c:v>-3.1662319999999999</c:v>
                </c:pt>
                <c:pt idx="5951">
                  <c:v>-3.1332610000000001</c:v>
                </c:pt>
                <c:pt idx="5952">
                  <c:v>-2.9153560000000001</c:v>
                </c:pt>
                <c:pt idx="5953">
                  <c:v>-2.7945540000000002</c:v>
                </c:pt>
                <c:pt idx="5954">
                  <c:v>-2.642706</c:v>
                </c:pt>
                <c:pt idx="5955">
                  <c:v>-2.5417019999999999</c:v>
                </c:pt>
                <c:pt idx="5956">
                  <c:v>-2.5937950000000001</c:v>
                </c:pt>
                <c:pt idx="5957">
                  <c:v>-2.7374749999999999</c:v>
                </c:pt>
                <c:pt idx="5958">
                  <c:v>-2.869116</c:v>
                </c:pt>
                <c:pt idx="5959">
                  <c:v>-2.8072620000000001</c:v>
                </c:pt>
                <c:pt idx="5960">
                  <c:v>-2.7757990000000001</c:v>
                </c:pt>
                <c:pt idx="5961">
                  <c:v>-2.758629</c:v>
                </c:pt>
                <c:pt idx="5962">
                  <c:v>-2.609756</c:v>
                </c:pt>
                <c:pt idx="5963">
                  <c:v>-2.6601119999999998</c:v>
                </c:pt>
                <c:pt idx="5964">
                  <c:v>-2.878285</c:v>
                </c:pt>
                <c:pt idx="5965">
                  <c:v>-3.0680909999999999</c:v>
                </c:pt>
                <c:pt idx="5966">
                  <c:v>-3.115866</c:v>
                </c:pt>
                <c:pt idx="5967">
                  <c:v>-3.097397</c:v>
                </c:pt>
                <c:pt idx="5968">
                  <c:v>-2.8296359999999998</c:v>
                </c:pt>
                <c:pt idx="5969">
                  <c:v>-2.7622330000000002</c:v>
                </c:pt>
                <c:pt idx="5970">
                  <c:v>-2.9151790000000002</c:v>
                </c:pt>
                <c:pt idx="5971">
                  <c:v>-2.725813</c:v>
                </c:pt>
                <c:pt idx="5972">
                  <c:v>-2.7543760000000002</c:v>
                </c:pt>
                <c:pt idx="5973">
                  <c:v>-2.7601119999999999</c:v>
                </c:pt>
                <c:pt idx="5974">
                  <c:v>-2.6899500000000001</c:v>
                </c:pt>
                <c:pt idx="5975">
                  <c:v>-2.6449410000000002</c:v>
                </c:pt>
                <c:pt idx="5976">
                  <c:v>-2.951813</c:v>
                </c:pt>
                <c:pt idx="5977">
                  <c:v>-2.9111379999999998</c:v>
                </c:pt>
                <c:pt idx="5978">
                  <c:v>-2.90598</c:v>
                </c:pt>
                <c:pt idx="5979">
                  <c:v>-2.7669899999999998</c:v>
                </c:pt>
                <c:pt idx="5980">
                  <c:v>-2.7682639999999998</c:v>
                </c:pt>
                <c:pt idx="5981">
                  <c:v>-3.0962719999999999</c:v>
                </c:pt>
                <c:pt idx="5982">
                  <c:v>-2.9460600000000001</c:v>
                </c:pt>
                <c:pt idx="5983">
                  <c:v>-3.0806269999999998</c:v>
                </c:pt>
                <c:pt idx="5984">
                  <c:v>-3.3657759999999999</c:v>
                </c:pt>
                <c:pt idx="5985">
                  <c:v>-3.26892</c:v>
                </c:pt>
                <c:pt idx="5986">
                  <c:v>-3.1763319999999999</c:v>
                </c:pt>
                <c:pt idx="5987">
                  <c:v>-3.203624</c:v>
                </c:pt>
                <c:pt idx="5988">
                  <c:v>-2.9560580000000001</c:v>
                </c:pt>
                <c:pt idx="5989">
                  <c:v>-3.0939109999999999</c:v>
                </c:pt>
                <c:pt idx="5990">
                  <c:v>-3.0234459999999999</c:v>
                </c:pt>
                <c:pt idx="5991">
                  <c:v>-2.784996</c:v>
                </c:pt>
                <c:pt idx="5992">
                  <c:v>-2.7769089999999998</c:v>
                </c:pt>
                <c:pt idx="5993">
                  <c:v>-2.5517569999999998</c:v>
                </c:pt>
                <c:pt idx="5994">
                  <c:v>-2.5444770000000001</c:v>
                </c:pt>
                <c:pt idx="5995">
                  <c:v>-2.5804369999999999</c:v>
                </c:pt>
                <c:pt idx="5996">
                  <c:v>-2.5820150000000002</c:v>
                </c:pt>
                <c:pt idx="5997">
                  <c:v>-2.6351110000000002</c:v>
                </c:pt>
                <c:pt idx="5998">
                  <c:v>-2.4507319999999999</c:v>
                </c:pt>
                <c:pt idx="5999">
                  <c:v>-2.476556</c:v>
                </c:pt>
                <c:pt idx="6000">
                  <c:v>-2.5402770000000001</c:v>
                </c:pt>
                <c:pt idx="6001">
                  <c:v>-2.568257</c:v>
                </c:pt>
                <c:pt idx="6002">
                  <c:v>-2.7814160000000001</c:v>
                </c:pt>
                <c:pt idx="6003">
                  <c:v>-2.8339300000000001</c:v>
                </c:pt>
                <c:pt idx="6004">
                  <c:v>-2.876423</c:v>
                </c:pt>
                <c:pt idx="6005">
                  <c:v>-2.8442530000000001</c:v>
                </c:pt>
                <c:pt idx="6006">
                  <c:v>-2.9078970000000002</c:v>
                </c:pt>
                <c:pt idx="6007">
                  <c:v>-2.8818679999999999</c:v>
                </c:pt>
                <c:pt idx="6008">
                  <c:v>-2.539517</c:v>
                </c:pt>
                <c:pt idx="6009">
                  <c:v>-2.6219649999999999</c:v>
                </c:pt>
                <c:pt idx="6010">
                  <c:v>-2.785663</c:v>
                </c:pt>
                <c:pt idx="6011">
                  <c:v>-2.7385079999999999</c:v>
                </c:pt>
                <c:pt idx="6012">
                  <c:v>-2.5781649999999998</c:v>
                </c:pt>
                <c:pt idx="6013">
                  <c:v>-2.4883459999999999</c:v>
                </c:pt>
                <c:pt idx="6014">
                  <c:v>-2.628765</c:v>
                </c:pt>
                <c:pt idx="6015">
                  <c:v>-2.628212</c:v>
                </c:pt>
                <c:pt idx="6016">
                  <c:v>-2.6948840000000001</c:v>
                </c:pt>
                <c:pt idx="6017">
                  <c:v>-2.5255869999999998</c:v>
                </c:pt>
                <c:pt idx="6018">
                  <c:v>-2.2984779999999998</c:v>
                </c:pt>
                <c:pt idx="6019">
                  <c:v>-2.4974799999999999</c:v>
                </c:pt>
                <c:pt idx="6020">
                  <c:v>-2.5898810000000001</c:v>
                </c:pt>
                <c:pt idx="6021">
                  <c:v>-2.367944</c:v>
                </c:pt>
                <c:pt idx="6022">
                  <c:v>-2.720993</c:v>
                </c:pt>
                <c:pt idx="6023">
                  <c:v>-2.8371740000000001</c:v>
                </c:pt>
                <c:pt idx="6024">
                  <c:v>-2.5157539999999998</c:v>
                </c:pt>
                <c:pt idx="6025">
                  <c:v>-2.5485440000000001</c:v>
                </c:pt>
                <c:pt idx="6026">
                  <c:v>-2.6299790000000001</c:v>
                </c:pt>
                <c:pt idx="6027">
                  <c:v>-2.604015</c:v>
                </c:pt>
                <c:pt idx="6028">
                  <c:v>-2.5258409999999998</c:v>
                </c:pt>
                <c:pt idx="6029">
                  <c:v>-2.6157780000000002</c:v>
                </c:pt>
                <c:pt idx="6030">
                  <c:v>-2.5948889999999998</c:v>
                </c:pt>
                <c:pt idx="6031">
                  <c:v>-2.5855269999999999</c:v>
                </c:pt>
                <c:pt idx="6032">
                  <c:v>-2.5112999999999999</c:v>
                </c:pt>
                <c:pt idx="6033">
                  <c:v>-2.3332890000000002</c:v>
                </c:pt>
                <c:pt idx="6034">
                  <c:v>-2.0892140000000001</c:v>
                </c:pt>
                <c:pt idx="6035">
                  <c:v>-1.9348970000000001</c:v>
                </c:pt>
                <c:pt idx="6036">
                  <c:v>-2.0214379999999998</c:v>
                </c:pt>
                <c:pt idx="6037">
                  <c:v>-2.3118120000000002</c:v>
                </c:pt>
                <c:pt idx="6038">
                  <c:v>-2.1845400000000001</c:v>
                </c:pt>
                <c:pt idx="6039">
                  <c:v>-2.050929</c:v>
                </c:pt>
                <c:pt idx="6040">
                  <c:v>-2.2353890000000001</c:v>
                </c:pt>
                <c:pt idx="6041">
                  <c:v>-2.330111</c:v>
                </c:pt>
                <c:pt idx="6042">
                  <c:v>-2.5883579999999999</c:v>
                </c:pt>
                <c:pt idx="6043">
                  <c:v>-2.4702769999999998</c:v>
                </c:pt>
                <c:pt idx="6044">
                  <c:v>-2.4272900000000002</c:v>
                </c:pt>
                <c:pt idx="6045">
                  <c:v>-2.7485650000000001</c:v>
                </c:pt>
                <c:pt idx="6046">
                  <c:v>-2.6659799999999998</c:v>
                </c:pt>
                <c:pt idx="6047">
                  <c:v>-2.4407679999999998</c:v>
                </c:pt>
                <c:pt idx="6048">
                  <c:v>-2.459991</c:v>
                </c:pt>
                <c:pt idx="6049">
                  <c:v>-2.4670920000000001</c:v>
                </c:pt>
                <c:pt idx="6050">
                  <c:v>-2.538783</c:v>
                </c:pt>
                <c:pt idx="6051">
                  <c:v>-2.3733140000000001</c:v>
                </c:pt>
                <c:pt idx="6052">
                  <c:v>-2.422094</c:v>
                </c:pt>
                <c:pt idx="6053">
                  <c:v>-2.6417250000000001</c:v>
                </c:pt>
                <c:pt idx="6054">
                  <c:v>-2.291757</c:v>
                </c:pt>
                <c:pt idx="6055">
                  <c:v>-2.1718139999999999</c:v>
                </c:pt>
                <c:pt idx="6056">
                  <c:v>-2.3592390000000001</c:v>
                </c:pt>
                <c:pt idx="6057">
                  <c:v>-2.449697</c:v>
                </c:pt>
                <c:pt idx="6058">
                  <c:v>-2.5675599999999998</c:v>
                </c:pt>
                <c:pt idx="6059">
                  <c:v>-2.5019969999999998</c:v>
                </c:pt>
                <c:pt idx="6060">
                  <c:v>-2.3404090000000002</c:v>
                </c:pt>
                <c:pt idx="6061">
                  <c:v>-2.6592639999999999</c:v>
                </c:pt>
                <c:pt idx="6062">
                  <c:v>-2.8321770000000002</c:v>
                </c:pt>
                <c:pt idx="6063">
                  <c:v>-2.7457530000000001</c:v>
                </c:pt>
                <c:pt idx="6064">
                  <c:v>-2.7162850000000001</c:v>
                </c:pt>
                <c:pt idx="6065">
                  <c:v>-2.4404119999999998</c:v>
                </c:pt>
                <c:pt idx="6066">
                  <c:v>-2.3588529999999999</c:v>
                </c:pt>
                <c:pt idx="6067">
                  <c:v>-2.43472</c:v>
                </c:pt>
                <c:pt idx="6068">
                  <c:v>-2.5336470000000002</c:v>
                </c:pt>
                <c:pt idx="6069">
                  <c:v>-2.582754</c:v>
                </c:pt>
                <c:pt idx="6070">
                  <c:v>-2.3411339999999998</c:v>
                </c:pt>
                <c:pt idx="6071">
                  <c:v>-2.2072289999999999</c:v>
                </c:pt>
                <c:pt idx="6072">
                  <c:v>-2.3890020000000001</c:v>
                </c:pt>
                <c:pt idx="6073">
                  <c:v>-2.3380030000000001</c:v>
                </c:pt>
                <c:pt idx="6074">
                  <c:v>-2.3088220000000002</c:v>
                </c:pt>
                <c:pt idx="6075">
                  <c:v>-2.2830819999999998</c:v>
                </c:pt>
                <c:pt idx="6076">
                  <c:v>-2.333304</c:v>
                </c:pt>
                <c:pt idx="6077">
                  <c:v>-2.4196240000000002</c:v>
                </c:pt>
                <c:pt idx="6078">
                  <c:v>-2.4022350000000001</c:v>
                </c:pt>
                <c:pt idx="6079">
                  <c:v>-2.6658689999999998</c:v>
                </c:pt>
                <c:pt idx="6080">
                  <c:v>-2.4779680000000002</c:v>
                </c:pt>
                <c:pt idx="6081">
                  <c:v>-2.1875990000000001</c:v>
                </c:pt>
                <c:pt idx="6082">
                  <c:v>-2.2925740000000001</c:v>
                </c:pt>
                <c:pt idx="6083">
                  <c:v>-2.4042219999999999</c:v>
                </c:pt>
                <c:pt idx="6084">
                  <c:v>-2.4621520000000001</c:v>
                </c:pt>
                <c:pt idx="6085">
                  <c:v>-2.6336149999999998</c:v>
                </c:pt>
                <c:pt idx="6086">
                  <c:v>-2.531326</c:v>
                </c:pt>
                <c:pt idx="6087">
                  <c:v>-2.6272380000000002</c:v>
                </c:pt>
                <c:pt idx="6088">
                  <c:v>-2.818336</c:v>
                </c:pt>
                <c:pt idx="6089">
                  <c:v>-2.397408</c:v>
                </c:pt>
                <c:pt idx="6090">
                  <c:v>-2.3813249999999999</c:v>
                </c:pt>
                <c:pt idx="6091">
                  <c:v>-2.561232</c:v>
                </c:pt>
                <c:pt idx="6092">
                  <c:v>-2.5900080000000001</c:v>
                </c:pt>
                <c:pt idx="6093">
                  <c:v>-2.6087050000000001</c:v>
                </c:pt>
                <c:pt idx="6094">
                  <c:v>-2.353199</c:v>
                </c:pt>
                <c:pt idx="6095">
                  <c:v>-2.4167990000000001</c:v>
                </c:pt>
                <c:pt idx="6096">
                  <c:v>-2.641877</c:v>
                </c:pt>
                <c:pt idx="6097">
                  <c:v>-2.6313939999999998</c:v>
                </c:pt>
                <c:pt idx="6098">
                  <c:v>-2.3621509999999999</c:v>
                </c:pt>
                <c:pt idx="6099">
                  <c:v>-2.4895719999999999</c:v>
                </c:pt>
                <c:pt idx="6100">
                  <c:v>-2.7497220000000002</c:v>
                </c:pt>
                <c:pt idx="6101">
                  <c:v>-2.6301290000000002</c:v>
                </c:pt>
                <c:pt idx="6102">
                  <c:v>-2.6437140000000001</c:v>
                </c:pt>
                <c:pt idx="6103">
                  <c:v>-2.7243940000000002</c:v>
                </c:pt>
                <c:pt idx="6104">
                  <c:v>-2.7746749999999998</c:v>
                </c:pt>
                <c:pt idx="6105">
                  <c:v>-2.7449620000000001</c:v>
                </c:pt>
                <c:pt idx="6106">
                  <c:v>-2.6696399999999998</c:v>
                </c:pt>
                <c:pt idx="6107">
                  <c:v>-2.5649310000000001</c:v>
                </c:pt>
                <c:pt idx="6108">
                  <c:v>-2.5046889999999999</c:v>
                </c:pt>
                <c:pt idx="6109">
                  <c:v>-2.4635449999999999</c:v>
                </c:pt>
                <c:pt idx="6110">
                  <c:v>-2.3628010000000002</c:v>
                </c:pt>
                <c:pt idx="6111">
                  <c:v>-2.4321969999999999</c:v>
                </c:pt>
                <c:pt idx="6112">
                  <c:v>-2.6603249999999998</c:v>
                </c:pt>
                <c:pt idx="6113">
                  <c:v>-2.5124689999999998</c:v>
                </c:pt>
                <c:pt idx="6114">
                  <c:v>-2.3028279999999999</c:v>
                </c:pt>
                <c:pt idx="6115">
                  <c:v>-2.1779660000000001</c:v>
                </c:pt>
                <c:pt idx="6116">
                  <c:v>-2.1608520000000002</c:v>
                </c:pt>
                <c:pt idx="6117">
                  <c:v>-2.1970420000000002</c:v>
                </c:pt>
                <c:pt idx="6118">
                  <c:v>-2.4072779999999998</c:v>
                </c:pt>
                <c:pt idx="6119">
                  <c:v>-2.4451689999999999</c:v>
                </c:pt>
                <c:pt idx="6120">
                  <c:v>-2.4078900000000001</c:v>
                </c:pt>
                <c:pt idx="6121">
                  <c:v>-2.5241989999999999</c:v>
                </c:pt>
                <c:pt idx="6122">
                  <c:v>-2.459517</c:v>
                </c:pt>
                <c:pt idx="6123">
                  <c:v>-2.4302199999999998</c:v>
                </c:pt>
                <c:pt idx="6124">
                  <c:v>-2.4852650000000001</c:v>
                </c:pt>
                <c:pt idx="6125">
                  <c:v>-2.5158909999999999</c:v>
                </c:pt>
                <c:pt idx="6126">
                  <c:v>-2.6071360000000001</c:v>
                </c:pt>
                <c:pt idx="6127">
                  <c:v>-2.7303600000000001</c:v>
                </c:pt>
                <c:pt idx="6128">
                  <c:v>-2.6081189999999999</c:v>
                </c:pt>
                <c:pt idx="6129">
                  <c:v>-2.5536180000000002</c:v>
                </c:pt>
                <c:pt idx="6130">
                  <c:v>-2.6621839999999999</c:v>
                </c:pt>
                <c:pt idx="6131">
                  <c:v>-2.656018</c:v>
                </c:pt>
                <c:pt idx="6132">
                  <c:v>-2.592794</c:v>
                </c:pt>
                <c:pt idx="6133">
                  <c:v>-2.6287310000000002</c:v>
                </c:pt>
                <c:pt idx="6134">
                  <c:v>-2.6495609999999998</c:v>
                </c:pt>
                <c:pt idx="6135">
                  <c:v>-2.5957119999999998</c:v>
                </c:pt>
                <c:pt idx="6136">
                  <c:v>-2.5004110000000002</c:v>
                </c:pt>
                <c:pt idx="6137">
                  <c:v>-2.5808650000000002</c:v>
                </c:pt>
                <c:pt idx="6138">
                  <c:v>-2.6190229999999999</c:v>
                </c:pt>
                <c:pt idx="6139">
                  <c:v>-2.5060500000000001</c:v>
                </c:pt>
                <c:pt idx="6140">
                  <c:v>-2.5111509999999999</c:v>
                </c:pt>
                <c:pt idx="6141">
                  <c:v>-2.576092</c:v>
                </c:pt>
                <c:pt idx="6142">
                  <c:v>-2.6095980000000001</c:v>
                </c:pt>
                <c:pt idx="6143">
                  <c:v>-2.493468</c:v>
                </c:pt>
                <c:pt idx="6144">
                  <c:v>-2.4990169999999998</c:v>
                </c:pt>
                <c:pt idx="6145">
                  <c:v>-2.5628860000000002</c:v>
                </c:pt>
                <c:pt idx="6146">
                  <c:v>-2.3931969999999998</c:v>
                </c:pt>
                <c:pt idx="6147">
                  <c:v>-2.3652839999999999</c:v>
                </c:pt>
                <c:pt idx="6148">
                  <c:v>-2.4059439999999999</c:v>
                </c:pt>
                <c:pt idx="6149">
                  <c:v>-2.352519</c:v>
                </c:pt>
                <c:pt idx="6150">
                  <c:v>-2.4529200000000002</c:v>
                </c:pt>
                <c:pt idx="6151">
                  <c:v>-2.5699540000000001</c:v>
                </c:pt>
                <c:pt idx="6152">
                  <c:v>-2.5022669999999998</c:v>
                </c:pt>
                <c:pt idx="6153">
                  <c:v>-2.403346</c:v>
                </c:pt>
                <c:pt idx="6154">
                  <c:v>-2.1435040000000001</c:v>
                </c:pt>
                <c:pt idx="6155">
                  <c:v>-2.1957149999999999</c:v>
                </c:pt>
                <c:pt idx="6156">
                  <c:v>-2.269075</c:v>
                </c:pt>
                <c:pt idx="6157">
                  <c:v>-2.166417</c:v>
                </c:pt>
                <c:pt idx="6158">
                  <c:v>-2.3035730000000001</c:v>
                </c:pt>
                <c:pt idx="6159">
                  <c:v>-2.3036140000000001</c:v>
                </c:pt>
                <c:pt idx="6160">
                  <c:v>-2.2360509999999998</c:v>
                </c:pt>
                <c:pt idx="6161">
                  <c:v>-2.2649859999999999</c:v>
                </c:pt>
                <c:pt idx="6162">
                  <c:v>-2.2764069999999998</c:v>
                </c:pt>
                <c:pt idx="6163">
                  <c:v>-2.2138420000000001</c:v>
                </c:pt>
                <c:pt idx="6164">
                  <c:v>-2.1087889999999998</c:v>
                </c:pt>
                <c:pt idx="6165">
                  <c:v>-2.248901</c:v>
                </c:pt>
                <c:pt idx="6166">
                  <c:v>-2.588876</c:v>
                </c:pt>
                <c:pt idx="6167">
                  <c:v>-2.5810230000000001</c:v>
                </c:pt>
                <c:pt idx="6168">
                  <c:v>-2.532241</c:v>
                </c:pt>
                <c:pt idx="6169">
                  <c:v>-2.6553390000000001</c:v>
                </c:pt>
                <c:pt idx="6170">
                  <c:v>-2.600142</c:v>
                </c:pt>
                <c:pt idx="6171">
                  <c:v>-2.517436</c:v>
                </c:pt>
                <c:pt idx="6172">
                  <c:v>-2.6142460000000001</c:v>
                </c:pt>
                <c:pt idx="6173">
                  <c:v>-2.671306</c:v>
                </c:pt>
                <c:pt idx="6174">
                  <c:v>-2.7808139999999999</c:v>
                </c:pt>
                <c:pt idx="6175">
                  <c:v>-2.715624</c:v>
                </c:pt>
                <c:pt idx="6176">
                  <c:v>-2.4912329999999998</c:v>
                </c:pt>
                <c:pt idx="6177">
                  <c:v>-2.5047160000000002</c:v>
                </c:pt>
                <c:pt idx="6178">
                  <c:v>-2.5715659999999998</c:v>
                </c:pt>
                <c:pt idx="6179">
                  <c:v>-2.5363009999999999</c:v>
                </c:pt>
                <c:pt idx="6180">
                  <c:v>-2.3118989999999999</c:v>
                </c:pt>
                <c:pt idx="6181">
                  <c:v>-2.3178709999999998</c:v>
                </c:pt>
                <c:pt idx="6182">
                  <c:v>-2.3020659999999999</c:v>
                </c:pt>
                <c:pt idx="6183">
                  <c:v>-2.2838310000000002</c:v>
                </c:pt>
                <c:pt idx="6184">
                  <c:v>-2.2591489999999999</c:v>
                </c:pt>
                <c:pt idx="6185">
                  <c:v>-2.2383289999999998</c:v>
                </c:pt>
                <c:pt idx="6186">
                  <c:v>-2.4126989999999999</c:v>
                </c:pt>
                <c:pt idx="6187">
                  <c:v>-2.3664450000000001</c:v>
                </c:pt>
                <c:pt idx="6188">
                  <c:v>-2.2057419999999999</c:v>
                </c:pt>
                <c:pt idx="6189">
                  <c:v>-2.1118610000000002</c:v>
                </c:pt>
                <c:pt idx="6190">
                  <c:v>-2.4539759999999999</c:v>
                </c:pt>
                <c:pt idx="6191">
                  <c:v>-2.9043239999999999</c:v>
                </c:pt>
                <c:pt idx="6192">
                  <c:v>-2.6963680000000001</c:v>
                </c:pt>
                <c:pt idx="6193">
                  <c:v>-2.4113020000000001</c:v>
                </c:pt>
                <c:pt idx="6194">
                  <c:v>-2.5241760000000002</c:v>
                </c:pt>
                <c:pt idx="6195">
                  <c:v>-2.6464439999999998</c:v>
                </c:pt>
                <c:pt idx="6196">
                  <c:v>-2.5106220000000001</c:v>
                </c:pt>
                <c:pt idx="6197">
                  <c:v>-2.3718810000000001</c:v>
                </c:pt>
                <c:pt idx="6198">
                  <c:v>-2.353424</c:v>
                </c:pt>
                <c:pt idx="6199">
                  <c:v>-2.1257830000000002</c:v>
                </c:pt>
                <c:pt idx="6200">
                  <c:v>-2.1880639999999998</c:v>
                </c:pt>
                <c:pt idx="6201">
                  <c:v>-2.331359</c:v>
                </c:pt>
                <c:pt idx="6202">
                  <c:v>-2.1867549999999998</c:v>
                </c:pt>
                <c:pt idx="6203">
                  <c:v>-2.4345850000000002</c:v>
                </c:pt>
                <c:pt idx="6204">
                  <c:v>-2.3509869999999999</c:v>
                </c:pt>
                <c:pt idx="6205">
                  <c:v>-2.3089400000000002</c:v>
                </c:pt>
                <c:pt idx="6206">
                  <c:v>-2.3394300000000001</c:v>
                </c:pt>
                <c:pt idx="6207">
                  <c:v>-2.353256</c:v>
                </c:pt>
                <c:pt idx="6208">
                  <c:v>-2.689279</c:v>
                </c:pt>
                <c:pt idx="6209">
                  <c:v>-2.6060020000000002</c:v>
                </c:pt>
                <c:pt idx="6210">
                  <c:v>-2.4309599999999998</c:v>
                </c:pt>
                <c:pt idx="6211">
                  <c:v>-2.5359769999999999</c:v>
                </c:pt>
                <c:pt idx="6212">
                  <c:v>-2.4462280000000001</c:v>
                </c:pt>
                <c:pt idx="6213">
                  <c:v>-2.4621279999999999</c:v>
                </c:pt>
                <c:pt idx="6214">
                  <c:v>-2.5234709999999998</c:v>
                </c:pt>
                <c:pt idx="6215">
                  <c:v>-2.2805900000000001</c:v>
                </c:pt>
                <c:pt idx="6216">
                  <c:v>-2.065706</c:v>
                </c:pt>
                <c:pt idx="6217">
                  <c:v>-2.1944669999999999</c:v>
                </c:pt>
                <c:pt idx="6218">
                  <c:v>-2.3600629999999998</c:v>
                </c:pt>
                <c:pt idx="6219">
                  <c:v>-1.8902570000000001</c:v>
                </c:pt>
                <c:pt idx="6220">
                  <c:v>-1.88456</c:v>
                </c:pt>
                <c:pt idx="6221">
                  <c:v>-2.1075119999999998</c:v>
                </c:pt>
                <c:pt idx="6222">
                  <c:v>-1.6597379999999999</c:v>
                </c:pt>
                <c:pt idx="6223">
                  <c:v>-1.5251920000000001</c:v>
                </c:pt>
                <c:pt idx="6224">
                  <c:v>-1.740807</c:v>
                </c:pt>
                <c:pt idx="6225">
                  <c:v>-1.6850849999999999</c:v>
                </c:pt>
                <c:pt idx="6226">
                  <c:v>-1.7559370000000001</c:v>
                </c:pt>
                <c:pt idx="6227">
                  <c:v>-1.7647250000000001</c:v>
                </c:pt>
                <c:pt idx="6228">
                  <c:v>-1.6140220000000001</c:v>
                </c:pt>
                <c:pt idx="6229">
                  <c:v>-1.574837</c:v>
                </c:pt>
                <c:pt idx="6230">
                  <c:v>-1.8653960000000001</c:v>
                </c:pt>
                <c:pt idx="6231">
                  <c:v>-2.0018340000000001</c:v>
                </c:pt>
                <c:pt idx="6232">
                  <c:v>-1.87395</c:v>
                </c:pt>
                <c:pt idx="6233">
                  <c:v>-1.7312780000000001</c:v>
                </c:pt>
                <c:pt idx="6234">
                  <c:v>-1.674037</c:v>
                </c:pt>
                <c:pt idx="6235">
                  <c:v>-1.874592</c:v>
                </c:pt>
                <c:pt idx="6236">
                  <c:v>-1.7494890000000001</c:v>
                </c:pt>
                <c:pt idx="6237">
                  <c:v>-1.4545809999999999</c:v>
                </c:pt>
                <c:pt idx="6238">
                  <c:v>-1.3922829999999999</c:v>
                </c:pt>
                <c:pt idx="6239">
                  <c:v>-1.4458219999999999</c:v>
                </c:pt>
                <c:pt idx="6240">
                  <c:v>-1.432652</c:v>
                </c:pt>
                <c:pt idx="6241">
                  <c:v>-1.2527900000000001</c:v>
                </c:pt>
                <c:pt idx="6242">
                  <c:v>-0.85831800000000003</c:v>
                </c:pt>
                <c:pt idx="6243">
                  <c:v>-0.90369699999999997</c:v>
                </c:pt>
                <c:pt idx="6244">
                  <c:v>-0.83824100000000001</c:v>
                </c:pt>
                <c:pt idx="6245">
                  <c:v>-0.66344499999999995</c:v>
                </c:pt>
                <c:pt idx="6246">
                  <c:v>-0.62451199999999996</c:v>
                </c:pt>
                <c:pt idx="6247">
                  <c:v>-0.66647800000000001</c:v>
                </c:pt>
                <c:pt idx="6248">
                  <c:v>-0.61752499999999999</c:v>
                </c:pt>
                <c:pt idx="6249">
                  <c:v>-0.46537000000000001</c:v>
                </c:pt>
                <c:pt idx="6250">
                  <c:v>-0.39085700000000001</c:v>
                </c:pt>
                <c:pt idx="6251">
                  <c:v>-0.45949400000000001</c:v>
                </c:pt>
                <c:pt idx="6252">
                  <c:v>-0.40322999999999998</c:v>
                </c:pt>
                <c:pt idx="6253">
                  <c:v>-0.157864</c:v>
                </c:pt>
                <c:pt idx="6254">
                  <c:v>-0.13880100000000001</c:v>
                </c:pt>
                <c:pt idx="6255">
                  <c:v>3.0689999999999999E-2</c:v>
                </c:pt>
                <c:pt idx="6256">
                  <c:v>7.6151999999999997E-2</c:v>
                </c:pt>
                <c:pt idx="6257">
                  <c:v>0.26272200000000001</c:v>
                </c:pt>
                <c:pt idx="6258">
                  <c:v>0.71450899999999995</c:v>
                </c:pt>
                <c:pt idx="6259">
                  <c:v>0.61964200000000003</c:v>
                </c:pt>
                <c:pt idx="6260">
                  <c:v>0.57361700000000004</c:v>
                </c:pt>
                <c:pt idx="6261">
                  <c:v>1.14242</c:v>
                </c:pt>
                <c:pt idx="6262">
                  <c:v>1.373273</c:v>
                </c:pt>
                <c:pt idx="6263">
                  <c:v>1.2407170000000001</c:v>
                </c:pt>
                <c:pt idx="6264">
                  <c:v>1.1680269999999999</c:v>
                </c:pt>
                <c:pt idx="6265">
                  <c:v>1.38296</c:v>
                </c:pt>
                <c:pt idx="6266">
                  <c:v>1.7348129999999999</c:v>
                </c:pt>
                <c:pt idx="6267">
                  <c:v>1.740359</c:v>
                </c:pt>
                <c:pt idx="6268">
                  <c:v>1.8300110000000001</c:v>
                </c:pt>
                <c:pt idx="6269">
                  <c:v>2.0219200000000002</c:v>
                </c:pt>
                <c:pt idx="6270">
                  <c:v>2.3382369999999999</c:v>
                </c:pt>
                <c:pt idx="6271">
                  <c:v>2.5221719999999999</c:v>
                </c:pt>
                <c:pt idx="6272">
                  <c:v>2.7126679999999999</c:v>
                </c:pt>
                <c:pt idx="6273">
                  <c:v>2.9689610000000002</c:v>
                </c:pt>
                <c:pt idx="6274">
                  <c:v>3.2699340000000001</c:v>
                </c:pt>
                <c:pt idx="6275">
                  <c:v>3.8319549999999998</c:v>
                </c:pt>
                <c:pt idx="6276">
                  <c:v>4.2754690000000002</c:v>
                </c:pt>
                <c:pt idx="6277">
                  <c:v>4.5350529999999996</c:v>
                </c:pt>
                <c:pt idx="6278">
                  <c:v>5.0356740000000002</c:v>
                </c:pt>
                <c:pt idx="6279">
                  <c:v>5.1210040000000001</c:v>
                </c:pt>
                <c:pt idx="6280">
                  <c:v>5.2594979999999998</c:v>
                </c:pt>
                <c:pt idx="6281">
                  <c:v>5.875057</c:v>
                </c:pt>
                <c:pt idx="6282">
                  <c:v>6.250184</c:v>
                </c:pt>
                <c:pt idx="6283">
                  <c:v>6.5579929999999997</c:v>
                </c:pt>
                <c:pt idx="6284">
                  <c:v>6.7592629999999998</c:v>
                </c:pt>
                <c:pt idx="6285">
                  <c:v>7.2368069999999998</c:v>
                </c:pt>
                <c:pt idx="6286">
                  <c:v>7.9272130000000001</c:v>
                </c:pt>
                <c:pt idx="6287">
                  <c:v>7.7995520000000003</c:v>
                </c:pt>
                <c:pt idx="6288">
                  <c:v>7.6368140000000002</c:v>
                </c:pt>
                <c:pt idx="6289">
                  <c:v>8.0205140000000004</c:v>
                </c:pt>
                <c:pt idx="6290">
                  <c:v>8.1675419999999992</c:v>
                </c:pt>
                <c:pt idx="6291">
                  <c:v>8.3838620000000006</c:v>
                </c:pt>
                <c:pt idx="6292">
                  <c:v>8.9009129999999992</c:v>
                </c:pt>
                <c:pt idx="6293">
                  <c:v>9.2494859999999992</c:v>
                </c:pt>
                <c:pt idx="6294">
                  <c:v>9.316649</c:v>
                </c:pt>
                <c:pt idx="6295">
                  <c:v>9.4281299999999995</c:v>
                </c:pt>
                <c:pt idx="6296">
                  <c:v>9.8210160000000002</c:v>
                </c:pt>
                <c:pt idx="6297">
                  <c:v>10.1607161</c:v>
                </c:pt>
                <c:pt idx="6298">
                  <c:v>10.1540689</c:v>
                </c:pt>
                <c:pt idx="6299">
                  <c:v>10.489714599999999</c:v>
                </c:pt>
                <c:pt idx="6300">
                  <c:v>10.9289579</c:v>
                </c:pt>
                <c:pt idx="6301">
                  <c:v>11.0322666</c:v>
                </c:pt>
                <c:pt idx="6302">
                  <c:v>11.4275074</c:v>
                </c:pt>
                <c:pt idx="6303">
                  <c:v>11.90761</c:v>
                </c:pt>
                <c:pt idx="6304">
                  <c:v>12.108345</c:v>
                </c:pt>
                <c:pt idx="6305">
                  <c:v>12.227952999999999</c:v>
                </c:pt>
                <c:pt idx="6306">
                  <c:v>12.521845799999999</c:v>
                </c:pt>
                <c:pt idx="6307">
                  <c:v>12.956664999999999</c:v>
                </c:pt>
                <c:pt idx="6308">
                  <c:v>13.4736452</c:v>
                </c:pt>
                <c:pt idx="6309">
                  <c:v>13.705115299999999</c:v>
                </c:pt>
                <c:pt idx="6310">
                  <c:v>13.925062199999999</c:v>
                </c:pt>
                <c:pt idx="6311">
                  <c:v>14.328035399999999</c:v>
                </c:pt>
                <c:pt idx="6312">
                  <c:v>14.5606756</c:v>
                </c:pt>
                <c:pt idx="6313">
                  <c:v>14.835979500000001</c:v>
                </c:pt>
                <c:pt idx="6314">
                  <c:v>15.267416000000001</c:v>
                </c:pt>
                <c:pt idx="6315">
                  <c:v>15.35783</c:v>
                </c:pt>
                <c:pt idx="6316">
                  <c:v>15.564311</c:v>
                </c:pt>
                <c:pt idx="6317">
                  <c:v>15.738213500000001</c:v>
                </c:pt>
                <c:pt idx="6318">
                  <c:v>16.042539999999999</c:v>
                </c:pt>
                <c:pt idx="6319">
                  <c:v>16.327251400000002</c:v>
                </c:pt>
                <c:pt idx="6320">
                  <c:v>16.3474827</c:v>
                </c:pt>
                <c:pt idx="6321">
                  <c:v>16.407484100000001</c:v>
                </c:pt>
                <c:pt idx="6322">
                  <c:v>16.339317300000001</c:v>
                </c:pt>
                <c:pt idx="6323">
                  <c:v>16.116330000000001</c:v>
                </c:pt>
                <c:pt idx="6324">
                  <c:v>16.350145300000001</c:v>
                </c:pt>
                <c:pt idx="6325">
                  <c:v>16.737213100000002</c:v>
                </c:pt>
                <c:pt idx="6326">
                  <c:v>16.624113099999999</c:v>
                </c:pt>
                <c:pt idx="6327">
                  <c:v>16.784246400000001</c:v>
                </c:pt>
                <c:pt idx="6328">
                  <c:v>17.150535600000001</c:v>
                </c:pt>
                <c:pt idx="6329">
                  <c:v>17.1586113</c:v>
                </c:pt>
                <c:pt idx="6330">
                  <c:v>17.0889168</c:v>
                </c:pt>
                <c:pt idx="6331">
                  <c:v>17.179433800000002</c:v>
                </c:pt>
                <c:pt idx="6332">
                  <c:v>17.4280987</c:v>
                </c:pt>
                <c:pt idx="6333">
                  <c:v>17.5541439</c:v>
                </c:pt>
                <c:pt idx="6334">
                  <c:v>17.563484200000001</c:v>
                </c:pt>
                <c:pt idx="6335">
                  <c:v>17.632560000000002</c:v>
                </c:pt>
                <c:pt idx="6336">
                  <c:v>18.014720000000001</c:v>
                </c:pt>
                <c:pt idx="6337">
                  <c:v>18.354801200000001</c:v>
                </c:pt>
                <c:pt idx="6338">
                  <c:v>18.661586799999998</c:v>
                </c:pt>
                <c:pt idx="6339">
                  <c:v>18.967960000000001</c:v>
                </c:pt>
                <c:pt idx="6340">
                  <c:v>18.887851699999999</c:v>
                </c:pt>
                <c:pt idx="6341">
                  <c:v>19.2040367</c:v>
                </c:pt>
                <c:pt idx="6342">
                  <c:v>19.51961</c:v>
                </c:pt>
                <c:pt idx="6343">
                  <c:v>19.508497200000001</c:v>
                </c:pt>
                <c:pt idx="6344">
                  <c:v>19.451881400000001</c:v>
                </c:pt>
                <c:pt idx="6345">
                  <c:v>19.352241500000002</c:v>
                </c:pt>
                <c:pt idx="6346">
                  <c:v>19.161020000000001</c:v>
                </c:pt>
                <c:pt idx="6347">
                  <c:v>19.137676200000001</c:v>
                </c:pt>
                <c:pt idx="6348">
                  <c:v>19.1940651</c:v>
                </c:pt>
                <c:pt idx="6349">
                  <c:v>19.229736299999999</c:v>
                </c:pt>
                <c:pt idx="6350">
                  <c:v>18.839845700000001</c:v>
                </c:pt>
                <c:pt idx="6351">
                  <c:v>18.838672599999999</c:v>
                </c:pt>
                <c:pt idx="6352">
                  <c:v>18.665138200000001</c:v>
                </c:pt>
                <c:pt idx="6353">
                  <c:v>18.082858999999999</c:v>
                </c:pt>
                <c:pt idx="6354">
                  <c:v>17.863967899999999</c:v>
                </c:pt>
                <c:pt idx="6355">
                  <c:v>17.589235299999999</c:v>
                </c:pt>
                <c:pt idx="6356">
                  <c:v>17.556297300000001</c:v>
                </c:pt>
                <c:pt idx="6357">
                  <c:v>17.449733699999999</c:v>
                </c:pt>
                <c:pt idx="6358">
                  <c:v>17.390417100000001</c:v>
                </c:pt>
                <c:pt idx="6359">
                  <c:v>17.354023000000002</c:v>
                </c:pt>
                <c:pt idx="6360">
                  <c:v>17.278549999999999</c:v>
                </c:pt>
                <c:pt idx="6361">
                  <c:v>17.3869629</c:v>
                </c:pt>
                <c:pt idx="6362">
                  <c:v>17.224876399999999</c:v>
                </c:pt>
                <c:pt idx="6363">
                  <c:v>17.432418800000001</c:v>
                </c:pt>
                <c:pt idx="6364">
                  <c:v>17.558507899999999</c:v>
                </c:pt>
                <c:pt idx="6365">
                  <c:v>17.334491700000001</c:v>
                </c:pt>
                <c:pt idx="6366">
                  <c:v>17.526658999999999</c:v>
                </c:pt>
                <c:pt idx="6367">
                  <c:v>17.809307100000002</c:v>
                </c:pt>
                <c:pt idx="6368">
                  <c:v>17.81737</c:v>
                </c:pt>
                <c:pt idx="6369">
                  <c:v>17.896529999999998</c:v>
                </c:pt>
                <c:pt idx="6370">
                  <c:v>17.874179999999999</c:v>
                </c:pt>
                <c:pt idx="6371">
                  <c:v>17.7055416</c:v>
                </c:pt>
                <c:pt idx="6372">
                  <c:v>17.651155500000002</c:v>
                </c:pt>
                <c:pt idx="6373">
                  <c:v>17.726306900000001</c:v>
                </c:pt>
                <c:pt idx="6374">
                  <c:v>17.802366299999999</c:v>
                </c:pt>
                <c:pt idx="6375">
                  <c:v>17.546859999999999</c:v>
                </c:pt>
                <c:pt idx="6376">
                  <c:v>17.383068099999999</c:v>
                </c:pt>
                <c:pt idx="6377">
                  <c:v>17.2480011</c:v>
                </c:pt>
                <c:pt idx="6378">
                  <c:v>17.0966339</c:v>
                </c:pt>
                <c:pt idx="6379">
                  <c:v>17.223201799999998</c:v>
                </c:pt>
                <c:pt idx="6380">
                  <c:v>17.235060000000001</c:v>
                </c:pt>
                <c:pt idx="6381">
                  <c:v>16.855217</c:v>
                </c:pt>
                <c:pt idx="6382">
                  <c:v>16.671894099999999</c:v>
                </c:pt>
                <c:pt idx="6383">
                  <c:v>16.569330000000001</c:v>
                </c:pt>
                <c:pt idx="6384">
                  <c:v>16.453704800000001</c:v>
                </c:pt>
                <c:pt idx="6385">
                  <c:v>16.320919</c:v>
                </c:pt>
                <c:pt idx="6386">
                  <c:v>15.9499779</c:v>
                </c:pt>
                <c:pt idx="6387">
                  <c:v>15.6626759</c:v>
                </c:pt>
                <c:pt idx="6388">
                  <c:v>15.690154100000001</c:v>
                </c:pt>
                <c:pt idx="6389">
                  <c:v>15.19492</c:v>
                </c:pt>
                <c:pt idx="6390">
                  <c:v>14.643446000000001</c:v>
                </c:pt>
                <c:pt idx="6391">
                  <c:v>14.7017136</c:v>
                </c:pt>
                <c:pt idx="6392">
                  <c:v>14.553724300000001</c:v>
                </c:pt>
                <c:pt idx="6393">
                  <c:v>14.30829</c:v>
                </c:pt>
                <c:pt idx="6394">
                  <c:v>14.1274014</c:v>
                </c:pt>
                <c:pt idx="6395">
                  <c:v>13.8557653</c:v>
                </c:pt>
                <c:pt idx="6396">
                  <c:v>13.6809444</c:v>
                </c:pt>
                <c:pt idx="6397">
                  <c:v>13.8276539</c:v>
                </c:pt>
                <c:pt idx="6398">
                  <c:v>13.8228893</c:v>
                </c:pt>
                <c:pt idx="6399">
                  <c:v>13.828042999999999</c:v>
                </c:pt>
                <c:pt idx="6400">
                  <c:v>13.633735700000001</c:v>
                </c:pt>
                <c:pt idx="6401">
                  <c:v>13.6196775</c:v>
                </c:pt>
                <c:pt idx="6402">
                  <c:v>13.725693700000001</c:v>
                </c:pt>
                <c:pt idx="6403">
                  <c:v>13.597621</c:v>
                </c:pt>
                <c:pt idx="6404">
                  <c:v>13.4788809</c:v>
                </c:pt>
                <c:pt idx="6405">
                  <c:v>13.2982531</c:v>
                </c:pt>
                <c:pt idx="6406">
                  <c:v>13.1457052</c:v>
                </c:pt>
                <c:pt idx="6407">
                  <c:v>13.1442032</c:v>
                </c:pt>
                <c:pt idx="6408">
                  <c:v>13.153841</c:v>
                </c:pt>
                <c:pt idx="6409">
                  <c:v>13.1146975</c:v>
                </c:pt>
                <c:pt idx="6410">
                  <c:v>12.954966499999999</c:v>
                </c:pt>
                <c:pt idx="6411">
                  <c:v>12.8180847</c:v>
                </c:pt>
                <c:pt idx="6412">
                  <c:v>12.820615800000001</c:v>
                </c:pt>
                <c:pt idx="6413">
                  <c:v>12.8380051</c:v>
                </c:pt>
                <c:pt idx="6414">
                  <c:v>12.93736</c:v>
                </c:pt>
                <c:pt idx="6415">
                  <c:v>12.9542131</c:v>
                </c:pt>
                <c:pt idx="6416">
                  <c:v>12.9351082</c:v>
                </c:pt>
                <c:pt idx="6417">
                  <c:v>12.9656734</c:v>
                </c:pt>
                <c:pt idx="6418">
                  <c:v>12.9706993</c:v>
                </c:pt>
                <c:pt idx="6419">
                  <c:v>12.958304399999999</c:v>
                </c:pt>
                <c:pt idx="6420">
                  <c:v>13.21167</c:v>
                </c:pt>
                <c:pt idx="6421">
                  <c:v>13.4062824</c:v>
                </c:pt>
                <c:pt idx="6422">
                  <c:v>13.3848848</c:v>
                </c:pt>
                <c:pt idx="6423">
                  <c:v>13.518993399999999</c:v>
                </c:pt>
                <c:pt idx="6424">
                  <c:v>13.5275249</c:v>
                </c:pt>
                <c:pt idx="6425">
                  <c:v>13.5433111</c:v>
                </c:pt>
                <c:pt idx="6426">
                  <c:v>13.5718956</c:v>
                </c:pt>
                <c:pt idx="6427">
                  <c:v>13.6037731</c:v>
                </c:pt>
                <c:pt idx="6428">
                  <c:v>13.835365299999999</c:v>
                </c:pt>
                <c:pt idx="6429">
                  <c:v>13.769448300000001</c:v>
                </c:pt>
                <c:pt idx="6430">
                  <c:v>13.617530800000001</c:v>
                </c:pt>
                <c:pt idx="6431">
                  <c:v>13.466533699999999</c:v>
                </c:pt>
                <c:pt idx="6432">
                  <c:v>13.37829</c:v>
                </c:pt>
                <c:pt idx="6433">
                  <c:v>13.4461651</c:v>
                </c:pt>
                <c:pt idx="6434">
                  <c:v>13.5585518</c:v>
                </c:pt>
                <c:pt idx="6435">
                  <c:v>13.482366600000001</c:v>
                </c:pt>
                <c:pt idx="6436">
                  <c:v>13.2426672</c:v>
                </c:pt>
                <c:pt idx="6437">
                  <c:v>13.1720095</c:v>
                </c:pt>
                <c:pt idx="6438">
                  <c:v>13.1842766</c:v>
                </c:pt>
                <c:pt idx="6439">
                  <c:v>13.035276400000001</c:v>
                </c:pt>
                <c:pt idx="6440">
                  <c:v>12.9396133</c:v>
                </c:pt>
                <c:pt idx="6441">
                  <c:v>12.859394099999999</c:v>
                </c:pt>
                <c:pt idx="6442">
                  <c:v>12.8763285</c:v>
                </c:pt>
                <c:pt idx="6443">
                  <c:v>13.071696299999999</c:v>
                </c:pt>
                <c:pt idx="6444">
                  <c:v>12.9668884</c:v>
                </c:pt>
                <c:pt idx="6445">
                  <c:v>12.913614300000001</c:v>
                </c:pt>
                <c:pt idx="6446">
                  <c:v>13.152224500000001</c:v>
                </c:pt>
                <c:pt idx="6447">
                  <c:v>13.352275799999999</c:v>
                </c:pt>
                <c:pt idx="6448">
                  <c:v>13.4805508</c:v>
                </c:pt>
                <c:pt idx="6449">
                  <c:v>13.576072699999999</c:v>
                </c:pt>
                <c:pt idx="6450">
                  <c:v>13.609056499999999</c:v>
                </c:pt>
                <c:pt idx="6451">
                  <c:v>13.8716431</c:v>
                </c:pt>
                <c:pt idx="6452">
                  <c:v>13.9795532</c:v>
                </c:pt>
                <c:pt idx="6453">
                  <c:v>14.159890000000001</c:v>
                </c:pt>
                <c:pt idx="6454">
                  <c:v>14.226092299999999</c:v>
                </c:pt>
                <c:pt idx="6455">
                  <c:v>14.387496000000001</c:v>
                </c:pt>
                <c:pt idx="6456">
                  <c:v>14.646143</c:v>
                </c:pt>
                <c:pt idx="6457">
                  <c:v>14.569304499999999</c:v>
                </c:pt>
                <c:pt idx="6458">
                  <c:v>14.714103700000001</c:v>
                </c:pt>
                <c:pt idx="6459">
                  <c:v>14.9701223</c:v>
                </c:pt>
                <c:pt idx="6460">
                  <c:v>15.013287500000001</c:v>
                </c:pt>
                <c:pt idx="6461">
                  <c:v>14.8791885</c:v>
                </c:pt>
                <c:pt idx="6462">
                  <c:v>14.904916800000001</c:v>
                </c:pt>
                <c:pt idx="6463">
                  <c:v>14.8677692</c:v>
                </c:pt>
                <c:pt idx="6464">
                  <c:v>14.793520900000001</c:v>
                </c:pt>
                <c:pt idx="6465">
                  <c:v>14.756554599999999</c:v>
                </c:pt>
                <c:pt idx="6466">
                  <c:v>14.6776743</c:v>
                </c:pt>
                <c:pt idx="6467">
                  <c:v>14.560745199999999</c:v>
                </c:pt>
                <c:pt idx="6468">
                  <c:v>14.552433000000001</c:v>
                </c:pt>
                <c:pt idx="6469">
                  <c:v>14.5261192</c:v>
                </c:pt>
                <c:pt idx="6470">
                  <c:v>14.286208200000001</c:v>
                </c:pt>
                <c:pt idx="6471">
                  <c:v>13.9203472</c:v>
                </c:pt>
                <c:pt idx="6472">
                  <c:v>13.881885499999999</c:v>
                </c:pt>
                <c:pt idx="6473">
                  <c:v>13.796438200000001</c:v>
                </c:pt>
                <c:pt idx="6474">
                  <c:v>13.4435368</c:v>
                </c:pt>
                <c:pt idx="6475">
                  <c:v>13.2617846</c:v>
                </c:pt>
                <c:pt idx="6476">
                  <c:v>13.022652600000001</c:v>
                </c:pt>
                <c:pt idx="6477">
                  <c:v>12.749445</c:v>
                </c:pt>
                <c:pt idx="6478">
                  <c:v>12.584777799999999</c:v>
                </c:pt>
                <c:pt idx="6479">
                  <c:v>12.4062643</c:v>
                </c:pt>
                <c:pt idx="6480">
                  <c:v>12.360578500000001</c:v>
                </c:pt>
                <c:pt idx="6481">
                  <c:v>12.1790237</c:v>
                </c:pt>
                <c:pt idx="6482">
                  <c:v>11.8952045</c:v>
                </c:pt>
                <c:pt idx="6483">
                  <c:v>11.732065199999999</c:v>
                </c:pt>
                <c:pt idx="6484">
                  <c:v>11.493288</c:v>
                </c:pt>
                <c:pt idx="6485">
                  <c:v>11.278862999999999</c:v>
                </c:pt>
                <c:pt idx="6486">
                  <c:v>11.2792625</c:v>
                </c:pt>
                <c:pt idx="6487">
                  <c:v>11.260024100000001</c:v>
                </c:pt>
                <c:pt idx="6488">
                  <c:v>11.039289500000001</c:v>
                </c:pt>
                <c:pt idx="6489">
                  <c:v>10.9149618</c:v>
                </c:pt>
                <c:pt idx="6490">
                  <c:v>10.861179399999999</c:v>
                </c:pt>
                <c:pt idx="6491">
                  <c:v>10.561384199999999</c:v>
                </c:pt>
                <c:pt idx="6492">
                  <c:v>10.1248512</c:v>
                </c:pt>
                <c:pt idx="6493">
                  <c:v>10.077207599999999</c:v>
                </c:pt>
                <c:pt idx="6494">
                  <c:v>10.0900965</c:v>
                </c:pt>
                <c:pt idx="6495">
                  <c:v>10.0206356</c:v>
                </c:pt>
                <c:pt idx="6496">
                  <c:v>9.8369890000000009</c:v>
                </c:pt>
                <c:pt idx="6497">
                  <c:v>9.7388110000000001</c:v>
                </c:pt>
                <c:pt idx="6498">
                  <c:v>9.5535890000000006</c:v>
                </c:pt>
                <c:pt idx="6499">
                  <c:v>9.2554440000000007</c:v>
                </c:pt>
                <c:pt idx="6500">
                  <c:v>9.0098160000000007</c:v>
                </c:pt>
                <c:pt idx="6501">
                  <c:v>8.7945019999999996</c:v>
                </c:pt>
                <c:pt idx="6502">
                  <c:v>8.6485900000000004</c:v>
                </c:pt>
                <c:pt idx="6503">
                  <c:v>8.5499550000000006</c:v>
                </c:pt>
                <c:pt idx="6504">
                  <c:v>8.401707</c:v>
                </c:pt>
                <c:pt idx="6505">
                  <c:v>7.8939009999999996</c:v>
                </c:pt>
                <c:pt idx="6506">
                  <c:v>7.6872910000000001</c:v>
                </c:pt>
                <c:pt idx="6507">
                  <c:v>7.608123</c:v>
                </c:pt>
                <c:pt idx="6508">
                  <c:v>7.2639089999999999</c:v>
                </c:pt>
                <c:pt idx="6509">
                  <c:v>6.9803009999999999</c:v>
                </c:pt>
                <c:pt idx="6510">
                  <c:v>6.9236110000000002</c:v>
                </c:pt>
                <c:pt idx="6511">
                  <c:v>6.8553420000000003</c:v>
                </c:pt>
                <c:pt idx="6512">
                  <c:v>6.378018</c:v>
                </c:pt>
                <c:pt idx="6513">
                  <c:v>5.9531850000000004</c:v>
                </c:pt>
                <c:pt idx="6514">
                  <c:v>5.8802009999999996</c:v>
                </c:pt>
                <c:pt idx="6515">
                  <c:v>5.6519589999999997</c:v>
                </c:pt>
                <c:pt idx="6516">
                  <c:v>5.2090529999999999</c:v>
                </c:pt>
                <c:pt idx="6517">
                  <c:v>4.9169590000000003</c:v>
                </c:pt>
                <c:pt idx="6518">
                  <c:v>4.5526790000000004</c:v>
                </c:pt>
                <c:pt idx="6519">
                  <c:v>4.2231050000000003</c:v>
                </c:pt>
                <c:pt idx="6520">
                  <c:v>4.1729029999999998</c:v>
                </c:pt>
                <c:pt idx="6521">
                  <c:v>3.9408460000000001</c:v>
                </c:pt>
                <c:pt idx="6522">
                  <c:v>3.5532629999999998</c:v>
                </c:pt>
                <c:pt idx="6523">
                  <c:v>3.4177420000000001</c:v>
                </c:pt>
                <c:pt idx="6524">
                  <c:v>3.2734640000000002</c:v>
                </c:pt>
                <c:pt idx="6525">
                  <c:v>3.0723319999999998</c:v>
                </c:pt>
                <c:pt idx="6526">
                  <c:v>2.8353299999999999</c:v>
                </c:pt>
                <c:pt idx="6527">
                  <c:v>2.5861939999999999</c:v>
                </c:pt>
                <c:pt idx="6528">
                  <c:v>2.3891529999999999</c:v>
                </c:pt>
                <c:pt idx="6529">
                  <c:v>2.2266240000000002</c:v>
                </c:pt>
                <c:pt idx="6530">
                  <c:v>2.2139859999999998</c:v>
                </c:pt>
                <c:pt idx="6531">
                  <c:v>1.9482409999999999</c:v>
                </c:pt>
                <c:pt idx="6532">
                  <c:v>1.6204970000000001</c:v>
                </c:pt>
                <c:pt idx="6533">
                  <c:v>1.450626</c:v>
                </c:pt>
                <c:pt idx="6534">
                  <c:v>1.2259359999999999</c:v>
                </c:pt>
                <c:pt idx="6535">
                  <c:v>1.181068</c:v>
                </c:pt>
                <c:pt idx="6536">
                  <c:v>1.024772</c:v>
                </c:pt>
                <c:pt idx="6537">
                  <c:v>0.89435900000000002</c:v>
                </c:pt>
                <c:pt idx="6538">
                  <c:v>0.90826799999999996</c:v>
                </c:pt>
                <c:pt idx="6539">
                  <c:v>0.52940500000000001</c:v>
                </c:pt>
                <c:pt idx="6540">
                  <c:v>0.27967399999999998</c:v>
                </c:pt>
                <c:pt idx="6541">
                  <c:v>0.28595100000000001</c:v>
                </c:pt>
                <c:pt idx="6542">
                  <c:v>9.4350000000000003E-2</c:v>
                </c:pt>
                <c:pt idx="6543">
                  <c:v>-0.12803700000000001</c:v>
                </c:pt>
                <c:pt idx="6544">
                  <c:v>-0.16859499999999999</c:v>
                </c:pt>
                <c:pt idx="6545">
                  <c:v>-0.31562400000000002</c:v>
                </c:pt>
                <c:pt idx="6546">
                  <c:v>-0.716476</c:v>
                </c:pt>
                <c:pt idx="6547">
                  <c:v>-0.922153</c:v>
                </c:pt>
                <c:pt idx="6548">
                  <c:v>-1.1089070000000001</c:v>
                </c:pt>
                <c:pt idx="6549">
                  <c:v>-1.20679</c:v>
                </c:pt>
                <c:pt idx="6550">
                  <c:v>-1.056216</c:v>
                </c:pt>
                <c:pt idx="6551">
                  <c:v>-1.30281</c:v>
                </c:pt>
                <c:pt idx="6552">
                  <c:v>-1.684564</c:v>
                </c:pt>
                <c:pt idx="6553">
                  <c:v>-1.8853690000000001</c:v>
                </c:pt>
                <c:pt idx="6554">
                  <c:v>-2.2743319999999998</c:v>
                </c:pt>
                <c:pt idx="6555">
                  <c:v>-2.7683450000000001</c:v>
                </c:pt>
                <c:pt idx="6556">
                  <c:v>-3.1337619999999999</c:v>
                </c:pt>
                <c:pt idx="6557">
                  <c:v>-3.3721830000000002</c:v>
                </c:pt>
                <c:pt idx="6558">
                  <c:v>-3.7516639999999999</c:v>
                </c:pt>
                <c:pt idx="6559">
                  <c:v>-4.2725020000000002</c:v>
                </c:pt>
                <c:pt idx="6560">
                  <c:v>-4.7483680000000001</c:v>
                </c:pt>
                <c:pt idx="6561">
                  <c:v>-5.0719640000000004</c:v>
                </c:pt>
                <c:pt idx="6562">
                  <c:v>-5.3890289999999998</c:v>
                </c:pt>
                <c:pt idx="6563">
                  <c:v>-5.7623059999999997</c:v>
                </c:pt>
                <c:pt idx="6564">
                  <c:v>-6.0319799999999999</c:v>
                </c:pt>
                <c:pt idx="6565">
                  <c:v>-6.1025150000000004</c:v>
                </c:pt>
                <c:pt idx="6566">
                  <c:v>-5.9870760000000001</c:v>
                </c:pt>
                <c:pt idx="6567">
                  <c:v>-6.019971</c:v>
                </c:pt>
                <c:pt idx="6568">
                  <c:v>-5.833202</c:v>
                </c:pt>
                <c:pt idx="6569">
                  <c:v>-5.58657</c:v>
                </c:pt>
                <c:pt idx="6570">
                  <c:v>-5.5481220000000002</c:v>
                </c:pt>
                <c:pt idx="6571">
                  <c:v>-5.4751849999999997</c:v>
                </c:pt>
                <c:pt idx="6572">
                  <c:v>-5.5842450000000001</c:v>
                </c:pt>
                <c:pt idx="6573">
                  <c:v>-5.6520000000000001</c:v>
                </c:pt>
                <c:pt idx="6574">
                  <c:v>-5.5709010000000001</c:v>
                </c:pt>
                <c:pt idx="6575">
                  <c:v>-5.6800790000000001</c:v>
                </c:pt>
                <c:pt idx="6576">
                  <c:v>-5.7512270000000001</c:v>
                </c:pt>
                <c:pt idx="6577">
                  <c:v>-5.7440410000000002</c:v>
                </c:pt>
                <c:pt idx="6578">
                  <c:v>-5.6889690000000002</c:v>
                </c:pt>
                <c:pt idx="6579">
                  <c:v>-5.6773769999999999</c:v>
                </c:pt>
                <c:pt idx="6580">
                  <c:v>-5.8178429999999999</c:v>
                </c:pt>
                <c:pt idx="6581">
                  <c:v>-5.8408749999999996</c:v>
                </c:pt>
                <c:pt idx="6582">
                  <c:v>-5.8749929999999999</c:v>
                </c:pt>
                <c:pt idx="6583">
                  <c:v>-5.7729559999999998</c:v>
                </c:pt>
                <c:pt idx="6584">
                  <c:v>-5.7367920000000003</c:v>
                </c:pt>
                <c:pt idx="6585">
                  <c:v>-5.8591319999999998</c:v>
                </c:pt>
                <c:pt idx="6586">
                  <c:v>-6.0778160000000003</c:v>
                </c:pt>
                <c:pt idx="6587">
                  <c:v>-6.0076809999999998</c:v>
                </c:pt>
                <c:pt idx="6588">
                  <c:v>-6.0044180000000003</c:v>
                </c:pt>
                <c:pt idx="6589">
                  <c:v>-6.150544</c:v>
                </c:pt>
                <c:pt idx="6590">
                  <c:v>-5.9818049999999996</c:v>
                </c:pt>
                <c:pt idx="6591">
                  <c:v>-5.9770250000000003</c:v>
                </c:pt>
                <c:pt idx="6592">
                  <c:v>-5.982647</c:v>
                </c:pt>
                <c:pt idx="6593">
                  <c:v>-5.7888700000000002</c:v>
                </c:pt>
                <c:pt idx="6594">
                  <c:v>-5.6883439999999998</c:v>
                </c:pt>
                <c:pt idx="6595">
                  <c:v>-5.8999990000000002</c:v>
                </c:pt>
                <c:pt idx="6596">
                  <c:v>-5.9429369999999997</c:v>
                </c:pt>
                <c:pt idx="6597">
                  <c:v>-5.9124109999999996</c:v>
                </c:pt>
                <c:pt idx="6598">
                  <c:v>-5.9718960000000001</c:v>
                </c:pt>
                <c:pt idx="6599">
                  <c:v>-5.8780460000000003</c:v>
                </c:pt>
                <c:pt idx="6600">
                  <c:v>-5.7676049999999996</c:v>
                </c:pt>
                <c:pt idx="6601">
                  <c:v>-5.7773599999999998</c:v>
                </c:pt>
                <c:pt idx="6602">
                  <c:v>-5.7102130000000004</c:v>
                </c:pt>
                <c:pt idx="6603">
                  <c:v>-5.6054789999999999</c:v>
                </c:pt>
                <c:pt idx="6604">
                  <c:v>-5.6094099999999996</c:v>
                </c:pt>
                <c:pt idx="6605">
                  <c:v>-5.6734369999999998</c:v>
                </c:pt>
                <c:pt idx="6606">
                  <c:v>-5.56602</c:v>
                </c:pt>
                <c:pt idx="6607">
                  <c:v>-5.3021310000000001</c:v>
                </c:pt>
                <c:pt idx="6608">
                  <c:v>-5.2825069999999998</c:v>
                </c:pt>
                <c:pt idx="6609">
                  <c:v>-5.1098420000000004</c:v>
                </c:pt>
                <c:pt idx="6610">
                  <c:v>-4.7922029999999998</c:v>
                </c:pt>
                <c:pt idx="6611">
                  <c:v>-4.5134879999999997</c:v>
                </c:pt>
                <c:pt idx="6612">
                  <c:v>-4.3167499999999999</c:v>
                </c:pt>
                <c:pt idx="6613">
                  <c:v>-4.4290799999999999</c:v>
                </c:pt>
                <c:pt idx="6614">
                  <c:v>-4.4421949999999999</c:v>
                </c:pt>
                <c:pt idx="6615">
                  <c:v>-4.1448739999999997</c:v>
                </c:pt>
                <c:pt idx="6616">
                  <c:v>-3.9516849999999999</c:v>
                </c:pt>
                <c:pt idx="6617">
                  <c:v>-3.9375559999999998</c:v>
                </c:pt>
                <c:pt idx="6618">
                  <c:v>-3.8189570000000002</c:v>
                </c:pt>
                <c:pt idx="6619">
                  <c:v>-3.718499</c:v>
                </c:pt>
                <c:pt idx="6620">
                  <c:v>-3.6943489999999999</c:v>
                </c:pt>
                <c:pt idx="6621">
                  <c:v>-3.6479330000000001</c:v>
                </c:pt>
                <c:pt idx="6622">
                  <c:v>-3.5248270000000002</c:v>
                </c:pt>
                <c:pt idx="6623">
                  <c:v>-3.4309319999999999</c:v>
                </c:pt>
                <c:pt idx="6624">
                  <c:v>-3.3481969999999999</c:v>
                </c:pt>
                <c:pt idx="6625">
                  <c:v>-3.2750339999999998</c:v>
                </c:pt>
                <c:pt idx="6626">
                  <c:v>-3.2740119999999999</c:v>
                </c:pt>
                <c:pt idx="6627">
                  <c:v>-3.109782</c:v>
                </c:pt>
                <c:pt idx="6628">
                  <c:v>-2.859048</c:v>
                </c:pt>
                <c:pt idx="6629">
                  <c:v>-2.8948740000000002</c:v>
                </c:pt>
                <c:pt idx="6630">
                  <c:v>-2.943724</c:v>
                </c:pt>
                <c:pt idx="6631">
                  <c:v>-2.741168</c:v>
                </c:pt>
                <c:pt idx="6632">
                  <c:v>-2.6070669999999998</c:v>
                </c:pt>
                <c:pt idx="6633">
                  <c:v>-2.638992</c:v>
                </c:pt>
                <c:pt idx="6634">
                  <c:v>-2.6261779999999999</c:v>
                </c:pt>
                <c:pt idx="6635">
                  <c:v>-2.321631</c:v>
                </c:pt>
                <c:pt idx="6636">
                  <c:v>-2.1311390000000001</c:v>
                </c:pt>
                <c:pt idx="6637">
                  <c:v>-2.1200369999999999</c:v>
                </c:pt>
                <c:pt idx="6638">
                  <c:v>-2.00685</c:v>
                </c:pt>
                <c:pt idx="6639">
                  <c:v>-1.978402</c:v>
                </c:pt>
                <c:pt idx="6640">
                  <c:v>-1.9276310000000001</c:v>
                </c:pt>
                <c:pt idx="6641">
                  <c:v>-1.8026120000000001</c:v>
                </c:pt>
                <c:pt idx="6642">
                  <c:v>-1.565688</c:v>
                </c:pt>
                <c:pt idx="6643">
                  <c:v>-1.5410539999999999</c:v>
                </c:pt>
                <c:pt idx="6644">
                  <c:v>-1.4821899999999999</c:v>
                </c:pt>
                <c:pt idx="6645">
                  <c:v>-1.214566</c:v>
                </c:pt>
                <c:pt idx="6646">
                  <c:v>-1.09677</c:v>
                </c:pt>
                <c:pt idx="6647">
                  <c:v>-0.91789600000000005</c:v>
                </c:pt>
                <c:pt idx="6648">
                  <c:v>-0.77483400000000002</c:v>
                </c:pt>
                <c:pt idx="6649">
                  <c:v>-0.78442100000000003</c:v>
                </c:pt>
                <c:pt idx="6650">
                  <c:v>-0.53591699999999998</c:v>
                </c:pt>
                <c:pt idx="6651">
                  <c:v>-0.29304000000000002</c:v>
                </c:pt>
                <c:pt idx="6652">
                  <c:v>-0.30996400000000002</c:v>
                </c:pt>
                <c:pt idx="6653">
                  <c:v>-0.19907</c:v>
                </c:pt>
                <c:pt idx="6654">
                  <c:v>-0.16503499999999999</c:v>
                </c:pt>
                <c:pt idx="6655">
                  <c:v>-0.17152600000000001</c:v>
                </c:pt>
                <c:pt idx="6656">
                  <c:v>6.5249000000000001E-2</c:v>
                </c:pt>
                <c:pt idx="6657">
                  <c:v>0.36607699999999999</c:v>
                </c:pt>
                <c:pt idx="6658">
                  <c:v>0.50987400000000005</c:v>
                </c:pt>
                <c:pt idx="6659">
                  <c:v>0.43742500000000001</c:v>
                </c:pt>
                <c:pt idx="6660">
                  <c:v>0.44810299999999997</c:v>
                </c:pt>
                <c:pt idx="6661">
                  <c:v>0.486516</c:v>
                </c:pt>
                <c:pt idx="6662">
                  <c:v>0.61105600000000004</c:v>
                </c:pt>
                <c:pt idx="6663">
                  <c:v>0.705426</c:v>
                </c:pt>
                <c:pt idx="6664">
                  <c:v>0.51804099999999997</c:v>
                </c:pt>
                <c:pt idx="6665">
                  <c:v>0.51022100000000004</c:v>
                </c:pt>
                <c:pt idx="6666">
                  <c:v>0.51522400000000002</c:v>
                </c:pt>
                <c:pt idx="6667">
                  <c:v>0.60108399999999995</c:v>
                </c:pt>
                <c:pt idx="6668">
                  <c:v>0.79408599999999996</c:v>
                </c:pt>
                <c:pt idx="6669">
                  <c:v>0.71390600000000004</c:v>
                </c:pt>
                <c:pt idx="6670">
                  <c:v>0.76362099999999999</c:v>
                </c:pt>
                <c:pt idx="6671">
                  <c:v>0.73289800000000005</c:v>
                </c:pt>
                <c:pt idx="6672">
                  <c:v>0.52899799999999997</c:v>
                </c:pt>
                <c:pt idx="6673">
                  <c:v>0.48863299999999998</c:v>
                </c:pt>
                <c:pt idx="6674">
                  <c:v>0.53051999999999999</c:v>
                </c:pt>
                <c:pt idx="6675">
                  <c:v>0.61753499999999995</c:v>
                </c:pt>
                <c:pt idx="6676">
                  <c:v>0.66755100000000001</c:v>
                </c:pt>
                <c:pt idx="6677">
                  <c:v>0.70236299999999996</c:v>
                </c:pt>
                <c:pt idx="6678">
                  <c:v>0.52305100000000004</c:v>
                </c:pt>
                <c:pt idx="6679">
                  <c:v>0.43281700000000001</c:v>
                </c:pt>
                <c:pt idx="6680">
                  <c:v>0.64902099999999996</c:v>
                </c:pt>
                <c:pt idx="6681">
                  <c:v>0.62683900000000004</c:v>
                </c:pt>
                <c:pt idx="6682">
                  <c:v>0.48832100000000001</c:v>
                </c:pt>
                <c:pt idx="6683">
                  <c:v>0.41146199999999999</c:v>
                </c:pt>
                <c:pt idx="6684">
                  <c:v>0.43360399999999999</c:v>
                </c:pt>
                <c:pt idx="6685">
                  <c:v>0.29699999999999999</c:v>
                </c:pt>
                <c:pt idx="6686">
                  <c:v>0.28903800000000002</c:v>
                </c:pt>
                <c:pt idx="6687">
                  <c:v>0.333868</c:v>
                </c:pt>
                <c:pt idx="6688">
                  <c:v>0.21862999999999999</c:v>
                </c:pt>
                <c:pt idx="6689">
                  <c:v>-6.3894000000000006E-2</c:v>
                </c:pt>
                <c:pt idx="6690">
                  <c:v>-9.2175999999999994E-2</c:v>
                </c:pt>
                <c:pt idx="6691">
                  <c:v>0.13104199999999999</c:v>
                </c:pt>
                <c:pt idx="6692">
                  <c:v>3.6039000000000002E-2</c:v>
                </c:pt>
                <c:pt idx="6693">
                  <c:v>4.7053999999999999E-2</c:v>
                </c:pt>
                <c:pt idx="6694">
                  <c:v>-2.5541000000000001E-2</c:v>
                </c:pt>
                <c:pt idx="6695">
                  <c:v>-0.139294</c:v>
                </c:pt>
                <c:pt idx="6696">
                  <c:v>-0.14662</c:v>
                </c:pt>
                <c:pt idx="6697">
                  <c:v>-0.30344500000000002</c:v>
                </c:pt>
                <c:pt idx="6698">
                  <c:v>-0.40293400000000001</c:v>
                </c:pt>
                <c:pt idx="6699">
                  <c:v>-0.413798</c:v>
                </c:pt>
                <c:pt idx="6700">
                  <c:v>-0.43970599999999999</c:v>
                </c:pt>
                <c:pt idx="6701">
                  <c:v>-0.40451199999999998</c:v>
                </c:pt>
                <c:pt idx="6702">
                  <c:v>-0.39926800000000001</c:v>
                </c:pt>
                <c:pt idx="6703">
                  <c:v>-0.40589900000000001</c:v>
                </c:pt>
                <c:pt idx="6704">
                  <c:v>-0.41694399999999998</c:v>
                </c:pt>
                <c:pt idx="6705">
                  <c:v>-0.429338</c:v>
                </c:pt>
                <c:pt idx="6706">
                  <c:v>-0.37251800000000002</c:v>
                </c:pt>
                <c:pt idx="6707">
                  <c:v>-0.41512900000000003</c:v>
                </c:pt>
                <c:pt idx="6708">
                  <c:v>-0.43668499999999999</c:v>
                </c:pt>
                <c:pt idx="6709">
                  <c:v>-0.45509699999999997</c:v>
                </c:pt>
                <c:pt idx="6710">
                  <c:v>-0.46582600000000002</c:v>
                </c:pt>
                <c:pt idx="6711">
                  <c:v>-0.40967500000000001</c:v>
                </c:pt>
                <c:pt idx="6712">
                  <c:v>-0.51732699999999998</c:v>
                </c:pt>
                <c:pt idx="6713">
                  <c:v>-0.50811899999999999</c:v>
                </c:pt>
                <c:pt idx="6714">
                  <c:v>-0.51199700000000004</c:v>
                </c:pt>
                <c:pt idx="6715">
                  <c:v>-0.65363099999999996</c:v>
                </c:pt>
                <c:pt idx="6716">
                  <c:v>-0.80890700000000004</c:v>
                </c:pt>
                <c:pt idx="6717">
                  <c:v>-0.84025300000000003</c:v>
                </c:pt>
                <c:pt idx="6718">
                  <c:v>-0.81179100000000004</c:v>
                </c:pt>
                <c:pt idx="6719">
                  <c:v>-0.81086100000000005</c:v>
                </c:pt>
                <c:pt idx="6720">
                  <c:v>-0.82384299999999999</c:v>
                </c:pt>
                <c:pt idx="6721">
                  <c:v>-0.90844199999999997</c:v>
                </c:pt>
                <c:pt idx="6722">
                  <c:v>-1.0353559999999999</c:v>
                </c:pt>
                <c:pt idx="6723">
                  <c:v>-1.0504579999999999</c:v>
                </c:pt>
                <c:pt idx="6724">
                  <c:v>-1.0803119999999999</c:v>
                </c:pt>
                <c:pt idx="6725">
                  <c:v>-1.1095790000000001</c:v>
                </c:pt>
                <c:pt idx="6726">
                  <c:v>-1.2132419999999999</c:v>
                </c:pt>
                <c:pt idx="6727">
                  <c:v>-1.281873</c:v>
                </c:pt>
                <c:pt idx="6728">
                  <c:v>-1.1360479999999999</c:v>
                </c:pt>
                <c:pt idx="6729">
                  <c:v>-1.1384399999999999</c:v>
                </c:pt>
                <c:pt idx="6730">
                  <c:v>-1.351218</c:v>
                </c:pt>
                <c:pt idx="6731">
                  <c:v>-1.40703</c:v>
                </c:pt>
                <c:pt idx="6732">
                  <c:v>-1.531067</c:v>
                </c:pt>
                <c:pt idx="6733">
                  <c:v>-1.406382</c:v>
                </c:pt>
                <c:pt idx="6734">
                  <c:v>-1.297825</c:v>
                </c:pt>
                <c:pt idx="6735">
                  <c:v>-1.442186</c:v>
                </c:pt>
                <c:pt idx="6736">
                  <c:v>-1.3934200000000001</c:v>
                </c:pt>
                <c:pt idx="6737">
                  <c:v>-1.511989</c:v>
                </c:pt>
                <c:pt idx="6738">
                  <c:v>-1.653799</c:v>
                </c:pt>
                <c:pt idx="6739">
                  <c:v>-1.678982</c:v>
                </c:pt>
                <c:pt idx="6740">
                  <c:v>-1.6446959999999999</c:v>
                </c:pt>
                <c:pt idx="6741">
                  <c:v>-1.572063</c:v>
                </c:pt>
                <c:pt idx="6742">
                  <c:v>-1.750505</c:v>
                </c:pt>
                <c:pt idx="6743">
                  <c:v>-1.7831669999999999</c:v>
                </c:pt>
                <c:pt idx="6744">
                  <c:v>-1.687041</c:v>
                </c:pt>
                <c:pt idx="6745">
                  <c:v>-1.7098059999999999</c:v>
                </c:pt>
                <c:pt idx="6746">
                  <c:v>-1.7318439999999999</c:v>
                </c:pt>
                <c:pt idx="6747">
                  <c:v>-1.816767</c:v>
                </c:pt>
                <c:pt idx="6748">
                  <c:v>-1.8050630000000001</c:v>
                </c:pt>
                <c:pt idx="6749">
                  <c:v>-1.8090489999999999</c:v>
                </c:pt>
                <c:pt idx="6750">
                  <c:v>-1.750124</c:v>
                </c:pt>
                <c:pt idx="6751">
                  <c:v>-1.862897</c:v>
                </c:pt>
                <c:pt idx="6752">
                  <c:v>-1.856341</c:v>
                </c:pt>
                <c:pt idx="6753">
                  <c:v>-1.5215019999999999</c:v>
                </c:pt>
                <c:pt idx="6754">
                  <c:v>-1.5426679999999999</c:v>
                </c:pt>
                <c:pt idx="6755">
                  <c:v>-1.740445</c:v>
                </c:pt>
                <c:pt idx="6756">
                  <c:v>-1.7076769999999999</c:v>
                </c:pt>
                <c:pt idx="6757">
                  <c:v>-1.6249610000000001</c:v>
                </c:pt>
                <c:pt idx="6758">
                  <c:v>-1.5086869999999999</c:v>
                </c:pt>
                <c:pt idx="6759">
                  <c:v>-1.5076430000000001</c:v>
                </c:pt>
                <c:pt idx="6760">
                  <c:v>-1.3544369999999999</c:v>
                </c:pt>
                <c:pt idx="6761">
                  <c:v>-1.40178</c:v>
                </c:pt>
                <c:pt idx="6762">
                  <c:v>-1.541668</c:v>
                </c:pt>
                <c:pt idx="6763">
                  <c:v>-1.481222</c:v>
                </c:pt>
                <c:pt idx="6764">
                  <c:v>-1.513204</c:v>
                </c:pt>
                <c:pt idx="6765">
                  <c:v>-1.2534099999999999</c:v>
                </c:pt>
                <c:pt idx="6766">
                  <c:v>-1.2452909999999999</c:v>
                </c:pt>
                <c:pt idx="6767">
                  <c:v>-1.2155560000000001</c:v>
                </c:pt>
                <c:pt idx="6768">
                  <c:v>-1.0539270000000001</c:v>
                </c:pt>
                <c:pt idx="6769">
                  <c:v>-1.011118</c:v>
                </c:pt>
                <c:pt idx="6770">
                  <c:v>-0.96870500000000004</c:v>
                </c:pt>
                <c:pt idx="6771">
                  <c:v>-1.1293660000000001</c:v>
                </c:pt>
                <c:pt idx="6772">
                  <c:v>-1.134069</c:v>
                </c:pt>
                <c:pt idx="6773">
                  <c:v>-0.92814700000000006</c:v>
                </c:pt>
                <c:pt idx="6774">
                  <c:v>-0.87607000000000002</c:v>
                </c:pt>
                <c:pt idx="6775">
                  <c:v>-0.82676099999999997</c:v>
                </c:pt>
                <c:pt idx="6776">
                  <c:v>-0.78539700000000001</c:v>
                </c:pt>
                <c:pt idx="6777">
                  <c:v>-0.81141600000000003</c:v>
                </c:pt>
                <c:pt idx="6778">
                  <c:v>-0.67421500000000001</c:v>
                </c:pt>
                <c:pt idx="6779">
                  <c:v>-0.58515499999999998</c:v>
                </c:pt>
                <c:pt idx="6780">
                  <c:v>-0.375471</c:v>
                </c:pt>
                <c:pt idx="6781">
                  <c:v>-0.30758000000000002</c:v>
                </c:pt>
                <c:pt idx="6782">
                  <c:v>-0.37057099999999998</c:v>
                </c:pt>
                <c:pt idx="6783">
                  <c:v>-0.38257200000000002</c:v>
                </c:pt>
                <c:pt idx="6784">
                  <c:v>-0.29856300000000002</c:v>
                </c:pt>
                <c:pt idx="6785">
                  <c:v>-0.24039199999999999</c:v>
                </c:pt>
                <c:pt idx="6786">
                  <c:v>-0.392646</c:v>
                </c:pt>
                <c:pt idx="6787">
                  <c:v>-0.256166</c:v>
                </c:pt>
                <c:pt idx="6788">
                  <c:v>-3.8646E-2</c:v>
                </c:pt>
                <c:pt idx="6789">
                  <c:v>-3.635E-2</c:v>
                </c:pt>
                <c:pt idx="6790">
                  <c:v>-0.14783299999999999</c:v>
                </c:pt>
                <c:pt idx="6791">
                  <c:v>-5.2970999999999997E-2</c:v>
                </c:pt>
                <c:pt idx="6792">
                  <c:v>7.5448000000000001E-2</c:v>
                </c:pt>
                <c:pt idx="6793">
                  <c:v>0.23627000000000001</c:v>
                </c:pt>
                <c:pt idx="6794">
                  <c:v>0.27505600000000002</c:v>
                </c:pt>
                <c:pt idx="6795">
                  <c:v>0.26091399999999998</c:v>
                </c:pt>
                <c:pt idx="6796">
                  <c:v>0.340582</c:v>
                </c:pt>
                <c:pt idx="6797">
                  <c:v>0.26985300000000001</c:v>
                </c:pt>
                <c:pt idx="6798">
                  <c:v>0.179204</c:v>
                </c:pt>
                <c:pt idx="6799">
                  <c:v>0.27820800000000001</c:v>
                </c:pt>
                <c:pt idx="6800">
                  <c:v>0.47340100000000002</c:v>
                </c:pt>
                <c:pt idx="6801">
                  <c:v>0.390685</c:v>
                </c:pt>
                <c:pt idx="6802">
                  <c:v>0.22778000000000001</c:v>
                </c:pt>
                <c:pt idx="6803">
                  <c:v>0.352159</c:v>
                </c:pt>
                <c:pt idx="6804">
                  <c:v>0.488066</c:v>
                </c:pt>
                <c:pt idx="6805">
                  <c:v>0.50887199999999999</c:v>
                </c:pt>
                <c:pt idx="6806">
                  <c:v>0.53453600000000001</c:v>
                </c:pt>
                <c:pt idx="6807">
                  <c:v>0.42630400000000002</c:v>
                </c:pt>
                <c:pt idx="6808">
                  <c:v>0.65505800000000003</c:v>
                </c:pt>
                <c:pt idx="6809">
                  <c:v>0.71473500000000001</c:v>
                </c:pt>
                <c:pt idx="6810">
                  <c:v>0.56958900000000001</c:v>
                </c:pt>
                <c:pt idx="6811">
                  <c:v>0.84526199999999996</c:v>
                </c:pt>
                <c:pt idx="6812">
                  <c:v>0.93940800000000002</c:v>
                </c:pt>
                <c:pt idx="6813">
                  <c:v>0.95288799999999996</c:v>
                </c:pt>
                <c:pt idx="6814">
                  <c:v>1.120906</c:v>
                </c:pt>
                <c:pt idx="6815">
                  <c:v>1.309326</c:v>
                </c:pt>
                <c:pt idx="6816">
                  <c:v>1.3764369999999999</c:v>
                </c:pt>
                <c:pt idx="6817">
                  <c:v>1.523285</c:v>
                </c:pt>
                <c:pt idx="6818">
                  <c:v>1.7755019999999999</c:v>
                </c:pt>
                <c:pt idx="6819">
                  <c:v>1.683241</c:v>
                </c:pt>
                <c:pt idx="6820">
                  <c:v>1.680069</c:v>
                </c:pt>
                <c:pt idx="6821">
                  <c:v>2.0509309999999998</c:v>
                </c:pt>
                <c:pt idx="6822">
                  <c:v>2.1505519999999998</c:v>
                </c:pt>
                <c:pt idx="6823">
                  <c:v>1.913338</c:v>
                </c:pt>
                <c:pt idx="6824">
                  <c:v>1.8885890000000001</c:v>
                </c:pt>
                <c:pt idx="6825">
                  <c:v>2.0288200000000001</c:v>
                </c:pt>
                <c:pt idx="6826">
                  <c:v>1.986456</c:v>
                </c:pt>
                <c:pt idx="6827">
                  <c:v>2.05558</c:v>
                </c:pt>
                <c:pt idx="6828">
                  <c:v>1.967217</c:v>
                </c:pt>
                <c:pt idx="6829">
                  <c:v>1.871513</c:v>
                </c:pt>
                <c:pt idx="6830">
                  <c:v>2.0255200000000002</c:v>
                </c:pt>
                <c:pt idx="6831">
                  <c:v>2.0488930000000001</c:v>
                </c:pt>
                <c:pt idx="6832">
                  <c:v>2.1434169999999999</c:v>
                </c:pt>
                <c:pt idx="6833">
                  <c:v>2.1390020000000001</c:v>
                </c:pt>
                <c:pt idx="6834">
                  <c:v>2.155554</c:v>
                </c:pt>
                <c:pt idx="6835">
                  <c:v>2.3135669999999999</c:v>
                </c:pt>
                <c:pt idx="6836">
                  <c:v>2.3485429999999998</c:v>
                </c:pt>
                <c:pt idx="6837">
                  <c:v>2.2524989999999998</c:v>
                </c:pt>
                <c:pt idx="6838">
                  <c:v>2.2867190000000002</c:v>
                </c:pt>
                <c:pt idx="6839">
                  <c:v>2.3132419999999998</c:v>
                </c:pt>
                <c:pt idx="6840">
                  <c:v>2.2734000000000001</c:v>
                </c:pt>
                <c:pt idx="6841">
                  <c:v>2.328754</c:v>
                </c:pt>
                <c:pt idx="6842">
                  <c:v>2.4371529999999999</c:v>
                </c:pt>
                <c:pt idx="6843">
                  <c:v>2.3697879999999998</c:v>
                </c:pt>
                <c:pt idx="6844">
                  <c:v>2.2121460000000002</c:v>
                </c:pt>
                <c:pt idx="6845">
                  <c:v>2.3350170000000001</c:v>
                </c:pt>
                <c:pt idx="6846">
                  <c:v>2.4006769999999999</c:v>
                </c:pt>
                <c:pt idx="6847">
                  <c:v>2.2407219999999999</c:v>
                </c:pt>
                <c:pt idx="6848">
                  <c:v>2.29765</c:v>
                </c:pt>
                <c:pt idx="6849">
                  <c:v>2.324176</c:v>
                </c:pt>
                <c:pt idx="6850">
                  <c:v>2.2781440000000002</c:v>
                </c:pt>
                <c:pt idx="6851">
                  <c:v>2.25264</c:v>
                </c:pt>
                <c:pt idx="6852">
                  <c:v>2.3116629999999998</c:v>
                </c:pt>
                <c:pt idx="6853">
                  <c:v>2.4104860000000001</c:v>
                </c:pt>
                <c:pt idx="6854">
                  <c:v>2.4065129999999999</c:v>
                </c:pt>
                <c:pt idx="6855">
                  <c:v>2.3437399999999999</c:v>
                </c:pt>
                <c:pt idx="6856">
                  <c:v>2.3190909999999998</c:v>
                </c:pt>
                <c:pt idx="6857">
                  <c:v>2.4435069999999999</c:v>
                </c:pt>
                <c:pt idx="6858">
                  <c:v>2.4485109999999999</c:v>
                </c:pt>
                <c:pt idx="6859">
                  <c:v>2.3244470000000002</c:v>
                </c:pt>
                <c:pt idx="6860">
                  <c:v>2.1932529999999999</c:v>
                </c:pt>
                <c:pt idx="6861">
                  <c:v>2.3935529999999998</c:v>
                </c:pt>
                <c:pt idx="6862">
                  <c:v>2.2876439999999998</c:v>
                </c:pt>
                <c:pt idx="6863">
                  <c:v>1.9669730000000001</c:v>
                </c:pt>
                <c:pt idx="6864">
                  <c:v>2.120698</c:v>
                </c:pt>
                <c:pt idx="6865">
                  <c:v>2.2554989999999999</c:v>
                </c:pt>
                <c:pt idx="6866">
                  <c:v>2.1909239999999999</c:v>
                </c:pt>
                <c:pt idx="6867">
                  <c:v>1.8818680000000001</c:v>
                </c:pt>
                <c:pt idx="6868">
                  <c:v>1.706126</c:v>
                </c:pt>
                <c:pt idx="6869">
                  <c:v>1.7867679999999999</c:v>
                </c:pt>
                <c:pt idx="6870">
                  <c:v>1.737716</c:v>
                </c:pt>
                <c:pt idx="6871">
                  <c:v>1.6949939999999999</c:v>
                </c:pt>
                <c:pt idx="6872">
                  <c:v>1.7917050000000001</c:v>
                </c:pt>
                <c:pt idx="6873">
                  <c:v>1.831847</c:v>
                </c:pt>
                <c:pt idx="6874">
                  <c:v>1.713214</c:v>
                </c:pt>
                <c:pt idx="6875">
                  <c:v>1.7138519999999999</c:v>
                </c:pt>
                <c:pt idx="6876">
                  <c:v>1.7720290000000001</c:v>
                </c:pt>
                <c:pt idx="6877">
                  <c:v>1.8707260000000001</c:v>
                </c:pt>
                <c:pt idx="6878">
                  <c:v>1.7855460000000001</c:v>
                </c:pt>
                <c:pt idx="6879">
                  <c:v>1.7484200000000001</c:v>
                </c:pt>
                <c:pt idx="6880">
                  <c:v>1.6504760000000001</c:v>
                </c:pt>
                <c:pt idx="6881">
                  <c:v>1.668401</c:v>
                </c:pt>
                <c:pt idx="6882">
                  <c:v>1.86897</c:v>
                </c:pt>
                <c:pt idx="6883">
                  <c:v>1.639405</c:v>
                </c:pt>
                <c:pt idx="6884">
                  <c:v>1.4487589999999999</c:v>
                </c:pt>
                <c:pt idx="6885">
                  <c:v>1.3980330000000001</c:v>
                </c:pt>
                <c:pt idx="6886">
                  <c:v>1.281304</c:v>
                </c:pt>
                <c:pt idx="6887">
                  <c:v>1.1975659999999999</c:v>
                </c:pt>
                <c:pt idx="6888">
                  <c:v>1.2645690000000001</c:v>
                </c:pt>
                <c:pt idx="6889">
                  <c:v>1.2799370000000001</c:v>
                </c:pt>
                <c:pt idx="6890">
                  <c:v>1.1388100000000001</c:v>
                </c:pt>
                <c:pt idx="6891">
                  <c:v>1.1181209999999999</c:v>
                </c:pt>
                <c:pt idx="6892">
                  <c:v>1.1556679999999999</c:v>
                </c:pt>
                <c:pt idx="6893">
                  <c:v>0.95696300000000001</c:v>
                </c:pt>
                <c:pt idx="6894">
                  <c:v>0.90474900000000003</c:v>
                </c:pt>
                <c:pt idx="6895">
                  <c:v>1.0574600000000001</c:v>
                </c:pt>
                <c:pt idx="6896">
                  <c:v>0.98880000000000001</c:v>
                </c:pt>
                <c:pt idx="6897">
                  <c:v>0.80809299999999995</c:v>
                </c:pt>
                <c:pt idx="6898">
                  <c:v>0.76335500000000001</c:v>
                </c:pt>
                <c:pt idx="6899">
                  <c:v>0.71707600000000005</c:v>
                </c:pt>
                <c:pt idx="6900">
                  <c:v>0.60474099999999997</c:v>
                </c:pt>
                <c:pt idx="6901">
                  <c:v>0.66075499999999998</c:v>
                </c:pt>
                <c:pt idx="6902">
                  <c:v>0.66926099999999999</c:v>
                </c:pt>
                <c:pt idx="6903">
                  <c:v>0.66444499999999995</c:v>
                </c:pt>
                <c:pt idx="6904">
                  <c:v>0.78709799999999996</c:v>
                </c:pt>
                <c:pt idx="6905">
                  <c:v>0.57317200000000001</c:v>
                </c:pt>
                <c:pt idx="6906">
                  <c:v>0.31761899999999998</c:v>
                </c:pt>
                <c:pt idx="6907">
                  <c:v>0.36033100000000001</c:v>
                </c:pt>
                <c:pt idx="6908">
                  <c:v>0.42605700000000002</c:v>
                </c:pt>
                <c:pt idx="6909">
                  <c:v>0.30703200000000003</c:v>
                </c:pt>
                <c:pt idx="6910">
                  <c:v>0.16075800000000001</c:v>
                </c:pt>
                <c:pt idx="6911">
                  <c:v>0.265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A0-4AB6-B7BD-A33636F72C0F}"/>
            </c:ext>
          </c:extLst>
        </c:ser>
        <c:ser>
          <c:idx val="1"/>
          <c:order val="1"/>
          <c:tx>
            <c:strRef>
              <c:f>Data!$C$2</c:f>
              <c:strCache>
                <c:ptCount val="1"/>
                <c:pt idx="0">
                  <c:v>Torque Predi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Data!$C$3:$C$6914</c:f>
              <c:numCache>
                <c:formatCode>General</c:formatCode>
                <c:ptCount val="69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-7.4714000000000003E-2</c:v>
                </c:pt>
                <c:pt idx="232">
                  <c:v>-7.4714000000000003E-2</c:v>
                </c:pt>
                <c:pt idx="233">
                  <c:v>-7.4714000000000003E-2</c:v>
                </c:pt>
                <c:pt idx="234">
                  <c:v>-7.4714000000000003E-2</c:v>
                </c:pt>
                <c:pt idx="235">
                  <c:v>-7.4714000000000003E-2</c:v>
                </c:pt>
                <c:pt idx="236">
                  <c:v>-7.4714000000000003E-2</c:v>
                </c:pt>
                <c:pt idx="237">
                  <c:v>-0.267515</c:v>
                </c:pt>
                <c:pt idx="238">
                  <c:v>-0.267515</c:v>
                </c:pt>
                <c:pt idx="239">
                  <c:v>-0.267515</c:v>
                </c:pt>
                <c:pt idx="240">
                  <c:v>-0.267515</c:v>
                </c:pt>
                <c:pt idx="241">
                  <c:v>-0.267515</c:v>
                </c:pt>
                <c:pt idx="242">
                  <c:v>-0.267515</c:v>
                </c:pt>
                <c:pt idx="243">
                  <c:v>-0.59949200000000002</c:v>
                </c:pt>
                <c:pt idx="244">
                  <c:v>-0.59949200000000002</c:v>
                </c:pt>
                <c:pt idx="245">
                  <c:v>-0.59949200000000002</c:v>
                </c:pt>
                <c:pt idx="246">
                  <c:v>-0.59949200000000002</c:v>
                </c:pt>
                <c:pt idx="247">
                  <c:v>-0.59949200000000002</c:v>
                </c:pt>
                <c:pt idx="248">
                  <c:v>-0.87341050000000009</c:v>
                </c:pt>
                <c:pt idx="249">
                  <c:v>-1.147329</c:v>
                </c:pt>
                <c:pt idx="250">
                  <c:v>-1.147329</c:v>
                </c:pt>
                <c:pt idx="251">
                  <c:v>-1.147329</c:v>
                </c:pt>
                <c:pt idx="252">
                  <c:v>-1.147329</c:v>
                </c:pt>
                <c:pt idx="253">
                  <c:v>-1.147329</c:v>
                </c:pt>
                <c:pt idx="254">
                  <c:v>-1.906512</c:v>
                </c:pt>
                <c:pt idx="255">
                  <c:v>-1.906512</c:v>
                </c:pt>
                <c:pt idx="256">
                  <c:v>-1.906512</c:v>
                </c:pt>
                <c:pt idx="257">
                  <c:v>-1.906512</c:v>
                </c:pt>
                <c:pt idx="258">
                  <c:v>-1.906512</c:v>
                </c:pt>
                <c:pt idx="259">
                  <c:v>-1.906512</c:v>
                </c:pt>
                <c:pt idx="260">
                  <c:v>-2.962459</c:v>
                </c:pt>
                <c:pt idx="261">
                  <c:v>-2.962459</c:v>
                </c:pt>
                <c:pt idx="262">
                  <c:v>-2.962459</c:v>
                </c:pt>
                <c:pt idx="263">
                  <c:v>-2.962459</c:v>
                </c:pt>
                <c:pt idx="264">
                  <c:v>-2.962459</c:v>
                </c:pt>
                <c:pt idx="265">
                  <c:v>-2.962459</c:v>
                </c:pt>
                <c:pt idx="266">
                  <c:v>-4.2368949999999996</c:v>
                </c:pt>
                <c:pt idx="267">
                  <c:v>-4.2368949999999996</c:v>
                </c:pt>
                <c:pt idx="268">
                  <c:v>-4.2368949999999996</c:v>
                </c:pt>
                <c:pt idx="269">
                  <c:v>-4.2368949999999996</c:v>
                </c:pt>
                <c:pt idx="270">
                  <c:v>-4.2368949999999996</c:v>
                </c:pt>
                <c:pt idx="271">
                  <c:v>-4.2368949999999996</c:v>
                </c:pt>
                <c:pt idx="272">
                  <c:v>-5.7663950000000002</c:v>
                </c:pt>
                <c:pt idx="273">
                  <c:v>-5.7663950000000002</c:v>
                </c:pt>
                <c:pt idx="274">
                  <c:v>-5.7663950000000002</c:v>
                </c:pt>
                <c:pt idx="275">
                  <c:v>-5.7663950000000002</c:v>
                </c:pt>
                <c:pt idx="276">
                  <c:v>-5.7663950000000002</c:v>
                </c:pt>
                <c:pt idx="277">
                  <c:v>-6.6663025000000005</c:v>
                </c:pt>
                <c:pt idx="278">
                  <c:v>-7.5662099999999999</c:v>
                </c:pt>
                <c:pt idx="279">
                  <c:v>-7.5662099999999999</c:v>
                </c:pt>
                <c:pt idx="280">
                  <c:v>-7.5662099999999999</c:v>
                </c:pt>
                <c:pt idx="281">
                  <c:v>-7.5662099999999999</c:v>
                </c:pt>
                <c:pt idx="282">
                  <c:v>-7.5662099999999999</c:v>
                </c:pt>
                <c:pt idx="283">
                  <c:v>-9.5333810000000003</c:v>
                </c:pt>
                <c:pt idx="284">
                  <c:v>-9.5333810000000003</c:v>
                </c:pt>
                <c:pt idx="285">
                  <c:v>-9.5333810000000003</c:v>
                </c:pt>
                <c:pt idx="286">
                  <c:v>-9.5333810000000003</c:v>
                </c:pt>
                <c:pt idx="287">
                  <c:v>-9.5333810000000003</c:v>
                </c:pt>
                <c:pt idx="288">
                  <c:v>-9.5333810000000003</c:v>
                </c:pt>
                <c:pt idx="289">
                  <c:v>-11.694032699999999</c:v>
                </c:pt>
                <c:pt idx="290">
                  <c:v>-11.694032699999999</c:v>
                </c:pt>
                <c:pt idx="291">
                  <c:v>-11.694032699999999</c:v>
                </c:pt>
                <c:pt idx="292">
                  <c:v>-11.694032699999999</c:v>
                </c:pt>
                <c:pt idx="293">
                  <c:v>-11.694032699999999</c:v>
                </c:pt>
                <c:pt idx="294">
                  <c:v>-11.694032699999999</c:v>
                </c:pt>
                <c:pt idx="295">
                  <c:v>-13.9447689</c:v>
                </c:pt>
                <c:pt idx="296">
                  <c:v>-13.9447689</c:v>
                </c:pt>
                <c:pt idx="297">
                  <c:v>-13.9447689</c:v>
                </c:pt>
                <c:pt idx="298">
                  <c:v>-13.9447689</c:v>
                </c:pt>
                <c:pt idx="299">
                  <c:v>-13.9447689</c:v>
                </c:pt>
                <c:pt idx="300">
                  <c:v>-15.087219449999999</c:v>
                </c:pt>
                <c:pt idx="301">
                  <c:v>-16.229669999999999</c:v>
                </c:pt>
                <c:pt idx="302">
                  <c:v>-16.229669999999999</c:v>
                </c:pt>
                <c:pt idx="303">
                  <c:v>-16.229669999999999</c:v>
                </c:pt>
                <c:pt idx="304">
                  <c:v>-16.229669999999999</c:v>
                </c:pt>
                <c:pt idx="305">
                  <c:v>-16.229669999999999</c:v>
                </c:pt>
                <c:pt idx="306">
                  <c:v>-17.32066</c:v>
                </c:pt>
                <c:pt idx="307">
                  <c:v>-18.411650000000002</c:v>
                </c:pt>
                <c:pt idx="308">
                  <c:v>-18.411650000000002</c:v>
                </c:pt>
                <c:pt idx="309">
                  <c:v>-18.411650000000002</c:v>
                </c:pt>
                <c:pt idx="310">
                  <c:v>-18.411650000000002</c:v>
                </c:pt>
                <c:pt idx="311">
                  <c:v>-18.411650000000002</c:v>
                </c:pt>
                <c:pt idx="312">
                  <c:v>-20.4055672</c:v>
                </c:pt>
                <c:pt idx="313">
                  <c:v>-20.4055672</c:v>
                </c:pt>
                <c:pt idx="314">
                  <c:v>-20.4055672</c:v>
                </c:pt>
                <c:pt idx="315">
                  <c:v>-20.4055672</c:v>
                </c:pt>
                <c:pt idx="316">
                  <c:v>-20.4055672</c:v>
                </c:pt>
                <c:pt idx="317">
                  <c:v>-20.4055672</c:v>
                </c:pt>
                <c:pt idx="318">
                  <c:v>-22.055053699999998</c:v>
                </c:pt>
                <c:pt idx="319">
                  <c:v>-22.055053699999998</c:v>
                </c:pt>
                <c:pt idx="320">
                  <c:v>-22.055053699999998</c:v>
                </c:pt>
                <c:pt idx="321">
                  <c:v>-22.055053699999998</c:v>
                </c:pt>
                <c:pt idx="322">
                  <c:v>-22.055053699999998</c:v>
                </c:pt>
                <c:pt idx="323">
                  <c:v>-22.055053699999998</c:v>
                </c:pt>
                <c:pt idx="324">
                  <c:v>-23.382726699999999</c:v>
                </c:pt>
                <c:pt idx="325">
                  <c:v>-23.382726699999999</c:v>
                </c:pt>
                <c:pt idx="326">
                  <c:v>-23.382726699999999</c:v>
                </c:pt>
                <c:pt idx="327">
                  <c:v>-23.382726699999999</c:v>
                </c:pt>
                <c:pt idx="328">
                  <c:v>-23.382726699999999</c:v>
                </c:pt>
                <c:pt idx="329">
                  <c:v>-23.846142799999999</c:v>
                </c:pt>
                <c:pt idx="330">
                  <c:v>-24.309558899999999</c:v>
                </c:pt>
                <c:pt idx="331">
                  <c:v>-24.309558899999999</c:v>
                </c:pt>
                <c:pt idx="332">
                  <c:v>-24.309558899999999</c:v>
                </c:pt>
                <c:pt idx="333">
                  <c:v>-24.309558899999999</c:v>
                </c:pt>
                <c:pt idx="334">
                  <c:v>-24.309558899999999</c:v>
                </c:pt>
                <c:pt idx="335">
                  <c:v>-24.914888399999999</c:v>
                </c:pt>
                <c:pt idx="336">
                  <c:v>-24.914888399999999</c:v>
                </c:pt>
                <c:pt idx="337">
                  <c:v>-24.914888399999999</c:v>
                </c:pt>
                <c:pt idx="338">
                  <c:v>-24.914888399999999</c:v>
                </c:pt>
                <c:pt idx="339">
                  <c:v>-24.914888399999999</c:v>
                </c:pt>
                <c:pt idx="340">
                  <c:v>-24.914888399999999</c:v>
                </c:pt>
                <c:pt idx="341">
                  <c:v>-25.0817242</c:v>
                </c:pt>
                <c:pt idx="342">
                  <c:v>-25.0817242</c:v>
                </c:pt>
                <c:pt idx="343">
                  <c:v>-25.0817242</c:v>
                </c:pt>
                <c:pt idx="344">
                  <c:v>-25.0817242</c:v>
                </c:pt>
                <c:pt idx="345">
                  <c:v>-25.0817242</c:v>
                </c:pt>
                <c:pt idx="346">
                  <c:v>-25.0817242</c:v>
                </c:pt>
                <c:pt idx="347">
                  <c:v>-24.749683399999999</c:v>
                </c:pt>
                <c:pt idx="348">
                  <c:v>-24.749683399999999</c:v>
                </c:pt>
                <c:pt idx="349">
                  <c:v>-24.749683399999999</c:v>
                </c:pt>
                <c:pt idx="350">
                  <c:v>-24.749683399999999</c:v>
                </c:pt>
                <c:pt idx="351">
                  <c:v>-24.749683399999999</c:v>
                </c:pt>
                <c:pt idx="352">
                  <c:v>-24.749683399999999</c:v>
                </c:pt>
                <c:pt idx="353">
                  <c:v>-24.071561800000001</c:v>
                </c:pt>
                <c:pt idx="354">
                  <c:v>-24.071561800000001</c:v>
                </c:pt>
                <c:pt idx="355">
                  <c:v>-24.071561800000001</c:v>
                </c:pt>
                <c:pt idx="356">
                  <c:v>-24.071561800000001</c:v>
                </c:pt>
                <c:pt idx="357">
                  <c:v>-24.071561800000001</c:v>
                </c:pt>
                <c:pt idx="358">
                  <c:v>-23.5310974</c:v>
                </c:pt>
                <c:pt idx="359">
                  <c:v>-22.990632999999999</c:v>
                </c:pt>
                <c:pt idx="360">
                  <c:v>-22.990632999999999</c:v>
                </c:pt>
                <c:pt idx="361">
                  <c:v>-22.990632999999999</c:v>
                </c:pt>
                <c:pt idx="362">
                  <c:v>-22.990632999999999</c:v>
                </c:pt>
                <c:pt idx="363">
                  <c:v>-22.990632999999999</c:v>
                </c:pt>
                <c:pt idx="364">
                  <c:v>-21.634422300000001</c:v>
                </c:pt>
                <c:pt idx="365">
                  <c:v>-21.634422300000001</c:v>
                </c:pt>
                <c:pt idx="366">
                  <c:v>-21.634422300000001</c:v>
                </c:pt>
                <c:pt idx="367">
                  <c:v>-21.634422300000001</c:v>
                </c:pt>
                <c:pt idx="368">
                  <c:v>-21.634422300000001</c:v>
                </c:pt>
                <c:pt idx="369">
                  <c:v>-21.634422300000001</c:v>
                </c:pt>
                <c:pt idx="370">
                  <c:v>-19.959728200000001</c:v>
                </c:pt>
                <c:pt idx="371">
                  <c:v>-19.959728200000001</c:v>
                </c:pt>
                <c:pt idx="372">
                  <c:v>-19.959728200000001</c:v>
                </c:pt>
                <c:pt idx="373">
                  <c:v>-19.959728200000001</c:v>
                </c:pt>
                <c:pt idx="374">
                  <c:v>-19.959728200000001</c:v>
                </c:pt>
                <c:pt idx="375">
                  <c:v>-19.959728200000001</c:v>
                </c:pt>
                <c:pt idx="376">
                  <c:v>-18.0875244</c:v>
                </c:pt>
                <c:pt idx="377">
                  <c:v>-18.0875244</c:v>
                </c:pt>
                <c:pt idx="378">
                  <c:v>-18.0875244</c:v>
                </c:pt>
                <c:pt idx="379">
                  <c:v>-18.0875244</c:v>
                </c:pt>
                <c:pt idx="380">
                  <c:v>-18.0875244</c:v>
                </c:pt>
                <c:pt idx="381">
                  <c:v>-17.102397199999999</c:v>
                </c:pt>
                <c:pt idx="382">
                  <c:v>-16.117270000000001</c:v>
                </c:pt>
                <c:pt idx="383">
                  <c:v>-16.117270000000001</c:v>
                </c:pt>
                <c:pt idx="384">
                  <c:v>-16.117270000000001</c:v>
                </c:pt>
                <c:pt idx="385">
                  <c:v>-16.117270000000001</c:v>
                </c:pt>
                <c:pt idx="386">
                  <c:v>-16.117270000000001</c:v>
                </c:pt>
                <c:pt idx="387">
                  <c:v>-15.164710750000001</c:v>
                </c:pt>
                <c:pt idx="388">
                  <c:v>-14.212151499999999</c:v>
                </c:pt>
                <c:pt idx="389">
                  <c:v>-14.212151499999999</c:v>
                </c:pt>
                <c:pt idx="390">
                  <c:v>-14.212151499999999</c:v>
                </c:pt>
                <c:pt idx="391">
                  <c:v>-14.212151499999999</c:v>
                </c:pt>
                <c:pt idx="392">
                  <c:v>-14.212151499999999</c:v>
                </c:pt>
                <c:pt idx="393">
                  <c:v>-12.3218575</c:v>
                </c:pt>
                <c:pt idx="394">
                  <c:v>-12.3218575</c:v>
                </c:pt>
                <c:pt idx="395">
                  <c:v>-12.3218575</c:v>
                </c:pt>
                <c:pt idx="396">
                  <c:v>-12.3218575</c:v>
                </c:pt>
                <c:pt idx="397">
                  <c:v>-12.3218575</c:v>
                </c:pt>
                <c:pt idx="398">
                  <c:v>-12.3218575</c:v>
                </c:pt>
                <c:pt idx="399">
                  <c:v>-10.446932800000001</c:v>
                </c:pt>
                <c:pt idx="400">
                  <c:v>-10.446932800000001</c:v>
                </c:pt>
                <c:pt idx="401">
                  <c:v>-10.446932800000001</c:v>
                </c:pt>
                <c:pt idx="402">
                  <c:v>-10.446932800000001</c:v>
                </c:pt>
                <c:pt idx="403">
                  <c:v>-10.446932800000001</c:v>
                </c:pt>
                <c:pt idx="404">
                  <c:v>-10.446932800000001</c:v>
                </c:pt>
                <c:pt idx="405">
                  <c:v>-8.5780049999999992</c:v>
                </c:pt>
                <c:pt idx="406">
                  <c:v>-8.5780049999999992</c:v>
                </c:pt>
                <c:pt idx="407">
                  <c:v>-8.5780049999999992</c:v>
                </c:pt>
                <c:pt idx="408">
                  <c:v>-8.5780049999999992</c:v>
                </c:pt>
                <c:pt idx="409">
                  <c:v>-8.5780049999999992</c:v>
                </c:pt>
                <c:pt idx="410">
                  <c:v>-7.7271304999999995</c:v>
                </c:pt>
                <c:pt idx="411">
                  <c:v>-6.8762559999999997</c:v>
                </c:pt>
                <c:pt idx="412">
                  <c:v>-6.8762559999999997</c:v>
                </c:pt>
                <c:pt idx="413">
                  <c:v>-6.8762559999999997</c:v>
                </c:pt>
                <c:pt idx="414">
                  <c:v>-6.8762559999999997</c:v>
                </c:pt>
                <c:pt idx="415">
                  <c:v>-6.8762559999999997</c:v>
                </c:pt>
                <c:pt idx="416">
                  <c:v>-6.1444144999999999</c:v>
                </c:pt>
                <c:pt idx="417">
                  <c:v>-5.4125730000000001</c:v>
                </c:pt>
                <c:pt idx="418">
                  <c:v>-5.4125730000000001</c:v>
                </c:pt>
                <c:pt idx="419">
                  <c:v>-5.4125730000000001</c:v>
                </c:pt>
                <c:pt idx="420">
                  <c:v>-5.4125730000000001</c:v>
                </c:pt>
                <c:pt idx="421">
                  <c:v>-5.4125730000000001</c:v>
                </c:pt>
                <c:pt idx="422">
                  <c:v>-4.1199459999999997</c:v>
                </c:pt>
                <c:pt idx="423">
                  <c:v>-4.1199459999999997</c:v>
                </c:pt>
                <c:pt idx="424">
                  <c:v>-4.1199459999999997</c:v>
                </c:pt>
                <c:pt idx="425">
                  <c:v>-4.1199459999999997</c:v>
                </c:pt>
                <c:pt idx="426">
                  <c:v>-4.1199459999999997</c:v>
                </c:pt>
                <c:pt idx="427">
                  <c:v>-4.1199459999999997</c:v>
                </c:pt>
                <c:pt idx="428">
                  <c:v>-3.0431110000000001</c:v>
                </c:pt>
                <c:pt idx="429">
                  <c:v>-3.0431110000000001</c:v>
                </c:pt>
                <c:pt idx="430">
                  <c:v>-3.0431110000000001</c:v>
                </c:pt>
                <c:pt idx="431">
                  <c:v>-3.0431110000000001</c:v>
                </c:pt>
                <c:pt idx="432">
                  <c:v>-3.0431110000000001</c:v>
                </c:pt>
                <c:pt idx="433">
                  <c:v>-3.0431110000000001</c:v>
                </c:pt>
                <c:pt idx="434">
                  <c:v>-2.1456789999999999</c:v>
                </c:pt>
                <c:pt idx="435">
                  <c:v>-2.1456789999999999</c:v>
                </c:pt>
                <c:pt idx="436">
                  <c:v>-2.1456789999999999</c:v>
                </c:pt>
                <c:pt idx="437">
                  <c:v>-2.1456789999999999</c:v>
                </c:pt>
                <c:pt idx="438">
                  <c:v>-2.1456789999999999</c:v>
                </c:pt>
                <c:pt idx="439">
                  <c:v>-1.8040430000000001</c:v>
                </c:pt>
                <c:pt idx="440">
                  <c:v>-1.462407</c:v>
                </c:pt>
                <c:pt idx="441">
                  <c:v>-1.462407</c:v>
                </c:pt>
                <c:pt idx="442">
                  <c:v>-1.462407</c:v>
                </c:pt>
                <c:pt idx="443">
                  <c:v>-1.462407</c:v>
                </c:pt>
                <c:pt idx="444">
                  <c:v>-1.462407</c:v>
                </c:pt>
                <c:pt idx="445">
                  <c:v>-0.95764199999999999</c:v>
                </c:pt>
                <c:pt idx="446">
                  <c:v>-0.95764199999999999</c:v>
                </c:pt>
                <c:pt idx="447">
                  <c:v>-0.95764199999999999</c:v>
                </c:pt>
                <c:pt idx="448">
                  <c:v>-0.95764199999999999</c:v>
                </c:pt>
                <c:pt idx="449">
                  <c:v>-0.95764199999999999</c:v>
                </c:pt>
                <c:pt idx="450">
                  <c:v>-0.95764199999999999</c:v>
                </c:pt>
                <c:pt idx="451">
                  <c:v>-0.60339600000000004</c:v>
                </c:pt>
                <c:pt idx="452">
                  <c:v>-0.60339600000000004</c:v>
                </c:pt>
                <c:pt idx="453">
                  <c:v>-0.60339600000000004</c:v>
                </c:pt>
                <c:pt idx="454">
                  <c:v>-0.60339600000000004</c:v>
                </c:pt>
                <c:pt idx="455">
                  <c:v>-0.60339600000000004</c:v>
                </c:pt>
                <c:pt idx="456">
                  <c:v>-0.60339600000000004</c:v>
                </c:pt>
                <c:pt idx="457">
                  <c:v>-0.30922500000000003</c:v>
                </c:pt>
                <c:pt idx="458">
                  <c:v>-0.30922500000000003</c:v>
                </c:pt>
                <c:pt idx="459">
                  <c:v>-0.30922500000000003</c:v>
                </c:pt>
                <c:pt idx="460">
                  <c:v>-0.30922500000000003</c:v>
                </c:pt>
                <c:pt idx="461">
                  <c:v>-0.30922500000000003</c:v>
                </c:pt>
                <c:pt idx="462">
                  <c:v>-0.30922500000000003</c:v>
                </c:pt>
                <c:pt idx="463">
                  <c:v>-0.113539</c:v>
                </c:pt>
                <c:pt idx="464">
                  <c:v>-0.113539</c:v>
                </c:pt>
                <c:pt idx="465">
                  <c:v>-0.113539</c:v>
                </c:pt>
                <c:pt idx="466">
                  <c:v>-0.113539</c:v>
                </c:pt>
                <c:pt idx="467">
                  <c:v>-0.113539</c:v>
                </c:pt>
                <c:pt idx="468">
                  <c:v>-5.9025500000000002E-2</c:v>
                </c:pt>
                <c:pt idx="469">
                  <c:v>-4.5120000000000004E-3</c:v>
                </c:pt>
                <c:pt idx="470">
                  <c:v>-4.5120000000000004E-3</c:v>
                </c:pt>
                <c:pt idx="471">
                  <c:v>-4.5120000000000004E-3</c:v>
                </c:pt>
                <c:pt idx="472">
                  <c:v>-4.5120000000000004E-3</c:v>
                </c:pt>
                <c:pt idx="473">
                  <c:v>-4.5120000000000004E-3</c:v>
                </c:pt>
                <c:pt idx="474">
                  <c:v>5.4289999999999998E-3</c:v>
                </c:pt>
                <c:pt idx="475">
                  <c:v>5.4289999999999998E-3</c:v>
                </c:pt>
                <c:pt idx="476">
                  <c:v>5.4289999999999998E-3</c:v>
                </c:pt>
                <c:pt idx="477">
                  <c:v>5.4289999999999998E-3</c:v>
                </c:pt>
                <c:pt idx="478">
                  <c:v>5.4289999999999998E-3</c:v>
                </c:pt>
                <c:pt idx="479">
                  <c:v>5.4289999999999998E-3</c:v>
                </c:pt>
                <c:pt idx="480">
                  <c:v>8.6300000000000005E-4</c:v>
                </c:pt>
                <c:pt idx="481">
                  <c:v>8.6300000000000005E-4</c:v>
                </c:pt>
                <c:pt idx="482">
                  <c:v>8.6300000000000005E-4</c:v>
                </c:pt>
                <c:pt idx="483">
                  <c:v>8.6300000000000005E-4</c:v>
                </c:pt>
                <c:pt idx="484">
                  <c:v>8.6300000000000005E-4</c:v>
                </c:pt>
                <c:pt idx="485">
                  <c:v>8.6300000000000005E-4</c:v>
                </c:pt>
                <c:pt idx="486">
                  <c:v>5.0390000000000001E-3</c:v>
                </c:pt>
                <c:pt idx="487">
                  <c:v>5.0390000000000001E-3</c:v>
                </c:pt>
                <c:pt idx="488">
                  <c:v>5.0390000000000001E-3</c:v>
                </c:pt>
                <c:pt idx="489">
                  <c:v>5.0390000000000001E-3</c:v>
                </c:pt>
                <c:pt idx="490">
                  <c:v>5.0390000000000001E-3</c:v>
                </c:pt>
                <c:pt idx="491">
                  <c:v>3.0709999999999999E-3</c:v>
                </c:pt>
                <c:pt idx="492">
                  <c:v>1.103E-3</c:v>
                </c:pt>
                <c:pt idx="493">
                  <c:v>1.103E-3</c:v>
                </c:pt>
                <c:pt idx="494">
                  <c:v>1.103E-3</c:v>
                </c:pt>
                <c:pt idx="495">
                  <c:v>1.103E-3</c:v>
                </c:pt>
                <c:pt idx="496">
                  <c:v>1.103E-3</c:v>
                </c:pt>
                <c:pt idx="497">
                  <c:v>2.7409999999999999E-3</c:v>
                </c:pt>
                <c:pt idx="498">
                  <c:v>4.3790000000000001E-3</c:v>
                </c:pt>
                <c:pt idx="499">
                  <c:v>4.3790000000000001E-3</c:v>
                </c:pt>
                <c:pt idx="500">
                  <c:v>4.3790000000000001E-3</c:v>
                </c:pt>
                <c:pt idx="501">
                  <c:v>4.3790000000000001E-3</c:v>
                </c:pt>
                <c:pt idx="502">
                  <c:v>4.3790000000000001E-3</c:v>
                </c:pt>
                <c:pt idx="503">
                  <c:v>1.2019999999999999E-3</c:v>
                </c:pt>
                <c:pt idx="504">
                  <c:v>1.2019999999999999E-3</c:v>
                </c:pt>
                <c:pt idx="505">
                  <c:v>1.2019999999999999E-3</c:v>
                </c:pt>
                <c:pt idx="506">
                  <c:v>1.2019999999999999E-3</c:v>
                </c:pt>
                <c:pt idx="507">
                  <c:v>1.2019999999999999E-3</c:v>
                </c:pt>
                <c:pt idx="508">
                  <c:v>1.2019999999999999E-3</c:v>
                </c:pt>
                <c:pt idx="509">
                  <c:v>4.2069999999999998E-3</c:v>
                </c:pt>
                <c:pt idx="510">
                  <c:v>4.2069999999999998E-3</c:v>
                </c:pt>
                <c:pt idx="511">
                  <c:v>4.2069999999999998E-3</c:v>
                </c:pt>
                <c:pt idx="512">
                  <c:v>4.2069999999999998E-3</c:v>
                </c:pt>
                <c:pt idx="513">
                  <c:v>4.2069999999999998E-3</c:v>
                </c:pt>
                <c:pt idx="514">
                  <c:v>4.2069999999999998E-3</c:v>
                </c:pt>
                <c:pt idx="515">
                  <c:v>1.6280000000000001E-3</c:v>
                </c:pt>
                <c:pt idx="516">
                  <c:v>1.6280000000000001E-3</c:v>
                </c:pt>
                <c:pt idx="517">
                  <c:v>1.6280000000000001E-3</c:v>
                </c:pt>
                <c:pt idx="518">
                  <c:v>1.6280000000000001E-3</c:v>
                </c:pt>
                <c:pt idx="519">
                  <c:v>1.6280000000000001E-3</c:v>
                </c:pt>
                <c:pt idx="520">
                  <c:v>2.5085000000000003E-3</c:v>
                </c:pt>
                <c:pt idx="521">
                  <c:v>3.3890000000000001E-3</c:v>
                </c:pt>
                <c:pt idx="522">
                  <c:v>3.3890000000000001E-3</c:v>
                </c:pt>
                <c:pt idx="523">
                  <c:v>3.3890000000000001E-3</c:v>
                </c:pt>
                <c:pt idx="524">
                  <c:v>3.3890000000000001E-3</c:v>
                </c:pt>
                <c:pt idx="525">
                  <c:v>3.3890000000000001E-3</c:v>
                </c:pt>
                <c:pt idx="526">
                  <c:v>2.2300000000000002E-3</c:v>
                </c:pt>
                <c:pt idx="527">
                  <c:v>2.2300000000000002E-3</c:v>
                </c:pt>
                <c:pt idx="528">
                  <c:v>2.2300000000000002E-3</c:v>
                </c:pt>
                <c:pt idx="529">
                  <c:v>2.2300000000000002E-3</c:v>
                </c:pt>
                <c:pt idx="530">
                  <c:v>2.2300000000000002E-3</c:v>
                </c:pt>
                <c:pt idx="531">
                  <c:v>2.2300000000000002E-3</c:v>
                </c:pt>
                <c:pt idx="532">
                  <c:v>3.1640000000000001E-3</c:v>
                </c:pt>
                <c:pt idx="533">
                  <c:v>3.1640000000000001E-3</c:v>
                </c:pt>
                <c:pt idx="534">
                  <c:v>3.1640000000000001E-3</c:v>
                </c:pt>
                <c:pt idx="535">
                  <c:v>3.1640000000000001E-3</c:v>
                </c:pt>
                <c:pt idx="536">
                  <c:v>3.1640000000000001E-3</c:v>
                </c:pt>
                <c:pt idx="537">
                  <c:v>3.1640000000000001E-3</c:v>
                </c:pt>
                <c:pt idx="538">
                  <c:v>2.702E-3</c:v>
                </c:pt>
                <c:pt idx="539">
                  <c:v>2.702E-3</c:v>
                </c:pt>
                <c:pt idx="540">
                  <c:v>2.702E-3</c:v>
                </c:pt>
                <c:pt idx="541">
                  <c:v>2.702E-3</c:v>
                </c:pt>
                <c:pt idx="542">
                  <c:v>2.702E-3</c:v>
                </c:pt>
                <c:pt idx="543">
                  <c:v>2.702E-3</c:v>
                </c:pt>
                <c:pt idx="544">
                  <c:v>2.6779999999999998E-3</c:v>
                </c:pt>
                <c:pt idx="545">
                  <c:v>2.6779999999999998E-3</c:v>
                </c:pt>
                <c:pt idx="546">
                  <c:v>2.6779999999999998E-3</c:v>
                </c:pt>
                <c:pt idx="547">
                  <c:v>2.6779999999999998E-3</c:v>
                </c:pt>
                <c:pt idx="548">
                  <c:v>2.6779999999999998E-3</c:v>
                </c:pt>
                <c:pt idx="549">
                  <c:v>2.666E-3</c:v>
                </c:pt>
                <c:pt idx="550">
                  <c:v>2.6540000000000001E-3</c:v>
                </c:pt>
                <c:pt idx="551">
                  <c:v>2.6540000000000001E-3</c:v>
                </c:pt>
                <c:pt idx="552">
                  <c:v>2.6540000000000001E-3</c:v>
                </c:pt>
                <c:pt idx="553">
                  <c:v>2.6540000000000001E-3</c:v>
                </c:pt>
                <c:pt idx="554">
                  <c:v>2.6540000000000001E-3</c:v>
                </c:pt>
                <c:pt idx="555">
                  <c:v>2.63E-3</c:v>
                </c:pt>
                <c:pt idx="556">
                  <c:v>2.63E-3</c:v>
                </c:pt>
                <c:pt idx="557">
                  <c:v>2.63E-3</c:v>
                </c:pt>
                <c:pt idx="558">
                  <c:v>2.63E-3</c:v>
                </c:pt>
                <c:pt idx="559">
                  <c:v>2.63E-3</c:v>
                </c:pt>
                <c:pt idx="560">
                  <c:v>2.63E-3</c:v>
                </c:pt>
                <c:pt idx="561">
                  <c:v>2.6059999999999998E-3</c:v>
                </c:pt>
                <c:pt idx="562">
                  <c:v>2.6059999999999998E-3</c:v>
                </c:pt>
                <c:pt idx="563">
                  <c:v>2.6059999999999998E-3</c:v>
                </c:pt>
                <c:pt idx="564">
                  <c:v>2.6059999999999998E-3</c:v>
                </c:pt>
                <c:pt idx="565">
                  <c:v>2.6059999999999998E-3</c:v>
                </c:pt>
                <c:pt idx="566">
                  <c:v>2.6059999999999998E-3</c:v>
                </c:pt>
                <c:pt idx="567">
                  <c:v>2.5820000000000001E-3</c:v>
                </c:pt>
                <c:pt idx="568">
                  <c:v>2.5820000000000001E-3</c:v>
                </c:pt>
                <c:pt idx="569">
                  <c:v>2.5820000000000001E-3</c:v>
                </c:pt>
                <c:pt idx="570">
                  <c:v>2.5820000000000001E-3</c:v>
                </c:pt>
                <c:pt idx="571">
                  <c:v>2.5820000000000001E-3</c:v>
                </c:pt>
                <c:pt idx="572">
                  <c:v>2.5700000000000002E-3</c:v>
                </c:pt>
                <c:pt idx="573">
                  <c:v>2.5579999999999999E-3</c:v>
                </c:pt>
                <c:pt idx="574">
                  <c:v>2.5579999999999999E-3</c:v>
                </c:pt>
                <c:pt idx="575">
                  <c:v>2.5579999999999999E-3</c:v>
                </c:pt>
                <c:pt idx="576">
                  <c:v>2.5579999999999999E-3</c:v>
                </c:pt>
                <c:pt idx="577">
                  <c:v>2.5579999999999999E-3</c:v>
                </c:pt>
                <c:pt idx="578">
                  <c:v>2.5459999999999997E-3</c:v>
                </c:pt>
                <c:pt idx="579">
                  <c:v>2.5339999999999998E-3</c:v>
                </c:pt>
                <c:pt idx="580">
                  <c:v>2.5339999999999998E-3</c:v>
                </c:pt>
                <c:pt idx="581">
                  <c:v>2.5339999999999998E-3</c:v>
                </c:pt>
                <c:pt idx="582">
                  <c:v>2.5339999999999998E-3</c:v>
                </c:pt>
                <c:pt idx="583">
                  <c:v>2.5339999999999998E-3</c:v>
                </c:pt>
                <c:pt idx="584">
                  <c:v>2.5100000000000001E-3</c:v>
                </c:pt>
                <c:pt idx="585">
                  <c:v>2.5100000000000001E-3</c:v>
                </c:pt>
                <c:pt idx="586">
                  <c:v>2.5100000000000001E-3</c:v>
                </c:pt>
                <c:pt idx="587">
                  <c:v>2.5100000000000001E-3</c:v>
                </c:pt>
                <c:pt idx="588">
                  <c:v>2.5100000000000001E-3</c:v>
                </c:pt>
                <c:pt idx="589">
                  <c:v>2.5100000000000001E-3</c:v>
                </c:pt>
                <c:pt idx="590">
                  <c:v>2.4859999999999999E-3</c:v>
                </c:pt>
                <c:pt idx="591">
                  <c:v>2.4859999999999999E-3</c:v>
                </c:pt>
                <c:pt idx="592">
                  <c:v>2.4859999999999999E-3</c:v>
                </c:pt>
                <c:pt idx="593">
                  <c:v>2.4859999999999999E-3</c:v>
                </c:pt>
                <c:pt idx="594">
                  <c:v>2.4859999999999999E-3</c:v>
                </c:pt>
                <c:pt idx="595">
                  <c:v>2.4859999999999999E-3</c:v>
                </c:pt>
                <c:pt idx="596">
                  <c:v>2.4629999999999999E-3</c:v>
                </c:pt>
                <c:pt idx="597">
                  <c:v>2.4629999999999999E-3</c:v>
                </c:pt>
                <c:pt idx="598">
                  <c:v>2.4629999999999999E-3</c:v>
                </c:pt>
                <c:pt idx="599">
                  <c:v>2.4629999999999999E-3</c:v>
                </c:pt>
                <c:pt idx="600">
                  <c:v>2.4629999999999999E-3</c:v>
                </c:pt>
                <c:pt idx="601">
                  <c:v>2.4510000000000001E-3</c:v>
                </c:pt>
                <c:pt idx="602">
                  <c:v>2.4390000000000002E-3</c:v>
                </c:pt>
                <c:pt idx="603">
                  <c:v>2.4390000000000002E-3</c:v>
                </c:pt>
                <c:pt idx="604">
                  <c:v>2.4390000000000002E-3</c:v>
                </c:pt>
                <c:pt idx="605">
                  <c:v>2.4390000000000002E-3</c:v>
                </c:pt>
                <c:pt idx="606">
                  <c:v>2.4390000000000002E-3</c:v>
                </c:pt>
                <c:pt idx="607">
                  <c:v>2.4270000000000003E-3</c:v>
                </c:pt>
                <c:pt idx="608">
                  <c:v>2.415E-3</c:v>
                </c:pt>
                <c:pt idx="609">
                  <c:v>2.415E-3</c:v>
                </c:pt>
                <c:pt idx="610">
                  <c:v>2.415E-3</c:v>
                </c:pt>
                <c:pt idx="611">
                  <c:v>2.415E-3</c:v>
                </c:pt>
                <c:pt idx="612">
                  <c:v>2.415E-3</c:v>
                </c:pt>
                <c:pt idx="613">
                  <c:v>2.3909999999999999E-3</c:v>
                </c:pt>
                <c:pt idx="614">
                  <c:v>2.3909999999999999E-3</c:v>
                </c:pt>
                <c:pt idx="615">
                  <c:v>2.3909999999999999E-3</c:v>
                </c:pt>
                <c:pt idx="616">
                  <c:v>2.3909999999999999E-3</c:v>
                </c:pt>
                <c:pt idx="617">
                  <c:v>2.3909999999999999E-3</c:v>
                </c:pt>
                <c:pt idx="618">
                  <c:v>2.3909999999999999E-3</c:v>
                </c:pt>
                <c:pt idx="619">
                  <c:v>2.3670000000000002E-3</c:v>
                </c:pt>
                <c:pt idx="620">
                  <c:v>2.3670000000000002E-3</c:v>
                </c:pt>
                <c:pt idx="621">
                  <c:v>2.3670000000000002E-3</c:v>
                </c:pt>
                <c:pt idx="622">
                  <c:v>2.3670000000000002E-3</c:v>
                </c:pt>
                <c:pt idx="623">
                  <c:v>2.3670000000000002E-3</c:v>
                </c:pt>
                <c:pt idx="624">
                  <c:v>2.3670000000000002E-3</c:v>
                </c:pt>
                <c:pt idx="625">
                  <c:v>2.343E-3</c:v>
                </c:pt>
                <c:pt idx="626">
                  <c:v>2.343E-3</c:v>
                </c:pt>
                <c:pt idx="627">
                  <c:v>2.343E-3</c:v>
                </c:pt>
                <c:pt idx="628">
                  <c:v>2.343E-3</c:v>
                </c:pt>
                <c:pt idx="629">
                  <c:v>2.343E-3</c:v>
                </c:pt>
                <c:pt idx="630">
                  <c:v>2.3309999999999997E-3</c:v>
                </c:pt>
                <c:pt idx="631">
                  <c:v>2.3189999999999999E-3</c:v>
                </c:pt>
                <c:pt idx="632">
                  <c:v>2.3189999999999999E-3</c:v>
                </c:pt>
                <c:pt idx="633">
                  <c:v>2.3189999999999999E-3</c:v>
                </c:pt>
                <c:pt idx="634">
                  <c:v>2.3189999999999999E-3</c:v>
                </c:pt>
                <c:pt idx="635">
                  <c:v>2.3189999999999999E-3</c:v>
                </c:pt>
                <c:pt idx="636">
                  <c:v>2.2950000000000002E-3</c:v>
                </c:pt>
                <c:pt idx="637">
                  <c:v>2.2950000000000002E-3</c:v>
                </c:pt>
                <c:pt idx="638">
                  <c:v>2.2950000000000002E-3</c:v>
                </c:pt>
                <c:pt idx="639">
                  <c:v>2.2950000000000002E-3</c:v>
                </c:pt>
                <c:pt idx="640">
                  <c:v>2.2950000000000002E-3</c:v>
                </c:pt>
                <c:pt idx="641">
                  <c:v>2.2950000000000002E-3</c:v>
                </c:pt>
                <c:pt idx="642">
                  <c:v>2.271E-3</c:v>
                </c:pt>
                <c:pt idx="643">
                  <c:v>2.271E-3</c:v>
                </c:pt>
                <c:pt idx="644">
                  <c:v>2.271E-3</c:v>
                </c:pt>
                <c:pt idx="645">
                  <c:v>2.271E-3</c:v>
                </c:pt>
                <c:pt idx="646">
                  <c:v>2.271E-3</c:v>
                </c:pt>
                <c:pt idx="647">
                  <c:v>2.271E-3</c:v>
                </c:pt>
                <c:pt idx="648">
                  <c:v>2.248E-3</c:v>
                </c:pt>
                <c:pt idx="649">
                  <c:v>2.248E-3</c:v>
                </c:pt>
                <c:pt idx="650">
                  <c:v>2.248E-3</c:v>
                </c:pt>
                <c:pt idx="651">
                  <c:v>2.248E-3</c:v>
                </c:pt>
                <c:pt idx="652">
                  <c:v>2.248E-3</c:v>
                </c:pt>
                <c:pt idx="653">
                  <c:v>2.248E-3</c:v>
                </c:pt>
                <c:pt idx="654">
                  <c:v>2.2239999999999998E-3</c:v>
                </c:pt>
                <c:pt idx="655">
                  <c:v>2.2239999999999998E-3</c:v>
                </c:pt>
                <c:pt idx="656">
                  <c:v>2.2239999999999998E-3</c:v>
                </c:pt>
                <c:pt idx="657">
                  <c:v>2.2239999999999998E-3</c:v>
                </c:pt>
                <c:pt idx="658">
                  <c:v>2.2239999999999998E-3</c:v>
                </c:pt>
                <c:pt idx="659">
                  <c:v>2.212E-3</c:v>
                </c:pt>
                <c:pt idx="660">
                  <c:v>2.2000000000000001E-3</c:v>
                </c:pt>
                <c:pt idx="661">
                  <c:v>2.2000000000000001E-3</c:v>
                </c:pt>
                <c:pt idx="662">
                  <c:v>2.2000000000000001E-3</c:v>
                </c:pt>
                <c:pt idx="663">
                  <c:v>2.2000000000000001E-3</c:v>
                </c:pt>
                <c:pt idx="664">
                  <c:v>2.2000000000000001E-3</c:v>
                </c:pt>
                <c:pt idx="665">
                  <c:v>2.176E-3</c:v>
                </c:pt>
                <c:pt idx="666">
                  <c:v>2.176E-3</c:v>
                </c:pt>
                <c:pt idx="667">
                  <c:v>2.176E-3</c:v>
                </c:pt>
                <c:pt idx="668">
                  <c:v>2.176E-3</c:v>
                </c:pt>
                <c:pt idx="669">
                  <c:v>2.176E-3</c:v>
                </c:pt>
                <c:pt idx="670">
                  <c:v>2.176E-3</c:v>
                </c:pt>
                <c:pt idx="671">
                  <c:v>2.1519999999999998E-3</c:v>
                </c:pt>
                <c:pt idx="672">
                  <c:v>2.1519999999999998E-3</c:v>
                </c:pt>
                <c:pt idx="673">
                  <c:v>2.1519999999999998E-3</c:v>
                </c:pt>
                <c:pt idx="674">
                  <c:v>2.1519999999999998E-3</c:v>
                </c:pt>
                <c:pt idx="675">
                  <c:v>2.1519999999999998E-3</c:v>
                </c:pt>
                <c:pt idx="676">
                  <c:v>2.1519999999999998E-3</c:v>
                </c:pt>
                <c:pt idx="677">
                  <c:v>2.1280000000000001E-3</c:v>
                </c:pt>
                <c:pt idx="678">
                  <c:v>2.1280000000000001E-3</c:v>
                </c:pt>
                <c:pt idx="679">
                  <c:v>2.1280000000000001E-3</c:v>
                </c:pt>
                <c:pt idx="680">
                  <c:v>2.1280000000000001E-3</c:v>
                </c:pt>
                <c:pt idx="681">
                  <c:v>2.1280000000000001E-3</c:v>
                </c:pt>
                <c:pt idx="682">
                  <c:v>2.1159999999999998E-3</c:v>
                </c:pt>
                <c:pt idx="683">
                  <c:v>2.104E-3</c:v>
                </c:pt>
                <c:pt idx="684">
                  <c:v>2.104E-3</c:v>
                </c:pt>
                <c:pt idx="685">
                  <c:v>2.104E-3</c:v>
                </c:pt>
                <c:pt idx="686">
                  <c:v>2.104E-3</c:v>
                </c:pt>
                <c:pt idx="687">
                  <c:v>2.104E-3</c:v>
                </c:pt>
                <c:pt idx="688">
                  <c:v>2.0920000000000001E-3</c:v>
                </c:pt>
                <c:pt idx="689">
                  <c:v>2.0799999999999998E-3</c:v>
                </c:pt>
                <c:pt idx="690">
                  <c:v>2.0799999999999998E-3</c:v>
                </c:pt>
                <c:pt idx="691">
                  <c:v>2.0799999999999998E-3</c:v>
                </c:pt>
                <c:pt idx="692">
                  <c:v>2.0799999999999998E-3</c:v>
                </c:pt>
                <c:pt idx="693">
                  <c:v>2.0799999999999998E-3</c:v>
                </c:pt>
                <c:pt idx="694">
                  <c:v>2.0560000000000001E-3</c:v>
                </c:pt>
                <c:pt idx="695">
                  <c:v>2.0560000000000001E-3</c:v>
                </c:pt>
                <c:pt idx="696">
                  <c:v>2.0560000000000001E-3</c:v>
                </c:pt>
                <c:pt idx="697">
                  <c:v>2.0560000000000001E-3</c:v>
                </c:pt>
                <c:pt idx="698">
                  <c:v>2.0560000000000001E-3</c:v>
                </c:pt>
                <c:pt idx="699">
                  <c:v>2.0560000000000001E-3</c:v>
                </c:pt>
                <c:pt idx="700">
                  <c:v>2.0330000000000001E-3</c:v>
                </c:pt>
                <c:pt idx="701">
                  <c:v>2.0330000000000001E-3</c:v>
                </c:pt>
                <c:pt idx="702">
                  <c:v>2.0330000000000001E-3</c:v>
                </c:pt>
                <c:pt idx="703">
                  <c:v>2.0330000000000001E-3</c:v>
                </c:pt>
                <c:pt idx="704">
                  <c:v>2.0330000000000001E-3</c:v>
                </c:pt>
                <c:pt idx="705">
                  <c:v>2.0330000000000001E-3</c:v>
                </c:pt>
                <c:pt idx="706">
                  <c:v>2.0089999999999999E-3</c:v>
                </c:pt>
                <c:pt idx="707">
                  <c:v>2.0089999999999999E-3</c:v>
                </c:pt>
                <c:pt idx="708">
                  <c:v>2.0089999999999999E-3</c:v>
                </c:pt>
                <c:pt idx="709">
                  <c:v>2.0089999999999999E-3</c:v>
                </c:pt>
                <c:pt idx="710">
                  <c:v>2.0089999999999999E-3</c:v>
                </c:pt>
                <c:pt idx="711">
                  <c:v>1.9969999999999996E-3</c:v>
                </c:pt>
                <c:pt idx="712">
                  <c:v>1.9849999999999998E-3</c:v>
                </c:pt>
                <c:pt idx="713">
                  <c:v>1.9849999999999998E-3</c:v>
                </c:pt>
                <c:pt idx="714">
                  <c:v>1.9849999999999998E-3</c:v>
                </c:pt>
                <c:pt idx="715">
                  <c:v>1.9849999999999998E-3</c:v>
                </c:pt>
                <c:pt idx="716">
                  <c:v>1.9849999999999998E-3</c:v>
                </c:pt>
                <c:pt idx="717">
                  <c:v>1.9610000000000001E-3</c:v>
                </c:pt>
                <c:pt idx="718">
                  <c:v>1.9610000000000001E-3</c:v>
                </c:pt>
                <c:pt idx="719">
                  <c:v>1.9610000000000001E-3</c:v>
                </c:pt>
                <c:pt idx="720">
                  <c:v>1.9610000000000001E-3</c:v>
                </c:pt>
                <c:pt idx="721">
                  <c:v>1.9610000000000001E-3</c:v>
                </c:pt>
                <c:pt idx="722">
                  <c:v>1.9610000000000001E-3</c:v>
                </c:pt>
                <c:pt idx="723">
                  <c:v>1.9369999999999999E-3</c:v>
                </c:pt>
                <c:pt idx="724">
                  <c:v>1.9369999999999999E-3</c:v>
                </c:pt>
                <c:pt idx="725">
                  <c:v>1.9369999999999999E-3</c:v>
                </c:pt>
                <c:pt idx="726">
                  <c:v>1.9369999999999999E-3</c:v>
                </c:pt>
                <c:pt idx="727">
                  <c:v>1.9369999999999999E-3</c:v>
                </c:pt>
                <c:pt idx="728">
                  <c:v>1.9369999999999999E-3</c:v>
                </c:pt>
                <c:pt idx="729">
                  <c:v>1.913E-3</c:v>
                </c:pt>
                <c:pt idx="730">
                  <c:v>1.913E-3</c:v>
                </c:pt>
                <c:pt idx="731">
                  <c:v>1.913E-3</c:v>
                </c:pt>
                <c:pt idx="732">
                  <c:v>1.913E-3</c:v>
                </c:pt>
                <c:pt idx="733">
                  <c:v>1.913E-3</c:v>
                </c:pt>
                <c:pt idx="734">
                  <c:v>1.913E-3</c:v>
                </c:pt>
                <c:pt idx="735">
                  <c:v>1.8890000000000001E-3</c:v>
                </c:pt>
                <c:pt idx="736">
                  <c:v>1.8890000000000001E-3</c:v>
                </c:pt>
                <c:pt idx="737">
                  <c:v>1.8890000000000001E-3</c:v>
                </c:pt>
                <c:pt idx="738">
                  <c:v>1.8890000000000001E-3</c:v>
                </c:pt>
                <c:pt idx="739">
                  <c:v>1.8890000000000001E-3</c:v>
                </c:pt>
                <c:pt idx="740">
                  <c:v>1.877E-3</c:v>
                </c:pt>
                <c:pt idx="741">
                  <c:v>1.8649999999999999E-3</c:v>
                </c:pt>
                <c:pt idx="742">
                  <c:v>1.8649999999999999E-3</c:v>
                </c:pt>
                <c:pt idx="743">
                  <c:v>1.8649999999999999E-3</c:v>
                </c:pt>
                <c:pt idx="744">
                  <c:v>1.8649999999999999E-3</c:v>
                </c:pt>
                <c:pt idx="745">
                  <c:v>1.8649999999999999E-3</c:v>
                </c:pt>
                <c:pt idx="746">
                  <c:v>1.8420000000000001E-3</c:v>
                </c:pt>
                <c:pt idx="747">
                  <c:v>1.8420000000000001E-3</c:v>
                </c:pt>
                <c:pt idx="748">
                  <c:v>1.8420000000000001E-3</c:v>
                </c:pt>
                <c:pt idx="749">
                  <c:v>1.8420000000000001E-3</c:v>
                </c:pt>
                <c:pt idx="750">
                  <c:v>1.8420000000000001E-3</c:v>
                </c:pt>
                <c:pt idx="751">
                  <c:v>1.8420000000000001E-3</c:v>
                </c:pt>
                <c:pt idx="752">
                  <c:v>1.818E-3</c:v>
                </c:pt>
                <c:pt idx="753">
                  <c:v>1.818E-3</c:v>
                </c:pt>
                <c:pt idx="754">
                  <c:v>1.818E-3</c:v>
                </c:pt>
                <c:pt idx="755">
                  <c:v>1.818E-3</c:v>
                </c:pt>
                <c:pt idx="756">
                  <c:v>1.818E-3</c:v>
                </c:pt>
                <c:pt idx="757">
                  <c:v>1.818E-3</c:v>
                </c:pt>
                <c:pt idx="758">
                  <c:v>1.794E-3</c:v>
                </c:pt>
                <c:pt idx="759">
                  <c:v>1.794E-3</c:v>
                </c:pt>
                <c:pt idx="760">
                  <c:v>1.794E-3</c:v>
                </c:pt>
                <c:pt idx="761">
                  <c:v>1.794E-3</c:v>
                </c:pt>
                <c:pt idx="762">
                  <c:v>1.794E-3</c:v>
                </c:pt>
                <c:pt idx="763">
                  <c:v>1.7820000000000002E-3</c:v>
                </c:pt>
                <c:pt idx="764">
                  <c:v>1.7700000000000001E-3</c:v>
                </c:pt>
                <c:pt idx="765">
                  <c:v>1.7700000000000001E-3</c:v>
                </c:pt>
                <c:pt idx="766">
                  <c:v>1.7700000000000001E-3</c:v>
                </c:pt>
                <c:pt idx="767">
                  <c:v>1.7700000000000001E-3</c:v>
                </c:pt>
                <c:pt idx="768">
                  <c:v>1.7700000000000001E-3</c:v>
                </c:pt>
                <c:pt idx="769">
                  <c:v>1.758E-3</c:v>
                </c:pt>
                <c:pt idx="770">
                  <c:v>1.7459999999999999E-3</c:v>
                </c:pt>
                <c:pt idx="771">
                  <c:v>1.7459999999999999E-3</c:v>
                </c:pt>
                <c:pt idx="772">
                  <c:v>1.7459999999999999E-3</c:v>
                </c:pt>
                <c:pt idx="773">
                  <c:v>1.7459999999999999E-3</c:v>
                </c:pt>
                <c:pt idx="774">
                  <c:v>1.7459999999999999E-3</c:v>
                </c:pt>
                <c:pt idx="775">
                  <c:v>1.722E-3</c:v>
                </c:pt>
                <c:pt idx="776">
                  <c:v>1.722E-3</c:v>
                </c:pt>
                <c:pt idx="777">
                  <c:v>1.722E-3</c:v>
                </c:pt>
                <c:pt idx="778">
                  <c:v>1.722E-3</c:v>
                </c:pt>
                <c:pt idx="779">
                  <c:v>1.722E-3</c:v>
                </c:pt>
                <c:pt idx="780">
                  <c:v>1.722E-3</c:v>
                </c:pt>
                <c:pt idx="781">
                  <c:v>1.6980000000000001E-3</c:v>
                </c:pt>
                <c:pt idx="782">
                  <c:v>1.6980000000000001E-3</c:v>
                </c:pt>
                <c:pt idx="783">
                  <c:v>1.6980000000000001E-3</c:v>
                </c:pt>
                <c:pt idx="784">
                  <c:v>1.6980000000000001E-3</c:v>
                </c:pt>
                <c:pt idx="785">
                  <c:v>1.6980000000000001E-3</c:v>
                </c:pt>
                <c:pt idx="786">
                  <c:v>1.6980000000000001E-3</c:v>
                </c:pt>
                <c:pt idx="787">
                  <c:v>1.6750000000000001E-3</c:v>
                </c:pt>
                <c:pt idx="788">
                  <c:v>1.6750000000000001E-3</c:v>
                </c:pt>
                <c:pt idx="789">
                  <c:v>1.6750000000000001E-3</c:v>
                </c:pt>
                <c:pt idx="790">
                  <c:v>1.6750000000000001E-3</c:v>
                </c:pt>
                <c:pt idx="791">
                  <c:v>1.6750000000000001E-3</c:v>
                </c:pt>
                <c:pt idx="792">
                  <c:v>1.663E-3</c:v>
                </c:pt>
                <c:pt idx="793">
                  <c:v>1.6509999999999999E-3</c:v>
                </c:pt>
                <c:pt idx="794">
                  <c:v>1.6509999999999999E-3</c:v>
                </c:pt>
                <c:pt idx="795">
                  <c:v>1.6509999999999999E-3</c:v>
                </c:pt>
                <c:pt idx="796">
                  <c:v>1.6509999999999999E-3</c:v>
                </c:pt>
                <c:pt idx="797">
                  <c:v>1.6509999999999999E-3</c:v>
                </c:pt>
                <c:pt idx="798">
                  <c:v>1.6389999999999998E-3</c:v>
                </c:pt>
                <c:pt idx="799">
                  <c:v>1.627E-3</c:v>
                </c:pt>
                <c:pt idx="800">
                  <c:v>1.627E-3</c:v>
                </c:pt>
                <c:pt idx="801">
                  <c:v>1.627E-3</c:v>
                </c:pt>
                <c:pt idx="802">
                  <c:v>1.627E-3</c:v>
                </c:pt>
                <c:pt idx="803">
                  <c:v>1.627E-3</c:v>
                </c:pt>
                <c:pt idx="804">
                  <c:v>1.603E-3</c:v>
                </c:pt>
                <c:pt idx="805">
                  <c:v>1.603E-3</c:v>
                </c:pt>
                <c:pt idx="806">
                  <c:v>1.603E-3</c:v>
                </c:pt>
                <c:pt idx="807">
                  <c:v>1.603E-3</c:v>
                </c:pt>
                <c:pt idx="808">
                  <c:v>1.603E-3</c:v>
                </c:pt>
                <c:pt idx="809">
                  <c:v>1.603E-3</c:v>
                </c:pt>
                <c:pt idx="810">
                  <c:v>1.5790000000000001E-3</c:v>
                </c:pt>
                <c:pt idx="811">
                  <c:v>1.5790000000000001E-3</c:v>
                </c:pt>
                <c:pt idx="812">
                  <c:v>1.5790000000000001E-3</c:v>
                </c:pt>
                <c:pt idx="813">
                  <c:v>1.5790000000000001E-3</c:v>
                </c:pt>
                <c:pt idx="814">
                  <c:v>1.5790000000000001E-3</c:v>
                </c:pt>
                <c:pt idx="815">
                  <c:v>1.5790000000000001E-3</c:v>
                </c:pt>
                <c:pt idx="816">
                  <c:v>1.555E-3</c:v>
                </c:pt>
                <c:pt idx="817">
                  <c:v>1.555E-3</c:v>
                </c:pt>
                <c:pt idx="818">
                  <c:v>1.555E-3</c:v>
                </c:pt>
                <c:pt idx="819">
                  <c:v>1.555E-3</c:v>
                </c:pt>
                <c:pt idx="820">
                  <c:v>1.555E-3</c:v>
                </c:pt>
                <c:pt idx="821">
                  <c:v>1.5430000000000001E-3</c:v>
                </c:pt>
                <c:pt idx="822">
                  <c:v>1.531E-3</c:v>
                </c:pt>
                <c:pt idx="823">
                  <c:v>1.531E-3</c:v>
                </c:pt>
                <c:pt idx="824">
                  <c:v>1.531E-3</c:v>
                </c:pt>
                <c:pt idx="825">
                  <c:v>1.531E-3</c:v>
                </c:pt>
                <c:pt idx="826">
                  <c:v>1.531E-3</c:v>
                </c:pt>
                <c:pt idx="827">
                  <c:v>1.5070000000000001E-3</c:v>
                </c:pt>
                <c:pt idx="828">
                  <c:v>1.5070000000000001E-3</c:v>
                </c:pt>
                <c:pt idx="829">
                  <c:v>1.5070000000000001E-3</c:v>
                </c:pt>
                <c:pt idx="830">
                  <c:v>1.5070000000000001E-3</c:v>
                </c:pt>
                <c:pt idx="831">
                  <c:v>1.5070000000000001E-3</c:v>
                </c:pt>
                <c:pt idx="832">
                  <c:v>1.5070000000000001E-3</c:v>
                </c:pt>
                <c:pt idx="833">
                  <c:v>1.4840000000000001E-3</c:v>
                </c:pt>
                <c:pt idx="834">
                  <c:v>1.4840000000000001E-3</c:v>
                </c:pt>
                <c:pt idx="835">
                  <c:v>1.4840000000000001E-3</c:v>
                </c:pt>
                <c:pt idx="836">
                  <c:v>1.4840000000000001E-3</c:v>
                </c:pt>
                <c:pt idx="837">
                  <c:v>1.4840000000000001E-3</c:v>
                </c:pt>
                <c:pt idx="838">
                  <c:v>1.4840000000000001E-3</c:v>
                </c:pt>
                <c:pt idx="839">
                  <c:v>1.4599999999999999E-3</c:v>
                </c:pt>
                <c:pt idx="840">
                  <c:v>1.4599999999999999E-3</c:v>
                </c:pt>
                <c:pt idx="841">
                  <c:v>1.4599999999999999E-3</c:v>
                </c:pt>
                <c:pt idx="842">
                  <c:v>1.4599999999999999E-3</c:v>
                </c:pt>
                <c:pt idx="843">
                  <c:v>1.4599999999999999E-3</c:v>
                </c:pt>
                <c:pt idx="844">
                  <c:v>1.4599999999999999E-3</c:v>
                </c:pt>
                <c:pt idx="845">
                  <c:v>1.436E-3</c:v>
                </c:pt>
                <c:pt idx="846">
                  <c:v>1.436E-3</c:v>
                </c:pt>
                <c:pt idx="847">
                  <c:v>1.436E-3</c:v>
                </c:pt>
                <c:pt idx="848">
                  <c:v>1.436E-3</c:v>
                </c:pt>
                <c:pt idx="849">
                  <c:v>1.436E-3</c:v>
                </c:pt>
                <c:pt idx="850">
                  <c:v>1.4239999999999999E-3</c:v>
                </c:pt>
                <c:pt idx="851">
                  <c:v>1.4120000000000001E-3</c:v>
                </c:pt>
                <c:pt idx="852">
                  <c:v>1.4120000000000001E-3</c:v>
                </c:pt>
                <c:pt idx="853">
                  <c:v>1.4120000000000001E-3</c:v>
                </c:pt>
                <c:pt idx="854">
                  <c:v>1.4120000000000001E-3</c:v>
                </c:pt>
                <c:pt idx="855">
                  <c:v>1.4120000000000001E-3</c:v>
                </c:pt>
                <c:pt idx="856">
                  <c:v>1.3879999999999999E-3</c:v>
                </c:pt>
                <c:pt idx="857">
                  <c:v>1.3879999999999999E-3</c:v>
                </c:pt>
                <c:pt idx="858">
                  <c:v>1.3879999999999999E-3</c:v>
                </c:pt>
                <c:pt idx="859">
                  <c:v>1.3879999999999999E-3</c:v>
                </c:pt>
                <c:pt idx="860">
                  <c:v>1.3879999999999999E-3</c:v>
                </c:pt>
                <c:pt idx="861">
                  <c:v>1.3879999999999999E-3</c:v>
                </c:pt>
                <c:pt idx="862">
                  <c:v>1.364E-3</c:v>
                </c:pt>
                <c:pt idx="863">
                  <c:v>1.364E-3</c:v>
                </c:pt>
                <c:pt idx="864">
                  <c:v>1.364E-3</c:v>
                </c:pt>
                <c:pt idx="865">
                  <c:v>1.364E-3</c:v>
                </c:pt>
                <c:pt idx="866">
                  <c:v>1.364E-3</c:v>
                </c:pt>
                <c:pt idx="867">
                  <c:v>1.364E-3</c:v>
                </c:pt>
                <c:pt idx="868">
                  <c:v>1.341E-3</c:v>
                </c:pt>
                <c:pt idx="869">
                  <c:v>1.341E-3</c:v>
                </c:pt>
                <c:pt idx="870">
                  <c:v>1.341E-3</c:v>
                </c:pt>
                <c:pt idx="871">
                  <c:v>1.341E-3</c:v>
                </c:pt>
                <c:pt idx="872">
                  <c:v>1.341E-3</c:v>
                </c:pt>
                <c:pt idx="873">
                  <c:v>1.3289999999999999E-3</c:v>
                </c:pt>
                <c:pt idx="874">
                  <c:v>1.317E-3</c:v>
                </c:pt>
                <c:pt idx="875">
                  <c:v>1.317E-3</c:v>
                </c:pt>
                <c:pt idx="876">
                  <c:v>1.317E-3</c:v>
                </c:pt>
                <c:pt idx="877">
                  <c:v>1.317E-3</c:v>
                </c:pt>
                <c:pt idx="878">
                  <c:v>1.317E-3</c:v>
                </c:pt>
                <c:pt idx="879">
                  <c:v>1.3050000000000002E-3</c:v>
                </c:pt>
                <c:pt idx="880">
                  <c:v>1.2930000000000001E-3</c:v>
                </c:pt>
                <c:pt idx="881">
                  <c:v>1.2930000000000001E-3</c:v>
                </c:pt>
                <c:pt idx="882">
                  <c:v>1.2930000000000001E-3</c:v>
                </c:pt>
                <c:pt idx="883">
                  <c:v>1.2930000000000001E-3</c:v>
                </c:pt>
                <c:pt idx="884">
                  <c:v>1.2930000000000001E-3</c:v>
                </c:pt>
                <c:pt idx="885">
                  <c:v>1.2689999999999999E-3</c:v>
                </c:pt>
                <c:pt idx="886">
                  <c:v>1.2689999999999999E-3</c:v>
                </c:pt>
                <c:pt idx="887">
                  <c:v>1.2689999999999999E-3</c:v>
                </c:pt>
                <c:pt idx="888">
                  <c:v>1.2689999999999999E-3</c:v>
                </c:pt>
                <c:pt idx="889">
                  <c:v>1.2689999999999999E-3</c:v>
                </c:pt>
                <c:pt idx="890">
                  <c:v>1.2689999999999999E-3</c:v>
                </c:pt>
                <c:pt idx="891">
                  <c:v>1.245E-3</c:v>
                </c:pt>
                <c:pt idx="892">
                  <c:v>1.245E-3</c:v>
                </c:pt>
                <c:pt idx="893">
                  <c:v>1.245E-3</c:v>
                </c:pt>
                <c:pt idx="894">
                  <c:v>1.245E-3</c:v>
                </c:pt>
                <c:pt idx="895">
                  <c:v>1.245E-3</c:v>
                </c:pt>
                <c:pt idx="896">
                  <c:v>1.245E-3</c:v>
                </c:pt>
                <c:pt idx="897">
                  <c:v>1.2210000000000001E-3</c:v>
                </c:pt>
                <c:pt idx="898">
                  <c:v>1.2210000000000001E-3</c:v>
                </c:pt>
                <c:pt idx="899">
                  <c:v>1.2210000000000001E-3</c:v>
                </c:pt>
                <c:pt idx="900">
                  <c:v>1.2210000000000001E-3</c:v>
                </c:pt>
                <c:pt idx="901">
                  <c:v>1.2210000000000001E-3</c:v>
                </c:pt>
                <c:pt idx="902">
                  <c:v>1.209E-3</c:v>
                </c:pt>
                <c:pt idx="903">
                  <c:v>1.1969999999999999E-3</c:v>
                </c:pt>
                <c:pt idx="904">
                  <c:v>1.1969999999999999E-3</c:v>
                </c:pt>
                <c:pt idx="905">
                  <c:v>1.1969999999999999E-3</c:v>
                </c:pt>
                <c:pt idx="906">
                  <c:v>1.1969999999999999E-3</c:v>
                </c:pt>
                <c:pt idx="907">
                  <c:v>1.1969999999999999E-3</c:v>
                </c:pt>
                <c:pt idx="908">
                  <c:v>1.1739999999999999E-3</c:v>
                </c:pt>
                <c:pt idx="909">
                  <c:v>1.1739999999999999E-3</c:v>
                </c:pt>
                <c:pt idx="910">
                  <c:v>1.1739999999999999E-3</c:v>
                </c:pt>
                <c:pt idx="911">
                  <c:v>1.1739999999999999E-3</c:v>
                </c:pt>
                <c:pt idx="912">
                  <c:v>1.1739999999999999E-3</c:v>
                </c:pt>
                <c:pt idx="913">
                  <c:v>1.1739999999999999E-3</c:v>
                </c:pt>
                <c:pt idx="914">
                  <c:v>1.15E-3</c:v>
                </c:pt>
                <c:pt idx="915">
                  <c:v>1.15E-3</c:v>
                </c:pt>
                <c:pt idx="916">
                  <c:v>1.15E-3</c:v>
                </c:pt>
                <c:pt idx="917">
                  <c:v>1.15E-3</c:v>
                </c:pt>
                <c:pt idx="918">
                  <c:v>1.15E-3</c:v>
                </c:pt>
                <c:pt idx="919">
                  <c:v>1.15E-3</c:v>
                </c:pt>
                <c:pt idx="920">
                  <c:v>1.126E-3</c:v>
                </c:pt>
                <c:pt idx="921">
                  <c:v>1.126E-3</c:v>
                </c:pt>
                <c:pt idx="922">
                  <c:v>1.126E-3</c:v>
                </c:pt>
                <c:pt idx="923">
                  <c:v>1.126E-3</c:v>
                </c:pt>
                <c:pt idx="924">
                  <c:v>1.126E-3</c:v>
                </c:pt>
                <c:pt idx="925">
                  <c:v>1.126E-3</c:v>
                </c:pt>
                <c:pt idx="926">
                  <c:v>1.1019999999999999E-3</c:v>
                </c:pt>
                <c:pt idx="927">
                  <c:v>1.1019999999999999E-3</c:v>
                </c:pt>
                <c:pt idx="928">
                  <c:v>1.1019999999999999E-3</c:v>
                </c:pt>
                <c:pt idx="929">
                  <c:v>1.1019999999999999E-3</c:v>
                </c:pt>
                <c:pt idx="930">
                  <c:v>1.1019999999999999E-3</c:v>
                </c:pt>
                <c:pt idx="931">
                  <c:v>1.0899999999999998E-3</c:v>
                </c:pt>
                <c:pt idx="932">
                  <c:v>1.078E-3</c:v>
                </c:pt>
                <c:pt idx="933">
                  <c:v>1.078E-3</c:v>
                </c:pt>
                <c:pt idx="934">
                  <c:v>1.078E-3</c:v>
                </c:pt>
                <c:pt idx="935">
                  <c:v>1.078E-3</c:v>
                </c:pt>
                <c:pt idx="936">
                  <c:v>1.078E-3</c:v>
                </c:pt>
                <c:pt idx="937">
                  <c:v>1.054E-3</c:v>
                </c:pt>
                <c:pt idx="938">
                  <c:v>1.054E-3</c:v>
                </c:pt>
                <c:pt idx="939">
                  <c:v>1.054E-3</c:v>
                </c:pt>
                <c:pt idx="940">
                  <c:v>1.054E-3</c:v>
                </c:pt>
                <c:pt idx="941">
                  <c:v>1.054E-3</c:v>
                </c:pt>
                <c:pt idx="942">
                  <c:v>1.054E-3</c:v>
                </c:pt>
                <c:pt idx="943">
                  <c:v>1.0300000000000001E-3</c:v>
                </c:pt>
                <c:pt idx="944">
                  <c:v>1.0300000000000001E-3</c:v>
                </c:pt>
                <c:pt idx="945">
                  <c:v>1.0300000000000001E-3</c:v>
                </c:pt>
                <c:pt idx="946">
                  <c:v>1.0300000000000001E-3</c:v>
                </c:pt>
                <c:pt idx="947">
                  <c:v>1.0300000000000001E-3</c:v>
                </c:pt>
                <c:pt idx="948">
                  <c:v>1.0300000000000001E-3</c:v>
                </c:pt>
                <c:pt idx="949">
                  <c:v>1.0070000000000001E-3</c:v>
                </c:pt>
                <c:pt idx="950">
                  <c:v>1.0070000000000001E-3</c:v>
                </c:pt>
                <c:pt idx="951">
                  <c:v>1.0070000000000001E-3</c:v>
                </c:pt>
                <c:pt idx="952">
                  <c:v>1.0070000000000001E-3</c:v>
                </c:pt>
                <c:pt idx="953">
                  <c:v>1.0070000000000001E-3</c:v>
                </c:pt>
                <c:pt idx="954">
                  <c:v>9.9500000000000001E-4</c:v>
                </c:pt>
                <c:pt idx="955">
                  <c:v>9.8299999999999993E-4</c:v>
                </c:pt>
                <c:pt idx="956">
                  <c:v>9.8299999999999993E-4</c:v>
                </c:pt>
                <c:pt idx="957">
                  <c:v>9.8299999999999993E-4</c:v>
                </c:pt>
                <c:pt idx="958">
                  <c:v>9.8299999999999993E-4</c:v>
                </c:pt>
                <c:pt idx="959">
                  <c:v>9.8299999999999993E-4</c:v>
                </c:pt>
                <c:pt idx="960">
                  <c:v>9.7099999999999997E-4</c:v>
                </c:pt>
                <c:pt idx="961">
                  <c:v>9.59E-4</c:v>
                </c:pt>
                <c:pt idx="962">
                  <c:v>9.59E-4</c:v>
                </c:pt>
                <c:pt idx="963">
                  <c:v>9.59E-4</c:v>
                </c:pt>
                <c:pt idx="964">
                  <c:v>9.59E-4</c:v>
                </c:pt>
                <c:pt idx="965">
                  <c:v>9.59E-4</c:v>
                </c:pt>
                <c:pt idx="966">
                  <c:v>9.3499999999999996E-4</c:v>
                </c:pt>
                <c:pt idx="967">
                  <c:v>9.3499999999999996E-4</c:v>
                </c:pt>
                <c:pt idx="968">
                  <c:v>9.3499999999999996E-4</c:v>
                </c:pt>
                <c:pt idx="969">
                  <c:v>9.3499999999999996E-4</c:v>
                </c:pt>
                <c:pt idx="970">
                  <c:v>9.3499999999999996E-4</c:v>
                </c:pt>
                <c:pt idx="971">
                  <c:v>9.3499999999999996E-4</c:v>
                </c:pt>
                <c:pt idx="972">
                  <c:v>9.1100000000000003E-4</c:v>
                </c:pt>
                <c:pt idx="973">
                  <c:v>9.1100000000000003E-4</c:v>
                </c:pt>
                <c:pt idx="974">
                  <c:v>9.1100000000000003E-4</c:v>
                </c:pt>
                <c:pt idx="975">
                  <c:v>9.1100000000000003E-4</c:v>
                </c:pt>
                <c:pt idx="976">
                  <c:v>9.1100000000000003E-4</c:v>
                </c:pt>
                <c:pt idx="977">
                  <c:v>9.1100000000000003E-4</c:v>
                </c:pt>
                <c:pt idx="978">
                  <c:v>8.8699999999999998E-4</c:v>
                </c:pt>
                <c:pt idx="979">
                  <c:v>8.8699999999999998E-4</c:v>
                </c:pt>
                <c:pt idx="980">
                  <c:v>8.8699999999999998E-4</c:v>
                </c:pt>
                <c:pt idx="981">
                  <c:v>8.8699999999999998E-4</c:v>
                </c:pt>
                <c:pt idx="982">
                  <c:v>8.8699999999999998E-4</c:v>
                </c:pt>
                <c:pt idx="983">
                  <c:v>8.7549999999999998E-4</c:v>
                </c:pt>
                <c:pt idx="984">
                  <c:v>8.6399999999999997E-4</c:v>
                </c:pt>
                <c:pt idx="985">
                  <c:v>8.6399999999999997E-4</c:v>
                </c:pt>
                <c:pt idx="986">
                  <c:v>8.6399999999999997E-4</c:v>
                </c:pt>
                <c:pt idx="987">
                  <c:v>8.6399999999999997E-4</c:v>
                </c:pt>
                <c:pt idx="988">
                  <c:v>8.6399999999999997E-4</c:v>
                </c:pt>
                <c:pt idx="989">
                  <c:v>8.52E-4</c:v>
                </c:pt>
                <c:pt idx="990">
                  <c:v>8.4000000000000003E-4</c:v>
                </c:pt>
                <c:pt idx="991">
                  <c:v>8.4000000000000003E-4</c:v>
                </c:pt>
                <c:pt idx="992">
                  <c:v>8.4000000000000003E-4</c:v>
                </c:pt>
                <c:pt idx="993">
                  <c:v>8.4000000000000003E-4</c:v>
                </c:pt>
                <c:pt idx="994">
                  <c:v>8.4000000000000003E-4</c:v>
                </c:pt>
                <c:pt idx="995">
                  <c:v>8.1599999999999999E-4</c:v>
                </c:pt>
                <c:pt idx="996">
                  <c:v>8.1599999999999999E-4</c:v>
                </c:pt>
                <c:pt idx="997">
                  <c:v>8.1599999999999999E-4</c:v>
                </c:pt>
                <c:pt idx="998">
                  <c:v>8.1599999999999999E-4</c:v>
                </c:pt>
                <c:pt idx="999">
                  <c:v>8.1599999999999999E-4</c:v>
                </c:pt>
                <c:pt idx="1000">
                  <c:v>8.1599999999999999E-4</c:v>
                </c:pt>
                <c:pt idx="1001">
                  <c:v>7.9199999999999995E-4</c:v>
                </c:pt>
                <c:pt idx="1002">
                  <c:v>7.9199999999999995E-4</c:v>
                </c:pt>
                <c:pt idx="1003">
                  <c:v>7.9199999999999995E-4</c:v>
                </c:pt>
                <c:pt idx="1004">
                  <c:v>7.9199999999999995E-4</c:v>
                </c:pt>
                <c:pt idx="1005">
                  <c:v>7.9199999999999995E-4</c:v>
                </c:pt>
                <c:pt idx="1006">
                  <c:v>7.9199999999999995E-4</c:v>
                </c:pt>
                <c:pt idx="1007">
                  <c:v>7.6800000000000002E-4</c:v>
                </c:pt>
                <c:pt idx="1008">
                  <c:v>7.6800000000000002E-4</c:v>
                </c:pt>
                <c:pt idx="1009">
                  <c:v>7.6800000000000002E-4</c:v>
                </c:pt>
                <c:pt idx="1010">
                  <c:v>7.6800000000000002E-4</c:v>
                </c:pt>
                <c:pt idx="1011">
                  <c:v>7.6800000000000002E-4</c:v>
                </c:pt>
                <c:pt idx="1012">
                  <c:v>7.5599999999999994E-4</c:v>
                </c:pt>
                <c:pt idx="1013">
                  <c:v>7.4399999999999998E-4</c:v>
                </c:pt>
                <c:pt idx="1014">
                  <c:v>7.4399999999999998E-4</c:v>
                </c:pt>
                <c:pt idx="1015">
                  <c:v>7.4399999999999998E-4</c:v>
                </c:pt>
                <c:pt idx="1016">
                  <c:v>7.4399999999999998E-4</c:v>
                </c:pt>
                <c:pt idx="1017">
                  <c:v>7.4399999999999998E-4</c:v>
                </c:pt>
                <c:pt idx="1018">
                  <c:v>7.2099999999999996E-4</c:v>
                </c:pt>
                <c:pt idx="1019">
                  <c:v>7.2099999999999996E-4</c:v>
                </c:pt>
                <c:pt idx="1020">
                  <c:v>7.2099999999999996E-4</c:v>
                </c:pt>
                <c:pt idx="1021">
                  <c:v>7.2099999999999996E-4</c:v>
                </c:pt>
                <c:pt idx="1022">
                  <c:v>7.2099999999999996E-4</c:v>
                </c:pt>
                <c:pt idx="1023">
                  <c:v>7.2099999999999996E-4</c:v>
                </c:pt>
                <c:pt idx="1024">
                  <c:v>6.9700000000000003E-4</c:v>
                </c:pt>
                <c:pt idx="1025">
                  <c:v>6.9700000000000003E-4</c:v>
                </c:pt>
                <c:pt idx="1026">
                  <c:v>6.9700000000000003E-4</c:v>
                </c:pt>
                <c:pt idx="1027">
                  <c:v>6.9700000000000003E-4</c:v>
                </c:pt>
                <c:pt idx="1028">
                  <c:v>6.9700000000000003E-4</c:v>
                </c:pt>
                <c:pt idx="1029">
                  <c:v>6.9700000000000003E-4</c:v>
                </c:pt>
                <c:pt idx="1030">
                  <c:v>6.7299999999999999E-4</c:v>
                </c:pt>
                <c:pt idx="1031">
                  <c:v>6.7299999999999999E-4</c:v>
                </c:pt>
                <c:pt idx="1032">
                  <c:v>6.7299999999999999E-4</c:v>
                </c:pt>
                <c:pt idx="1033">
                  <c:v>6.7299999999999999E-4</c:v>
                </c:pt>
                <c:pt idx="1034">
                  <c:v>6.7299999999999999E-4</c:v>
                </c:pt>
                <c:pt idx="1035">
                  <c:v>6.7299999999999999E-4</c:v>
                </c:pt>
                <c:pt idx="1036">
                  <c:v>6.4899999999999995E-4</c:v>
                </c:pt>
                <c:pt idx="1037">
                  <c:v>6.4899999999999995E-4</c:v>
                </c:pt>
                <c:pt idx="1038">
                  <c:v>6.4899999999999995E-4</c:v>
                </c:pt>
                <c:pt idx="1039">
                  <c:v>6.4899999999999995E-4</c:v>
                </c:pt>
                <c:pt idx="1040">
                  <c:v>6.4899999999999995E-4</c:v>
                </c:pt>
                <c:pt idx="1041">
                  <c:v>6.3699999999999998E-4</c:v>
                </c:pt>
                <c:pt idx="1042">
                  <c:v>6.2500000000000001E-4</c:v>
                </c:pt>
                <c:pt idx="1043">
                  <c:v>6.2500000000000001E-4</c:v>
                </c:pt>
                <c:pt idx="1044">
                  <c:v>6.2500000000000001E-4</c:v>
                </c:pt>
                <c:pt idx="1045">
                  <c:v>6.2500000000000001E-4</c:v>
                </c:pt>
                <c:pt idx="1046">
                  <c:v>6.2500000000000001E-4</c:v>
                </c:pt>
                <c:pt idx="1047">
                  <c:v>6.0099999999999997E-4</c:v>
                </c:pt>
                <c:pt idx="1048">
                  <c:v>6.0099999999999997E-4</c:v>
                </c:pt>
                <c:pt idx="1049">
                  <c:v>6.0099999999999997E-4</c:v>
                </c:pt>
                <c:pt idx="1050">
                  <c:v>6.0099999999999997E-4</c:v>
                </c:pt>
                <c:pt idx="1051">
                  <c:v>6.0099999999999997E-4</c:v>
                </c:pt>
                <c:pt idx="1052">
                  <c:v>6.0099999999999997E-4</c:v>
                </c:pt>
                <c:pt idx="1053">
                  <c:v>5.7799999999999995E-4</c:v>
                </c:pt>
                <c:pt idx="1054">
                  <c:v>5.7799999999999995E-4</c:v>
                </c:pt>
                <c:pt idx="1055">
                  <c:v>5.7799999999999995E-4</c:v>
                </c:pt>
                <c:pt idx="1056">
                  <c:v>5.7799999999999995E-4</c:v>
                </c:pt>
                <c:pt idx="1057">
                  <c:v>5.7799999999999995E-4</c:v>
                </c:pt>
                <c:pt idx="1058">
                  <c:v>5.7799999999999995E-4</c:v>
                </c:pt>
                <c:pt idx="1059">
                  <c:v>5.5400000000000002E-4</c:v>
                </c:pt>
                <c:pt idx="1060">
                  <c:v>5.5400000000000002E-4</c:v>
                </c:pt>
                <c:pt idx="1061">
                  <c:v>5.5400000000000002E-4</c:v>
                </c:pt>
                <c:pt idx="1062">
                  <c:v>5.5400000000000002E-4</c:v>
                </c:pt>
                <c:pt idx="1063">
                  <c:v>5.5400000000000002E-4</c:v>
                </c:pt>
                <c:pt idx="1064">
                  <c:v>5.4199999999999995E-4</c:v>
                </c:pt>
                <c:pt idx="1065">
                  <c:v>5.2999999999999998E-4</c:v>
                </c:pt>
                <c:pt idx="1066">
                  <c:v>5.2999999999999998E-4</c:v>
                </c:pt>
                <c:pt idx="1067">
                  <c:v>5.2999999999999998E-4</c:v>
                </c:pt>
                <c:pt idx="1068">
                  <c:v>5.2999999999999998E-4</c:v>
                </c:pt>
                <c:pt idx="1069">
                  <c:v>5.2999999999999998E-4</c:v>
                </c:pt>
                <c:pt idx="1070">
                  <c:v>5.1800000000000001E-4</c:v>
                </c:pt>
                <c:pt idx="1071">
                  <c:v>5.0600000000000005E-4</c:v>
                </c:pt>
                <c:pt idx="1072">
                  <c:v>5.0600000000000005E-4</c:v>
                </c:pt>
                <c:pt idx="1073">
                  <c:v>5.0600000000000005E-4</c:v>
                </c:pt>
                <c:pt idx="1074">
                  <c:v>5.0600000000000005E-4</c:v>
                </c:pt>
                <c:pt idx="1075">
                  <c:v>5.0600000000000005E-4</c:v>
                </c:pt>
                <c:pt idx="1076">
                  <c:v>4.8200000000000001E-4</c:v>
                </c:pt>
                <c:pt idx="1077">
                  <c:v>4.8200000000000001E-4</c:v>
                </c:pt>
                <c:pt idx="1078">
                  <c:v>4.8200000000000001E-4</c:v>
                </c:pt>
                <c:pt idx="1079">
                  <c:v>4.8200000000000001E-4</c:v>
                </c:pt>
                <c:pt idx="1080">
                  <c:v>4.8200000000000001E-4</c:v>
                </c:pt>
                <c:pt idx="1081">
                  <c:v>4.8200000000000001E-4</c:v>
                </c:pt>
                <c:pt idx="1082">
                  <c:v>4.5800000000000002E-4</c:v>
                </c:pt>
                <c:pt idx="1083">
                  <c:v>4.5800000000000002E-4</c:v>
                </c:pt>
                <c:pt idx="1084">
                  <c:v>4.5800000000000002E-4</c:v>
                </c:pt>
                <c:pt idx="1085">
                  <c:v>4.5800000000000002E-4</c:v>
                </c:pt>
                <c:pt idx="1086">
                  <c:v>4.5800000000000002E-4</c:v>
                </c:pt>
                <c:pt idx="1087">
                  <c:v>4.5800000000000002E-4</c:v>
                </c:pt>
                <c:pt idx="1088">
                  <c:v>4.35E-4</c:v>
                </c:pt>
                <c:pt idx="1089">
                  <c:v>4.35E-4</c:v>
                </c:pt>
                <c:pt idx="1090">
                  <c:v>4.35E-4</c:v>
                </c:pt>
                <c:pt idx="1091">
                  <c:v>4.35E-4</c:v>
                </c:pt>
                <c:pt idx="1092">
                  <c:v>4.35E-4</c:v>
                </c:pt>
                <c:pt idx="1093">
                  <c:v>4.2299999999999998E-4</c:v>
                </c:pt>
                <c:pt idx="1094">
                  <c:v>4.1100000000000002E-4</c:v>
                </c:pt>
                <c:pt idx="1095">
                  <c:v>4.1100000000000002E-4</c:v>
                </c:pt>
                <c:pt idx="1096">
                  <c:v>4.1100000000000002E-4</c:v>
                </c:pt>
                <c:pt idx="1097">
                  <c:v>4.1100000000000002E-4</c:v>
                </c:pt>
                <c:pt idx="1098">
                  <c:v>4.1100000000000002E-4</c:v>
                </c:pt>
                <c:pt idx="1099">
                  <c:v>3.8699999999999997E-4</c:v>
                </c:pt>
                <c:pt idx="1100">
                  <c:v>3.8699999999999997E-4</c:v>
                </c:pt>
                <c:pt idx="1101">
                  <c:v>3.8699999999999997E-4</c:v>
                </c:pt>
                <c:pt idx="1102">
                  <c:v>3.8699999999999997E-4</c:v>
                </c:pt>
                <c:pt idx="1103">
                  <c:v>3.8699999999999997E-4</c:v>
                </c:pt>
                <c:pt idx="1104">
                  <c:v>3.8699999999999997E-4</c:v>
                </c:pt>
                <c:pt idx="1105">
                  <c:v>3.6299999999999999E-4</c:v>
                </c:pt>
                <c:pt idx="1106">
                  <c:v>3.6299999999999999E-4</c:v>
                </c:pt>
                <c:pt idx="1107">
                  <c:v>3.6299999999999999E-4</c:v>
                </c:pt>
                <c:pt idx="1108">
                  <c:v>3.6299999999999999E-4</c:v>
                </c:pt>
                <c:pt idx="1109">
                  <c:v>3.6299999999999999E-4</c:v>
                </c:pt>
                <c:pt idx="1110">
                  <c:v>3.6299999999999999E-4</c:v>
                </c:pt>
                <c:pt idx="1111">
                  <c:v>3.39E-4</c:v>
                </c:pt>
                <c:pt idx="1112">
                  <c:v>3.39E-4</c:v>
                </c:pt>
                <c:pt idx="1113">
                  <c:v>3.39E-4</c:v>
                </c:pt>
                <c:pt idx="1114">
                  <c:v>3.39E-4</c:v>
                </c:pt>
                <c:pt idx="1115">
                  <c:v>3.39E-4</c:v>
                </c:pt>
                <c:pt idx="1116">
                  <c:v>3.39E-4</c:v>
                </c:pt>
                <c:pt idx="1117">
                  <c:v>3.1500000000000001E-4</c:v>
                </c:pt>
                <c:pt idx="1118">
                  <c:v>3.1500000000000001E-4</c:v>
                </c:pt>
                <c:pt idx="1119">
                  <c:v>3.1500000000000001E-4</c:v>
                </c:pt>
                <c:pt idx="1120">
                  <c:v>3.1500000000000001E-4</c:v>
                </c:pt>
                <c:pt idx="1121">
                  <c:v>3.1500000000000001E-4</c:v>
                </c:pt>
                <c:pt idx="1122">
                  <c:v>3.035E-4</c:v>
                </c:pt>
                <c:pt idx="1123">
                  <c:v>2.92E-4</c:v>
                </c:pt>
                <c:pt idx="1124">
                  <c:v>2.92E-4</c:v>
                </c:pt>
                <c:pt idx="1125">
                  <c:v>2.92E-4</c:v>
                </c:pt>
                <c:pt idx="1126">
                  <c:v>2.92E-4</c:v>
                </c:pt>
                <c:pt idx="1127">
                  <c:v>2.92E-4</c:v>
                </c:pt>
                <c:pt idx="1128">
                  <c:v>2.6800000000000001E-4</c:v>
                </c:pt>
                <c:pt idx="1129">
                  <c:v>2.6800000000000001E-4</c:v>
                </c:pt>
                <c:pt idx="1130">
                  <c:v>2.6800000000000001E-4</c:v>
                </c:pt>
                <c:pt idx="1131">
                  <c:v>2.6800000000000001E-4</c:v>
                </c:pt>
                <c:pt idx="1132">
                  <c:v>2.6800000000000001E-4</c:v>
                </c:pt>
                <c:pt idx="1133">
                  <c:v>2.6800000000000001E-4</c:v>
                </c:pt>
                <c:pt idx="1134">
                  <c:v>2.4399999999999999E-4</c:v>
                </c:pt>
                <c:pt idx="1135">
                  <c:v>2.4399999999999999E-4</c:v>
                </c:pt>
                <c:pt idx="1136">
                  <c:v>2.4399999999999999E-4</c:v>
                </c:pt>
                <c:pt idx="1137">
                  <c:v>2.4399999999999999E-4</c:v>
                </c:pt>
                <c:pt idx="1138">
                  <c:v>2.4399999999999999E-4</c:v>
                </c:pt>
                <c:pt idx="1139">
                  <c:v>2.4399999999999999E-4</c:v>
                </c:pt>
                <c:pt idx="1140">
                  <c:v>2.2000000000000001E-4</c:v>
                </c:pt>
                <c:pt idx="1141">
                  <c:v>2.2000000000000001E-4</c:v>
                </c:pt>
                <c:pt idx="1142">
                  <c:v>2.2000000000000001E-4</c:v>
                </c:pt>
                <c:pt idx="1143">
                  <c:v>2.2000000000000001E-4</c:v>
                </c:pt>
                <c:pt idx="1144">
                  <c:v>2.2000000000000001E-4</c:v>
                </c:pt>
                <c:pt idx="1145">
                  <c:v>2.0800000000000001E-4</c:v>
                </c:pt>
                <c:pt idx="1146">
                  <c:v>1.9599999999999999E-4</c:v>
                </c:pt>
                <c:pt idx="1147">
                  <c:v>1.9599999999999999E-4</c:v>
                </c:pt>
                <c:pt idx="1148">
                  <c:v>1.9599999999999999E-4</c:v>
                </c:pt>
                <c:pt idx="1149">
                  <c:v>1.9599999999999999E-4</c:v>
                </c:pt>
                <c:pt idx="1150">
                  <c:v>1.9599999999999999E-4</c:v>
                </c:pt>
                <c:pt idx="1151">
                  <c:v>1.84E-4</c:v>
                </c:pt>
                <c:pt idx="1152">
                  <c:v>1.7200000000000001E-4</c:v>
                </c:pt>
                <c:pt idx="1153">
                  <c:v>1.7200000000000001E-4</c:v>
                </c:pt>
                <c:pt idx="1154">
                  <c:v>1.7200000000000001E-4</c:v>
                </c:pt>
                <c:pt idx="1155">
                  <c:v>1.7200000000000001E-4</c:v>
                </c:pt>
                <c:pt idx="1156">
                  <c:v>1.7200000000000001E-4</c:v>
                </c:pt>
                <c:pt idx="1157">
                  <c:v>1.4899999999999999E-4</c:v>
                </c:pt>
                <c:pt idx="1158">
                  <c:v>1.4899999999999999E-4</c:v>
                </c:pt>
                <c:pt idx="1159">
                  <c:v>1.4899999999999999E-4</c:v>
                </c:pt>
                <c:pt idx="1160">
                  <c:v>1.4899999999999999E-4</c:v>
                </c:pt>
                <c:pt idx="1161">
                  <c:v>1.4899999999999999E-4</c:v>
                </c:pt>
                <c:pt idx="1162">
                  <c:v>1.4899999999999999E-4</c:v>
                </c:pt>
                <c:pt idx="1163">
                  <c:v>1.25E-4</c:v>
                </c:pt>
                <c:pt idx="1164">
                  <c:v>1.25E-4</c:v>
                </c:pt>
                <c:pt idx="1165">
                  <c:v>1.25E-4</c:v>
                </c:pt>
                <c:pt idx="1166">
                  <c:v>1.25E-4</c:v>
                </c:pt>
                <c:pt idx="1167">
                  <c:v>1.25E-4</c:v>
                </c:pt>
                <c:pt idx="1168">
                  <c:v>1.25E-4</c:v>
                </c:pt>
                <c:pt idx="1169">
                  <c:v>1.01E-4</c:v>
                </c:pt>
                <c:pt idx="1170">
                  <c:v>1.01E-4</c:v>
                </c:pt>
                <c:pt idx="1171">
                  <c:v>1.01E-4</c:v>
                </c:pt>
                <c:pt idx="1172">
                  <c:v>1.01E-4</c:v>
                </c:pt>
                <c:pt idx="1173">
                  <c:v>1.01E-4</c:v>
                </c:pt>
                <c:pt idx="1174">
                  <c:v>8.8999999999999995E-5</c:v>
                </c:pt>
                <c:pt idx="1175">
                  <c:v>7.7000000000000001E-5</c:v>
                </c:pt>
                <c:pt idx="1176">
                  <c:v>7.7000000000000001E-5</c:v>
                </c:pt>
                <c:pt idx="1177">
                  <c:v>7.7000000000000001E-5</c:v>
                </c:pt>
                <c:pt idx="1178">
                  <c:v>7.7000000000000001E-5</c:v>
                </c:pt>
                <c:pt idx="1179">
                  <c:v>7.7000000000000001E-5</c:v>
                </c:pt>
                <c:pt idx="1180">
                  <c:v>6.5000000000000008E-5</c:v>
                </c:pt>
                <c:pt idx="1181">
                  <c:v>5.3000000000000001E-5</c:v>
                </c:pt>
                <c:pt idx="1182">
                  <c:v>5.3000000000000001E-5</c:v>
                </c:pt>
                <c:pt idx="1183">
                  <c:v>5.3000000000000001E-5</c:v>
                </c:pt>
                <c:pt idx="1184">
                  <c:v>5.3000000000000001E-5</c:v>
                </c:pt>
                <c:pt idx="1185">
                  <c:v>5.3000000000000001E-5</c:v>
                </c:pt>
                <c:pt idx="1186">
                  <c:v>2.9E-5</c:v>
                </c:pt>
                <c:pt idx="1187">
                  <c:v>2.9E-5</c:v>
                </c:pt>
                <c:pt idx="1188">
                  <c:v>2.9E-5</c:v>
                </c:pt>
                <c:pt idx="1189">
                  <c:v>2.9E-5</c:v>
                </c:pt>
                <c:pt idx="1190">
                  <c:v>2.9E-5</c:v>
                </c:pt>
                <c:pt idx="1191">
                  <c:v>2.9E-5</c:v>
                </c:pt>
                <c:pt idx="1192">
                  <c:v>6.0000000000000002E-6</c:v>
                </c:pt>
                <c:pt idx="1193">
                  <c:v>6.0000000000000002E-6</c:v>
                </c:pt>
                <c:pt idx="1194">
                  <c:v>6.0000000000000002E-6</c:v>
                </c:pt>
                <c:pt idx="1195">
                  <c:v>6.0000000000000002E-6</c:v>
                </c:pt>
                <c:pt idx="1196">
                  <c:v>6.0000000000000002E-6</c:v>
                </c:pt>
                <c:pt idx="1197">
                  <c:v>6.0000000000000002E-6</c:v>
                </c:pt>
                <c:pt idx="1198">
                  <c:v>-1.8E-5</c:v>
                </c:pt>
                <c:pt idx="1199">
                  <c:v>-1.8E-5</c:v>
                </c:pt>
                <c:pt idx="1200">
                  <c:v>-1.8E-5</c:v>
                </c:pt>
                <c:pt idx="1201">
                  <c:v>-1.8E-5</c:v>
                </c:pt>
                <c:pt idx="1202">
                  <c:v>-1.8E-5</c:v>
                </c:pt>
                <c:pt idx="1203">
                  <c:v>-2.9999999999999997E-5</c:v>
                </c:pt>
                <c:pt idx="1204">
                  <c:v>-4.1999999999999998E-5</c:v>
                </c:pt>
                <c:pt idx="1205">
                  <c:v>-4.1999999999999998E-5</c:v>
                </c:pt>
                <c:pt idx="1206">
                  <c:v>-4.1999999999999998E-5</c:v>
                </c:pt>
                <c:pt idx="1207">
                  <c:v>-4.1999999999999998E-5</c:v>
                </c:pt>
                <c:pt idx="1208">
                  <c:v>-4.1999999999999998E-5</c:v>
                </c:pt>
                <c:pt idx="1209">
                  <c:v>-6.6000000000000005E-5</c:v>
                </c:pt>
                <c:pt idx="1210">
                  <c:v>-6.6000000000000005E-5</c:v>
                </c:pt>
                <c:pt idx="1211">
                  <c:v>-6.6000000000000005E-5</c:v>
                </c:pt>
                <c:pt idx="1212">
                  <c:v>-6.6000000000000005E-5</c:v>
                </c:pt>
                <c:pt idx="1213">
                  <c:v>-6.6000000000000005E-5</c:v>
                </c:pt>
                <c:pt idx="1214">
                  <c:v>-6.6000000000000005E-5</c:v>
                </c:pt>
                <c:pt idx="1215">
                  <c:v>-9.0000000000000006E-5</c:v>
                </c:pt>
                <c:pt idx="1216">
                  <c:v>-9.0000000000000006E-5</c:v>
                </c:pt>
                <c:pt idx="1217">
                  <c:v>-9.0000000000000006E-5</c:v>
                </c:pt>
                <c:pt idx="1218">
                  <c:v>-9.0000000000000006E-5</c:v>
                </c:pt>
                <c:pt idx="1219">
                  <c:v>-9.0000000000000006E-5</c:v>
                </c:pt>
                <c:pt idx="1220">
                  <c:v>-9.0000000000000006E-5</c:v>
                </c:pt>
                <c:pt idx="1221">
                  <c:v>-1.1400000000000001E-4</c:v>
                </c:pt>
                <c:pt idx="1222">
                  <c:v>-1.1400000000000001E-4</c:v>
                </c:pt>
                <c:pt idx="1223">
                  <c:v>-1.1400000000000001E-4</c:v>
                </c:pt>
                <c:pt idx="1224">
                  <c:v>-1.1400000000000001E-4</c:v>
                </c:pt>
                <c:pt idx="1225">
                  <c:v>-1.1400000000000001E-4</c:v>
                </c:pt>
                <c:pt idx="1226">
                  <c:v>-1.1400000000000001E-4</c:v>
                </c:pt>
                <c:pt idx="1227">
                  <c:v>-1.37E-4</c:v>
                </c:pt>
                <c:pt idx="1228">
                  <c:v>-1.37E-4</c:v>
                </c:pt>
                <c:pt idx="1229">
                  <c:v>-1.37E-4</c:v>
                </c:pt>
                <c:pt idx="1230">
                  <c:v>-1.37E-4</c:v>
                </c:pt>
                <c:pt idx="1231">
                  <c:v>-1.37E-4</c:v>
                </c:pt>
                <c:pt idx="1232">
                  <c:v>-1.4899999999999999E-4</c:v>
                </c:pt>
                <c:pt idx="1233">
                  <c:v>-1.6100000000000001E-4</c:v>
                </c:pt>
                <c:pt idx="1234">
                  <c:v>-1.6100000000000001E-4</c:v>
                </c:pt>
                <c:pt idx="1235">
                  <c:v>-1.6100000000000001E-4</c:v>
                </c:pt>
                <c:pt idx="1236">
                  <c:v>-1.6100000000000001E-4</c:v>
                </c:pt>
                <c:pt idx="1237">
                  <c:v>-1.6100000000000001E-4</c:v>
                </c:pt>
                <c:pt idx="1238">
                  <c:v>-1.85E-4</c:v>
                </c:pt>
                <c:pt idx="1239">
                  <c:v>-1.85E-4</c:v>
                </c:pt>
                <c:pt idx="1240">
                  <c:v>-1.85E-4</c:v>
                </c:pt>
                <c:pt idx="1241">
                  <c:v>-1.85E-4</c:v>
                </c:pt>
                <c:pt idx="1242">
                  <c:v>-1.85E-4</c:v>
                </c:pt>
                <c:pt idx="1243">
                  <c:v>-1.85E-4</c:v>
                </c:pt>
                <c:pt idx="1244">
                  <c:v>-2.0900000000000001E-4</c:v>
                </c:pt>
                <c:pt idx="1245">
                  <c:v>-2.0900000000000001E-4</c:v>
                </c:pt>
                <c:pt idx="1246">
                  <c:v>-2.0900000000000001E-4</c:v>
                </c:pt>
                <c:pt idx="1247">
                  <c:v>-2.0900000000000001E-4</c:v>
                </c:pt>
                <c:pt idx="1248">
                  <c:v>-2.0900000000000001E-4</c:v>
                </c:pt>
                <c:pt idx="1249">
                  <c:v>-2.0900000000000001E-4</c:v>
                </c:pt>
                <c:pt idx="1250">
                  <c:v>-2.33E-4</c:v>
                </c:pt>
                <c:pt idx="1251">
                  <c:v>-2.33E-4</c:v>
                </c:pt>
                <c:pt idx="1252">
                  <c:v>-2.33E-4</c:v>
                </c:pt>
                <c:pt idx="1253">
                  <c:v>-2.33E-4</c:v>
                </c:pt>
                <c:pt idx="1254">
                  <c:v>-2.33E-4</c:v>
                </c:pt>
                <c:pt idx="1255">
                  <c:v>-2.4499999999999999E-4</c:v>
                </c:pt>
                <c:pt idx="1256">
                  <c:v>-2.5700000000000001E-4</c:v>
                </c:pt>
                <c:pt idx="1257">
                  <c:v>-2.5700000000000001E-4</c:v>
                </c:pt>
                <c:pt idx="1258">
                  <c:v>-2.5700000000000001E-4</c:v>
                </c:pt>
                <c:pt idx="1259">
                  <c:v>-2.5700000000000001E-4</c:v>
                </c:pt>
                <c:pt idx="1260">
                  <c:v>-2.5700000000000001E-4</c:v>
                </c:pt>
                <c:pt idx="1261">
                  <c:v>-2.6849999999999997E-4</c:v>
                </c:pt>
                <c:pt idx="1262">
                  <c:v>-2.7999999999999998E-4</c:v>
                </c:pt>
                <c:pt idx="1263">
                  <c:v>-2.7999999999999998E-4</c:v>
                </c:pt>
                <c:pt idx="1264">
                  <c:v>-2.7999999999999998E-4</c:v>
                </c:pt>
                <c:pt idx="1265">
                  <c:v>-2.7999999999999998E-4</c:v>
                </c:pt>
                <c:pt idx="1266">
                  <c:v>-2.7999999999999998E-4</c:v>
                </c:pt>
                <c:pt idx="1267">
                  <c:v>-3.0400000000000002E-4</c:v>
                </c:pt>
                <c:pt idx="1268">
                  <c:v>-3.0400000000000002E-4</c:v>
                </c:pt>
                <c:pt idx="1269">
                  <c:v>-3.0400000000000002E-4</c:v>
                </c:pt>
                <c:pt idx="1270">
                  <c:v>-3.0400000000000002E-4</c:v>
                </c:pt>
                <c:pt idx="1271">
                  <c:v>-3.0400000000000002E-4</c:v>
                </c:pt>
                <c:pt idx="1272">
                  <c:v>-3.0400000000000002E-4</c:v>
                </c:pt>
                <c:pt idx="1273">
                  <c:v>-3.28E-4</c:v>
                </c:pt>
                <c:pt idx="1274">
                  <c:v>-3.28E-4</c:v>
                </c:pt>
                <c:pt idx="1275">
                  <c:v>-3.28E-4</c:v>
                </c:pt>
                <c:pt idx="1276">
                  <c:v>-3.28E-4</c:v>
                </c:pt>
                <c:pt idx="1277">
                  <c:v>-3.28E-4</c:v>
                </c:pt>
                <c:pt idx="1278">
                  <c:v>-3.28E-4</c:v>
                </c:pt>
                <c:pt idx="1279">
                  <c:v>-3.5199999999999999E-4</c:v>
                </c:pt>
                <c:pt idx="1280">
                  <c:v>-3.5199999999999999E-4</c:v>
                </c:pt>
                <c:pt idx="1281">
                  <c:v>-3.5199999999999999E-4</c:v>
                </c:pt>
                <c:pt idx="1282">
                  <c:v>-3.5199999999999999E-4</c:v>
                </c:pt>
                <c:pt idx="1283">
                  <c:v>-3.5199999999999999E-4</c:v>
                </c:pt>
                <c:pt idx="1284">
                  <c:v>-3.6399999999999996E-4</c:v>
                </c:pt>
                <c:pt idx="1285">
                  <c:v>-3.7599999999999998E-4</c:v>
                </c:pt>
                <c:pt idx="1286">
                  <c:v>-3.7599999999999998E-4</c:v>
                </c:pt>
                <c:pt idx="1287">
                  <c:v>-3.7599999999999998E-4</c:v>
                </c:pt>
                <c:pt idx="1288">
                  <c:v>-3.7599999999999998E-4</c:v>
                </c:pt>
                <c:pt idx="1289">
                  <c:v>-3.7599999999999998E-4</c:v>
                </c:pt>
                <c:pt idx="1290">
                  <c:v>-4.0000000000000002E-4</c:v>
                </c:pt>
                <c:pt idx="1291">
                  <c:v>-4.0000000000000002E-4</c:v>
                </c:pt>
                <c:pt idx="1292">
                  <c:v>-4.0000000000000002E-4</c:v>
                </c:pt>
                <c:pt idx="1293">
                  <c:v>-4.0000000000000002E-4</c:v>
                </c:pt>
                <c:pt idx="1294">
                  <c:v>-4.0000000000000002E-4</c:v>
                </c:pt>
                <c:pt idx="1295">
                  <c:v>-4.0000000000000002E-4</c:v>
                </c:pt>
                <c:pt idx="1296">
                  <c:v>-4.2299999999999998E-4</c:v>
                </c:pt>
                <c:pt idx="1297">
                  <c:v>-4.2299999999999998E-4</c:v>
                </c:pt>
                <c:pt idx="1298">
                  <c:v>-4.2299999999999998E-4</c:v>
                </c:pt>
                <c:pt idx="1299">
                  <c:v>-4.2299999999999998E-4</c:v>
                </c:pt>
                <c:pt idx="1300">
                  <c:v>-4.2299999999999998E-4</c:v>
                </c:pt>
                <c:pt idx="1301">
                  <c:v>-4.2299999999999998E-4</c:v>
                </c:pt>
                <c:pt idx="1302">
                  <c:v>-4.4700000000000002E-4</c:v>
                </c:pt>
                <c:pt idx="1303">
                  <c:v>-4.4700000000000002E-4</c:v>
                </c:pt>
                <c:pt idx="1304">
                  <c:v>-4.4700000000000002E-4</c:v>
                </c:pt>
                <c:pt idx="1305">
                  <c:v>-4.4700000000000002E-4</c:v>
                </c:pt>
                <c:pt idx="1306">
                  <c:v>-4.4700000000000002E-4</c:v>
                </c:pt>
                <c:pt idx="1307">
                  <c:v>-4.4700000000000002E-4</c:v>
                </c:pt>
                <c:pt idx="1308">
                  <c:v>-4.7100000000000001E-4</c:v>
                </c:pt>
                <c:pt idx="1309">
                  <c:v>-4.7100000000000001E-4</c:v>
                </c:pt>
                <c:pt idx="1310">
                  <c:v>-4.7100000000000001E-4</c:v>
                </c:pt>
                <c:pt idx="1311">
                  <c:v>-4.7100000000000001E-4</c:v>
                </c:pt>
                <c:pt idx="1312">
                  <c:v>-4.7100000000000001E-4</c:v>
                </c:pt>
                <c:pt idx="1313">
                  <c:v>-4.8300000000000003E-4</c:v>
                </c:pt>
                <c:pt idx="1314">
                  <c:v>-4.95E-4</c:v>
                </c:pt>
                <c:pt idx="1315">
                  <c:v>-4.95E-4</c:v>
                </c:pt>
                <c:pt idx="1316">
                  <c:v>-4.95E-4</c:v>
                </c:pt>
                <c:pt idx="1317">
                  <c:v>-4.95E-4</c:v>
                </c:pt>
                <c:pt idx="1318">
                  <c:v>-4.95E-4</c:v>
                </c:pt>
                <c:pt idx="1319">
                  <c:v>-5.1900000000000004E-4</c:v>
                </c:pt>
                <c:pt idx="1320">
                  <c:v>-5.1900000000000004E-4</c:v>
                </c:pt>
                <c:pt idx="1321">
                  <c:v>-5.1900000000000004E-4</c:v>
                </c:pt>
                <c:pt idx="1322">
                  <c:v>-5.1900000000000004E-4</c:v>
                </c:pt>
                <c:pt idx="1323">
                  <c:v>-5.1900000000000004E-4</c:v>
                </c:pt>
                <c:pt idx="1324">
                  <c:v>-5.1900000000000004E-4</c:v>
                </c:pt>
                <c:pt idx="1325">
                  <c:v>-5.4299999999999997E-4</c:v>
                </c:pt>
                <c:pt idx="1326">
                  <c:v>-5.4299999999999997E-4</c:v>
                </c:pt>
                <c:pt idx="1327">
                  <c:v>-5.4299999999999997E-4</c:v>
                </c:pt>
                <c:pt idx="1328">
                  <c:v>-5.4299999999999997E-4</c:v>
                </c:pt>
                <c:pt idx="1329">
                  <c:v>-5.4299999999999997E-4</c:v>
                </c:pt>
                <c:pt idx="1330">
                  <c:v>-5.4299999999999997E-4</c:v>
                </c:pt>
                <c:pt idx="1331">
                  <c:v>-5.6599999999999999E-4</c:v>
                </c:pt>
                <c:pt idx="1332">
                  <c:v>-5.6599999999999999E-4</c:v>
                </c:pt>
                <c:pt idx="1333">
                  <c:v>-5.6599999999999999E-4</c:v>
                </c:pt>
                <c:pt idx="1334">
                  <c:v>-5.6599999999999999E-4</c:v>
                </c:pt>
                <c:pt idx="1335">
                  <c:v>-5.6599999999999999E-4</c:v>
                </c:pt>
                <c:pt idx="1336">
                  <c:v>-5.7799999999999995E-4</c:v>
                </c:pt>
                <c:pt idx="1337">
                  <c:v>-5.9000000000000003E-4</c:v>
                </c:pt>
                <c:pt idx="1338">
                  <c:v>-5.9000000000000003E-4</c:v>
                </c:pt>
                <c:pt idx="1339">
                  <c:v>-5.9000000000000003E-4</c:v>
                </c:pt>
                <c:pt idx="1340">
                  <c:v>-5.9000000000000003E-4</c:v>
                </c:pt>
                <c:pt idx="1341">
                  <c:v>-5.9000000000000003E-4</c:v>
                </c:pt>
                <c:pt idx="1342">
                  <c:v>-6.02E-4</c:v>
                </c:pt>
                <c:pt idx="1343">
                  <c:v>-6.1399999999999996E-4</c:v>
                </c:pt>
                <c:pt idx="1344">
                  <c:v>-6.1399999999999996E-4</c:v>
                </c:pt>
                <c:pt idx="1345">
                  <c:v>-6.1399999999999996E-4</c:v>
                </c:pt>
                <c:pt idx="1346">
                  <c:v>-6.1399999999999996E-4</c:v>
                </c:pt>
                <c:pt idx="1347">
                  <c:v>-6.1399999999999996E-4</c:v>
                </c:pt>
                <c:pt idx="1348">
                  <c:v>-6.38E-4</c:v>
                </c:pt>
                <c:pt idx="1349">
                  <c:v>-6.38E-4</c:v>
                </c:pt>
                <c:pt idx="1350">
                  <c:v>-6.38E-4</c:v>
                </c:pt>
                <c:pt idx="1351">
                  <c:v>-6.38E-4</c:v>
                </c:pt>
                <c:pt idx="1352">
                  <c:v>-6.38E-4</c:v>
                </c:pt>
                <c:pt idx="1353">
                  <c:v>-6.38E-4</c:v>
                </c:pt>
                <c:pt idx="1354">
                  <c:v>-6.6200000000000005E-4</c:v>
                </c:pt>
                <c:pt idx="1355">
                  <c:v>-6.6200000000000005E-4</c:v>
                </c:pt>
                <c:pt idx="1356">
                  <c:v>-6.6200000000000005E-4</c:v>
                </c:pt>
                <c:pt idx="1357">
                  <c:v>-6.6200000000000005E-4</c:v>
                </c:pt>
                <c:pt idx="1358">
                  <c:v>-6.6200000000000005E-4</c:v>
                </c:pt>
                <c:pt idx="1359">
                  <c:v>-6.6200000000000005E-4</c:v>
                </c:pt>
                <c:pt idx="1360">
                  <c:v>-6.8599999999999998E-4</c:v>
                </c:pt>
                <c:pt idx="1361">
                  <c:v>-6.8599999999999998E-4</c:v>
                </c:pt>
                <c:pt idx="1362">
                  <c:v>-6.8599999999999998E-4</c:v>
                </c:pt>
                <c:pt idx="1363">
                  <c:v>-6.8599999999999998E-4</c:v>
                </c:pt>
                <c:pt idx="1364">
                  <c:v>-6.8599999999999998E-4</c:v>
                </c:pt>
                <c:pt idx="1365">
                  <c:v>-6.9749999999999999E-4</c:v>
                </c:pt>
                <c:pt idx="1366">
                  <c:v>-7.0899999999999999E-4</c:v>
                </c:pt>
                <c:pt idx="1367">
                  <c:v>-7.0899999999999999E-4</c:v>
                </c:pt>
                <c:pt idx="1368">
                  <c:v>-7.0899999999999999E-4</c:v>
                </c:pt>
                <c:pt idx="1369">
                  <c:v>-7.0899999999999999E-4</c:v>
                </c:pt>
                <c:pt idx="1370">
                  <c:v>-7.0899999999999999E-4</c:v>
                </c:pt>
                <c:pt idx="1371">
                  <c:v>-7.2100000000000007E-4</c:v>
                </c:pt>
                <c:pt idx="1372">
                  <c:v>-7.3300000000000004E-4</c:v>
                </c:pt>
                <c:pt idx="1373">
                  <c:v>-7.3300000000000004E-4</c:v>
                </c:pt>
                <c:pt idx="1374">
                  <c:v>-7.3300000000000004E-4</c:v>
                </c:pt>
                <c:pt idx="1375">
                  <c:v>-7.3300000000000004E-4</c:v>
                </c:pt>
                <c:pt idx="1376">
                  <c:v>-7.3300000000000004E-4</c:v>
                </c:pt>
                <c:pt idx="1377">
                  <c:v>-7.5699999999999997E-4</c:v>
                </c:pt>
                <c:pt idx="1378">
                  <c:v>-7.5699999999999997E-4</c:v>
                </c:pt>
                <c:pt idx="1379">
                  <c:v>-7.5699999999999997E-4</c:v>
                </c:pt>
                <c:pt idx="1380">
                  <c:v>-7.5699999999999997E-4</c:v>
                </c:pt>
                <c:pt idx="1381">
                  <c:v>-7.5699999999999997E-4</c:v>
                </c:pt>
                <c:pt idx="1382">
                  <c:v>-7.5699999999999997E-4</c:v>
                </c:pt>
                <c:pt idx="1383">
                  <c:v>-7.8100000000000001E-4</c:v>
                </c:pt>
                <c:pt idx="1384">
                  <c:v>-7.8100000000000001E-4</c:v>
                </c:pt>
                <c:pt idx="1385">
                  <c:v>-7.8100000000000001E-4</c:v>
                </c:pt>
                <c:pt idx="1386">
                  <c:v>-7.8100000000000001E-4</c:v>
                </c:pt>
                <c:pt idx="1387">
                  <c:v>-7.8100000000000001E-4</c:v>
                </c:pt>
                <c:pt idx="1388">
                  <c:v>-7.8100000000000001E-4</c:v>
                </c:pt>
                <c:pt idx="1389">
                  <c:v>-8.0500000000000005E-4</c:v>
                </c:pt>
                <c:pt idx="1390">
                  <c:v>-8.0500000000000005E-4</c:v>
                </c:pt>
                <c:pt idx="1391">
                  <c:v>-8.0500000000000005E-4</c:v>
                </c:pt>
                <c:pt idx="1392">
                  <c:v>-8.0500000000000005E-4</c:v>
                </c:pt>
                <c:pt idx="1393">
                  <c:v>-8.0500000000000005E-4</c:v>
                </c:pt>
                <c:pt idx="1394">
                  <c:v>-8.1700000000000002E-4</c:v>
                </c:pt>
                <c:pt idx="1395">
                  <c:v>-8.2899999999999998E-4</c:v>
                </c:pt>
                <c:pt idx="1396">
                  <c:v>-8.2899999999999998E-4</c:v>
                </c:pt>
                <c:pt idx="1397">
                  <c:v>-8.2899999999999998E-4</c:v>
                </c:pt>
                <c:pt idx="1398">
                  <c:v>-8.2899999999999998E-4</c:v>
                </c:pt>
                <c:pt idx="1399">
                  <c:v>-8.2899999999999998E-4</c:v>
                </c:pt>
                <c:pt idx="1400">
                  <c:v>-8.5300000000000003E-4</c:v>
                </c:pt>
                <c:pt idx="1401">
                  <c:v>-8.5300000000000003E-4</c:v>
                </c:pt>
                <c:pt idx="1402">
                  <c:v>-8.5300000000000003E-4</c:v>
                </c:pt>
                <c:pt idx="1403">
                  <c:v>-8.5300000000000003E-4</c:v>
                </c:pt>
                <c:pt idx="1404">
                  <c:v>-8.5300000000000003E-4</c:v>
                </c:pt>
                <c:pt idx="1405">
                  <c:v>-8.5300000000000003E-4</c:v>
                </c:pt>
                <c:pt idx="1406">
                  <c:v>-8.7600000000000004E-4</c:v>
                </c:pt>
                <c:pt idx="1407">
                  <c:v>-8.7600000000000004E-4</c:v>
                </c:pt>
                <c:pt idx="1408">
                  <c:v>-8.7600000000000004E-4</c:v>
                </c:pt>
                <c:pt idx="1409">
                  <c:v>-8.7600000000000004E-4</c:v>
                </c:pt>
                <c:pt idx="1410">
                  <c:v>-8.7600000000000004E-4</c:v>
                </c:pt>
                <c:pt idx="1411">
                  <c:v>-8.7600000000000004E-4</c:v>
                </c:pt>
                <c:pt idx="1412">
                  <c:v>-8.9999999999999998E-4</c:v>
                </c:pt>
                <c:pt idx="1413">
                  <c:v>-8.9999999999999998E-4</c:v>
                </c:pt>
                <c:pt idx="1414">
                  <c:v>-8.9999999999999998E-4</c:v>
                </c:pt>
                <c:pt idx="1415">
                  <c:v>-8.9999999999999998E-4</c:v>
                </c:pt>
                <c:pt idx="1416">
                  <c:v>-8.9999999999999998E-4</c:v>
                </c:pt>
                <c:pt idx="1417">
                  <c:v>-8.9999999999999998E-4</c:v>
                </c:pt>
                <c:pt idx="1418">
                  <c:v>-9.2400000000000002E-4</c:v>
                </c:pt>
                <c:pt idx="1419">
                  <c:v>-9.2400000000000002E-4</c:v>
                </c:pt>
                <c:pt idx="1420">
                  <c:v>-9.2400000000000002E-4</c:v>
                </c:pt>
                <c:pt idx="1421">
                  <c:v>-9.2400000000000002E-4</c:v>
                </c:pt>
                <c:pt idx="1422">
                  <c:v>-9.2400000000000002E-4</c:v>
                </c:pt>
                <c:pt idx="1423">
                  <c:v>-9.3599999999999998E-4</c:v>
                </c:pt>
                <c:pt idx="1424">
                  <c:v>-9.4799999999999995E-4</c:v>
                </c:pt>
                <c:pt idx="1425">
                  <c:v>-9.4799999999999995E-4</c:v>
                </c:pt>
                <c:pt idx="1426">
                  <c:v>-9.4799999999999995E-4</c:v>
                </c:pt>
                <c:pt idx="1427">
                  <c:v>-9.4799999999999995E-4</c:v>
                </c:pt>
                <c:pt idx="1428">
                  <c:v>-9.4799999999999995E-4</c:v>
                </c:pt>
                <c:pt idx="1429">
                  <c:v>-9.7199999999999999E-4</c:v>
                </c:pt>
                <c:pt idx="1430">
                  <c:v>-9.7199999999999999E-4</c:v>
                </c:pt>
                <c:pt idx="1431">
                  <c:v>-9.7199999999999999E-4</c:v>
                </c:pt>
                <c:pt idx="1432">
                  <c:v>-9.7199999999999999E-4</c:v>
                </c:pt>
                <c:pt idx="1433">
                  <c:v>-9.7199999999999999E-4</c:v>
                </c:pt>
                <c:pt idx="1434">
                  <c:v>-9.7199999999999999E-4</c:v>
                </c:pt>
                <c:pt idx="1435">
                  <c:v>-9.9599999999999992E-4</c:v>
                </c:pt>
                <c:pt idx="1436">
                  <c:v>-9.9599999999999992E-4</c:v>
                </c:pt>
                <c:pt idx="1437">
                  <c:v>-9.9599999999999992E-4</c:v>
                </c:pt>
                <c:pt idx="1438">
                  <c:v>-9.9599999999999992E-4</c:v>
                </c:pt>
                <c:pt idx="1439">
                  <c:v>-9.9599999999999992E-4</c:v>
                </c:pt>
                <c:pt idx="1440">
                  <c:v>-9.9599999999999992E-4</c:v>
                </c:pt>
                <c:pt idx="1441">
                  <c:v>-1.0189999999999999E-3</c:v>
                </c:pt>
                <c:pt idx="1442">
                  <c:v>-1.0189999999999999E-3</c:v>
                </c:pt>
                <c:pt idx="1443">
                  <c:v>-1.0189999999999999E-3</c:v>
                </c:pt>
                <c:pt idx="1444">
                  <c:v>-1.0189999999999999E-3</c:v>
                </c:pt>
                <c:pt idx="1445">
                  <c:v>-1.0189999999999999E-3</c:v>
                </c:pt>
                <c:pt idx="1446">
                  <c:v>-1.031E-3</c:v>
                </c:pt>
                <c:pt idx="1447">
                  <c:v>-1.0430000000000001E-3</c:v>
                </c:pt>
                <c:pt idx="1448">
                  <c:v>-1.0430000000000001E-3</c:v>
                </c:pt>
                <c:pt idx="1449">
                  <c:v>-1.0430000000000001E-3</c:v>
                </c:pt>
                <c:pt idx="1450">
                  <c:v>-1.0430000000000001E-3</c:v>
                </c:pt>
                <c:pt idx="1451">
                  <c:v>-1.0430000000000001E-3</c:v>
                </c:pt>
                <c:pt idx="1452">
                  <c:v>-1.0549999999999999E-3</c:v>
                </c:pt>
                <c:pt idx="1453">
                  <c:v>-1.067E-3</c:v>
                </c:pt>
                <c:pt idx="1454">
                  <c:v>-1.067E-3</c:v>
                </c:pt>
                <c:pt idx="1455">
                  <c:v>-1.067E-3</c:v>
                </c:pt>
                <c:pt idx="1456">
                  <c:v>-1.067E-3</c:v>
                </c:pt>
                <c:pt idx="1457">
                  <c:v>-1.067E-3</c:v>
                </c:pt>
                <c:pt idx="1458">
                  <c:v>-1.091E-3</c:v>
                </c:pt>
                <c:pt idx="1459">
                  <c:v>-1.091E-3</c:v>
                </c:pt>
                <c:pt idx="1460">
                  <c:v>-1.091E-3</c:v>
                </c:pt>
                <c:pt idx="1461">
                  <c:v>-1.091E-3</c:v>
                </c:pt>
                <c:pt idx="1462">
                  <c:v>-1.091E-3</c:v>
                </c:pt>
                <c:pt idx="1463">
                  <c:v>-1.091E-3</c:v>
                </c:pt>
                <c:pt idx="1464">
                  <c:v>-1.1150000000000001E-3</c:v>
                </c:pt>
                <c:pt idx="1465">
                  <c:v>-1.1150000000000001E-3</c:v>
                </c:pt>
                <c:pt idx="1466">
                  <c:v>-1.1150000000000001E-3</c:v>
                </c:pt>
                <c:pt idx="1467">
                  <c:v>-1.1150000000000001E-3</c:v>
                </c:pt>
                <c:pt idx="1468">
                  <c:v>-1.1150000000000001E-3</c:v>
                </c:pt>
                <c:pt idx="1469">
                  <c:v>-1.1150000000000001E-3</c:v>
                </c:pt>
                <c:pt idx="1470">
                  <c:v>-1.139E-3</c:v>
                </c:pt>
                <c:pt idx="1471">
                  <c:v>-1.139E-3</c:v>
                </c:pt>
                <c:pt idx="1472">
                  <c:v>-1.139E-3</c:v>
                </c:pt>
                <c:pt idx="1473">
                  <c:v>-1.139E-3</c:v>
                </c:pt>
                <c:pt idx="1474">
                  <c:v>-1.139E-3</c:v>
                </c:pt>
                <c:pt idx="1475">
                  <c:v>-1.1505E-3</c:v>
                </c:pt>
                <c:pt idx="1476">
                  <c:v>-1.1620000000000001E-3</c:v>
                </c:pt>
                <c:pt idx="1477">
                  <c:v>-1.1620000000000001E-3</c:v>
                </c:pt>
                <c:pt idx="1478">
                  <c:v>-1.1620000000000001E-3</c:v>
                </c:pt>
                <c:pt idx="1479">
                  <c:v>-1.1620000000000001E-3</c:v>
                </c:pt>
                <c:pt idx="1480">
                  <c:v>-1.1620000000000001E-3</c:v>
                </c:pt>
                <c:pt idx="1481">
                  <c:v>-1.186E-3</c:v>
                </c:pt>
                <c:pt idx="1482">
                  <c:v>-1.186E-3</c:v>
                </c:pt>
                <c:pt idx="1483">
                  <c:v>-1.186E-3</c:v>
                </c:pt>
                <c:pt idx="1484">
                  <c:v>-1.186E-3</c:v>
                </c:pt>
                <c:pt idx="1485">
                  <c:v>-1.186E-3</c:v>
                </c:pt>
                <c:pt idx="1486">
                  <c:v>-1.186E-3</c:v>
                </c:pt>
                <c:pt idx="1487">
                  <c:v>-1.2099999999999999E-3</c:v>
                </c:pt>
                <c:pt idx="1488">
                  <c:v>-1.2099999999999999E-3</c:v>
                </c:pt>
                <c:pt idx="1489">
                  <c:v>-1.2099999999999999E-3</c:v>
                </c:pt>
                <c:pt idx="1490">
                  <c:v>-1.2099999999999999E-3</c:v>
                </c:pt>
                <c:pt idx="1491">
                  <c:v>-1.2099999999999999E-3</c:v>
                </c:pt>
                <c:pt idx="1492">
                  <c:v>-1.2099999999999999E-3</c:v>
                </c:pt>
                <c:pt idx="1493">
                  <c:v>-1.2340000000000001E-3</c:v>
                </c:pt>
                <c:pt idx="1494">
                  <c:v>-1.2340000000000001E-3</c:v>
                </c:pt>
                <c:pt idx="1495">
                  <c:v>-1.2340000000000001E-3</c:v>
                </c:pt>
                <c:pt idx="1496">
                  <c:v>-1.2340000000000001E-3</c:v>
                </c:pt>
                <c:pt idx="1497">
                  <c:v>-1.2340000000000001E-3</c:v>
                </c:pt>
                <c:pt idx="1498">
                  <c:v>-1.2340000000000001E-3</c:v>
                </c:pt>
                <c:pt idx="1499">
                  <c:v>-1.258E-3</c:v>
                </c:pt>
                <c:pt idx="1500">
                  <c:v>-1.258E-3</c:v>
                </c:pt>
                <c:pt idx="1501">
                  <c:v>-1.258E-3</c:v>
                </c:pt>
                <c:pt idx="1502">
                  <c:v>-1.258E-3</c:v>
                </c:pt>
                <c:pt idx="1503">
                  <c:v>-1.258E-3</c:v>
                </c:pt>
                <c:pt idx="1504">
                  <c:v>-1.2699999999999999E-3</c:v>
                </c:pt>
                <c:pt idx="1505">
                  <c:v>-1.2819999999999999E-3</c:v>
                </c:pt>
                <c:pt idx="1506">
                  <c:v>-1.2819999999999999E-3</c:v>
                </c:pt>
                <c:pt idx="1507">
                  <c:v>-1.2819999999999999E-3</c:v>
                </c:pt>
                <c:pt idx="1508">
                  <c:v>-1.2819999999999999E-3</c:v>
                </c:pt>
                <c:pt idx="1509">
                  <c:v>-1.2819999999999999E-3</c:v>
                </c:pt>
                <c:pt idx="1510">
                  <c:v>-1.3060000000000001E-3</c:v>
                </c:pt>
                <c:pt idx="1511">
                  <c:v>-1.3060000000000001E-3</c:v>
                </c:pt>
                <c:pt idx="1512">
                  <c:v>-1.3060000000000001E-3</c:v>
                </c:pt>
                <c:pt idx="1513">
                  <c:v>-1.3060000000000001E-3</c:v>
                </c:pt>
                <c:pt idx="1514">
                  <c:v>-1.3060000000000001E-3</c:v>
                </c:pt>
                <c:pt idx="1515">
                  <c:v>-1.3060000000000001E-3</c:v>
                </c:pt>
                <c:pt idx="1516">
                  <c:v>-1.3290000000000001E-3</c:v>
                </c:pt>
                <c:pt idx="1517">
                  <c:v>-1.3290000000000001E-3</c:v>
                </c:pt>
                <c:pt idx="1518">
                  <c:v>-1.3290000000000001E-3</c:v>
                </c:pt>
                <c:pt idx="1519">
                  <c:v>-1.3290000000000001E-3</c:v>
                </c:pt>
                <c:pt idx="1520">
                  <c:v>-1.3290000000000001E-3</c:v>
                </c:pt>
                <c:pt idx="1521">
                  <c:v>-1.3290000000000001E-3</c:v>
                </c:pt>
                <c:pt idx="1522">
                  <c:v>-1.353E-3</c:v>
                </c:pt>
                <c:pt idx="1523">
                  <c:v>-1.353E-3</c:v>
                </c:pt>
                <c:pt idx="1524">
                  <c:v>-1.353E-3</c:v>
                </c:pt>
                <c:pt idx="1525">
                  <c:v>-1.353E-3</c:v>
                </c:pt>
                <c:pt idx="1526">
                  <c:v>-1.353E-3</c:v>
                </c:pt>
                <c:pt idx="1527">
                  <c:v>-1.3649999999999999E-3</c:v>
                </c:pt>
                <c:pt idx="1528">
                  <c:v>-1.377E-3</c:v>
                </c:pt>
                <c:pt idx="1529">
                  <c:v>-1.377E-3</c:v>
                </c:pt>
                <c:pt idx="1530">
                  <c:v>-1.377E-3</c:v>
                </c:pt>
                <c:pt idx="1531">
                  <c:v>-1.377E-3</c:v>
                </c:pt>
                <c:pt idx="1532">
                  <c:v>-1.377E-3</c:v>
                </c:pt>
                <c:pt idx="1533">
                  <c:v>-1.389E-3</c:v>
                </c:pt>
                <c:pt idx="1534">
                  <c:v>-1.4009999999999999E-3</c:v>
                </c:pt>
                <c:pt idx="1535">
                  <c:v>-1.4009999999999999E-3</c:v>
                </c:pt>
                <c:pt idx="1536">
                  <c:v>-1.4009999999999999E-3</c:v>
                </c:pt>
                <c:pt idx="1537">
                  <c:v>-1.4009999999999999E-3</c:v>
                </c:pt>
                <c:pt idx="1538">
                  <c:v>-1.4009999999999999E-3</c:v>
                </c:pt>
                <c:pt idx="1539">
                  <c:v>-1.4250000000000001E-3</c:v>
                </c:pt>
                <c:pt idx="1540">
                  <c:v>-1.4250000000000001E-3</c:v>
                </c:pt>
                <c:pt idx="1541">
                  <c:v>-1.4250000000000001E-3</c:v>
                </c:pt>
                <c:pt idx="1542">
                  <c:v>-1.4250000000000001E-3</c:v>
                </c:pt>
                <c:pt idx="1543">
                  <c:v>-1.4250000000000001E-3</c:v>
                </c:pt>
                <c:pt idx="1544">
                  <c:v>-1.4250000000000001E-3</c:v>
                </c:pt>
                <c:pt idx="1545">
                  <c:v>-1.449E-3</c:v>
                </c:pt>
                <c:pt idx="1546">
                  <c:v>-1.449E-3</c:v>
                </c:pt>
                <c:pt idx="1547">
                  <c:v>-1.449E-3</c:v>
                </c:pt>
                <c:pt idx="1548">
                  <c:v>-1.449E-3</c:v>
                </c:pt>
                <c:pt idx="1549">
                  <c:v>-1.449E-3</c:v>
                </c:pt>
                <c:pt idx="1550">
                  <c:v>-1.449E-3</c:v>
                </c:pt>
                <c:pt idx="1551">
                  <c:v>-1.474E-3</c:v>
                </c:pt>
                <c:pt idx="1552">
                  <c:v>-1.474E-3</c:v>
                </c:pt>
                <c:pt idx="1553">
                  <c:v>-1.474E-3</c:v>
                </c:pt>
                <c:pt idx="1554">
                  <c:v>-1.474E-3</c:v>
                </c:pt>
                <c:pt idx="1555">
                  <c:v>-1.474E-3</c:v>
                </c:pt>
                <c:pt idx="1556">
                  <c:v>-1.4865E-3</c:v>
                </c:pt>
                <c:pt idx="1557">
                  <c:v>-1.4989999999999999E-3</c:v>
                </c:pt>
                <c:pt idx="1558">
                  <c:v>-1.4989999999999999E-3</c:v>
                </c:pt>
                <c:pt idx="1559">
                  <c:v>-1.4989999999999999E-3</c:v>
                </c:pt>
                <c:pt idx="1560">
                  <c:v>-1.4989999999999999E-3</c:v>
                </c:pt>
                <c:pt idx="1561">
                  <c:v>-1.4989999999999999E-3</c:v>
                </c:pt>
                <c:pt idx="1562">
                  <c:v>-1.5119999999999999E-3</c:v>
                </c:pt>
                <c:pt idx="1563">
                  <c:v>-1.5250000000000001E-3</c:v>
                </c:pt>
                <c:pt idx="1564">
                  <c:v>-1.5250000000000001E-3</c:v>
                </c:pt>
                <c:pt idx="1565">
                  <c:v>-1.5250000000000001E-3</c:v>
                </c:pt>
                <c:pt idx="1566">
                  <c:v>-1.5250000000000001E-3</c:v>
                </c:pt>
                <c:pt idx="1567">
                  <c:v>-1.5250000000000001E-3</c:v>
                </c:pt>
                <c:pt idx="1568">
                  <c:v>-1.5499999999999999E-3</c:v>
                </c:pt>
                <c:pt idx="1569">
                  <c:v>-1.5499999999999999E-3</c:v>
                </c:pt>
                <c:pt idx="1570">
                  <c:v>-1.5499999999999999E-3</c:v>
                </c:pt>
                <c:pt idx="1571">
                  <c:v>-1.5499999999999999E-3</c:v>
                </c:pt>
                <c:pt idx="1572">
                  <c:v>-1.5499999999999999E-3</c:v>
                </c:pt>
                <c:pt idx="1573">
                  <c:v>-1.5499999999999999E-3</c:v>
                </c:pt>
                <c:pt idx="1574">
                  <c:v>2.3499999999999999E-4</c:v>
                </c:pt>
                <c:pt idx="1575">
                  <c:v>2.3499999999999999E-4</c:v>
                </c:pt>
                <c:pt idx="1576">
                  <c:v>2.3499999999999999E-4</c:v>
                </c:pt>
                <c:pt idx="1577">
                  <c:v>2.3499999999999999E-4</c:v>
                </c:pt>
                <c:pt idx="1578">
                  <c:v>2.3499999999999999E-4</c:v>
                </c:pt>
                <c:pt idx="1579">
                  <c:v>2.3499999999999999E-4</c:v>
                </c:pt>
                <c:pt idx="1580">
                  <c:v>1.6997999999999999E-2</c:v>
                </c:pt>
                <c:pt idx="1581">
                  <c:v>1.6997999999999999E-2</c:v>
                </c:pt>
                <c:pt idx="1582">
                  <c:v>1.6997999999999999E-2</c:v>
                </c:pt>
                <c:pt idx="1583">
                  <c:v>1.6997999999999999E-2</c:v>
                </c:pt>
                <c:pt idx="1584">
                  <c:v>1.6997999999999999E-2</c:v>
                </c:pt>
                <c:pt idx="1585">
                  <c:v>3.1460000000000002E-2</c:v>
                </c:pt>
                <c:pt idx="1586">
                  <c:v>4.5921999999999998E-2</c:v>
                </c:pt>
                <c:pt idx="1587">
                  <c:v>4.5921999999999998E-2</c:v>
                </c:pt>
                <c:pt idx="1588">
                  <c:v>4.5921999999999998E-2</c:v>
                </c:pt>
                <c:pt idx="1589">
                  <c:v>4.5921999999999998E-2</c:v>
                </c:pt>
                <c:pt idx="1590">
                  <c:v>4.5921999999999998E-2</c:v>
                </c:pt>
                <c:pt idx="1591">
                  <c:v>8.7922E-2</c:v>
                </c:pt>
                <c:pt idx="1592">
                  <c:v>8.7922E-2</c:v>
                </c:pt>
                <c:pt idx="1593">
                  <c:v>8.7922E-2</c:v>
                </c:pt>
                <c:pt idx="1594">
                  <c:v>8.7922E-2</c:v>
                </c:pt>
                <c:pt idx="1595">
                  <c:v>8.7922E-2</c:v>
                </c:pt>
                <c:pt idx="1596">
                  <c:v>8.7922E-2</c:v>
                </c:pt>
                <c:pt idx="1597">
                  <c:v>0.139961</c:v>
                </c:pt>
                <c:pt idx="1598">
                  <c:v>0.139961</c:v>
                </c:pt>
                <c:pt idx="1599">
                  <c:v>0.139961</c:v>
                </c:pt>
                <c:pt idx="1600">
                  <c:v>0.139961</c:v>
                </c:pt>
                <c:pt idx="1601">
                  <c:v>0.139961</c:v>
                </c:pt>
                <c:pt idx="1602">
                  <c:v>0.139961</c:v>
                </c:pt>
                <c:pt idx="1603">
                  <c:v>0.21127899999999999</c:v>
                </c:pt>
                <c:pt idx="1604">
                  <c:v>0.21127899999999999</c:v>
                </c:pt>
                <c:pt idx="1605">
                  <c:v>0.21127899999999999</c:v>
                </c:pt>
                <c:pt idx="1606">
                  <c:v>0.21127899999999999</c:v>
                </c:pt>
                <c:pt idx="1607">
                  <c:v>0.21127899999999999</c:v>
                </c:pt>
                <c:pt idx="1608">
                  <c:v>0.21127899999999999</c:v>
                </c:pt>
                <c:pt idx="1609">
                  <c:v>0.30689100000000002</c:v>
                </c:pt>
                <c:pt idx="1610">
                  <c:v>0.30689100000000002</c:v>
                </c:pt>
                <c:pt idx="1611">
                  <c:v>0.30689100000000002</c:v>
                </c:pt>
                <c:pt idx="1612">
                  <c:v>0.30689100000000002</c:v>
                </c:pt>
                <c:pt idx="1613">
                  <c:v>0.30689100000000002</c:v>
                </c:pt>
                <c:pt idx="1614">
                  <c:v>0.35865049999999998</c:v>
                </c:pt>
                <c:pt idx="1615">
                  <c:v>0.41041</c:v>
                </c:pt>
                <c:pt idx="1616">
                  <c:v>0.41041</c:v>
                </c:pt>
                <c:pt idx="1617">
                  <c:v>0.41041</c:v>
                </c:pt>
                <c:pt idx="1618">
                  <c:v>0.41041</c:v>
                </c:pt>
                <c:pt idx="1619">
                  <c:v>0.41041</c:v>
                </c:pt>
                <c:pt idx="1620">
                  <c:v>0.67408599999999996</c:v>
                </c:pt>
                <c:pt idx="1621">
                  <c:v>0.67408599999999996</c:v>
                </c:pt>
                <c:pt idx="1622">
                  <c:v>0.67408599999999996</c:v>
                </c:pt>
                <c:pt idx="1623">
                  <c:v>0.67408599999999996</c:v>
                </c:pt>
                <c:pt idx="1624">
                  <c:v>0.67408599999999996</c:v>
                </c:pt>
                <c:pt idx="1625">
                  <c:v>0.67408599999999996</c:v>
                </c:pt>
                <c:pt idx="1626">
                  <c:v>1.200661</c:v>
                </c:pt>
                <c:pt idx="1627">
                  <c:v>1.200661</c:v>
                </c:pt>
                <c:pt idx="1628">
                  <c:v>1.200661</c:v>
                </c:pt>
                <c:pt idx="1629">
                  <c:v>1.200661</c:v>
                </c:pt>
                <c:pt idx="1630">
                  <c:v>1.200661</c:v>
                </c:pt>
                <c:pt idx="1631">
                  <c:v>1.200661</c:v>
                </c:pt>
                <c:pt idx="1632">
                  <c:v>1.953579</c:v>
                </c:pt>
                <c:pt idx="1633">
                  <c:v>1.953579</c:v>
                </c:pt>
                <c:pt idx="1634">
                  <c:v>1.953579</c:v>
                </c:pt>
                <c:pt idx="1635">
                  <c:v>1.953579</c:v>
                </c:pt>
                <c:pt idx="1636">
                  <c:v>1.953579</c:v>
                </c:pt>
                <c:pt idx="1637">
                  <c:v>2.4286604999999999</c:v>
                </c:pt>
                <c:pt idx="1638">
                  <c:v>2.9037419999999998</c:v>
                </c:pt>
                <c:pt idx="1639">
                  <c:v>2.9037419999999998</c:v>
                </c:pt>
                <c:pt idx="1640">
                  <c:v>2.9037419999999998</c:v>
                </c:pt>
                <c:pt idx="1641">
                  <c:v>2.9037419999999998</c:v>
                </c:pt>
                <c:pt idx="1642">
                  <c:v>2.9037419999999998</c:v>
                </c:pt>
                <c:pt idx="1643">
                  <c:v>3.4950535</c:v>
                </c:pt>
                <c:pt idx="1644">
                  <c:v>4.0863649999999998</c:v>
                </c:pt>
                <c:pt idx="1645">
                  <c:v>4.0863649999999998</c:v>
                </c:pt>
                <c:pt idx="1646">
                  <c:v>4.0863649999999998</c:v>
                </c:pt>
                <c:pt idx="1647">
                  <c:v>4.0863649999999998</c:v>
                </c:pt>
                <c:pt idx="1648">
                  <c:v>4.0863649999999998</c:v>
                </c:pt>
                <c:pt idx="1649">
                  <c:v>5.6636949999999997</c:v>
                </c:pt>
                <c:pt idx="1650">
                  <c:v>5.6636949999999997</c:v>
                </c:pt>
                <c:pt idx="1651">
                  <c:v>5.6636949999999997</c:v>
                </c:pt>
                <c:pt idx="1652">
                  <c:v>5.6636949999999997</c:v>
                </c:pt>
                <c:pt idx="1653">
                  <c:v>5.6636949999999997</c:v>
                </c:pt>
                <c:pt idx="1654">
                  <c:v>5.6636949999999997</c:v>
                </c:pt>
                <c:pt idx="1655">
                  <c:v>7.5079789999999997</c:v>
                </c:pt>
                <c:pt idx="1656">
                  <c:v>7.5079789999999997</c:v>
                </c:pt>
                <c:pt idx="1657">
                  <c:v>7.5079789999999997</c:v>
                </c:pt>
                <c:pt idx="1658">
                  <c:v>7.5079789999999997</c:v>
                </c:pt>
                <c:pt idx="1659">
                  <c:v>7.5079789999999997</c:v>
                </c:pt>
                <c:pt idx="1660">
                  <c:v>7.5079789999999997</c:v>
                </c:pt>
                <c:pt idx="1661">
                  <c:v>9.4977940000000007</c:v>
                </c:pt>
                <c:pt idx="1662">
                  <c:v>9.4977940000000007</c:v>
                </c:pt>
                <c:pt idx="1663">
                  <c:v>9.4977940000000007</c:v>
                </c:pt>
                <c:pt idx="1664">
                  <c:v>9.4977940000000007</c:v>
                </c:pt>
                <c:pt idx="1665">
                  <c:v>9.4977940000000007</c:v>
                </c:pt>
                <c:pt idx="1666">
                  <c:v>10.592980300000001</c:v>
                </c:pt>
                <c:pt idx="1667">
                  <c:v>11.688166600000001</c:v>
                </c:pt>
                <c:pt idx="1668">
                  <c:v>11.688166600000001</c:v>
                </c:pt>
                <c:pt idx="1669">
                  <c:v>11.688166600000001</c:v>
                </c:pt>
                <c:pt idx="1670">
                  <c:v>11.688166600000001</c:v>
                </c:pt>
                <c:pt idx="1671">
                  <c:v>11.688166600000001</c:v>
                </c:pt>
                <c:pt idx="1672">
                  <c:v>14.0782223</c:v>
                </c:pt>
                <c:pt idx="1673">
                  <c:v>14.0782223</c:v>
                </c:pt>
                <c:pt idx="1674">
                  <c:v>14.0782223</c:v>
                </c:pt>
                <c:pt idx="1675">
                  <c:v>14.0782223</c:v>
                </c:pt>
                <c:pt idx="1676">
                  <c:v>14.0782223</c:v>
                </c:pt>
                <c:pt idx="1677">
                  <c:v>14.0782223</c:v>
                </c:pt>
                <c:pt idx="1678">
                  <c:v>16.6288242</c:v>
                </c:pt>
                <c:pt idx="1679">
                  <c:v>16.6288242</c:v>
                </c:pt>
                <c:pt idx="1680">
                  <c:v>16.6288242</c:v>
                </c:pt>
                <c:pt idx="1681">
                  <c:v>16.6288242</c:v>
                </c:pt>
                <c:pt idx="1682">
                  <c:v>16.6288242</c:v>
                </c:pt>
                <c:pt idx="1683">
                  <c:v>16.6288242</c:v>
                </c:pt>
                <c:pt idx="1684">
                  <c:v>19.175636300000001</c:v>
                </c:pt>
                <c:pt idx="1685">
                  <c:v>19.175636300000001</c:v>
                </c:pt>
                <c:pt idx="1686">
                  <c:v>19.175636300000001</c:v>
                </c:pt>
                <c:pt idx="1687">
                  <c:v>19.175636300000001</c:v>
                </c:pt>
                <c:pt idx="1688">
                  <c:v>19.175636300000001</c:v>
                </c:pt>
                <c:pt idx="1689">
                  <c:v>19.175636300000001</c:v>
                </c:pt>
                <c:pt idx="1690">
                  <c:v>21.553085299999999</c:v>
                </c:pt>
                <c:pt idx="1691">
                  <c:v>21.553085299999999</c:v>
                </c:pt>
                <c:pt idx="1692">
                  <c:v>21.553085299999999</c:v>
                </c:pt>
                <c:pt idx="1693">
                  <c:v>21.553085299999999</c:v>
                </c:pt>
                <c:pt idx="1694">
                  <c:v>21.553085299999999</c:v>
                </c:pt>
                <c:pt idx="1695">
                  <c:v>22.609999649999999</c:v>
                </c:pt>
                <c:pt idx="1696">
                  <c:v>23.666913999999998</c:v>
                </c:pt>
                <c:pt idx="1697">
                  <c:v>23.666913999999998</c:v>
                </c:pt>
                <c:pt idx="1698">
                  <c:v>23.666913999999998</c:v>
                </c:pt>
                <c:pt idx="1699">
                  <c:v>23.666913999999998</c:v>
                </c:pt>
                <c:pt idx="1700">
                  <c:v>23.666913999999998</c:v>
                </c:pt>
                <c:pt idx="1701">
                  <c:v>25.494623199999999</c:v>
                </c:pt>
                <c:pt idx="1702">
                  <c:v>25.494623199999999</c:v>
                </c:pt>
                <c:pt idx="1703">
                  <c:v>25.494623199999999</c:v>
                </c:pt>
                <c:pt idx="1704">
                  <c:v>25.494623199999999</c:v>
                </c:pt>
                <c:pt idx="1705">
                  <c:v>25.494623199999999</c:v>
                </c:pt>
                <c:pt idx="1706">
                  <c:v>25.494623199999999</c:v>
                </c:pt>
                <c:pt idx="1707">
                  <c:v>27.117435499999999</c:v>
                </c:pt>
                <c:pt idx="1708">
                  <c:v>27.117435499999999</c:v>
                </c:pt>
                <c:pt idx="1709">
                  <c:v>27.117435499999999</c:v>
                </c:pt>
                <c:pt idx="1710">
                  <c:v>27.117435499999999</c:v>
                </c:pt>
                <c:pt idx="1711">
                  <c:v>27.117435499999999</c:v>
                </c:pt>
                <c:pt idx="1712">
                  <c:v>27.117435499999999</c:v>
                </c:pt>
                <c:pt idx="1713">
                  <c:v>28.473109999999998</c:v>
                </c:pt>
                <c:pt idx="1714">
                  <c:v>28.473109999999998</c:v>
                </c:pt>
                <c:pt idx="1715">
                  <c:v>28.473109999999998</c:v>
                </c:pt>
                <c:pt idx="1716">
                  <c:v>28.473109999999998</c:v>
                </c:pt>
                <c:pt idx="1717">
                  <c:v>28.473109999999998</c:v>
                </c:pt>
                <c:pt idx="1718">
                  <c:v>28.942855000000002</c:v>
                </c:pt>
                <c:pt idx="1719">
                  <c:v>29.412600000000001</c:v>
                </c:pt>
                <c:pt idx="1720">
                  <c:v>29.412600000000001</c:v>
                </c:pt>
                <c:pt idx="1721">
                  <c:v>29.412600000000001</c:v>
                </c:pt>
                <c:pt idx="1722">
                  <c:v>29.412600000000001</c:v>
                </c:pt>
                <c:pt idx="1723">
                  <c:v>29.412600000000001</c:v>
                </c:pt>
                <c:pt idx="1724">
                  <c:v>29.715602150000002</c:v>
                </c:pt>
                <c:pt idx="1725">
                  <c:v>30.0186043</c:v>
                </c:pt>
                <c:pt idx="1726">
                  <c:v>30.0186043</c:v>
                </c:pt>
                <c:pt idx="1727">
                  <c:v>30.0186043</c:v>
                </c:pt>
                <c:pt idx="1728">
                  <c:v>30.0186043</c:v>
                </c:pt>
                <c:pt idx="1729">
                  <c:v>30.0186043</c:v>
                </c:pt>
                <c:pt idx="1730">
                  <c:v>30.4132137</c:v>
                </c:pt>
                <c:pt idx="1731">
                  <c:v>30.4132137</c:v>
                </c:pt>
                <c:pt idx="1732">
                  <c:v>30.4132137</c:v>
                </c:pt>
                <c:pt idx="1733">
                  <c:v>30.4132137</c:v>
                </c:pt>
                <c:pt idx="1734">
                  <c:v>30.4132137</c:v>
                </c:pt>
                <c:pt idx="1735">
                  <c:v>30.4132137</c:v>
                </c:pt>
                <c:pt idx="1736">
                  <c:v>30.619167300000001</c:v>
                </c:pt>
                <c:pt idx="1737">
                  <c:v>30.619167300000001</c:v>
                </c:pt>
                <c:pt idx="1738">
                  <c:v>30.619167300000001</c:v>
                </c:pt>
                <c:pt idx="1739">
                  <c:v>30.619167300000001</c:v>
                </c:pt>
                <c:pt idx="1740">
                  <c:v>30.619167300000001</c:v>
                </c:pt>
                <c:pt idx="1741">
                  <c:v>30.619167300000001</c:v>
                </c:pt>
                <c:pt idx="1742">
                  <c:v>30.562225300000001</c:v>
                </c:pt>
                <c:pt idx="1743">
                  <c:v>30.562225300000001</c:v>
                </c:pt>
                <c:pt idx="1744">
                  <c:v>30.562225300000001</c:v>
                </c:pt>
                <c:pt idx="1745">
                  <c:v>30.562225300000001</c:v>
                </c:pt>
                <c:pt idx="1746">
                  <c:v>30.562225300000001</c:v>
                </c:pt>
                <c:pt idx="1747">
                  <c:v>30.437577650000001</c:v>
                </c:pt>
                <c:pt idx="1748">
                  <c:v>30.312930000000001</c:v>
                </c:pt>
                <c:pt idx="1749">
                  <c:v>30.312930000000001</c:v>
                </c:pt>
                <c:pt idx="1750">
                  <c:v>30.312930000000001</c:v>
                </c:pt>
                <c:pt idx="1751">
                  <c:v>30.312930000000001</c:v>
                </c:pt>
                <c:pt idx="1752">
                  <c:v>30.312930000000001</c:v>
                </c:pt>
                <c:pt idx="1753">
                  <c:v>30.16483255</c:v>
                </c:pt>
                <c:pt idx="1754">
                  <c:v>30.016735099999998</c:v>
                </c:pt>
                <c:pt idx="1755">
                  <c:v>30.016735099999998</c:v>
                </c:pt>
                <c:pt idx="1756">
                  <c:v>30.016735099999998</c:v>
                </c:pt>
                <c:pt idx="1757">
                  <c:v>30.016735099999998</c:v>
                </c:pt>
                <c:pt idx="1758">
                  <c:v>30.016735099999998</c:v>
                </c:pt>
                <c:pt idx="1759">
                  <c:v>29.7440739</c:v>
                </c:pt>
                <c:pt idx="1760">
                  <c:v>29.7440739</c:v>
                </c:pt>
                <c:pt idx="1761">
                  <c:v>29.7440739</c:v>
                </c:pt>
                <c:pt idx="1762">
                  <c:v>29.7440739</c:v>
                </c:pt>
                <c:pt idx="1763">
                  <c:v>29.7440739</c:v>
                </c:pt>
                <c:pt idx="1764">
                  <c:v>29.7440739</c:v>
                </c:pt>
                <c:pt idx="1765">
                  <c:v>29.479928999999998</c:v>
                </c:pt>
                <c:pt idx="1766">
                  <c:v>29.479928999999998</c:v>
                </c:pt>
                <c:pt idx="1767">
                  <c:v>29.479928999999998</c:v>
                </c:pt>
                <c:pt idx="1768">
                  <c:v>29.479928999999998</c:v>
                </c:pt>
                <c:pt idx="1769">
                  <c:v>29.479928999999998</c:v>
                </c:pt>
                <c:pt idx="1770">
                  <c:v>29.479928999999998</c:v>
                </c:pt>
                <c:pt idx="1771">
                  <c:v>29.265139999999999</c:v>
                </c:pt>
                <c:pt idx="1772">
                  <c:v>29.265139999999999</c:v>
                </c:pt>
                <c:pt idx="1773">
                  <c:v>29.265139999999999</c:v>
                </c:pt>
                <c:pt idx="1774">
                  <c:v>29.265139999999999</c:v>
                </c:pt>
                <c:pt idx="1775">
                  <c:v>29.265139999999999</c:v>
                </c:pt>
                <c:pt idx="1776">
                  <c:v>29.164516200000001</c:v>
                </c:pt>
                <c:pt idx="1777">
                  <c:v>29.0638924</c:v>
                </c:pt>
                <c:pt idx="1778">
                  <c:v>29.0638924</c:v>
                </c:pt>
                <c:pt idx="1779">
                  <c:v>29.0638924</c:v>
                </c:pt>
                <c:pt idx="1780">
                  <c:v>29.0638924</c:v>
                </c:pt>
                <c:pt idx="1781">
                  <c:v>29.0638924</c:v>
                </c:pt>
                <c:pt idx="1782">
                  <c:v>28.8673687</c:v>
                </c:pt>
                <c:pt idx="1783">
                  <c:v>28.8673687</c:v>
                </c:pt>
                <c:pt idx="1784">
                  <c:v>28.8673687</c:v>
                </c:pt>
                <c:pt idx="1785">
                  <c:v>28.8673687</c:v>
                </c:pt>
                <c:pt idx="1786">
                  <c:v>28.8673687</c:v>
                </c:pt>
                <c:pt idx="1787">
                  <c:v>28.8673687</c:v>
                </c:pt>
                <c:pt idx="1788">
                  <c:v>28.4884624</c:v>
                </c:pt>
                <c:pt idx="1789">
                  <c:v>28.4884624</c:v>
                </c:pt>
                <c:pt idx="1790">
                  <c:v>28.4884624</c:v>
                </c:pt>
                <c:pt idx="1791">
                  <c:v>28.4884624</c:v>
                </c:pt>
                <c:pt idx="1792">
                  <c:v>28.4884624</c:v>
                </c:pt>
                <c:pt idx="1793">
                  <c:v>28.4884624</c:v>
                </c:pt>
                <c:pt idx="1794">
                  <c:v>27.9938316</c:v>
                </c:pt>
                <c:pt idx="1795">
                  <c:v>27.9938316</c:v>
                </c:pt>
                <c:pt idx="1796">
                  <c:v>27.9938316</c:v>
                </c:pt>
                <c:pt idx="1797">
                  <c:v>27.9938316</c:v>
                </c:pt>
                <c:pt idx="1798">
                  <c:v>27.9938316</c:v>
                </c:pt>
                <c:pt idx="1799">
                  <c:v>27.9938316</c:v>
                </c:pt>
                <c:pt idx="1800">
                  <c:v>27.3811359</c:v>
                </c:pt>
                <c:pt idx="1801">
                  <c:v>27.3811359</c:v>
                </c:pt>
                <c:pt idx="1802">
                  <c:v>27.3811359</c:v>
                </c:pt>
                <c:pt idx="1803">
                  <c:v>27.3811359</c:v>
                </c:pt>
                <c:pt idx="1804">
                  <c:v>27.3811359</c:v>
                </c:pt>
                <c:pt idx="1805">
                  <c:v>26.99477005</c:v>
                </c:pt>
                <c:pt idx="1806">
                  <c:v>26.608404199999999</c:v>
                </c:pt>
                <c:pt idx="1807">
                  <c:v>26.608404199999999</c:v>
                </c:pt>
                <c:pt idx="1808">
                  <c:v>26.608404199999999</c:v>
                </c:pt>
                <c:pt idx="1809">
                  <c:v>26.608404199999999</c:v>
                </c:pt>
                <c:pt idx="1810">
                  <c:v>26.608404199999999</c:v>
                </c:pt>
                <c:pt idx="1811">
                  <c:v>25.6310425</c:v>
                </c:pt>
                <c:pt idx="1812">
                  <c:v>25.6310425</c:v>
                </c:pt>
                <c:pt idx="1813">
                  <c:v>25.6310425</c:v>
                </c:pt>
                <c:pt idx="1814">
                  <c:v>25.6310425</c:v>
                </c:pt>
                <c:pt idx="1815">
                  <c:v>25.6310425</c:v>
                </c:pt>
                <c:pt idx="1816">
                  <c:v>25.6310425</c:v>
                </c:pt>
                <c:pt idx="1817">
                  <c:v>24.332097999999998</c:v>
                </c:pt>
                <c:pt idx="1818">
                  <c:v>24.332097999999998</c:v>
                </c:pt>
                <c:pt idx="1819">
                  <c:v>24.332097999999998</c:v>
                </c:pt>
                <c:pt idx="1820">
                  <c:v>24.332097999999998</c:v>
                </c:pt>
                <c:pt idx="1821">
                  <c:v>24.332097999999998</c:v>
                </c:pt>
                <c:pt idx="1822">
                  <c:v>24.332097999999998</c:v>
                </c:pt>
                <c:pt idx="1823">
                  <c:v>22.961870000000001</c:v>
                </c:pt>
                <c:pt idx="1824">
                  <c:v>22.961870000000001</c:v>
                </c:pt>
                <c:pt idx="1825">
                  <c:v>22.961870000000001</c:v>
                </c:pt>
                <c:pt idx="1826">
                  <c:v>22.961870000000001</c:v>
                </c:pt>
                <c:pt idx="1827">
                  <c:v>22.961870000000001</c:v>
                </c:pt>
                <c:pt idx="1828">
                  <c:v>22.174114150000001</c:v>
                </c:pt>
                <c:pt idx="1829">
                  <c:v>21.386358300000001</c:v>
                </c:pt>
                <c:pt idx="1830">
                  <c:v>21.386358300000001</c:v>
                </c:pt>
                <c:pt idx="1831">
                  <c:v>21.386358300000001</c:v>
                </c:pt>
                <c:pt idx="1832">
                  <c:v>21.386358300000001</c:v>
                </c:pt>
                <c:pt idx="1833">
                  <c:v>21.386358300000001</c:v>
                </c:pt>
                <c:pt idx="1834">
                  <c:v>20.503918650000003</c:v>
                </c:pt>
                <c:pt idx="1835">
                  <c:v>19.621479000000001</c:v>
                </c:pt>
                <c:pt idx="1836">
                  <c:v>19.621479000000001</c:v>
                </c:pt>
                <c:pt idx="1837">
                  <c:v>19.621479000000001</c:v>
                </c:pt>
                <c:pt idx="1838">
                  <c:v>19.621479000000001</c:v>
                </c:pt>
                <c:pt idx="1839">
                  <c:v>19.621479000000001</c:v>
                </c:pt>
                <c:pt idx="1840">
                  <c:v>17.631027199999998</c:v>
                </c:pt>
                <c:pt idx="1841">
                  <c:v>17.631027199999998</c:v>
                </c:pt>
                <c:pt idx="1842">
                  <c:v>17.631027199999998</c:v>
                </c:pt>
                <c:pt idx="1843">
                  <c:v>17.631027199999998</c:v>
                </c:pt>
                <c:pt idx="1844">
                  <c:v>17.631027199999998</c:v>
                </c:pt>
                <c:pt idx="1845">
                  <c:v>17.631027199999998</c:v>
                </c:pt>
                <c:pt idx="1846">
                  <c:v>15.535084700000001</c:v>
                </c:pt>
                <c:pt idx="1847">
                  <c:v>15.535084700000001</c:v>
                </c:pt>
                <c:pt idx="1848">
                  <c:v>15.535084700000001</c:v>
                </c:pt>
                <c:pt idx="1849">
                  <c:v>15.535084700000001</c:v>
                </c:pt>
                <c:pt idx="1850">
                  <c:v>15.535084700000001</c:v>
                </c:pt>
                <c:pt idx="1851">
                  <c:v>15.535084700000001</c:v>
                </c:pt>
                <c:pt idx="1852">
                  <c:v>13.448816300000001</c:v>
                </c:pt>
                <c:pt idx="1853">
                  <c:v>13.448816300000001</c:v>
                </c:pt>
                <c:pt idx="1854">
                  <c:v>13.448816300000001</c:v>
                </c:pt>
                <c:pt idx="1855">
                  <c:v>13.448816300000001</c:v>
                </c:pt>
                <c:pt idx="1856">
                  <c:v>13.448816300000001</c:v>
                </c:pt>
                <c:pt idx="1857">
                  <c:v>12.4649391</c:v>
                </c:pt>
                <c:pt idx="1858">
                  <c:v>11.4810619</c:v>
                </c:pt>
                <c:pt idx="1859">
                  <c:v>11.4810619</c:v>
                </c:pt>
                <c:pt idx="1860">
                  <c:v>11.4810619</c:v>
                </c:pt>
                <c:pt idx="1861">
                  <c:v>11.4810619</c:v>
                </c:pt>
                <c:pt idx="1862">
                  <c:v>11.4810619</c:v>
                </c:pt>
                <c:pt idx="1863">
                  <c:v>9.6329499999999992</c:v>
                </c:pt>
                <c:pt idx="1864">
                  <c:v>9.6329499999999992</c:v>
                </c:pt>
                <c:pt idx="1865">
                  <c:v>9.6329499999999992</c:v>
                </c:pt>
                <c:pt idx="1866">
                  <c:v>9.6329499999999992</c:v>
                </c:pt>
                <c:pt idx="1867">
                  <c:v>9.6329499999999992</c:v>
                </c:pt>
                <c:pt idx="1868">
                  <c:v>9.6329499999999992</c:v>
                </c:pt>
                <c:pt idx="1869">
                  <c:v>7.9273740000000004</c:v>
                </c:pt>
                <c:pt idx="1870">
                  <c:v>7.9273740000000004</c:v>
                </c:pt>
                <c:pt idx="1871">
                  <c:v>7.9273740000000004</c:v>
                </c:pt>
                <c:pt idx="1872">
                  <c:v>7.9273740000000004</c:v>
                </c:pt>
                <c:pt idx="1873">
                  <c:v>7.9273740000000004</c:v>
                </c:pt>
                <c:pt idx="1874">
                  <c:v>7.9273740000000004</c:v>
                </c:pt>
                <c:pt idx="1875">
                  <c:v>6.3284820000000002</c:v>
                </c:pt>
                <c:pt idx="1876">
                  <c:v>6.3284820000000002</c:v>
                </c:pt>
                <c:pt idx="1877">
                  <c:v>6.3284820000000002</c:v>
                </c:pt>
                <c:pt idx="1878">
                  <c:v>6.3284820000000002</c:v>
                </c:pt>
                <c:pt idx="1879">
                  <c:v>6.3284820000000002</c:v>
                </c:pt>
                <c:pt idx="1880">
                  <c:v>6.3284820000000002</c:v>
                </c:pt>
                <c:pt idx="1881">
                  <c:v>4.9421460000000002</c:v>
                </c:pt>
                <c:pt idx="1882">
                  <c:v>4.9421460000000002</c:v>
                </c:pt>
                <c:pt idx="1883">
                  <c:v>4.9421460000000002</c:v>
                </c:pt>
                <c:pt idx="1884">
                  <c:v>4.9421460000000002</c:v>
                </c:pt>
                <c:pt idx="1885">
                  <c:v>4.9421460000000002</c:v>
                </c:pt>
                <c:pt idx="1886">
                  <c:v>4.3966349999999998</c:v>
                </c:pt>
                <c:pt idx="1887">
                  <c:v>3.851124</c:v>
                </c:pt>
                <c:pt idx="1888">
                  <c:v>3.851124</c:v>
                </c:pt>
                <c:pt idx="1889">
                  <c:v>3.851124</c:v>
                </c:pt>
                <c:pt idx="1890">
                  <c:v>3.851124</c:v>
                </c:pt>
                <c:pt idx="1891">
                  <c:v>3.851124</c:v>
                </c:pt>
                <c:pt idx="1892">
                  <c:v>2.8640750000000001</c:v>
                </c:pt>
                <c:pt idx="1893">
                  <c:v>2.8640750000000001</c:v>
                </c:pt>
                <c:pt idx="1894">
                  <c:v>2.8640750000000001</c:v>
                </c:pt>
                <c:pt idx="1895">
                  <c:v>2.8640750000000001</c:v>
                </c:pt>
                <c:pt idx="1896">
                  <c:v>2.8640750000000001</c:v>
                </c:pt>
                <c:pt idx="1897">
                  <c:v>2.8640750000000001</c:v>
                </c:pt>
                <c:pt idx="1898">
                  <c:v>2.074014</c:v>
                </c:pt>
                <c:pt idx="1899">
                  <c:v>2.074014</c:v>
                </c:pt>
                <c:pt idx="1900">
                  <c:v>2.074014</c:v>
                </c:pt>
                <c:pt idx="1901">
                  <c:v>2.074014</c:v>
                </c:pt>
                <c:pt idx="1902">
                  <c:v>2.074014</c:v>
                </c:pt>
                <c:pt idx="1903">
                  <c:v>2.074014</c:v>
                </c:pt>
                <c:pt idx="1904">
                  <c:v>1.4602649999999999</c:v>
                </c:pt>
                <c:pt idx="1905">
                  <c:v>1.4602649999999999</c:v>
                </c:pt>
                <c:pt idx="1906">
                  <c:v>1.4602649999999999</c:v>
                </c:pt>
                <c:pt idx="1907">
                  <c:v>1.4602649999999999</c:v>
                </c:pt>
                <c:pt idx="1908">
                  <c:v>1.4602649999999999</c:v>
                </c:pt>
                <c:pt idx="1909">
                  <c:v>1.2736044999999998</c:v>
                </c:pt>
                <c:pt idx="1910">
                  <c:v>1.0869439999999999</c:v>
                </c:pt>
                <c:pt idx="1911">
                  <c:v>1.0869439999999999</c:v>
                </c:pt>
                <c:pt idx="1912">
                  <c:v>1.0869439999999999</c:v>
                </c:pt>
                <c:pt idx="1913">
                  <c:v>1.0869439999999999</c:v>
                </c:pt>
                <c:pt idx="1914">
                  <c:v>1.0869439999999999</c:v>
                </c:pt>
                <c:pt idx="1915">
                  <c:v>0.94830499999999995</c:v>
                </c:pt>
                <c:pt idx="1916">
                  <c:v>0.809666</c:v>
                </c:pt>
                <c:pt idx="1917">
                  <c:v>0.809666</c:v>
                </c:pt>
                <c:pt idx="1918">
                  <c:v>0.809666</c:v>
                </c:pt>
                <c:pt idx="1919">
                  <c:v>0.809666</c:v>
                </c:pt>
                <c:pt idx="1920">
                  <c:v>0.809666</c:v>
                </c:pt>
                <c:pt idx="1921">
                  <c:v>0.55367</c:v>
                </c:pt>
                <c:pt idx="1922">
                  <c:v>0.55367</c:v>
                </c:pt>
                <c:pt idx="1923">
                  <c:v>0.55367</c:v>
                </c:pt>
                <c:pt idx="1924">
                  <c:v>0.55367</c:v>
                </c:pt>
                <c:pt idx="1925">
                  <c:v>0.55367</c:v>
                </c:pt>
                <c:pt idx="1926">
                  <c:v>0.55367</c:v>
                </c:pt>
                <c:pt idx="1927">
                  <c:v>0.365672</c:v>
                </c:pt>
                <c:pt idx="1928">
                  <c:v>0.365672</c:v>
                </c:pt>
                <c:pt idx="1929">
                  <c:v>0.365672</c:v>
                </c:pt>
                <c:pt idx="1930">
                  <c:v>0.365672</c:v>
                </c:pt>
                <c:pt idx="1931">
                  <c:v>0.365672</c:v>
                </c:pt>
                <c:pt idx="1932">
                  <c:v>0.365672</c:v>
                </c:pt>
                <c:pt idx="1933">
                  <c:v>0.230321</c:v>
                </c:pt>
                <c:pt idx="1934">
                  <c:v>0.230321</c:v>
                </c:pt>
                <c:pt idx="1935">
                  <c:v>0.230321</c:v>
                </c:pt>
                <c:pt idx="1936">
                  <c:v>0.230321</c:v>
                </c:pt>
                <c:pt idx="1937">
                  <c:v>0.230321</c:v>
                </c:pt>
                <c:pt idx="1938">
                  <c:v>0.1759705</c:v>
                </c:pt>
                <c:pt idx="1939">
                  <c:v>0.12162000000000001</c:v>
                </c:pt>
                <c:pt idx="1940">
                  <c:v>0.12162000000000001</c:v>
                </c:pt>
                <c:pt idx="1941">
                  <c:v>0.12162000000000001</c:v>
                </c:pt>
                <c:pt idx="1942">
                  <c:v>0.12162000000000001</c:v>
                </c:pt>
                <c:pt idx="1943">
                  <c:v>0.12162000000000001</c:v>
                </c:pt>
                <c:pt idx="1944">
                  <c:v>8.3681500000000006E-2</c:v>
                </c:pt>
                <c:pt idx="1945">
                  <c:v>4.5742999999999999E-2</c:v>
                </c:pt>
                <c:pt idx="1946">
                  <c:v>4.5742999999999999E-2</c:v>
                </c:pt>
                <c:pt idx="1947">
                  <c:v>4.5742999999999999E-2</c:v>
                </c:pt>
                <c:pt idx="1948">
                  <c:v>4.5742999999999999E-2</c:v>
                </c:pt>
                <c:pt idx="1949">
                  <c:v>4.5742999999999999E-2</c:v>
                </c:pt>
                <c:pt idx="1950">
                  <c:v>4.8960000000000002E-3</c:v>
                </c:pt>
                <c:pt idx="1951">
                  <c:v>4.8960000000000002E-3</c:v>
                </c:pt>
                <c:pt idx="1952">
                  <c:v>4.8960000000000002E-3</c:v>
                </c:pt>
                <c:pt idx="1953">
                  <c:v>4.8960000000000002E-3</c:v>
                </c:pt>
                <c:pt idx="1954">
                  <c:v>4.8960000000000002E-3</c:v>
                </c:pt>
                <c:pt idx="1955">
                  <c:v>4.8960000000000002E-3</c:v>
                </c:pt>
                <c:pt idx="1956">
                  <c:v>-1.9220000000000001E-3</c:v>
                </c:pt>
                <c:pt idx="1957">
                  <c:v>-1.9220000000000001E-3</c:v>
                </c:pt>
                <c:pt idx="1958">
                  <c:v>-1.9220000000000001E-3</c:v>
                </c:pt>
                <c:pt idx="1959">
                  <c:v>-1.9220000000000001E-3</c:v>
                </c:pt>
                <c:pt idx="1960">
                  <c:v>-1.9220000000000001E-3</c:v>
                </c:pt>
                <c:pt idx="1961">
                  <c:v>-1.9220000000000001E-3</c:v>
                </c:pt>
                <c:pt idx="1962">
                  <c:v>1.536E-3</c:v>
                </c:pt>
                <c:pt idx="1963">
                  <c:v>1.536E-3</c:v>
                </c:pt>
                <c:pt idx="1964">
                  <c:v>1.536E-3</c:v>
                </c:pt>
                <c:pt idx="1965">
                  <c:v>1.536E-3</c:v>
                </c:pt>
                <c:pt idx="1966">
                  <c:v>1.536E-3</c:v>
                </c:pt>
                <c:pt idx="1967">
                  <c:v>-1.1499999999999998E-4</c:v>
                </c:pt>
                <c:pt idx="1968">
                  <c:v>-1.766E-3</c:v>
                </c:pt>
                <c:pt idx="1969">
                  <c:v>-1.766E-3</c:v>
                </c:pt>
                <c:pt idx="1970">
                  <c:v>-1.766E-3</c:v>
                </c:pt>
                <c:pt idx="1971">
                  <c:v>-1.766E-3</c:v>
                </c:pt>
                <c:pt idx="1972">
                  <c:v>-1.766E-3</c:v>
                </c:pt>
                <c:pt idx="1973">
                  <c:v>1.407E-3</c:v>
                </c:pt>
                <c:pt idx="1974">
                  <c:v>1.407E-3</c:v>
                </c:pt>
                <c:pt idx="1975">
                  <c:v>1.407E-3</c:v>
                </c:pt>
                <c:pt idx="1976">
                  <c:v>1.407E-3</c:v>
                </c:pt>
                <c:pt idx="1977">
                  <c:v>1.407E-3</c:v>
                </c:pt>
                <c:pt idx="1978">
                  <c:v>1.407E-3</c:v>
                </c:pt>
                <c:pt idx="1979">
                  <c:v>-1.2669999999999999E-3</c:v>
                </c:pt>
                <c:pt idx="1980">
                  <c:v>-1.2669999999999999E-3</c:v>
                </c:pt>
                <c:pt idx="1981">
                  <c:v>-1.2669999999999999E-3</c:v>
                </c:pt>
                <c:pt idx="1982">
                  <c:v>-1.2669999999999999E-3</c:v>
                </c:pt>
                <c:pt idx="1983">
                  <c:v>-1.2669999999999999E-3</c:v>
                </c:pt>
                <c:pt idx="1984">
                  <c:v>-1.2669999999999999E-3</c:v>
                </c:pt>
                <c:pt idx="1985">
                  <c:v>6.0300000000000002E-4</c:v>
                </c:pt>
                <c:pt idx="1986">
                  <c:v>6.0300000000000002E-4</c:v>
                </c:pt>
                <c:pt idx="1987">
                  <c:v>6.0300000000000002E-4</c:v>
                </c:pt>
                <c:pt idx="1988">
                  <c:v>6.0300000000000002E-4</c:v>
                </c:pt>
                <c:pt idx="1989">
                  <c:v>6.0300000000000002E-4</c:v>
                </c:pt>
                <c:pt idx="1990">
                  <c:v>6.0300000000000002E-4</c:v>
                </c:pt>
                <c:pt idx="1991">
                  <c:v>-5.8600000000000004E-4</c:v>
                </c:pt>
                <c:pt idx="1992">
                  <c:v>-5.8600000000000004E-4</c:v>
                </c:pt>
                <c:pt idx="1993">
                  <c:v>-5.8600000000000004E-4</c:v>
                </c:pt>
                <c:pt idx="1994">
                  <c:v>-5.8600000000000004E-4</c:v>
                </c:pt>
                <c:pt idx="1995">
                  <c:v>-5.8600000000000004E-4</c:v>
                </c:pt>
                <c:pt idx="1996">
                  <c:v>-8.4000000000000009E-5</c:v>
                </c:pt>
                <c:pt idx="1997">
                  <c:v>4.1800000000000002E-4</c:v>
                </c:pt>
                <c:pt idx="1998">
                  <c:v>4.1800000000000002E-4</c:v>
                </c:pt>
                <c:pt idx="1999">
                  <c:v>4.1800000000000002E-4</c:v>
                </c:pt>
                <c:pt idx="2000">
                  <c:v>4.1800000000000002E-4</c:v>
                </c:pt>
                <c:pt idx="2001">
                  <c:v>4.1800000000000002E-4</c:v>
                </c:pt>
                <c:pt idx="2002">
                  <c:v>-4.0000000000000003E-5</c:v>
                </c:pt>
                <c:pt idx="2003">
                  <c:v>-4.0000000000000003E-5</c:v>
                </c:pt>
                <c:pt idx="2004">
                  <c:v>-4.0000000000000003E-5</c:v>
                </c:pt>
                <c:pt idx="2005">
                  <c:v>-4.0000000000000003E-5</c:v>
                </c:pt>
                <c:pt idx="2006">
                  <c:v>-4.0000000000000003E-5</c:v>
                </c:pt>
                <c:pt idx="2007">
                  <c:v>-4.0000000000000003E-5</c:v>
                </c:pt>
                <c:pt idx="2008">
                  <c:v>-3.8999999999999999E-5</c:v>
                </c:pt>
                <c:pt idx="2009">
                  <c:v>-3.8999999999999999E-5</c:v>
                </c:pt>
                <c:pt idx="2010">
                  <c:v>-3.8999999999999999E-5</c:v>
                </c:pt>
                <c:pt idx="2011">
                  <c:v>-3.8999999999999999E-5</c:v>
                </c:pt>
                <c:pt idx="2012">
                  <c:v>-3.8999999999999999E-5</c:v>
                </c:pt>
                <c:pt idx="2013">
                  <c:v>-3.8999999999999999E-5</c:v>
                </c:pt>
                <c:pt idx="2014">
                  <c:v>-3.8000000000000002E-5</c:v>
                </c:pt>
                <c:pt idx="2015">
                  <c:v>-3.8000000000000002E-5</c:v>
                </c:pt>
                <c:pt idx="2016">
                  <c:v>-3.8000000000000002E-5</c:v>
                </c:pt>
                <c:pt idx="2017">
                  <c:v>-3.8000000000000002E-5</c:v>
                </c:pt>
                <c:pt idx="2018">
                  <c:v>-3.8000000000000002E-5</c:v>
                </c:pt>
                <c:pt idx="2019">
                  <c:v>-3.7500000000000003E-5</c:v>
                </c:pt>
                <c:pt idx="2020">
                  <c:v>-3.6999999999999998E-5</c:v>
                </c:pt>
                <c:pt idx="2021">
                  <c:v>-3.6999999999999998E-5</c:v>
                </c:pt>
                <c:pt idx="2022">
                  <c:v>-3.6999999999999998E-5</c:v>
                </c:pt>
                <c:pt idx="2023">
                  <c:v>-3.6999999999999998E-5</c:v>
                </c:pt>
                <c:pt idx="2024">
                  <c:v>-3.6999999999999998E-5</c:v>
                </c:pt>
                <c:pt idx="2025">
                  <c:v>-3.65E-5</c:v>
                </c:pt>
                <c:pt idx="2026">
                  <c:v>-3.6000000000000001E-5</c:v>
                </c:pt>
                <c:pt idx="2027">
                  <c:v>-3.6000000000000001E-5</c:v>
                </c:pt>
                <c:pt idx="2028">
                  <c:v>-3.6000000000000001E-5</c:v>
                </c:pt>
                <c:pt idx="2029">
                  <c:v>-3.6000000000000001E-5</c:v>
                </c:pt>
                <c:pt idx="2030">
                  <c:v>-3.6000000000000001E-5</c:v>
                </c:pt>
                <c:pt idx="2031">
                  <c:v>-3.4999999999999997E-5</c:v>
                </c:pt>
                <c:pt idx="2032">
                  <c:v>-3.4999999999999997E-5</c:v>
                </c:pt>
                <c:pt idx="2033">
                  <c:v>-3.4999999999999997E-5</c:v>
                </c:pt>
                <c:pt idx="2034">
                  <c:v>-3.4999999999999997E-5</c:v>
                </c:pt>
                <c:pt idx="2035">
                  <c:v>-3.4999999999999997E-5</c:v>
                </c:pt>
                <c:pt idx="2036">
                  <c:v>-3.4999999999999997E-5</c:v>
                </c:pt>
                <c:pt idx="2037">
                  <c:v>-3.4999999999999997E-5</c:v>
                </c:pt>
                <c:pt idx="2038">
                  <c:v>-3.4999999999999997E-5</c:v>
                </c:pt>
                <c:pt idx="2039">
                  <c:v>-3.4999999999999997E-5</c:v>
                </c:pt>
                <c:pt idx="2040">
                  <c:v>-3.4999999999999997E-5</c:v>
                </c:pt>
                <c:pt idx="2041">
                  <c:v>-3.4999999999999997E-5</c:v>
                </c:pt>
                <c:pt idx="2042">
                  <c:v>-3.4999999999999997E-5</c:v>
                </c:pt>
                <c:pt idx="2043">
                  <c:v>-3.4E-5</c:v>
                </c:pt>
                <c:pt idx="2044">
                  <c:v>-3.4E-5</c:v>
                </c:pt>
                <c:pt idx="2045">
                  <c:v>-3.4E-5</c:v>
                </c:pt>
                <c:pt idx="2046">
                  <c:v>-3.4E-5</c:v>
                </c:pt>
                <c:pt idx="2047">
                  <c:v>-3.4E-5</c:v>
                </c:pt>
                <c:pt idx="2048">
                  <c:v>-3.3500000000000001E-5</c:v>
                </c:pt>
                <c:pt idx="2049">
                  <c:v>-3.3000000000000003E-5</c:v>
                </c:pt>
                <c:pt idx="2050">
                  <c:v>-3.3000000000000003E-5</c:v>
                </c:pt>
                <c:pt idx="2051">
                  <c:v>-3.3000000000000003E-5</c:v>
                </c:pt>
                <c:pt idx="2052">
                  <c:v>-3.3000000000000003E-5</c:v>
                </c:pt>
                <c:pt idx="2053">
                  <c:v>-3.3000000000000003E-5</c:v>
                </c:pt>
                <c:pt idx="2054">
                  <c:v>-3.1999999999999999E-5</c:v>
                </c:pt>
                <c:pt idx="2055">
                  <c:v>-3.1999999999999999E-5</c:v>
                </c:pt>
                <c:pt idx="2056">
                  <c:v>-3.1999999999999999E-5</c:v>
                </c:pt>
                <c:pt idx="2057">
                  <c:v>-3.1999999999999999E-5</c:v>
                </c:pt>
                <c:pt idx="2058">
                  <c:v>-3.1999999999999999E-5</c:v>
                </c:pt>
                <c:pt idx="2059">
                  <c:v>-3.1999999999999999E-5</c:v>
                </c:pt>
                <c:pt idx="2060">
                  <c:v>-3.1000000000000001E-5</c:v>
                </c:pt>
                <c:pt idx="2061">
                  <c:v>-3.1000000000000001E-5</c:v>
                </c:pt>
                <c:pt idx="2062">
                  <c:v>-3.1000000000000001E-5</c:v>
                </c:pt>
                <c:pt idx="2063">
                  <c:v>-3.1000000000000001E-5</c:v>
                </c:pt>
                <c:pt idx="2064">
                  <c:v>-3.1000000000000001E-5</c:v>
                </c:pt>
                <c:pt idx="2065">
                  <c:v>-3.1000000000000001E-5</c:v>
                </c:pt>
                <c:pt idx="2066">
                  <c:v>-3.0000000000000001E-5</c:v>
                </c:pt>
                <c:pt idx="2067">
                  <c:v>-3.0000000000000001E-5</c:v>
                </c:pt>
                <c:pt idx="2068">
                  <c:v>-3.0000000000000001E-5</c:v>
                </c:pt>
                <c:pt idx="2069">
                  <c:v>-3.0000000000000001E-5</c:v>
                </c:pt>
                <c:pt idx="2070">
                  <c:v>-3.0000000000000001E-5</c:v>
                </c:pt>
                <c:pt idx="2071">
                  <c:v>-3.0000000000000001E-5</c:v>
                </c:pt>
                <c:pt idx="2072">
                  <c:v>-3.0000000000000001E-5</c:v>
                </c:pt>
                <c:pt idx="2073">
                  <c:v>-3.0000000000000001E-5</c:v>
                </c:pt>
                <c:pt idx="2074">
                  <c:v>-3.0000000000000001E-5</c:v>
                </c:pt>
                <c:pt idx="2075">
                  <c:v>-3.0000000000000001E-5</c:v>
                </c:pt>
                <c:pt idx="2076">
                  <c:v>-3.0000000000000001E-5</c:v>
                </c:pt>
                <c:pt idx="2077">
                  <c:v>-2.9499999999999999E-5</c:v>
                </c:pt>
                <c:pt idx="2078">
                  <c:v>-2.9E-5</c:v>
                </c:pt>
                <c:pt idx="2079">
                  <c:v>-2.9E-5</c:v>
                </c:pt>
                <c:pt idx="2080">
                  <c:v>-2.9E-5</c:v>
                </c:pt>
                <c:pt idx="2081">
                  <c:v>-2.9E-5</c:v>
                </c:pt>
                <c:pt idx="2082">
                  <c:v>-2.9E-5</c:v>
                </c:pt>
                <c:pt idx="2083">
                  <c:v>-2.8E-5</c:v>
                </c:pt>
                <c:pt idx="2084">
                  <c:v>-2.8E-5</c:v>
                </c:pt>
                <c:pt idx="2085">
                  <c:v>-2.8E-5</c:v>
                </c:pt>
                <c:pt idx="2086">
                  <c:v>-2.8E-5</c:v>
                </c:pt>
                <c:pt idx="2087">
                  <c:v>-2.8E-5</c:v>
                </c:pt>
                <c:pt idx="2088">
                  <c:v>-2.8E-5</c:v>
                </c:pt>
                <c:pt idx="2089">
                  <c:v>-2.6999999999999999E-5</c:v>
                </c:pt>
                <c:pt idx="2090">
                  <c:v>-2.6999999999999999E-5</c:v>
                </c:pt>
                <c:pt idx="2091">
                  <c:v>-2.6999999999999999E-5</c:v>
                </c:pt>
                <c:pt idx="2092">
                  <c:v>-2.6999999999999999E-5</c:v>
                </c:pt>
                <c:pt idx="2093">
                  <c:v>-2.6999999999999999E-5</c:v>
                </c:pt>
                <c:pt idx="2094">
                  <c:v>-2.6999999999999999E-5</c:v>
                </c:pt>
                <c:pt idx="2095">
                  <c:v>-2.5999999999999998E-5</c:v>
                </c:pt>
                <c:pt idx="2096">
                  <c:v>-2.5999999999999998E-5</c:v>
                </c:pt>
                <c:pt idx="2097">
                  <c:v>-2.5999999999999998E-5</c:v>
                </c:pt>
                <c:pt idx="2098">
                  <c:v>-2.5999999999999998E-5</c:v>
                </c:pt>
                <c:pt idx="2099">
                  <c:v>-2.5999999999999998E-5</c:v>
                </c:pt>
                <c:pt idx="2100">
                  <c:v>-2.55E-5</c:v>
                </c:pt>
                <c:pt idx="2101">
                  <c:v>-2.5000000000000001E-5</c:v>
                </c:pt>
                <c:pt idx="2102">
                  <c:v>-2.5000000000000001E-5</c:v>
                </c:pt>
                <c:pt idx="2103">
                  <c:v>-2.5000000000000001E-5</c:v>
                </c:pt>
                <c:pt idx="2104">
                  <c:v>-2.5000000000000001E-5</c:v>
                </c:pt>
                <c:pt idx="2105">
                  <c:v>-2.5000000000000001E-5</c:v>
                </c:pt>
                <c:pt idx="2106">
                  <c:v>-2.4499999999999999E-5</c:v>
                </c:pt>
                <c:pt idx="2107">
                  <c:v>-2.4000000000000001E-5</c:v>
                </c:pt>
                <c:pt idx="2108">
                  <c:v>-2.4000000000000001E-5</c:v>
                </c:pt>
                <c:pt idx="2109">
                  <c:v>-2.4000000000000001E-5</c:v>
                </c:pt>
                <c:pt idx="2110">
                  <c:v>-2.4000000000000001E-5</c:v>
                </c:pt>
                <c:pt idx="2111">
                  <c:v>-2.4000000000000001E-5</c:v>
                </c:pt>
                <c:pt idx="2112">
                  <c:v>-2.4000000000000001E-5</c:v>
                </c:pt>
                <c:pt idx="2113">
                  <c:v>-2.4000000000000001E-5</c:v>
                </c:pt>
                <c:pt idx="2114">
                  <c:v>-2.4000000000000001E-5</c:v>
                </c:pt>
                <c:pt idx="2115">
                  <c:v>-2.4000000000000001E-5</c:v>
                </c:pt>
                <c:pt idx="2116">
                  <c:v>-2.4000000000000001E-5</c:v>
                </c:pt>
                <c:pt idx="2117">
                  <c:v>-2.4000000000000001E-5</c:v>
                </c:pt>
                <c:pt idx="2118">
                  <c:v>-2.3E-5</c:v>
                </c:pt>
                <c:pt idx="2119">
                  <c:v>-2.3E-5</c:v>
                </c:pt>
                <c:pt idx="2120">
                  <c:v>-2.3E-5</c:v>
                </c:pt>
                <c:pt idx="2121">
                  <c:v>-2.3E-5</c:v>
                </c:pt>
                <c:pt idx="2122">
                  <c:v>-2.3E-5</c:v>
                </c:pt>
                <c:pt idx="2123">
                  <c:v>-2.3E-5</c:v>
                </c:pt>
                <c:pt idx="2124">
                  <c:v>-2.1999999999999999E-5</c:v>
                </c:pt>
                <c:pt idx="2125">
                  <c:v>-2.1999999999999999E-5</c:v>
                </c:pt>
                <c:pt idx="2126">
                  <c:v>-2.1999999999999999E-5</c:v>
                </c:pt>
                <c:pt idx="2127">
                  <c:v>-2.1999999999999999E-5</c:v>
                </c:pt>
                <c:pt idx="2128">
                  <c:v>-2.1999999999999999E-5</c:v>
                </c:pt>
                <c:pt idx="2129">
                  <c:v>-2.1500000000000001E-5</c:v>
                </c:pt>
                <c:pt idx="2130">
                  <c:v>-2.0999999999999999E-5</c:v>
                </c:pt>
                <c:pt idx="2131">
                  <c:v>-2.0999999999999999E-5</c:v>
                </c:pt>
                <c:pt idx="2132">
                  <c:v>-2.0999999999999999E-5</c:v>
                </c:pt>
                <c:pt idx="2133">
                  <c:v>-2.0999999999999999E-5</c:v>
                </c:pt>
                <c:pt idx="2134">
                  <c:v>-2.0999999999999999E-5</c:v>
                </c:pt>
                <c:pt idx="2135">
                  <c:v>-2.05E-5</c:v>
                </c:pt>
                <c:pt idx="2136">
                  <c:v>-2.0000000000000002E-5</c:v>
                </c:pt>
                <c:pt idx="2137">
                  <c:v>-2.0000000000000002E-5</c:v>
                </c:pt>
                <c:pt idx="2138">
                  <c:v>-2.0000000000000002E-5</c:v>
                </c:pt>
                <c:pt idx="2139">
                  <c:v>-2.0000000000000002E-5</c:v>
                </c:pt>
                <c:pt idx="2140">
                  <c:v>-2.0000000000000002E-5</c:v>
                </c:pt>
                <c:pt idx="2141">
                  <c:v>-1.9000000000000001E-5</c:v>
                </c:pt>
                <c:pt idx="2142">
                  <c:v>-1.9000000000000001E-5</c:v>
                </c:pt>
                <c:pt idx="2143">
                  <c:v>-1.9000000000000001E-5</c:v>
                </c:pt>
                <c:pt idx="2144">
                  <c:v>-1.9000000000000001E-5</c:v>
                </c:pt>
                <c:pt idx="2145">
                  <c:v>-1.9000000000000001E-5</c:v>
                </c:pt>
                <c:pt idx="2146">
                  <c:v>-1.9000000000000001E-5</c:v>
                </c:pt>
                <c:pt idx="2147">
                  <c:v>-1.8E-5</c:v>
                </c:pt>
                <c:pt idx="2148">
                  <c:v>-1.8E-5</c:v>
                </c:pt>
                <c:pt idx="2149">
                  <c:v>-1.8E-5</c:v>
                </c:pt>
                <c:pt idx="2150">
                  <c:v>-1.8E-5</c:v>
                </c:pt>
                <c:pt idx="2151">
                  <c:v>-1.8E-5</c:v>
                </c:pt>
                <c:pt idx="2152">
                  <c:v>-1.8E-5</c:v>
                </c:pt>
                <c:pt idx="2153">
                  <c:v>-1.8E-5</c:v>
                </c:pt>
                <c:pt idx="2154">
                  <c:v>-1.8E-5</c:v>
                </c:pt>
                <c:pt idx="2155">
                  <c:v>-1.8E-5</c:v>
                </c:pt>
                <c:pt idx="2156">
                  <c:v>-1.8E-5</c:v>
                </c:pt>
                <c:pt idx="2157">
                  <c:v>-1.8E-5</c:v>
                </c:pt>
                <c:pt idx="2158">
                  <c:v>-1.7499999999999998E-5</c:v>
                </c:pt>
                <c:pt idx="2159">
                  <c:v>-1.7E-5</c:v>
                </c:pt>
                <c:pt idx="2160">
                  <c:v>-1.7E-5</c:v>
                </c:pt>
                <c:pt idx="2161">
                  <c:v>-1.7E-5</c:v>
                </c:pt>
                <c:pt idx="2162">
                  <c:v>-1.7E-5</c:v>
                </c:pt>
                <c:pt idx="2163">
                  <c:v>-1.7E-5</c:v>
                </c:pt>
                <c:pt idx="2164">
                  <c:v>-1.5999999999999999E-5</c:v>
                </c:pt>
                <c:pt idx="2165">
                  <c:v>-1.5999999999999999E-5</c:v>
                </c:pt>
                <c:pt idx="2166">
                  <c:v>-1.5999999999999999E-5</c:v>
                </c:pt>
                <c:pt idx="2167">
                  <c:v>-1.5999999999999999E-5</c:v>
                </c:pt>
                <c:pt idx="2168">
                  <c:v>-1.5999999999999999E-5</c:v>
                </c:pt>
                <c:pt idx="2169">
                  <c:v>-1.5999999999999999E-5</c:v>
                </c:pt>
                <c:pt idx="2170">
                  <c:v>-1.5E-5</c:v>
                </c:pt>
                <c:pt idx="2171">
                  <c:v>-1.5E-5</c:v>
                </c:pt>
                <c:pt idx="2172">
                  <c:v>-1.5E-5</c:v>
                </c:pt>
                <c:pt idx="2173">
                  <c:v>-1.5E-5</c:v>
                </c:pt>
                <c:pt idx="2174">
                  <c:v>-1.5E-5</c:v>
                </c:pt>
                <c:pt idx="2175">
                  <c:v>-1.5E-5</c:v>
                </c:pt>
                <c:pt idx="2176">
                  <c:v>-1.4E-5</c:v>
                </c:pt>
                <c:pt idx="2177">
                  <c:v>-1.4E-5</c:v>
                </c:pt>
                <c:pt idx="2178">
                  <c:v>-1.4E-5</c:v>
                </c:pt>
                <c:pt idx="2179">
                  <c:v>-1.4E-5</c:v>
                </c:pt>
                <c:pt idx="2180">
                  <c:v>-1.4E-5</c:v>
                </c:pt>
                <c:pt idx="2181">
                  <c:v>-1.4E-5</c:v>
                </c:pt>
                <c:pt idx="2182">
                  <c:v>-1.2999999999999999E-5</c:v>
                </c:pt>
                <c:pt idx="2183">
                  <c:v>-1.2999999999999999E-5</c:v>
                </c:pt>
                <c:pt idx="2184">
                  <c:v>-1.2999999999999999E-5</c:v>
                </c:pt>
                <c:pt idx="2185">
                  <c:v>-1.2999999999999999E-5</c:v>
                </c:pt>
                <c:pt idx="2186">
                  <c:v>-1.2999999999999999E-5</c:v>
                </c:pt>
                <c:pt idx="2187">
                  <c:v>-1.2499999999999999E-5</c:v>
                </c:pt>
                <c:pt idx="2188">
                  <c:v>-1.2E-5</c:v>
                </c:pt>
                <c:pt idx="2189">
                  <c:v>-1.2E-5</c:v>
                </c:pt>
                <c:pt idx="2190">
                  <c:v>-1.2E-5</c:v>
                </c:pt>
                <c:pt idx="2191">
                  <c:v>-1.2E-5</c:v>
                </c:pt>
                <c:pt idx="2192">
                  <c:v>-1.2E-5</c:v>
                </c:pt>
                <c:pt idx="2193">
                  <c:v>-1.2E-5</c:v>
                </c:pt>
                <c:pt idx="2194">
                  <c:v>-1.2E-5</c:v>
                </c:pt>
                <c:pt idx="2195">
                  <c:v>-1.2E-5</c:v>
                </c:pt>
                <c:pt idx="2196">
                  <c:v>-1.2E-5</c:v>
                </c:pt>
                <c:pt idx="2197">
                  <c:v>-1.2E-5</c:v>
                </c:pt>
                <c:pt idx="2198">
                  <c:v>-1.2E-5</c:v>
                </c:pt>
                <c:pt idx="2199">
                  <c:v>-1.1E-5</c:v>
                </c:pt>
                <c:pt idx="2200">
                  <c:v>-1.1E-5</c:v>
                </c:pt>
                <c:pt idx="2201">
                  <c:v>-1.1E-5</c:v>
                </c:pt>
                <c:pt idx="2202">
                  <c:v>-1.1E-5</c:v>
                </c:pt>
                <c:pt idx="2203">
                  <c:v>-1.1E-5</c:v>
                </c:pt>
                <c:pt idx="2204">
                  <c:v>-1.1E-5</c:v>
                </c:pt>
                <c:pt idx="2205">
                  <c:v>-1.0000000000000001E-5</c:v>
                </c:pt>
                <c:pt idx="2206">
                  <c:v>-1.0000000000000001E-5</c:v>
                </c:pt>
                <c:pt idx="2207">
                  <c:v>-1.0000000000000001E-5</c:v>
                </c:pt>
                <c:pt idx="2208">
                  <c:v>-1.0000000000000001E-5</c:v>
                </c:pt>
                <c:pt idx="2209">
                  <c:v>-1.0000000000000001E-5</c:v>
                </c:pt>
                <c:pt idx="2210">
                  <c:v>-9.5000000000000005E-6</c:v>
                </c:pt>
                <c:pt idx="2211">
                  <c:v>-9.0000000000000002E-6</c:v>
                </c:pt>
                <c:pt idx="2212">
                  <c:v>-9.0000000000000002E-6</c:v>
                </c:pt>
                <c:pt idx="2213">
                  <c:v>-9.0000000000000002E-6</c:v>
                </c:pt>
                <c:pt idx="2214">
                  <c:v>-9.0000000000000002E-6</c:v>
                </c:pt>
                <c:pt idx="2215">
                  <c:v>-9.0000000000000002E-6</c:v>
                </c:pt>
                <c:pt idx="2216">
                  <c:v>-8.4999999999999999E-6</c:v>
                </c:pt>
                <c:pt idx="2217">
                  <c:v>-7.9999999999999996E-6</c:v>
                </c:pt>
                <c:pt idx="2218">
                  <c:v>-7.9999999999999996E-6</c:v>
                </c:pt>
                <c:pt idx="2219">
                  <c:v>-7.9999999999999996E-6</c:v>
                </c:pt>
                <c:pt idx="2220">
                  <c:v>-7.9999999999999996E-6</c:v>
                </c:pt>
                <c:pt idx="2221">
                  <c:v>-7.9999999999999996E-6</c:v>
                </c:pt>
                <c:pt idx="2222">
                  <c:v>-6.9999999999999999E-6</c:v>
                </c:pt>
                <c:pt idx="2223">
                  <c:v>-6.9999999999999999E-6</c:v>
                </c:pt>
                <c:pt idx="2224">
                  <c:v>-6.9999999999999999E-6</c:v>
                </c:pt>
                <c:pt idx="2225">
                  <c:v>-6.9999999999999999E-6</c:v>
                </c:pt>
                <c:pt idx="2226">
                  <c:v>-6.9999999999999999E-6</c:v>
                </c:pt>
                <c:pt idx="2227">
                  <c:v>-6.9999999999999999E-6</c:v>
                </c:pt>
                <c:pt idx="2228">
                  <c:v>-6.0000000000000002E-6</c:v>
                </c:pt>
                <c:pt idx="2229">
                  <c:v>-6.0000000000000002E-6</c:v>
                </c:pt>
                <c:pt idx="2230">
                  <c:v>-6.0000000000000002E-6</c:v>
                </c:pt>
                <c:pt idx="2231">
                  <c:v>-6.0000000000000002E-6</c:v>
                </c:pt>
                <c:pt idx="2232">
                  <c:v>-6.0000000000000002E-6</c:v>
                </c:pt>
                <c:pt idx="2233">
                  <c:v>-6.0000000000000002E-6</c:v>
                </c:pt>
                <c:pt idx="2234">
                  <c:v>-6.0000000000000002E-6</c:v>
                </c:pt>
                <c:pt idx="2235">
                  <c:v>-6.0000000000000002E-6</c:v>
                </c:pt>
                <c:pt idx="2236">
                  <c:v>-6.0000000000000002E-6</c:v>
                </c:pt>
                <c:pt idx="2237">
                  <c:v>-6.0000000000000002E-6</c:v>
                </c:pt>
                <c:pt idx="2238">
                  <c:v>-6.0000000000000002E-6</c:v>
                </c:pt>
                <c:pt idx="2239">
                  <c:v>-5.4999999999999999E-6</c:v>
                </c:pt>
                <c:pt idx="2240">
                  <c:v>-5.0000000000000004E-6</c:v>
                </c:pt>
                <c:pt idx="2241">
                  <c:v>-5.0000000000000004E-6</c:v>
                </c:pt>
                <c:pt idx="2242">
                  <c:v>-5.0000000000000004E-6</c:v>
                </c:pt>
                <c:pt idx="2243">
                  <c:v>-5.0000000000000004E-6</c:v>
                </c:pt>
                <c:pt idx="2244">
                  <c:v>-5.0000000000000004E-6</c:v>
                </c:pt>
                <c:pt idx="2245">
                  <c:v>-3.9999999999999998E-6</c:v>
                </c:pt>
                <c:pt idx="2246">
                  <c:v>-3.9999999999999998E-6</c:v>
                </c:pt>
                <c:pt idx="2247">
                  <c:v>-3.9999999999999998E-6</c:v>
                </c:pt>
                <c:pt idx="2248">
                  <c:v>-3.9999999999999998E-6</c:v>
                </c:pt>
                <c:pt idx="2249">
                  <c:v>-3.9999999999999998E-6</c:v>
                </c:pt>
                <c:pt idx="2250">
                  <c:v>-3.9999999999999998E-6</c:v>
                </c:pt>
                <c:pt idx="2251">
                  <c:v>-3.0000000000000001E-6</c:v>
                </c:pt>
                <c:pt idx="2252">
                  <c:v>-3.0000000000000001E-6</c:v>
                </c:pt>
                <c:pt idx="2253">
                  <c:v>-3.0000000000000001E-6</c:v>
                </c:pt>
                <c:pt idx="2254">
                  <c:v>-3.0000000000000001E-6</c:v>
                </c:pt>
                <c:pt idx="2255">
                  <c:v>-3.0000000000000001E-6</c:v>
                </c:pt>
                <c:pt idx="2256">
                  <c:v>-3.0000000000000001E-6</c:v>
                </c:pt>
                <c:pt idx="2257">
                  <c:v>-1.9999999999999999E-6</c:v>
                </c:pt>
                <c:pt idx="2258">
                  <c:v>-1.9999999999999999E-6</c:v>
                </c:pt>
                <c:pt idx="2259">
                  <c:v>-1.9999999999999999E-6</c:v>
                </c:pt>
                <c:pt idx="2260">
                  <c:v>-1.9999999999999999E-6</c:v>
                </c:pt>
                <c:pt idx="2261">
                  <c:v>-1.9999999999999999E-6</c:v>
                </c:pt>
                <c:pt idx="2262">
                  <c:v>-1.9999999999999999E-6</c:v>
                </c:pt>
                <c:pt idx="2263">
                  <c:v>-9.9999999999999995E-7</c:v>
                </c:pt>
                <c:pt idx="2264">
                  <c:v>-9.9999999999999995E-7</c:v>
                </c:pt>
                <c:pt idx="2265">
                  <c:v>-9.9999999999999995E-7</c:v>
                </c:pt>
                <c:pt idx="2266">
                  <c:v>-9.9999999999999995E-7</c:v>
                </c:pt>
                <c:pt idx="2267">
                  <c:v>-9.9999999999999995E-7</c:v>
                </c:pt>
                <c:pt idx="2268">
                  <c:v>-4.9999999999999998E-7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9.9999999999999995E-7</c:v>
                </c:pt>
                <c:pt idx="2281">
                  <c:v>9.9999999999999995E-7</c:v>
                </c:pt>
                <c:pt idx="2282">
                  <c:v>9.9999999999999995E-7</c:v>
                </c:pt>
                <c:pt idx="2283">
                  <c:v>9.9999999999999995E-7</c:v>
                </c:pt>
                <c:pt idx="2284">
                  <c:v>9.9999999999999995E-7</c:v>
                </c:pt>
                <c:pt idx="2285">
                  <c:v>9.9999999999999995E-7</c:v>
                </c:pt>
                <c:pt idx="2286">
                  <c:v>1.9999999999999999E-6</c:v>
                </c:pt>
                <c:pt idx="2287">
                  <c:v>1.9999999999999999E-6</c:v>
                </c:pt>
                <c:pt idx="2288">
                  <c:v>1.9999999999999999E-6</c:v>
                </c:pt>
                <c:pt idx="2289">
                  <c:v>1.9999999999999999E-6</c:v>
                </c:pt>
                <c:pt idx="2290">
                  <c:v>1.9999999999999999E-6</c:v>
                </c:pt>
                <c:pt idx="2291">
                  <c:v>2.4999999999999998E-6</c:v>
                </c:pt>
                <c:pt idx="2292">
                  <c:v>3.0000000000000001E-6</c:v>
                </c:pt>
                <c:pt idx="2293">
                  <c:v>3.0000000000000001E-6</c:v>
                </c:pt>
                <c:pt idx="2294">
                  <c:v>3.0000000000000001E-6</c:v>
                </c:pt>
                <c:pt idx="2295">
                  <c:v>3.0000000000000001E-6</c:v>
                </c:pt>
                <c:pt idx="2296">
                  <c:v>3.0000000000000001E-6</c:v>
                </c:pt>
                <c:pt idx="2297">
                  <c:v>3.4999999999999999E-6</c:v>
                </c:pt>
                <c:pt idx="2298">
                  <c:v>3.9999999999999998E-6</c:v>
                </c:pt>
                <c:pt idx="2299">
                  <c:v>3.9999999999999998E-6</c:v>
                </c:pt>
                <c:pt idx="2300">
                  <c:v>3.9999999999999998E-6</c:v>
                </c:pt>
                <c:pt idx="2301">
                  <c:v>3.9999999999999998E-6</c:v>
                </c:pt>
                <c:pt idx="2302">
                  <c:v>3.9999999999999998E-6</c:v>
                </c:pt>
                <c:pt idx="2303">
                  <c:v>5.0000000000000004E-6</c:v>
                </c:pt>
                <c:pt idx="2304">
                  <c:v>5.0000000000000004E-6</c:v>
                </c:pt>
                <c:pt idx="2305">
                  <c:v>5.0000000000000004E-6</c:v>
                </c:pt>
                <c:pt idx="2306">
                  <c:v>5.0000000000000004E-6</c:v>
                </c:pt>
                <c:pt idx="2307">
                  <c:v>5.0000000000000004E-6</c:v>
                </c:pt>
                <c:pt idx="2308">
                  <c:v>5.0000000000000004E-6</c:v>
                </c:pt>
                <c:pt idx="2309">
                  <c:v>6.0000000000000002E-6</c:v>
                </c:pt>
                <c:pt idx="2310">
                  <c:v>6.0000000000000002E-6</c:v>
                </c:pt>
                <c:pt idx="2311">
                  <c:v>6.0000000000000002E-6</c:v>
                </c:pt>
                <c:pt idx="2312">
                  <c:v>6.0000000000000002E-6</c:v>
                </c:pt>
                <c:pt idx="2313">
                  <c:v>6.0000000000000002E-6</c:v>
                </c:pt>
                <c:pt idx="2314">
                  <c:v>6.0000000000000002E-6</c:v>
                </c:pt>
                <c:pt idx="2315">
                  <c:v>6.0000000000000002E-6</c:v>
                </c:pt>
                <c:pt idx="2316">
                  <c:v>6.0000000000000002E-6</c:v>
                </c:pt>
                <c:pt idx="2317">
                  <c:v>6.0000000000000002E-6</c:v>
                </c:pt>
                <c:pt idx="2318">
                  <c:v>6.0000000000000002E-6</c:v>
                </c:pt>
                <c:pt idx="2319">
                  <c:v>6.0000000000000002E-6</c:v>
                </c:pt>
                <c:pt idx="2320">
                  <c:v>6.5000000000000004E-6</c:v>
                </c:pt>
                <c:pt idx="2321">
                  <c:v>6.9999999999999999E-6</c:v>
                </c:pt>
                <c:pt idx="2322">
                  <c:v>6.9999999999999999E-6</c:v>
                </c:pt>
                <c:pt idx="2323">
                  <c:v>6.9999999999999999E-6</c:v>
                </c:pt>
                <c:pt idx="2324">
                  <c:v>6.9999999999999999E-6</c:v>
                </c:pt>
                <c:pt idx="2325">
                  <c:v>6.9999999999999999E-6</c:v>
                </c:pt>
                <c:pt idx="2326">
                  <c:v>7.4999999999999993E-6</c:v>
                </c:pt>
                <c:pt idx="2327">
                  <c:v>7.9999999999999996E-6</c:v>
                </c:pt>
                <c:pt idx="2328">
                  <c:v>7.9999999999999996E-6</c:v>
                </c:pt>
                <c:pt idx="2329">
                  <c:v>7.9999999999999996E-6</c:v>
                </c:pt>
                <c:pt idx="2330">
                  <c:v>7.9999999999999996E-6</c:v>
                </c:pt>
                <c:pt idx="2331">
                  <c:v>7.9999999999999996E-6</c:v>
                </c:pt>
                <c:pt idx="2332">
                  <c:v>9.0000000000000002E-6</c:v>
                </c:pt>
                <c:pt idx="2333">
                  <c:v>9.0000000000000002E-6</c:v>
                </c:pt>
                <c:pt idx="2334">
                  <c:v>9.0000000000000002E-6</c:v>
                </c:pt>
                <c:pt idx="2335">
                  <c:v>9.0000000000000002E-6</c:v>
                </c:pt>
                <c:pt idx="2336">
                  <c:v>9.0000000000000002E-6</c:v>
                </c:pt>
                <c:pt idx="2337">
                  <c:v>9.0000000000000002E-6</c:v>
                </c:pt>
                <c:pt idx="2338">
                  <c:v>1.0000000000000001E-5</c:v>
                </c:pt>
                <c:pt idx="2339">
                  <c:v>1.0000000000000001E-5</c:v>
                </c:pt>
                <c:pt idx="2340">
                  <c:v>1.0000000000000001E-5</c:v>
                </c:pt>
                <c:pt idx="2341">
                  <c:v>1.0000000000000001E-5</c:v>
                </c:pt>
                <c:pt idx="2342">
                  <c:v>1.0000000000000001E-5</c:v>
                </c:pt>
                <c:pt idx="2343">
                  <c:v>1.0000000000000001E-5</c:v>
                </c:pt>
                <c:pt idx="2344">
                  <c:v>1.1E-5</c:v>
                </c:pt>
                <c:pt idx="2345">
                  <c:v>1.1E-5</c:v>
                </c:pt>
                <c:pt idx="2346">
                  <c:v>1.1E-5</c:v>
                </c:pt>
                <c:pt idx="2347">
                  <c:v>1.1E-5</c:v>
                </c:pt>
                <c:pt idx="2348">
                  <c:v>1.1E-5</c:v>
                </c:pt>
                <c:pt idx="2349">
                  <c:v>1.15E-5</c:v>
                </c:pt>
                <c:pt idx="2350">
                  <c:v>1.2E-5</c:v>
                </c:pt>
                <c:pt idx="2351">
                  <c:v>1.2E-5</c:v>
                </c:pt>
                <c:pt idx="2352">
                  <c:v>1.2E-5</c:v>
                </c:pt>
                <c:pt idx="2353">
                  <c:v>1.2E-5</c:v>
                </c:pt>
                <c:pt idx="2354">
                  <c:v>1.2E-5</c:v>
                </c:pt>
                <c:pt idx="2355">
                  <c:v>1.2E-5</c:v>
                </c:pt>
                <c:pt idx="2356">
                  <c:v>1.2E-5</c:v>
                </c:pt>
                <c:pt idx="2357">
                  <c:v>1.2E-5</c:v>
                </c:pt>
                <c:pt idx="2358">
                  <c:v>1.2E-5</c:v>
                </c:pt>
                <c:pt idx="2359">
                  <c:v>1.2E-5</c:v>
                </c:pt>
                <c:pt idx="2360">
                  <c:v>1.2E-5</c:v>
                </c:pt>
                <c:pt idx="2361">
                  <c:v>1.2999999999999999E-5</c:v>
                </c:pt>
                <c:pt idx="2362">
                  <c:v>1.2999999999999999E-5</c:v>
                </c:pt>
                <c:pt idx="2363">
                  <c:v>1.2999999999999999E-5</c:v>
                </c:pt>
                <c:pt idx="2364">
                  <c:v>1.2999999999999999E-5</c:v>
                </c:pt>
                <c:pt idx="2365">
                  <c:v>1.2999999999999999E-5</c:v>
                </c:pt>
                <c:pt idx="2366">
                  <c:v>1.2999999999999999E-5</c:v>
                </c:pt>
                <c:pt idx="2367">
                  <c:v>1.4E-5</c:v>
                </c:pt>
                <c:pt idx="2368">
                  <c:v>1.4E-5</c:v>
                </c:pt>
                <c:pt idx="2369">
                  <c:v>1.4E-5</c:v>
                </c:pt>
                <c:pt idx="2370">
                  <c:v>1.4E-5</c:v>
                </c:pt>
                <c:pt idx="2371">
                  <c:v>1.4E-5</c:v>
                </c:pt>
                <c:pt idx="2372">
                  <c:v>1.4E-5</c:v>
                </c:pt>
                <c:pt idx="2373">
                  <c:v>1.5E-5</c:v>
                </c:pt>
                <c:pt idx="2374">
                  <c:v>1.5E-5</c:v>
                </c:pt>
                <c:pt idx="2375">
                  <c:v>1.5E-5</c:v>
                </c:pt>
                <c:pt idx="2376">
                  <c:v>1.5E-5</c:v>
                </c:pt>
                <c:pt idx="2377">
                  <c:v>1.5E-5</c:v>
                </c:pt>
                <c:pt idx="2378">
                  <c:v>1.5500000000000001E-5</c:v>
                </c:pt>
                <c:pt idx="2379">
                  <c:v>1.5999999999999999E-5</c:v>
                </c:pt>
                <c:pt idx="2380">
                  <c:v>1.5999999999999999E-5</c:v>
                </c:pt>
                <c:pt idx="2381">
                  <c:v>1.5999999999999999E-5</c:v>
                </c:pt>
                <c:pt idx="2382">
                  <c:v>1.5999999999999999E-5</c:v>
                </c:pt>
                <c:pt idx="2383">
                  <c:v>1.5999999999999999E-5</c:v>
                </c:pt>
                <c:pt idx="2384">
                  <c:v>1.7E-5</c:v>
                </c:pt>
                <c:pt idx="2385">
                  <c:v>1.7E-5</c:v>
                </c:pt>
                <c:pt idx="2386">
                  <c:v>1.7E-5</c:v>
                </c:pt>
                <c:pt idx="2387">
                  <c:v>1.7E-5</c:v>
                </c:pt>
                <c:pt idx="2388">
                  <c:v>1.7E-5</c:v>
                </c:pt>
                <c:pt idx="2389">
                  <c:v>1.7E-5</c:v>
                </c:pt>
                <c:pt idx="2390">
                  <c:v>1.8E-5</c:v>
                </c:pt>
                <c:pt idx="2391">
                  <c:v>1.8E-5</c:v>
                </c:pt>
                <c:pt idx="2392">
                  <c:v>1.8E-5</c:v>
                </c:pt>
                <c:pt idx="2393">
                  <c:v>1.8E-5</c:v>
                </c:pt>
                <c:pt idx="2394">
                  <c:v>1.8E-5</c:v>
                </c:pt>
                <c:pt idx="2395">
                  <c:v>1.8E-5</c:v>
                </c:pt>
                <c:pt idx="2396">
                  <c:v>1.8E-5</c:v>
                </c:pt>
                <c:pt idx="2397">
                  <c:v>1.8E-5</c:v>
                </c:pt>
                <c:pt idx="2398">
                  <c:v>1.8E-5</c:v>
                </c:pt>
                <c:pt idx="2399">
                  <c:v>1.8E-5</c:v>
                </c:pt>
                <c:pt idx="2400">
                  <c:v>1.8E-5</c:v>
                </c:pt>
                <c:pt idx="2401">
                  <c:v>1.8500000000000002E-5</c:v>
                </c:pt>
                <c:pt idx="2402">
                  <c:v>1.9000000000000001E-5</c:v>
                </c:pt>
                <c:pt idx="2403">
                  <c:v>1.9000000000000001E-5</c:v>
                </c:pt>
                <c:pt idx="2404">
                  <c:v>1.9000000000000001E-5</c:v>
                </c:pt>
                <c:pt idx="2405">
                  <c:v>1.9000000000000001E-5</c:v>
                </c:pt>
                <c:pt idx="2406">
                  <c:v>1.9000000000000001E-5</c:v>
                </c:pt>
                <c:pt idx="2407">
                  <c:v>1.95E-5</c:v>
                </c:pt>
                <c:pt idx="2408">
                  <c:v>2.0000000000000002E-5</c:v>
                </c:pt>
                <c:pt idx="2409">
                  <c:v>2.0000000000000002E-5</c:v>
                </c:pt>
                <c:pt idx="2410">
                  <c:v>2.0000000000000002E-5</c:v>
                </c:pt>
                <c:pt idx="2411">
                  <c:v>2.0000000000000002E-5</c:v>
                </c:pt>
                <c:pt idx="2412">
                  <c:v>2.0000000000000002E-5</c:v>
                </c:pt>
                <c:pt idx="2413">
                  <c:v>2.0999999999999999E-5</c:v>
                </c:pt>
                <c:pt idx="2414">
                  <c:v>2.0999999999999999E-5</c:v>
                </c:pt>
                <c:pt idx="2415">
                  <c:v>2.0999999999999999E-5</c:v>
                </c:pt>
                <c:pt idx="2416">
                  <c:v>2.0999999999999999E-5</c:v>
                </c:pt>
                <c:pt idx="2417">
                  <c:v>2.0999999999999999E-5</c:v>
                </c:pt>
                <c:pt idx="2418">
                  <c:v>2.0999999999999999E-5</c:v>
                </c:pt>
                <c:pt idx="2419">
                  <c:v>2.1999999999999999E-5</c:v>
                </c:pt>
                <c:pt idx="2420">
                  <c:v>2.1999999999999999E-5</c:v>
                </c:pt>
                <c:pt idx="2421">
                  <c:v>2.1999999999999999E-5</c:v>
                </c:pt>
                <c:pt idx="2422">
                  <c:v>2.1999999999999999E-5</c:v>
                </c:pt>
                <c:pt idx="2423">
                  <c:v>2.1999999999999999E-5</c:v>
                </c:pt>
                <c:pt idx="2424">
                  <c:v>2.1999999999999999E-5</c:v>
                </c:pt>
                <c:pt idx="2425">
                  <c:v>2.3E-5</c:v>
                </c:pt>
                <c:pt idx="2426">
                  <c:v>2.3E-5</c:v>
                </c:pt>
                <c:pt idx="2427">
                  <c:v>2.3E-5</c:v>
                </c:pt>
                <c:pt idx="2428">
                  <c:v>2.3E-5</c:v>
                </c:pt>
                <c:pt idx="2429">
                  <c:v>2.3E-5</c:v>
                </c:pt>
                <c:pt idx="2430">
                  <c:v>2.3500000000000002E-5</c:v>
                </c:pt>
                <c:pt idx="2431">
                  <c:v>2.4000000000000001E-5</c:v>
                </c:pt>
                <c:pt idx="2432">
                  <c:v>2.4000000000000001E-5</c:v>
                </c:pt>
                <c:pt idx="2433">
                  <c:v>2.4000000000000001E-5</c:v>
                </c:pt>
                <c:pt idx="2434">
                  <c:v>2.4000000000000001E-5</c:v>
                </c:pt>
                <c:pt idx="2435">
                  <c:v>2.4000000000000001E-5</c:v>
                </c:pt>
                <c:pt idx="2436">
                  <c:v>2.4000000000000001E-5</c:v>
                </c:pt>
                <c:pt idx="2437">
                  <c:v>2.4000000000000001E-5</c:v>
                </c:pt>
                <c:pt idx="2438">
                  <c:v>2.4000000000000001E-5</c:v>
                </c:pt>
                <c:pt idx="2439">
                  <c:v>2.4000000000000001E-5</c:v>
                </c:pt>
                <c:pt idx="2440">
                  <c:v>2.4000000000000001E-5</c:v>
                </c:pt>
                <c:pt idx="2441">
                  <c:v>2.4000000000000001E-5</c:v>
                </c:pt>
                <c:pt idx="2442">
                  <c:v>2.5000000000000001E-5</c:v>
                </c:pt>
                <c:pt idx="2443">
                  <c:v>2.5000000000000001E-5</c:v>
                </c:pt>
                <c:pt idx="2444">
                  <c:v>2.5000000000000001E-5</c:v>
                </c:pt>
                <c:pt idx="2445">
                  <c:v>2.5000000000000001E-5</c:v>
                </c:pt>
                <c:pt idx="2446">
                  <c:v>2.5000000000000001E-5</c:v>
                </c:pt>
                <c:pt idx="2447">
                  <c:v>2.5000000000000001E-5</c:v>
                </c:pt>
                <c:pt idx="2448">
                  <c:v>2.5999999999999998E-5</c:v>
                </c:pt>
                <c:pt idx="2449">
                  <c:v>2.5999999999999998E-5</c:v>
                </c:pt>
                <c:pt idx="2450">
                  <c:v>2.5999999999999998E-5</c:v>
                </c:pt>
                <c:pt idx="2451">
                  <c:v>2.5999999999999998E-5</c:v>
                </c:pt>
                <c:pt idx="2452">
                  <c:v>2.5999999999999998E-5</c:v>
                </c:pt>
                <c:pt idx="2453">
                  <c:v>2.5999999999999998E-5</c:v>
                </c:pt>
                <c:pt idx="2454">
                  <c:v>2.6999999999999999E-5</c:v>
                </c:pt>
                <c:pt idx="2455">
                  <c:v>2.6999999999999999E-5</c:v>
                </c:pt>
                <c:pt idx="2456">
                  <c:v>2.6999999999999999E-5</c:v>
                </c:pt>
                <c:pt idx="2457">
                  <c:v>2.6999999999999999E-5</c:v>
                </c:pt>
                <c:pt idx="2458">
                  <c:v>2.6999999999999999E-5</c:v>
                </c:pt>
                <c:pt idx="2459">
                  <c:v>2.7499999999999998E-5</c:v>
                </c:pt>
                <c:pt idx="2460">
                  <c:v>2.8E-5</c:v>
                </c:pt>
                <c:pt idx="2461">
                  <c:v>2.8E-5</c:v>
                </c:pt>
                <c:pt idx="2462">
                  <c:v>2.8E-5</c:v>
                </c:pt>
                <c:pt idx="2463">
                  <c:v>2.8E-5</c:v>
                </c:pt>
                <c:pt idx="2464">
                  <c:v>2.8E-5</c:v>
                </c:pt>
                <c:pt idx="2465">
                  <c:v>2.9E-5</c:v>
                </c:pt>
                <c:pt idx="2466">
                  <c:v>2.9E-5</c:v>
                </c:pt>
                <c:pt idx="2467">
                  <c:v>2.9E-5</c:v>
                </c:pt>
                <c:pt idx="2468">
                  <c:v>2.9E-5</c:v>
                </c:pt>
                <c:pt idx="2469">
                  <c:v>2.9E-5</c:v>
                </c:pt>
                <c:pt idx="2470">
                  <c:v>2.9E-5</c:v>
                </c:pt>
                <c:pt idx="2471">
                  <c:v>3.0000000000000001E-5</c:v>
                </c:pt>
                <c:pt idx="2472">
                  <c:v>3.0000000000000001E-5</c:v>
                </c:pt>
                <c:pt idx="2473">
                  <c:v>3.0000000000000001E-5</c:v>
                </c:pt>
                <c:pt idx="2474">
                  <c:v>3.0000000000000001E-5</c:v>
                </c:pt>
                <c:pt idx="2475">
                  <c:v>3.0000000000000001E-5</c:v>
                </c:pt>
                <c:pt idx="2476">
                  <c:v>3.0000000000000001E-5</c:v>
                </c:pt>
                <c:pt idx="2477">
                  <c:v>3.0000000000000001E-5</c:v>
                </c:pt>
                <c:pt idx="2478">
                  <c:v>3.0000000000000001E-5</c:v>
                </c:pt>
                <c:pt idx="2479">
                  <c:v>3.0000000000000001E-5</c:v>
                </c:pt>
                <c:pt idx="2480">
                  <c:v>3.0000000000000001E-5</c:v>
                </c:pt>
                <c:pt idx="2481">
                  <c:v>3.0000000000000001E-5</c:v>
                </c:pt>
                <c:pt idx="2482">
                  <c:v>3.0500000000000003E-5</c:v>
                </c:pt>
                <c:pt idx="2483">
                  <c:v>3.1000000000000001E-5</c:v>
                </c:pt>
                <c:pt idx="2484">
                  <c:v>3.1000000000000001E-5</c:v>
                </c:pt>
                <c:pt idx="2485">
                  <c:v>3.1000000000000001E-5</c:v>
                </c:pt>
                <c:pt idx="2486">
                  <c:v>3.1000000000000001E-5</c:v>
                </c:pt>
                <c:pt idx="2487">
                  <c:v>3.1000000000000001E-5</c:v>
                </c:pt>
                <c:pt idx="2488">
                  <c:v>3.15E-5</c:v>
                </c:pt>
                <c:pt idx="2489">
                  <c:v>3.1999999999999999E-5</c:v>
                </c:pt>
                <c:pt idx="2490">
                  <c:v>3.1999999999999999E-5</c:v>
                </c:pt>
                <c:pt idx="2491">
                  <c:v>3.1999999999999999E-5</c:v>
                </c:pt>
                <c:pt idx="2492">
                  <c:v>3.1999999999999999E-5</c:v>
                </c:pt>
                <c:pt idx="2493">
                  <c:v>3.1999999999999999E-5</c:v>
                </c:pt>
                <c:pt idx="2494">
                  <c:v>3.3000000000000003E-5</c:v>
                </c:pt>
                <c:pt idx="2495">
                  <c:v>3.3000000000000003E-5</c:v>
                </c:pt>
                <c:pt idx="2496">
                  <c:v>3.3000000000000003E-5</c:v>
                </c:pt>
                <c:pt idx="2497">
                  <c:v>3.3000000000000003E-5</c:v>
                </c:pt>
                <c:pt idx="2498">
                  <c:v>3.3000000000000003E-5</c:v>
                </c:pt>
                <c:pt idx="2499">
                  <c:v>3.3000000000000003E-5</c:v>
                </c:pt>
                <c:pt idx="2500">
                  <c:v>3.4E-5</c:v>
                </c:pt>
                <c:pt idx="2501">
                  <c:v>3.4E-5</c:v>
                </c:pt>
                <c:pt idx="2502">
                  <c:v>3.4E-5</c:v>
                </c:pt>
                <c:pt idx="2503">
                  <c:v>3.4E-5</c:v>
                </c:pt>
                <c:pt idx="2504">
                  <c:v>3.4E-5</c:v>
                </c:pt>
                <c:pt idx="2505">
                  <c:v>3.4E-5</c:v>
                </c:pt>
                <c:pt idx="2506">
                  <c:v>3.4999999999999997E-5</c:v>
                </c:pt>
                <c:pt idx="2507">
                  <c:v>3.4999999999999997E-5</c:v>
                </c:pt>
                <c:pt idx="2508">
                  <c:v>3.4999999999999997E-5</c:v>
                </c:pt>
                <c:pt idx="2509">
                  <c:v>3.4999999999999997E-5</c:v>
                </c:pt>
                <c:pt idx="2510">
                  <c:v>3.4999999999999997E-5</c:v>
                </c:pt>
                <c:pt idx="2511">
                  <c:v>3.5499999999999996E-5</c:v>
                </c:pt>
                <c:pt idx="2512">
                  <c:v>3.6000000000000001E-5</c:v>
                </c:pt>
                <c:pt idx="2513">
                  <c:v>3.6000000000000001E-5</c:v>
                </c:pt>
                <c:pt idx="2514">
                  <c:v>3.6000000000000001E-5</c:v>
                </c:pt>
                <c:pt idx="2515">
                  <c:v>3.6000000000000001E-5</c:v>
                </c:pt>
                <c:pt idx="2516">
                  <c:v>3.6000000000000001E-5</c:v>
                </c:pt>
                <c:pt idx="2517">
                  <c:v>3.6000000000000001E-5</c:v>
                </c:pt>
                <c:pt idx="2518">
                  <c:v>3.6000000000000001E-5</c:v>
                </c:pt>
                <c:pt idx="2519">
                  <c:v>3.6000000000000001E-5</c:v>
                </c:pt>
                <c:pt idx="2520">
                  <c:v>3.6000000000000001E-5</c:v>
                </c:pt>
                <c:pt idx="2521">
                  <c:v>3.6000000000000001E-5</c:v>
                </c:pt>
                <c:pt idx="2522">
                  <c:v>3.6000000000000001E-5</c:v>
                </c:pt>
                <c:pt idx="2523">
                  <c:v>3.6999999999999998E-5</c:v>
                </c:pt>
                <c:pt idx="2524">
                  <c:v>3.6999999999999998E-5</c:v>
                </c:pt>
                <c:pt idx="2525">
                  <c:v>3.6999999999999998E-5</c:v>
                </c:pt>
                <c:pt idx="2526">
                  <c:v>3.6999999999999998E-5</c:v>
                </c:pt>
                <c:pt idx="2527">
                  <c:v>3.6999999999999998E-5</c:v>
                </c:pt>
                <c:pt idx="2528">
                  <c:v>3.6999999999999998E-5</c:v>
                </c:pt>
                <c:pt idx="2529">
                  <c:v>3.8000000000000002E-5</c:v>
                </c:pt>
                <c:pt idx="2530">
                  <c:v>3.8000000000000002E-5</c:v>
                </c:pt>
                <c:pt idx="2531">
                  <c:v>3.8000000000000002E-5</c:v>
                </c:pt>
                <c:pt idx="2532">
                  <c:v>3.8000000000000002E-5</c:v>
                </c:pt>
                <c:pt idx="2533">
                  <c:v>3.8000000000000002E-5</c:v>
                </c:pt>
                <c:pt idx="2534">
                  <c:v>3.8000000000000002E-5</c:v>
                </c:pt>
                <c:pt idx="2535">
                  <c:v>3.8999999999999999E-5</c:v>
                </c:pt>
                <c:pt idx="2536">
                  <c:v>3.8999999999999999E-5</c:v>
                </c:pt>
                <c:pt idx="2537">
                  <c:v>3.8999999999999999E-5</c:v>
                </c:pt>
                <c:pt idx="2538">
                  <c:v>3.8999999999999999E-5</c:v>
                </c:pt>
                <c:pt idx="2539">
                  <c:v>3.8999999999999999E-5</c:v>
                </c:pt>
                <c:pt idx="2540">
                  <c:v>3.9499999999999998E-5</c:v>
                </c:pt>
                <c:pt idx="2541">
                  <c:v>4.0000000000000003E-5</c:v>
                </c:pt>
                <c:pt idx="2542">
                  <c:v>4.0000000000000003E-5</c:v>
                </c:pt>
                <c:pt idx="2543">
                  <c:v>4.0000000000000003E-5</c:v>
                </c:pt>
                <c:pt idx="2544">
                  <c:v>4.0000000000000003E-5</c:v>
                </c:pt>
                <c:pt idx="2545">
                  <c:v>4.0000000000000003E-5</c:v>
                </c:pt>
                <c:pt idx="2546">
                  <c:v>4.1E-5</c:v>
                </c:pt>
                <c:pt idx="2547">
                  <c:v>4.1E-5</c:v>
                </c:pt>
                <c:pt idx="2548">
                  <c:v>4.1E-5</c:v>
                </c:pt>
                <c:pt idx="2549">
                  <c:v>4.1E-5</c:v>
                </c:pt>
                <c:pt idx="2550">
                  <c:v>4.1E-5</c:v>
                </c:pt>
                <c:pt idx="2551">
                  <c:v>4.1E-5</c:v>
                </c:pt>
                <c:pt idx="2552">
                  <c:v>4.1999999999999998E-5</c:v>
                </c:pt>
                <c:pt idx="2553">
                  <c:v>4.1999999999999998E-5</c:v>
                </c:pt>
                <c:pt idx="2554">
                  <c:v>4.1999999999999998E-5</c:v>
                </c:pt>
                <c:pt idx="2555">
                  <c:v>4.1999999999999998E-5</c:v>
                </c:pt>
                <c:pt idx="2556">
                  <c:v>4.1999999999999998E-5</c:v>
                </c:pt>
                <c:pt idx="2557">
                  <c:v>4.1999999999999998E-5</c:v>
                </c:pt>
                <c:pt idx="2558">
                  <c:v>4.1999999999999998E-5</c:v>
                </c:pt>
                <c:pt idx="2559">
                  <c:v>4.1999999999999998E-5</c:v>
                </c:pt>
                <c:pt idx="2560">
                  <c:v>4.1999999999999998E-5</c:v>
                </c:pt>
                <c:pt idx="2561">
                  <c:v>4.1999999999999998E-5</c:v>
                </c:pt>
                <c:pt idx="2562">
                  <c:v>4.1999999999999998E-5</c:v>
                </c:pt>
                <c:pt idx="2563">
                  <c:v>4.1999999999999998E-5</c:v>
                </c:pt>
                <c:pt idx="2564">
                  <c:v>4.3000000000000002E-5</c:v>
                </c:pt>
                <c:pt idx="2565">
                  <c:v>4.3000000000000002E-5</c:v>
                </c:pt>
                <c:pt idx="2566">
                  <c:v>4.3000000000000002E-5</c:v>
                </c:pt>
                <c:pt idx="2567">
                  <c:v>4.3000000000000002E-5</c:v>
                </c:pt>
                <c:pt idx="2568">
                  <c:v>4.3000000000000002E-5</c:v>
                </c:pt>
                <c:pt idx="2569">
                  <c:v>4.35E-5</c:v>
                </c:pt>
                <c:pt idx="2570">
                  <c:v>4.3999999999999999E-5</c:v>
                </c:pt>
                <c:pt idx="2571">
                  <c:v>4.3999999999999999E-5</c:v>
                </c:pt>
                <c:pt idx="2572">
                  <c:v>4.3999999999999999E-5</c:v>
                </c:pt>
                <c:pt idx="2573">
                  <c:v>4.3999999999999999E-5</c:v>
                </c:pt>
                <c:pt idx="2574">
                  <c:v>4.3999999999999999E-5</c:v>
                </c:pt>
                <c:pt idx="2575">
                  <c:v>4.5000000000000003E-5</c:v>
                </c:pt>
                <c:pt idx="2576">
                  <c:v>4.5000000000000003E-5</c:v>
                </c:pt>
                <c:pt idx="2577">
                  <c:v>4.5000000000000003E-5</c:v>
                </c:pt>
                <c:pt idx="2578">
                  <c:v>4.5000000000000003E-5</c:v>
                </c:pt>
                <c:pt idx="2579">
                  <c:v>4.5000000000000003E-5</c:v>
                </c:pt>
                <c:pt idx="2580">
                  <c:v>4.5000000000000003E-5</c:v>
                </c:pt>
                <c:pt idx="2581">
                  <c:v>4.6E-5</c:v>
                </c:pt>
                <c:pt idx="2582">
                  <c:v>4.6E-5</c:v>
                </c:pt>
                <c:pt idx="2583">
                  <c:v>4.6E-5</c:v>
                </c:pt>
                <c:pt idx="2584">
                  <c:v>4.6E-5</c:v>
                </c:pt>
                <c:pt idx="2585">
                  <c:v>4.6E-5</c:v>
                </c:pt>
                <c:pt idx="2586">
                  <c:v>4.6E-5</c:v>
                </c:pt>
                <c:pt idx="2587">
                  <c:v>4.6999999999999997E-5</c:v>
                </c:pt>
                <c:pt idx="2588">
                  <c:v>4.6999999999999997E-5</c:v>
                </c:pt>
                <c:pt idx="2589">
                  <c:v>4.6999999999999997E-5</c:v>
                </c:pt>
                <c:pt idx="2590">
                  <c:v>4.6999999999999997E-5</c:v>
                </c:pt>
                <c:pt idx="2591">
                  <c:v>4.6999999999999997E-5</c:v>
                </c:pt>
                <c:pt idx="2592">
                  <c:v>4.7500000000000003E-5</c:v>
                </c:pt>
                <c:pt idx="2593">
                  <c:v>4.8000000000000001E-5</c:v>
                </c:pt>
                <c:pt idx="2594">
                  <c:v>4.8000000000000001E-5</c:v>
                </c:pt>
                <c:pt idx="2595">
                  <c:v>4.8000000000000001E-5</c:v>
                </c:pt>
                <c:pt idx="2596">
                  <c:v>4.8000000000000001E-5</c:v>
                </c:pt>
                <c:pt idx="2597">
                  <c:v>4.8000000000000001E-5</c:v>
                </c:pt>
                <c:pt idx="2598">
                  <c:v>4.8000000000000001E-5</c:v>
                </c:pt>
                <c:pt idx="2599">
                  <c:v>4.8000000000000001E-5</c:v>
                </c:pt>
                <c:pt idx="2600">
                  <c:v>4.8000000000000001E-5</c:v>
                </c:pt>
                <c:pt idx="2601">
                  <c:v>4.8000000000000001E-5</c:v>
                </c:pt>
                <c:pt idx="2602">
                  <c:v>4.8000000000000001E-5</c:v>
                </c:pt>
                <c:pt idx="2603">
                  <c:v>4.8000000000000001E-5</c:v>
                </c:pt>
                <c:pt idx="2604">
                  <c:v>4.8999999999999998E-5</c:v>
                </c:pt>
                <c:pt idx="2605">
                  <c:v>4.8999999999999998E-5</c:v>
                </c:pt>
                <c:pt idx="2606">
                  <c:v>4.8999999999999998E-5</c:v>
                </c:pt>
                <c:pt idx="2607">
                  <c:v>4.8999999999999998E-5</c:v>
                </c:pt>
                <c:pt idx="2608">
                  <c:v>4.8999999999999998E-5</c:v>
                </c:pt>
                <c:pt idx="2609">
                  <c:v>4.8999999999999998E-5</c:v>
                </c:pt>
                <c:pt idx="2610">
                  <c:v>5.0000000000000002E-5</c:v>
                </c:pt>
                <c:pt idx="2611">
                  <c:v>5.0000000000000002E-5</c:v>
                </c:pt>
                <c:pt idx="2612">
                  <c:v>5.0000000000000002E-5</c:v>
                </c:pt>
                <c:pt idx="2613">
                  <c:v>5.0000000000000002E-5</c:v>
                </c:pt>
                <c:pt idx="2614">
                  <c:v>5.0000000000000002E-5</c:v>
                </c:pt>
                <c:pt idx="2615">
                  <c:v>5.0000000000000002E-5</c:v>
                </c:pt>
                <c:pt idx="2616">
                  <c:v>5.1E-5</c:v>
                </c:pt>
                <c:pt idx="2617">
                  <c:v>5.1E-5</c:v>
                </c:pt>
                <c:pt idx="2618">
                  <c:v>5.1E-5</c:v>
                </c:pt>
                <c:pt idx="2619">
                  <c:v>5.1E-5</c:v>
                </c:pt>
                <c:pt idx="2620">
                  <c:v>5.1E-5</c:v>
                </c:pt>
                <c:pt idx="2621">
                  <c:v>5.1499999999999998E-5</c:v>
                </c:pt>
                <c:pt idx="2622">
                  <c:v>5.1999999999999997E-5</c:v>
                </c:pt>
                <c:pt idx="2623">
                  <c:v>5.1999999999999997E-5</c:v>
                </c:pt>
                <c:pt idx="2624">
                  <c:v>5.1999999999999997E-5</c:v>
                </c:pt>
                <c:pt idx="2625">
                  <c:v>5.1999999999999997E-5</c:v>
                </c:pt>
                <c:pt idx="2626">
                  <c:v>5.1999999999999997E-5</c:v>
                </c:pt>
                <c:pt idx="2627">
                  <c:v>5.3000000000000001E-5</c:v>
                </c:pt>
                <c:pt idx="2628">
                  <c:v>5.3000000000000001E-5</c:v>
                </c:pt>
                <c:pt idx="2629">
                  <c:v>5.3000000000000001E-5</c:v>
                </c:pt>
                <c:pt idx="2630">
                  <c:v>5.3000000000000001E-5</c:v>
                </c:pt>
                <c:pt idx="2631">
                  <c:v>5.3000000000000001E-5</c:v>
                </c:pt>
                <c:pt idx="2632">
                  <c:v>5.3000000000000001E-5</c:v>
                </c:pt>
                <c:pt idx="2633">
                  <c:v>5.3999999999999998E-5</c:v>
                </c:pt>
                <c:pt idx="2634">
                  <c:v>5.3999999999999998E-5</c:v>
                </c:pt>
                <c:pt idx="2635">
                  <c:v>5.3999999999999998E-5</c:v>
                </c:pt>
                <c:pt idx="2636">
                  <c:v>5.3999999999999998E-5</c:v>
                </c:pt>
                <c:pt idx="2637">
                  <c:v>5.3999999999999998E-5</c:v>
                </c:pt>
                <c:pt idx="2638">
                  <c:v>5.3999999999999998E-5</c:v>
                </c:pt>
                <c:pt idx="2639">
                  <c:v>5.3999999999999998E-5</c:v>
                </c:pt>
                <c:pt idx="2640">
                  <c:v>5.3999999999999998E-5</c:v>
                </c:pt>
                <c:pt idx="2641">
                  <c:v>5.3999999999999998E-5</c:v>
                </c:pt>
                <c:pt idx="2642">
                  <c:v>5.3999999999999998E-5</c:v>
                </c:pt>
                <c:pt idx="2643">
                  <c:v>5.3999999999999998E-5</c:v>
                </c:pt>
                <c:pt idx="2644">
                  <c:v>5.3999999999999998E-5</c:v>
                </c:pt>
                <c:pt idx="2645">
                  <c:v>5.5000000000000002E-5</c:v>
                </c:pt>
                <c:pt idx="2646">
                  <c:v>5.5000000000000002E-5</c:v>
                </c:pt>
                <c:pt idx="2647">
                  <c:v>5.5000000000000002E-5</c:v>
                </c:pt>
                <c:pt idx="2648">
                  <c:v>5.5000000000000002E-5</c:v>
                </c:pt>
                <c:pt idx="2649">
                  <c:v>5.5000000000000002E-5</c:v>
                </c:pt>
                <c:pt idx="2650">
                  <c:v>5.5500000000000001E-5</c:v>
                </c:pt>
                <c:pt idx="2651">
                  <c:v>5.5999999999999999E-5</c:v>
                </c:pt>
                <c:pt idx="2652">
                  <c:v>5.5999999999999999E-5</c:v>
                </c:pt>
                <c:pt idx="2653">
                  <c:v>5.5999999999999999E-5</c:v>
                </c:pt>
                <c:pt idx="2654">
                  <c:v>5.5999999999999999E-5</c:v>
                </c:pt>
                <c:pt idx="2655">
                  <c:v>5.5999999999999999E-5</c:v>
                </c:pt>
                <c:pt idx="2656">
                  <c:v>5.7000000000000003E-5</c:v>
                </c:pt>
                <c:pt idx="2657">
                  <c:v>5.7000000000000003E-5</c:v>
                </c:pt>
                <c:pt idx="2658">
                  <c:v>5.7000000000000003E-5</c:v>
                </c:pt>
                <c:pt idx="2659">
                  <c:v>5.7000000000000003E-5</c:v>
                </c:pt>
                <c:pt idx="2660">
                  <c:v>5.7000000000000003E-5</c:v>
                </c:pt>
                <c:pt idx="2661">
                  <c:v>5.7000000000000003E-5</c:v>
                </c:pt>
                <c:pt idx="2662">
                  <c:v>5.8E-5</c:v>
                </c:pt>
                <c:pt idx="2663">
                  <c:v>5.8E-5</c:v>
                </c:pt>
                <c:pt idx="2664">
                  <c:v>5.8E-5</c:v>
                </c:pt>
                <c:pt idx="2665">
                  <c:v>5.8E-5</c:v>
                </c:pt>
                <c:pt idx="2666">
                  <c:v>5.8E-5</c:v>
                </c:pt>
                <c:pt idx="2667">
                  <c:v>5.8E-5</c:v>
                </c:pt>
                <c:pt idx="2668">
                  <c:v>5.8999999999999998E-5</c:v>
                </c:pt>
                <c:pt idx="2669">
                  <c:v>5.8999999999999998E-5</c:v>
                </c:pt>
                <c:pt idx="2670">
                  <c:v>5.8999999999999998E-5</c:v>
                </c:pt>
                <c:pt idx="2671">
                  <c:v>5.8999999999999998E-5</c:v>
                </c:pt>
                <c:pt idx="2672">
                  <c:v>5.8999999999999998E-5</c:v>
                </c:pt>
                <c:pt idx="2673">
                  <c:v>5.9499999999999996E-5</c:v>
                </c:pt>
                <c:pt idx="2674">
                  <c:v>6.0000000000000002E-5</c:v>
                </c:pt>
                <c:pt idx="2675">
                  <c:v>6.0000000000000002E-5</c:v>
                </c:pt>
                <c:pt idx="2676">
                  <c:v>6.0000000000000002E-5</c:v>
                </c:pt>
                <c:pt idx="2677">
                  <c:v>6.0000000000000002E-5</c:v>
                </c:pt>
                <c:pt idx="2678">
                  <c:v>6.0000000000000002E-5</c:v>
                </c:pt>
                <c:pt idx="2679">
                  <c:v>6.0000000000000002E-5</c:v>
                </c:pt>
                <c:pt idx="2680">
                  <c:v>6.0000000000000002E-5</c:v>
                </c:pt>
                <c:pt idx="2681">
                  <c:v>6.0000000000000002E-5</c:v>
                </c:pt>
                <c:pt idx="2682">
                  <c:v>6.0000000000000002E-5</c:v>
                </c:pt>
                <c:pt idx="2683">
                  <c:v>6.0000000000000002E-5</c:v>
                </c:pt>
                <c:pt idx="2684">
                  <c:v>6.0000000000000002E-5</c:v>
                </c:pt>
                <c:pt idx="2685">
                  <c:v>6.0999999999999999E-5</c:v>
                </c:pt>
                <c:pt idx="2686">
                  <c:v>6.0999999999999999E-5</c:v>
                </c:pt>
                <c:pt idx="2687">
                  <c:v>6.0999999999999999E-5</c:v>
                </c:pt>
                <c:pt idx="2688">
                  <c:v>6.0999999999999999E-5</c:v>
                </c:pt>
                <c:pt idx="2689">
                  <c:v>6.0999999999999999E-5</c:v>
                </c:pt>
                <c:pt idx="2690">
                  <c:v>6.0999999999999999E-5</c:v>
                </c:pt>
                <c:pt idx="2691">
                  <c:v>6.2000000000000003E-5</c:v>
                </c:pt>
                <c:pt idx="2692">
                  <c:v>6.2000000000000003E-5</c:v>
                </c:pt>
                <c:pt idx="2693">
                  <c:v>6.2000000000000003E-5</c:v>
                </c:pt>
                <c:pt idx="2694">
                  <c:v>6.2000000000000003E-5</c:v>
                </c:pt>
                <c:pt idx="2695">
                  <c:v>6.2000000000000003E-5</c:v>
                </c:pt>
                <c:pt idx="2696">
                  <c:v>6.2000000000000003E-5</c:v>
                </c:pt>
                <c:pt idx="2697">
                  <c:v>6.3E-5</c:v>
                </c:pt>
                <c:pt idx="2698">
                  <c:v>6.3E-5</c:v>
                </c:pt>
                <c:pt idx="2699">
                  <c:v>6.3E-5</c:v>
                </c:pt>
                <c:pt idx="2700">
                  <c:v>6.3E-5</c:v>
                </c:pt>
                <c:pt idx="2701">
                  <c:v>6.3E-5</c:v>
                </c:pt>
                <c:pt idx="2702">
                  <c:v>6.3499999999999999E-5</c:v>
                </c:pt>
                <c:pt idx="2703">
                  <c:v>6.3999999999999997E-5</c:v>
                </c:pt>
                <c:pt idx="2704">
                  <c:v>6.3999999999999997E-5</c:v>
                </c:pt>
                <c:pt idx="2705">
                  <c:v>6.3999999999999997E-5</c:v>
                </c:pt>
                <c:pt idx="2706">
                  <c:v>6.3999999999999997E-5</c:v>
                </c:pt>
                <c:pt idx="2707">
                  <c:v>6.3999999999999997E-5</c:v>
                </c:pt>
                <c:pt idx="2708">
                  <c:v>6.4499999999999996E-5</c:v>
                </c:pt>
                <c:pt idx="2709">
                  <c:v>6.4999999999999994E-5</c:v>
                </c:pt>
                <c:pt idx="2710">
                  <c:v>6.4999999999999994E-5</c:v>
                </c:pt>
                <c:pt idx="2711">
                  <c:v>6.4999999999999994E-5</c:v>
                </c:pt>
                <c:pt idx="2712">
                  <c:v>6.4999999999999994E-5</c:v>
                </c:pt>
                <c:pt idx="2713">
                  <c:v>6.4999999999999994E-5</c:v>
                </c:pt>
                <c:pt idx="2714">
                  <c:v>6.6000000000000005E-5</c:v>
                </c:pt>
                <c:pt idx="2715">
                  <c:v>6.6000000000000005E-5</c:v>
                </c:pt>
                <c:pt idx="2716">
                  <c:v>6.6000000000000005E-5</c:v>
                </c:pt>
                <c:pt idx="2717">
                  <c:v>6.6000000000000005E-5</c:v>
                </c:pt>
                <c:pt idx="2718">
                  <c:v>6.6000000000000005E-5</c:v>
                </c:pt>
                <c:pt idx="2719">
                  <c:v>6.6000000000000005E-5</c:v>
                </c:pt>
                <c:pt idx="2720">
                  <c:v>6.6000000000000005E-5</c:v>
                </c:pt>
                <c:pt idx="2721">
                  <c:v>6.6000000000000005E-5</c:v>
                </c:pt>
                <c:pt idx="2722">
                  <c:v>6.6000000000000005E-5</c:v>
                </c:pt>
                <c:pt idx="2723">
                  <c:v>6.6000000000000005E-5</c:v>
                </c:pt>
                <c:pt idx="2724">
                  <c:v>6.6000000000000005E-5</c:v>
                </c:pt>
                <c:pt idx="2725">
                  <c:v>6.6000000000000005E-5</c:v>
                </c:pt>
                <c:pt idx="2726">
                  <c:v>6.7000000000000002E-5</c:v>
                </c:pt>
                <c:pt idx="2727">
                  <c:v>6.7000000000000002E-5</c:v>
                </c:pt>
                <c:pt idx="2728">
                  <c:v>6.7000000000000002E-5</c:v>
                </c:pt>
                <c:pt idx="2729">
                  <c:v>6.7000000000000002E-5</c:v>
                </c:pt>
                <c:pt idx="2730">
                  <c:v>6.7000000000000002E-5</c:v>
                </c:pt>
                <c:pt idx="2731">
                  <c:v>6.7500000000000001E-5</c:v>
                </c:pt>
                <c:pt idx="2732">
                  <c:v>6.7999999999999999E-5</c:v>
                </c:pt>
                <c:pt idx="2733">
                  <c:v>6.7999999999999999E-5</c:v>
                </c:pt>
                <c:pt idx="2734">
                  <c:v>6.7999999999999999E-5</c:v>
                </c:pt>
                <c:pt idx="2735">
                  <c:v>6.7999999999999999E-5</c:v>
                </c:pt>
                <c:pt idx="2736">
                  <c:v>6.7999999999999999E-5</c:v>
                </c:pt>
                <c:pt idx="2737">
                  <c:v>6.8999999999999997E-5</c:v>
                </c:pt>
                <c:pt idx="2738">
                  <c:v>6.8999999999999997E-5</c:v>
                </c:pt>
                <c:pt idx="2739">
                  <c:v>6.8999999999999997E-5</c:v>
                </c:pt>
                <c:pt idx="2740">
                  <c:v>6.8999999999999997E-5</c:v>
                </c:pt>
                <c:pt idx="2741">
                  <c:v>6.8999999999999997E-5</c:v>
                </c:pt>
                <c:pt idx="2742">
                  <c:v>6.8999999999999997E-5</c:v>
                </c:pt>
                <c:pt idx="2743">
                  <c:v>6.9999999999999994E-5</c:v>
                </c:pt>
                <c:pt idx="2744">
                  <c:v>6.9999999999999994E-5</c:v>
                </c:pt>
                <c:pt idx="2745">
                  <c:v>6.9999999999999994E-5</c:v>
                </c:pt>
                <c:pt idx="2746">
                  <c:v>6.9999999999999994E-5</c:v>
                </c:pt>
                <c:pt idx="2747">
                  <c:v>6.9999999999999994E-5</c:v>
                </c:pt>
                <c:pt idx="2748">
                  <c:v>6.9999999999999994E-5</c:v>
                </c:pt>
                <c:pt idx="2749">
                  <c:v>7.1000000000000005E-5</c:v>
                </c:pt>
                <c:pt idx="2750">
                  <c:v>7.1000000000000005E-5</c:v>
                </c:pt>
                <c:pt idx="2751">
                  <c:v>7.1000000000000005E-5</c:v>
                </c:pt>
                <c:pt idx="2752">
                  <c:v>7.1000000000000005E-5</c:v>
                </c:pt>
                <c:pt idx="2753">
                  <c:v>7.1000000000000005E-5</c:v>
                </c:pt>
                <c:pt idx="2754">
                  <c:v>7.1000000000000005E-5</c:v>
                </c:pt>
                <c:pt idx="2755">
                  <c:v>7.2000000000000002E-5</c:v>
                </c:pt>
                <c:pt idx="2756">
                  <c:v>7.2000000000000002E-5</c:v>
                </c:pt>
                <c:pt idx="2757">
                  <c:v>7.2000000000000002E-5</c:v>
                </c:pt>
                <c:pt idx="2758">
                  <c:v>7.2000000000000002E-5</c:v>
                </c:pt>
                <c:pt idx="2759">
                  <c:v>7.2000000000000002E-5</c:v>
                </c:pt>
                <c:pt idx="2760">
                  <c:v>7.2000000000000002E-5</c:v>
                </c:pt>
                <c:pt idx="2761">
                  <c:v>7.2000000000000002E-5</c:v>
                </c:pt>
                <c:pt idx="2762">
                  <c:v>7.2000000000000002E-5</c:v>
                </c:pt>
                <c:pt idx="2763">
                  <c:v>7.2000000000000002E-5</c:v>
                </c:pt>
                <c:pt idx="2764">
                  <c:v>7.2000000000000002E-5</c:v>
                </c:pt>
                <c:pt idx="2765">
                  <c:v>7.2000000000000002E-5</c:v>
                </c:pt>
                <c:pt idx="2766">
                  <c:v>7.2999999999999999E-5</c:v>
                </c:pt>
                <c:pt idx="2767">
                  <c:v>7.2999999999999999E-5</c:v>
                </c:pt>
                <c:pt idx="2768">
                  <c:v>7.2999999999999999E-5</c:v>
                </c:pt>
                <c:pt idx="2769">
                  <c:v>7.2999999999999999E-5</c:v>
                </c:pt>
                <c:pt idx="2770">
                  <c:v>7.2999999999999999E-5</c:v>
                </c:pt>
                <c:pt idx="2771">
                  <c:v>7.2999999999999999E-5</c:v>
                </c:pt>
                <c:pt idx="2772">
                  <c:v>7.3999999999999996E-5</c:v>
                </c:pt>
                <c:pt idx="2773">
                  <c:v>7.3999999999999996E-5</c:v>
                </c:pt>
                <c:pt idx="2774">
                  <c:v>7.3999999999999996E-5</c:v>
                </c:pt>
                <c:pt idx="2775">
                  <c:v>7.3999999999999996E-5</c:v>
                </c:pt>
                <c:pt idx="2776">
                  <c:v>7.3999999999999996E-5</c:v>
                </c:pt>
                <c:pt idx="2777">
                  <c:v>7.3999999999999996E-5</c:v>
                </c:pt>
                <c:pt idx="2778">
                  <c:v>7.4999999999999993E-5</c:v>
                </c:pt>
                <c:pt idx="2779">
                  <c:v>7.4999999999999993E-5</c:v>
                </c:pt>
                <c:pt idx="2780">
                  <c:v>7.4999999999999993E-5</c:v>
                </c:pt>
                <c:pt idx="2781">
                  <c:v>7.4999999999999993E-5</c:v>
                </c:pt>
                <c:pt idx="2782">
                  <c:v>7.4999999999999993E-5</c:v>
                </c:pt>
                <c:pt idx="2783">
                  <c:v>7.5499999999999992E-5</c:v>
                </c:pt>
                <c:pt idx="2784">
                  <c:v>7.6000000000000004E-5</c:v>
                </c:pt>
                <c:pt idx="2785">
                  <c:v>7.6000000000000004E-5</c:v>
                </c:pt>
                <c:pt idx="2786">
                  <c:v>7.6000000000000004E-5</c:v>
                </c:pt>
                <c:pt idx="2787">
                  <c:v>7.6000000000000004E-5</c:v>
                </c:pt>
                <c:pt idx="2788">
                  <c:v>7.6000000000000004E-5</c:v>
                </c:pt>
                <c:pt idx="2789">
                  <c:v>7.6500000000000003E-5</c:v>
                </c:pt>
                <c:pt idx="2790">
                  <c:v>7.7000000000000001E-5</c:v>
                </c:pt>
                <c:pt idx="2791">
                  <c:v>7.7000000000000001E-5</c:v>
                </c:pt>
                <c:pt idx="2792">
                  <c:v>7.7000000000000001E-5</c:v>
                </c:pt>
                <c:pt idx="2793">
                  <c:v>7.7000000000000001E-5</c:v>
                </c:pt>
                <c:pt idx="2794">
                  <c:v>7.7000000000000001E-5</c:v>
                </c:pt>
                <c:pt idx="2795">
                  <c:v>7.7999999999999999E-5</c:v>
                </c:pt>
                <c:pt idx="2796">
                  <c:v>7.7999999999999999E-5</c:v>
                </c:pt>
                <c:pt idx="2797">
                  <c:v>7.7999999999999999E-5</c:v>
                </c:pt>
                <c:pt idx="2798">
                  <c:v>7.7999999999999999E-5</c:v>
                </c:pt>
                <c:pt idx="2799">
                  <c:v>7.7999999999999999E-5</c:v>
                </c:pt>
                <c:pt idx="2800">
                  <c:v>7.7999999999999999E-5</c:v>
                </c:pt>
                <c:pt idx="2801">
                  <c:v>7.7999999999999999E-5</c:v>
                </c:pt>
                <c:pt idx="2802">
                  <c:v>7.7999999999999999E-5</c:v>
                </c:pt>
                <c:pt idx="2803">
                  <c:v>7.7999999999999999E-5</c:v>
                </c:pt>
                <c:pt idx="2804">
                  <c:v>7.7999999999999999E-5</c:v>
                </c:pt>
                <c:pt idx="2805">
                  <c:v>7.7999999999999999E-5</c:v>
                </c:pt>
                <c:pt idx="2806">
                  <c:v>7.7999999999999999E-5</c:v>
                </c:pt>
                <c:pt idx="2807">
                  <c:v>7.8999999999999996E-5</c:v>
                </c:pt>
                <c:pt idx="2808">
                  <c:v>7.8999999999999996E-5</c:v>
                </c:pt>
                <c:pt idx="2809">
                  <c:v>7.8999999999999996E-5</c:v>
                </c:pt>
                <c:pt idx="2810">
                  <c:v>7.8999999999999996E-5</c:v>
                </c:pt>
                <c:pt idx="2811">
                  <c:v>7.8999999999999996E-5</c:v>
                </c:pt>
                <c:pt idx="2812">
                  <c:v>7.9500000000000008E-5</c:v>
                </c:pt>
                <c:pt idx="2813">
                  <c:v>8.0000000000000007E-5</c:v>
                </c:pt>
                <c:pt idx="2814">
                  <c:v>8.0000000000000007E-5</c:v>
                </c:pt>
                <c:pt idx="2815">
                  <c:v>8.0000000000000007E-5</c:v>
                </c:pt>
                <c:pt idx="2816">
                  <c:v>8.0000000000000007E-5</c:v>
                </c:pt>
                <c:pt idx="2817">
                  <c:v>8.0000000000000007E-5</c:v>
                </c:pt>
                <c:pt idx="2818">
                  <c:v>8.1000000000000004E-5</c:v>
                </c:pt>
                <c:pt idx="2819">
                  <c:v>8.1000000000000004E-5</c:v>
                </c:pt>
                <c:pt idx="2820">
                  <c:v>8.1000000000000004E-5</c:v>
                </c:pt>
                <c:pt idx="2821">
                  <c:v>8.1000000000000004E-5</c:v>
                </c:pt>
                <c:pt idx="2822">
                  <c:v>8.1000000000000004E-5</c:v>
                </c:pt>
                <c:pt idx="2823">
                  <c:v>8.1000000000000004E-5</c:v>
                </c:pt>
                <c:pt idx="2824">
                  <c:v>8.2000000000000001E-5</c:v>
                </c:pt>
                <c:pt idx="2825">
                  <c:v>8.2000000000000001E-5</c:v>
                </c:pt>
                <c:pt idx="2826">
                  <c:v>8.2000000000000001E-5</c:v>
                </c:pt>
                <c:pt idx="2827">
                  <c:v>8.2000000000000001E-5</c:v>
                </c:pt>
                <c:pt idx="2828">
                  <c:v>8.2000000000000001E-5</c:v>
                </c:pt>
                <c:pt idx="2829">
                  <c:v>8.2000000000000001E-5</c:v>
                </c:pt>
                <c:pt idx="2830">
                  <c:v>8.2999999999999998E-5</c:v>
                </c:pt>
                <c:pt idx="2831">
                  <c:v>8.2999999999999998E-5</c:v>
                </c:pt>
                <c:pt idx="2832">
                  <c:v>8.2999999999999998E-5</c:v>
                </c:pt>
                <c:pt idx="2833">
                  <c:v>8.2999999999999998E-5</c:v>
                </c:pt>
                <c:pt idx="2834">
                  <c:v>8.2999999999999998E-5</c:v>
                </c:pt>
                <c:pt idx="2835">
                  <c:v>8.2999999999999998E-5</c:v>
                </c:pt>
                <c:pt idx="2836">
                  <c:v>8.3999999999999995E-5</c:v>
                </c:pt>
                <c:pt idx="2837">
                  <c:v>8.3999999999999995E-5</c:v>
                </c:pt>
                <c:pt idx="2838">
                  <c:v>8.3999999999999995E-5</c:v>
                </c:pt>
                <c:pt idx="2839">
                  <c:v>8.3999999999999995E-5</c:v>
                </c:pt>
                <c:pt idx="2840">
                  <c:v>8.3999999999999995E-5</c:v>
                </c:pt>
                <c:pt idx="2841">
                  <c:v>8.3999999999999995E-5</c:v>
                </c:pt>
                <c:pt idx="2842">
                  <c:v>8.3999999999999995E-5</c:v>
                </c:pt>
                <c:pt idx="2843">
                  <c:v>8.3999999999999995E-5</c:v>
                </c:pt>
                <c:pt idx="2844">
                  <c:v>8.3999999999999995E-5</c:v>
                </c:pt>
                <c:pt idx="2845">
                  <c:v>8.3999999999999995E-5</c:v>
                </c:pt>
                <c:pt idx="2846">
                  <c:v>8.3999999999999995E-5</c:v>
                </c:pt>
                <c:pt idx="2847">
                  <c:v>8.5000000000000006E-5</c:v>
                </c:pt>
                <c:pt idx="2848">
                  <c:v>8.5000000000000006E-5</c:v>
                </c:pt>
                <c:pt idx="2849">
                  <c:v>8.5000000000000006E-5</c:v>
                </c:pt>
                <c:pt idx="2850">
                  <c:v>8.5000000000000006E-5</c:v>
                </c:pt>
                <c:pt idx="2851">
                  <c:v>8.5000000000000006E-5</c:v>
                </c:pt>
                <c:pt idx="2852">
                  <c:v>8.5000000000000006E-5</c:v>
                </c:pt>
                <c:pt idx="2853">
                  <c:v>8.6000000000000003E-5</c:v>
                </c:pt>
                <c:pt idx="2854">
                  <c:v>8.6000000000000003E-5</c:v>
                </c:pt>
                <c:pt idx="2855">
                  <c:v>8.6000000000000003E-5</c:v>
                </c:pt>
                <c:pt idx="2856">
                  <c:v>8.6000000000000003E-5</c:v>
                </c:pt>
                <c:pt idx="2857">
                  <c:v>8.6000000000000003E-5</c:v>
                </c:pt>
                <c:pt idx="2858">
                  <c:v>8.6000000000000003E-5</c:v>
                </c:pt>
                <c:pt idx="2859">
                  <c:v>8.7000000000000001E-5</c:v>
                </c:pt>
                <c:pt idx="2860">
                  <c:v>8.7000000000000001E-5</c:v>
                </c:pt>
                <c:pt idx="2861">
                  <c:v>8.7000000000000001E-5</c:v>
                </c:pt>
                <c:pt idx="2862">
                  <c:v>8.7000000000000001E-5</c:v>
                </c:pt>
                <c:pt idx="2863">
                  <c:v>8.7000000000000001E-5</c:v>
                </c:pt>
                <c:pt idx="2864">
                  <c:v>8.7499999999999999E-5</c:v>
                </c:pt>
                <c:pt idx="2865">
                  <c:v>8.7999999999999998E-5</c:v>
                </c:pt>
                <c:pt idx="2866">
                  <c:v>8.7999999999999998E-5</c:v>
                </c:pt>
                <c:pt idx="2867">
                  <c:v>8.7999999999999998E-5</c:v>
                </c:pt>
                <c:pt idx="2868">
                  <c:v>8.7999999999999998E-5</c:v>
                </c:pt>
                <c:pt idx="2869">
                  <c:v>8.7999999999999998E-5</c:v>
                </c:pt>
                <c:pt idx="2870">
                  <c:v>8.8499999999999996E-5</c:v>
                </c:pt>
                <c:pt idx="2871">
                  <c:v>8.8999999999999995E-5</c:v>
                </c:pt>
                <c:pt idx="2872">
                  <c:v>8.8999999999999995E-5</c:v>
                </c:pt>
                <c:pt idx="2873">
                  <c:v>8.8999999999999995E-5</c:v>
                </c:pt>
                <c:pt idx="2874">
                  <c:v>8.8999999999999995E-5</c:v>
                </c:pt>
                <c:pt idx="2875">
                  <c:v>8.8999999999999995E-5</c:v>
                </c:pt>
                <c:pt idx="2876">
                  <c:v>9.0000000000000006E-5</c:v>
                </c:pt>
                <c:pt idx="2877">
                  <c:v>9.0000000000000006E-5</c:v>
                </c:pt>
                <c:pt idx="2878">
                  <c:v>9.0000000000000006E-5</c:v>
                </c:pt>
                <c:pt idx="2879">
                  <c:v>9.0000000000000006E-5</c:v>
                </c:pt>
                <c:pt idx="2880">
                  <c:v>9.0000000000000006E-5</c:v>
                </c:pt>
                <c:pt idx="2881">
                  <c:v>9.0000000000000006E-5</c:v>
                </c:pt>
                <c:pt idx="2882">
                  <c:v>9.0000000000000006E-5</c:v>
                </c:pt>
                <c:pt idx="2883">
                  <c:v>9.0000000000000006E-5</c:v>
                </c:pt>
                <c:pt idx="2884">
                  <c:v>9.0000000000000006E-5</c:v>
                </c:pt>
                <c:pt idx="2885">
                  <c:v>9.0000000000000006E-5</c:v>
                </c:pt>
                <c:pt idx="2886">
                  <c:v>9.0000000000000006E-5</c:v>
                </c:pt>
                <c:pt idx="2887">
                  <c:v>9.0000000000000006E-5</c:v>
                </c:pt>
                <c:pt idx="2888">
                  <c:v>9.1000000000000003E-5</c:v>
                </c:pt>
                <c:pt idx="2889">
                  <c:v>9.1000000000000003E-5</c:v>
                </c:pt>
                <c:pt idx="2890">
                  <c:v>9.1000000000000003E-5</c:v>
                </c:pt>
                <c:pt idx="2891">
                  <c:v>9.1000000000000003E-5</c:v>
                </c:pt>
                <c:pt idx="2892">
                  <c:v>9.1000000000000003E-5</c:v>
                </c:pt>
                <c:pt idx="2893">
                  <c:v>9.1500000000000001E-5</c:v>
                </c:pt>
                <c:pt idx="2894">
                  <c:v>9.2E-5</c:v>
                </c:pt>
                <c:pt idx="2895">
                  <c:v>9.2E-5</c:v>
                </c:pt>
                <c:pt idx="2896">
                  <c:v>9.2E-5</c:v>
                </c:pt>
                <c:pt idx="2897">
                  <c:v>9.2E-5</c:v>
                </c:pt>
                <c:pt idx="2898">
                  <c:v>9.2E-5</c:v>
                </c:pt>
                <c:pt idx="2899">
                  <c:v>9.2499999999999999E-5</c:v>
                </c:pt>
                <c:pt idx="2900">
                  <c:v>9.2999999999999997E-5</c:v>
                </c:pt>
                <c:pt idx="2901">
                  <c:v>9.2999999999999997E-5</c:v>
                </c:pt>
                <c:pt idx="2902">
                  <c:v>9.2999999999999997E-5</c:v>
                </c:pt>
                <c:pt idx="2903">
                  <c:v>9.2999999999999997E-5</c:v>
                </c:pt>
                <c:pt idx="2904">
                  <c:v>9.2999999999999997E-5</c:v>
                </c:pt>
                <c:pt idx="2905">
                  <c:v>9.3999999999999994E-5</c:v>
                </c:pt>
                <c:pt idx="2906">
                  <c:v>9.3999999999999994E-5</c:v>
                </c:pt>
                <c:pt idx="2907">
                  <c:v>9.3999999999999994E-5</c:v>
                </c:pt>
                <c:pt idx="2908">
                  <c:v>9.3999999999999994E-5</c:v>
                </c:pt>
                <c:pt idx="2909">
                  <c:v>9.3999999999999994E-5</c:v>
                </c:pt>
                <c:pt idx="2910">
                  <c:v>9.3999999999999994E-5</c:v>
                </c:pt>
                <c:pt idx="2911">
                  <c:v>9.5000000000000005E-5</c:v>
                </c:pt>
                <c:pt idx="2912">
                  <c:v>9.5000000000000005E-5</c:v>
                </c:pt>
                <c:pt idx="2913">
                  <c:v>9.5000000000000005E-5</c:v>
                </c:pt>
                <c:pt idx="2914">
                  <c:v>9.5000000000000005E-5</c:v>
                </c:pt>
                <c:pt idx="2915">
                  <c:v>9.5000000000000005E-5</c:v>
                </c:pt>
                <c:pt idx="2916">
                  <c:v>9.5000000000000005E-5</c:v>
                </c:pt>
                <c:pt idx="2917">
                  <c:v>9.6000000000000002E-5</c:v>
                </c:pt>
                <c:pt idx="2918">
                  <c:v>9.6000000000000002E-5</c:v>
                </c:pt>
                <c:pt idx="2919">
                  <c:v>9.6000000000000002E-5</c:v>
                </c:pt>
                <c:pt idx="2920">
                  <c:v>9.6000000000000002E-5</c:v>
                </c:pt>
                <c:pt idx="2921">
                  <c:v>9.6000000000000002E-5</c:v>
                </c:pt>
                <c:pt idx="2922">
                  <c:v>9.6000000000000002E-5</c:v>
                </c:pt>
                <c:pt idx="2923">
                  <c:v>9.6000000000000002E-5</c:v>
                </c:pt>
                <c:pt idx="2924">
                  <c:v>9.6000000000000002E-5</c:v>
                </c:pt>
                <c:pt idx="2925">
                  <c:v>9.6000000000000002E-5</c:v>
                </c:pt>
                <c:pt idx="2926">
                  <c:v>9.6000000000000002E-5</c:v>
                </c:pt>
                <c:pt idx="2927">
                  <c:v>9.6000000000000002E-5</c:v>
                </c:pt>
                <c:pt idx="2928">
                  <c:v>9.7E-5</c:v>
                </c:pt>
                <c:pt idx="2929">
                  <c:v>9.7E-5</c:v>
                </c:pt>
                <c:pt idx="2930">
                  <c:v>9.7E-5</c:v>
                </c:pt>
                <c:pt idx="2931">
                  <c:v>9.7E-5</c:v>
                </c:pt>
                <c:pt idx="2932">
                  <c:v>9.7E-5</c:v>
                </c:pt>
                <c:pt idx="2933">
                  <c:v>9.7E-5</c:v>
                </c:pt>
                <c:pt idx="2934">
                  <c:v>9.7999999999999997E-5</c:v>
                </c:pt>
                <c:pt idx="2935">
                  <c:v>9.7999999999999997E-5</c:v>
                </c:pt>
                <c:pt idx="2936">
                  <c:v>9.7999999999999997E-5</c:v>
                </c:pt>
                <c:pt idx="2937">
                  <c:v>9.7999999999999997E-5</c:v>
                </c:pt>
                <c:pt idx="2938">
                  <c:v>9.7999999999999997E-5</c:v>
                </c:pt>
                <c:pt idx="2939">
                  <c:v>9.7999999999999997E-5</c:v>
                </c:pt>
                <c:pt idx="2940">
                  <c:v>9.8999999999999994E-5</c:v>
                </c:pt>
                <c:pt idx="2941">
                  <c:v>9.8999999999999994E-5</c:v>
                </c:pt>
                <c:pt idx="2942">
                  <c:v>9.8999999999999994E-5</c:v>
                </c:pt>
                <c:pt idx="2943">
                  <c:v>9.8999999999999994E-5</c:v>
                </c:pt>
                <c:pt idx="2944">
                  <c:v>9.8999999999999994E-5</c:v>
                </c:pt>
                <c:pt idx="2945">
                  <c:v>9.8999999999999994E-5</c:v>
                </c:pt>
                <c:pt idx="2946">
                  <c:v>1E-4</c:v>
                </c:pt>
                <c:pt idx="2947">
                  <c:v>1E-4</c:v>
                </c:pt>
                <c:pt idx="2948">
                  <c:v>1E-4</c:v>
                </c:pt>
                <c:pt idx="2949">
                  <c:v>1E-4</c:v>
                </c:pt>
                <c:pt idx="2950">
                  <c:v>1E-4</c:v>
                </c:pt>
                <c:pt idx="2951">
                  <c:v>1.005E-4</c:v>
                </c:pt>
                <c:pt idx="2952">
                  <c:v>1.01E-4</c:v>
                </c:pt>
                <c:pt idx="2953">
                  <c:v>1.01E-4</c:v>
                </c:pt>
                <c:pt idx="2954">
                  <c:v>1.01E-4</c:v>
                </c:pt>
                <c:pt idx="2955">
                  <c:v>1.01E-4</c:v>
                </c:pt>
                <c:pt idx="2956">
                  <c:v>1.01E-4</c:v>
                </c:pt>
                <c:pt idx="2957">
                  <c:v>1.02E-4</c:v>
                </c:pt>
                <c:pt idx="2958">
                  <c:v>1.02E-4</c:v>
                </c:pt>
                <c:pt idx="2959">
                  <c:v>1.02E-4</c:v>
                </c:pt>
                <c:pt idx="2960">
                  <c:v>1.02E-4</c:v>
                </c:pt>
                <c:pt idx="2961">
                  <c:v>1.02E-4</c:v>
                </c:pt>
                <c:pt idx="2962">
                  <c:v>1.02E-4</c:v>
                </c:pt>
                <c:pt idx="2963">
                  <c:v>1.02E-4</c:v>
                </c:pt>
                <c:pt idx="2964">
                  <c:v>1.02E-4</c:v>
                </c:pt>
                <c:pt idx="2965">
                  <c:v>1.02E-4</c:v>
                </c:pt>
                <c:pt idx="2966">
                  <c:v>1.02E-4</c:v>
                </c:pt>
                <c:pt idx="2967">
                  <c:v>1.02E-4</c:v>
                </c:pt>
                <c:pt idx="2968">
                  <c:v>1.02E-4</c:v>
                </c:pt>
                <c:pt idx="2969">
                  <c:v>1.03E-4</c:v>
                </c:pt>
                <c:pt idx="2970">
                  <c:v>1.03E-4</c:v>
                </c:pt>
                <c:pt idx="2971">
                  <c:v>1.03E-4</c:v>
                </c:pt>
                <c:pt idx="2972">
                  <c:v>1.03E-4</c:v>
                </c:pt>
                <c:pt idx="2973">
                  <c:v>1.03E-4</c:v>
                </c:pt>
                <c:pt idx="2974">
                  <c:v>-2.5549999999999998E-4</c:v>
                </c:pt>
                <c:pt idx="2975">
                  <c:v>-6.1399999999999996E-4</c:v>
                </c:pt>
                <c:pt idx="2976">
                  <c:v>-6.1399999999999996E-4</c:v>
                </c:pt>
                <c:pt idx="2977">
                  <c:v>-6.1399999999999996E-4</c:v>
                </c:pt>
                <c:pt idx="2978">
                  <c:v>-6.1399999999999996E-4</c:v>
                </c:pt>
                <c:pt idx="2979">
                  <c:v>-6.1399999999999996E-4</c:v>
                </c:pt>
                <c:pt idx="2980">
                  <c:v>-7.5940000000000001E-3</c:v>
                </c:pt>
                <c:pt idx="2981">
                  <c:v>-1.4574E-2</c:v>
                </c:pt>
                <c:pt idx="2982">
                  <c:v>-1.4574E-2</c:v>
                </c:pt>
                <c:pt idx="2983">
                  <c:v>-1.4574E-2</c:v>
                </c:pt>
                <c:pt idx="2984">
                  <c:v>-1.4574E-2</c:v>
                </c:pt>
                <c:pt idx="2985">
                  <c:v>-1.4574E-2</c:v>
                </c:pt>
                <c:pt idx="2986">
                  <c:v>-4.1269E-2</c:v>
                </c:pt>
                <c:pt idx="2987">
                  <c:v>-4.1269E-2</c:v>
                </c:pt>
                <c:pt idx="2988">
                  <c:v>-4.1269E-2</c:v>
                </c:pt>
                <c:pt idx="2989">
                  <c:v>-4.1269E-2</c:v>
                </c:pt>
                <c:pt idx="2990">
                  <c:v>-4.1269E-2</c:v>
                </c:pt>
                <c:pt idx="2991">
                  <c:v>-4.1269E-2</c:v>
                </c:pt>
                <c:pt idx="2992">
                  <c:v>-8.0925999999999998E-2</c:v>
                </c:pt>
                <c:pt idx="2993">
                  <c:v>-8.0925999999999998E-2</c:v>
                </c:pt>
                <c:pt idx="2994">
                  <c:v>-8.0925999999999998E-2</c:v>
                </c:pt>
                <c:pt idx="2995">
                  <c:v>-8.0925999999999998E-2</c:v>
                </c:pt>
                <c:pt idx="2996">
                  <c:v>-8.0925999999999998E-2</c:v>
                </c:pt>
                <c:pt idx="2997">
                  <c:v>-8.0925999999999998E-2</c:v>
                </c:pt>
                <c:pt idx="2998">
                  <c:v>-0.13057299999999999</c:v>
                </c:pt>
                <c:pt idx="2999">
                  <c:v>-0.13057299999999999</c:v>
                </c:pt>
                <c:pt idx="3000">
                  <c:v>-0.13057299999999999</c:v>
                </c:pt>
                <c:pt idx="3001">
                  <c:v>-0.13057299999999999</c:v>
                </c:pt>
                <c:pt idx="3002">
                  <c:v>-0.13057299999999999</c:v>
                </c:pt>
                <c:pt idx="3003">
                  <c:v>-0.1640945</c:v>
                </c:pt>
                <c:pt idx="3004">
                  <c:v>-0.19761600000000001</c:v>
                </c:pt>
                <c:pt idx="3005">
                  <c:v>-0.19761600000000001</c:v>
                </c:pt>
                <c:pt idx="3006">
                  <c:v>-0.19761600000000001</c:v>
                </c:pt>
                <c:pt idx="3007">
                  <c:v>-0.19761600000000001</c:v>
                </c:pt>
                <c:pt idx="3008">
                  <c:v>-0.19761600000000001</c:v>
                </c:pt>
                <c:pt idx="3009">
                  <c:v>-0.28952699999999998</c:v>
                </c:pt>
                <c:pt idx="3010">
                  <c:v>-0.28952699999999998</c:v>
                </c:pt>
                <c:pt idx="3011">
                  <c:v>-0.28952699999999998</c:v>
                </c:pt>
                <c:pt idx="3012">
                  <c:v>-0.28952699999999998</c:v>
                </c:pt>
                <c:pt idx="3013">
                  <c:v>-0.28952699999999998</c:v>
                </c:pt>
                <c:pt idx="3014">
                  <c:v>-0.28952699999999998</c:v>
                </c:pt>
                <c:pt idx="3015">
                  <c:v>-0.39147199999999999</c:v>
                </c:pt>
                <c:pt idx="3016">
                  <c:v>-0.39147199999999999</c:v>
                </c:pt>
                <c:pt idx="3017">
                  <c:v>-0.39147199999999999</c:v>
                </c:pt>
                <c:pt idx="3018">
                  <c:v>-0.39147199999999999</c:v>
                </c:pt>
                <c:pt idx="3019">
                  <c:v>-0.39147199999999999</c:v>
                </c:pt>
                <c:pt idx="3020">
                  <c:v>-0.39147199999999999</c:v>
                </c:pt>
                <c:pt idx="3021">
                  <c:v>-0.60192999999999997</c:v>
                </c:pt>
                <c:pt idx="3022">
                  <c:v>-0.60192999999999997</c:v>
                </c:pt>
                <c:pt idx="3023">
                  <c:v>-0.60192999999999997</c:v>
                </c:pt>
                <c:pt idx="3024">
                  <c:v>-0.60192999999999997</c:v>
                </c:pt>
                <c:pt idx="3025">
                  <c:v>-0.60192999999999997</c:v>
                </c:pt>
                <c:pt idx="3026">
                  <c:v>-0.60192999999999997</c:v>
                </c:pt>
                <c:pt idx="3027">
                  <c:v>-1.089475</c:v>
                </c:pt>
                <c:pt idx="3028">
                  <c:v>-1.089475</c:v>
                </c:pt>
                <c:pt idx="3029">
                  <c:v>-1.089475</c:v>
                </c:pt>
                <c:pt idx="3030">
                  <c:v>-1.089475</c:v>
                </c:pt>
                <c:pt idx="3031">
                  <c:v>-1.089475</c:v>
                </c:pt>
                <c:pt idx="3032">
                  <c:v>-1.4430320000000001</c:v>
                </c:pt>
                <c:pt idx="3033">
                  <c:v>-1.796589</c:v>
                </c:pt>
                <c:pt idx="3034">
                  <c:v>-1.796589</c:v>
                </c:pt>
                <c:pt idx="3035">
                  <c:v>-1.796589</c:v>
                </c:pt>
                <c:pt idx="3036">
                  <c:v>-1.796589</c:v>
                </c:pt>
                <c:pt idx="3037">
                  <c:v>-1.796589</c:v>
                </c:pt>
                <c:pt idx="3038">
                  <c:v>-2.718804</c:v>
                </c:pt>
                <c:pt idx="3039">
                  <c:v>-2.718804</c:v>
                </c:pt>
                <c:pt idx="3040">
                  <c:v>-2.718804</c:v>
                </c:pt>
                <c:pt idx="3041">
                  <c:v>-2.718804</c:v>
                </c:pt>
                <c:pt idx="3042">
                  <c:v>-2.718804</c:v>
                </c:pt>
                <c:pt idx="3043">
                  <c:v>-2.718804</c:v>
                </c:pt>
                <c:pt idx="3044">
                  <c:v>-3.8432740000000001</c:v>
                </c:pt>
                <c:pt idx="3045">
                  <c:v>-3.8432740000000001</c:v>
                </c:pt>
                <c:pt idx="3046">
                  <c:v>-3.8432740000000001</c:v>
                </c:pt>
                <c:pt idx="3047">
                  <c:v>-3.8432740000000001</c:v>
                </c:pt>
                <c:pt idx="3048">
                  <c:v>-3.8432740000000001</c:v>
                </c:pt>
                <c:pt idx="3049">
                  <c:v>-3.8432740000000001</c:v>
                </c:pt>
                <c:pt idx="3050">
                  <c:v>-5.338006</c:v>
                </c:pt>
                <c:pt idx="3051">
                  <c:v>-5.338006</c:v>
                </c:pt>
                <c:pt idx="3052">
                  <c:v>-5.338006</c:v>
                </c:pt>
                <c:pt idx="3053">
                  <c:v>-5.338006</c:v>
                </c:pt>
                <c:pt idx="3054">
                  <c:v>-5.338006</c:v>
                </c:pt>
                <c:pt idx="3055">
                  <c:v>-6.2512875000000001</c:v>
                </c:pt>
                <c:pt idx="3056">
                  <c:v>-7.1645690000000002</c:v>
                </c:pt>
                <c:pt idx="3057">
                  <c:v>-7.1645690000000002</c:v>
                </c:pt>
                <c:pt idx="3058">
                  <c:v>-7.1645690000000002</c:v>
                </c:pt>
                <c:pt idx="3059">
                  <c:v>-7.1645690000000002</c:v>
                </c:pt>
                <c:pt idx="3060">
                  <c:v>-7.1645690000000002</c:v>
                </c:pt>
                <c:pt idx="3061">
                  <c:v>-8.1376455000000014</c:v>
                </c:pt>
                <c:pt idx="3062">
                  <c:v>-9.1107220000000009</c:v>
                </c:pt>
                <c:pt idx="3063">
                  <c:v>-9.1107220000000009</c:v>
                </c:pt>
                <c:pt idx="3064">
                  <c:v>-9.1107220000000009</c:v>
                </c:pt>
                <c:pt idx="3065">
                  <c:v>-9.1107220000000009</c:v>
                </c:pt>
                <c:pt idx="3066">
                  <c:v>-9.1107220000000009</c:v>
                </c:pt>
                <c:pt idx="3067">
                  <c:v>-11.2745943</c:v>
                </c:pt>
                <c:pt idx="3068">
                  <c:v>-11.2745943</c:v>
                </c:pt>
                <c:pt idx="3069">
                  <c:v>-11.2745943</c:v>
                </c:pt>
                <c:pt idx="3070">
                  <c:v>-11.2745943</c:v>
                </c:pt>
                <c:pt idx="3071">
                  <c:v>-11.2745943</c:v>
                </c:pt>
                <c:pt idx="3072">
                  <c:v>-11.2745943</c:v>
                </c:pt>
                <c:pt idx="3073">
                  <c:v>-13.6155987</c:v>
                </c:pt>
                <c:pt idx="3074">
                  <c:v>-13.6155987</c:v>
                </c:pt>
                <c:pt idx="3075">
                  <c:v>-13.6155987</c:v>
                </c:pt>
                <c:pt idx="3076">
                  <c:v>-13.6155987</c:v>
                </c:pt>
                <c:pt idx="3077">
                  <c:v>-13.6155987</c:v>
                </c:pt>
                <c:pt idx="3078">
                  <c:v>-13.6155987</c:v>
                </c:pt>
                <c:pt idx="3079">
                  <c:v>-16.155431700000001</c:v>
                </c:pt>
                <c:pt idx="3080">
                  <c:v>-16.155431700000001</c:v>
                </c:pt>
                <c:pt idx="3081">
                  <c:v>-16.155431700000001</c:v>
                </c:pt>
                <c:pt idx="3082">
                  <c:v>-16.155431700000001</c:v>
                </c:pt>
                <c:pt idx="3083">
                  <c:v>-16.155431700000001</c:v>
                </c:pt>
                <c:pt idx="3084">
                  <c:v>-17.432366350000002</c:v>
                </c:pt>
                <c:pt idx="3085">
                  <c:v>-18.709301</c:v>
                </c:pt>
                <c:pt idx="3086">
                  <c:v>-18.709301</c:v>
                </c:pt>
                <c:pt idx="3087">
                  <c:v>-18.709301</c:v>
                </c:pt>
                <c:pt idx="3088">
                  <c:v>-18.709301</c:v>
                </c:pt>
                <c:pt idx="3089">
                  <c:v>-18.709301</c:v>
                </c:pt>
                <c:pt idx="3090">
                  <c:v>-19.922822</c:v>
                </c:pt>
                <c:pt idx="3091">
                  <c:v>-21.136343</c:v>
                </c:pt>
                <c:pt idx="3092">
                  <c:v>-21.136343</c:v>
                </c:pt>
                <c:pt idx="3093">
                  <c:v>-21.136343</c:v>
                </c:pt>
                <c:pt idx="3094">
                  <c:v>-21.136343</c:v>
                </c:pt>
                <c:pt idx="3095">
                  <c:v>-21.136343</c:v>
                </c:pt>
                <c:pt idx="3096">
                  <c:v>-23.2957535</c:v>
                </c:pt>
                <c:pt idx="3097">
                  <c:v>-23.2957535</c:v>
                </c:pt>
                <c:pt idx="3098">
                  <c:v>-23.2957535</c:v>
                </c:pt>
                <c:pt idx="3099">
                  <c:v>-23.2957535</c:v>
                </c:pt>
                <c:pt idx="3100">
                  <c:v>-23.2957535</c:v>
                </c:pt>
                <c:pt idx="3101">
                  <c:v>-23.2957535</c:v>
                </c:pt>
                <c:pt idx="3102">
                  <c:v>-25.077220000000001</c:v>
                </c:pt>
                <c:pt idx="3103">
                  <c:v>-25.077220000000001</c:v>
                </c:pt>
                <c:pt idx="3104">
                  <c:v>-25.077220000000001</c:v>
                </c:pt>
                <c:pt idx="3105">
                  <c:v>-25.077220000000001</c:v>
                </c:pt>
                <c:pt idx="3106">
                  <c:v>-25.077220000000001</c:v>
                </c:pt>
                <c:pt idx="3107">
                  <c:v>-25.077220000000001</c:v>
                </c:pt>
                <c:pt idx="3108">
                  <c:v>-26.531606700000001</c:v>
                </c:pt>
                <c:pt idx="3109">
                  <c:v>-26.531606700000001</c:v>
                </c:pt>
                <c:pt idx="3110">
                  <c:v>-26.531606700000001</c:v>
                </c:pt>
                <c:pt idx="3111">
                  <c:v>-26.531606700000001</c:v>
                </c:pt>
                <c:pt idx="3112">
                  <c:v>-26.531606700000001</c:v>
                </c:pt>
                <c:pt idx="3113">
                  <c:v>-27.16046905</c:v>
                </c:pt>
                <c:pt idx="3114">
                  <c:v>-27.789331399999998</c:v>
                </c:pt>
                <c:pt idx="3115">
                  <c:v>-27.789331399999998</c:v>
                </c:pt>
                <c:pt idx="3116">
                  <c:v>-27.789331399999998</c:v>
                </c:pt>
                <c:pt idx="3117">
                  <c:v>-27.789331399999998</c:v>
                </c:pt>
                <c:pt idx="3118">
                  <c:v>-27.789331399999998</c:v>
                </c:pt>
                <c:pt idx="3119">
                  <c:v>-28.6651363</c:v>
                </c:pt>
                <c:pt idx="3120">
                  <c:v>-28.6651363</c:v>
                </c:pt>
                <c:pt idx="3121">
                  <c:v>-28.6651363</c:v>
                </c:pt>
                <c:pt idx="3122">
                  <c:v>-28.6651363</c:v>
                </c:pt>
                <c:pt idx="3123">
                  <c:v>-28.6651363</c:v>
                </c:pt>
                <c:pt idx="3124">
                  <c:v>-28.6651363</c:v>
                </c:pt>
                <c:pt idx="3125">
                  <c:v>-29.128032699999999</c:v>
                </c:pt>
                <c:pt idx="3126">
                  <c:v>-29.128032699999999</c:v>
                </c:pt>
                <c:pt idx="3127">
                  <c:v>-29.128032699999999</c:v>
                </c:pt>
                <c:pt idx="3128">
                  <c:v>-29.128032699999999</c:v>
                </c:pt>
                <c:pt idx="3129">
                  <c:v>-29.128032699999999</c:v>
                </c:pt>
                <c:pt idx="3130">
                  <c:v>-29.128032699999999</c:v>
                </c:pt>
                <c:pt idx="3131">
                  <c:v>-29.267057399999999</c:v>
                </c:pt>
                <c:pt idx="3132">
                  <c:v>-29.267057399999999</c:v>
                </c:pt>
                <c:pt idx="3133">
                  <c:v>-29.267057399999999</c:v>
                </c:pt>
                <c:pt idx="3134">
                  <c:v>-29.267057399999999</c:v>
                </c:pt>
                <c:pt idx="3135">
                  <c:v>-29.267057399999999</c:v>
                </c:pt>
                <c:pt idx="3136">
                  <c:v>-29.267057399999999</c:v>
                </c:pt>
                <c:pt idx="3137">
                  <c:v>-29.262001000000001</c:v>
                </c:pt>
                <c:pt idx="3138">
                  <c:v>-29.262001000000001</c:v>
                </c:pt>
                <c:pt idx="3139">
                  <c:v>-29.262001000000001</c:v>
                </c:pt>
                <c:pt idx="3140">
                  <c:v>-29.262001000000001</c:v>
                </c:pt>
                <c:pt idx="3141">
                  <c:v>-29.262001000000001</c:v>
                </c:pt>
                <c:pt idx="3142">
                  <c:v>-29.208609549999998</c:v>
                </c:pt>
                <c:pt idx="3143">
                  <c:v>-29.155218099999999</c:v>
                </c:pt>
                <c:pt idx="3144">
                  <c:v>-29.155218099999999</c:v>
                </c:pt>
                <c:pt idx="3145">
                  <c:v>-29.155218099999999</c:v>
                </c:pt>
                <c:pt idx="3146">
                  <c:v>-29.155218099999999</c:v>
                </c:pt>
                <c:pt idx="3147">
                  <c:v>-29.155218099999999</c:v>
                </c:pt>
                <c:pt idx="3148">
                  <c:v>-28.751290000000001</c:v>
                </c:pt>
                <c:pt idx="3149">
                  <c:v>-28.751290000000001</c:v>
                </c:pt>
                <c:pt idx="3150">
                  <c:v>-28.751290000000001</c:v>
                </c:pt>
                <c:pt idx="3151">
                  <c:v>-28.751290000000001</c:v>
                </c:pt>
                <c:pt idx="3152">
                  <c:v>-28.751290000000001</c:v>
                </c:pt>
                <c:pt idx="3153">
                  <c:v>-28.751290000000001</c:v>
                </c:pt>
                <c:pt idx="3154">
                  <c:v>-28.294593800000001</c:v>
                </c:pt>
                <c:pt idx="3155">
                  <c:v>-28.294593800000001</c:v>
                </c:pt>
                <c:pt idx="3156">
                  <c:v>-28.294593800000001</c:v>
                </c:pt>
                <c:pt idx="3157">
                  <c:v>-28.294593800000001</c:v>
                </c:pt>
                <c:pt idx="3158">
                  <c:v>-28.294593800000001</c:v>
                </c:pt>
                <c:pt idx="3159">
                  <c:v>-28.294593800000001</c:v>
                </c:pt>
                <c:pt idx="3160">
                  <c:v>-27.8653336</c:v>
                </c:pt>
                <c:pt idx="3161">
                  <c:v>-27.8653336</c:v>
                </c:pt>
                <c:pt idx="3162">
                  <c:v>-27.8653336</c:v>
                </c:pt>
                <c:pt idx="3163">
                  <c:v>-27.8653336</c:v>
                </c:pt>
                <c:pt idx="3164">
                  <c:v>-27.8653336</c:v>
                </c:pt>
                <c:pt idx="3165">
                  <c:v>-27.72629835</c:v>
                </c:pt>
                <c:pt idx="3166">
                  <c:v>-27.587263100000001</c:v>
                </c:pt>
                <c:pt idx="3167">
                  <c:v>-27.587263100000001</c:v>
                </c:pt>
                <c:pt idx="3168">
                  <c:v>-27.587263100000001</c:v>
                </c:pt>
                <c:pt idx="3169">
                  <c:v>-27.587263100000001</c:v>
                </c:pt>
                <c:pt idx="3170">
                  <c:v>-27.587263100000001</c:v>
                </c:pt>
                <c:pt idx="3171">
                  <c:v>-27.530890450000001</c:v>
                </c:pt>
                <c:pt idx="3172">
                  <c:v>-27.474517800000001</c:v>
                </c:pt>
                <c:pt idx="3173">
                  <c:v>-27.474517800000001</c:v>
                </c:pt>
                <c:pt idx="3174">
                  <c:v>-27.474517800000001</c:v>
                </c:pt>
                <c:pt idx="3175">
                  <c:v>-27.474517800000001</c:v>
                </c:pt>
                <c:pt idx="3176">
                  <c:v>-27.474517800000001</c:v>
                </c:pt>
                <c:pt idx="3177">
                  <c:v>-27.46406</c:v>
                </c:pt>
                <c:pt idx="3178">
                  <c:v>-27.46406</c:v>
                </c:pt>
                <c:pt idx="3179">
                  <c:v>-27.46406</c:v>
                </c:pt>
                <c:pt idx="3180">
                  <c:v>-27.46406</c:v>
                </c:pt>
                <c:pt idx="3181">
                  <c:v>-27.46406</c:v>
                </c:pt>
                <c:pt idx="3182">
                  <c:v>-27.46406</c:v>
                </c:pt>
                <c:pt idx="3183">
                  <c:v>-27.4523659</c:v>
                </c:pt>
                <c:pt idx="3184">
                  <c:v>-27.4523659</c:v>
                </c:pt>
                <c:pt idx="3185">
                  <c:v>-27.4523659</c:v>
                </c:pt>
                <c:pt idx="3186">
                  <c:v>-27.4523659</c:v>
                </c:pt>
                <c:pt idx="3187">
                  <c:v>-27.4523659</c:v>
                </c:pt>
                <c:pt idx="3188">
                  <c:v>-27.4523659</c:v>
                </c:pt>
                <c:pt idx="3189">
                  <c:v>-27.411804199999999</c:v>
                </c:pt>
                <c:pt idx="3190">
                  <c:v>-27.411804199999999</c:v>
                </c:pt>
                <c:pt idx="3191">
                  <c:v>-27.411804199999999</c:v>
                </c:pt>
                <c:pt idx="3192">
                  <c:v>-27.411804199999999</c:v>
                </c:pt>
                <c:pt idx="3193">
                  <c:v>-27.411804199999999</c:v>
                </c:pt>
                <c:pt idx="3194">
                  <c:v>-27.330859199999999</c:v>
                </c:pt>
                <c:pt idx="3195">
                  <c:v>-27.249914199999999</c:v>
                </c:pt>
                <c:pt idx="3196">
                  <c:v>-27.249914199999999</c:v>
                </c:pt>
                <c:pt idx="3197">
                  <c:v>-27.249914199999999</c:v>
                </c:pt>
                <c:pt idx="3198">
                  <c:v>-27.249914199999999</c:v>
                </c:pt>
                <c:pt idx="3199">
                  <c:v>-27.249914199999999</c:v>
                </c:pt>
                <c:pt idx="3200">
                  <c:v>-27.1096249</c:v>
                </c:pt>
                <c:pt idx="3201">
                  <c:v>-27.1096249</c:v>
                </c:pt>
                <c:pt idx="3202">
                  <c:v>-27.1096249</c:v>
                </c:pt>
                <c:pt idx="3203">
                  <c:v>-27.1096249</c:v>
                </c:pt>
                <c:pt idx="3204">
                  <c:v>-27.1096249</c:v>
                </c:pt>
                <c:pt idx="3205">
                  <c:v>-27.1096249</c:v>
                </c:pt>
                <c:pt idx="3206">
                  <c:v>-26.71424</c:v>
                </c:pt>
                <c:pt idx="3207">
                  <c:v>-26.71424</c:v>
                </c:pt>
                <c:pt idx="3208">
                  <c:v>-26.71424</c:v>
                </c:pt>
                <c:pt idx="3209">
                  <c:v>-26.71424</c:v>
                </c:pt>
                <c:pt idx="3210">
                  <c:v>-26.71424</c:v>
                </c:pt>
                <c:pt idx="3211">
                  <c:v>-26.71424</c:v>
                </c:pt>
                <c:pt idx="3212">
                  <c:v>-26.088357899999998</c:v>
                </c:pt>
                <c:pt idx="3213">
                  <c:v>-26.088357899999998</c:v>
                </c:pt>
                <c:pt idx="3214">
                  <c:v>-26.088357899999998</c:v>
                </c:pt>
                <c:pt idx="3215">
                  <c:v>-26.088357899999998</c:v>
                </c:pt>
                <c:pt idx="3216">
                  <c:v>-26.088357899999998</c:v>
                </c:pt>
                <c:pt idx="3217">
                  <c:v>-26.088357899999998</c:v>
                </c:pt>
                <c:pt idx="3218">
                  <c:v>-25.287089999999999</c:v>
                </c:pt>
                <c:pt idx="3219">
                  <c:v>-25.287089999999999</c:v>
                </c:pt>
                <c:pt idx="3220">
                  <c:v>-25.287089999999999</c:v>
                </c:pt>
                <c:pt idx="3221">
                  <c:v>-25.287089999999999</c:v>
                </c:pt>
                <c:pt idx="3222">
                  <c:v>-25.287089999999999</c:v>
                </c:pt>
                <c:pt idx="3223">
                  <c:v>-24.7361811</c:v>
                </c:pt>
                <c:pt idx="3224">
                  <c:v>-24.1852722</c:v>
                </c:pt>
                <c:pt idx="3225">
                  <c:v>-24.1852722</c:v>
                </c:pt>
                <c:pt idx="3226">
                  <c:v>-24.1852722</c:v>
                </c:pt>
                <c:pt idx="3227">
                  <c:v>-24.1852722</c:v>
                </c:pt>
                <c:pt idx="3228">
                  <c:v>-24.1852722</c:v>
                </c:pt>
                <c:pt idx="3229">
                  <c:v>-22.960246999999999</c:v>
                </c:pt>
                <c:pt idx="3230">
                  <c:v>-22.960246999999999</c:v>
                </c:pt>
                <c:pt idx="3231">
                  <c:v>-22.960246999999999</c:v>
                </c:pt>
                <c:pt idx="3232">
                  <c:v>-22.960246999999999</c:v>
                </c:pt>
                <c:pt idx="3233">
                  <c:v>-22.960246999999999</c:v>
                </c:pt>
                <c:pt idx="3234">
                  <c:v>-22.960246999999999</c:v>
                </c:pt>
                <c:pt idx="3235">
                  <c:v>-21.3837528</c:v>
                </c:pt>
                <c:pt idx="3236">
                  <c:v>-21.3837528</c:v>
                </c:pt>
                <c:pt idx="3237">
                  <c:v>-21.3837528</c:v>
                </c:pt>
                <c:pt idx="3238">
                  <c:v>-21.3837528</c:v>
                </c:pt>
                <c:pt idx="3239">
                  <c:v>-21.3837528</c:v>
                </c:pt>
                <c:pt idx="3240">
                  <c:v>-21.3837528</c:v>
                </c:pt>
                <c:pt idx="3241">
                  <c:v>-19.618818300000001</c:v>
                </c:pt>
                <c:pt idx="3242">
                  <c:v>-19.618818300000001</c:v>
                </c:pt>
                <c:pt idx="3243">
                  <c:v>-19.618818300000001</c:v>
                </c:pt>
                <c:pt idx="3244">
                  <c:v>-19.618818300000001</c:v>
                </c:pt>
                <c:pt idx="3245">
                  <c:v>-19.618818300000001</c:v>
                </c:pt>
                <c:pt idx="3246">
                  <c:v>-18.623186099999998</c:v>
                </c:pt>
                <c:pt idx="3247">
                  <c:v>-17.627553899999999</c:v>
                </c:pt>
                <c:pt idx="3248">
                  <c:v>-17.627553899999999</c:v>
                </c:pt>
                <c:pt idx="3249">
                  <c:v>-17.627553899999999</c:v>
                </c:pt>
                <c:pt idx="3250">
                  <c:v>-17.627553899999999</c:v>
                </c:pt>
                <c:pt idx="3251">
                  <c:v>-17.627553899999999</c:v>
                </c:pt>
                <c:pt idx="3252">
                  <c:v>-16.579512600000001</c:v>
                </c:pt>
                <c:pt idx="3253">
                  <c:v>-15.5314713</c:v>
                </c:pt>
                <c:pt idx="3254">
                  <c:v>-15.5314713</c:v>
                </c:pt>
                <c:pt idx="3255">
                  <c:v>-15.5314713</c:v>
                </c:pt>
                <c:pt idx="3256">
                  <c:v>-15.5314713</c:v>
                </c:pt>
                <c:pt idx="3257">
                  <c:v>-15.5314713</c:v>
                </c:pt>
                <c:pt idx="3258">
                  <c:v>-13.4446087</c:v>
                </c:pt>
                <c:pt idx="3259">
                  <c:v>-13.4446087</c:v>
                </c:pt>
                <c:pt idx="3260">
                  <c:v>-13.4446087</c:v>
                </c:pt>
                <c:pt idx="3261">
                  <c:v>-13.4446087</c:v>
                </c:pt>
                <c:pt idx="3262">
                  <c:v>-13.4446087</c:v>
                </c:pt>
                <c:pt idx="3263">
                  <c:v>-13.4446087</c:v>
                </c:pt>
                <c:pt idx="3264">
                  <c:v>-11.476904899999999</c:v>
                </c:pt>
                <c:pt idx="3265">
                  <c:v>-11.476904899999999</c:v>
                </c:pt>
                <c:pt idx="3266">
                  <c:v>-11.476904899999999</c:v>
                </c:pt>
                <c:pt idx="3267">
                  <c:v>-11.476904899999999</c:v>
                </c:pt>
                <c:pt idx="3268">
                  <c:v>-11.476904899999999</c:v>
                </c:pt>
                <c:pt idx="3269">
                  <c:v>-11.476904899999999</c:v>
                </c:pt>
                <c:pt idx="3270">
                  <c:v>-9.6286140000000007</c:v>
                </c:pt>
                <c:pt idx="3271">
                  <c:v>-9.6286140000000007</c:v>
                </c:pt>
                <c:pt idx="3272">
                  <c:v>-9.6286140000000007</c:v>
                </c:pt>
                <c:pt idx="3273">
                  <c:v>-9.6286140000000007</c:v>
                </c:pt>
                <c:pt idx="3274">
                  <c:v>-9.6286140000000007</c:v>
                </c:pt>
                <c:pt idx="3275">
                  <c:v>-8.7759479999999996</c:v>
                </c:pt>
                <c:pt idx="3276">
                  <c:v>-7.9232820000000004</c:v>
                </c:pt>
                <c:pt idx="3277">
                  <c:v>-7.9232820000000004</c:v>
                </c:pt>
                <c:pt idx="3278">
                  <c:v>-7.9232820000000004</c:v>
                </c:pt>
                <c:pt idx="3279">
                  <c:v>-7.9232820000000004</c:v>
                </c:pt>
                <c:pt idx="3280">
                  <c:v>-7.9232820000000004</c:v>
                </c:pt>
                <c:pt idx="3281">
                  <c:v>-7.1238810000000008</c:v>
                </c:pt>
                <c:pt idx="3282">
                  <c:v>-6.3244800000000003</c:v>
                </c:pt>
                <c:pt idx="3283">
                  <c:v>-6.3244800000000003</c:v>
                </c:pt>
                <c:pt idx="3284">
                  <c:v>-6.3244800000000003</c:v>
                </c:pt>
                <c:pt idx="3285">
                  <c:v>-6.3244800000000003</c:v>
                </c:pt>
                <c:pt idx="3286">
                  <c:v>-6.3244800000000003</c:v>
                </c:pt>
                <c:pt idx="3287">
                  <c:v>-4.9386150000000004</c:v>
                </c:pt>
                <c:pt idx="3288">
                  <c:v>-4.9386150000000004</c:v>
                </c:pt>
                <c:pt idx="3289">
                  <c:v>-4.9386150000000004</c:v>
                </c:pt>
                <c:pt idx="3290">
                  <c:v>-4.9386150000000004</c:v>
                </c:pt>
                <c:pt idx="3291">
                  <c:v>-4.9386150000000004</c:v>
                </c:pt>
                <c:pt idx="3292">
                  <c:v>-4.9386150000000004</c:v>
                </c:pt>
                <c:pt idx="3293">
                  <c:v>-3.8480470000000002</c:v>
                </c:pt>
                <c:pt idx="3294">
                  <c:v>-3.8480470000000002</c:v>
                </c:pt>
                <c:pt idx="3295">
                  <c:v>-3.8480470000000002</c:v>
                </c:pt>
                <c:pt idx="3296">
                  <c:v>-3.8480470000000002</c:v>
                </c:pt>
                <c:pt idx="3297">
                  <c:v>-3.8480470000000002</c:v>
                </c:pt>
                <c:pt idx="3298">
                  <c:v>-3.8480470000000002</c:v>
                </c:pt>
                <c:pt idx="3299">
                  <c:v>-2.8616540000000001</c:v>
                </c:pt>
                <c:pt idx="3300">
                  <c:v>-2.8616540000000001</c:v>
                </c:pt>
                <c:pt idx="3301">
                  <c:v>-2.8616540000000001</c:v>
                </c:pt>
                <c:pt idx="3302">
                  <c:v>-2.8616540000000001</c:v>
                </c:pt>
                <c:pt idx="3303">
                  <c:v>-2.8616540000000001</c:v>
                </c:pt>
                <c:pt idx="3304">
                  <c:v>-2.4668900000000002</c:v>
                </c:pt>
                <c:pt idx="3305">
                  <c:v>-2.0721259999999999</c:v>
                </c:pt>
                <c:pt idx="3306">
                  <c:v>-2.0721259999999999</c:v>
                </c:pt>
                <c:pt idx="3307">
                  <c:v>-2.0721259999999999</c:v>
                </c:pt>
                <c:pt idx="3308">
                  <c:v>-2.0721259999999999</c:v>
                </c:pt>
                <c:pt idx="3309">
                  <c:v>-2.0721259999999999</c:v>
                </c:pt>
                <c:pt idx="3310">
                  <c:v>-1.45886</c:v>
                </c:pt>
                <c:pt idx="3311">
                  <c:v>-1.45886</c:v>
                </c:pt>
                <c:pt idx="3312">
                  <c:v>-1.45886</c:v>
                </c:pt>
                <c:pt idx="3313">
                  <c:v>-1.45886</c:v>
                </c:pt>
                <c:pt idx="3314">
                  <c:v>-1.45886</c:v>
                </c:pt>
                <c:pt idx="3315">
                  <c:v>-1.45886</c:v>
                </c:pt>
                <c:pt idx="3316">
                  <c:v>-1.086041</c:v>
                </c:pt>
                <c:pt idx="3317">
                  <c:v>-1.086041</c:v>
                </c:pt>
                <c:pt idx="3318">
                  <c:v>-1.086041</c:v>
                </c:pt>
                <c:pt idx="3319">
                  <c:v>-1.086041</c:v>
                </c:pt>
                <c:pt idx="3320">
                  <c:v>-1.086041</c:v>
                </c:pt>
                <c:pt idx="3321">
                  <c:v>-1.086041</c:v>
                </c:pt>
                <c:pt idx="3322">
                  <c:v>-0.80934899999999999</c:v>
                </c:pt>
                <c:pt idx="3323">
                  <c:v>-0.80934899999999999</c:v>
                </c:pt>
                <c:pt idx="3324">
                  <c:v>-0.80934899999999999</c:v>
                </c:pt>
                <c:pt idx="3325">
                  <c:v>-0.80934899999999999</c:v>
                </c:pt>
                <c:pt idx="3326">
                  <c:v>-0.80934899999999999</c:v>
                </c:pt>
                <c:pt idx="3327">
                  <c:v>-0.80934899999999999</c:v>
                </c:pt>
                <c:pt idx="3328">
                  <c:v>-0.55389200000000005</c:v>
                </c:pt>
                <c:pt idx="3329">
                  <c:v>-0.55389200000000005</c:v>
                </c:pt>
                <c:pt idx="3330">
                  <c:v>-0.55389200000000005</c:v>
                </c:pt>
                <c:pt idx="3331">
                  <c:v>-0.55389200000000005</c:v>
                </c:pt>
                <c:pt idx="3332">
                  <c:v>-0.55389200000000005</c:v>
                </c:pt>
                <c:pt idx="3333">
                  <c:v>-0.46008650000000006</c:v>
                </c:pt>
                <c:pt idx="3334">
                  <c:v>-0.36628100000000002</c:v>
                </c:pt>
                <c:pt idx="3335">
                  <c:v>-0.36628100000000002</c:v>
                </c:pt>
                <c:pt idx="3336">
                  <c:v>-0.36628100000000002</c:v>
                </c:pt>
                <c:pt idx="3337">
                  <c:v>-0.36628100000000002</c:v>
                </c:pt>
                <c:pt idx="3338">
                  <c:v>-0.36628100000000002</c:v>
                </c:pt>
                <c:pt idx="3339">
                  <c:v>-0.23110900000000001</c:v>
                </c:pt>
                <c:pt idx="3340">
                  <c:v>-0.23110900000000001</c:v>
                </c:pt>
                <c:pt idx="3341">
                  <c:v>-0.23110900000000001</c:v>
                </c:pt>
                <c:pt idx="3342">
                  <c:v>-0.23110900000000001</c:v>
                </c:pt>
                <c:pt idx="3343">
                  <c:v>-0.23110900000000001</c:v>
                </c:pt>
                <c:pt idx="3344">
                  <c:v>-0.23110900000000001</c:v>
                </c:pt>
                <c:pt idx="3345">
                  <c:v>-0.12277299999999999</c:v>
                </c:pt>
                <c:pt idx="3346">
                  <c:v>-0.12277299999999999</c:v>
                </c:pt>
                <c:pt idx="3347">
                  <c:v>-0.12277299999999999</c:v>
                </c:pt>
                <c:pt idx="3348">
                  <c:v>-0.12277299999999999</c:v>
                </c:pt>
                <c:pt idx="3349">
                  <c:v>-0.12277299999999999</c:v>
                </c:pt>
                <c:pt idx="3350">
                  <c:v>-0.12277299999999999</c:v>
                </c:pt>
                <c:pt idx="3351">
                  <c:v>-4.6996000000000003E-2</c:v>
                </c:pt>
                <c:pt idx="3352">
                  <c:v>-4.6996000000000003E-2</c:v>
                </c:pt>
                <c:pt idx="3353">
                  <c:v>-4.6996000000000003E-2</c:v>
                </c:pt>
                <c:pt idx="3354">
                  <c:v>-4.6996000000000003E-2</c:v>
                </c:pt>
                <c:pt idx="3355">
                  <c:v>-4.6996000000000003E-2</c:v>
                </c:pt>
                <c:pt idx="3356">
                  <c:v>-2.6603000000000002E-2</c:v>
                </c:pt>
                <c:pt idx="3357">
                  <c:v>-6.2100000000000002E-3</c:v>
                </c:pt>
                <c:pt idx="3358">
                  <c:v>-6.2100000000000002E-3</c:v>
                </c:pt>
                <c:pt idx="3359">
                  <c:v>-6.2100000000000002E-3</c:v>
                </c:pt>
                <c:pt idx="3360">
                  <c:v>-6.2100000000000002E-3</c:v>
                </c:pt>
                <c:pt idx="3361">
                  <c:v>-6.2100000000000002E-3</c:v>
                </c:pt>
                <c:pt idx="3362">
                  <c:v>-2.7240000000000003E-3</c:v>
                </c:pt>
                <c:pt idx="3363">
                  <c:v>7.6199999999999998E-4</c:v>
                </c:pt>
                <c:pt idx="3364">
                  <c:v>7.6199999999999998E-4</c:v>
                </c:pt>
                <c:pt idx="3365">
                  <c:v>7.6199999999999998E-4</c:v>
                </c:pt>
                <c:pt idx="3366">
                  <c:v>7.6199999999999998E-4</c:v>
                </c:pt>
                <c:pt idx="3367">
                  <c:v>7.6199999999999998E-4</c:v>
                </c:pt>
                <c:pt idx="3368">
                  <c:v>-2.6700000000000001E-3</c:v>
                </c:pt>
                <c:pt idx="3369">
                  <c:v>-2.6700000000000001E-3</c:v>
                </c:pt>
                <c:pt idx="3370">
                  <c:v>-2.6700000000000001E-3</c:v>
                </c:pt>
                <c:pt idx="3371">
                  <c:v>-2.6700000000000001E-3</c:v>
                </c:pt>
                <c:pt idx="3372">
                  <c:v>-2.6700000000000001E-3</c:v>
                </c:pt>
                <c:pt idx="3373">
                  <c:v>-2.6700000000000001E-3</c:v>
                </c:pt>
                <c:pt idx="3374">
                  <c:v>6.2699999999999995E-4</c:v>
                </c:pt>
                <c:pt idx="3375">
                  <c:v>6.2699999999999995E-4</c:v>
                </c:pt>
                <c:pt idx="3376">
                  <c:v>6.2699999999999995E-4</c:v>
                </c:pt>
                <c:pt idx="3377">
                  <c:v>6.2699999999999995E-4</c:v>
                </c:pt>
                <c:pt idx="3378">
                  <c:v>6.2699999999999995E-4</c:v>
                </c:pt>
                <c:pt idx="3379">
                  <c:v>6.2699999999999995E-4</c:v>
                </c:pt>
                <c:pt idx="3380">
                  <c:v>-2.5219999999999999E-3</c:v>
                </c:pt>
                <c:pt idx="3381">
                  <c:v>-2.5219999999999999E-3</c:v>
                </c:pt>
                <c:pt idx="3382">
                  <c:v>-2.5219999999999999E-3</c:v>
                </c:pt>
                <c:pt idx="3383">
                  <c:v>-2.5219999999999999E-3</c:v>
                </c:pt>
                <c:pt idx="3384">
                  <c:v>-2.5219999999999999E-3</c:v>
                </c:pt>
                <c:pt idx="3385">
                  <c:v>-1.186E-3</c:v>
                </c:pt>
                <c:pt idx="3386">
                  <c:v>1.4999999999999999E-4</c:v>
                </c:pt>
                <c:pt idx="3387">
                  <c:v>1.4999999999999999E-4</c:v>
                </c:pt>
                <c:pt idx="3388">
                  <c:v>1.4999999999999999E-4</c:v>
                </c:pt>
                <c:pt idx="3389">
                  <c:v>1.4999999999999999E-4</c:v>
                </c:pt>
                <c:pt idx="3390">
                  <c:v>1.4999999999999999E-4</c:v>
                </c:pt>
                <c:pt idx="3391">
                  <c:v>-1.702E-3</c:v>
                </c:pt>
                <c:pt idx="3392">
                  <c:v>-1.702E-3</c:v>
                </c:pt>
                <c:pt idx="3393">
                  <c:v>-1.702E-3</c:v>
                </c:pt>
                <c:pt idx="3394">
                  <c:v>-1.702E-3</c:v>
                </c:pt>
                <c:pt idx="3395">
                  <c:v>-1.702E-3</c:v>
                </c:pt>
                <c:pt idx="3396">
                  <c:v>-1.702E-3</c:v>
                </c:pt>
                <c:pt idx="3397">
                  <c:v>-5.0799999999999999E-4</c:v>
                </c:pt>
                <c:pt idx="3398">
                  <c:v>-5.0799999999999999E-4</c:v>
                </c:pt>
                <c:pt idx="3399">
                  <c:v>-5.0799999999999999E-4</c:v>
                </c:pt>
                <c:pt idx="3400">
                  <c:v>-5.0799999999999999E-4</c:v>
                </c:pt>
                <c:pt idx="3401">
                  <c:v>-5.0799999999999999E-4</c:v>
                </c:pt>
                <c:pt idx="3402">
                  <c:v>-5.0799999999999999E-4</c:v>
                </c:pt>
                <c:pt idx="3403">
                  <c:v>-1.498E-3</c:v>
                </c:pt>
                <c:pt idx="3404">
                  <c:v>-1.498E-3</c:v>
                </c:pt>
                <c:pt idx="3405">
                  <c:v>-1.498E-3</c:v>
                </c:pt>
                <c:pt idx="3406">
                  <c:v>-1.498E-3</c:v>
                </c:pt>
                <c:pt idx="3407">
                  <c:v>-1.498E-3</c:v>
                </c:pt>
                <c:pt idx="3408">
                  <c:v>-1.498E-3</c:v>
                </c:pt>
                <c:pt idx="3409">
                  <c:v>-1.0319999999999999E-3</c:v>
                </c:pt>
                <c:pt idx="3410">
                  <c:v>-1.0319999999999999E-3</c:v>
                </c:pt>
                <c:pt idx="3411">
                  <c:v>-1.0319999999999999E-3</c:v>
                </c:pt>
                <c:pt idx="3412">
                  <c:v>-1.0319999999999999E-3</c:v>
                </c:pt>
                <c:pt idx="3413">
                  <c:v>-1.0319999999999999E-3</c:v>
                </c:pt>
                <c:pt idx="3414">
                  <c:v>-1.0275E-3</c:v>
                </c:pt>
                <c:pt idx="3415">
                  <c:v>-1.023E-3</c:v>
                </c:pt>
                <c:pt idx="3416">
                  <c:v>-1.023E-3</c:v>
                </c:pt>
                <c:pt idx="3417">
                  <c:v>-1.023E-3</c:v>
                </c:pt>
                <c:pt idx="3418">
                  <c:v>-1.023E-3</c:v>
                </c:pt>
                <c:pt idx="3419">
                  <c:v>-1.023E-3</c:v>
                </c:pt>
                <c:pt idx="3420">
                  <c:v>-1.013E-3</c:v>
                </c:pt>
                <c:pt idx="3421">
                  <c:v>-1.013E-3</c:v>
                </c:pt>
                <c:pt idx="3422">
                  <c:v>-1.013E-3</c:v>
                </c:pt>
                <c:pt idx="3423">
                  <c:v>-1.013E-3</c:v>
                </c:pt>
                <c:pt idx="3424">
                  <c:v>-1.013E-3</c:v>
                </c:pt>
                <c:pt idx="3425">
                  <c:v>-1.013E-3</c:v>
                </c:pt>
                <c:pt idx="3426">
                  <c:v>-1.0039999999999999E-3</c:v>
                </c:pt>
                <c:pt idx="3427">
                  <c:v>-1.0039999999999999E-3</c:v>
                </c:pt>
                <c:pt idx="3428">
                  <c:v>-1.0039999999999999E-3</c:v>
                </c:pt>
                <c:pt idx="3429">
                  <c:v>-1.0039999999999999E-3</c:v>
                </c:pt>
                <c:pt idx="3430">
                  <c:v>-1.0039999999999999E-3</c:v>
                </c:pt>
                <c:pt idx="3431">
                  <c:v>-1.0039999999999999E-3</c:v>
                </c:pt>
                <c:pt idx="3432">
                  <c:v>-9.9500000000000001E-4</c:v>
                </c:pt>
                <c:pt idx="3433">
                  <c:v>-9.9500000000000001E-4</c:v>
                </c:pt>
                <c:pt idx="3434">
                  <c:v>-9.9500000000000001E-4</c:v>
                </c:pt>
                <c:pt idx="3435">
                  <c:v>-9.9500000000000001E-4</c:v>
                </c:pt>
                <c:pt idx="3436">
                  <c:v>-9.9500000000000001E-4</c:v>
                </c:pt>
                <c:pt idx="3437">
                  <c:v>-9.9050004999999986E-4</c:v>
                </c:pt>
                <c:pt idx="3438">
                  <c:v>-9.8600009999999993E-4</c:v>
                </c:pt>
                <c:pt idx="3439">
                  <c:v>-9.8600009999999993E-4</c:v>
                </c:pt>
                <c:pt idx="3440">
                  <c:v>-9.8600009999999993E-4</c:v>
                </c:pt>
                <c:pt idx="3441">
                  <c:v>-9.8600009999999993E-4</c:v>
                </c:pt>
                <c:pt idx="3442">
                  <c:v>-9.8600009999999993E-4</c:v>
                </c:pt>
                <c:pt idx="3443">
                  <c:v>-9.8150004999999997E-4</c:v>
                </c:pt>
                <c:pt idx="3444">
                  <c:v>-9.77E-4</c:v>
                </c:pt>
                <c:pt idx="3445">
                  <c:v>-9.77E-4</c:v>
                </c:pt>
                <c:pt idx="3446">
                  <c:v>-9.77E-4</c:v>
                </c:pt>
                <c:pt idx="3447">
                  <c:v>-9.77E-4</c:v>
                </c:pt>
                <c:pt idx="3448">
                  <c:v>-9.77E-4</c:v>
                </c:pt>
                <c:pt idx="3449">
                  <c:v>-9.68E-4</c:v>
                </c:pt>
                <c:pt idx="3450">
                  <c:v>-9.68E-4</c:v>
                </c:pt>
                <c:pt idx="3451">
                  <c:v>-9.68E-4</c:v>
                </c:pt>
                <c:pt idx="3452">
                  <c:v>-9.68E-4</c:v>
                </c:pt>
                <c:pt idx="3453">
                  <c:v>-9.68E-4</c:v>
                </c:pt>
                <c:pt idx="3454">
                  <c:v>-9.68E-4</c:v>
                </c:pt>
                <c:pt idx="3455">
                  <c:v>-9.59E-4</c:v>
                </c:pt>
                <c:pt idx="3456">
                  <c:v>-9.59E-4</c:v>
                </c:pt>
                <c:pt idx="3457">
                  <c:v>-9.59E-4</c:v>
                </c:pt>
                <c:pt idx="3458">
                  <c:v>-9.59E-4</c:v>
                </c:pt>
                <c:pt idx="3459">
                  <c:v>-9.59E-4</c:v>
                </c:pt>
                <c:pt idx="3460">
                  <c:v>-9.59E-4</c:v>
                </c:pt>
                <c:pt idx="3461">
                  <c:v>-9.4899999999999997E-4</c:v>
                </c:pt>
                <c:pt idx="3462">
                  <c:v>-9.4899999999999997E-4</c:v>
                </c:pt>
                <c:pt idx="3463">
                  <c:v>-9.4899999999999997E-4</c:v>
                </c:pt>
                <c:pt idx="3464">
                  <c:v>-9.4899999999999997E-4</c:v>
                </c:pt>
                <c:pt idx="3465">
                  <c:v>-9.4899999999999997E-4</c:v>
                </c:pt>
                <c:pt idx="3466">
                  <c:v>-9.4450000000000003E-4</c:v>
                </c:pt>
                <c:pt idx="3467">
                  <c:v>-9.3999999999999997E-4</c:v>
                </c:pt>
                <c:pt idx="3468">
                  <c:v>-9.3999999999999997E-4</c:v>
                </c:pt>
                <c:pt idx="3469">
                  <c:v>-9.3999999999999997E-4</c:v>
                </c:pt>
                <c:pt idx="3470">
                  <c:v>-9.3999999999999997E-4</c:v>
                </c:pt>
                <c:pt idx="3471">
                  <c:v>-9.3999999999999997E-4</c:v>
                </c:pt>
                <c:pt idx="3472">
                  <c:v>-9.3549999999999992E-4</c:v>
                </c:pt>
                <c:pt idx="3473">
                  <c:v>-9.3099999999999997E-4</c:v>
                </c:pt>
                <c:pt idx="3474">
                  <c:v>-9.3099999999999997E-4</c:v>
                </c:pt>
                <c:pt idx="3475">
                  <c:v>-9.3099999999999997E-4</c:v>
                </c:pt>
                <c:pt idx="3476">
                  <c:v>-9.3099999999999997E-4</c:v>
                </c:pt>
                <c:pt idx="3477">
                  <c:v>-9.3099999999999997E-4</c:v>
                </c:pt>
                <c:pt idx="3478">
                  <c:v>-9.2199999999999997E-4</c:v>
                </c:pt>
                <c:pt idx="3479">
                  <c:v>-9.2199999999999997E-4</c:v>
                </c:pt>
                <c:pt idx="3480">
                  <c:v>-9.2199999999999997E-4</c:v>
                </c:pt>
                <c:pt idx="3481">
                  <c:v>-9.2199999999999997E-4</c:v>
                </c:pt>
                <c:pt idx="3482">
                  <c:v>-9.2199999999999997E-4</c:v>
                </c:pt>
                <c:pt idx="3483">
                  <c:v>-9.2199999999999997E-4</c:v>
                </c:pt>
                <c:pt idx="3484">
                  <c:v>-9.1299999999999997E-4</c:v>
                </c:pt>
                <c:pt idx="3485">
                  <c:v>-9.1299999999999997E-4</c:v>
                </c:pt>
                <c:pt idx="3486">
                  <c:v>-9.1299999999999997E-4</c:v>
                </c:pt>
                <c:pt idx="3487">
                  <c:v>-9.1299999999999997E-4</c:v>
                </c:pt>
                <c:pt idx="3488">
                  <c:v>-9.1299999999999997E-4</c:v>
                </c:pt>
                <c:pt idx="3489">
                  <c:v>-9.1299999999999997E-4</c:v>
                </c:pt>
                <c:pt idx="3490">
                  <c:v>-9.0399999999999996E-4</c:v>
                </c:pt>
                <c:pt idx="3491">
                  <c:v>-9.0399999999999996E-4</c:v>
                </c:pt>
                <c:pt idx="3492">
                  <c:v>-9.0399999999999996E-4</c:v>
                </c:pt>
                <c:pt idx="3493">
                  <c:v>-9.0399999999999996E-4</c:v>
                </c:pt>
                <c:pt idx="3494">
                  <c:v>-9.0399999999999996E-4</c:v>
                </c:pt>
                <c:pt idx="3495">
                  <c:v>-8.9949999999999991E-4</c:v>
                </c:pt>
                <c:pt idx="3496">
                  <c:v>-8.9499999999999996E-4</c:v>
                </c:pt>
                <c:pt idx="3497">
                  <c:v>-8.9499999999999996E-4</c:v>
                </c:pt>
                <c:pt idx="3498">
                  <c:v>-8.9499999999999996E-4</c:v>
                </c:pt>
                <c:pt idx="3499">
                  <c:v>-8.9499999999999996E-4</c:v>
                </c:pt>
                <c:pt idx="3500">
                  <c:v>-8.9499999999999996E-4</c:v>
                </c:pt>
                <c:pt idx="3501">
                  <c:v>-8.8500000000000004E-4</c:v>
                </c:pt>
                <c:pt idx="3502">
                  <c:v>-8.8500000000000004E-4</c:v>
                </c:pt>
                <c:pt idx="3503">
                  <c:v>-8.8500000000000004E-4</c:v>
                </c:pt>
                <c:pt idx="3504">
                  <c:v>-8.8500000000000004E-4</c:v>
                </c:pt>
                <c:pt idx="3505">
                  <c:v>-8.8500000000000004E-4</c:v>
                </c:pt>
                <c:pt idx="3506">
                  <c:v>-8.8500000000000004E-4</c:v>
                </c:pt>
                <c:pt idx="3507">
                  <c:v>-8.7600000000000004E-4</c:v>
                </c:pt>
                <c:pt idx="3508">
                  <c:v>-8.7600000000000004E-4</c:v>
                </c:pt>
                <c:pt idx="3509">
                  <c:v>-8.7600000000000004E-4</c:v>
                </c:pt>
                <c:pt idx="3510">
                  <c:v>-8.7600000000000004E-4</c:v>
                </c:pt>
                <c:pt idx="3511">
                  <c:v>-8.7600000000000004E-4</c:v>
                </c:pt>
                <c:pt idx="3512">
                  <c:v>-8.7600000000000004E-4</c:v>
                </c:pt>
                <c:pt idx="3513">
                  <c:v>-8.6700000000000004E-4</c:v>
                </c:pt>
                <c:pt idx="3514">
                  <c:v>-8.6700000000000004E-4</c:v>
                </c:pt>
                <c:pt idx="3515">
                  <c:v>-8.6700000000000004E-4</c:v>
                </c:pt>
                <c:pt idx="3516">
                  <c:v>-8.6700000000000004E-4</c:v>
                </c:pt>
                <c:pt idx="3517">
                  <c:v>-8.6700000000000004E-4</c:v>
                </c:pt>
                <c:pt idx="3518">
                  <c:v>-8.6700000000000004E-4</c:v>
                </c:pt>
                <c:pt idx="3519">
                  <c:v>-8.5800000000000004E-4</c:v>
                </c:pt>
                <c:pt idx="3520">
                  <c:v>-8.5800000000000004E-4</c:v>
                </c:pt>
                <c:pt idx="3521">
                  <c:v>-8.5800000000000004E-4</c:v>
                </c:pt>
                <c:pt idx="3522">
                  <c:v>-8.5800000000000004E-4</c:v>
                </c:pt>
                <c:pt idx="3523">
                  <c:v>-8.5800000000000004E-4</c:v>
                </c:pt>
                <c:pt idx="3524">
                  <c:v>-8.5350000000000009E-4</c:v>
                </c:pt>
                <c:pt idx="3525">
                  <c:v>-8.4900000000000004E-4</c:v>
                </c:pt>
                <c:pt idx="3526">
                  <c:v>-8.4900000000000004E-4</c:v>
                </c:pt>
                <c:pt idx="3527">
                  <c:v>-8.4900000000000004E-4</c:v>
                </c:pt>
                <c:pt idx="3528">
                  <c:v>-8.4900000000000004E-4</c:v>
                </c:pt>
                <c:pt idx="3529">
                  <c:v>-8.4900000000000004E-4</c:v>
                </c:pt>
                <c:pt idx="3530">
                  <c:v>-8.4000000000000003E-4</c:v>
                </c:pt>
                <c:pt idx="3531">
                  <c:v>-8.4000000000000003E-4</c:v>
                </c:pt>
                <c:pt idx="3532">
                  <c:v>-8.4000000000000003E-4</c:v>
                </c:pt>
                <c:pt idx="3533">
                  <c:v>-8.4000000000000003E-4</c:v>
                </c:pt>
                <c:pt idx="3534">
                  <c:v>-8.4000000000000003E-4</c:v>
                </c:pt>
                <c:pt idx="3535">
                  <c:v>-8.4000000000000003E-4</c:v>
                </c:pt>
                <c:pt idx="3536">
                  <c:v>-8.3000000000000001E-4</c:v>
                </c:pt>
                <c:pt idx="3537">
                  <c:v>-8.3000000000000001E-4</c:v>
                </c:pt>
                <c:pt idx="3538">
                  <c:v>-8.3000000000000001E-4</c:v>
                </c:pt>
                <c:pt idx="3539">
                  <c:v>-8.3000000000000001E-4</c:v>
                </c:pt>
                <c:pt idx="3540">
                  <c:v>-8.3000000000000001E-4</c:v>
                </c:pt>
                <c:pt idx="3541">
                  <c:v>-8.3000000000000001E-4</c:v>
                </c:pt>
                <c:pt idx="3542">
                  <c:v>-8.2100000000000001E-4</c:v>
                </c:pt>
                <c:pt idx="3543">
                  <c:v>-8.2100000000000001E-4</c:v>
                </c:pt>
                <c:pt idx="3544">
                  <c:v>-8.2100000000000001E-4</c:v>
                </c:pt>
                <c:pt idx="3545">
                  <c:v>-8.2100000000000001E-4</c:v>
                </c:pt>
                <c:pt idx="3546">
                  <c:v>-8.2100000000000001E-4</c:v>
                </c:pt>
                <c:pt idx="3547">
                  <c:v>-8.1649999999999995E-4</c:v>
                </c:pt>
                <c:pt idx="3548">
                  <c:v>-8.12E-4</c:v>
                </c:pt>
                <c:pt idx="3549">
                  <c:v>-8.12E-4</c:v>
                </c:pt>
                <c:pt idx="3550">
                  <c:v>-8.12E-4</c:v>
                </c:pt>
                <c:pt idx="3551">
                  <c:v>-8.12E-4</c:v>
                </c:pt>
                <c:pt idx="3552">
                  <c:v>-8.12E-4</c:v>
                </c:pt>
                <c:pt idx="3553">
                  <c:v>-8.0750000000000006E-4</c:v>
                </c:pt>
                <c:pt idx="3554">
                  <c:v>-8.03E-4</c:v>
                </c:pt>
                <c:pt idx="3555">
                  <c:v>-8.03E-4</c:v>
                </c:pt>
                <c:pt idx="3556">
                  <c:v>-8.03E-4</c:v>
                </c:pt>
                <c:pt idx="3557">
                  <c:v>-8.03E-4</c:v>
                </c:pt>
                <c:pt idx="3558">
                  <c:v>-8.03E-4</c:v>
                </c:pt>
                <c:pt idx="3559">
                  <c:v>-7.94E-4</c:v>
                </c:pt>
                <c:pt idx="3560">
                  <c:v>-7.94E-4</c:v>
                </c:pt>
                <c:pt idx="3561">
                  <c:v>-7.94E-4</c:v>
                </c:pt>
                <c:pt idx="3562">
                  <c:v>-7.94E-4</c:v>
                </c:pt>
                <c:pt idx="3563">
                  <c:v>-7.94E-4</c:v>
                </c:pt>
                <c:pt idx="3564">
                  <c:v>-7.94E-4</c:v>
                </c:pt>
                <c:pt idx="3565">
                  <c:v>-7.85E-4</c:v>
                </c:pt>
                <c:pt idx="3566">
                  <c:v>-7.85E-4</c:v>
                </c:pt>
                <c:pt idx="3567">
                  <c:v>-7.85E-4</c:v>
                </c:pt>
                <c:pt idx="3568">
                  <c:v>-7.85E-4</c:v>
                </c:pt>
                <c:pt idx="3569">
                  <c:v>-7.85E-4</c:v>
                </c:pt>
                <c:pt idx="3570">
                  <c:v>-7.85E-4</c:v>
                </c:pt>
                <c:pt idx="3571">
                  <c:v>-7.76E-4</c:v>
                </c:pt>
                <c:pt idx="3572">
                  <c:v>-7.76E-4</c:v>
                </c:pt>
                <c:pt idx="3573">
                  <c:v>-7.76E-4</c:v>
                </c:pt>
                <c:pt idx="3574">
                  <c:v>-7.76E-4</c:v>
                </c:pt>
                <c:pt idx="3575">
                  <c:v>-7.76E-4</c:v>
                </c:pt>
                <c:pt idx="3576">
                  <c:v>-7.7099999999999998E-4</c:v>
                </c:pt>
                <c:pt idx="3577">
                  <c:v>-7.6599999999999997E-4</c:v>
                </c:pt>
                <c:pt idx="3578">
                  <c:v>-7.6599999999999997E-4</c:v>
                </c:pt>
                <c:pt idx="3579">
                  <c:v>-7.6599999999999997E-4</c:v>
                </c:pt>
                <c:pt idx="3580">
                  <c:v>-7.6599999999999997E-4</c:v>
                </c:pt>
                <c:pt idx="3581">
                  <c:v>-7.6599999999999997E-4</c:v>
                </c:pt>
                <c:pt idx="3582">
                  <c:v>-7.5699999999999997E-4</c:v>
                </c:pt>
                <c:pt idx="3583">
                  <c:v>-7.5699999999999997E-4</c:v>
                </c:pt>
                <c:pt idx="3584">
                  <c:v>-7.5699999999999997E-4</c:v>
                </c:pt>
                <c:pt idx="3585">
                  <c:v>-7.5699999999999997E-4</c:v>
                </c:pt>
                <c:pt idx="3586">
                  <c:v>-7.5699999999999997E-4</c:v>
                </c:pt>
                <c:pt idx="3587">
                  <c:v>-7.5699999999999997E-4</c:v>
                </c:pt>
                <c:pt idx="3588">
                  <c:v>-7.4799999999999997E-4</c:v>
                </c:pt>
                <c:pt idx="3589">
                  <c:v>-7.4799999999999997E-4</c:v>
                </c:pt>
                <c:pt idx="3590">
                  <c:v>-7.4799999999999997E-4</c:v>
                </c:pt>
                <c:pt idx="3591">
                  <c:v>-7.4799999999999997E-4</c:v>
                </c:pt>
                <c:pt idx="3592">
                  <c:v>-7.4799999999999997E-4</c:v>
                </c:pt>
                <c:pt idx="3593">
                  <c:v>-7.4799999999999997E-4</c:v>
                </c:pt>
                <c:pt idx="3594">
                  <c:v>-7.3899999999999997E-4</c:v>
                </c:pt>
                <c:pt idx="3595">
                  <c:v>-7.3899999999999997E-4</c:v>
                </c:pt>
                <c:pt idx="3596">
                  <c:v>-7.3899999999999997E-4</c:v>
                </c:pt>
                <c:pt idx="3597">
                  <c:v>-7.3899999999999997E-4</c:v>
                </c:pt>
                <c:pt idx="3598">
                  <c:v>-7.3899999999999997E-4</c:v>
                </c:pt>
                <c:pt idx="3599">
                  <c:v>-7.3899999999999997E-4</c:v>
                </c:pt>
                <c:pt idx="3600">
                  <c:v>-7.2999999999999996E-4</c:v>
                </c:pt>
                <c:pt idx="3601">
                  <c:v>-7.2999999999999996E-4</c:v>
                </c:pt>
                <c:pt idx="3602">
                  <c:v>-7.2999999999999996E-4</c:v>
                </c:pt>
                <c:pt idx="3603">
                  <c:v>-7.2999999999999996E-4</c:v>
                </c:pt>
                <c:pt idx="3604">
                  <c:v>-7.2999999999999996E-4</c:v>
                </c:pt>
                <c:pt idx="3605">
                  <c:v>-7.2550000000000002E-4</c:v>
                </c:pt>
                <c:pt idx="3606">
                  <c:v>-7.2099999999999996E-4</c:v>
                </c:pt>
                <c:pt idx="3607">
                  <c:v>-7.2099999999999996E-4</c:v>
                </c:pt>
                <c:pt idx="3608">
                  <c:v>-7.2099999999999996E-4</c:v>
                </c:pt>
                <c:pt idx="3609">
                  <c:v>-7.2099999999999996E-4</c:v>
                </c:pt>
                <c:pt idx="3610">
                  <c:v>-7.2099999999999996E-4</c:v>
                </c:pt>
                <c:pt idx="3611">
                  <c:v>-7.1199999999999996E-4</c:v>
                </c:pt>
                <c:pt idx="3612">
                  <c:v>-7.1199999999999996E-4</c:v>
                </c:pt>
                <c:pt idx="3613">
                  <c:v>-7.1199999999999996E-4</c:v>
                </c:pt>
                <c:pt idx="3614">
                  <c:v>-7.1199999999999996E-4</c:v>
                </c:pt>
                <c:pt idx="3615">
                  <c:v>-7.1199999999999996E-4</c:v>
                </c:pt>
                <c:pt idx="3616">
                  <c:v>-7.1199999999999996E-4</c:v>
                </c:pt>
                <c:pt idx="3617">
                  <c:v>-7.0200000000000004E-4</c:v>
                </c:pt>
                <c:pt idx="3618">
                  <c:v>-7.0200000000000004E-4</c:v>
                </c:pt>
                <c:pt idx="3619">
                  <c:v>-7.0200000000000004E-4</c:v>
                </c:pt>
                <c:pt idx="3620">
                  <c:v>-7.0200000000000004E-4</c:v>
                </c:pt>
                <c:pt idx="3621">
                  <c:v>-7.0200000000000004E-4</c:v>
                </c:pt>
                <c:pt idx="3622">
                  <c:v>-7.0200000000000004E-4</c:v>
                </c:pt>
                <c:pt idx="3623">
                  <c:v>-6.9300000000000004E-4</c:v>
                </c:pt>
                <c:pt idx="3624">
                  <c:v>-6.9300000000000004E-4</c:v>
                </c:pt>
                <c:pt idx="3625">
                  <c:v>-6.9300000000000004E-4</c:v>
                </c:pt>
                <c:pt idx="3626">
                  <c:v>-6.9300000000000004E-4</c:v>
                </c:pt>
                <c:pt idx="3627">
                  <c:v>-6.9300000000000004E-4</c:v>
                </c:pt>
                <c:pt idx="3628">
                  <c:v>-6.8850000000000009E-4</c:v>
                </c:pt>
                <c:pt idx="3629">
                  <c:v>-6.8400000000000004E-4</c:v>
                </c:pt>
                <c:pt idx="3630">
                  <c:v>-6.8400000000000004E-4</c:v>
                </c:pt>
                <c:pt idx="3631">
                  <c:v>-6.8400000000000004E-4</c:v>
                </c:pt>
                <c:pt idx="3632">
                  <c:v>-6.8400000000000004E-4</c:v>
                </c:pt>
                <c:pt idx="3633">
                  <c:v>-6.8400000000000004E-4</c:v>
                </c:pt>
                <c:pt idx="3634">
                  <c:v>-6.7949999999999998E-4</c:v>
                </c:pt>
                <c:pt idx="3635">
                  <c:v>-6.7500000000000004E-4</c:v>
                </c:pt>
                <c:pt idx="3636">
                  <c:v>-6.7500000000000004E-4</c:v>
                </c:pt>
                <c:pt idx="3637">
                  <c:v>-6.7500000000000004E-4</c:v>
                </c:pt>
                <c:pt idx="3638">
                  <c:v>-6.7500000000000004E-4</c:v>
                </c:pt>
                <c:pt idx="3639">
                  <c:v>-6.7500000000000004E-4</c:v>
                </c:pt>
                <c:pt idx="3640">
                  <c:v>-6.6600000000000003E-4</c:v>
                </c:pt>
                <c:pt idx="3641">
                  <c:v>-6.6600000000000003E-4</c:v>
                </c:pt>
                <c:pt idx="3642">
                  <c:v>-6.6600000000000003E-4</c:v>
                </c:pt>
                <c:pt idx="3643">
                  <c:v>-6.6600000000000003E-4</c:v>
                </c:pt>
                <c:pt idx="3644">
                  <c:v>-6.6600000000000003E-4</c:v>
                </c:pt>
                <c:pt idx="3645">
                  <c:v>-6.6600000000000003E-4</c:v>
                </c:pt>
                <c:pt idx="3646">
                  <c:v>-6.5700000000000003E-4</c:v>
                </c:pt>
                <c:pt idx="3647">
                  <c:v>-6.5700000000000003E-4</c:v>
                </c:pt>
                <c:pt idx="3648">
                  <c:v>-6.5700000000000003E-4</c:v>
                </c:pt>
                <c:pt idx="3649">
                  <c:v>-6.5700000000000003E-4</c:v>
                </c:pt>
                <c:pt idx="3650">
                  <c:v>-6.5700000000000003E-4</c:v>
                </c:pt>
                <c:pt idx="3651">
                  <c:v>-6.5700000000000003E-4</c:v>
                </c:pt>
                <c:pt idx="3652">
                  <c:v>-6.4700000000000001E-4</c:v>
                </c:pt>
                <c:pt idx="3653">
                  <c:v>-6.4700000000000001E-4</c:v>
                </c:pt>
                <c:pt idx="3654">
                  <c:v>-6.4700000000000001E-4</c:v>
                </c:pt>
                <c:pt idx="3655">
                  <c:v>-6.4700000000000001E-4</c:v>
                </c:pt>
                <c:pt idx="3656">
                  <c:v>-6.4700000000000001E-4</c:v>
                </c:pt>
                <c:pt idx="3657">
                  <c:v>-6.4250000000000006E-4</c:v>
                </c:pt>
                <c:pt idx="3658">
                  <c:v>-6.38E-4</c:v>
                </c:pt>
                <c:pt idx="3659">
                  <c:v>-6.38E-4</c:v>
                </c:pt>
                <c:pt idx="3660">
                  <c:v>-6.38E-4</c:v>
                </c:pt>
                <c:pt idx="3661">
                  <c:v>-6.38E-4</c:v>
                </c:pt>
                <c:pt idx="3662">
                  <c:v>-6.38E-4</c:v>
                </c:pt>
                <c:pt idx="3663">
                  <c:v>-6.3349999999999995E-4</c:v>
                </c:pt>
                <c:pt idx="3664">
                  <c:v>-6.29E-4</c:v>
                </c:pt>
                <c:pt idx="3665">
                  <c:v>-6.29E-4</c:v>
                </c:pt>
                <c:pt idx="3666">
                  <c:v>-6.29E-4</c:v>
                </c:pt>
                <c:pt idx="3667">
                  <c:v>-6.29E-4</c:v>
                </c:pt>
                <c:pt idx="3668">
                  <c:v>-6.29E-4</c:v>
                </c:pt>
                <c:pt idx="3669">
                  <c:v>-6.2E-4</c:v>
                </c:pt>
                <c:pt idx="3670">
                  <c:v>-6.2E-4</c:v>
                </c:pt>
                <c:pt idx="3671">
                  <c:v>-6.2E-4</c:v>
                </c:pt>
                <c:pt idx="3672">
                  <c:v>-6.2E-4</c:v>
                </c:pt>
                <c:pt idx="3673">
                  <c:v>-6.2E-4</c:v>
                </c:pt>
                <c:pt idx="3674">
                  <c:v>-6.2E-4</c:v>
                </c:pt>
                <c:pt idx="3675">
                  <c:v>-6.11E-4</c:v>
                </c:pt>
                <c:pt idx="3676">
                  <c:v>-6.11E-4</c:v>
                </c:pt>
                <c:pt idx="3677">
                  <c:v>-6.11E-4</c:v>
                </c:pt>
                <c:pt idx="3678">
                  <c:v>-6.11E-4</c:v>
                </c:pt>
                <c:pt idx="3679">
                  <c:v>-6.11E-4</c:v>
                </c:pt>
                <c:pt idx="3680">
                  <c:v>-6.11E-4</c:v>
                </c:pt>
                <c:pt idx="3681">
                  <c:v>-6.02E-4</c:v>
                </c:pt>
                <c:pt idx="3682">
                  <c:v>-6.02E-4</c:v>
                </c:pt>
                <c:pt idx="3683">
                  <c:v>-6.02E-4</c:v>
                </c:pt>
                <c:pt idx="3684">
                  <c:v>-6.02E-4</c:v>
                </c:pt>
                <c:pt idx="3685">
                  <c:v>-6.02E-4</c:v>
                </c:pt>
                <c:pt idx="3686">
                  <c:v>-5.9749999999999994E-4</c:v>
                </c:pt>
                <c:pt idx="3687">
                  <c:v>-5.9299999999999999E-4</c:v>
                </c:pt>
                <c:pt idx="3688">
                  <c:v>-5.9299999999999999E-4</c:v>
                </c:pt>
                <c:pt idx="3689">
                  <c:v>-5.9299999999999999E-4</c:v>
                </c:pt>
                <c:pt idx="3690">
                  <c:v>-5.9299999999999999E-4</c:v>
                </c:pt>
                <c:pt idx="3691">
                  <c:v>-5.9299999999999999E-4</c:v>
                </c:pt>
                <c:pt idx="3692">
                  <c:v>-5.8299999999999997E-4</c:v>
                </c:pt>
                <c:pt idx="3693">
                  <c:v>-5.8299999999999997E-4</c:v>
                </c:pt>
                <c:pt idx="3694">
                  <c:v>-5.8299999999999997E-4</c:v>
                </c:pt>
                <c:pt idx="3695">
                  <c:v>-5.8299999999999997E-4</c:v>
                </c:pt>
                <c:pt idx="3696">
                  <c:v>-5.8299999999999997E-4</c:v>
                </c:pt>
                <c:pt idx="3697">
                  <c:v>-5.8299999999999997E-4</c:v>
                </c:pt>
                <c:pt idx="3698">
                  <c:v>-5.7399999999999997E-4</c:v>
                </c:pt>
                <c:pt idx="3699">
                  <c:v>-5.7399999999999997E-4</c:v>
                </c:pt>
                <c:pt idx="3700">
                  <c:v>-5.7399999999999997E-4</c:v>
                </c:pt>
                <c:pt idx="3701">
                  <c:v>-5.7399999999999997E-4</c:v>
                </c:pt>
                <c:pt idx="3702">
                  <c:v>-5.7399999999999997E-4</c:v>
                </c:pt>
                <c:pt idx="3703">
                  <c:v>-5.7399999999999997E-4</c:v>
                </c:pt>
                <c:pt idx="3704">
                  <c:v>-5.6499999999999996E-4</c:v>
                </c:pt>
                <c:pt idx="3705">
                  <c:v>-5.6499999999999996E-4</c:v>
                </c:pt>
                <c:pt idx="3706">
                  <c:v>-5.6499999999999996E-4</c:v>
                </c:pt>
                <c:pt idx="3707">
                  <c:v>-5.6499999999999996E-4</c:v>
                </c:pt>
                <c:pt idx="3708">
                  <c:v>-5.6499999999999996E-4</c:v>
                </c:pt>
                <c:pt idx="3709">
                  <c:v>-5.6499999999999996E-4</c:v>
                </c:pt>
                <c:pt idx="3710">
                  <c:v>-5.5599999999999996E-4</c:v>
                </c:pt>
                <c:pt idx="3711">
                  <c:v>-5.5599999999999996E-4</c:v>
                </c:pt>
                <c:pt idx="3712">
                  <c:v>-5.5599999999999996E-4</c:v>
                </c:pt>
                <c:pt idx="3713">
                  <c:v>-5.5599999999999996E-4</c:v>
                </c:pt>
                <c:pt idx="3714">
                  <c:v>-5.5599999999999996E-4</c:v>
                </c:pt>
                <c:pt idx="3715">
                  <c:v>-5.5149999999999991E-4</c:v>
                </c:pt>
                <c:pt idx="3716">
                  <c:v>-5.4699999999999996E-4</c:v>
                </c:pt>
                <c:pt idx="3717">
                  <c:v>-5.4699999999999996E-4</c:v>
                </c:pt>
                <c:pt idx="3718">
                  <c:v>-5.4699999999999996E-4</c:v>
                </c:pt>
                <c:pt idx="3719">
                  <c:v>-5.4699999999999996E-4</c:v>
                </c:pt>
                <c:pt idx="3720">
                  <c:v>-5.4699999999999996E-4</c:v>
                </c:pt>
                <c:pt idx="3721">
                  <c:v>-5.3799999999999996E-4</c:v>
                </c:pt>
                <c:pt idx="3722">
                  <c:v>-5.3799999999999996E-4</c:v>
                </c:pt>
                <c:pt idx="3723">
                  <c:v>-5.3799999999999996E-4</c:v>
                </c:pt>
                <c:pt idx="3724">
                  <c:v>-5.3799999999999996E-4</c:v>
                </c:pt>
                <c:pt idx="3725">
                  <c:v>-5.3799999999999996E-4</c:v>
                </c:pt>
                <c:pt idx="3726">
                  <c:v>-5.3799999999999996E-4</c:v>
                </c:pt>
                <c:pt idx="3727">
                  <c:v>-5.2800000000000004E-4</c:v>
                </c:pt>
                <c:pt idx="3728">
                  <c:v>-5.2800000000000004E-4</c:v>
                </c:pt>
                <c:pt idx="3729">
                  <c:v>-5.2800000000000004E-4</c:v>
                </c:pt>
                <c:pt idx="3730">
                  <c:v>-5.2800000000000004E-4</c:v>
                </c:pt>
                <c:pt idx="3731">
                  <c:v>-5.2800000000000004E-4</c:v>
                </c:pt>
                <c:pt idx="3732">
                  <c:v>-5.2800000000000004E-4</c:v>
                </c:pt>
                <c:pt idx="3733">
                  <c:v>-5.1900000000000004E-4</c:v>
                </c:pt>
                <c:pt idx="3734">
                  <c:v>-5.1900000000000004E-4</c:v>
                </c:pt>
                <c:pt idx="3735">
                  <c:v>-5.1900000000000004E-4</c:v>
                </c:pt>
                <c:pt idx="3736">
                  <c:v>-5.1900000000000004E-4</c:v>
                </c:pt>
                <c:pt idx="3737">
                  <c:v>-5.1900000000000004E-4</c:v>
                </c:pt>
                <c:pt idx="3738">
                  <c:v>-5.1449999999999998E-4</c:v>
                </c:pt>
                <c:pt idx="3739">
                  <c:v>-5.1000000000000004E-4</c:v>
                </c:pt>
                <c:pt idx="3740">
                  <c:v>-5.1000000000000004E-4</c:v>
                </c:pt>
                <c:pt idx="3741">
                  <c:v>-5.1000000000000004E-4</c:v>
                </c:pt>
                <c:pt idx="3742">
                  <c:v>-5.1000000000000004E-4</c:v>
                </c:pt>
                <c:pt idx="3743">
                  <c:v>-5.1000000000000004E-4</c:v>
                </c:pt>
                <c:pt idx="3744">
                  <c:v>-5.0550000000000009E-4</c:v>
                </c:pt>
                <c:pt idx="3745">
                  <c:v>-5.0100000000000003E-4</c:v>
                </c:pt>
                <c:pt idx="3746">
                  <c:v>-5.0100000000000003E-4</c:v>
                </c:pt>
                <c:pt idx="3747">
                  <c:v>-5.0100000000000003E-4</c:v>
                </c:pt>
                <c:pt idx="3748">
                  <c:v>-5.0100000000000003E-4</c:v>
                </c:pt>
                <c:pt idx="3749">
                  <c:v>-5.0100000000000003E-4</c:v>
                </c:pt>
                <c:pt idx="3750">
                  <c:v>-4.9200000000000003E-4</c:v>
                </c:pt>
                <c:pt idx="3751">
                  <c:v>-4.9200000000000003E-4</c:v>
                </c:pt>
                <c:pt idx="3752">
                  <c:v>-4.9200000000000003E-4</c:v>
                </c:pt>
                <c:pt idx="3753">
                  <c:v>-4.9200000000000003E-4</c:v>
                </c:pt>
                <c:pt idx="3754">
                  <c:v>-4.9200000000000003E-4</c:v>
                </c:pt>
                <c:pt idx="3755">
                  <c:v>-4.9200000000000003E-4</c:v>
                </c:pt>
                <c:pt idx="3756">
                  <c:v>-4.8299999999999998E-4</c:v>
                </c:pt>
                <c:pt idx="3757">
                  <c:v>-4.8299999999999998E-4</c:v>
                </c:pt>
                <c:pt idx="3758">
                  <c:v>-4.8299999999999998E-4</c:v>
                </c:pt>
                <c:pt idx="3759">
                  <c:v>-4.8299999999999998E-4</c:v>
                </c:pt>
                <c:pt idx="3760">
                  <c:v>-4.8299999999999998E-4</c:v>
                </c:pt>
                <c:pt idx="3761">
                  <c:v>-4.8299999999999998E-4</c:v>
                </c:pt>
                <c:pt idx="3762">
                  <c:v>-4.73E-4</c:v>
                </c:pt>
                <c:pt idx="3763">
                  <c:v>-4.73E-4</c:v>
                </c:pt>
                <c:pt idx="3764">
                  <c:v>-4.73E-4</c:v>
                </c:pt>
                <c:pt idx="3765">
                  <c:v>-4.73E-4</c:v>
                </c:pt>
                <c:pt idx="3766">
                  <c:v>-4.73E-4</c:v>
                </c:pt>
                <c:pt idx="3767">
                  <c:v>-4.685E-4</c:v>
                </c:pt>
                <c:pt idx="3768">
                  <c:v>-4.64E-4</c:v>
                </c:pt>
                <c:pt idx="3769">
                  <c:v>-4.64E-4</c:v>
                </c:pt>
                <c:pt idx="3770">
                  <c:v>-4.64E-4</c:v>
                </c:pt>
                <c:pt idx="3771">
                  <c:v>-4.64E-4</c:v>
                </c:pt>
                <c:pt idx="3772">
                  <c:v>-4.64E-4</c:v>
                </c:pt>
                <c:pt idx="3773">
                  <c:v>-4.55E-4</c:v>
                </c:pt>
                <c:pt idx="3774">
                  <c:v>-4.55E-4</c:v>
                </c:pt>
                <c:pt idx="3775">
                  <c:v>-4.55E-4</c:v>
                </c:pt>
                <c:pt idx="3776">
                  <c:v>-4.55E-4</c:v>
                </c:pt>
                <c:pt idx="3777">
                  <c:v>-4.55E-4</c:v>
                </c:pt>
                <c:pt idx="3778">
                  <c:v>-4.55E-4</c:v>
                </c:pt>
                <c:pt idx="3779">
                  <c:v>-4.46E-4</c:v>
                </c:pt>
                <c:pt idx="3780">
                  <c:v>-4.46E-4</c:v>
                </c:pt>
                <c:pt idx="3781">
                  <c:v>-4.46E-4</c:v>
                </c:pt>
                <c:pt idx="3782">
                  <c:v>-4.46E-4</c:v>
                </c:pt>
                <c:pt idx="3783">
                  <c:v>-4.46E-4</c:v>
                </c:pt>
                <c:pt idx="3784">
                  <c:v>-4.46E-4</c:v>
                </c:pt>
                <c:pt idx="3785">
                  <c:v>-4.37E-4</c:v>
                </c:pt>
                <c:pt idx="3786">
                  <c:v>-4.37E-4</c:v>
                </c:pt>
                <c:pt idx="3787">
                  <c:v>-4.37E-4</c:v>
                </c:pt>
                <c:pt idx="3788">
                  <c:v>-4.37E-4</c:v>
                </c:pt>
                <c:pt idx="3789">
                  <c:v>-4.37E-4</c:v>
                </c:pt>
                <c:pt idx="3790">
                  <c:v>-4.37E-4</c:v>
                </c:pt>
                <c:pt idx="3791">
                  <c:v>-4.28E-4</c:v>
                </c:pt>
                <c:pt idx="3792">
                  <c:v>-4.28E-4</c:v>
                </c:pt>
                <c:pt idx="3793">
                  <c:v>-4.28E-4</c:v>
                </c:pt>
                <c:pt idx="3794">
                  <c:v>-4.28E-4</c:v>
                </c:pt>
                <c:pt idx="3795">
                  <c:v>-4.28E-4</c:v>
                </c:pt>
                <c:pt idx="3796">
                  <c:v>-4.2349999999999999E-4</c:v>
                </c:pt>
                <c:pt idx="3797">
                  <c:v>-4.1899999999999999E-4</c:v>
                </c:pt>
                <c:pt idx="3798">
                  <c:v>-4.1899999999999999E-4</c:v>
                </c:pt>
                <c:pt idx="3799">
                  <c:v>-4.1899999999999999E-4</c:v>
                </c:pt>
                <c:pt idx="3800">
                  <c:v>-4.1899999999999999E-4</c:v>
                </c:pt>
                <c:pt idx="3801">
                  <c:v>-4.1899999999999999E-4</c:v>
                </c:pt>
                <c:pt idx="3802">
                  <c:v>-4.0900000000000002E-4</c:v>
                </c:pt>
                <c:pt idx="3803">
                  <c:v>-4.0900000000000002E-4</c:v>
                </c:pt>
                <c:pt idx="3804">
                  <c:v>-4.0900000000000002E-4</c:v>
                </c:pt>
                <c:pt idx="3805">
                  <c:v>-4.0900000000000002E-4</c:v>
                </c:pt>
                <c:pt idx="3806">
                  <c:v>-4.0900000000000002E-4</c:v>
                </c:pt>
                <c:pt idx="3807">
                  <c:v>-4.0900000000000002E-4</c:v>
                </c:pt>
                <c:pt idx="3808">
                  <c:v>-4.0000000000000002E-4</c:v>
                </c:pt>
                <c:pt idx="3809">
                  <c:v>-4.0000000000000002E-4</c:v>
                </c:pt>
                <c:pt idx="3810">
                  <c:v>-4.0000000000000002E-4</c:v>
                </c:pt>
                <c:pt idx="3811">
                  <c:v>-4.0000000000000002E-4</c:v>
                </c:pt>
                <c:pt idx="3812">
                  <c:v>-4.0000000000000002E-4</c:v>
                </c:pt>
                <c:pt idx="3813">
                  <c:v>-4.0000000000000002E-4</c:v>
                </c:pt>
                <c:pt idx="3814">
                  <c:v>-3.9100000000000002E-4</c:v>
                </c:pt>
                <c:pt idx="3815">
                  <c:v>-3.9100000000000002E-4</c:v>
                </c:pt>
                <c:pt idx="3816">
                  <c:v>-3.9100000000000002E-4</c:v>
                </c:pt>
                <c:pt idx="3817">
                  <c:v>-3.9100000000000002E-4</c:v>
                </c:pt>
                <c:pt idx="3818">
                  <c:v>-3.9100000000000002E-4</c:v>
                </c:pt>
                <c:pt idx="3819">
                  <c:v>-3.8650000000000002E-4</c:v>
                </c:pt>
                <c:pt idx="3820">
                  <c:v>-3.8200000000000002E-4</c:v>
                </c:pt>
                <c:pt idx="3821">
                  <c:v>-3.8200000000000002E-4</c:v>
                </c:pt>
                <c:pt idx="3822">
                  <c:v>-3.8200000000000002E-4</c:v>
                </c:pt>
                <c:pt idx="3823">
                  <c:v>-3.8200000000000002E-4</c:v>
                </c:pt>
                <c:pt idx="3824">
                  <c:v>-3.8200000000000002E-4</c:v>
                </c:pt>
                <c:pt idx="3825">
                  <c:v>-3.7750000000000001E-4</c:v>
                </c:pt>
                <c:pt idx="3826">
                  <c:v>-3.7300000000000001E-4</c:v>
                </c:pt>
                <c:pt idx="3827">
                  <c:v>-3.7300000000000001E-4</c:v>
                </c:pt>
                <c:pt idx="3828">
                  <c:v>-3.7300000000000001E-4</c:v>
                </c:pt>
                <c:pt idx="3829">
                  <c:v>-3.7300000000000001E-4</c:v>
                </c:pt>
                <c:pt idx="3830">
                  <c:v>-3.7300000000000001E-4</c:v>
                </c:pt>
                <c:pt idx="3831">
                  <c:v>-3.6400000000000001E-4</c:v>
                </c:pt>
                <c:pt idx="3832">
                  <c:v>-3.6400000000000001E-4</c:v>
                </c:pt>
                <c:pt idx="3833">
                  <c:v>-3.6400000000000001E-4</c:v>
                </c:pt>
                <c:pt idx="3834">
                  <c:v>-3.6400000000000001E-4</c:v>
                </c:pt>
                <c:pt idx="3835">
                  <c:v>-3.6400000000000001E-4</c:v>
                </c:pt>
                <c:pt idx="3836">
                  <c:v>-3.6400000000000001E-4</c:v>
                </c:pt>
                <c:pt idx="3837">
                  <c:v>-3.5399999999999999E-4</c:v>
                </c:pt>
                <c:pt idx="3838">
                  <c:v>-3.5399999999999999E-4</c:v>
                </c:pt>
                <c:pt idx="3839">
                  <c:v>-3.5399999999999999E-4</c:v>
                </c:pt>
                <c:pt idx="3840">
                  <c:v>-3.5399999999999999E-4</c:v>
                </c:pt>
                <c:pt idx="3841">
                  <c:v>-3.5399999999999999E-4</c:v>
                </c:pt>
                <c:pt idx="3842">
                  <c:v>-3.5399999999999999E-4</c:v>
                </c:pt>
                <c:pt idx="3843">
                  <c:v>-3.4499999999999998E-4</c:v>
                </c:pt>
                <c:pt idx="3844">
                  <c:v>-3.4499999999999998E-4</c:v>
                </c:pt>
                <c:pt idx="3845">
                  <c:v>-3.4499999999999998E-4</c:v>
                </c:pt>
                <c:pt idx="3846">
                  <c:v>-3.4499999999999998E-4</c:v>
                </c:pt>
                <c:pt idx="3847">
                  <c:v>-3.4499999999999998E-4</c:v>
                </c:pt>
                <c:pt idx="3848">
                  <c:v>-3.4049999999999998E-4</c:v>
                </c:pt>
                <c:pt idx="3849">
                  <c:v>-3.3599999999999998E-4</c:v>
                </c:pt>
                <c:pt idx="3850">
                  <c:v>-3.3599999999999998E-4</c:v>
                </c:pt>
                <c:pt idx="3851">
                  <c:v>-3.3599999999999998E-4</c:v>
                </c:pt>
                <c:pt idx="3852">
                  <c:v>-3.3599999999999998E-4</c:v>
                </c:pt>
                <c:pt idx="3853">
                  <c:v>-3.3599999999999998E-4</c:v>
                </c:pt>
                <c:pt idx="3854">
                  <c:v>-3.3149999999999998E-4</c:v>
                </c:pt>
                <c:pt idx="3855">
                  <c:v>-3.2699999999999998E-4</c:v>
                </c:pt>
                <c:pt idx="3856">
                  <c:v>-3.2699999999999998E-4</c:v>
                </c:pt>
                <c:pt idx="3857">
                  <c:v>-3.2699999999999998E-4</c:v>
                </c:pt>
                <c:pt idx="3858">
                  <c:v>-3.2699999999999998E-4</c:v>
                </c:pt>
                <c:pt idx="3859">
                  <c:v>-3.2699999999999998E-4</c:v>
                </c:pt>
                <c:pt idx="3860">
                  <c:v>-3.1799999999999998E-4</c:v>
                </c:pt>
                <c:pt idx="3861">
                  <c:v>-3.1799999999999998E-4</c:v>
                </c:pt>
                <c:pt idx="3862">
                  <c:v>-3.1799999999999998E-4</c:v>
                </c:pt>
                <c:pt idx="3863">
                  <c:v>-3.1799999999999998E-4</c:v>
                </c:pt>
                <c:pt idx="3864">
                  <c:v>-3.1799999999999998E-4</c:v>
                </c:pt>
                <c:pt idx="3865">
                  <c:v>-3.1799999999999998E-4</c:v>
                </c:pt>
                <c:pt idx="3866">
                  <c:v>-3.0899999999999998E-4</c:v>
                </c:pt>
                <c:pt idx="3867">
                  <c:v>-3.0899999999999998E-4</c:v>
                </c:pt>
                <c:pt idx="3868">
                  <c:v>-3.0899999999999998E-4</c:v>
                </c:pt>
                <c:pt idx="3869">
                  <c:v>-3.0899999999999998E-4</c:v>
                </c:pt>
                <c:pt idx="3870">
                  <c:v>-3.0899999999999998E-4</c:v>
                </c:pt>
                <c:pt idx="3871">
                  <c:v>-3.0899999999999998E-4</c:v>
                </c:pt>
                <c:pt idx="3872">
                  <c:v>-2.9999999999999997E-4</c:v>
                </c:pt>
                <c:pt idx="3873">
                  <c:v>-2.9999999999999997E-4</c:v>
                </c:pt>
                <c:pt idx="3874">
                  <c:v>-2.9999999999999997E-4</c:v>
                </c:pt>
                <c:pt idx="3875">
                  <c:v>-2.9999999999999997E-4</c:v>
                </c:pt>
                <c:pt idx="3876">
                  <c:v>-2.9999999999999997E-4</c:v>
                </c:pt>
                <c:pt idx="3877">
                  <c:v>-2.9500000000000001E-4</c:v>
                </c:pt>
                <c:pt idx="3878">
                  <c:v>-2.9E-4</c:v>
                </c:pt>
                <c:pt idx="3879">
                  <c:v>-2.9E-4</c:v>
                </c:pt>
                <c:pt idx="3880">
                  <c:v>-2.9E-4</c:v>
                </c:pt>
                <c:pt idx="3881">
                  <c:v>-2.9E-4</c:v>
                </c:pt>
                <c:pt idx="3882">
                  <c:v>-2.9E-4</c:v>
                </c:pt>
                <c:pt idx="3883">
                  <c:v>-2.81E-4</c:v>
                </c:pt>
                <c:pt idx="3884">
                  <c:v>-2.81E-4</c:v>
                </c:pt>
                <c:pt idx="3885">
                  <c:v>-2.81E-4</c:v>
                </c:pt>
                <c:pt idx="3886">
                  <c:v>-2.81E-4</c:v>
                </c:pt>
                <c:pt idx="3887">
                  <c:v>-2.81E-4</c:v>
                </c:pt>
                <c:pt idx="3888">
                  <c:v>-2.81E-4</c:v>
                </c:pt>
                <c:pt idx="3889">
                  <c:v>-2.72E-4</c:v>
                </c:pt>
                <c:pt idx="3890">
                  <c:v>-2.72E-4</c:v>
                </c:pt>
                <c:pt idx="3891">
                  <c:v>-2.72E-4</c:v>
                </c:pt>
                <c:pt idx="3892">
                  <c:v>-2.72E-4</c:v>
                </c:pt>
                <c:pt idx="3893">
                  <c:v>-2.72E-4</c:v>
                </c:pt>
                <c:pt idx="3894">
                  <c:v>-2.72E-4</c:v>
                </c:pt>
                <c:pt idx="3895">
                  <c:v>-2.63E-4</c:v>
                </c:pt>
                <c:pt idx="3896">
                  <c:v>-2.63E-4</c:v>
                </c:pt>
                <c:pt idx="3897">
                  <c:v>-2.63E-4</c:v>
                </c:pt>
                <c:pt idx="3898">
                  <c:v>-2.63E-4</c:v>
                </c:pt>
                <c:pt idx="3899">
                  <c:v>-2.63E-4</c:v>
                </c:pt>
                <c:pt idx="3900">
                  <c:v>-2.63E-4</c:v>
                </c:pt>
                <c:pt idx="3901">
                  <c:v>-2.5399999999999999E-4</c:v>
                </c:pt>
                <c:pt idx="3902">
                  <c:v>-2.5399999999999999E-4</c:v>
                </c:pt>
                <c:pt idx="3903">
                  <c:v>-2.5399999999999999E-4</c:v>
                </c:pt>
                <c:pt idx="3904">
                  <c:v>-2.5399999999999999E-4</c:v>
                </c:pt>
                <c:pt idx="3905">
                  <c:v>-2.5399999999999999E-4</c:v>
                </c:pt>
                <c:pt idx="3906">
                  <c:v>-2.4949999999999999E-4</c:v>
                </c:pt>
                <c:pt idx="3907">
                  <c:v>-2.4499999999999999E-4</c:v>
                </c:pt>
                <c:pt idx="3908">
                  <c:v>-2.4499999999999999E-4</c:v>
                </c:pt>
                <c:pt idx="3909">
                  <c:v>-2.4499999999999999E-4</c:v>
                </c:pt>
                <c:pt idx="3910">
                  <c:v>-2.4499999999999999E-4</c:v>
                </c:pt>
                <c:pt idx="3911">
                  <c:v>-2.4499999999999999E-4</c:v>
                </c:pt>
                <c:pt idx="3912">
                  <c:v>-2.3499999999999999E-4</c:v>
                </c:pt>
                <c:pt idx="3913">
                  <c:v>-2.3499999999999999E-4</c:v>
                </c:pt>
                <c:pt idx="3914">
                  <c:v>-2.3499999999999999E-4</c:v>
                </c:pt>
                <c:pt idx="3915">
                  <c:v>-2.3499999999999999E-4</c:v>
                </c:pt>
                <c:pt idx="3916">
                  <c:v>-2.3499999999999999E-4</c:v>
                </c:pt>
                <c:pt idx="3917">
                  <c:v>-2.3499999999999999E-4</c:v>
                </c:pt>
                <c:pt idx="3918">
                  <c:v>-2.2599999999999999E-4</c:v>
                </c:pt>
                <c:pt idx="3919">
                  <c:v>-2.2599999999999999E-4</c:v>
                </c:pt>
                <c:pt idx="3920">
                  <c:v>-2.2599999999999999E-4</c:v>
                </c:pt>
                <c:pt idx="3921">
                  <c:v>-2.2599999999999999E-4</c:v>
                </c:pt>
                <c:pt idx="3922">
                  <c:v>-2.2599999999999999E-4</c:v>
                </c:pt>
                <c:pt idx="3923">
                  <c:v>-2.2599999999999999E-4</c:v>
                </c:pt>
                <c:pt idx="3924">
                  <c:v>-2.1699999999999999E-4</c:v>
                </c:pt>
                <c:pt idx="3925">
                  <c:v>-2.1699999999999999E-4</c:v>
                </c:pt>
                <c:pt idx="3926">
                  <c:v>-2.1699999999999999E-4</c:v>
                </c:pt>
                <c:pt idx="3927">
                  <c:v>-2.1699999999999999E-4</c:v>
                </c:pt>
                <c:pt idx="3928">
                  <c:v>-2.1699999999999999E-4</c:v>
                </c:pt>
                <c:pt idx="3929">
                  <c:v>-2.1249999999999999E-4</c:v>
                </c:pt>
                <c:pt idx="3930">
                  <c:v>-2.0799999999999999E-4</c:v>
                </c:pt>
                <c:pt idx="3931">
                  <c:v>-2.0799999999999999E-4</c:v>
                </c:pt>
                <c:pt idx="3932">
                  <c:v>-2.0799999999999999E-4</c:v>
                </c:pt>
                <c:pt idx="3933">
                  <c:v>-2.0799999999999999E-4</c:v>
                </c:pt>
                <c:pt idx="3934">
                  <c:v>-2.0799999999999999E-4</c:v>
                </c:pt>
                <c:pt idx="3935">
                  <c:v>-2.0350000000000001E-4</c:v>
                </c:pt>
                <c:pt idx="3936">
                  <c:v>-1.9900000000000001E-4</c:v>
                </c:pt>
                <c:pt idx="3937">
                  <c:v>-1.9900000000000001E-4</c:v>
                </c:pt>
                <c:pt idx="3938">
                  <c:v>-1.9900000000000001E-4</c:v>
                </c:pt>
                <c:pt idx="3939">
                  <c:v>-1.9900000000000001E-4</c:v>
                </c:pt>
                <c:pt idx="3940">
                  <c:v>-1.9900000000000001E-4</c:v>
                </c:pt>
                <c:pt idx="3941">
                  <c:v>-1.9000000000000001E-4</c:v>
                </c:pt>
                <c:pt idx="3942">
                  <c:v>-1.9000000000000001E-4</c:v>
                </c:pt>
                <c:pt idx="3943">
                  <c:v>-1.9000000000000001E-4</c:v>
                </c:pt>
                <c:pt idx="3944">
                  <c:v>-1.9000000000000001E-4</c:v>
                </c:pt>
                <c:pt idx="3945">
                  <c:v>-1.9000000000000001E-4</c:v>
                </c:pt>
                <c:pt idx="3946">
                  <c:v>-1.9000000000000001E-4</c:v>
                </c:pt>
                <c:pt idx="3947">
                  <c:v>-1.8000000000000001E-4</c:v>
                </c:pt>
                <c:pt idx="3948">
                  <c:v>-1.8000000000000001E-4</c:v>
                </c:pt>
                <c:pt idx="3949">
                  <c:v>-1.8000000000000001E-4</c:v>
                </c:pt>
                <c:pt idx="3950">
                  <c:v>-1.8000000000000001E-4</c:v>
                </c:pt>
                <c:pt idx="3951">
                  <c:v>-1.8000000000000001E-4</c:v>
                </c:pt>
                <c:pt idx="3952">
                  <c:v>-1.8000000000000001E-4</c:v>
                </c:pt>
                <c:pt idx="3953">
                  <c:v>-1.7100000000000001E-4</c:v>
                </c:pt>
                <c:pt idx="3954">
                  <c:v>-1.7100000000000001E-4</c:v>
                </c:pt>
                <c:pt idx="3955">
                  <c:v>-1.7100000000000001E-4</c:v>
                </c:pt>
                <c:pt idx="3956">
                  <c:v>-1.7100000000000001E-4</c:v>
                </c:pt>
                <c:pt idx="3957">
                  <c:v>-1.7100000000000001E-4</c:v>
                </c:pt>
                <c:pt idx="3958">
                  <c:v>-1.6650000000000001E-4</c:v>
                </c:pt>
                <c:pt idx="3959">
                  <c:v>-1.6200000000000001E-4</c:v>
                </c:pt>
                <c:pt idx="3960">
                  <c:v>-1.6200000000000001E-4</c:v>
                </c:pt>
                <c:pt idx="3961">
                  <c:v>-1.6200000000000001E-4</c:v>
                </c:pt>
                <c:pt idx="3962">
                  <c:v>-1.6200000000000001E-4</c:v>
                </c:pt>
                <c:pt idx="3963">
                  <c:v>-1.6200000000000001E-4</c:v>
                </c:pt>
                <c:pt idx="3964">
                  <c:v>-1.5300000000000001E-4</c:v>
                </c:pt>
                <c:pt idx="3965">
                  <c:v>-1.5300000000000001E-4</c:v>
                </c:pt>
                <c:pt idx="3966">
                  <c:v>-1.5300000000000001E-4</c:v>
                </c:pt>
                <c:pt idx="3967">
                  <c:v>-1.5300000000000001E-4</c:v>
                </c:pt>
                <c:pt idx="3968">
                  <c:v>-1.5300000000000001E-4</c:v>
                </c:pt>
                <c:pt idx="3969">
                  <c:v>-1.5300000000000001E-4</c:v>
                </c:pt>
                <c:pt idx="3970">
                  <c:v>-1.44E-4</c:v>
                </c:pt>
                <c:pt idx="3971">
                  <c:v>-1.44E-4</c:v>
                </c:pt>
                <c:pt idx="3972">
                  <c:v>-1.44E-4</c:v>
                </c:pt>
                <c:pt idx="3973">
                  <c:v>-1.44E-4</c:v>
                </c:pt>
                <c:pt idx="3974">
                  <c:v>-1.44E-4</c:v>
                </c:pt>
                <c:pt idx="3975">
                  <c:v>-1.44E-4</c:v>
                </c:pt>
                <c:pt idx="3976">
                  <c:v>-1.35E-4</c:v>
                </c:pt>
                <c:pt idx="3977">
                  <c:v>-1.35E-4</c:v>
                </c:pt>
                <c:pt idx="3978">
                  <c:v>-1.35E-4</c:v>
                </c:pt>
                <c:pt idx="3979">
                  <c:v>-1.35E-4</c:v>
                </c:pt>
                <c:pt idx="3980">
                  <c:v>-1.35E-4</c:v>
                </c:pt>
                <c:pt idx="3981">
                  <c:v>-1.35E-4</c:v>
                </c:pt>
                <c:pt idx="3982">
                  <c:v>-1.26E-4</c:v>
                </c:pt>
                <c:pt idx="3983">
                  <c:v>-1.26E-4</c:v>
                </c:pt>
                <c:pt idx="3984">
                  <c:v>-1.26E-4</c:v>
                </c:pt>
                <c:pt idx="3985">
                  <c:v>-1.26E-4</c:v>
                </c:pt>
                <c:pt idx="3986">
                  <c:v>-1.26E-4</c:v>
                </c:pt>
                <c:pt idx="3987">
                  <c:v>-1.21E-4</c:v>
                </c:pt>
                <c:pt idx="3988">
                  <c:v>-1.16E-4</c:v>
                </c:pt>
                <c:pt idx="3989">
                  <c:v>-1.16E-4</c:v>
                </c:pt>
                <c:pt idx="3990">
                  <c:v>-1.16E-4</c:v>
                </c:pt>
                <c:pt idx="3991">
                  <c:v>-1.16E-4</c:v>
                </c:pt>
                <c:pt idx="3992">
                  <c:v>-1.16E-4</c:v>
                </c:pt>
                <c:pt idx="3993">
                  <c:v>-1.07E-4</c:v>
                </c:pt>
                <c:pt idx="3994">
                  <c:v>-1.07E-4</c:v>
                </c:pt>
                <c:pt idx="3995">
                  <c:v>-1.07E-4</c:v>
                </c:pt>
                <c:pt idx="3996">
                  <c:v>-1.07E-4</c:v>
                </c:pt>
                <c:pt idx="3997">
                  <c:v>-1.07E-4</c:v>
                </c:pt>
                <c:pt idx="3998">
                  <c:v>-1.07E-4</c:v>
                </c:pt>
                <c:pt idx="3999">
                  <c:v>-9.7999999999999997E-5</c:v>
                </c:pt>
                <c:pt idx="4000">
                  <c:v>-9.7999999999999997E-5</c:v>
                </c:pt>
                <c:pt idx="4001">
                  <c:v>-9.7999999999999997E-5</c:v>
                </c:pt>
                <c:pt idx="4002">
                  <c:v>-9.7999999999999997E-5</c:v>
                </c:pt>
                <c:pt idx="4003">
                  <c:v>-9.7999999999999997E-5</c:v>
                </c:pt>
                <c:pt idx="4004">
                  <c:v>-9.7999999999999997E-5</c:v>
                </c:pt>
                <c:pt idx="4005">
                  <c:v>-8.8999999999999995E-5</c:v>
                </c:pt>
                <c:pt idx="4006">
                  <c:v>-8.8999999999999995E-5</c:v>
                </c:pt>
                <c:pt idx="4007">
                  <c:v>-8.8999999999999995E-5</c:v>
                </c:pt>
                <c:pt idx="4008">
                  <c:v>-8.8999999999999995E-5</c:v>
                </c:pt>
                <c:pt idx="4009">
                  <c:v>-8.8999999999999995E-5</c:v>
                </c:pt>
                <c:pt idx="4010">
                  <c:v>-8.4499999999999994E-5</c:v>
                </c:pt>
                <c:pt idx="4011">
                  <c:v>-8.0000000000000007E-5</c:v>
                </c:pt>
                <c:pt idx="4012">
                  <c:v>-8.0000000000000007E-5</c:v>
                </c:pt>
                <c:pt idx="4013">
                  <c:v>-8.0000000000000007E-5</c:v>
                </c:pt>
                <c:pt idx="4014">
                  <c:v>-8.0000000000000007E-5</c:v>
                </c:pt>
                <c:pt idx="4015">
                  <c:v>-8.0000000000000007E-5</c:v>
                </c:pt>
                <c:pt idx="4016">
                  <c:v>-7.5500000000000006E-5</c:v>
                </c:pt>
                <c:pt idx="4017">
                  <c:v>-7.1000000000000005E-5</c:v>
                </c:pt>
                <c:pt idx="4018">
                  <c:v>-7.1000000000000005E-5</c:v>
                </c:pt>
                <c:pt idx="4019">
                  <c:v>-7.1000000000000005E-5</c:v>
                </c:pt>
                <c:pt idx="4020">
                  <c:v>-7.1000000000000005E-5</c:v>
                </c:pt>
                <c:pt idx="4021">
                  <c:v>-7.1000000000000005E-5</c:v>
                </c:pt>
                <c:pt idx="4022">
                  <c:v>-6.0999999999999999E-5</c:v>
                </c:pt>
                <c:pt idx="4023">
                  <c:v>-6.0999999999999999E-5</c:v>
                </c:pt>
                <c:pt idx="4024">
                  <c:v>-6.0999999999999999E-5</c:v>
                </c:pt>
                <c:pt idx="4025">
                  <c:v>-6.0999999999999999E-5</c:v>
                </c:pt>
                <c:pt idx="4026">
                  <c:v>-6.0999999999999999E-5</c:v>
                </c:pt>
                <c:pt idx="4027">
                  <c:v>-6.0999999999999999E-5</c:v>
                </c:pt>
                <c:pt idx="4028">
                  <c:v>-5.1999999999999997E-5</c:v>
                </c:pt>
                <c:pt idx="4029">
                  <c:v>-5.1999999999999997E-5</c:v>
                </c:pt>
                <c:pt idx="4030">
                  <c:v>-5.1999999999999997E-5</c:v>
                </c:pt>
                <c:pt idx="4031">
                  <c:v>-5.1999999999999997E-5</c:v>
                </c:pt>
                <c:pt idx="4032">
                  <c:v>-5.1999999999999997E-5</c:v>
                </c:pt>
                <c:pt idx="4033">
                  <c:v>-5.1999999999999997E-5</c:v>
                </c:pt>
                <c:pt idx="4034">
                  <c:v>-4.3000000000000002E-5</c:v>
                </c:pt>
                <c:pt idx="4035">
                  <c:v>-4.3000000000000002E-5</c:v>
                </c:pt>
                <c:pt idx="4036">
                  <c:v>-4.3000000000000002E-5</c:v>
                </c:pt>
                <c:pt idx="4037">
                  <c:v>-4.3000000000000002E-5</c:v>
                </c:pt>
                <c:pt idx="4038">
                  <c:v>-4.3000000000000002E-5</c:v>
                </c:pt>
                <c:pt idx="4039">
                  <c:v>-3.8500000000000001E-5</c:v>
                </c:pt>
                <c:pt idx="4040">
                  <c:v>-3.4E-5</c:v>
                </c:pt>
                <c:pt idx="4041">
                  <c:v>-3.4E-5</c:v>
                </c:pt>
                <c:pt idx="4042">
                  <c:v>-3.4E-5</c:v>
                </c:pt>
                <c:pt idx="4043">
                  <c:v>-3.4E-5</c:v>
                </c:pt>
                <c:pt idx="4044">
                  <c:v>-3.4E-5</c:v>
                </c:pt>
                <c:pt idx="4045">
                  <c:v>-2.9499999999999999E-5</c:v>
                </c:pt>
                <c:pt idx="4046">
                  <c:v>-2.5000000000000001E-5</c:v>
                </c:pt>
                <c:pt idx="4047">
                  <c:v>-2.5000000000000001E-5</c:v>
                </c:pt>
                <c:pt idx="4048">
                  <c:v>-2.5000000000000001E-5</c:v>
                </c:pt>
                <c:pt idx="4049">
                  <c:v>-2.5000000000000001E-5</c:v>
                </c:pt>
                <c:pt idx="4050">
                  <c:v>-2.5000000000000001E-5</c:v>
                </c:pt>
                <c:pt idx="4051">
                  <c:v>-1.5999999999999999E-5</c:v>
                </c:pt>
                <c:pt idx="4052">
                  <c:v>-1.5999999999999999E-5</c:v>
                </c:pt>
                <c:pt idx="4053">
                  <c:v>-1.5999999999999999E-5</c:v>
                </c:pt>
                <c:pt idx="4054">
                  <c:v>-1.5999999999999999E-5</c:v>
                </c:pt>
                <c:pt idx="4055">
                  <c:v>-1.5999999999999999E-5</c:v>
                </c:pt>
                <c:pt idx="4056">
                  <c:v>-1.5999999999999999E-5</c:v>
                </c:pt>
                <c:pt idx="4057">
                  <c:v>-6.0000000000000002E-6</c:v>
                </c:pt>
                <c:pt idx="4058">
                  <c:v>-6.0000000000000002E-6</c:v>
                </c:pt>
                <c:pt idx="4059">
                  <c:v>-6.0000000000000002E-6</c:v>
                </c:pt>
                <c:pt idx="4060">
                  <c:v>-6.0000000000000002E-6</c:v>
                </c:pt>
                <c:pt idx="4061">
                  <c:v>-6.0000000000000002E-6</c:v>
                </c:pt>
                <c:pt idx="4062">
                  <c:v>-6.0000000000000002E-6</c:v>
                </c:pt>
                <c:pt idx="4063">
                  <c:v>3.0000000000000001E-6</c:v>
                </c:pt>
                <c:pt idx="4064">
                  <c:v>3.0000000000000001E-6</c:v>
                </c:pt>
                <c:pt idx="4065">
                  <c:v>3.0000000000000001E-6</c:v>
                </c:pt>
                <c:pt idx="4066">
                  <c:v>3.0000000000000001E-6</c:v>
                </c:pt>
                <c:pt idx="4067">
                  <c:v>3.0000000000000001E-6</c:v>
                </c:pt>
                <c:pt idx="4068">
                  <c:v>7.5000000000000002E-6</c:v>
                </c:pt>
                <c:pt idx="4069">
                  <c:v>1.2E-5</c:v>
                </c:pt>
                <c:pt idx="4070">
                  <c:v>1.2E-5</c:v>
                </c:pt>
                <c:pt idx="4071">
                  <c:v>1.2E-5</c:v>
                </c:pt>
                <c:pt idx="4072">
                  <c:v>1.2E-5</c:v>
                </c:pt>
                <c:pt idx="4073">
                  <c:v>1.2E-5</c:v>
                </c:pt>
                <c:pt idx="4074">
                  <c:v>2.0999999999999999E-5</c:v>
                </c:pt>
                <c:pt idx="4075">
                  <c:v>2.0999999999999999E-5</c:v>
                </c:pt>
                <c:pt idx="4076">
                  <c:v>2.0999999999999999E-5</c:v>
                </c:pt>
                <c:pt idx="4077">
                  <c:v>2.0999999999999999E-5</c:v>
                </c:pt>
                <c:pt idx="4078">
                  <c:v>2.0999999999999999E-5</c:v>
                </c:pt>
                <c:pt idx="4079">
                  <c:v>2.0999999999999999E-5</c:v>
                </c:pt>
                <c:pt idx="4080">
                  <c:v>3.0000000000000001E-5</c:v>
                </c:pt>
                <c:pt idx="4081">
                  <c:v>3.0000000000000001E-5</c:v>
                </c:pt>
                <c:pt idx="4082">
                  <c:v>3.0000000000000001E-5</c:v>
                </c:pt>
                <c:pt idx="4083">
                  <c:v>3.0000000000000001E-5</c:v>
                </c:pt>
                <c:pt idx="4084">
                  <c:v>3.0000000000000001E-5</c:v>
                </c:pt>
                <c:pt idx="4085">
                  <c:v>3.0000000000000001E-5</c:v>
                </c:pt>
                <c:pt idx="4086">
                  <c:v>3.8999999999999999E-5</c:v>
                </c:pt>
                <c:pt idx="4087">
                  <c:v>3.8999999999999999E-5</c:v>
                </c:pt>
                <c:pt idx="4088">
                  <c:v>3.8999999999999999E-5</c:v>
                </c:pt>
                <c:pt idx="4089">
                  <c:v>3.8999999999999999E-5</c:v>
                </c:pt>
                <c:pt idx="4090">
                  <c:v>3.8999999999999999E-5</c:v>
                </c:pt>
                <c:pt idx="4091">
                  <c:v>3.8999999999999999E-5</c:v>
                </c:pt>
                <c:pt idx="4092">
                  <c:v>4.8000000000000001E-5</c:v>
                </c:pt>
                <c:pt idx="4093">
                  <c:v>4.8000000000000001E-5</c:v>
                </c:pt>
                <c:pt idx="4094">
                  <c:v>4.8000000000000001E-5</c:v>
                </c:pt>
                <c:pt idx="4095">
                  <c:v>4.8000000000000001E-5</c:v>
                </c:pt>
                <c:pt idx="4096">
                  <c:v>4.8000000000000001E-5</c:v>
                </c:pt>
                <c:pt idx="4097">
                  <c:v>5.3000000000000001E-5</c:v>
                </c:pt>
                <c:pt idx="4098">
                  <c:v>5.8E-5</c:v>
                </c:pt>
                <c:pt idx="4099">
                  <c:v>5.8E-5</c:v>
                </c:pt>
                <c:pt idx="4100">
                  <c:v>5.8E-5</c:v>
                </c:pt>
                <c:pt idx="4101">
                  <c:v>5.8E-5</c:v>
                </c:pt>
                <c:pt idx="4102">
                  <c:v>5.8E-5</c:v>
                </c:pt>
                <c:pt idx="4103">
                  <c:v>6.7000000000000002E-5</c:v>
                </c:pt>
                <c:pt idx="4104">
                  <c:v>6.7000000000000002E-5</c:v>
                </c:pt>
                <c:pt idx="4105">
                  <c:v>6.7000000000000002E-5</c:v>
                </c:pt>
                <c:pt idx="4106">
                  <c:v>6.7000000000000002E-5</c:v>
                </c:pt>
                <c:pt idx="4107">
                  <c:v>6.7000000000000002E-5</c:v>
                </c:pt>
                <c:pt idx="4108">
                  <c:v>6.7000000000000002E-5</c:v>
                </c:pt>
                <c:pt idx="4109">
                  <c:v>7.6000000000000004E-5</c:v>
                </c:pt>
                <c:pt idx="4110">
                  <c:v>7.6000000000000004E-5</c:v>
                </c:pt>
                <c:pt idx="4111">
                  <c:v>7.6000000000000004E-5</c:v>
                </c:pt>
                <c:pt idx="4112">
                  <c:v>7.6000000000000004E-5</c:v>
                </c:pt>
                <c:pt idx="4113">
                  <c:v>7.6000000000000004E-5</c:v>
                </c:pt>
                <c:pt idx="4114">
                  <c:v>7.6000000000000004E-5</c:v>
                </c:pt>
                <c:pt idx="4115">
                  <c:v>8.5000000000000006E-5</c:v>
                </c:pt>
                <c:pt idx="4116">
                  <c:v>8.5000000000000006E-5</c:v>
                </c:pt>
                <c:pt idx="4117">
                  <c:v>8.5000000000000006E-5</c:v>
                </c:pt>
                <c:pt idx="4118">
                  <c:v>8.5000000000000006E-5</c:v>
                </c:pt>
                <c:pt idx="4119">
                  <c:v>8.5000000000000006E-5</c:v>
                </c:pt>
                <c:pt idx="4120">
                  <c:v>8.9500000000000007E-5</c:v>
                </c:pt>
                <c:pt idx="4121">
                  <c:v>9.3999999999999994E-5</c:v>
                </c:pt>
                <c:pt idx="4122">
                  <c:v>9.3999999999999994E-5</c:v>
                </c:pt>
                <c:pt idx="4123">
                  <c:v>9.3999999999999994E-5</c:v>
                </c:pt>
                <c:pt idx="4124">
                  <c:v>9.3999999999999994E-5</c:v>
                </c:pt>
                <c:pt idx="4125">
                  <c:v>9.3999999999999994E-5</c:v>
                </c:pt>
                <c:pt idx="4126">
                  <c:v>9.8499999999999995E-5</c:v>
                </c:pt>
                <c:pt idx="4127">
                  <c:v>1.03E-4</c:v>
                </c:pt>
                <c:pt idx="4128">
                  <c:v>1.03E-4</c:v>
                </c:pt>
                <c:pt idx="4129">
                  <c:v>1.03E-4</c:v>
                </c:pt>
                <c:pt idx="4130">
                  <c:v>1.03E-4</c:v>
                </c:pt>
                <c:pt idx="4131">
                  <c:v>1.03E-4</c:v>
                </c:pt>
                <c:pt idx="4132">
                  <c:v>1.13E-4</c:v>
                </c:pt>
                <c:pt idx="4133">
                  <c:v>1.13E-4</c:v>
                </c:pt>
                <c:pt idx="4134">
                  <c:v>1.13E-4</c:v>
                </c:pt>
                <c:pt idx="4135">
                  <c:v>1.13E-4</c:v>
                </c:pt>
                <c:pt idx="4136">
                  <c:v>1.13E-4</c:v>
                </c:pt>
                <c:pt idx="4137">
                  <c:v>1.13E-4</c:v>
                </c:pt>
                <c:pt idx="4138">
                  <c:v>1.22E-4</c:v>
                </c:pt>
                <c:pt idx="4139">
                  <c:v>1.22E-4</c:v>
                </c:pt>
                <c:pt idx="4140">
                  <c:v>1.22E-4</c:v>
                </c:pt>
                <c:pt idx="4141">
                  <c:v>1.22E-4</c:v>
                </c:pt>
                <c:pt idx="4142">
                  <c:v>1.22E-4</c:v>
                </c:pt>
                <c:pt idx="4143">
                  <c:v>1.22E-4</c:v>
                </c:pt>
                <c:pt idx="4144">
                  <c:v>1.3100000000000001E-4</c:v>
                </c:pt>
                <c:pt idx="4145">
                  <c:v>1.3100000000000001E-4</c:v>
                </c:pt>
                <c:pt idx="4146">
                  <c:v>1.3100000000000001E-4</c:v>
                </c:pt>
                <c:pt idx="4147">
                  <c:v>1.3100000000000001E-4</c:v>
                </c:pt>
                <c:pt idx="4148">
                  <c:v>1.3100000000000001E-4</c:v>
                </c:pt>
                <c:pt idx="4149">
                  <c:v>1.3549999999999999E-4</c:v>
                </c:pt>
                <c:pt idx="4150">
                  <c:v>1.3999999999999999E-4</c:v>
                </c:pt>
                <c:pt idx="4151">
                  <c:v>1.3999999999999999E-4</c:v>
                </c:pt>
                <c:pt idx="4152">
                  <c:v>1.3999999999999999E-4</c:v>
                </c:pt>
                <c:pt idx="4153">
                  <c:v>1.3999999999999999E-4</c:v>
                </c:pt>
                <c:pt idx="4154">
                  <c:v>1.3999999999999999E-4</c:v>
                </c:pt>
                <c:pt idx="4155">
                  <c:v>1.4899999999999999E-4</c:v>
                </c:pt>
                <c:pt idx="4156">
                  <c:v>1.4899999999999999E-4</c:v>
                </c:pt>
                <c:pt idx="4157">
                  <c:v>1.4899999999999999E-4</c:v>
                </c:pt>
                <c:pt idx="4158">
                  <c:v>1.4899999999999999E-4</c:v>
                </c:pt>
                <c:pt idx="4159">
                  <c:v>1.4899999999999999E-4</c:v>
                </c:pt>
                <c:pt idx="4160">
                  <c:v>1.4899999999999999E-4</c:v>
                </c:pt>
                <c:pt idx="4161">
                  <c:v>1.5799999999999999E-4</c:v>
                </c:pt>
                <c:pt idx="4162">
                  <c:v>1.5799999999999999E-4</c:v>
                </c:pt>
                <c:pt idx="4163">
                  <c:v>1.5799999999999999E-4</c:v>
                </c:pt>
                <c:pt idx="4164">
                  <c:v>1.5799999999999999E-4</c:v>
                </c:pt>
                <c:pt idx="4165">
                  <c:v>1.5799999999999999E-4</c:v>
                </c:pt>
                <c:pt idx="4166">
                  <c:v>1.5799999999999999E-4</c:v>
                </c:pt>
                <c:pt idx="4167">
                  <c:v>1.6799999999999999E-4</c:v>
                </c:pt>
                <c:pt idx="4168">
                  <c:v>1.6799999999999999E-4</c:v>
                </c:pt>
                <c:pt idx="4169">
                  <c:v>1.6799999999999999E-4</c:v>
                </c:pt>
                <c:pt idx="4170">
                  <c:v>1.6799999999999999E-4</c:v>
                </c:pt>
                <c:pt idx="4171">
                  <c:v>1.6799999999999999E-4</c:v>
                </c:pt>
                <c:pt idx="4172">
                  <c:v>1.6799999999999999E-4</c:v>
                </c:pt>
                <c:pt idx="4173">
                  <c:v>1.7699999999999999E-4</c:v>
                </c:pt>
                <c:pt idx="4174">
                  <c:v>1.7699999999999999E-4</c:v>
                </c:pt>
                <c:pt idx="4175">
                  <c:v>1.7699999999999999E-4</c:v>
                </c:pt>
                <c:pt idx="4176">
                  <c:v>1.7699999999999999E-4</c:v>
                </c:pt>
                <c:pt idx="4177">
                  <c:v>1.7699999999999999E-4</c:v>
                </c:pt>
                <c:pt idx="4178">
                  <c:v>1.8149999999999999E-4</c:v>
                </c:pt>
                <c:pt idx="4179">
                  <c:v>1.8599999999999999E-4</c:v>
                </c:pt>
                <c:pt idx="4180">
                  <c:v>1.8599999999999999E-4</c:v>
                </c:pt>
                <c:pt idx="4181">
                  <c:v>1.8599999999999999E-4</c:v>
                </c:pt>
                <c:pt idx="4182">
                  <c:v>1.8599999999999999E-4</c:v>
                </c:pt>
                <c:pt idx="4183">
                  <c:v>1.8599999999999999E-4</c:v>
                </c:pt>
                <c:pt idx="4184">
                  <c:v>1.95E-4</c:v>
                </c:pt>
                <c:pt idx="4185">
                  <c:v>1.95E-4</c:v>
                </c:pt>
                <c:pt idx="4186">
                  <c:v>1.95E-4</c:v>
                </c:pt>
                <c:pt idx="4187">
                  <c:v>1.95E-4</c:v>
                </c:pt>
                <c:pt idx="4188">
                  <c:v>1.95E-4</c:v>
                </c:pt>
                <c:pt idx="4189">
                  <c:v>1.95E-4</c:v>
                </c:pt>
                <c:pt idx="4190">
                  <c:v>2.04E-4</c:v>
                </c:pt>
                <c:pt idx="4191">
                  <c:v>2.04E-4</c:v>
                </c:pt>
                <c:pt idx="4192">
                  <c:v>2.04E-4</c:v>
                </c:pt>
                <c:pt idx="4193">
                  <c:v>2.04E-4</c:v>
                </c:pt>
                <c:pt idx="4194">
                  <c:v>2.04E-4</c:v>
                </c:pt>
                <c:pt idx="4195">
                  <c:v>2.04E-4</c:v>
                </c:pt>
                <c:pt idx="4196">
                  <c:v>2.13E-4</c:v>
                </c:pt>
                <c:pt idx="4197">
                  <c:v>2.13E-4</c:v>
                </c:pt>
                <c:pt idx="4198">
                  <c:v>2.13E-4</c:v>
                </c:pt>
                <c:pt idx="4199">
                  <c:v>2.13E-4</c:v>
                </c:pt>
                <c:pt idx="4200">
                  <c:v>2.13E-4</c:v>
                </c:pt>
                <c:pt idx="4201">
                  <c:v>2.175E-4</c:v>
                </c:pt>
                <c:pt idx="4202">
                  <c:v>2.22E-4</c:v>
                </c:pt>
                <c:pt idx="4203">
                  <c:v>2.22E-4</c:v>
                </c:pt>
                <c:pt idx="4204">
                  <c:v>2.22E-4</c:v>
                </c:pt>
                <c:pt idx="4205">
                  <c:v>2.22E-4</c:v>
                </c:pt>
                <c:pt idx="4206">
                  <c:v>2.22E-4</c:v>
                </c:pt>
                <c:pt idx="4207">
                  <c:v>2.2699999999999999E-4</c:v>
                </c:pt>
                <c:pt idx="4208">
                  <c:v>2.32E-4</c:v>
                </c:pt>
                <c:pt idx="4209">
                  <c:v>2.32E-4</c:v>
                </c:pt>
                <c:pt idx="4210">
                  <c:v>2.32E-4</c:v>
                </c:pt>
                <c:pt idx="4211">
                  <c:v>2.32E-4</c:v>
                </c:pt>
                <c:pt idx="4212">
                  <c:v>2.32E-4</c:v>
                </c:pt>
                <c:pt idx="4213">
                  <c:v>2.41E-4</c:v>
                </c:pt>
                <c:pt idx="4214">
                  <c:v>2.41E-4</c:v>
                </c:pt>
                <c:pt idx="4215">
                  <c:v>2.41E-4</c:v>
                </c:pt>
                <c:pt idx="4216">
                  <c:v>2.41E-4</c:v>
                </c:pt>
                <c:pt idx="4217">
                  <c:v>2.41E-4</c:v>
                </c:pt>
                <c:pt idx="4218">
                  <c:v>2.41E-4</c:v>
                </c:pt>
                <c:pt idx="4219">
                  <c:v>2.5000000000000001E-4</c:v>
                </c:pt>
                <c:pt idx="4220">
                  <c:v>2.5000000000000001E-4</c:v>
                </c:pt>
                <c:pt idx="4221">
                  <c:v>2.5000000000000001E-4</c:v>
                </c:pt>
                <c:pt idx="4222">
                  <c:v>2.5000000000000001E-4</c:v>
                </c:pt>
                <c:pt idx="4223">
                  <c:v>2.5000000000000001E-4</c:v>
                </c:pt>
                <c:pt idx="4224">
                  <c:v>2.5000000000000001E-4</c:v>
                </c:pt>
                <c:pt idx="4225">
                  <c:v>2.5900000000000001E-4</c:v>
                </c:pt>
                <c:pt idx="4226">
                  <c:v>2.5900000000000001E-4</c:v>
                </c:pt>
                <c:pt idx="4227">
                  <c:v>2.5900000000000001E-4</c:v>
                </c:pt>
                <c:pt idx="4228">
                  <c:v>2.5900000000000001E-4</c:v>
                </c:pt>
                <c:pt idx="4229">
                  <c:v>2.5900000000000001E-4</c:v>
                </c:pt>
                <c:pt idx="4230">
                  <c:v>2.6350000000000001E-4</c:v>
                </c:pt>
                <c:pt idx="4231">
                  <c:v>2.6800000000000001E-4</c:v>
                </c:pt>
                <c:pt idx="4232">
                  <c:v>2.6800000000000001E-4</c:v>
                </c:pt>
                <c:pt idx="4233">
                  <c:v>2.6800000000000001E-4</c:v>
                </c:pt>
                <c:pt idx="4234">
                  <c:v>2.6800000000000001E-4</c:v>
                </c:pt>
                <c:pt idx="4235">
                  <c:v>2.6800000000000001E-4</c:v>
                </c:pt>
                <c:pt idx="4236">
                  <c:v>2.7250000000000001E-4</c:v>
                </c:pt>
                <c:pt idx="4237">
                  <c:v>2.7700000000000001E-4</c:v>
                </c:pt>
                <c:pt idx="4238">
                  <c:v>2.7700000000000001E-4</c:v>
                </c:pt>
                <c:pt idx="4239">
                  <c:v>2.7700000000000001E-4</c:v>
                </c:pt>
                <c:pt idx="4240">
                  <c:v>2.7700000000000001E-4</c:v>
                </c:pt>
                <c:pt idx="4241">
                  <c:v>2.7700000000000001E-4</c:v>
                </c:pt>
                <c:pt idx="4242">
                  <c:v>2.8699999999999998E-4</c:v>
                </c:pt>
                <c:pt idx="4243">
                  <c:v>2.8699999999999998E-4</c:v>
                </c:pt>
                <c:pt idx="4244">
                  <c:v>2.8699999999999998E-4</c:v>
                </c:pt>
                <c:pt idx="4245">
                  <c:v>2.8699999999999998E-4</c:v>
                </c:pt>
                <c:pt idx="4246">
                  <c:v>2.8699999999999998E-4</c:v>
                </c:pt>
                <c:pt idx="4247">
                  <c:v>2.8699999999999998E-4</c:v>
                </c:pt>
                <c:pt idx="4248">
                  <c:v>2.9599999999999998E-4</c:v>
                </c:pt>
                <c:pt idx="4249">
                  <c:v>2.9599999999999998E-4</c:v>
                </c:pt>
                <c:pt idx="4250">
                  <c:v>2.9599999999999998E-4</c:v>
                </c:pt>
                <c:pt idx="4251">
                  <c:v>2.9599999999999998E-4</c:v>
                </c:pt>
                <c:pt idx="4252">
                  <c:v>2.9599999999999998E-4</c:v>
                </c:pt>
                <c:pt idx="4253">
                  <c:v>2.9599999999999998E-4</c:v>
                </c:pt>
                <c:pt idx="4254">
                  <c:v>3.0499999999999999E-4</c:v>
                </c:pt>
                <c:pt idx="4255">
                  <c:v>3.0499999999999999E-4</c:v>
                </c:pt>
                <c:pt idx="4256">
                  <c:v>3.0499999999999999E-4</c:v>
                </c:pt>
                <c:pt idx="4257">
                  <c:v>3.0499999999999999E-4</c:v>
                </c:pt>
                <c:pt idx="4258">
                  <c:v>3.0499999999999999E-4</c:v>
                </c:pt>
                <c:pt idx="4259">
                  <c:v>3.0949999999999999E-4</c:v>
                </c:pt>
                <c:pt idx="4260">
                  <c:v>3.1399999999999999E-4</c:v>
                </c:pt>
                <c:pt idx="4261">
                  <c:v>3.1399999999999999E-4</c:v>
                </c:pt>
                <c:pt idx="4262">
                  <c:v>3.1399999999999999E-4</c:v>
                </c:pt>
                <c:pt idx="4263">
                  <c:v>3.1399999999999999E-4</c:v>
                </c:pt>
                <c:pt idx="4264">
                  <c:v>3.1399999999999999E-4</c:v>
                </c:pt>
                <c:pt idx="4265">
                  <c:v>3.2299999999999999E-4</c:v>
                </c:pt>
                <c:pt idx="4266">
                  <c:v>3.2299999999999999E-4</c:v>
                </c:pt>
                <c:pt idx="4267">
                  <c:v>3.2299999999999999E-4</c:v>
                </c:pt>
                <c:pt idx="4268">
                  <c:v>3.2299999999999999E-4</c:v>
                </c:pt>
                <c:pt idx="4269">
                  <c:v>3.2299999999999999E-4</c:v>
                </c:pt>
                <c:pt idx="4270">
                  <c:v>3.2299999999999999E-4</c:v>
                </c:pt>
                <c:pt idx="4271">
                  <c:v>3.3199999999999999E-4</c:v>
                </c:pt>
                <c:pt idx="4272">
                  <c:v>3.3199999999999999E-4</c:v>
                </c:pt>
                <c:pt idx="4273">
                  <c:v>3.3199999999999999E-4</c:v>
                </c:pt>
                <c:pt idx="4274">
                  <c:v>3.3199999999999999E-4</c:v>
                </c:pt>
                <c:pt idx="4275">
                  <c:v>3.3199999999999999E-4</c:v>
                </c:pt>
                <c:pt idx="4276">
                  <c:v>3.3199999999999999E-4</c:v>
                </c:pt>
                <c:pt idx="4277">
                  <c:v>3.4200000000000002E-4</c:v>
                </c:pt>
                <c:pt idx="4278">
                  <c:v>3.4200000000000002E-4</c:v>
                </c:pt>
                <c:pt idx="4279">
                  <c:v>3.4200000000000002E-4</c:v>
                </c:pt>
                <c:pt idx="4280">
                  <c:v>3.4200000000000002E-4</c:v>
                </c:pt>
                <c:pt idx="4281">
                  <c:v>3.4200000000000002E-4</c:v>
                </c:pt>
                <c:pt idx="4282">
                  <c:v>3.4200000000000002E-4</c:v>
                </c:pt>
                <c:pt idx="4283">
                  <c:v>3.5100000000000002E-4</c:v>
                </c:pt>
                <c:pt idx="4284">
                  <c:v>3.5100000000000002E-4</c:v>
                </c:pt>
                <c:pt idx="4285">
                  <c:v>3.5100000000000002E-4</c:v>
                </c:pt>
                <c:pt idx="4286">
                  <c:v>3.5100000000000002E-4</c:v>
                </c:pt>
                <c:pt idx="4287">
                  <c:v>3.5100000000000002E-4</c:v>
                </c:pt>
                <c:pt idx="4288">
                  <c:v>3.5550000000000002E-4</c:v>
                </c:pt>
                <c:pt idx="4289">
                  <c:v>3.6000000000000002E-4</c:v>
                </c:pt>
                <c:pt idx="4290">
                  <c:v>3.6000000000000002E-4</c:v>
                </c:pt>
                <c:pt idx="4291">
                  <c:v>3.6000000000000002E-4</c:v>
                </c:pt>
                <c:pt idx="4292">
                  <c:v>3.6000000000000002E-4</c:v>
                </c:pt>
                <c:pt idx="4293">
                  <c:v>3.6000000000000002E-4</c:v>
                </c:pt>
                <c:pt idx="4294">
                  <c:v>3.6900000000000002E-4</c:v>
                </c:pt>
                <c:pt idx="4295">
                  <c:v>3.6900000000000002E-4</c:v>
                </c:pt>
                <c:pt idx="4296">
                  <c:v>3.6900000000000002E-4</c:v>
                </c:pt>
                <c:pt idx="4297">
                  <c:v>3.6900000000000002E-4</c:v>
                </c:pt>
                <c:pt idx="4298">
                  <c:v>3.6900000000000002E-4</c:v>
                </c:pt>
                <c:pt idx="4299">
                  <c:v>3.6900000000000002E-4</c:v>
                </c:pt>
                <c:pt idx="4300">
                  <c:v>3.7800000000000003E-4</c:v>
                </c:pt>
                <c:pt idx="4301">
                  <c:v>3.7800000000000003E-4</c:v>
                </c:pt>
                <c:pt idx="4302">
                  <c:v>3.7800000000000003E-4</c:v>
                </c:pt>
                <c:pt idx="4303">
                  <c:v>3.7800000000000003E-4</c:v>
                </c:pt>
                <c:pt idx="4304">
                  <c:v>3.7800000000000003E-4</c:v>
                </c:pt>
                <c:pt idx="4305">
                  <c:v>3.7800000000000003E-4</c:v>
                </c:pt>
                <c:pt idx="4306">
                  <c:v>3.8699999999999997E-4</c:v>
                </c:pt>
                <c:pt idx="4307">
                  <c:v>3.8699999999999997E-4</c:v>
                </c:pt>
                <c:pt idx="4308">
                  <c:v>3.8699999999999997E-4</c:v>
                </c:pt>
                <c:pt idx="4309">
                  <c:v>3.8699999999999997E-4</c:v>
                </c:pt>
                <c:pt idx="4310">
                  <c:v>3.8699999999999997E-4</c:v>
                </c:pt>
                <c:pt idx="4311">
                  <c:v>3.9149999999999998E-4</c:v>
                </c:pt>
                <c:pt idx="4312">
                  <c:v>3.9599999999999998E-4</c:v>
                </c:pt>
                <c:pt idx="4313">
                  <c:v>3.9599999999999998E-4</c:v>
                </c:pt>
                <c:pt idx="4314">
                  <c:v>3.9599999999999998E-4</c:v>
                </c:pt>
                <c:pt idx="4315">
                  <c:v>3.9599999999999998E-4</c:v>
                </c:pt>
                <c:pt idx="4316">
                  <c:v>3.9599999999999998E-4</c:v>
                </c:pt>
                <c:pt idx="4317">
                  <c:v>4.0099999999999999E-4</c:v>
                </c:pt>
                <c:pt idx="4318">
                  <c:v>4.06E-4</c:v>
                </c:pt>
                <c:pt idx="4319">
                  <c:v>4.06E-4</c:v>
                </c:pt>
                <c:pt idx="4320">
                  <c:v>4.06E-4</c:v>
                </c:pt>
                <c:pt idx="4321">
                  <c:v>4.06E-4</c:v>
                </c:pt>
                <c:pt idx="4322">
                  <c:v>4.06E-4</c:v>
                </c:pt>
                <c:pt idx="4323">
                  <c:v>4.15E-4</c:v>
                </c:pt>
                <c:pt idx="4324">
                  <c:v>4.15E-4</c:v>
                </c:pt>
                <c:pt idx="4325">
                  <c:v>4.15E-4</c:v>
                </c:pt>
                <c:pt idx="4326">
                  <c:v>4.15E-4</c:v>
                </c:pt>
                <c:pt idx="4327">
                  <c:v>4.15E-4</c:v>
                </c:pt>
                <c:pt idx="4328">
                  <c:v>4.15E-4</c:v>
                </c:pt>
                <c:pt idx="4329">
                  <c:v>4.2400000000000001E-4</c:v>
                </c:pt>
                <c:pt idx="4330">
                  <c:v>4.2400000000000001E-4</c:v>
                </c:pt>
                <c:pt idx="4331">
                  <c:v>4.2400000000000001E-4</c:v>
                </c:pt>
                <c:pt idx="4332">
                  <c:v>4.2400000000000001E-4</c:v>
                </c:pt>
                <c:pt idx="4333">
                  <c:v>4.2400000000000001E-4</c:v>
                </c:pt>
                <c:pt idx="4334">
                  <c:v>4.2400000000000001E-4</c:v>
                </c:pt>
                <c:pt idx="4335">
                  <c:v>4.3300000000000001E-4</c:v>
                </c:pt>
                <c:pt idx="4336">
                  <c:v>4.3300000000000001E-4</c:v>
                </c:pt>
                <c:pt idx="4337">
                  <c:v>4.3300000000000001E-4</c:v>
                </c:pt>
                <c:pt idx="4338">
                  <c:v>4.3300000000000001E-4</c:v>
                </c:pt>
                <c:pt idx="4339">
                  <c:v>4.3300000000000001E-4</c:v>
                </c:pt>
                <c:pt idx="4340">
                  <c:v>4.3750000000000001E-4</c:v>
                </c:pt>
                <c:pt idx="4341">
                  <c:v>4.4200000000000001E-4</c:v>
                </c:pt>
                <c:pt idx="4342">
                  <c:v>4.4200000000000001E-4</c:v>
                </c:pt>
                <c:pt idx="4343">
                  <c:v>4.4200000000000001E-4</c:v>
                </c:pt>
                <c:pt idx="4344">
                  <c:v>4.4200000000000001E-4</c:v>
                </c:pt>
                <c:pt idx="4345">
                  <c:v>4.4200000000000001E-4</c:v>
                </c:pt>
                <c:pt idx="4346">
                  <c:v>4.5100000000000001E-4</c:v>
                </c:pt>
                <c:pt idx="4347">
                  <c:v>4.5100000000000001E-4</c:v>
                </c:pt>
                <c:pt idx="4348">
                  <c:v>4.5100000000000001E-4</c:v>
                </c:pt>
                <c:pt idx="4349">
                  <c:v>4.5100000000000001E-4</c:v>
                </c:pt>
                <c:pt idx="4350">
                  <c:v>4.5100000000000001E-4</c:v>
                </c:pt>
                <c:pt idx="4351">
                  <c:v>4.5100000000000001E-4</c:v>
                </c:pt>
                <c:pt idx="4352">
                  <c:v>4.6099999999999998E-4</c:v>
                </c:pt>
                <c:pt idx="4353">
                  <c:v>4.6099999999999998E-4</c:v>
                </c:pt>
                <c:pt idx="4354">
                  <c:v>4.6099999999999998E-4</c:v>
                </c:pt>
                <c:pt idx="4355">
                  <c:v>4.6099999999999998E-4</c:v>
                </c:pt>
                <c:pt idx="4356">
                  <c:v>4.6099999999999998E-4</c:v>
                </c:pt>
                <c:pt idx="4357">
                  <c:v>4.6099999999999998E-4</c:v>
                </c:pt>
                <c:pt idx="4358">
                  <c:v>4.6999999999999999E-4</c:v>
                </c:pt>
                <c:pt idx="4359">
                  <c:v>4.6999999999999999E-4</c:v>
                </c:pt>
                <c:pt idx="4360">
                  <c:v>4.6999999999999999E-4</c:v>
                </c:pt>
                <c:pt idx="4361">
                  <c:v>4.6999999999999999E-4</c:v>
                </c:pt>
                <c:pt idx="4362">
                  <c:v>4.6999999999999999E-4</c:v>
                </c:pt>
                <c:pt idx="4363">
                  <c:v>4.6999999999999999E-4</c:v>
                </c:pt>
                <c:pt idx="4364">
                  <c:v>4.7899999999999999E-4</c:v>
                </c:pt>
                <c:pt idx="4365">
                  <c:v>4.7899999999999999E-4</c:v>
                </c:pt>
                <c:pt idx="4366">
                  <c:v>4.7899999999999999E-4</c:v>
                </c:pt>
                <c:pt idx="4367">
                  <c:v>4.7899999999999999E-4</c:v>
                </c:pt>
                <c:pt idx="4368">
                  <c:v>4.7899999999999999E-4</c:v>
                </c:pt>
                <c:pt idx="4369">
                  <c:v>4.8349999999999999E-4</c:v>
                </c:pt>
                <c:pt idx="4370">
                  <c:v>4.8799999999999999E-4</c:v>
                </c:pt>
                <c:pt idx="4371">
                  <c:v>4.8799999999999999E-4</c:v>
                </c:pt>
                <c:pt idx="4372">
                  <c:v>4.8799999999999999E-4</c:v>
                </c:pt>
                <c:pt idx="4373">
                  <c:v>4.8799999999999999E-4</c:v>
                </c:pt>
                <c:pt idx="4374">
                  <c:v>4.8799999999999999E-4</c:v>
                </c:pt>
                <c:pt idx="4375">
                  <c:v>4.9700000000000005E-4</c:v>
                </c:pt>
                <c:pt idx="4376">
                  <c:v>4.9700000000000005E-4</c:v>
                </c:pt>
                <c:pt idx="4377">
                  <c:v>4.9700000000000005E-4</c:v>
                </c:pt>
                <c:pt idx="4378">
                  <c:v>4.9700000000000005E-4</c:v>
                </c:pt>
                <c:pt idx="4379">
                  <c:v>4.9700000000000005E-4</c:v>
                </c:pt>
                <c:pt idx="4380">
                  <c:v>4.9700000000000005E-4</c:v>
                </c:pt>
                <c:pt idx="4381">
                  <c:v>5.0600000000000005E-4</c:v>
                </c:pt>
                <c:pt idx="4382">
                  <c:v>5.0600000000000005E-4</c:v>
                </c:pt>
                <c:pt idx="4383">
                  <c:v>5.0600000000000005E-4</c:v>
                </c:pt>
                <c:pt idx="4384">
                  <c:v>5.0600000000000005E-4</c:v>
                </c:pt>
                <c:pt idx="4385">
                  <c:v>5.0600000000000005E-4</c:v>
                </c:pt>
                <c:pt idx="4386">
                  <c:v>5.0600000000000005E-4</c:v>
                </c:pt>
                <c:pt idx="4387">
                  <c:v>5.1000000000000004E-4</c:v>
                </c:pt>
                <c:pt idx="4388">
                  <c:v>5.1000000000000004E-4</c:v>
                </c:pt>
                <c:pt idx="4389">
                  <c:v>5.1000000000000004E-4</c:v>
                </c:pt>
                <c:pt idx="4390">
                  <c:v>5.1000000000000004E-4</c:v>
                </c:pt>
                <c:pt idx="4391">
                  <c:v>5.1000000000000004E-4</c:v>
                </c:pt>
                <c:pt idx="4392">
                  <c:v>5.0149999999999999E-4</c:v>
                </c:pt>
                <c:pt idx="4393">
                  <c:v>4.9299999999999995E-4</c:v>
                </c:pt>
                <c:pt idx="4394">
                  <c:v>4.9299999999999995E-4</c:v>
                </c:pt>
                <c:pt idx="4395">
                  <c:v>4.9299999999999995E-4</c:v>
                </c:pt>
                <c:pt idx="4396">
                  <c:v>4.9299999999999995E-4</c:v>
                </c:pt>
                <c:pt idx="4397">
                  <c:v>4.9299999999999995E-4</c:v>
                </c:pt>
                <c:pt idx="4398">
                  <c:v>4.6299999999999998E-4</c:v>
                </c:pt>
                <c:pt idx="4399">
                  <c:v>4.3300000000000001E-4</c:v>
                </c:pt>
                <c:pt idx="4400">
                  <c:v>4.3300000000000001E-4</c:v>
                </c:pt>
                <c:pt idx="4401">
                  <c:v>4.3300000000000001E-4</c:v>
                </c:pt>
                <c:pt idx="4402">
                  <c:v>4.3300000000000001E-4</c:v>
                </c:pt>
                <c:pt idx="4403">
                  <c:v>4.3300000000000001E-4</c:v>
                </c:pt>
                <c:pt idx="4404">
                  <c:v>3.1100000000000002E-4</c:v>
                </c:pt>
                <c:pt idx="4405">
                  <c:v>3.1100000000000002E-4</c:v>
                </c:pt>
                <c:pt idx="4406">
                  <c:v>3.1100000000000002E-4</c:v>
                </c:pt>
                <c:pt idx="4407">
                  <c:v>3.1100000000000002E-4</c:v>
                </c:pt>
                <c:pt idx="4408">
                  <c:v>3.1100000000000002E-4</c:v>
                </c:pt>
                <c:pt idx="4409">
                  <c:v>3.1100000000000002E-4</c:v>
                </c:pt>
                <c:pt idx="4410">
                  <c:v>1.17E-4</c:v>
                </c:pt>
                <c:pt idx="4411">
                  <c:v>1.17E-4</c:v>
                </c:pt>
                <c:pt idx="4412">
                  <c:v>1.17E-4</c:v>
                </c:pt>
                <c:pt idx="4413">
                  <c:v>1.17E-4</c:v>
                </c:pt>
                <c:pt idx="4414">
                  <c:v>1.17E-4</c:v>
                </c:pt>
                <c:pt idx="4415">
                  <c:v>1.17E-4</c:v>
                </c:pt>
                <c:pt idx="4416">
                  <c:v>-1.4999999999999999E-4</c:v>
                </c:pt>
                <c:pt idx="4417">
                  <c:v>-1.4999999999999999E-4</c:v>
                </c:pt>
                <c:pt idx="4418">
                  <c:v>-1.4999999999999999E-4</c:v>
                </c:pt>
                <c:pt idx="4419">
                  <c:v>-1.4999999999999999E-4</c:v>
                </c:pt>
                <c:pt idx="4420">
                  <c:v>-1.4999999999999999E-4</c:v>
                </c:pt>
                <c:pt idx="4421">
                  <c:v>-3.145E-4</c:v>
                </c:pt>
                <c:pt idx="4422">
                  <c:v>-4.7899999999999999E-4</c:v>
                </c:pt>
                <c:pt idx="4423">
                  <c:v>-4.7899999999999999E-4</c:v>
                </c:pt>
                <c:pt idx="4424">
                  <c:v>-4.7899999999999999E-4</c:v>
                </c:pt>
                <c:pt idx="4425">
                  <c:v>-4.7899999999999999E-4</c:v>
                </c:pt>
                <c:pt idx="4426">
                  <c:v>-4.7899999999999999E-4</c:v>
                </c:pt>
                <c:pt idx="4427">
                  <c:v>-6.5899999999999997E-4</c:v>
                </c:pt>
                <c:pt idx="4428">
                  <c:v>-8.3900000000000001E-4</c:v>
                </c:pt>
                <c:pt idx="4429">
                  <c:v>-8.3900000000000001E-4</c:v>
                </c:pt>
                <c:pt idx="4430">
                  <c:v>-8.3900000000000001E-4</c:v>
                </c:pt>
                <c:pt idx="4431">
                  <c:v>-8.3900000000000001E-4</c:v>
                </c:pt>
                <c:pt idx="4432">
                  <c:v>-8.3900000000000001E-4</c:v>
                </c:pt>
                <c:pt idx="4433">
                  <c:v>-1.1869999999999999E-3</c:v>
                </c:pt>
                <c:pt idx="4434">
                  <c:v>-1.1869999999999999E-3</c:v>
                </c:pt>
                <c:pt idx="4435">
                  <c:v>-1.1869999999999999E-3</c:v>
                </c:pt>
                <c:pt idx="4436">
                  <c:v>-1.1869999999999999E-3</c:v>
                </c:pt>
                <c:pt idx="4437">
                  <c:v>-1.1869999999999999E-3</c:v>
                </c:pt>
                <c:pt idx="4438">
                  <c:v>-1.1869999999999999E-3</c:v>
                </c:pt>
                <c:pt idx="4439">
                  <c:v>-1.4840000000000001E-3</c:v>
                </c:pt>
                <c:pt idx="4440">
                  <c:v>-1.4840000000000001E-3</c:v>
                </c:pt>
                <c:pt idx="4441">
                  <c:v>-1.4840000000000001E-3</c:v>
                </c:pt>
                <c:pt idx="4442">
                  <c:v>-1.4840000000000001E-3</c:v>
                </c:pt>
                <c:pt idx="4443">
                  <c:v>-1.4840000000000001E-3</c:v>
                </c:pt>
                <c:pt idx="4444">
                  <c:v>-1.4840000000000001E-3</c:v>
                </c:pt>
                <c:pt idx="4445">
                  <c:v>-1.7110000000000001E-3</c:v>
                </c:pt>
                <c:pt idx="4446">
                  <c:v>-1.7110000000000001E-3</c:v>
                </c:pt>
                <c:pt idx="4447">
                  <c:v>-1.7110000000000001E-3</c:v>
                </c:pt>
                <c:pt idx="4448">
                  <c:v>-1.7110000000000001E-3</c:v>
                </c:pt>
                <c:pt idx="4449">
                  <c:v>-1.7110000000000001E-3</c:v>
                </c:pt>
                <c:pt idx="4450">
                  <c:v>-1.091E-3</c:v>
                </c:pt>
                <c:pt idx="4451">
                  <c:v>-4.7100000000000001E-4</c:v>
                </c:pt>
                <c:pt idx="4452">
                  <c:v>-4.7100000000000001E-4</c:v>
                </c:pt>
                <c:pt idx="4453">
                  <c:v>-4.7100000000000001E-4</c:v>
                </c:pt>
                <c:pt idx="4454">
                  <c:v>-4.7100000000000001E-4</c:v>
                </c:pt>
                <c:pt idx="4455">
                  <c:v>-4.7100000000000001E-4</c:v>
                </c:pt>
                <c:pt idx="4456">
                  <c:v>3.0438E-2</c:v>
                </c:pt>
                <c:pt idx="4457">
                  <c:v>3.0438E-2</c:v>
                </c:pt>
                <c:pt idx="4458">
                  <c:v>3.0438E-2</c:v>
                </c:pt>
                <c:pt idx="4459">
                  <c:v>3.0438E-2</c:v>
                </c:pt>
                <c:pt idx="4460">
                  <c:v>3.0438E-2</c:v>
                </c:pt>
                <c:pt idx="4461">
                  <c:v>3.0438E-2</c:v>
                </c:pt>
                <c:pt idx="4462">
                  <c:v>8.9777999999999997E-2</c:v>
                </c:pt>
                <c:pt idx="4463">
                  <c:v>8.9777999999999997E-2</c:v>
                </c:pt>
                <c:pt idx="4464">
                  <c:v>8.9777999999999997E-2</c:v>
                </c:pt>
                <c:pt idx="4465">
                  <c:v>8.9777999999999997E-2</c:v>
                </c:pt>
                <c:pt idx="4466">
                  <c:v>8.9777999999999997E-2</c:v>
                </c:pt>
                <c:pt idx="4467">
                  <c:v>8.9777999999999997E-2</c:v>
                </c:pt>
                <c:pt idx="4468">
                  <c:v>0.178121</c:v>
                </c:pt>
                <c:pt idx="4469">
                  <c:v>0.178121</c:v>
                </c:pt>
                <c:pt idx="4470">
                  <c:v>0.178121</c:v>
                </c:pt>
                <c:pt idx="4471">
                  <c:v>0.178121</c:v>
                </c:pt>
                <c:pt idx="4472">
                  <c:v>0.178121</c:v>
                </c:pt>
                <c:pt idx="4473">
                  <c:v>0.178121</c:v>
                </c:pt>
                <c:pt idx="4474">
                  <c:v>0.28856799999999999</c:v>
                </c:pt>
                <c:pt idx="4475">
                  <c:v>0.28856799999999999</c:v>
                </c:pt>
                <c:pt idx="4476">
                  <c:v>0.28856799999999999</c:v>
                </c:pt>
                <c:pt idx="4477">
                  <c:v>0.28856799999999999</c:v>
                </c:pt>
                <c:pt idx="4478">
                  <c:v>0.28856799999999999</c:v>
                </c:pt>
                <c:pt idx="4479">
                  <c:v>0.36308249999999997</c:v>
                </c:pt>
                <c:pt idx="4480">
                  <c:v>0.43759700000000001</c:v>
                </c:pt>
                <c:pt idx="4481">
                  <c:v>0.43759700000000001</c:v>
                </c:pt>
                <c:pt idx="4482">
                  <c:v>0.43759700000000001</c:v>
                </c:pt>
                <c:pt idx="4483">
                  <c:v>0.43759700000000001</c:v>
                </c:pt>
                <c:pt idx="4484">
                  <c:v>0.43759700000000001</c:v>
                </c:pt>
                <c:pt idx="4485">
                  <c:v>0.64427400000000001</c:v>
                </c:pt>
                <c:pt idx="4486">
                  <c:v>0.64427400000000001</c:v>
                </c:pt>
                <c:pt idx="4487">
                  <c:v>0.64427400000000001</c:v>
                </c:pt>
                <c:pt idx="4488">
                  <c:v>0.64427400000000001</c:v>
                </c:pt>
                <c:pt idx="4489">
                  <c:v>0.64427400000000001</c:v>
                </c:pt>
                <c:pt idx="4490">
                  <c:v>0.64427400000000001</c:v>
                </c:pt>
                <c:pt idx="4491">
                  <c:v>1.050562</c:v>
                </c:pt>
                <c:pt idx="4492">
                  <c:v>1.050562</c:v>
                </c:pt>
                <c:pt idx="4493">
                  <c:v>1.050562</c:v>
                </c:pt>
                <c:pt idx="4494">
                  <c:v>1.050562</c:v>
                </c:pt>
                <c:pt idx="4495">
                  <c:v>1.050562</c:v>
                </c:pt>
                <c:pt idx="4496">
                  <c:v>1.050562</c:v>
                </c:pt>
                <c:pt idx="4497">
                  <c:v>1.7021919999999999</c:v>
                </c:pt>
                <c:pt idx="4498">
                  <c:v>1.7021919999999999</c:v>
                </c:pt>
                <c:pt idx="4499">
                  <c:v>1.7021919999999999</c:v>
                </c:pt>
                <c:pt idx="4500">
                  <c:v>1.7021919999999999</c:v>
                </c:pt>
                <c:pt idx="4501">
                  <c:v>1.7021919999999999</c:v>
                </c:pt>
                <c:pt idx="4502">
                  <c:v>2.1413175</c:v>
                </c:pt>
                <c:pt idx="4503">
                  <c:v>2.5804429999999998</c:v>
                </c:pt>
                <c:pt idx="4504">
                  <c:v>2.5804429999999998</c:v>
                </c:pt>
                <c:pt idx="4505">
                  <c:v>2.5804429999999998</c:v>
                </c:pt>
                <c:pt idx="4506">
                  <c:v>2.5804429999999998</c:v>
                </c:pt>
                <c:pt idx="4507">
                  <c:v>2.5804429999999998</c:v>
                </c:pt>
                <c:pt idx="4508">
                  <c:v>3.1194259999999998</c:v>
                </c:pt>
                <c:pt idx="4509">
                  <c:v>3.6584089999999998</c:v>
                </c:pt>
                <c:pt idx="4510">
                  <c:v>3.6584089999999998</c:v>
                </c:pt>
                <c:pt idx="4511">
                  <c:v>3.6584089999999998</c:v>
                </c:pt>
                <c:pt idx="4512">
                  <c:v>3.6584089999999998</c:v>
                </c:pt>
                <c:pt idx="4513">
                  <c:v>3.6584089999999998</c:v>
                </c:pt>
                <c:pt idx="4514">
                  <c:v>4.9987719999999998</c:v>
                </c:pt>
                <c:pt idx="4515">
                  <c:v>4.9987719999999998</c:v>
                </c:pt>
                <c:pt idx="4516">
                  <c:v>4.9987719999999998</c:v>
                </c:pt>
                <c:pt idx="4517">
                  <c:v>4.9987719999999998</c:v>
                </c:pt>
                <c:pt idx="4518">
                  <c:v>4.9987719999999998</c:v>
                </c:pt>
                <c:pt idx="4519">
                  <c:v>4.9987719999999998</c:v>
                </c:pt>
                <c:pt idx="4520">
                  <c:v>6.7294489999999998</c:v>
                </c:pt>
                <c:pt idx="4521">
                  <c:v>6.7294489999999998</c:v>
                </c:pt>
                <c:pt idx="4522">
                  <c:v>6.7294489999999998</c:v>
                </c:pt>
                <c:pt idx="4523">
                  <c:v>6.7294489999999998</c:v>
                </c:pt>
                <c:pt idx="4524">
                  <c:v>6.7294489999999998</c:v>
                </c:pt>
                <c:pt idx="4525">
                  <c:v>6.7294489999999998</c:v>
                </c:pt>
                <c:pt idx="4526">
                  <c:v>8.6367550000000008</c:v>
                </c:pt>
                <c:pt idx="4527">
                  <c:v>8.6367550000000008</c:v>
                </c:pt>
                <c:pt idx="4528">
                  <c:v>8.6367550000000008</c:v>
                </c:pt>
                <c:pt idx="4529">
                  <c:v>8.6367550000000008</c:v>
                </c:pt>
                <c:pt idx="4530">
                  <c:v>8.6367550000000008</c:v>
                </c:pt>
                <c:pt idx="4531">
                  <c:v>9.6635866000000004</c:v>
                </c:pt>
                <c:pt idx="4532">
                  <c:v>10.6904182</c:v>
                </c:pt>
                <c:pt idx="4533">
                  <c:v>10.6904182</c:v>
                </c:pt>
                <c:pt idx="4534">
                  <c:v>10.6904182</c:v>
                </c:pt>
                <c:pt idx="4535">
                  <c:v>10.6904182</c:v>
                </c:pt>
                <c:pt idx="4536">
                  <c:v>10.6904182</c:v>
                </c:pt>
                <c:pt idx="4537">
                  <c:v>12.895792</c:v>
                </c:pt>
                <c:pt idx="4538">
                  <c:v>12.895792</c:v>
                </c:pt>
                <c:pt idx="4539">
                  <c:v>12.895792</c:v>
                </c:pt>
                <c:pt idx="4540">
                  <c:v>12.895792</c:v>
                </c:pt>
                <c:pt idx="4541">
                  <c:v>12.895792</c:v>
                </c:pt>
                <c:pt idx="4542">
                  <c:v>12.895792</c:v>
                </c:pt>
                <c:pt idx="4543">
                  <c:v>15.3013964</c:v>
                </c:pt>
                <c:pt idx="4544">
                  <c:v>15.3013964</c:v>
                </c:pt>
                <c:pt idx="4545">
                  <c:v>15.3013964</c:v>
                </c:pt>
                <c:pt idx="4546">
                  <c:v>15.3013964</c:v>
                </c:pt>
                <c:pt idx="4547">
                  <c:v>15.3013964</c:v>
                </c:pt>
                <c:pt idx="4548">
                  <c:v>15.3013964</c:v>
                </c:pt>
                <c:pt idx="4549">
                  <c:v>17.704597499999998</c:v>
                </c:pt>
                <c:pt idx="4550">
                  <c:v>17.704597499999998</c:v>
                </c:pt>
                <c:pt idx="4551">
                  <c:v>17.704597499999998</c:v>
                </c:pt>
                <c:pt idx="4552">
                  <c:v>17.704597499999998</c:v>
                </c:pt>
                <c:pt idx="4553">
                  <c:v>17.704597499999998</c:v>
                </c:pt>
                <c:pt idx="4554">
                  <c:v>17.704597499999998</c:v>
                </c:pt>
                <c:pt idx="4555">
                  <c:v>19.920164100000001</c:v>
                </c:pt>
                <c:pt idx="4556">
                  <c:v>19.920164100000001</c:v>
                </c:pt>
                <c:pt idx="4557">
                  <c:v>19.920164100000001</c:v>
                </c:pt>
                <c:pt idx="4558">
                  <c:v>19.920164100000001</c:v>
                </c:pt>
                <c:pt idx="4559">
                  <c:v>19.920164100000001</c:v>
                </c:pt>
                <c:pt idx="4560">
                  <c:v>20.871645900000001</c:v>
                </c:pt>
                <c:pt idx="4561">
                  <c:v>21.823127700000001</c:v>
                </c:pt>
                <c:pt idx="4562">
                  <c:v>21.823127700000001</c:v>
                </c:pt>
                <c:pt idx="4563">
                  <c:v>21.823127700000001</c:v>
                </c:pt>
                <c:pt idx="4564">
                  <c:v>21.823127700000001</c:v>
                </c:pt>
                <c:pt idx="4565">
                  <c:v>21.823127700000001</c:v>
                </c:pt>
                <c:pt idx="4566">
                  <c:v>23.380073500000002</c:v>
                </c:pt>
                <c:pt idx="4567">
                  <c:v>23.380073500000002</c:v>
                </c:pt>
                <c:pt idx="4568">
                  <c:v>23.380073500000002</c:v>
                </c:pt>
                <c:pt idx="4569">
                  <c:v>23.380073500000002</c:v>
                </c:pt>
                <c:pt idx="4570">
                  <c:v>23.380073500000002</c:v>
                </c:pt>
                <c:pt idx="4571">
                  <c:v>23.380073500000002</c:v>
                </c:pt>
                <c:pt idx="4572">
                  <c:v>24.5720043</c:v>
                </c:pt>
                <c:pt idx="4573">
                  <c:v>24.5720043</c:v>
                </c:pt>
                <c:pt idx="4574">
                  <c:v>24.5720043</c:v>
                </c:pt>
                <c:pt idx="4575">
                  <c:v>24.5720043</c:v>
                </c:pt>
                <c:pt idx="4576">
                  <c:v>24.5720043</c:v>
                </c:pt>
                <c:pt idx="4577">
                  <c:v>24.5720043</c:v>
                </c:pt>
                <c:pt idx="4578">
                  <c:v>25.337171600000001</c:v>
                </c:pt>
                <c:pt idx="4579">
                  <c:v>25.337171600000001</c:v>
                </c:pt>
                <c:pt idx="4580">
                  <c:v>25.337171600000001</c:v>
                </c:pt>
                <c:pt idx="4581">
                  <c:v>25.337171600000001</c:v>
                </c:pt>
                <c:pt idx="4582">
                  <c:v>25.337171600000001</c:v>
                </c:pt>
                <c:pt idx="4583">
                  <c:v>25.53003885</c:v>
                </c:pt>
                <c:pt idx="4584">
                  <c:v>25.722906099999999</c:v>
                </c:pt>
                <c:pt idx="4585">
                  <c:v>25.722906099999999</c:v>
                </c:pt>
                <c:pt idx="4586">
                  <c:v>25.722906099999999</c:v>
                </c:pt>
                <c:pt idx="4587">
                  <c:v>25.722906099999999</c:v>
                </c:pt>
                <c:pt idx="4588">
                  <c:v>25.722906099999999</c:v>
                </c:pt>
                <c:pt idx="4589">
                  <c:v>25.617008049999999</c:v>
                </c:pt>
                <c:pt idx="4590">
                  <c:v>25.511109999999999</c:v>
                </c:pt>
                <c:pt idx="4591">
                  <c:v>25.511109999999999</c:v>
                </c:pt>
                <c:pt idx="4592">
                  <c:v>25.511109999999999</c:v>
                </c:pt>
                <c:pt idx="4593">
                  <c:v>25.511109999999999</c:v>
                </c:pt>
                <c:pt idx="4594">
                  <c:v>25.511109999999999</c:v>
                </c:pt>
                <c:pt idx="4595">
                  <c:v>24.8701057</c:v>
                </c:pt>
                <c:pt idx="4596">
                  <c:v>24.8701057</c:v>
                </c:pt>
                <c:pt idx="4597">
                  <c:v>24.8701057</c:v>
                </c:pt>
                <c:pt idx="4598">
                  <c:v>24.8701057</c:v>
                </c:pt>
                <c:pt idx="4599">
                  <c:v>24.8701057</c:v>
                </c:pt>
                <c:pt idx="4600">
                  <c:v>24.8701057</c:v>
                </c:pt>
                <c:pt idx="4601">
                  <c:v>23.80996</c:v>
                </c:pt>
                <c:pt idx="4602">
                  <c:v>23.80996</c:v>
                </c:pt>
                <c:pt idx="4603">
                  <c:v>23.80996</c:v>
                </c:pt>
                <c:pt idx="4604">
                  <c:v>23.80996</c:v>
                </c:pt>
                <c:pt idx="4605">
                  <c:v>23.80996</c:v>
                </c:pt>
                <c:pt idx="4606">
                  <c:v>23.80996</c:v>
                </c:pt>
                <c:pt idx="4607">
                  <c:v>22.398859999999999</c:v>
                </c:pt>
                <c:pt idx="4608">
                  <c:v>22.398859999999999</c:v>
                </c:pt>
                <c:pt idx="4609">
                  <c:v>22.398859999999999</c:v>
                </c:pt>
                <c:pt idx="4610">
                  <c:v>22.398859999999999</c:v>
                </c:pt>
                <c:pt idx="4611">
                  <c:v>22.398859999999999</c:v>
                </c:pt>
                <c:pt idx="4612">
                  <c:v>21.51182</c:v>
                </c:pt>
                <c:pt idx="4613">
                  <c:v>20.624780000000001</c:v>
                </c:pt>
                <c:pt idx="4614">
                  <c:v>20.624780000000001</c:v>
                </c:pt>
                <c:pt idx="4615">
                  <c:v>20.624780000000001</c:v>
                </c:pt>
                <c:pt idx="4616">
                  <c:v>20.624780000000001</c:v>
                </c:pt>
                <c:pt idx="4617">
                  <c:v>20.624780000000001</c:v>
                </c:pt>
                <c:pt idx="4618">
                  <c:v>19.60731285</c:v>
                </c:pt>
                <c:pt idx="4619">
                  <c:v>18.589845700000001</c:v>
                </c:pt>
                <c:pt idx="4620">
                  <c:v>18.589845700000001</c:v>
                </c:pt>
                <c:pt idx="4621">
                  <c:v>18.589845700000001</c:v>
                </c:pt>
                <c:pt idx="4622">
                  <c:v>18.589845700000001</c:v>
                </c:pt>
                <c:pt idx="4623">
                  <c:v>18.589845700000001</c:v>
                </c:pt>
                <c:pt idx="4624">
                  <c:v>16.573846799999998</c:v>
                </c:pt>
                <c:pt idx="4625">
                  <c:v>16.573846799999998</c:v>
                </c:pt>
                <c:pt idx="4626">
                  <c:v>16.573846799999998</c:v>
                </c:pt>
                <c:pt idx="4627">
                  <c:v>16.573846799999998</c:v>
                </c:pt>
                <c:pt idx="4628">
                  <c:v>16.573846799999998</c:v>
                </c:pt>
                <c:pt idx="4629">
                  <c:v>16.573846799999998</c:v>
                </c:pt>
                <c:pt idx="4630">
                  <c:v>14.5681581</c:v>
                </c:pt>
                <c:pt idx="4631">
                  <c:v>14.5681581</c:v>
                </c:pt>
                <c:pt idx="4632">
                  <c:v>14.5681581</c:v>
                </c:pt>
                <c:pt idx="4633">
                  <c:v>14.5681581</c:v>
                </c:pt>
                <c:pt idx="4634">
                  <c:v>14.5681581</c:v>
                </c:pt>
                <c:pt idx="4635">
                  <c:v>14.5681581</c:v>
                </c:pt>
                <c:pt idx="4636">
                  <c:v>12.5625181</c:v>
                </c:pt>
                <c:pt idx="4637">
                  <c:v>12.5625181</c:v>
                </c:pt>
                <c:pt idx="4638">
                  <c:v>12.5625181</c:v>
                </c:pt>
                <c:pt idx="4639">
                  <c:v>12.5625181</c:v>
                </c:pt>
                <c:pt idx="4640">
                  <c:v>12.5625181</c:v>
                </c:pt>
                <c:pt idx="4641">
                  <c:v>11.563946250000001</c:v>
                </c:pt>
                <c:pt idx="4642">
                  <c:v>10.5653744</c:v>
                </c:pt>
                <c:pt idx="4643">
                  <c:v>10.5653744</c:v>
                </c:pt>
                <c:pt idx="4644">
                  <c:v>10.5653744</c:v>
                </c:pt>
                <c:pt idx="4645">
                  <c:v>10.5653744</c:v>
                </c:pt>
                <c:pt idx="4646">
                  <c:v>10.5653744</c:v>
                </c:pt>
                <c:pt idx="4647">
                  <c:v>8.7208249999999996</c:v>
                </c:pt>
                <c:pt idx="4648">
                  <c:v>8.7208249999999996</c:v>
                </c:pt>
                <c:pt idx="4649">
                  <c:v>8.7208249999999996</c:v>
                </c:pt>
                <c:pt idx="4650">
                  <c:v>8.7208249999999996</c:v>
                </c:pt>
                <c:pt idx="4651">
                  <c:v>8.7208249999999996</c:v>
                </c:pt>
                <c:pt idx="4652">
                  <c:v>8.7208249999999996</c:v>
                </c:pt>
                <c:pt idx="4653">
                  <c:v>6.9962470000000003</c:v>
                </c:pt>
                <c:pt idx="4654">
                  <c:v>6.9962470000000003</c:v>
                </c:pt>
                <c:pt idx="4655">
                  <c:v>6.9962470000000003</c:v>
                </c:pt>
                <c:pt idx="4656">
                  <c:v>6.9962470000000003</c:v>
                </c:pt>
                <c:pt idx="4657">
                  <c:v>6.9962470000000003</c:v>
                </c:pt>
                <c:pt idx="4658">
                  <c:v>6.9962470000000003</c:v>
                </c:pt>
                <c:pt idx="4659">
                  <c:v>5.4747729999999999</c:v>
                </c:pt>
                <c:pt idx="4660">
                  <c:v>5.4747729999999999</c:v>
                </c:pt>
                <c:pt idx="4661">
                  <c:v>5.4747729999999999</c:v>
                </c:pt>
                <c:pt idx="4662">
                  <c:v>5.4747729999999999</c:v>
                </c:pt>
                <c:pt idx="4663">
                  <c:v>5.4747729999999999</c:v>
                </c:pt>
                <c:pt idx="4664">
                  <c:v>5.4747729999999999</c:v>
                </c:pt>
                <c:pt idx="4665">
                  <c:v>4.1784800000000004</c:v>
                </c:pt>
                <c:pt idx="4666">
                  <c:v>4.1784800000000004</c:v>
                </c:pt>
                <c:pt idx="4667">
                  <c:v>4.1784800000000004</c:v>
                </c:pt>
                <c:pt idx="4668">
                  <c:v>4.1784800000000004</c:v>
                </c:pt>
                <c:pt idx="4669">
                  <c:v>4.1784800000000004</c:v>
                </c:pt>
                <c:pt idx="4670">
                  <c:v>3.6517020000000002</c:v>
                </c:pt>
                <c:pt idx="4671">
                  <c:v>3.124924</c:v>
                </c:pt>
                <c:pt idx="4672">
                  <c:v>3.124924</c:v>
                </c:pt>
                <c:pt idx="4673">
                  <c:v>3.124924</c:v>
                </c:pt>
                <c:pt idx="4674">
                  <c:v>3.124924</c:v>
                </c:pt>
                <c:pt idx="4675">
                  <c:v>3.124924</c:v>
                </c:pt>
                <c:pt idx="4676">
                  <c:v>2.2432669999999999</c:v>
                </c:pt>
                <c:pt idx="4677">
                  <c:v>2.2432669999999999</c:v>
                </c:pt>
                <c:pt idx="4678">
                  <c:v>2.2432669999999999</c:v>
                </c:pt>
                <c:pt idx="4679">
                  <c:v>2.2432669999999999</c:v>
                </c:pt>
                <c:pt idx="4680">
                  <c:v>2.2432669999999999</c:v>
                </c:pt>
                <c:pt idx="4681">
                  <c:v>2.2432669999999999</c:v>
                </c:pt>
                <c:pt idx="4682">
                  <c:v>1.5012859999999999</c:v>
                </c:pt>
                <c:pt idx="4683">
                  <c:v>1.5012859999999999</c:v>
                </c:pt>
                <c:pt idx="4684">
                  <c:v>1.5012859999999999</c:v>
                </c:pt>
                <c:pt idx="4685">
                  <c:v>1.5012859999999999</c:v>
                </c:pt>
                <c:pt idx="4686">
                  <c:v>1.5012859999999999</c:v>
                </c:pt>
                <c:pt idx="4687">
                  <c:v>1.5012859999999999</c:v>
                </c:pt>
                <c:pt idx="4688">
                  <c:v>0.98392299999999999</c:v>
                </c:pt>
                <c:pt idx="4689">
                  <c:v>0.98392299999999999</c:v>
                </c:pt>
                <c:pt idx="4690">
                  <c:v>0.98392299999999999</c:v>
                </c:pt>
                <c:pt idx="4691">
                  <c:v>0.98392299999999999</c:v>
                </c:pt>
                <c:pt idx="4692">
                  <c:v>0.98392299999999999</c:v>
                </c:pt>
                <c:pt idx="4693">
                  <c:v>0.78109450000000002</c:v>
                </c:pt>
                <c:pt idx="4694">
                  <c:v>0.57826599999999995</c:v>
                </c:pt>
                <c:pt idx="4695">
                  <c:v>0.57826599999999995</c:v>
                </c:pt>
                <c:pt idx="4696">
                  <c:v>0.57826599999999995</c:v>
                </c:pt>
                <c:pt idx="4697">
                  <c:v>0.57826599999999995</c:v>
                </c:pt>
                <c:pt idx="4698">
                  <c:v>0.57826599999999995</c:v>
                </c:pt>
                <c:pt idx="4699">
                  <c:v>0.42636499999999999</c:v>
                </c:pt>
                <c:pt idx="4700">
                  <c:v>0.27446399999999999</c:v>
                </c:pt>
                <c:pt idx="4701">
                  <c:v>0.27446399999999999</c:v>
                </c:pt>
                <c:pt idx="4702">
                  <c:v>0.27446399999999999</c:v>
                </c:pt>
                <c:pt idx="4703">
                  <c:v>0.27446399999999999</c:v>
                </c:pt>
                <c:pt idx="4704">
                  <c:v>0.27446399999999999</c:v>
                </c:pt>
                <c:pt idx="4705">
                  <c:v>7.2522000000000003E-2</c:v>
                </c:pt>
                <c:pt idx="4706">
                  <c:v>7.2522000000000003E-2</c:v>
                </c:pt>
                <c:pt idx="4707">
                  <c:v>7.2522000000000003E-2</c:v>
                </c:pt>
                <c:pt idx="4708">
                  <c:v>7.2522000000000003E-2</c:v>
                </c:pt>
                <c:pt idx="4709">
                  <c:v>7.2522000000000003E-2</c:v>
                </c:pt>
                <c:pt idx="4710">
                  <c:v>7.2522000000000003E-2</c:v>
                </c:pt>
                <c:pt idx="4711">
                  <c:v>-1.1529999999999999E-3</c:v>
                </c:pt>
                <c:pt idx="4712">
                  <c:v>-1.1529999999999999E-3</c:v>
                </c:pt>
                <c:pt idx="4713">
                  <c:v>-1.1529999999999999E-3</c:v>
                </c:pt>
                <c:pt idx="4714">
                  <c:v>-1.1529999999999999E-3</c:v>
                </c:pt>
                <c:pt idx="4715">
                  <c:v>-1.1529999999999999E-3</c:v>
                </c:pt>
                <c:pt idx="4716">
                  <c:v>-1.1529999999999999E-3</c:v>
                </c:pt>
                <c:pt idx="4717">
                  <c:v>6.0499999999999996E-4</c:v>
                </c:pt>
                <c:pt idx="4718">
                  <c:v>6.0499999999999996E-4</c:v>
                </c:pt>
                <c:pt idx="4719">
                  <c:v>6.0499999999999996E-4</c:v>
                </c:pt>
                <c:pt idx="4720">
                  <c:v>6.0499999999999996E-4</c:v>
                </c:pt>
                <c:pt idx="4721">
                  <c:v>6.0499999999999996E-4</c:v>
                </c:pt>
                <c:pt idx="4722">
                  <c:v>4.7499999999999962E-5</c:v>
                </c:pt>
                <c:pt idx="4723">
                  <c:v>-5.1000000000000004E-4</c:v>
                </c:pt>
                <c:pt idx="4724">
                  <c:v>-5.1000000000000004E-4</c:v>
                </c:pt>
                <c:pt idx="4725">
                  <c:v>-5.1000000000000004E-4</c:v>
                </c:pt>
                <c:pt idx="4726">
                  <c:v>-5.1000000000000004E-4</c:v>
                </c:pt>
                <c:pt idx="4727">
                  <c:v>-5.1000000000000004E-4</c:v>
                </c:pt>
                <c:pt idx="4728">
                  <c:v>4.2999999999999999E-4</c:v>
                </c:pt>
                <c:pt idx="4729">
                  <c:v>4.2999999999999999E-4</c:v>
                </c:pt>
                <c:pt idx="4730">
                  <c:v>4.2999999999999999E-4</c:v>
                </c:pt>
                <c:pt idx="4731">
                  <c:v>4.2999999999999999E-4</c:v>
                </c:pt>
                <c:pt idx="4732">
                  <c:v>4.2999999999999999E-4</c:v>
                </c:pt>
                <c:pt idx="4733">
                  <c:v>4.2999999999999999E-4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A0-4AB6-B7BD-A33636F72C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771492975"/>
      </c:lineChart>
      <c:valAx>
        <c:axId val="7714929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"/>
        <c:crosses val="autoZero"/>
        <c:crossBetween val="between"/>
      </c:valAx>
      <c:catAx>
        <c:axId val="1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771492975"/>
        <c:crosses val="autoZero"/>
        <c:auto val="1"/>
        <c:lblAlgn val="ctr"/>
        <c:lblOffset val="100"/>
        <c:tickLblSkip val="255"/>
        <c:tickMarkSkip val="1"/>
        <c:noMultiLvlLbl val="1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zero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Standard Deviation</a:t>
            </a:r>
          </a:p>
        </c:rich>
      </c:tx>
      <c:layout>
        <c:manualLayout>
          <c:xMode val="edge"/>
          <c:yMode val="edge"/>
          <c:x val="0.65633433289605936"/>
          <c:y val="2.2536985119252086E-2"/>
        </c:manualLayout>
      </c:layout>
      <c:overlay val="1"/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>
              <a:solidFill>
                <a:srgbClr val="1F77B4"/>
              </a:solidFill>
              <a:round/>
            </a:ln>
          </c:spPr>
          <c:marker>
            <c:symbol val="none"/>
          </c:marker>
          <c:cat>
            <c:strRef>
              <c:f>Data!$A$388:$A$507</c:f>
              <c:strCache>
                <c:ptCount val="120"/>
                <c:pt idx="0">
                  <c:v>2021-11-03</c:v>
                </c:pt>
                <c:pt idx="1">
                  <c:v>2021-11-04</c:v>
                </c:pt>
                <c:pt idx="2">
                  <c:v>2021-11-05</c:v>
                </c:pt>
                <c:pt idx="3">
                  <c:v>2021-11-06</c:v>
                </c:pt>
                <c:pt idx="4">
                  <c:v>2021-11-07</c:v>
                </c:pt>
                <c:pt idx="5">
                  <c:v>2021-11-08</c:v>
                </c:pt>
                <c:pt idx="6">
                  <c:v>2021-11-09</c:v>
                </c:pt>
                <c:pt idx="7">
                  <c:v>2021-11-10</c:v>
                </c:pt>
                <c:pt idx="8">
                  <c:v>2021-11-11</c:v>
                </c:pt>
                <c:pt idx="9">
                  <c:v>2021-11-12</c:v>
                </c:pt>
                <c:pt idx="10">
                  <c:v>2021-11-13</c:v>
                </c:pt>
                <c:pt idx="11">
                  <c:v>2021-11-14</c:v>
                </c:pt>
                <c:pt idx="12">
                  <c:v>2021-11-15</c:v>
                </c:pt>
                <c:pt idx="13">
                  <c:v>2021-11-16</c:v>
                </c:pt>
                <c:pt idx="14">
                  <c:v>2021-11-17</c:v>
                </c:pt>
                <c:pt idx="15">
                  <c:v>2021-11-18</c:v>
                </c:pt>
                <c:pt idx="16">
                  <c:v>2021-11-19</c:v>
                </c:pt>
                <c:pt idx="17">
                  <c:v>2021-11-20</c:v>
                </c:pt>
                <c:pt idx="18">
                  <c:v>2021-11-21</c:v>
                </c:pt>
                <c:pt idx="19">
                  <c:v>2021-11-22</c:v>
                </c:pt>
                <c:pt idx="20">
                  <c:v>2021-11-23</c:v>
                </c:pt>
                <c:pt idx="21">
                  <c:v>2021-11-24</c:v>
                </c:pt>
                <c:pt idx="22">
                  <c:v>2021-11-25</c:v>
                </c:pt>
                <c:pt idx="23">
                  <c:v>2021-11-26</c:v>
                </c:pt>
                <c:pt idx="24">
                  <c:v>2021-11-27</c:v>
                </c:pt>
                <c:pt idx="25">
                  <c:v>2021-11-28</c:v>
                </c:pt>
                <c:pt idx="26">
                  <c:v>2021-11-29</c:v>
                </c:pt>
                <c:pt idx="27">
                  <c:v>2021-11-30</c:v>
                </c:pt>
                <c:pt idx="28">
                  <c:v>2021-12-01</c:v>
                </c:pt>
                <c:pt idx="29">
                  <c:v>2021-12-02</c:v>
                </c:pt>
                <c:pt idx="30">
                  <c:v>2021-12-03</c:v>
                </c:pt>
                <c:pt idx="31">
                  <c:v>2021-12-04</c:v>
                </c:pt>
                <c:pt idx="32">
                  <c:v>2021-12-05</c:v>
                </c:pt>
                <c:pt idx="33">
                  <c:v>2021-12-06</c:v>
                </c:pt>
                <c:pt idx="34">
                  <c:v>2021-12-07</c:v>
                </c:pt>
                <c:pt idx="35">
                  <c:v>2021-12-08</c:v>
                </c:pt>
                <c:pt idx="36">
                  <c:v>2021-12-09</c:v>
                </c:pt>
                <c:pt idx="37">
                  <c:v>2021-12-10</c:v>
                </c:pt>
                <c:pt idx="38">
                  <c:v>2021-12-11</c:v>
                </c:pt>
                <c:pt idx="39">
                  <c:v>2021-12-12</c:v>
                </c:pt>
                <c:pt idx="40">
                  <c:v>2021-12-13</c:v>
                </c:pt>
                <c:pt idx="41">
                  <c:v>2021-12-14</c:v>
                </c:pt>
                <c:pt idx="42">
                  <c:v>2021-12-15</c:v>
                </c:pt>
                <c:pt idx="43">
                  <c:v>2021-12-16</c:v>
                </c:pt>
                <c:pt idx="44">
                  <c:v>2021-12-17</c:v>
                </c:pt>
                <c:pt idx="45">
                  <c:v>2021-12-18</c:v>
                </c:pt>
                <c:pt idx="46">
                  <c:v>2021-12-19</c:v>
                </c:pt>
                <c:pt idx="47">
                  <c:v>2021-12-20</c:v>
                </c:pt>
                <c:pt idx="48">
                  <c:v>2021-12-21</c:v>
                </c:pt>
                <c:pt idx="49">
                  <c:v>2021-12-22</c:v>
                </c:pt>
                <c:pt idx="50">
                  <c:v>2021-12-23</c:v>
                </c:pt>
                <c:pt idx="51">
                  <c:v>2021-12-24</c:v>
                </c:pt>
                <c:pt idx="52">
                  <c:v>2021-12-25</c:v>
                </c:pt>
                <c:pt idx="53">
                  <c:v>2021-12-26</c:v>
                </c:pt>
                <c:pt idx="54">
                  <c:v>2021-12-27</c:v>
                </c:pt>
                <c:pt idx="55">
                  <c:v>2021-12-28</c:v>
                </c:pt>
                <c:pt idx="56">
                  <c:v>2021-12-29</c:v>
                </c:pt>
                <c:pt idx="57">
                  <c:v>2021-12-30</c:v>
                </c:pt>
                <c:pt idx="58">
                  <c:v>2021-12-31</c:v>
                </c:pt>
                <c:pt idx="59">
                  <c:v>2022-01-01</c:v>
                </c:pt>
                <c:pt idx="60">
                  <c:v>2022-01-02</c:v>
                </c:pt>
                <c:pt idx="61">
                  <c:v>2022-01-03</c:v>
                </c:pt>
                <c:pt idx="62">
                  <c:v>2022-01-04</c:v>
                </c:pt>
                <c:pt idx="63">
                  <c:v>2022-01-05</c:v>
                </c:pt>
                <c:pt idx="64">
                  <c:v>2022-01-06</c:v>
                </c:pt>
                <c:pt idx="65">
                  <c:v>2022-01-07</c:v>
                </c:pt>
                <c:pt idx="66">
                  <c:v>2022-01-08</c:v>
                </c:pt>
                <c:pt idx="67">
                  <c:v>2022-01-09</c:v>
                </c:pt>
                <c:pt idx="68">
                  <c:v>2022-01-10</c:v>
                </c:pt>
                <c:pt idx="69">
                  <c:v>2022-01-11</c:v>
                </c:pt>
                <c:pt idx="70">
                  <c:v>2022-01-12</c:v>
                </c:pt>
                <c:pt idx="71">
                  <c:v>2022-01-13</c:v>
                </c:pt>
                <c:pt idx="72">
                  <c:v>2022-01-14</c:v>
                </c:pt>
                <c:pt idx="73">
                  <c:v>2022-01-15</c:v>
                </c:pt>
                <c:pt idx="74">
                  <c:v>2022-01-16</c:v>
                </c:pt>
                <c:pt idx="75">
                  <c:v>2022-01-17</c:v>
                </c:pt>
                <c:pt idx="76">
                  <c:v>2022-01-18</c:v>
                </c:pt>
                <c:pt idx="77">
                  <c:v>2022-01-19</c:v>
                </c:pt>
                <c:pt idx="78">
                  <c:v>2022-01-20</c:v>
                </c:pt>
                <c:pt idx="79">
                  <c:v>2022-01-21</c:v>
                </c:pt>
                <c:pt idx="80">
                  <c:v>2022-01-22</c:v>
                </c:pt>
                <c:pt idx="81">
                  <c:v>2022-01-23</c:v>
                </c:pt>
                <c:pt idx="82">
                  <c:v>2022-01-24</c:v>
                </c:pt>
                <c:pt idx="83">
                  <c:v>2022-01-25</c:v>
                </c:pt>
                <c:pt idx="84">
                  <c:v>2022-01-26</c:v>
                </c:pt>
                <c:pt idx="85">
                  <c:v>2022-01-27</c:v>
                </c:pt>
                <c:pt idx="86">
                  <c:v>2022-01-28</c:v>
                </c:pt>
                <c:pt idx="87">
                  <c:v>2022-01-29</c:v>
                </c:pt>
                <c:pt idx="88">
                  <c:v>2022-01-30</c:v>
                </c:pt>
                <c:pt idx="89">
                  <c:v>2022-01-31</c:v>
                </c:pt>
                <c:pt idx="90">
                  <c:v>2022-02-01</c:v>
                </c:pt>
                <c:pt idx="91">
                  <c:v>2022-02-02</c:v>
                </c:pt>
                <c:pt idx="92">
                  <c:v>2022-02-03</c:v>
                </c:pt>
                <c:pt idx="93">
                  <c:v>2022-02-04</c:v>
                </c:pt>
                <c:pt idx="94">
                  <c:v>2022-02-05</c:v>
                </c:pt>
                <c:pt idx="95">
                  <c:v>2022-02-06</c:v>
                </c:pt>
                <c:pt idx="96">
                  <c:v>2022-02-07</c:v>
                </c:pt>
                <c:pt idx="97">
                  <c:v>2022-02-08</c:v>
                </c:pt>
                <c:pt idx="98">
                  <c:v>2022-02-09</c:v>
                </c:pt>
                <c:pt idx="99">
                  <c:v>2022-02-10</c:v>
                </c:pt>
                <c:pt idx="100">
                  <c:v>2022-02-11</c:v>
                </c:pt>
                <c:pt idx="101">
                  <c:v>2022-02-12</c:v>
                </c:pt>
                <c:pt idx="102">
                  <c:v>2022-02-13</c:v>
                </c:pt>
                <c:pt idx="103">
                  <c:v>2022-02-14</c:v>
                </c:pt>
                <c:pt idx="104">
                  <c:v>2022-02-15</c:v>
                </c:pt>
                <c:pt idx="105">
                  <c:v>2022-02-16</c:v>
                </c:pt>
                <c:pt idx="106">
                  <c:v>2022-02-17</c:v>
                </c:pt>
                <c:pt idx="107">
                  <c:v>2022-02-18</c:v>
                </c:pt>
                <c:pt idx="108">
                  <c:v>2022-02-19</c:v>
                </c:pt>
                <c:pt idx="109">
                  <c:v>2022-02-20</c:v>
                </c:pt>
                <c:pt idx="110">
                  <c:v>2022-02-21</c:v>
                </c:pt>
                <c:pt idx="111">
                  <c:v>2022-02-22</c:v>
                </c:pt>
                <c:pt idx="112">
                  <c:v>2022-02-23</c:v>
                </c:pt>
                <c:pt idx="113">
                  <c:v>2022-02-24</c:v>
                </c:pt>
                <c:pt idx="114">
                  <c:v>2022-02-25</c:v>
                </c:pt>
                <c:pt idx="115">
                  <c:v>2022-02-26</c:v>
                </c:pt>
                <c:pt idx="116">
                  <c:v>2022-02-27</c:v>
                </c:pt>
                <c:pt idx="117">
                  <c:v>2022-02-28</c:v>
                </c:pt>
                <c:pt idx="118">
                  <c:v>2022-03-01</c:v>
                </c:pt>
                <c:pt idx="119">
                  <c:v>2022-03-02</c:v>
                </c:pt>
              </c:strCache>
            </c:strRef>
          </c:cat>
          <c:val>
            <c:numRef>
              <c:f>Data!$B$388:$B$507</c:f>
              <c:numCache>
                <c:formatCode>General</c:formatCode>
                <c:ptCount val="120"/>
                <c:pt idx="0">
                  <c:v>5.3869624130207594</c:v>
                </c:pt>
                <c:pt idx="1">
                  <c:v>5.3964428703392429</c:v>
                </c:pt>
                <c:pt idx="2">
                  <c:v>5.3964428703392429</c:v>
                </c:pt>
                <c:pt idx="3">
                  <c:v>5.3964428703392429</c:v>
                </c:pt>
                <c:pt idx="4">
                  <c:v>5.3964428703392429</c:v>
                </c:pt>
                <c:pt idx="5">
                  <c:v>5.3964428703392429</c:v>
                </c:pt>
                <c:pt idx="6">
                  <c:v>5.3964428703392429</c:v>
                </c:pt>
                <c:pt idx="7">
                  <c:v>5.3964428703392429</c:v>
                </c:pt>
                <c:pt idx="8">
                  <c:v>5.2839572737776663</c:v>
                </c:pt>
                <c:pt idx="9">
                  <c:v>5.2839572737776663</c:v>
                </c:pt>
                <c:pt idx="10">
                  <c:v>5.2839572737776663</c:v>
                </c:pt>
                <c:pt idx="11">
                  <c:v>5.2839572737776663</c:v>
                </c:pt>
                <c:pt idx="12">
                  <c:v>5.2839572737776663</c:v>
                </c:pt>
                <c:pt idx="13">
                  <c:v>5.2839572737776663</c:v>
                </c:pt>
                <c:pt idx="14">
                  <c:v>5.2839572737776663</c:v>
                </c:pt>
                <c:pt idx="15">
                  <c:v>5.3133769812783243</c:v>
                </c:pt>
                <c:pt idx="16">
                  <c:v>5.3133769812783243</c:v>
                </c:pt>
                <c:pt idx="17">
                  <c:v>5.3133769812783243</c:v>
                </c:pt>
                <c:pt idx="18">
                  <c:v>5.3133769812783243</c:v>
                </c:pt>
                <c:pt idx="19">
                  <c:v>5.3133769812783243</c:v>
                </c:pt>
                <c:pt idx="20">
                  <c:v>5.3133769812783243</c:v>
                </c:pt>
                <c:pt idx="21">
                  <c:v>5.3133769812783243</c:v>
                </c:pt>
                <c:pt idx="22">
                  <c:v>#N/A</c:v>
                </c:pt>
                <c:pt idx="23">
                  <c:v>5.2910671515861347</c:v>
                </c:pt>
                <c:pt idx="24">
                  <c:v>5.2910671515861347</c:v>
                </c:pt>
                <c:pt idx="25">
                  <c:v>5.2910671515861347</c:v>
                </c:pt>
                <c:pt idx="26">
                  <c:v>5.2910671515861347</c:v>
                </c:pt>
                <c:pt idx="27">
                  <c:v>5.2910671515861347</c:v>
                </c:pt>
                <c:pt idx="28">
                  <c:v>5.2910671515861347</c:v>
                </c:pt>
                <c:pt idx="29">
                  <c:v>5.1563339067181477</c:v>
                </c:pt>
                <c:pt idx="30">
                  <c:v>5.1563339067181477</c:v>
                </c:pt>
                <c:pt idx="31">
                  <c:v>5.1563339067181477</c:v>
                </c:pt>
                <c:pt idx="32">
                  <c:v>5.1563339067181477</c:v>
                </c:pt>
                <c:pt idx="33">
                  <c:v>5.1563339067181477</c:v>
                </c:pt>
                <c:pt idx="34">
                  <c:v>5.1563339067181477</c:v>
                </c:pt>
                <c:pt idx="35">
                  <c:v>5.1563339067181477</c:v>
                </c:pt>
                <c:pt idx="36">
                  <c:v>5.5150449648814126</c:v>
                </c:pt>
                <c:pt idx="37">
                  <c:v>5.5150449648814126</c:v>
                </c:pt>
                <c:pt idx="38">
                  <c:v>5.5150449648814126</c:v>
                </c:pt>
                <c:pt idx="39">
                  <c:v>5.5150449648814126</c:v>
                </c:pt>
                <c:pt idx="40">
                  <c:v>5.5150449648814126</c:v>
                </c:pt>
                <c:pt idx="41">
                  <c:v>5.5150449648814126</c:v>
                </c:pt>
                <c:pt idx="42">
                  <c:v>5.5150449648814126</c:v>
                </c:pt>
                <c:pt idx="43">
                  <c:v>5.7751244011177754</c:v>
                </c:pt>
                <c:pt idx="44">
                  <c:v>5.7751244011177754</c:v>
                </c:pt>
                <c:pt idx="45">
                  <c:v>5.7751244011177754</c:v>
                </c:pt>
                <c:pt idx="46">
                  <c:v>5.7751244011177754</c:v>
                </c:pt>
                <c:pt idx="47">
                  <c:v>5.7751244011177754</c:v>
                </c:pt>
                <c:pt idx="48">
                  <c:v>5.7751244011177754</c:v>
                </c:pt>
                <c:pt idx="49">
                  <c:v>5.7751244011177754</c:v>
                </c:pt>
                <c:pt idx="50">
                  <c:v>5.675058055112352</c:v>
                </c:pt>
                <c:pt idx="51">
                  <c:v>5.675058055112352</c:v>
                </c:pt>
                <c:pt idx="52">
                  <c:v>5.675058055112352</c:v>
                </c:pt>
                <c:pt idx="53">
                  <c:v>5.675058055112352</c:v>
                </c:pt>
                <c:pt idx="54">
                  <c:v>5.675058055112352</c:v>
                </c:pt>
                <c:pt idx="55">
                  <c:v>5.675058055112352</c:v>
                </c:pt>
                <c:pt idx="56">
                  <c:v>5.675058055112352</c:v>
                </c:pt>
                <c:pt idx="57">
                  <c:v>5.859908430141302</c:v>
                </c:pt>
                <c:pt idx="58">
                  <c:v>5.859908430141302</c:v>
                </c:pt>
                <c:pt idx="59">
                  <c:v>5.859908430141302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6.7010186011620192</c:v>
                </c:pt>
                <c:pt idx="77">
                  <c:v>6.7010186011620192</c:v>
                </c:pt>
                <c:pt idx="78">
                  <c:v>2.8013466029797733</c:v>
                </c:pt>
                <c:pt idx="79">
                  <c:v>2.8013466029797733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3.0741675585186665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3.1079195321182578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2.9133825386914891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2.9133825386914891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2.907685615106651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A0D-49A2-8911-E2FBE51B4C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600027855"/>
      </c:lineChart>
      <c:valAx>
        <c:axId val="600027855"/>
        <c:scaling>
          <c:orientation val="minMax"/>
          <c:max val="7"/>
          <c:min val="2"/>
        </c:scaling>
        <c:delete val="0"/>
        <c:axPos val="l"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0"/>
        <c:axPos val="b"/>
        <c:numFmt formatCode="General" sourceLinked="0"/>
        <c:majorTickMark val="cross"/>
        <c:minorTickMark val="cross"/>
        <c:tickLblPos val="nextTo"/>
        <c:crossAx val="600027855"/>
        <c:crosses val="autoZero"/>
        <c:auto val="1"/>
        <c:lblAlgn val="ctr"/>
        <c:lblOffset val="100"/>
        <c:noMultiLvlLbl val="1"/>
      </c:catAx>
    </c:plotArea>
    <c:legend>
      <c:legendPos val="r"/>
      <c:overlay val="0"/>
    </c:legend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Data!$B$3</c:f>
              <c:strCache>
                <c:ptCount val="1"/>
                <c:pt idx="0">
                  <c:v>6640-101814</c:v>
                </c:pt>
              </c:strCache>
            </c:strRef>
          </c:tx>
          <c:spPr>
            <a:ln>
              <a:solidFill>
                <a:srgbClr val="1F77B4"/>
              </a:solidFill>
              <a:round/>
            </a:ln>
          </c:spPr>
          <c:marker>
            <c:symbol val="triangle"/>
            <c:size val="4"/>
            <c:spPr>
              <a:noFill/>
              <a:ln>
                <a:solidFill>
                  <a:srgbClr val="0F3B5A"/>
                </a:solidFill>
              </a:ln>
            </c:spPr>
          </c:marker>
          <c:cat>
            <c:strRef>
              <c:f>Data!$A$4:$A$95</c:f>
              <c:strCache>
                <c:ptCount val="92"/>
                <c:pt idx="0">
                  <c:v>2020-W42</c:v>
                </c:pt>
                <c:pt idx="1">
                  <c:v>2020-W43</c:v>
                </c:pt>
                <c:pt idx="2">
                  <c:v>2020-W44</c:v>
                </c:pt>
                <c:pt idx="3">
                  <c:v>2020-W45</c:v>
                </c:pt>
                <c:pt idx="4">
                  <c:v>2020-W46</c:v>
                </c:pt>
                <c:pt idx="5">
                  <c:v>2020-W47</c:v>
                </c:pt>
                <c:pt idx="6">
                  <c:v>2020-W48</c:v>
                </c:pt>
                <c:pt idx="7">
                  <c:v>2020-W49</c:v>
                </c:pt>
                <c:pt idx="8">
                  <c:v>2020-W50</c:v>
                </c:pt>
                <c:pt idx="9">
                  <c:v>2020-W51</c:v>
                </c:pt>
                <c:pt idx="10">
                  <c:v>2020-W52</c:v>
                </c:pt>
                <c:pt idx="11">
                  <c:v>2020-W53</c:v>
                </c:pt>
                <c:pt idx="12">
                  <c:v>2021-W1</c:v>
                </c:pt>
                <c:pt idx="13">
                  <c:v>2021-W2</c:v>
                </c:pt>
                <c:pt idx="14">
                  <c:v>2021-W3</c:v>
                </c:pt>
                <c:pt idx="15">
                  <c:v>2021-W4</c:v>
                </c:pt>
                <c:pt idx="16">
                  <c:v>2021-W5</c:v>
                </c:pt>
                <c:pt idx="17">
                  <c:v>2021-W6</c:v>
                </c:pt>
                <c:pt idx="18">
                  <c:v>2021-W7</c:v>
                </c:pt>
                <c:pt idx="19">
                  <c:v>2021-W8</c:v>
                </c:pt>
                <c:pt idx="20">
                  <c:v>2021-W9</c:v>
                </c:pt>
                <c:pt idx="21">
                  <c:v>2021-W10</c:v>
                </c:pt>
                <c:pt idx="22">
                  <c:v>2021-W11</c:v>
                </c:pt>
                <c:pt idx="23">
                  <c:v>2021-W12</c:v>
                </c:pt>
                <c:pt idx="24">
                  <c:v>2021-W13</c:v>
                </c:pt>
                <c:pt idx="25">
                  <c:v>2021-W14</c:v>
                </c:pt>
                <c:pt idx="26">
                  <c:v>2021-W15</c:v>
                </c:pt>
                <c:pt idx="27">
                  <c:v>2021-W16</c:v>
                </c:pt>
                <c:pt idx="28">
                  <c:v>2021-W17</c:v>
                </c:pt>
                <c:pt idx="29">
                  <c:v>2021-W18</c:v>
                </c:pt>
                <c:pt idx="30">
                  <c:v>2021-W19</c:v>
                </c:pt>
                <c:pt idx="31">
                  <c:v>2021-W20</c:v>
                </c:pt>
                <c:pt idx="32">
                  <c:v>2021-W21</c:v>
                </c:pt>
                <c:pt idx="33">
                  <c:v>2021-W22</c:v>
                </c:pt>
                <c:pt idx="34">
                  <c:v>2021-W23</c:v>
                </c:pt>
                <c:pt idx="35">
                  <c:v>2021-W24</c:v>
                </c:pt>
                <c:pt idx="36">
                  <c:v>2021-W25</c:v>
                </c:pt>
                <c:pt idx="37">
                  <c:v>2021-W26</c:v>
                </c:pt>
                <c:pt idx="38">
                  <c:v>2021-W27</c:v>
                </c:pt>
                <c:pt idx="39">
                  <c:v>2021-W28</c:v>
                </c:pt>
                <c:pt idx="40">
                  <c:v>2021-W29</c:v>
                </c:pt>
                <c:pt idx="41">
                  <c:v>2021-W30</c:v>
                </c:pt>
                <c:pt idx="42">
                  <c:v>2021-W31</c:v>
                </c:pt>
                <c:pt idx="43">
                  <c:v>2021-W32</c:v>
                </c:pt>
                <c:pt idx="44">
                  <c:v>2021-W33</c:v>
                </c:pt>
                <c:pt idx="45">
                  <c:v>2021-W34</c:v>
                </c:pt>
                <c:pt idx="46">
                  <c:v>2021-W35</c:v>
                </c:pt>
                <c:pt idx="47">
                  <c:v>2021-W36</c:v>
                </c:pt>
                <c:pt idx="48">
                  <c:v>2021-W37</c:v>
                </c:pt>
                <c:pt idx="49">
                  <c:v>2021-W38</c:v>
                </c:pt>
                <c:pt idx="50">
                  <c:v>2021-W39</c:v>
                </c:pt>
                <c:pt idx="51">
                  <c:v>2021-W40</c:v>
                </c:pt>
                <c:pt idx="52">
                  <c:v>2021-W41</c:v>
                </c:pt>
                <c:pt idx="53">
                  <c:v>2021-W42</c:v>
                </c:pt>
                <c:pt idx="54">
                  <c:v>2021-W43</c:v>
                </c:pt>
                <c:pt idx="55">
                  <c:v>2021-W44</c:v>
                </c:pt>
                <c:pt idx="56">
                  <c:v>2021-W45</c:v>
                </c:pt>
                <c:pt idx="57">
                  <c:v>2021-W46</c:v>
                </c:pt>
                <c:pt idx="58">
                  <c:v>2021-W47</c:v>
                </c:pt>
                <c:pt idx="59">
                  <c:v>2021-W48</c:v>
                </c:pt>
                <c:pt idx="60">
                  <c:v>2021-W49</c:v>
                </c:pt>
                <c:pt idx="61">
                  <c:v>2021-W50</c:v>
                </c:pt>
                <c:pt idx="62">
                  <c:v>2021-W51</c:v>
                </c:pt>
                <c:pt idx="63">
                  <c:v>2021-W52</c:v>
                </c:pt>
                <c:pt idx="64">
                  <c:v>2022-W1</c:v>
                </c:pt>
                <c:pt idx="65">
                  <c:v>2022-W2</c:v>
                </c:pt>
                <c:pt idx="66">
                  <c:v>2022-W3</c:v>
                </c:pt>
                <c:pt idx="67">
                  <c:v>2022-W4</c:v>
                </c:pt>
                <c:pt idx="68">
                  <c:v>2022-W5</c:v>
                </c:pt>
                <c:pt idx="69">
                  <c:v>2022-W6</c:v>
                </c:pt>
                <c:pt idx="70">
                  <c:v>2022-W7</c:v>
                </c:pt>
                <c:pt idx="71">
                  <c:v>2022-W8</c:v>
                </c:pt>
                <c:pt idx="72">
                  <c:v>2022-W9</c:v>
                </c:pt>
                <c:pt idx="73">
                  <c:v>2022-W10</c:v>
                </c:pt>
                <c:pt idx="74">
                  <c:v>2022-W11</c:v>
                </c:pt>
                <c:pt idx="75">
                  <c:v>2022-W12</c:v>
                </c:pt>
                <c:pt idx="76">
                  <c:v>2022-W13</c:v>
                </c:pt>
                <c:pt idx="77">
                  <c:v>2022-W14</c:v>
                </c:pt>
                <c:pt idx="78">
                  <c:v>2022-W15</c:v>
                </c:pt>
                <c:pt idx="79">
                  <c:v>2022-W16</c:v>
                </c:pt>
                <c:pt idx="80">
                  <c:v>2022-W17</c:v>
                </c:pt>
                <c:pt idx="81">
                  <c:v>2022-W18</c:v>
                </c:pt>
                <c:pt idx="82">
                  <c:v>2022-W19</c:v>
                </c:pt>
                <c:pt idx="83">
                  <c:v>2022-W20</c:v>
                </c:pt>
                <c:pt idx="84">
                  <c:v>2022-W21</c:v>
                </c:pt>
                <c:pt idx="85">
                  <c:v>2022-W22</c:v>
                </c:pt>
                <c:pt idx="86">
                  <c:v>2022-W23</c:v>
                </c:pt>
                <c:pt idx="87">
                  <c:v>2022-W24</c:v>
                </c:pt>
                <c:pt idx="88">
                  <c:v>2022-W25</c:v>
                </c:pt>
                <c:pt idx="89">
                  <c:v>2022-W26</c:v>
                </c:pt>
                <c:pt idx="90">
                  <c:v>2022-W27</c:v>
                </c:pt>
                <c:pt idx="91">
                  <c:v>2022-W28</c:v>
                </c:pt>
              </c:strCache>
            </c:strRef>
          </c:cat>
          <c:val>
            <c:numRef>
              <c:f>Data!$B$4:$B$95</c:f>
              <c:numCache>
                <c:formatCode>General</c:formatCode>
                <c:ptCount val="92"/>
                <c:pt idx="0">
                  <c:v>5.4116810495832413</c:v>
                </c:pt>
                <c:pt idx="1">
                  <c:v>5.4116810495832413</c:v>
                </c:pt>
                <c:pt idx="2">
                  <c:v>5.1003639560933856</c:v>
                </c:pt>
                <c:pt idx="3">
                  <c:v>4.789046862603529</c:v>
                </c:pt>
                <c:pt idx="4">
                  <c:v>#N/A</c:v>
                </c:pt>
                <c:pt idx="5">
                  <c:v>#N/A</c:v>
                </c:pt>
                <c:pt idx="6">
                  <c:v>5.4116810495832413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5.182154616313456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5.4664796540924581</c:v>
                </c:pt>
                <c:pt idx="29">
                  <c:v>#N/A</c:v>
                </c:pt>
                <c:pt idx="30">
                  <c:v>5.5793195214493601</c:v>
                </c:pt>
                <c:pt idx="31">
                  <c:v>5.3901858842198873</c:v>
                </c:pt>
                <c:pt idx="32">
                  <c:v>5.3628350595353931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5.5103955316164503</c:v>
                </c:pt>
                <c:pt idx="38">
                  <c:v>#N/A</c:v>
                </c:pt>
                <c:pt idx="39">
                  <c:v>#N/A</c:v>
                </c:pt>
                <c:pt idx="40">
                  <c:v>5.3322843318261031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5.1698909778354274</c:v>
                </c:pt>
                <c:pt idx="56">
                  <c:v>5.2854678480822921</c:v>
                </c:pt>
                <c:pt idx="57">
                  <c:v>5.4176621526627713</c:v>
                </c:pt>
                <c:pt idx="58">
                  <c:v>5.3883343092620031</c:v>
                </c:pt>
                <c:pt idx="59">
                  <c:v>5.4246591386729532</c:v>
                </c:pt>
                <c:pt idx="60">
                  <c:v>5.3484830809476813</c:v>
                </c:pt>
                <c:pt idx="61">
                  <c:v>5.1916958178618042</c:v>
                </c:pt>
                <c:pt idx="62">
                  <c:v>5.2447532059976423</c:v>
                </c:pt>
                <c:pt idx="63">
                  <c:v>5.3762957256169139</c:v>
                </c:pt>
                <c:pt idx="64">
                  <c:v>#N/A</c:v>
                </c:pt>
                <c:pt idx="65">
                  <c:v>#N/A</c:v>
                </c:pt>
                <c:pt idx="66">
                  <c:v>5.2600730575941741</c:v>
                </c:pt>
                <c:pt idx="67">
                  <c:v>#N/A</c:v>
                </c:pt>
                <c:pt idx="68">
                  <c:v>5.1989208475917934</c:v>
                </c:pt>
                <c:pt idx="69">
                  <c:v>5.3791560108279608</c:v>
                </c:pt>
                <c:pt idx="70">
                  <c:v>5.5764355596146711</c:v>
                </c:pt>
                <c:pt idx="71">
                  <c:v>5.5667958309159937</c:v>
                </c:pt>
                <c:pt idx="72">
                  <c:v>5.5267125553856964</c:v>
                </c:pt>
                <c:pt idx="73">
                  <c:v>5.5267125553856964</c:v>
                </c:pt>
                <c:pt idx="74">
                  <c:v>5.5267125553856955</c:v>
                </c:pt>
                <c:pt idx="75">
                  <c:v>5.5267125553856964</c:v>
                </c:pt>
                <c:pt idx="76">
                  <c:v>5.5267125553856964</c:v>
                </c:pt>
                <c:pt idx="77">
                  <c:v>5.5267125553856955</c:v>
                </c:pt>
                <c:pt idx="78">
                  <c:v>5.5267125553856955</c:v>
                </c:pt>
                <c:pt idx="79">
                  <c:v>5.5267125553856955</c:v>
                </c:pt>
                <c:pt idx="80">
                  <c:v>5.5267125553856964</c:v>
                </c:pt>
                <c:pt idx="81">
                  <c:v>#N/A</c:v>
                </c:pt>
                <c:pt idx="82">
                  <c:v>#N/A</c:v>
                </c:pt>
                <c:pt idx="83">
                  <c:v>5.5267125553856964</c:v>
                </c:pt>
                <c:pt idx="84">
                  <c:v>5.5267125553856955</c:v>
                </c:pt>
                <c:pt idx="85">
                  <c:v>5.5267125553856955</c:v>
                </c:pt>
                <c:pt idx="86">
                  <c:v>5.526712555385696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5.5267125553856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139-4502-B4F3-A027119869AB}"/>
            </c:ext>
          </c:extLst>
        </c:ser>
        <c:ser>
          <c:idx val="1"/>
          <c:order val="1"/>
          <c:tx>
            <c:strRef>
              <c:f>Data!$C$3</c:f>
              <c:strCache>
                <c:ptCount val="1"/>
                <c:pt idx="0">
                  <c:v>6640-101988</c:v>
                </c:pt>
              </c:strCache>
            </c:strRef>
          </c:tx>
          <c:spPr>
            <a:ln>
              <a:solidFill>
                <a:srgbClr val="FF0000"/>
              </a:solidFill>
              <a:round/>
            </a:ln>
          </c:spPr>
          <c:marker>
            <c:symbol val="x"/>
            <c:size val="4"/>
            <c:spPr>
              <a:noFill/>
              <a:ln>
                <a:solidFill>
                  <a:srgbClr val="576374"/>
                </a:solidFill>
              </a:ln>
            </c:spPr>
          </c:marker>
          <c:cat>
            <c:strRef>
              <c:f>Data!$A$4:$A$95</c:f>
              <c:strCache>
                <c:ptCount val="92"/>
                <c:pt idx="0">
                  <c:v>2020-W42</c:v>
                </c:pt>
                <c:pt idx="1">
                  <c:v>2020-W43</c:v>
                </c:pt>
                <c:pt idx="2">
                  <c:v>2020-W44</c:v>
                </c:pt>
                <c:pt idx="3">
                  <c:v>2020-W45</c:v>
                </c:pt>
                <c:pt idx="4">
                  <c:v>2020-W46</c:v>
                </c:pt>
                <c:pt idx="5">
                  <c:v>2020-W47</c:v>
                </c:pt>
                <c:pt idx="6">
                  <c:v>2020-W48</c:v>
                </c:pt>
                <c:pt idx="7">
                  <c:v>2020-W49</c:v>
                </c:pt>
                <c:pt idx="8">
                  <c:v>2020-W50</c:v>
                </c:pt>
                <c:pt idx="9">
                  <c:v>2020-W51</c:v>
                </c:pt>
                <c:pt idx="10">
                  <c:v>2020-W52</c:v>
                </c:pt>
                <c:pt idx="11">
                  <c:v>2020-W53</c:v>
                </c:pt>
                <c:pt idx="12">
                  <c:v>2021-W1</c:v>
                </c:pt>
                <c:pt idx="13">
                  <c:v>2021-W2</c:v>
                </c:pt>
                <c:pt idx="14">
                  <c:v>2021-W3</c:v>
                </c:pt>
                <c:pt idx="15">
                  <c:v>2021-W4</c:v>
                </c:pt>
                <c:pt idx="16">
                  <c:v>2021-W5</c:v>
                </c:pt>
                <c:pt idx="17">
                  <c:v>2021-W6</c:v>
                </c:pt>
                <c:pt idx="18">
                  <c:v>2021-W7</c:v>
                </c:pt>
                <c:pt idx="19">
                  <c:v>2021-W8</c:v>
                </c:pt>
                <c:pt idx="20">
                  <c:v>2021-W9</c:v>
                </c:pt>
                <c:pt idx="21">
                  <c:v>2021-W10</c:v>
                </c:pt>
                <c:pt idx="22">
                  <c:v>2021-W11</c:v>
                </c:pt>
                <c:pt idx="23">
                  <c:v>2021-W12</c:v>
                </c:pt>
                <c:pt idx="24">
                  <c:v>2021-W13</c:v>
                </c:pt>
                <c:pt idx="25">
                  <c:v>2021-W14</c:v>
                </c:pt>
                <c:pt idx="26">
                  <c:v>2021-W15</c:v>
                </c:pt>
                <c:pt idx="27">
                  <c:v>2021-W16</c:v>
                </c:pt>
                <c:pt idx="28">
                  <c:v>2021-W17</c:v>
                </c:pt>
                <c:pt idx="29">
                  <c:v>2021-W18</c:v>
                </c:pt>
                <c:pt idx="30">
                  <c:v>2021-W19</c:v>
                </c:pt>
                <c:pt idx="31">
                  <c:v>2021-W20</c:v>
                </c:pt>
                <c:pt idx="32">
                  <c:v>2021-W21</c:v>
                </c:pt>
                <c:pt idx="33">
                  <c:v>2021-W22</c:v>
                </c:pt>
                <c:pt idx="34">
                  <c:v>2021-W23</c:v>
                </c:pt>
                <c:pt idx="35">
                  <c:v>2021-W24</c:v>
                </c:pt>
                <c:pt idx="36">
                  <c:v>2021-W25</c:v>
                </c:pt>
                <c:pt idx="37">
                  <c:v>2021-W26</c:v>
                </c:pt>
                <c:pt idx="38">
                  <c:v>2021-W27</c:v>
                </c:pt>
                <c:pt idx="39">
                  <c:v>2021-W28</c:v>
                </c:pt>
                <c:pt idx="40">
                  <c:v>2021-W29</c:v>
                </c:pt>
                <c:pt idx="41">
                  <c:v>2021-W30</c:v>
                </c:pt>
                <c:pt idx="42">
                  <c:v>2021-W31</c:v>
                </c:pt>
                <c:pt idx="43">
                  <c:v>2021-W32</c:v>
                </c:pt>
                <c:pt idx="44">
                  <c:v>2021-W33</c:v>
                </c:pt>
                <c:pt idx="45">
                  <c:v>2021-W34</c:v>
                </c:pt>
                <c:pt idx="46">
                  <c:v>2021-W35</c:v>
                </c:pt>
                <c:pt idx="47">
                  <c:v>2021-W36</c:v>
                </c:pt>
                <c:pt idx="48">
                  <c:v>2021-W37</c:v>
                </c:pt>
                <c:pt idx="49">
                  <c:v>2021-W38</c:v>
                </c:pt>
                <c:pt idx="50">
                  <c:v>2021-W39</c:v>
                </c:pt>
                <c:pt idx="51">
                  <c:v>2021-W40</c:v>
                </c:pt>
                <c:pt idx="52">
                  <c:v>2021-W41</c:v>
                </c:pt>
                <c:pt idx="53">
                  <c:v>2021-W42</c:v>
                </c:pt>
                <c:pt idx="54">
                  <c:v>2021-W43</c:v>
                </c:pt>
                <c:pt idx="55">
                  <c:v>2021-W44</c:v>
                </c:pt>
                <c:pt idx="56">
                  <c:v>2021-W45</c:v>
                </c:pt>
                <c:pt idx="57">
                  <c:v>2021-W46</c:v>
                </c:pt>
                <c:pt idx="58">
                  <c:v>2021-W47</c:v>
                </c:pt>
                <c:pt idx="59">
                  <c:v>2021-W48</c:v>
                </c:pt>
                <c:pt idx="60">
                  <c:v>2021-W49</c:v>
                </c:pt>
                <c:pt idx="61">
                  <c:v>2021-W50</c:v>
                </c:pt>
                <c:pt idx="62">
                  <c:v>2021-W51</c:v>
                </c:pt>
                <c:pt idx="63">
                  <c:v>2021-W52</c:v>
                </c:pt>
                <c:pt idx="64">
                  <c:v>2022-W1</c:v>
                </c:pt>
                <c:pt idx="65">
                  <c:v>2022-W2</c:v>
                </c:pt>
                <c:pt idx="66">
                  <c:v>2022-W3</c:v>
                </c:pt>
                <c:pt idx="67">
                  <c:v>2022-W4</c:v>
                </c:pt>
                <c:pt idx="68">
                  <c:v>2022-W5</c:v>
                </c:pt>
                <c:pt idx="69">
                  <c:v>2022-W6</c:v>
                </c:pt>
                <c:pt idx="70">
                  <c:v>2022-W7</c:v>
                </c:pt>
                <c:pt idx="71">
                  <c:v>2022-W8</c:v>
                </c:pt>
                <c:pt idx="72">
                  <c:v>2022-W9</c:v>
                </c:pt>
                <c:pt idx="73">
                  <c:v>2022-W10</c:v>
                </c:pt>
                <c:pt idx="74">
                  <c:v>2022-W11</c:v>
                </c:pt>
                <c:pt idx="75">
                  <c:v>2022-W12</c:v>
                </c:pt>
                <c:pt idx="76">
                  <c:v>2022-W13</c:v>
                </c:pt>
                <c:pt idx="77">
                  <c:v>2022-W14</c:v>
                </c:pt>
                <c:pt idx="78">
                  <c:v>2022-W15</c:v>
                </c:pt>
                <c:pt idx="79">
                  <c:v>2022-W16</c:v>
                </c:pt>
                <c:pt idx="80">
                  <c:v>2022-W17</c:v>
                </c:pt>
                <c:pt idx="81">
                  <c:v>2022-W18</c:v>
                </c:pt>
                <c:pt idx="82">
                  <c:v>2022-W19</c:v>
                </c:pt>
                <c:pt idx="83">
                  <c:v>2022-W20</c:v>
                </c:pt>
                <c:pt idx="84">
                  <c:v>2022-W21</c:v>
                </c:pt>
                <c:pt idx="85">
                  <c:v>2022-W22</c:v>
                </c:pt>
                <c:pt idx="86">
                  <c:v>2022-W23</c:v>
                </c:pt>
                <c:pt idx="87">
                  <c:v>2022-W24</c:v>
                </c:pt>
                <c:pt idx="88">
                  <c:v>2022-W25</c:v>
                </c:pt>
                <c:pt idx="89">
                  <c:v>2022-W26</c:v>
                </c:pt>
                <c:pt idx="90">
                  <c:v>2022-W27</c:v>
                </c:pt>
                <c:pt idx="91">
                  <c:v>2022-W28</c:v>
                </c:pt>
              </c:strCache>
            </c:strRef>
          </c:cat>
          <c:val>
            <c:numRef>
              <c:f>Data!$C$4:$C$95</c:f>
              <c:numCache>
                <c:formatCode>General</c:formatCode>
                <c:ptCount val="9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4.603222495250173</c:v>
                </c:pt>
                <c:pt idx="63">
                  <c:v>4.603222495250173</c:v>
                </c:pt>
                <c:pt idx="64">
                  <c:v>#N/A</c:v>
                </c:pt>
                <c:pt idx="65">
                  <c:v>#N/A</c:v>
                </c:pt>
                <c:pt idx="66">
                  <c:v>4.5765186790040735</c:v>
                </c:pt>
                <c:pt idx="67">
                  <c:v>#N/A</c:v>
                </c:pt>
                <c:pt idx="68">
                  <c:v>4.8061256446738394</c:v>
                </c:pt>
                <c:pt idx="69">
                  <c:v>4.8061256446738394</c:v>
                </c:pt>
                <c:pt idx="70">
                  <c:v>#N/A</c:v>
                </c:pt>
                <c:pt idx="71">
                  <c:v>#N/A</c:v>
                </c:pt>
                <c:pt idx="72">
                  <c:v>4.7136107829286082</c:v>
                </c:pt>
                <c:pt idx="73">
                  <c:v>4.7136107829286082</c:v>
                </c:pt>
                <c:pt idx="74">
                  <c:v>4.7136107829286074</c:v>
                </c:pt>
                <c:pt idx="75">
                  <c:v>4.7136107829286082</c:v>
                </c:pt>
                <c:pt idx="76">
                  <c:v>4.7136107829286082</c:v>
                </c:pt>
                <c:pt idx="77">
                  <c:v>4.7136107829286074</c:v>
                </c:pt>
                <c:pt idx="78">
                  <c:v>4.7136107829286074</c:v>
                </c:pt>
                <c:pt idx="79">
                  <c:v>4.7136107829286074</c:v>
                </c:pt>
                <c:pt idx="80">
                  <c:v>4.7136107829286082</c:v>
                </c:pt>
                <c:pt idx="81">
                  <c:v>#N/A</c:v>
                </c:pt>
                <c:pt idx="82">
                  <c:v>#N/A</c:v>
                </c:pt>
                <c:pt idx="83">
                  <c:v>4.7136107829286082</c:v>
                </c:pt>
                <c:pt idx="84">
                  <c:v>4.7136107829286074</c:v>
                </c:pt>
                <c:pt idx="85">
                  <c:v>4.7136107829286074</c:v>
                </c:pt>
                <c:pt idx="86">
                  <c:v>4.7136107829286082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4.7136107829286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39-4502-B4F3-A027119869AB}"/>
            </c:ext>
          </c:extLst>
        </c:ser>
        <c:ser>
          <c:idx val="2"/>
          <c:order val="2"/>
          <c:tx>
            <c:strRef>
              <c:f>Data!$D$3</c:f>
              <c:strCache>
                <c:ptCount val="1"/>
                <c:pt idx="0">
                  <c:v>6640-102009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  <a:round/>
            </a:ln>
          </c:spPr>
          <c:marker>
            <c:symbol val="diamond"/>
            <c:size val="4"/>
            <c:spPr>
              <a:noFill/>
              <a:ln>
                <a:solidFill>
                  <a:srgbClr val="7F3F07"/>
                </a:solidFill>
              </a:ln>
            </c:spPr>
          </c:marker>
          <c:cat>
            <c:strRef>
              <c:f>Data!$A$4:$A$95</c:f>
              <c:strCache>
                <c:ptCount val="92"/>
                <c:pt idx="0">
                  <c:v>2020-W42</c:v>
                </c:pt>
                <c:pt idx="1">
                  <c:v>2020-W43</c:v>
                </c:pt>
                <c:pt idx="2">
                  <c:v>2020-W44</c:v>
                </c:pt>
                <c:pt idx="3">
                  <c:v>2020-W45</c:v>
                </c:pt>
                <c:pt idx="4">
                  <c:v>2020-W46</c:v>
                </c:pt>
                <c:pt idx="5">
                  <c:v>2020-W47</c:v>
                </c:pt>
                <c:pt idx="6">
                  <c:v>2020-W48</c:v>
                </c:pt>
                <c:pt idx="7">
                  <c:v>2020-W49</c:v>
                </c:pt>
                <c:pt idx="8">
                  <c:v>2020-W50</c:v>
                </c:pt>
                <c:pt idx="9">
                  <c:v>2020-W51</c:v>
                </c:pt>
                <c:pt idx="10">
                  <c:v>2020-W52</c:v>
                </c:pt>
                <c:pt idx="11">
                  <c:v>2020-W53</c:v>
                </c:pt>
                <c:pt idx="12">
                  <c:v>2021-W1</c:v>
                </c:pt>
                <c:pt idx="13">
                  <c:v>2021-W2</c:v>
                </c:pt>
                <c:pt idx="14">
                  <c:v>2021-W3</c:v>
                </c:pt>
                <c:pt idx="15">
                  <c:v>2021-W4</c:v>
                </c:pt>
                <c:pt idx="16">
                  <c:v>2021-W5</c:v>
                </c:pt>
                <c:pt idx="17">
                  <c:v>2021-W6</c:v>
                </c:pt>
                <c:pt idx="18">
                  <c:v>2021-W7</c:v>
                </c:pt>
                <c:pt idx="19">
                  <c:v>2021-W8</c:v>
                </c:pt>
                <c:pt idx="20">
                  <c:v>2021-W9</c:v>
                </c:pt>
                <c:pt idx="21">
                  <c:v>2021-W10</c:v>
                </c:pt>
                <c:pt idx="22">
                  <c:v>2021-W11</c:v>
                </c:pt>
                <c:pt idx="23">
                  <c:v>2021-W12</c:v>
                </c:pt>
                <c:pt idx="24">
                  <c:v>2021-W13</c:v>
                </c:pt>
                <c:pt idx="25">
                  <c:v>2021-W14</c:v>
                </c:pt>
                <c:pt idx="26">
                  <c:v>2021-W15</c:v>
                </c:pt>
                <c:pt idx="27">
                  <c:v>2021-W16</c:v>
                </c:pt>
                <c:pt idx="28">
                  <c:v>2021-W17</c:v>
                </c:pt>
                <c:pt idx="29">
                  <c:v>2021-W18</c:v>
                </c:pt>
                <c:pt idx="30">
                  <c:v>2021-W19</c:v>
                </c:pt>
                <c:pt idx="31">
                  <c:v>2021-W20</c:v>
                </c:pt>
                <c:pt idx="32">
                  <c:v>2021-W21</c:v>
                </c:pt>
                <c:pt idx="33">
                  <c:v>2021-W22</c:v>
                </c:pt>
                <c:pt idx="34">
                  <c:v>2021-W23</c:v>
                </c:pt>
                <c:pt idx="35">
                  <c:v>2021-W24</c:v>
                </c:pt>
                <c:pt idx="36">
                  <c:v>2021-W25</c:v>
                </c:pt>
                <c:pt idx="37">
                  <c:v>2021-W26</c:v>
                </c:pt>
                <c:pt idx="38">
                  <c:v>2021-W27</c:v>
                </c:pt>
                <c:pt idx="39">
                  <c:v>2021-W28</c:v>
                </c:pt>
                <c:pt idx="40">
                  <c:v>2021-W29</c:v>
                </c:pt>
                <c:pt idx="41">
                  <c:v>2021-W30</c:v>
                </c:pt>
                <c:pt idx="42">
                  <c:v>2021-W31</c:v>
                </c:pt>
                <c:pt idx="43">
                  <c:v>2021-W32</c:v>
                </c:pt>
                <c:pt idx="44">
                  <c:v>2021-W33</c:v>
                </c:pt>
                <c:pt idx="45">
                  <c:v>2021-W34</c:v>
                </c:pt>
                <c:pt idx="46">
                  <c:v>2021-W35</c:v>
                </c:pt>
                <c:pt idx="47">
                  <c:v>2021-W36</c:v>
                </c:pt>
                <c:pt idx="48">
                  <c:v>2021-W37</c:v>
                </c:pt>
                <c:pt idx="49">
                  <c:v>2021-W38</c:v>
                </c:pt>
                <c:pt idx="50">
                  <c:v>2021-W39</c:v>
                </c:pt>
                <c:pt idx="51">
                  <c:v>2021-W40</c:v>
                </c:pt>
                <c:pt idx="52">
                  <c:v>2021-W41</c:v>
                </c:pt>
                <c:pt idx="53">
                  <c:v>2021-W42</c:v>
                </c:pt>
                <c:pt idx="54">
                  <c:v>2021-W43</c:v>
                </c:pt>
                <c:pt idx="55">
                  <c:v>2021-W44</c:v>
                </c:pt>
                <c:pt idx="56">
                  <c:v>2021-W45</c:v>
                </c:pt>
                <c:pt idx="57">
                  <c:v>2021-W46</c:v>
                </c:pt>
                <c:pt idx="58">
                  <c:v>2021-W47</c:v>
                </c:pt>
                <c:pt idx="59">
                  <c:v>2021-W48</c:v>
                </c:pt>
                <c:pt idx="60">
                  <c:v>2021-W49</c:v>
                </c:pt>
                <c:pt idx="61">
                  <c:v>2021-W50</c:v>
                </c:pt>
                <c:pt idx="62">
                  <c:v>2021-W51</c:v>
                </c:pt>
                <c:pt idx="63">
                  <c:v>2021-W52</c:v>
                </c:pt>
                <c:pt idx="64">
                  <c:v>2022-W1</c:v>
                </c:pt>
                <c:pt idx="65">
                  <c:v>2022-W2</c:v>
                </c:pt>
                <c:pt idx="66">
                  <c:v>2022-W3</c:v>
                </c:pt>
                <c:pt idx="67">
                  <c:v>2022-W4</c:v>
                </c:pt>
                <c:pt idx="68">
                  <c:v>2022-W5</c:v>
                </c:pt>
                <c:pt idx="69">
                  <c:v>2022-W6</c:v>
                </c:pt>
                <c:pt idx="70">
                  <c:v>2022-W7</c:v>
                </c:pt>
                <c:pt idx="71">
                  <c:v>2022-W8</c:v>
                </c:pt>
                <c:pt idx="72">
                  <c:v>2022-W9</c:v>
                </c:pt>
                <c:pt idx="73">
                  <c:v>2022-W10</c:v>
                </c:pt>
                <c:pt idx="74">
                  <c:v>2022-W11</c:v>
                </c:pt>
                <c:pt idx="75">
                  <c:v>2022-W12</c:v>
                </c:pt>
                <c:pt idx="76">
                  <c:v>2022-W13</c:v>
                </c:pt>
                <c:pt idx="77">
                  <c:v>2022-W14</c:v>
                </c:pt>
                <c:pt idx="78">
                  <c:v>2022-W15</c:v>
                </c:pt>
                <c:pt idx="79">
                  <c:v>2022-W16</c:v>
                </c:pt>
                <c:pt idx="80">
                  <c:v>2022-W17</c:v>
                </c:pt>
                <c:pt idx="81">
                  <c:v>2022-W18</c:v>
                </c:pt>
                <c:pt idx="82">
                  <c:v>2022-W19</c:v>
                </c:pt>
                <c:pt idx="83">
                  <c:v>2022-W20</c:v>
                </c:pt>
                <c:pt idx="84">
                  <c:v>2022-W21</c:v>
                </c:pt>
                <c:pt idx="85">
                  <c:v>2022-W22</c:v>
                </c:pt>
                <c:pt idx="86">
                  <c:v>2022-W23</c:v>
                </c:pt>
                <c:pt idx="87">
                  <c:v>2022-W24</c:v>
                </c:pt>
                <c:pt idx="88">
                  <c:v>2022-W25</c:v>
                </c:pt>
                <c:pt idx="89">
                  <c:v>2022-W26</c:v>
                </c:pt>
                <c:pt idx="90">
                  <c:v>2022-W27</c:v>
                </c:pt>
                <c:pt idx="91">
                  <c:v>2022-W28</c:v>
                </c:pt>
              </c:strCache>
            </c:strRef>
          </c:cat>
          <c:val>
            <c:numRef>
              <c:f>Data!$D$4:$D$95</c:f>
              <c:numCache>
                <c:formatCode>General</c:formatCode>
                <c:ptCount val="92"/>
                <c:pt idx="0">
                  <c:v>5.1465389016334901</c:v>
                </c:pt>
                <c:pt idx="1">
                  <c:v>5.1465389016334901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5.146538901633490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4.6779665034194062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4.6779665034194062</c:v>
                </c:pt>
                <c:pt idx="29">
                  <c:v>#N/A</c:v>
                </c:pt>
                <c:pt idx="30">
                  <c:v>4.6779665034194062</c:v>
                </c:pt>
                <c:pt idx="31">
                  <c:v>4.6779665034194062</c:v>
                </c:pt>
                <c:pt idx="32">
                  <c:v>4.6779665034194062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4.510875792838279</c:v>
                </c:pt>
                <c:pt idx="56">
                  <c:v>4.510875792838279</c:v>
                </c:pt>
                <c:pt idx="57">
                  <c:v>4.583292380016089</c:v>
                </c:pt>
                <c:pt idx="58">
                  <c:v>4.6082644302087239</c:v>
                </c:pt>
                <c:pt idx="59">
                  <c:v>4.5767099997208351</c:v>
                </c:pt>
                <c:pt idx="60">
                  <c:v>4.6281196852908462</c:v>
                </c:pt>
                <c:pt idx="61">
                  <c:v>4.6494682666874967</c:v>
                </c:pt>
                <c:pt idx="62">
                  <c:v>4.6431031129703841</c:v>
                </c:pt>
                <c:pt idx="63">
                  <c:v>4.6265449190334822</c:v>
                </c:pt>
                <c:pt idx="64">
                  <c:v>#N/A</c:v>
                </c:pt>
                <c:pt idx="65">
                  <c:v>#N/A</c:v>
                </c:pt>
                <c:pt idx="66">
                  <c:v>4.6594458029813781</c:v>
                </c:pt>
                <c:pt idx="67">
                  <c:v>#N/A</c:v>
                </c:pt>
                <c:pt idx="68">
                  <c:v>4.6497626702654546</c:v>
                </c:pt>
                <c:pt idx="69">
                  <c:v>4.6497626702654546</c:v>
                </c:pt>
                <c:pt idx="70">
                  <c:v>#N/A</c:v>
                </c:pt>
                <c:pt idx="71">
                  <c:v>#N/A</c:v>
                </c:pt>
                <c:pt idx="72">
                  <c:v>4.6545391223397194</c:v>
                </c:pt>
                <c:pt idx="73">
                  <c:v>4.6545391223397194</c:v>
                </c:pt>
                <c:pt idx="74">
                  <c:v>4.6545391223397194</c:v>
                </c:pt>
                <c:pt idx="75">
                  <c:v>4.6545391223397194</c:v>
                </c:pt>
                <c:pt idx="76">
                  <c:v>4.6545391223397194</c:v>
                </c:pt>
                <c:pt idx="77">
                  <c:v>4.6545391223397194</c:v>
                </c:pt>
                <c:pt idx="78">
                  <c:v>4.6545391223397194</c:v>
                </c:pt>
                <c:pt idx="79">
                  <c:v>4.6545391223397194</c:v>
                </c:pt>
                <c:pt idx="80">
                  <c:v>4.6545391223397194</c:v>
                </c:pt>
                <c:pt idx="81">
                  <c:v>#N/A</c:v>
                </c:pt>
                <c:pt idx="82">
                  <c:v>#N/A</c:v>
                </c:pt>
                <c:pt idx="83">
                  <c:v>4.6545391223397194</c:v>
                </c:pt>
                <c:pt idx="84">
                  <c:v>4.6545391223397194</c:v>
                </c:pt>
                <c:pt idx="85">
                  <c:v>4.6545391223397194</c:v>
                </c:pt>
                <c:pt idx="86">
                  <c:v>4.654539122339719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4.65453912233971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39-4502-B4F3-A027119869AB}"/>
            </c:ext>
          </c:extLst>
        </c:ser>
        <c:ser>
          <c:idx val="3"/>
          <c:order val="3"/>
          <c:tx>
            <c:strRef>
              <c:f>Data!$E$3</c:f>
              <c:strCache>
                <c:ptCount val="1"/>
                <c:pt idx="0">
                  <c:v>6640-102092</c:v>
                </c:pt>
              </c:strCache>
            </c:strRef>
          </c:tx>
          <c:spPr>
            <a:ln>
              <a:solidFill>
                <a:srgbClr val="FFBB78"/>
              </a:solidFill>
              <a:round/>
            </a:ln>
          </c:spPr>
          <c:marker>
            <c:symbol val="star"/>
            <c:size val="4"/>
            <c:spPr>
              <a:noFill/>
              <a:ln>
                <a:solidFill>
                  <a:srgbClr val="7F5D3C"/>
                </a:solidFill>
              </a:ln>
            </c:spPr>
          </c:marker>
          <c:cat>
            <c:strRef>
              <c:f>Data!$A$4:$A$95</c:f>
              <c:strCache>
                <c:ptCount val="92"/>
                <c:pt idx="0">
                  <c:v>2020-W42</c:v>
                </c:pt>
                <c:pt idx="1">
                  <c:v>2020-W43</c:v>
                </c:pt>
                <c:pt idx="2">
                  <c:v>2020-W44</c:v>
                </c:pt>
                <c:pt idx="3">
                  <c:v>2020-W45</c:v>
                </c:pt>
                <c:pt idx="4">
                  <c:v>2020-W46</c:v>
                </c:pt>
                <c:pt idx="5">
                  <c:v>2020-W47</c:v>
                </c:pt>
                <c:pt idx="6">
                  <c:v>2020-W48</c:v>
                </c:pt>
                <c:pt idx="7">
                  <c:v>2020-W49</c:v>
                </c:pt>
                <c:pt idx="8">
                  <c:v>2020-W50</c:v>
                </c:pt>
                <c:pt idx="9">
                  <c:v>2020-W51</c:v>
                </c:pt>
                <c:pt idx="10">
                  <c:v>2020-W52</c:v>
                </c:pt>
                <c:pt idx="11">
                  <c:v>2020-W53</c:v>
                </c:pt>
                <c:pt idx="12">
                  <c:v>2021-W1</c:v>
                </c:pt>
                <c:pt idx="13">
                  <c:v>2021-W2</c:v>
                </c:pt>
                <c:pt idx="14">
                  <c:v>2021-W3</c:v>
                </c:pt>
                <c:pt idx="15">
                  <c:v>2021-W4</c:v>
                </c:pt>
                <c:pt idx="16">
                  <c:v>2021-W5</c:v>
                </c:pt>
                <c:pt idx="17">
                  <c:v>2021-W6</c:v>
                </c:pt>
                <c:pt idx="18">
                  <c:v>2021-W7</c:v>
                </c:pt>
                <c:pt idx="19">
                  <c:v>2021-W8</c:v>
                </c:pt>
                <c:pt idx="20">
                  <c:v>2021-W9</c:v>
                </c:pt>
                <c:pt idx="21">
                  <c:v>2021-W10</c:v>
                </c:pt>
                <c:pt idx="22">
                  <c:v>2021-W11</c:v>
                </c:pt>
                <c:pt idx="23">
                  <c:v>2021-W12</c:v>
                </c:pt>
                <c:pt idx="24">
                  <c:v>2021-W13</c:v>
                </c:pt>
                <c:pt idx="25">
                  <c:v>2021-W14</c:v>
                </c:pt>
                <c:pt idx="26">
                  <c:v>2021-W15</c:v>
                </c:pt>
                <c:pt idx="27">
                  <c:v>2021-W16</c:v>
                </c:pt>
                <c:pt idx="28">
                  <c:v>2021-W17</c:v>
                </c:pt>
                <c:pt idx="29">
                  <c:v>2021-W18</c:v>
                </c:pt>
                <c:pt idx="30">
                  <c:v>2021-W19</c:v>
                </c:pt>
                <c:pt idx="31">
                  <c:v>2021-W20</c:v>
                </c:pt>
                <c:pt idx="32">
                  <c:v>2021-W21</c:v>
                </c:pt>
                <c:pt idx="33">
                  <c:v>2021-W22</c:v>
                </c:pt>
                <c:pt idx="34">
                  <c:v>2021-W23</c:v>
                </c:pt>
                <c:pt idx="35">
                  <c:v>2021-W24</c:v>
                </c:pt>
                <c:pt idx="36">
                  <c:v>2021-W25</c:v>
                </c:pt>
                <c:pt idx="37">
                  <c:v>2021-W26</c:v>
                </c:pt>
                <c:pt idx="38">
                  <c:v>2021-W27</c:v>
                </c:pt>
                <c:pt idx="39">
                  <c:v>2021-W28</c:v>
                </c:pt>
                <c:pt idx="40">
                  <c:v>2021-W29</c:v>
                </c:pt>
                <c:pt idx="41">
                  <c:v>2021-W30</c:v>
                </c:pt>
                <c:pt idx="42">
                  <c:v>2021-W31</c:v>
                </c:pt>
                <c:pt idx="43">
                  <c:v>2021-W32</c:v>
                </c:pt>
                <c:pt idx="44">
                  <c:v>2021-W33</c:v>
                </c:pt>
                <c:pt idx="45">
                  <c:v>2021-W34</c:v>
                </c:pt>
                <c:pt idx="46">
                  <c:v>2021-W35</c:v>
                </c:pt>
                <c:pt idx="47">
                  <c:v>2021-W36</c:v>
                </c:pt>
                <c:pt idx="48">
                  <c:v>2021-W37</c:v>
                </c:pt>
                <c:pt idx="49">
                  <c:v>2021-W38</c:v>
                </c:pt>
                <c:pt idx="50">
                  <c:v>2021-W39</c:v>
                </c:pt>
                <c:pt idx="51">
                  <c:v>2021-W40</c:v>
                </c:pt>
                <c:pt idx="52">
                  <c:v>2021-W41</c:v>
                </c:pt>
                <c:pt idx="53">
                  <c:v>2021-W42</c:v>
                </c:pt>
                <c:pt idx="54">
                  <c:v>2021-W43</c:v>
                </c:pt>
                <c:pt idx="55">
                  <c:v>2021-W44</c:v>
                </c:pt>
                <c:pt idx="56">
                  <c:v>2021-W45</c:v>
                </c:pt>
                <c:pt idx="57">
                  <c:v>2021-W46</c:v>
                </c:pt>
                <c:pt idx="58">
                  <c:v>2021-W47</c:v>
                </c:pt>
                <c:pt idx="59">
                  <c:v>2021-W48</c:v>
                </c:pt>
                <c:pt idx="60">
                  <c:v>2021-W49</c:v>
                </c:pt>
                <c:pt idx="61">
                  <c:v>2021-W50</c:v>
                </c:pt>
                <c:pt idx="62">
                  <c:v>2021-W51</c:v>
                </c:pt>
                <c:pt idx="63">
                  <c:v>2021-W52</c:v>
                </c:pt>
                <c:pt idx="64">
                  <c:v>2022-W1</c:v>
                </c:pt>
                <c:pt idx="65">
                  <c:v>2022-W2</c:v>
                </c:pt>
                <c:pt idx="66">
                  <c:v>2022-W3</c:v>
                </c:pt>
                <c:pt idx="67">
                  <c:v>2022-W4</c:v>
                </c:pt>
                <c:pt idx="68">
                  <c:v>2022-W5</c:v>
                </c:pt>
                <c:pt idx="69">
                  <c:v>2022-W6</c:v>
                </c:pt>
                <c:pt idx="70">
                  <c:v>2022-W7</c:v>
                </c:pt>
                <c:pt idx="71">
                  <c:v>2022-W8</c:v>
                </c:pt>
                <c:pt idx="72">
                  <c:v>2022-W9</c:v>
                </c:pt>
                <c:pt idx="73">
                  <c:v>2022-W10</c:v>
                </c:pt>
                <c:pt idx="74">
                  <c:v>2022-W11</c:v>
                </c:pt>
                <c:pt idx="75">
                  <c:v>2022-W12</c:v>
                </c:pt>
                <c:pt idx="76">
                  <c:v>2022-W13</c:v>
                </c:pt>
                <c:pt idx="77">
                  <c:v>2022-W14</c:v>
                </c:pt>
                <c:pt idx="78">
                  <c:v>2022-W15</c:v>
                </c:pt>
                <c:pt idx="79">
                  <c:v>2022-W16</c:v>
                </c:pt>
                <c:pt idx="80">
                  <c:v>2022-W17</c:v>
                </c:pt>
                <c:pt idx="81">
                  <c:v>2022-W18</c:v>
                </c:pt>
                <c:pt idx="82">
                  <c:v>2022-W19</c:v>
                </c:pt>
                <c:pt idx="83">
                  <c:v>2022-W20</c:v>
                </c:pt>
                <c:pt idx="84">
                  <c:v>2022-W21</c:v>
                </c:pt>
                <c:pt idx="85">
                  <c:v>2022-W22</c:v>
                </c:pt>
                <c:pt idx="86">
                  <c:v>2022-W23</c:v>
                </c:pt>
                <c:pt idx="87">
                  <c:v>2022-W24</c:v>
                </c:pt>
                <c:pt idx="88">
                  <c:v>2022-W25</c:v>
                </c:pt>
                <c:pt idx="89">
                  <c:v>2022-W26</c:v>
                </c:pt>
                <c:pt idx="90">
                  <c:v>2022-W27</c:v>
                </c:pt>
                <c:pt idx="91">
                  <c:v>2022-W28</c:v>
                </c:pt>
              </c:strCache>
            </c:strRef>
          </c:cat>
          <c:val>
            <c:numRef>
              <c:f>Data!$E$4:$E$95</c:f>
              <c:numCache>
                <c:formatCode>General</c:formatCode>
                <c:ptCount val="92"/>
                <c:pt idx="0">
                  <c:v>5.1189165827759862</c:v>
                </c:pt>
                <c:pt idx="1">
                  <c:v>5.148231558243114</c:v>
                </c:pt>
                <c:pt idx="2">
                  <c:v>5.7695149830748829</c:v>
                </c:pt>
                <c:pt idx="3">
                  <c:v>5.7695149830748829</c:v>
                </c:pt>
                <c:pt idx="4">
                  <c:v>#N/A</c:v>
                </c:pt>
                <c:pt idx="5">
                  <c:v>#N/A</c:v>
                </c:pt>
                <c:pt idx="6">
                  <c:v>5.2169046808747748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5.2892181154154354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5.3014547396861982</c:v>
                </c:pt>
                <c:pt idx="29">
                  <c:v>#N/A</c:v>
                </c:pt>
                <c:pt idx="30">
                  <c:v>5.0092497020090452</c:v>
                </c:pt>
                <c:pt idx="31">
                  <c:v>5.3577541505842889</c:v>
                </c:pt>
                <c:pt idx="32">
                  <c:v>5.3706999278654752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5.3945467788755463</c:v>
                </c:pt>
                <c:pt idx="56">
                  <c:v>5.3321653865897707</c:v>
                </c:pt>
                <c:pt idx="57">
                  <c:v>5.3007685352066138</c:v>
                </c:pt>
                <c:pt idx="58">
                  <c:v>5.302222066432229</c:v>
                </c:pt>
                <c:pt idx="59">
                  <c:v>5.2140767259472849</c:v>
                </c:pt>
                <c:pt idx="60">
                  <c:v>5.361311654240013</c:v>
                </c:pt>
                <c:pt idx="61">
                  <c:v>5.6636617855879052</c:v>
                </c:pt>
                <c:pt idx="62">
                  <c:v>5.7179436319718198</c:v>
                </c:pt>
                <c:pt idx="63">
                  <c:v>5.7674832426268274</c:v>
                </c:pt>
                <c:pt idx="64">
                  <c:v>#N/A</c:v>
                </c:pt>
                <c:pt idx="65">
                  <c:v>#N/A</c:v>
                </c:pt>
                <c:pt idx="66">
                  <c:v>6.7010186011620192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39-4502-B4F3-A027119869AB}"/>
            </c:ext>
          </c:extLst>
        </c:ser>
        <c:ser>
          <c:idx val="4"/>
          <c:order val="4"/>
          <c:tx>
            <c:strRef>
              <c:f>Data!$F$3</c:f>
              <c:strCache>
                <c:ptCount val="1"/>
                <c:pt idx="0">
                  <c:v>6640-106401</c:v>
                </c:pt>
              </c:strCache>
            </c:strRef>
          </c:tx>
          <c:spPr>
            <a:ln>
              <a:solidFill>
                <a:srgbClr val="2CA02C"/>
              </a:solidFill>
              <a:round/>
            </a:ln>
          </c:spPr>
          <c:marker>
            <c:symbol val="circle"/>
            <c:size val="4"/>
            <c:spPr>
              <a:noFill/>
              <a:ln>
                <a:solidFill>
                  <a:srgbClr val="165016"/>
                </a:solidFill>
              </a:ln>
            </c:spPr>
          </c:marker>
          <c:cat>
            <c:strRef>
              <c:f>Data!$A$4:$A$95</c:f>
              <c:strCache>
                <c:ptCount val="92"/>
                <c:pt idx="0">
                  <c:v>2020-W42</c:v>
                </c:pt>
                <c:pt idx="1">
                  <c:v>2020-W43</c:v>
                </c:pt>
                <c:pt idx="2">
                  <c:v>2020-W44</c:v>
                </c:pt>
                <c:pt idx="3">
                  <c:v>2020-W45</c:v>
                </c:pt>
                <c:pt idx="4">
                  <c:v>2020-W46</c:v>
                </c:pt>
                <c:pt idx="5">
                  <c:v>2020-W47</c:v>
                </c:pt>
                <c:pt idx="6">
                  <c:v>2020-W48</c:v>
                </c:pt>
                <c:pt idx="7">
                  <c:v>2020-W49</c:v>
                </c:pt>
                <c:pt idx="8">
                  <c:v>2020-W50</c:v>
                </c:pt>
                <c:pt idx="9">
                  <c:v>2020-W51</c:v>
                </c:pt>
                <c:pt idx="10">
                  <c:v>2020-W52</c:v>
                </c:pt>
                <c:pt idx="11">
                  <c:v>2020-W53</c:v>
                </c:pt>
                <c:pt idx="12">
                  <c:v>2021-W1</c:v>
                </c:pt>
                <c:pt idx="13">
                  <c:v>2021-W2</c:v>
                </c:pt>
                <c:pt idx="14">
                  <c:v>2021-W3</c:v>
                </c:pt>
                <c:pt idx="15">
                  <c:v>2021-W4</c:v>
                </c:pt>
                <c:pt idx="16">
                  <c:v>2021-W5</c:v>
                </c:pt>
                <c:pt idx="17">
                  <c:v>2021-W6</c:v>
                </c:pt>
                <c:pt idx="18">
                  <c:v>2021-W7</c:v>
                </c:pt>
                <c:pt idx="19">
                  <c:v>2021-W8</c:v>
                </c:pt>
                <c:pt idx="20">
                  <c:v>2021-W9</c:v>
                </c:pt>
                <c:pt idx="21">
                  <c:v>2021-W10</c:v>
                </c:pt>
                <c:pt idx="22">
                  <c:v>2021-W11</c:v>
                </c:pt>
                <c:pt idx="23">
                  <c:v>2021-W12</c:v>
                </c:pt>
                <c:pt idx="24">
                  <c:v>2021-W13</c:v>
                </c:pt>
                <c:pt idx="25">
                  <c:v>2021-W14</c:v>
                </c:pt>
                <c:pt idx="26">
                  <c:v>2021-W15</c:v>
                </c:pt>
                <c:pt idx="27">
                  <c:v>2021-W16</c:v>
                </c:pt>
                <c:pt idx="28">
                  <c:v>2021-W17</c:v>
                </c:pt>
                <c:pt idx="29">
                  <c:v>2021-W18</c:v>
                </c:pt>
                <c:pt idx="30">
                  <c:v>2021-W19</c:v>
                </c:pt>
                <c:pt idx="31">
                  <c:v>2021-W20</c:v>
                </c:pt>
                <c:pt idx="32">
                  <c:v>2021-W21</c:v>
                </c:pt>
                <c:pt idx="33">
                  <c:v>2021-W22</c:v>
                </c:pt>
                <c:pt idx="34">
                  <c:v>2021-W23</c:v>
                </c:pt>
                <c:pt idx="35">
                  <c:v>2021-W24</c:v>
                </c:pt>
                <c:pt idx="36">
                  <c:v>2021-W25</c:v>
                </c:pt>
                <c:pt idx="37">
                  <c:v>2021-W26</c:v>
                </c:pt>
                <c:pt idx="38">
                  <c:v>2021-W27</c:v>
                </c:pt>
                <c:pt idx="39">
                  <c:v>2021-W28</c:v>
                </c:pt>
                <c:pt idx="40">
                  <c:v>2021-W29</c:v>
                </c:pt>
                <c:pt idx="41">
                  <c:v>2021-W30</c:v>
                </c:pt>
                <c:pt idx="42">
                  <c:v>2021-W31</c:v>
                </c:pt>
                <c:pt idx="43">
                  <c:v>2021-W32</c:v>
                </c:pt>
                <c:pt idx="44">
                  <c:v>2021-W33</c:v>
                </c:pt>
                <c:pt idx="45">
                  <c:v>2021-W34</c:v>
                </c:pt>
                <c:pt idx="46">
                  <c:v>2021-W35</c:v>
                </c:pt>
                <c:pt idx="47">
                  <c:v>2021-W36</c:v>
                </c:pt>
                <c:pt idx="48">
                  <c:v>2021-W37</c:v>
                </c:pt>
                <c:pt idx="49">
                  <c:v>2021-W38</c:v>
                </c:pt>
                <c:pt idx="50">
                  <c:v>2021-W39</c:v>
                </c:pt>
                <c:pt idx="51">
                  <c:v>2021-W40</c:v>
                </c:pt>
                <c:pt idx="52">
                  <c:v>2021-W41</c:v>
                </c:pt>
                <c:pt idx="53">
                  <c:v>2021-W42</c:v>
                </c:pt>
                <c:pt idx="54">
                  <c:v>2021-W43</c:v>
                </c:pt>
                <c:pt idx="55">
                  <c:v>2021-W44</c:v>
                </c:pt>
                <c:pt idx="56">
                  <c:v>2021-W45</c:v>
                </c:pt>
                <c:pt idx="57">
                  <c:v>2021-W46</c:v>
                </c:pt>
                <c:pt idx="58">
                  <c:v>2021-W47</c:v>
                </c:pt>
                <c:pt idx="59">
                  <c:v>2021-W48</c:v>
                </c:pt>
                <c:pt idx="60">
                  <c:v>2021-W49</c:v>
                </c:pt>
                <c:pt idx="61">
                  <c:v>2021-W50</c:v>
                </c:pt>
                <c:pt idx="62">
                  <c:v>2021-W51</c:v>
                </c:pt>
                <c:pt idx="63">
                  <c:v>2021-W52</c:v>
                </c:pt>
                <c:pt idx="64">
                  <c:v>2022-W1</c:v>
                </c:pt>
                <c:pt idx="65">
                  <c:v>2022-W2</c:v>
                </c:pt>
                <c:pt idx="66">
                  <c:v>2022-W3</c:v>
                </c:pt>
                <c:pt idx="67">
                  <c:v>2022-W4</c:v>
                </c:pt>
                <c:pt idx="68">
                  <c:v>2022-W5</c:v>
                </c:pt>
                <c:pt idx="69">
                  <c:v>2022-W6</c:v>
                </c:pt>
                <c:pt idx="70">
                  <c:v>2022-W7</c:v>
                </c:pt>
                <c:pt idx="71">
                  <c:v>2022-W8</c:v>
                </c:pt>
                <c:pt idx="72">
                  <c:v>2022-W9</c:v>
                </c:pt>
                <c:pt idx="73">
                  <c:v>2022-W10</c:v>
                </c:pt>
                <c:pt idx="74">
                  <c:v>2022-W11</c:v>
                </c:pt>
                <c:pt idx="75">
                  <c:v>2022-W12</c:v>
                </c:pt>
                <c:pt idx="76">
                  <c:v>2022-W13</c:v>
                </c:pt>
                <c:pt idx="77">
                  <c:v>2022-W14</c:v>
                </c:pt>
                <c:pt idx="78">
                  <c:v>2022-W15</c:v>
                </c:pt>
                <c:pt idx="79">
                  <c:v>2022-W16</c:v>
                </c:pt>
                <c:pt idx="80">
                  <c:v>2022-W17</c:v>
                </c:pt>
                <c:pt idx="81">
                  <c:v>2022-W18</c:v>
                </c:pt>
                <c:pt idx="82">
                  <c:v>2022-W19</c:v>
                </c:pt>
                <c:pt idx="83">
                  <c:v>2022-W20</c:v>
                </c:pt>
                <c:pt idx="84">
                  <c:v>2022-W21</c:v>
                </c:pt>
                <c:pt idx="85">
                  <c:v>2022-W22</c:v>
                </c:pt>
                <c:pt idx="86">
                  <c:v>2022-W23</c:v>
                </c:pt>
                <c:pt idx="87">
                  <c:v>2022-W24</c:v>
                </c:pt>
                <c:pt idx="88">
                  <c:v>2022-W25</c:v>
                </c:pt>
                <c:pt idx="89">
                  <c:v>2022-W26</c:v>
                </c:pt>
                <c:pt idx="90">
                  <c:v>2022-W27</c:v>
                </c:pt>
                <c:pt idx="91">
                  <c:v>2022-W28</c:v>
                </c:pt>
              </c:strCache>
            </c:strRef>
          </c:cat>
          <c:val>
            <c:numRef>
              <c:f>Data!$F$4:$F$95</c:f>
              <c:numCache>
                <c:formatCode>General</c:formatCode>
                <c:ptCount val="9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5.151498752388223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5.151498752388223</c:v>
                </c:pt>
                <c:pt idx="29">
                  <c:v>#N/A</c:v>
                </c:pt>
                <c:pt idx="30">
                  <c:v>#N/A</c:v>
                </c:pt>
                <c:pt idx="31">
                  <c:v>5.151498752388223</c:v>
                </c:pt>
                <c:pt idx="32">
                  <c:v>5.151498752388223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5.1898768692249604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5.1571125963736337</c:v>
                </c:pt>
                <c:pt idx="54">
                  <c:v>5.171892479478573</c:v>
                </c:pt>
                <c:pt idx="55">
                  <c:v>5.1621326603433095</c:v>
                </c:pt>
                <c:pt idx="56">
                  <c:v>5.1608126741293168</c:v>
                </c:pt>
                <c:pt idx="57">
                  <c:v>5.1371036808073267</c:v>
                </c:pt>
                <c:pt idx="58">
                  <c:v>5.1525129437075057</c:v>
                </c:pt>
                <c:pt idx="59">
                  <c:v>5.1362197375325787</c:v>
                </c:pt>
                <c:pt idx="60">
                  <c:v>5.1419544707799636</c:v>
                </c:pt>
                <c:pt idx="61">
                  <c:v>5.1508979440724376</c:v>
                </c:pt>
                <c:pt idx="62">
                  <c:v>5.1604303139059935</c:v>
                </c:pt>
                <c:pt idx="63">
                  <c:v>5.1559537001427325</c:v>
                </c:pt>
                <c:pt idx="64">
                  <c:v>#N/A</c:v>
                </c:pt>
                <c:pt idx="65">
                  <c:v>#N/A</c:v>
                </c:pt>
                <c:pt idx="66">
                  <c:v>5.1522256375731352</c:v>
                </c:pt>
                <c:pt idx="67">
                  <c:v>#N/A</c:v>
                </c:pt>
                <c:pt idx="68">
                  <c:v>5.1630254563977891</c:v>
                </c:pt>
                <c:pt idx="69">
                  <c:v>5.1630254563977891</c:v>
                </c:pt>
                <c:pt idx="70">
                  <c:v>5.0427505155297139</c:v>
                </c:pt>
                <c:pt idx="71">
                  <c:v>5.0490156724589603</c:v>
                </c:pt>
                <c:pt idx="72">
                  <c:v>5.1656893220249573</c:v>
                </c:pt>
                <c:pt idx="73">
                  <c:v>5.1656893220249573</c:v>
                </c:pt>
                <c:pt idx="74">
                  <c:v>5.1656893220249573</c:v>
                </c:pt>
                <c:pt idx="75">
                  <c:v>5.1656893220249573</c:v>
                </c:pt>
                <c:pt idx="76">
                  <c:v>5.1656893220249573</c:v>
                </c:pt>
                <c:pt idx="77">
                  <c:v>5.1656893220249573</c:v>
                </c:pt>
                <c:pt idx="78">
                  <c:v>5.1656893220249573</c:v>
                </c:pt>
                <c:pt idx="79">
                  <c:v>5.1656893220249573</c:v>
                </c:pt>
                <c:pt idx="80">
                  <c:v>5.1656893220249573</c:v>
                </c:pt>
                <c:pt idx="81">
                  <c:v>#N/A</c:v>
                </c:pt>
                <c:pt idx="82">
                  <c:v>#N/A</c:v>
                </c:pt>
                <c:pt idx="83">
                  <c:v>5.1656893220249573</c:v>
                </c:pt>
                <c:pt idx="84">
                  <c:v>5.1656893220249573</c:v>
                </c:pt>
                <c:pt idx="85">
                  <c:v>5.1656893220249573</c:v>
                </c:pt>
                <c:pt idx="86">
                  <c:v>5.1656893220249573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5.1656893220249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39-4502-B4F3-A027119869AB}"/>
            </c:ext>
          </c:extLst>
        </c:ser>
        <c:ser>
          <c:idx val="5"/>
          <c:order val="5"/>
          <c:tx>
            <c:strRef>
              <c:f>Data!$G$3</c:f>
              <c:strCache>
                <c:ptCount val="1"/>
                <c:pt idx="0">
                  <c:v>6640-108019</c:v>
                </c:pt>
              </c:strCache>
            </c:strRef>
          </c:tx>
          <c:spPr>
            <a:ln>
              <a:solidFill>
                <a:schemeClr val="tx1">
                  <a:lumMod val="95000"/>
                  <a:lumOff val="5000"/>
                </a:schemeClr>
              </a:solidFill>
              <a:round/>
            </a:ln>
          </c:spPr>
          <c:marker>
            <c:symbol val="plus"/>
            <c:size val="4"/>
            <c:spPr>
              <a:noFill/>
              <a:ln>
                <a:solidFill>
                  <a:srgbClr val="4C6F45"/>
                </a:solidFill>
              </a:ln>
            </c:spPr>
          </c:marker>
          <c:cat>
            <c:strRef>
              <c:f>Data!$A$4:$A$95</c:f>
              <c:strCache>
                <c:ptCount val="92"/>
                <c:pt idx="0">
                  <c:v>2020-W42</c:v>
                </c:pt>
                <c:pt idx="1">
                  <c:v>2020-W43</c:v>
                </c:pt>
                <c:pt idx="2">
                  <c:v>2020-W44</c:v>
                </c:pt>
                <c:pt idx="3">
                  <c:v>2020-W45</c:v>
                </c:pt>
                <c:pt idx="4">
                  <c:v>2020-W46</c:v>
                </c:pt>
                <c:pt idx="5">
                  <c:v>2020-W47</c:v>
                </c:pt>
                <c:pt idx="6">
                  <c:v>2020-W48</c:v>
                </c:pt>
                <c:pt idx="7">
                  <c:v>2020-W49</c:v>
                </c:pt>
                <c:pt idx="8">
                  <c:v>2020-W50</c:v>
                </c:pt>
                <c:pt idx="9">
                  <c:v>2020-W51</c:v>
                </c:pt>
                <c:pt idx="10">
                  <c:v>2020-W52</c:v>
                </c:pt>
                <c:pt idx="11">
                  <c:v>2020-W53</c:v>
                </c:pt>
                <c:pt idx="12">
                  <c:v>2021-W1</c:v>
                </c:pt>
                <c:pt idx="13">
                  <c:v>2021-W2</c:v>
                </c:pt>
                <c:pt idx="14">
                  <c:v>2021-W3</c:v>
                </c:pt>
                <c:pt idx="15">
                  <c:v>2021-W4</c:v>
                </c:pt>
                <c:pt idx="16">
                  <c:v>2021-W5</c:v>
                </c:pt>
                <c:pt idx="17">
                  <c:v>2021-W6</c:v>
                </c:pt>
                <c:pt idx="18">
                  <c:v>2021-W7</c:v>
                </c:pt>
                <c:pt idx="19">
                  <c:v>2021-W8</c:v>
                </c:pt>
                <c:pt idx="20">
                  <c:v>2021-W9</c:v>
                </c:pt>
                <c:pt idx="21">
                  <c:v>2021-W10</c:v>
                </c:pt>
                <c:pt idx="22">
                  <c:v>2021-W11</c:v>
                </c:pt>
                <c:pt idx="23">
                  <c:v>2021-W12</c:v>
                </c:pt>
                <c:pt idx="24">
                  <c:v>2021-W13</c:v>
                </c:pt>
                <c:pt idx="25">
                  <c:v>2021-W14</c:v>
                </c:pt>
                <c:pt idx="26">
                  <c:v>2021-W15</c:v>
                </c:pt>
                <c:pt idx="27">
                  <c:v>2021-W16</c:v>
                </c:pt>
                <c:pt idx="28">
                  <c:v>2021-W17</c:v>
                </c:pt>
                <c:pt idx="29">
                  <c:v>2021-W18</c:v>
                </c:pt>
                <c:pt idx="30">
                  <c:v>2021-W19</c:v>
                </c:pt>
                <c:pt idx="31">
                  <c:v>2021-W20</c:v>
                </c:pt>
                <c:pt idx="32">
                  <c:v>2021-W21</c:v>
                </c:pt>
                <c:pt idx="33">
                  <c:v>2021-W22</c:v>
                </c:pt>
                <c:pt idx="34">
                  <c:v>2021-W23</c:v>
                </c:pt>
                <c:pt idx="35">
                  <c:v>2021-W24</c:v>
                </c:pt>
                <c:pt idx="36">
                  <c:v>2021-W25</c:v>
                </c:pt>
                <c:pt idx="37">
                  <c:v>2021-W26</c:v>
                </c:pt>
                <c:pt idx="38">
                  <c:v>2021-W27</c:v>
                </c:pt>
                <c:pt idx="39">
                  <c:v>2021-W28</c:v>
                </c:pt>
                <c:pt idx="40">
                  <c:v>2021-W29</c:v>
                </c:pt>
                <c:pt idx="41">
                  <c:v>2021-W30</c:v>
                </c:pt>
                <c:pt idx="42">
                  <c:v>2021-W31</c:v>
                </c:pt>
                <c:pt idx="43">
                  <c:v>2021-W32</c:v>
                </c:pt>
                <c:pt idx="44">
                  <c:v>2021-W33</c:v>
                </c:pt>
                <c:pt idx="45">
                  <c:v>2021-W34</c:v>
                </c:pt>
                <c:pt idx="46">
                  <c:v>2021-W35</c:v>
                </c:pt>
                <c:pt idx="47">
                  <c:v>2021-W36</c:v>
                </c:pt>
                <c:pt idx="48">
                  <c:v>2021-W37</c:v>
                </c:pt>
                <c:pt idx="49">
                  <c:v>2021-W38</c:v>
                </c:pt>
                <c:pt idx="50">
                  <c:v>2021-W39</c:v>
                </c:pt>
                <c:pt idx="51">
                  <c:v>2021-W40</c:v>
                </c:pt>
                <c:pt idx="52">
                  <c:v>2021-W41</c:v>
                </c:pt>
                <c:pt idx="53">
                  <c:v>2021-W42</c:v>
                </c:pt>
                <c:pt idx="54">
                  <c:v>2021-W43</c:v>
                </c:pt>
                <c:pt idx="55">
                  <c:v>2021-W44</c:v>
                </c:pt>
                <c:pt idx="56">
                  <c:v>2021-W45</c:v>
                </c:pt>
                <c:pt idx="57">
                  <c:v>2021-W46</c:v>
                </c:pt>
                <c:pt idx="58">
                  <c:v>2021-W47</c:v>
                </c:pt>
                <c:pt idx="59">
                  <c:v>2021-W48</c:v>
                </c:pt>
                <c:pt idx="60">
                  <c:v>2021-W49</c:v>
                </c:pt>
                <c:pt idx="61">
                  <c:v>2021-W50</c:v>
                </c:pt>
                <c:pt idx="62">
                  <c:v>2021-W51</c:v>
                </c:pt>
                <c:pt idx="63">
                  <c:v>2021-W52</c:v>
                </c:pt>
                <c:pt idx="64">
                  <c:v>2022-W1</c:v>
                </c:pt>
                <c:pt idx="65">
                  <c:v>2022-W2</c:v>
                </c:pt>
                <c:pt idx="66">
                  <c:v>2022-W3</c:v>
                </c:pt>
                <c:pt idx="67">
                  <c:v>2022-W4</c:v>
                </c:pt>
                <c:pt idx="68">
                  <c:v>2022-W5</c:v>
                </c:pt>
                <c:pt idx="69">
                  <c:v>2022-W6</c:v>
                </c:pt>
                <c:pt idx="70">
                  <c:v>2022-W7</c:v>
                </c:pt>
                <c:pt idx="71">
                  <c:v>2022-W8</c:v>
                </c:pt>
                <c:pt idx="72">
                  <c:v>2022-W9</c:v>
                </c:pt>
                <c:pt idx="73">
                  <c:v>2022-W10</c:v>
                </c:pt>
                <c:pt idx="74">
                  <c:v>2022-W11</c:v>
                </c:pt>
                <c:pt idx="75">
                  <c:v>2022-W12</c:v>
                </c:pt>
                <c:pt idx="76">
                  <c:v>2022-W13</c:v>
                </c:pt>
                <c:pt idx="77">
                  <c:v>2022-W14</c:v>
                </c:pt>
                <c:pt idx="78">
                  <c:v>2022-W15</c:v>
                </c:pt>
                <c:pt idx="79">
                  <c:v>2022-W16</c:v>
                </c:pt>
                <c:pt idx="80">
                  <c:v>2022-W17</c:v>
                </c:pt>
                <c:pt idx="81">
                  <c:v>2022-W18</c:v>
                </c:pt>
                <c:pt idx="82">
                  <c:v>2022-W19</c:v>
                </c:pt>
                <c:pt idx="83">
                  <c:v>2022-W20</c:v>
                </c:pt>
                <c:pt idx="84">
                  <c:v>2022-W21</c:v>
                </c:pt>
                <c:pt idx="85">
                  <c:v>2022-W22</c:v>
                </c:pt>
                <c:pt idx="86">
                  <c:v>2022-W23</c:v>
                </c:pt>
                <c:pt idx="87">
                  <c:v>2022-W24</c:v>
                </c:pt>
                <c:pt idx="88">
                  <c:v>2022-W25</c:v>
                </c:pt>
                <c:pt idx="89">
                  <c:v>2022-W26</c:v>
                </c:pt>
                <c:pt idx="90">
                  <c:v>2022-W27</c:v>
                </c:pt>
                <c:pt idx="91">
                  <c:v>2022-W28</c:v>
                </c:pt>
              </c:strCache>
            </c:strRef>
          </c:cat>
          <c:val>
            <c:numRef>
              <c:f>Data!$G$4:$G$95</c:f>
              <c:numCache>
                <c:formatCode>General</c:formatCode>
                <c:ptCount val="92"/>
                <c:pt idx="0">
                  <c:v>#N/A</c:v>
                </c:pt>
                <c:pt idx="1">
                  <c:v>4.6008175167883314</c:v>
                </c:pt>
                <c:pt idx="2">
                  <c:v>4.6008175167883314</c:v>
                </c:pt>
                <c:pt idx="3">
                  <c:v>4.6008175167883314</c:v>
                </c:pt>
                <c:pt idx="4">
                  <c:v>#N/A</c:v>
                </c:pt>
                <c:pt idx="5">
                  <c:v>#N/A</c:v>
                </c:pt>
                <c:pt idx="6">
                  <c:v>4.6008175167883314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4.6411242097633609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.5759067670356286</c:v>
                </c:pt>
                <c:pt idx="32">
                  <c:v>4.5934513580077914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4.5854129747370678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4.5784279641306096</c:v>
                </c:pt>
                <c:pt idx="56">
                  <c:v>4.5833401258306026</c:v>
                </c:pt>
                <c:pt idx="57">
                  <c:v>4.5524855785781115</c:v>
                </c:pt>
                <c:pt idx="58">
                  <c:v>4.5301246624592535</c:v>
                </c:pt>
                <c:pt idx="59">
                  <c:v>4.526319313452702</c:v>
                </c:pt>
                <c:pt idx="60">
                  <c:v>4.6049040843911495</c:v>
                </c:pt>
                <c:pt idx="61">
                  <c:v>4.5605878919311671</c:v>
                </c:pt>
                <c:pt idx="62">
                  <c:v>4.5373512974156993</c:v>
                </c:pt>
                <c:pt idx="63">
                  <c:v>4.5717041271239962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4.5245394813243722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39-4502-B4F3-A027119869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"/>
        <c:axId val="1962621136"/>
        <c:extLst>
          <c:ext xmlns:c15="http://schemas.microsoft.com/office/drawing/2012/chart" uri="{02D57815-91ED-43cb-92C2-25804820EDAC}">
            <c15:filteredLineSeries>
              <c15:ser>
                <c:idx val="6"/>
                <c:order val="6"/>
                <c:tx>
                  <c:strRef>
                    <c:extLst>
                      <c:ext uri="{02D57815-91ED-43cb-92C2-25804820EDAC}">
                        <c15:formulaRef>
                          <c15:sqref>Data!$H$3</c15:sqref>
                        </c15:formulaRef>
                      </c:ext>
                    </c:extLst>
                    <c:strCache>
                      <c:ptCount val="1"/>
                      <c:pt idx="0">
                        <c:v>6700-108033</c:v>
                      </c:pt>
                    </c:strCache>
                  </c:strRef>
                </c:tx>
                <c:spPr>
                  <a:ln>
                    <a:solidFill>
                      <a:srgbClr val="D62728"/>
                    </a:solidFill>
                    <a:round/>
                  </a:ln>
                </c:spPr>
                <c:marker>
                  <c:symbol val="dash"/>
                  <c:size val="4"/>
                  <c:spPr>
                    <a:noFill/>
                    <a:ln>
                      <a:solidFill>
                        <a:srgbClr val="6B1314"/>
                      </a:solidFill>
                    </a:ln>
                  </c:spPr>
                </c:marker>
                <c:cat>
                  <c:strRef>
                    <c:extLst>
                      <c:ext uri="{02D57815-91ED-43cb-92C2-25804820EDAC}">
                        <c15:formulaRef>
                          <c15:sqref>Data!$A$4:$A$95</c15:sqref>
                        </c15:formulaRef>
                      </c:ext>
                    </c:extLst>
                    <c:strCache>
                      <c:ptCount val="92"/>
                      <c:pt idx="0">
                        <c:v>2020-W42</c:v>
                      </c:pt>
                      <c:pt idx="1">
                        <c:v>2020-W43</c:v>
                      </c:pt>
                      <c:pt idx="2">
                        <c:v>2020-W44</c:v>
                      </c:pt>
                      <c:pt idx="3">
                        <c:v>2020-W45</c:v>
                      </c:pt>
                      <c:pt idx="4">
                        <c:v>2020-W46</c:v>
                      </c:pt>
                      <c:pt idx="5">
                        <c:v>2020-W47</c:v>
                      </c:pt>
                      <c:pt idx="6">
                        <c:v>2020-W48</c:v>
                      </c:pt>
                      <c:pt idx="7">
                        <c:v>2020-W49</c:v>
                      </c:pt>
                      <c:pt idx="8">
                        <c:v>2020-W50</c:v>
                      </c:pt>
                      <c:pt idx="9">
                        <c:v>2020-W51</c:v>
                      </c:pt>
                      <c:pt idx="10">
                        <c:v>2020-W52</c:v>
                      </c:pt>
                      <c:pt idx="11">
                        <c:v>2020-W53</c:v>
                      </c:pt>
                      <c:pt idx="12">
                        <c:v>2021-W1</c:v>
                      </c:pt>
                      <c:pt idx="13">
                        <c:v>2021-W2</c:v>
                      </c:pt>
                      <c:pt idx="14">
                        <c:v>2021-W3</c:v>
                      </c:pt>
                      <c:pt idx="15">
                        <c:v>2021-W4</c:v>
                      </c:pt>
                      <c:pt idx="16">
                        <c:v>2021-W5</c:v>
                      </c:pt>
                      <c:pt idx="17">
                        <c:v>2021-W6</c:v>
                      </c:pt>
                      <c:pt idx="18">
                        <c:v>2021-W7</c:v>
                      </c:pt>
                      <c:pt idx="19">
                        <c:v>2021-W8</c:v>
                      </c:pt>
                      <c:pt idx="20">
                        <c:v>2021-W9</c:v>
                      </c:pt>
                      <c:pt idx="21">
                        <c:v>2021-W10</c:v>
                      </c:pt>
                      <c:pt idx="22">
                        <c:v>2021-W11</c:v>
                      </c:pt>
                      <c:pt idx="23">
                        <c:v>2021-W12</c:v>
                      </c:pt>
                      <c:pt idx="24">
                        <c:v>2021-W13</c:v>
                      </c:pt>
                      <c:pt idx="25">
                        <c:v>2021-W14</c:v>
                      </c:pt>
                      <c:pt idx="26">
                        <c:v>2021-W15</c:v>
                      </c:pt>
                      <c:pt idx="27">
                        <c:v>2021-W16</c:v>
                      </c:pt>
                      <c:pt idx="28">
                        <c:v>2021-W17</c:v>
                      </c:pt>
                      <c:pt idx="29">
                        <c:v>2021-W18</c:v>
                      </c:pt>
                      <c:pt idx="30">
                        <c:v>2021-W19</c:v>
                      </c:pt>
                      <c:pt idx="31">
                        <c:v>2021-W20</c:v>
                      </c:pt>
                      <c:pt idx="32">
                        <c:v>2021-W21</c:v>
                      </c:pt>
                      <c:pt idx="33">
                        <c:v>2021-W22</c:v>
                      </c:pt>
                      <c:pt idx="34">
                        <c:v>2021-W23</c:v>
                      </c:pt>
                      <c:pt idx="35">
                        <c:v>2021-W24</c:v>
                      </c:pt>
                      <c:pt idx="36">
                        <c:v>2021-W25</c:v>
                      </c:pt>
                      <c:pt idx="37">
                        <c:v>2021-W26</c:v>
                      </c:pt>
                      <c:pt idx="38">
                        <c:v>2021-W27</c:v>
                      </c:pt>
                      <c:pt idx="39">
                        <c:v>2021-W28</c:v>
                      </c:pt>
                      <c:pt idx="40">
                        <c:v>2021-W29</c:v>
                      </c:pt>
                      <c:pt idx="41">
                        <c:v>2021-W30</c:v>
                      </c:pt>
                      <c:pt idx="42">
                        <c:v>2021-W31</c:v>
                      </c:pt>
                      <c:pt idx="43">
                        <c:v>2021-W32</c:v>
                      </c:pt>
                      <c:pt idx="44">
                        <c:v>2021-W33</c:v>
                      </c:pt>
                      <c:pt idx="45">
                        <c:v>2021-W34</c:v>
                      </c:pt>
                      <c:pt idx="46">
                        <c:v>2021-W35</c:v>
                      </c:pt>
                      <c:pt idx="47">
                        <c:v>2021-W36</c:v>
                      </c:pt>
                      <c:pt idx="48">
                        <c:v>2021-W37</c:v>
                      </c:pt>
                      <c:pt idx="49">
                        <c:v>2021-W38</c:v>
                      </c:pt>
                      <c:pt idx="50">
                        <c:v>2021-W39</c:v>
                      </c:pt>
                      <c:pt idx="51">
                        <c:v>2021-W40</c:v>
                      </c:pt>
                      <c:pt idx="52">
                        <c:v>2021-W41</c:v>
                      </c:pt>
                      <c:pt idx="53">
                        <c:v>2021-W42</c:v>
                      </c:pt>
                      <c:pt idx="54">
                        <c:v>2021-W43</c:v>
                      </c:pt>
                      <c:pt idx="55">
                        <c:v>2021-W44</c:v>
                      </c:pt>
                      <c:pt idx="56">
                        <c:v>2021-W45</c:v>
                      </c:pt>
                      <c:pt idx="57">
                        <c:v>2021-W46</c:v>
                      </c:pt>
                      <c:pt idx="58">
                        <c:v>2021-W47</c:v>
                      </c:pt>
                      <c:pt idx="59">
                        <c:v>2021-W48</c:v>
                      </c:pt>
                      <c:pt idx="60">
                        <c:v>2021-W49</c:v>
                      </c:pt>
                      <c:pt idx="61">
                        <c:v>2021-W50</c:v>
                      </c:pt>
                      <c:pt idx="62">
                        <c:v>2021-W51</c:v>
                      </c:pt>
                      <c:pt idx="63">
                        <c:v>2021-W52</c:v>
                      </c:pt>
                      <c:pt idx="64">
                        <c:v>2022-W1</c:v>
                      </c:pt>
                      <c:pt idx="65">
                        <c:v>2022-W2</c:v>
                      </c:pt>
                      <c:pt idx="66">
                        <c:v>2022-W3</c:v>
                      </c:pt>
                      <c:pt idx="67">
                        <c:v>2022-W4</c:v>
                      </c:pt>
                      <c:pt idx="68">
                        <c:v>2022-W5</c:v>
                      </c:pt>
                      <c:pt idx="69">
                        <c:v>2022-W6</c:v>
                      </c:pt>
                      <c:pt idx="70">
                        <c:v>2022-W7</c:v>
                      </c:pt>
                      <c:pt idx="71">
                        <c:v>2022-W8</c:v>
                      </c:pt>
                      <c:pt idx="72">
                        <c:v>2022-W9</c:v>
                      </c:pt>
                      <c:pt idx="73">
                        <c:v>2022-W10</c:v>
                      </c:pt>
                      <c:pt idx="74">
                        <c:v>2022-W11</c:v>
                      </c:pt>
                      <c:pt idx="75">
                        <c:v>2022-W12</c:v>
                      </c:pt>
                      <c:pt idx="76">
                        <c:v>2022-W13</c:v>
                      </c:pt>
                      <c:pt idx="77">
                        <c:v>2022-W14</c:v>
                      </c:pt>
                      <c:pt idx="78">
                        <c:v>2022-W15</c:v>
                      </c:pt>
                      <c:pt idx="79">
                        <c:v>2022-W16</c:v>
                      </c:pt>
                      <c:pt idx="80">
                        <c:v>2022-W17</c:v>
                      </c:pt>
                      <c:pt idx="81">
                        <c:v>2022-W18</c:v>
                      </c:pt>
                      <c:pt idx="82">
                        <c:v>2022-W19</c:v>
                      </c:pt>
                      <c:pt idx="83">
                        <c:v>2022-W20</c:v>
                      </c:pt>
                      <c:pt idx="84">
                        <c:v>2022-W21</c:v>
                      </c:pt>
                      <c:pt idx="85">
                        <c:v>2022-W22</c:v>
                      </c:pt>
                      <c:pt idx="86">
                        <c:v>2022-W23</c:v>
                      </c:pt>
                      <c:pt idx="87">
                        <c:v>2022-W24</c:v>
                      </c:pt>
                      <c:pt idx="88">
                        <c:v>2022-W25</c:v>
                      </c:pt>
                      <c:pt idx="89">
                        <c:v>2022-W26</c:v>
                      </c:pt>
                      <c:pt idx="90">
                        <c:v>2022-W27</c:v>
                      </c:pt>
                      <c:pt idx="91">
                        <c:v>2022-W2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4:$H$95</c15:sqref>
                        </c15:formulaRef>
                      </c:ext>
                    </c:extLst>
                    <c:numCache>
                      <c:formatCode>General</c:formatCode>
                      <c:ptCount val="92"/>
                      <c:pt idx="0">
                        <c:v>#N/A</c:v>
                      </c:pt>
                      <c:pt idx="1">
                        <c:v>#N/A</c:v>
                      </c:pt>
                      <c:pt idx="2">
                        <c:v>#N/A</c:v>
                      </c:pt>
                      <c:pt idx="3">
                        <c:v>#N/A</c:v>
                      </c:pt>
                      <c:pt idx="4">
                        <c:v>#N/A</c:v>
                      </c:pt>
                      <c:pt idx="5">
                        <c:v>#N/A</c:v>
                      </c:pt>
                      <c:pt idx="6">
                        <c:v>#N/A</c:v>
                      </c:pt>
                      <c:pt idx="7">
                        <c:v>#N/A</c:v>
                      </c:pt>
                      <c:pt idx="8">
                        <c:v>#N/A</c:v>
                      </c:pt>
                      <c:pt idx="9">
                        <c:v>#N/A</c:v>
                      </c:pt>
                      <c:pt idx="10">
                        <c:v>#N/A</c:v>
                      </c:pt>
                      <c:pt idx="11">
                        <c:v>#N/A</c:v>
                      </c:pt>
                      <c:pt idx="12">
                        <c:v>#N/A</c:v>
                      </c:pt>
                      <c:pt idx="13">
                        <c:v>#N/A</c:v>
                      </c:pt>
                      <c:pt idx="14">
                        <c:v>#N/A</c:v>
                      </c:pt>
                      <c:pt idx="15">
                        <c:v>#N/A</c:v>
                      </c:pt>
                      <c:pt idx="16">
                        <c:v>#N/A</c:v>
                      </c:pt>
                      <c:pt idx="17">
                        <c:v>#N/A</c:v>
                      </c:pt>
                      <c:pt idx="18">
                        <c:v>#N/A</c:v>
                      </c:pt>
                      <c:pt idx="19">
                        <c:v>#N/A</c:v>
                      </c:pt>
                      <c:pt idx="20">
                        <c:v>#N/A</c:v>
                      </c:pt>
                      <c:pt idx="21">
                        <c:v>#N/A</c:v>
                      </c:pt>
                      <c:pt idx="22">
                        <c:v>#N/A</c:v>
                      </c:pt>
                      <c:pt idx="23">
                        <c:v>#N/A</c:v>
                      </c:pt>
                      <c:pt idx="24">
                        <c:v>#N/A</c:v>
                      </c:pt>
                      <c:pt idx="25">
                        <c:v>#N/A</c:v>
                      </c:pt>
                      <c:pt idx="26">
                        <c:v>#N/A</c:v>
                      </c:pt>
                      <c:pt idx="27">
                        <c:v>#N/A</c:v>
                      </c:pt>
                      <c:pt idx="28">
                        <c:v>#N/A</c:v>
                      </c:pt>
                      <c:pt idx="29">
                        <c:v>#N/A</c:v>
                      </c:pt>
                      <c:pt idx="30">
                        <c:v>#N/A</c:v>
                      </c:pt>
                      <c:pt idx="31">
                        <c:v>#N/A</c:v>
                      </c:pt>
                      <c:pt idx="32">
                        <c:v>#N/A</c:v>
                      </c:pt>
                      <c:pt idx="33">
                        <c:v>#N/A</c:v>
                      </c:pt>
                      <c:pt idx="34">
                        <c:v>#N/A</c:v>
                      </c:pt>
                      <c:pt idx="35">
                        <c:v>#N/A</c:v>
                      </c:pt>
                      <c:pt idx="36">
                        <c:v>#N/A</c:v>
                      </c:pt>
                      <c:pt idx="37">
                        <c:v>#N/A</c:v>
                      </c:pt>
                      <c:pt idx="38">
                        <c:v>#N/A</c:v>
                      </c:pt>
                      <c:pt idx="39">
                        <c:v>#N/A</c:v>
                      </c:pt>
                      <c:pt idx="40">
                        <c:v>#N/A</c:v>
                      </c:pt>
                      <c:pt idx="41">
                        <c:v>#N/A</c:v>
                      </c:pt>
                      <c:pt idx="42">
                        <c:v>#N/A</c:v>
                      </c:pt>
                      <c:pt idx="43">
                        <c:v>#N/A</c:v>
                      </c:pt>
                      <c:pt idx="44">
                        <c:v>#N/A</c:v>
                      </c:pt>
                      <c:pt idx="45">
                        <c:v>#N/A</c:v>
                      </c:pt>
                      <c:pt idx="46">
                        <c:v>#N/A</c:v>
                      </c:pt>
                      <c:pt idx="47">
                        <c:v>#N/A</c:v>
                      </c:pt>
                      <c:pt idx="48">
                        <c:v>#N/A</c:v>
                      </c:pt>
                      <c:pt idx="49">
                        <c:v>#N/A</c:v>
                      </c:pt>
                      <c:pt idx="50">
                        <c:v>#N/A</c:v>
                      </c:pt>
                      <c:pt idx="51">
                        <c:v>#N/A</c:v>
                      </c:pt>
                      <c:pt idx="52">
                        <c:v>#N/A</c:v>
                      </c:pt>
                      <c:pt idx="53">
                        <c:v>#N/A</c:v>
                      </c:pt>
                      <c:pt idx="54">
                        <c:v>#N/A</c:v>
                      </c:pt>
                      <c:pt idx="55">
                        <c:v>4.6907811087599605</c:v>
                      </c:pt>
                      <c:pt idx="56">
                        <c:v>#N/A</c:v>
                      </c:pt>
                      <c:pt idx="57">
                        <c:v>#N/A</c:v>
                      </c:pt>
                      <c:pt idx="58">
                        <c:v>#N/A</c:v>
                      </c:pt>
                      <c:pt idx="59">
                        <c:v>#N/A</c:v>
                      </c:pt>
                      <c:pt idx="60">
                        <c:v>#N/A</c:v>
                      </c:pt>
                      <c:pt idx="61">
                        <c:v>#N/A</c:v>
                      </c:pt>
                      <c:pt idx="62">
                        <c:v>#N/A</c:v>
                      </c:pt>
                      <c:pt idx="63">
                        <c:v>#N/A</c:v>
                      </c:pt>
                      <c:pt idx="64">
                        <c:v>#N/A</c:v>
                      </c:pt>
                      <c:pt idx="65">
                        <c:v>#N/A</c:v>
                      </c:pt>
                      <c:pt idx="66">
                        <c:v>#N/A</c:v>
                      </c:pt>
                      <c:pt idx="67">
                        <c:v>#N/A</c:v>
                      </c:pt>
                      <c:pt idx="68">
                        <c:v>#N/A</c:v>
                      </c:pt>
                      <c:pt idx="69">
                        <c:v>#N/A</c:v>
                      </c:pt>
                      <c:pt idx="70">
                        <c:v>#N/A</c:v>
                      </c:pt>
                      <c:pt idx="71">
                        <c:v>#N/A</c:v>
                      </c:pt>
                      <c:pt idx="72">
                        <c:v>#N/A</c:v>
                      </c:pt>
                      <c:pt idx="73">
                        <c:v>#N/A</c:v>
                      </c:pt>
                      <c:pt idx="74">
                        <c:v>#N/A</c:v>
                      </c:pt>
                      <c:pt idx="75">
                        <c:v>#N/A</c:v>
                      </c:pt>
                      <c:pt idx="76">
                        <c:v>#N/A</c:v>
                      </c:pt>
                      <c:pt idx="77">
                        <c:v>#N/A</c:v>
                      </c:pt>
                      <c:pt idx="78">
                        <c:v>#N/A</c:v>
                      </c:pt>
                      <c:pt idx="79">
                        <c:v>#N/A</c:v>
                      </c:pt>
                      <c:pt idx="80">
                        <c:v>#N/A</c:v>
                      </c:pt>
                      <c:pt idx="81">
                        <c:v>#N/A</c:v>
                      </c:pt>
                      <c:pt idx="82">
                        <c:v>#N/A</c:v>
                      </c:pt>
                      <c:pt idx="83">
                        <c:v>#N/A</c:v>
                      </c:pt>
                      <c:pt idx="84">
                        <c:v>#N/A</c:v>
                      </c:pt>
                      <c:pt idx="85">
                        <c:v>#N/A</c:v>
                      </c:pt>
                      <c:pt idx="86">
                        <c:v>#N/A</c:v>
                      </c:pt>
                      <c:pt idx="87">
                        <c:v>#N/A</c:v>
                      </c:pt>
                      <c:pt idx="88">
                        <c:v>#N/A</c:v>
                      </c:pt>
                      <c:pt idx="89">
                        <c:v>#N/A</c:v>
                      </c:pt>
                      <c:pt idx="90">
                        <c:v>#N/A</c:v>
                      </c:pt>
                      <c:pt idx="91">
                        <c:v>#N/A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6-1139-4502-B4F3-A027119869AB}"/>
                  </c:ext>
                </c:extLst>
              </c15:ser>
            </c15:filteredLineSeries>
          </c:ext>
        </c:extLst>
      </c:lineChart>
      <c:valAx>
        <c:axId val="1962621136"/>
        <c:scaling>
          <c:orientation val="minMax"/>
          <c:max val="7"/>
          <c:min val="4"/>
        </c:scaling>
        <c:delete val="0"/>
        <c:axPos val="l"/>
        <c:title>
          <c:tx>
            <c:strRef>
              <c:f>Data!$A$2</c:f>
              <c:strCache>
                <c:ptCount val="1"/>
                <c:pt idx="0">
                  <c:v>Average of PositiveStd</c:v>
                </c:pt>
              </c:strCache>
            </c:strRef>
          </c:tx>
          <c:overlay val="0"/>
        </c:title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0"/>
        <c:axPos val="b"/>
        <c:title>
          <c:tx>
            <c:strRef>
              <c:f>Data!$A$3</c:f>
              <c:strCache>
                <c:ptCount val="1"/>
                <c:pt idx="0">
                  <c:v>Date_parsed</c:v>
                </c:pt>
              </c:strCache>
            </c:strRef>
          </c:tx>
          <c:overlay val="0"/>
        </c:title>
        <c:numFmt formatCode="General" sourceLinked="0"/>
        <c:majorTickMark val="cross"/>
        <c:minorTickMark val="cross"/>
        <c:tickLblPos val="nextTo"/>
        <c:crossAx val="1962621136"/>
        <c:crosses val="autoZero"/>
        <c:auto val="1"/>
        <c:lblAlgn val="ctr"/>
        <c:lblOffset val="100"/>
        <c:noMultiLvlLbl val="1"/>
      </c:catAx>
    </c:plotArea>
    <c:legend>
      <c:legendPos val="r"/>
      <c:overlay val="0"/>
    </c:legend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Data!$A$1</c:f>
          <c:strCache>
            <c:ptCount val="1"/>
            <c:pt idx="0">
              <c:v>Track Length Measurements</c:v>
            </c:pt>
          </c:strCache>
        </c:strRef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Torque</c:v>
                </c:pt>
              </c:strCache>
            </c:strRef>
          </c:tx>
          <c:spPr>
            <a:ln w="1270" cap="rnd" cmpd="sng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Data!$A$3:$A$10002</c:f>
              <c:strCache>
                <c:ptCount val="10000"/>
                <c:pt idx="0">
                  <c:v>0.009-0.016</c:v>
                </c:pt>
                <c:pt idx="1">
                  <c:v>0.016-0.023</c:v>
                </c:pt>
                <c:pt idx="2">
                  <c:v>0.023-0.030</c:v>
                </c:pt>
                <c:pt idx="3">
                  <c:v>0.030-0.037</c:v>
                </c:pt>
                <c:pt idx="4">
                  <c:v>0.037-0.044</c:v>
                </c:pt>
                <c:pt idx="5">
                  <c:v>0.044-0.051</c:v>
                </c:pt>
                <c:pt idx="6">
                  <c:v>0.051-0.058</c:v>
                </c:pt>
                <c:pt idx="7">
                  <c:v>0.058-0.065</c:v>
                </c:pt>
                <c:pt idx="8">
                  <c:v>0.065-0.072</c:v>
                </c:pt>
                <c:pt idx="9">
                  <c:v>0.072-0.079</c:v>
                </c:pt>
                <c:pt idx="10">
                  <c:v>0.079-0.086</c:v>
                </c:pt>
                <c:pt idx="11">
                  <c:v>0.086-0.093</c:v>
                </c:pt>
                <c:pt idx="12">
                  <c:v>0.093-0.100</c:v>
                </c:pt>
                <c:pt idx="13">
                  <c:v>0.100-0.107</c:v>
                </c:pt>
                <c:pt idx="14">
                  <c:v>0.107-0.114</c:v>
                </c:pt>
                <c:pt idx="15">
                  <c:v>0.114-0.122</c:v>
                </c:pt>
                <c:pt idx="16">
                  <c:v>0.122-0.129</c:v>
                </c:pt>
                <c:pt idx="17">
                  <c:v>0.129-0.136</c:v>
                </c:pt>
                <c:pt idx="18">
                  <c:v>0.136-0.143</c:v>
                </c:pt>
                <c:pt idx="19">
                  <c:v>0.143-0.150</c:v>
                </c:pt>
                <c:pt idx="20">
                  <c:v>0.150-0.157</c:v>
                </c:pt>
                <c:pt idx="21">
                  <c:v>0.157-0.164</c:v>
                </c:pt>
                <c:pt idx="22">
                  <c:v>0.164-0.171</c:v>
                </c:pt>
                <c:pt idx="23">
                  <c:v>0.171-0.178</c:v>
                </c:pt>
                <c:pt idx="24">
                  <c:v>0.178-0.185</c:v>
                </c:pt>
                <c:pt idx="25">
                  <c:v>0.185-0.192</c:v>
                </c:pt>
                <c:pt idx="26">
                  <c:v>0.192-0.199</c:v>
                </c:pt>
                <c:pt idx="27">
                  <c:v>0.199-0.206</c:v>
                </c:pt>
                <c:pt idx="28">
                  <c:v>0.206-0.213</c:v>
                </c:pt>
                <c:pt idx="29">
                  <c:v>0.213-0.220</c:v>
                </c:pt>
                <c:pt idx="30">
                  <c:v>0.220-0.227</c:v>
                </c:pt>
                <c:pt idx="31">
                  <c:v>0.227-0.234</c:v>
                </c:pt>
                <c:pt idx="32">
                  <c:v>0.234-0.241</c:v>
                </c:pt>
                <c:pt idx="33">
                  <c:v>0.241-0.248</c:v>
                </c:pt>
                <c:pt idx="34">
                  <c:v>0.248-0.255</c:v>
                </c:pt>
                <c:pt idx="35">
                  <c:v>0.255-0.262</c:v>
                </c:pt>
                <c:pt idx="36">
                  <c:v>0.262-0.269</c:v>
                </c:pt>
                <c:pt idx="37">
                  <c:v>0.269-0.276</c:v>
                </c:pt>
                <c:pt idx="38">
                  <c:v>0.276-0.283</c:v>
                </c:pt>
                <c:pt idx="39">
                  <c:v>0.283-0.290</c:v>
                </c:pt>
                <c:pt idx="40">
                  <c:v>0.290-0.297</c:v>
                </c:pt>
                <c:pt idx="41">
                  <c:v>0.297-0.304</c:v>
                </c:pt>
                <c:pt idx="42">
                  <c:v>0.304-0.311</c:v>
                </c:pt>
                <c:pt idx="43">
                  <c:v>0.311-0.318</c:v>
                </c:pt>
                <c:pt idx="44">
                  <c:v>0.318-0.325</c:v>
                </c:pt>
                <c:pt idx="45">
                  <c:v>0.325-0.332</c:v>
                </c:pt>
                <c:pt idx="46">
                  <c:v>0.332-0.340</c:v>
                </c:pt>
                <c:pt idx="47">
                  <c:v>0.340-0.347</c:v>
                </c:pt>
                <c:pt idx="48">
                  <c:v>0.347-0.354</c:v>
                </c:pt>
                <c:pt idx="49">
                  <c:v>0.354-0.361</c:v>
                </c:pt>
                <c:pt idx="50">
                  <c:v>0.361-0.368</c:v>
                </c:pt>
                <c:pt idx="51">
                  <c:v>0.368-0.375</c:v>
                </c:pt>
                <c:pt idx="52">
                  <c:v>0.375-0.382</c:v>
                </c:pt>
                <c:pt idx="53">
                  <c:v>0.382-0.389</c:v>
                </c:pt>
                <c:pt idx="54">
                  <c:v>0.389-0.396</c:v>
                </c:pt>
                <c:pt idx="55">
                  <c:v>0.396-0.403</c:v>
                </c:pt>
                <c:pt idx="56">
                  <c:v>0.403-0.410</c:v>
                </c:pt>
                <c:pt idx="57">
                  <c:v>0.410-0.417</c:v>
                </c:pt>
                <c:pt idx="58">
                  <c:v>0.417-0.424</c:v>
                </c:pt>
                <c:pt idx="59">
                  <c:v>0.424-0.431</c:v>
                </c:pt>
                <c:pt idx="60">
                  <c:v>0.431-0.438</c:v>
                </c:pt>
                <c:pt idx="61">
                  <c:v>0.438-0.445</c:v>
                </c:pt>
                <c:pt idx="62">
                  <c:v>0.445-0.452</c:v>
                </c:pt>
                <c:pt idx="63">
                  <c:v>0.452-0.459</c:v>
                </c:pt>
                <c:pt idx="64">
                  <c:v>0.459-0.466</c:v>
                </c:pt>
                <c:pt idx="65">
                  <c:v>0.466-0.473</c:v>
                </c:pt>
                <c:pt idx="66">
                  <c:v>0.473-0.480</c:v>
                </c:pt>
                <c:pt idx="67">
                  <c:v>0.480-0.487</c:v>
                </c:pt>
                <c:pt idx="68">
                  <c:v>0.487-0.494</c:v>
                </c:pt>
                <c:pt idx="69">
                  <c:v>0.494-0.501</c:v>
                </c:pt>
                <c:pt idx="70">
                  <c:v>0.501-0.508</c:v>
                </c:pt>
                <c:pt idx="71">
                  <c:v>0.508-0.515</c:v>
                </c:pt>
                <c:pt idx="72">
                  <c:v>0.515-0.522</c:v>
                </c:pt>
                <c:pt idx="73">
                  <c:v>0.522-0.529</c:v>
                </c:pt>
                <c:pt idx="74">
                  <c:v>0.529-0.536</c:v>
                </c:pt>
                <c:pt idx="75">
                  <c:v>0.536-0.543</c:v>
                </c:pt>
                <c:pt idx="76">
                  <c:v>0.543-0.550</c:v>
                </c:pt>
                <c:pt idx="77">
                  <c:v>0.550-0.558</c:v>
                </c:pt>
                <c:pt idx="78">
                  <c:v>0.558-0.565</c:v>
                </c:pt>
                <c:pt idx="79">
                  <c:v>0.565-0.572</c:v>
                </c:pt>
                <c:pt idx="80">
                  <c:v>0.572-0.579</c:v>
                </c:pt>
                <c:pt idx="81">
                  <c:v>0.579-0.586</c:v>
                </c:pt>
                <c:pt idx="82">
                  <c:v>0.586-0.593</c:v>
                </c:pt>
                <c:pt idx="83">
                  <c:v>0.593-0.600</c:v>
                </c:pt>
                <c:pt idx="84">
                  <c:v>0.600-0.607</c:v>
                </c:pt>
                <c:pt idx="85">
                  <c:v>0.607-0.614</c:v>
                </c:pt>
                <c:pt idx="86">
                  <c:v>0.614-0.621</c:v>
                </c:pt>
                <c:pt idx="87">
                  <c:v>0.621-0.628</c:v>
                </c:pt>
                <c:pt idx="88">
                  <c:v>0.628-0.635</c:v>
                </c:pt>
                <c:pt idx="89">
                  <c:v>0.635-0.642</c:v>
                </c:pt>
                <c:pt idx="90">
                  <c:v>0.642-0.649</c:v>
                </c:pt>
                <c:pt idx="91">
                  <c:v>0.649-0.656</c:v>
                </c:pt>
                <c:pt idx="92">
                  <c:v>0.656-0.663</c:v>
                </c:pt>
                <c:pt idx="93">
                  <c:v>0.663-0.670</c:v>
                </c:pt>
                <c:pt idx="94">
                  <c:v>0.670-0.677</c:v>
                </c:pt>
                <c:pt idx="95">
                  <c:v>0.677-0.684</c:v>
                </c:pt>
                <c:pt idx="96">
                  <c:v>0.684-0.691</c:v>
                </c:pt>
                <c:pt idx="97">
                  <c:v>0.691-0.698</c:v>
                </c:pt>
                <c:pt idx="98">
                  <c:v>0.698-0.705</c:v>
                </c:pt>
                <c:pt idx="99">
                  <c:v>0.705-0.712</c:v>
                </c:pt>
                <c:pt idx="100">
                  <c:v>0.712-0.719</c:v>
                </c:pt>
                <c:pt idx="101">
                  <c:v>0.719-0.726</c:v>
                </c:pt>
                <c:pt idx="102">
                  <c:v>0.726-0.733</c:v>
                </c:pt>
                <c:pt idx="103">
                  <c:v>0.733-0.740</c:v>
                </c:pt>
                <c:pt idx="104">
                  <c:v>0.740-0.747</c:v>
                </c:pt>
                <c:pt idx="105">
                  <c:v>0.747-0.754</c:v>
                </c:pt>
                <c:pt idx="106">
                  <c:v>0.754-0.761</c:v>
                </c:pt>
                <c:pt idx="107">
                  <c:v>0.761-0.768</c:v>
                </c:pt>
                <c:pt idx="108">
                  <c:v>0.768-0.776</c:v>
                </c:pt>
                <c:pt idx="109">
                  <c:v>0.776-0.783</c:v>
                </c:pt>
                <c:pt idx="110">
                  <c:v>0.783-0.790</c:v>
                </c:pt>
                <c:pt idx="111">
                  <c:v>0.790-0.797</c:v>
                </c:pt>
                <c:pt idx="112">
                  <c:v>0.797-0.804</c:v>
                </c:pt>
                <c:pt idx="113">
                  <c:v>0.804-0.811</c:v>
                </c:pt>
                <c:pt idx="114">
                  <c:v>0.811-0.818</c:v>
                </c:pt>
                <c:pt idx="115">
                  <c:v>0.818-0.825</c:v>
                </c:pt>
                <c:pt idx="116">
                  <c:v>0.825-0.832</c:v>
                </c:pt>
                <c:pt idx="117">
                  <c:v>0.832-0.839</c:v>
                </c:pt>
                <c:pt idx="118">
                  <c:v>0.839-0.846</c:v>
                </c:pt>
                <c:pt idx="119">
                  <c:v>0.846-0.853</c:v>
                </c:pt>
                <c:pt idx="120">
                  <c:v>0.853-0.860</c:v>
                </c:pt>
                <c:pt idx="121">
                  <c:v>0.860-0.867</c:v>
                </c:pt>
                <c:pt idx="122">
                  <c:v>0.867-0.874</c:v>
                </c:pt>
                <c:pt idx="123">
                  <c:v>0.874-0.881</c:v>
                </c:pt>
                <c:pt idx="124">
                  <c:v>0.881-0.888</c:v>
                </c:pt>
                <c:pt idx="125">
                  <c:v>0.888-0.895</c:v>
                </c:pt>
                <c:pt idx="126">
                  <c:v>0.895-0.902</c:v>
                </c:pt>
                <c:pt idx="127">
                  <c:v>0.902-0.909</c:v>
                </c:pt>
                <c:pt idx="128">
                  <c:v>0.909-0.916</c:v>
                </c:pt>
                <c:pt idx="129">
                  <c:v>0.916-0.923</c:v>
                </c:pt>
                <c:pt idx="130">
                  <c:v>0.923-0.930</c:v>
                </c:pt>
                <c:pt idx="131">
                  <c:v>0.930-0.937</c:v>
                </c:pt>
                <c:pt idx="132">
                  <c:v>0.937-0.944</c:v>
                </c:pt>
                <c:pt idx="133">
                  <c:v>0.944-0.951</c:v>
                </c:pt>
                <c:pt idx="134">
                  <c:v>0.951-0.958</c:v>
                </c:pt>
                <c:pt idx="135">
                  <c:v>0.958-0.965</c:v>
                </c:pt>
                <c:pt idx="136">
                  <c:v>0.965-0.972</c:v>
                </c:pt>
                <c:pt idx="137">
                  <c:v>0.972-0.979</c:v>
                </c:pt>
                <c:pt idx="138">
                  <c:v>0.979-0.986</c:v>
                </c:pt>
                <c:pt idx="139">
                  <c:v>0.986-0.994</c:v>
                </c:pt>
                <c:pt idx="140">
                  <c:v>0.994-1.001</c:v>
                </c:pt>
                <c:pt idx="141">
                  <c:v>1.001-1.008</c:v>
                </c:pt>
                <c:pt idx="142">
                  <c:v>1.008-1.015</c:v>
                </c:pt>
                <c:pt idx="143">
                  <c:v>1.015-1.022</c:v>
                </c:pt>
                <c:pt idx="144">
                  <c:v>1.022-1.029</c:v>
                </c:pt>
                <c:pt idx="145">
                  <c:v>1.029-1.036</c:v>
                </c:pt>
                <c:pt idx="146">
                  <c:v>1.036-1.043</c:v>
                </c:pt>
                <c:pt idx="147">
                  <c:v>1.043-1.050</c:v>
                </c:pt>
                <c:pt idx="148">
                  <c:v>1.050-1.057</c:v>
                </c:pt>
                <c:pt idx="149">
                  <c:v>1.057-1.064</c:v>
                </c:pt>
                <c:pt idx="150">
                  <c:v>1.064-1.071</c:v>
                </c:pt>
                <c:pt idx="151">
                  <c:v>1.071-1.078</c:v>
                </c:pt>
                <c:pt idx="152">
                  <c:v>1.078-1.085</c:v>
                </c:pt>
                <c:pt idx="153">
                  <c:v>1.085-1.092</c:v>
                </c:pt>
                <c:pt idx="154">
                  <c:v>1.092-1.099</c:v>
                </c:pt>
                <c:pt idx="155">
                  <c:v>1.099-1.106</c:v>
                </c:pt>
                <c:pt idx="156">
                  <c:v>1.106-1.113</c:v>
                </c:pt>
                <c:pt idx="157">
                  <c:v>1.113-1.120</c:v>
                </c:pt>
                <c:pt idx="158">
                  <c:v>1.120-1.127</c:v>
                </c:pt>
                <c:pt idx="159">
                  <c:v>1.127-1.134</c:v>
                </c:pt>
                <c:pt idx="160">
                  <c:v>1.134-1.141</c:v>
                </c:pt>
                <c:pt idx="161">
                  <c:v>1.141-1.148</c:v>
                </c:pt>
                <c:pt idx="162">
                  <c:v>1.148-1.155</c:v>
                </c:pt>
                <c:pt idx="163">
                  <c:v>1.155-1.162</c:v>
                </c:pt>
                <c:pt idx="164">
                  <c:v>1.162-1.169</c:v>
                </c:pt>
                <c:pt idx="165">
                  <c:v>1.169-1.176</c:v>
                </c:pt>
                <c:pt idx="166">
                  <c:v>1.176-1.183</c:v>
                </c:pt>
                <c:pt idx="167">
                  <c:v>1.183-1.190</c:v>
                </c:pt>
                <c:pt idx="168">
                  <c:v>1.190-1.197</c:v>
                </c:pt>
                <c:pt idx="169">
                  <c:v>1.197-1.204</c:v>
                </c:pt>
                <c:pt idx="170">
                  <c:v>1.204-1.212</c:v>
                </c:pt>
                <c:pt idx="171">
                  <c:v>1.212-1.219</c:v>
                </c:pt>
                <c:pt idx="172">
                  <c:v>1.219-1.226</c:v>
                </c:pt>
                <c:pt idx="173">
                  <c:v>1.226-1.233</c:v>
                </c:pt>
                <c:pt idx="174">
                  <c:v>1.233-1.240</c:v>
                </c:pt>
                <c:pt idx="175">
                  <c:v>1.240-1.247</c:v>
                </c:pt>
                <c:pt idx="176">
                  <c:v>1.247-1.254</c:v>
                </c:pt>
                <c:pt idx="177">
                  <c:v>1.254-1.261</c:v>
                </c:pt>
                <c:pt idx="178">
                  <c:v>1.261-1.268</c:v>
                </c:pt>
                <c:pt idx="179">
                  <c:v>1.268-1.275</c:v>
                </c:pt>
                <c:pt idx="180">
                  <c:v>1.275-1.282</c:v>
                </c:pt>
                <c:pt idx="181">
                  <c:v>1.282-1.289</c:v>
                </c:pt>
                <c:pt idx="182">
                  <c:v>1.289-1.296</c:v>
                </c:pt>
                <c:pt idx="183">
                  <c:v>1.296-1.303</c:v>
                </c:pt>
                <c:pt idx="184">
                  <c:v>1.303-1.310</c:v>
                </c:pt>
                <c:pt idx="185">
                  <c:v>1.310-1.317</c:v>
                </c:pt>
                <c:pt idx="186">
                  <c:v>1.317-1.324</c:v>
                </c:pt>
                <c:pt idx="187">
                  <c:v>1.324-1.331</c:v>
                </c:pt>
                <c:pt idx="188">
                  <c:v>1.331-1.338</c:v>
                </c:pt>
                <c:pt idx="189">
                  <c:v>1.338-1.345</c:v>
                </c:pt>
                <c:pt idx="190">
                  <c:v>1.345-1.352</c:v>
                </c:pt>
                <c:pt idx="191">
                  <c:v>1.352-1.359</c:v>
                </c:pt>
                <c:pt idx="192">
                  <c:v>1.359-1.366</c:v>
                </c:pt>
                <c:pt idx="193">
                  <c:v>1.366-1.373</c:v>
                </c:pt>
                <c:pt idx="194">
                  <c:v>1.373-1.380</c:v>
                </c:pt>
                <c:pt idx="195">
                  <c:v>1.380-1.387</c:v>
                </c:pt>
                <c:pt idx="196">
                  <c:v>1.387-1.394</c:v>
                </c:pt>
                <c:pt idx="197">
                  <c:v>1.394-1.401</c:v>
                </c:pt>
                <c:pt idx="198">
                  <c:v>1.401-1.408</c:v>
                </c:pt>
                <c:pt idx="199">
                  <c:v>1.408-1.415</c:v>
                </c:pt>
                <c:pt idx="200">
                  <c:v>1.415-1.422</c:v>
                </c:pt>
                <c:pt idx="201">
                  <c:v>1.422-1.430</c:v>
                </c:pt>
                <c:pt idx="202">
                  <c:v>1.430-1.437</c:v>
                </c:pt>
                <c:pt idx="203">
                  <c:v>1.437-1.444</c:v>
                </c:pt>
                <c:pt idx="204">
                  <c:v>1.444-1.451</c:v>
                </c:pt>
                <c:pt idx="205">
                  <c:v>1.451-1.458</c:v>
                </c:pt>
                <c:pt idx="206">
                  <c:v>1.458-1.465</c:v>
                </c:pt>
                <c:pt idx="207">
                  <c:v>1.465-1.472</c:v>
                </c:pt>
                <c:pt idx="208">
                  <c:v>1.472-1.479</c:v>
                </c:pt>
                <c:pt idx="209">
                  <c:v>1.479-1.486</c:v>
                </c:pt>
                <c:pt idx="210">
                  <c:v>1.486-1.493</c:v>
                </c:pt>
                <c:pt idx="211">
                  <c:v>1.493-1.500</c:v>
                </c:pt>
                <c:pt idx="212">
                  <c:v>1.500-1.507</c:v>
                </c:pt>
                <c:pt idx="213">
                  <c:v>1.507-1.514</c:v>
                </c:pt>
                <c:pt idx="214">
                  <c:v>1.514-1.521</c:v>
                </c:pt>
                <c:pt idx="215">
                  <c:v>1.521-1.528</c:v>
                </c:pt>
                <c:pt idx="216">
                  <c:v>1.528-1.535</c:v>
                </c:pt>
                <c:pt idx="217">
                  <c:v>1.535-1.542</c:v>
                </c:pt>
                <c:pt idx="218">
                  <c:v>1.542-1.549</c:v>
                </c:pt>
                <c:pt idx="219">
                  <c:v>1.549-1.556</c:v>
                </c:pt>
                <c:pt idx="220">
                  <c:v>1.556-1.563</c:v>
                </c:pt>
                <c:pt idx="221">
                  <c:v>1.563-1.570</c:v>
                </c:pt>
                <c:pt idx="222">
                  <c:v>1.570-1.577</c:v>
                </c:pt>
                <c:pt idx="223">
                  <c:v>1.577-1.584</c:v>
                </c:pt>
                <c:pt idx="224">
                  <c:v>1.584-1.591</c:v>
                </c:pt>
                <c:pt idx="225">
                  <c:v>1.591-1.598</c:v>
                </c:pt>
                <c:pt idx="226">
                  <c:v>1.598-1.605</c:v>
                </c:pt>
                <c:pt idx="227">
                  <c:v>1.605-1.612</c:v>
                </c:pt>
                <c:pt idx="228">
                  <c:v>1.612-1.619</c:v>
                </c:pt>
                <c:pt idx="229">
                  <c:v>1.619-1.626</c:v>
                </c:pt>
                <c:pt idx="230">
                  <c:v>1.626-1.633</c:v>
                </c:pt>
                <c:pt idx="231">
                  <c:v>1.633-1.640</c:v>
                </c:pt>
                <c:pt idx="232">
                  <c:v>1.640-1.648</c:v>
                </c:pt>
                <c:pt idx="233">
                  <c:v>1.648-1.655</c:v>
                </c:pt>
                <c:pt idx="234">
                  <c:v>1.655-1.662</c:v>
                </c:pt>
                <c:pt idx="235">
                  <c:v>1.662-1.669</c:v>
                </c:pt>
                <c:pt idx="236">
                  <c:v>1.669-1.676</c:v>
                </c:pt>
                <c:pt idx="237">
                  <c:v>1.676-1.683</c:v>
                </c:pt>
                <c:pt idx="238">
                  <c:v>1.683-1.690</c:v>
                </c:pt>
                <c:pt idx="239">
                  <c:v>1.690-1.697</c:v>
                </c:pt>
                <c:pt idx="240">
                  <c:v>1.697-1.704</c:v>
                </c:pt>
                <c:pt idx="241">
                  <c:v>1.704-1.711</c:v>
                </c:pt>
                <c:pt idx="242">
                  <c:v>1.711-1.718</c:v>
                </c:pt>
                <c:pt idx="243">
                  <c:v>1.718-1.725</c:v>
                </c:pt>
                <c:pt idx="244">
                  <c:v>1.725-1.732</c:v>
                </c:pt>
                <c:pt idx="245">
                  <c:v>1.732-1.739</c:v>
                </c:pt>
                <c:pt idx="246">
                  <c:v>1.739-1.746</c:v>
                </c:pt>
                <c:pt idx="247">
                  <c:v>1.746-1.753</c:v>
                </c:pt>
                <c:pt idx="248">
                  <c:v>1.753-1.760</c:v>
                </c:pt>
                <c:pt idx="249">
                  <c:v>1.760-1.767</c:v>
                </c:pt>
                <c:pt idx="250">
                  <c:v>1.767-1.774</c:v>
                </c:pt>
                <c:pt idx="251">
                  <c:v>1.774-1.781</c:v>
                </c:pt>
                <c:pt idx="252">
                  <c:v>1.781-1.788</c:v>
                </c:pt>
                <c:pt idx="253">
                  <c:v>1.788-1.795</c:v>
                </c:pt>
                <c:pt idx="254">
                  <c:v>1.795-1.802</c:v>
                </c:pt>
                <c:pt idx="255">
                  <c:v>1.802-1.809</c:v>
                </c:pt>
                <c:pt idx="256">
                  <c:v>1.809-1.816</c:v>
                </c:pt>
                <c:pt idx="257">
                  <c:v>1.816-1.823</c:v>
                </c:pt>
                <c:pt idx="258">
                  <c:v>1.823-1.830</c:v>
                </c:pt>
                <c:pt idx="259">
                  <c:v>1.830-1.837</c:v>
                </c:pt>
                <c:pt idx="260">
                  <c:v>1.837-1.844</c:v>
                </c:pt>
                <c:pt idx="261">
                  <c:v>1.844-1.851</c:v>
                </c:pt>
                <c:pt idx="262">
                  <c:v>1.851-1.858</c:v>
                </c:pt>
                <c:pt idx="263">
                  <c:v>1.858-1.866</c:v>
                </c:pt>
                <c:pt idx="264">
                  <c:v>1.866-1.873</c:v>
                </c:pt>
                <c:pt idx="265">
                  <c:v>1.873-1.880</c:v>
                </c:pt>
                <c:pt idx="266">
                  <c:v>1.880-1.887</c:v>
                </c:pt>
                <c:pt idx="267">
                  <c:v>1.887-1.894</c:v>
                </c:pt>
                <c:pt idx="268">
                  <c:v>1.894-1.901</c:v>
                </c:pt>
                <c:pt idx="269">
                  <c:v>1.901-1.908</c:v>
                </c:pt>
                <c:pt idx="270">
                  <c:v>1.908-1.915</c:v>
                </c:pt>
                <c:pt idx="271">
                  <c:v>1.915-1.922</c:v>
                </c:pt>
                <c:pt idx="272">
                  <c:v>1.922-1.929</c:v>
                </c:pt>
                <c:pt idx="273">
                  <c:v>1.929-1.936</c:v>
                </c:pt>
                <c:pt idx="274">
                  <c:v>1.936-1.943</c:v>
                </c:pt>
                <c:pt idx="275">
                  <c:v>1.943-1.950</c:v>
                </c:pt>
                <c:pt idx="276">
                  <c:v>1.950-1.957</c:v>
                </c:pt>
                <c:pt idx="277">
                  <c:v>1.957-1.964</c:v>
                </c:pt>
                <c:pt idx="278">
                  <c:v>1.964-1.971</c:v>
                </c:pt>
                <c:pt idx="279">
                  <c:v>1.971-1.978</c:v>
                </c:pt>
                <c:pt idx="280">
                  <c:v>1.978-1.985</c:v>
                </c:pt>
                <c:pt idx="281">
                  <c:v>1.985-1.992</c:v>
                </c:pt>
                <c:pt idx="282">
                  <c:v>1.992-1.999</c:v>
                </c:pt>
                <c:pt idx="283">
                  <c:v>1.999-2.006</c:v>
                </c:pt>
                <c:pt idx="284">
                  <c:v>2.006-2.013</c:v>
                </c:pt>
                <c:pt idx="285">
                  <c:v>2.013-2.020</c:v>
                </c:pt>
                <c:pt idx="286">
                  <c:v>2.020-2.027</c:v>
                </c:pt>
                <c:pt idx="287">
                  <c:v>2.027-2.034</c:v>
                </c:pt>
                <c:pt idx="288">
                  <c:v>2.034-2.041</c:v>
                </c:pt>
                <c:pt idx="289">
                  <c:v>2.041-2.048</c:v>
                </c:pt>
                <c:pt idx="290">
                  <c:v>2.048-2.055</c:v>
                </c:pt>
                <c:pt idx="291">
                  <c:v>2.055-2.062</c:v>
                </c:pt>
                <c:pt idx="292">
                  <c:v>2.062-2.069</c:v>
                </c:pt>
                <c:pt idx="293">
                  <c:v>2.069-2.076</c:v>
                </c:pt>
                <c:pt idx="294">
                  <c:v>2.076-2.083</c:v>
                </c:pt>
                <c:pt idx="295">
                  <c:v>2.083-2.091</c:v>
                </c:pt>
                <c:pt idx="296">
                  <c:v>2.091-2.098</c:v>
                </c:pt>
                <c:pt idx="297">
                  <c:v>2.098-2.105</c:v>
                </c:pt>
                <c:pt idx="298">
                  <c:v>2.105-2.112</c:v>
                </c:pt>
                <c:pt idx="299">
                  <c:v>2.112-2.119</c:v>
                </c:pt>
                <c:pt idx="300">
                  <c:v>2.119-2.126</c:v>
                </c:pt>
                <c:pt idx="301">
                  <c:v>2.126-2.133</c:v>
                </c:pt>
                <c:pt idx="302">
                  <c:v>2.133-2.140</c:v>
                </c:pt>
                <c:pt idx="303">
                  <c:v>2.140-2.147</c:v>
                </c:pt>
                <c:pt idx="304">
                  <c:v>2.147-2.154</c:v>
                </c:pt>
                <c:pt idx="305">
                  <c:v>2.154-2.161</c:v>
                </c:pt>
                <c:pt idx="306">
                  <c:v>2.161-2.168</c:v>
                </c:pt>
                <c:pt idx="307">
                  <c:v>2.168-2.175</c:v>
                </c:pt>
                <c:pt idx="308">
                  <c:v>2.175-2.182</c:v>
                </c:pt>
                <c:pt idx="309">
                  <c:v>2.182-2.189</c:v>
                </c:pt>
                <c:pt idx="310">
                  <c:v>2.189-2.196</c:v>
                </c:pt>
                <c:pt idx="311">
                  <c:v>2.196-2.203</c:v>
                </c:pt>
                <c:pt idx="312">
                  <c:v>2.203-2.210</c:v>
                </c:pt>
                <c:pt idx="313">
                  <c:v>2.210-2.217</c:v>
                </c:pt>
                <c:pt idx="314">
                  <c:v>2.217-2.224</c:v>
                </c:pt>
                <c:pt idx="315">
                  <c:v>2.224-2.231</c:v>
                </c:pt>
                <c:pt idx="316">
                  <c:v>2.231-2.238</c:v>
                </c:pt>
                <c:pt idx="317">
                  <c:v>2.238-2.245</c:v>
                </c:pt>
                <c:pt idx="318">
                  <c:v>2.245-2.252</c:v>
                </c:pt>
                <c:pt idx="319">
                  <c:v>2.252-2.259</c:v>
                </c:pt>
                <c:pt idx="320">
                  <c:v>2.259-2.266</c:v>
                </c:pt>
                <c:pt idx="321">
                  <c:v>2.266-2.273</c:v>
                </c:pt>
                <c:pt idx="322">
                  <c:v>2.273-2.280</c:v>
                </c:pt>
                <c:pt idx="323">
                  <c:v>2.280-2.287</c:v>
                </c:pt>
                <c:pt idx="324">
                  <c:v>2.287-2.294</c:v>
                </c:pt>
                <c:pt idx="325">
                  <c:v>2.294-2.301</c:v>
                </c:pt>
                <c:pt idx="326">
                  <c:v>2.301-2.309</c:v>
                </c:pt>
                <c:pt idx="327">
                  <c:v>2.309-2.316</c:v>
                </c:pt>
                <c:pt idx="328">
                  <c:v>2.316-2.323</c:v>
                </c:pt>
                <c:pt idx="329">
                  <c:v>2.323-2.330</c:v>
                </c:pt>
                <c:pt idx="330">
                  <c:v>2.330-2.337</c:v>
                </c:pt>
                <c:pt idx="331">
                  <c:v>2.337-2.344</c:v>
                </c:pt>
                <c:pt idx="332">
                  <c:v>2.344-2.351</c:v>
                </c:pt>
                <c:pt idx="333">
                  <c:v>2.351-2.358</c:v>
                </c:pt>
                <c:pt idx="334">
                  <c:v>2.358-2.365</c:v>
                </c:pt>
                <c:pt idx="335">
                  <c:v>2.365-2.372</c:v>
                </c:pt>
                <c:pt idx="336">
                  <c:v>2.372-2.379</c:v>
                </c:pt>
                <c:pt idx="337">
                  <c:v>2.379-2.386</c:v>
                </c:pt>
                <c:pt idx="338">
                  <c:v>2.386-2.393</c:v>
                </c:pt>
                <c:pt idx="339">
                  <c:v>2.393-2.400</c:v>
                </c:pt>
                <c:pt idx="340">
                  <c:v>2.400-2.407</c:v>
                </c:pt>
                <c:pt idx="341">
                  <c:v>2.407-2.414</c:v>
                </c:pt>
                <c:pt idx="342">
                  <c:v>2.414-2.421</c:v>
                </c:pt>
                <c:pt idx="343">
                  <c:v>2.421-2.428</c:v>
                </c:pt>
                <c:pt idx="344">
                  <c:v>2.428-2.435</c:v>
                </c:pt>
                <c:pt idx="345">
                  <c:v>2.435-2.442</c:v>
                </c:pt>
                <c:pt idx="346">
                  <c:v>2.442-2.449</c:v>
                </c:pt>
                <c:pt idx="347">
                  <c:v>2.449-2.456</c:v>
                </c:pt>
                <c:pt idx="348">
                  <c:v>2.456-2.463</c:v>
                </c:pt>
                <c:pt idx="349">
                  <c:v>2.463-2.470</c:v>
                </c:pt>
                <c:pt idx="350">
                  <c:v>2.470-2.477</c:v>
                </c:pt>
                <c:pt idx="351">
                  <c:v>2.477-2.484</c:v>
                </c:pt>
                <c:pt idx="352">
                  <c:v>2.484-2.491</c:v>
                </c:pt>
                <c:pt idx="353">
                  <c:v>2.491-2.498</c:v>
                </c:pt>
                <c:pt idx="354">
                  <c:v>2.498-2.505</c:v>
                </c:pt>
                <c:pt idx="355">
                  <c:v>2.505-2.512</c:v>
                </c:pt>
                <c:pt idx="356">
                  <c:v>2.512-2.519</c:v>
                </c:pt>
                <c:pt idx="357">
                  <c:v>2.519-2.527</c:v>
                </c:pt>
                <c:pt idx="358">
                  <c:v>2.527-2.534</c:v>
                </c:pt>
                <c:pt idx="359">
                  <c:v>2.534-2.541</c:v>
                </c:pt>
                <c:pt idx="360">
                  <c:v>2.541-2.548</c:v>
                </c:pt>
                <c:pt idx="361">
                  <c:v>2.548-2.555</c:v>
                </c:pt>
                <c:pt idx="362">
                  <c:v>2.555-2.562</c:v>
                </c:pt>
                <c:pt idx="363">
                  <c:v>2.562-2.569</c:v>
                </c:pt>
                <c:pt idx="364">
                  <c:v>2.569-2.576</c:v>
                </c:pt>
                <c:pt idx="365">
                  <c:v>2.576-2.583</c:v>
                </c:pt>
                <c:pt idx="366">
                  <c:v>2.583-2.590</c:v>
                </c:pt>
                <c:pt idx="367">
                  <c:v>2.590-2.597</c:v>
                </c:pt>
                <c:pt idx="368">
                  <c:v>2.597-2.604</c:v>
                </c:pt>
                <c:pt idx="369">
                  <c:v>2.604-2.611</c:v>
                </c:pt>
                <c:pt idx="370">
                  <c:v>2.611-2.618</c:v>
                </c:pt>
                <c:pt idx="371">
                  <c:v>2.618-2.625</c:v>
                </c:pt>
                <c:pt idx="372">
                  <c:v>2.625-2.632</c:v>
                </c:pt>
                <c:pt idx="373">
                  <c:v>2.632-2.639</c:v>
                </c:pt>
                <c:pt idx="374">
                  <c:v>2.639-2.646</c:v>
                </c:pt>
                <c:pt idx="375">
                  <c:v>2.646-2.653</c:v>
                </c:pt>
                <c:pt idx="376">
                  <c:v>2.653-2.660</c:v>
                </c:pt>
                <c:pt idx="377">
                  <c:v>2.660-2.667</c:v>
                </c:pt>
                <c:pt idx="378">
                  <c:v>2.667-2.674</c:v>
                </c:pt>
                <c:pt idx="379">
                  <c:v>2.674-2.681</c:v>
                </c:pt>
                <c:pt idx="380">
                  <c:v>2.681-2.688</c:v>
                </c:pt>
                <c:pt idx="381">
                  <c:v>2.688-2.695</c:v>
                </c:pt>
                <c:pt idx="382">
                  <c:v>2.695-2.702</c:v>
                </c:pt>
                <c:pt idx="383">
                  <c:v>2.702-2.709</c:v>
                </c:pt>
                <c:pt idx="384">
                  <c:v>2.709-2.716</c:v>
                </c:pt>
                <c:pt idx="385">
                  <c:v>2.716-2.723</c:v>
                </c:pt>
                <c:pt idx="386">
                  <c:v>2.723-2.730</c:v>
                </c:pt>
                <c:pt idx="387">
                  <c:v>2.730-2.737</c:v>
                </c:pt>
                <c:pt idx="388">
                  <c:v>2.737-2.745</c:v>
                </c:pt>
                <c:pt idx="389">
                  <c:v>2.745-2.752</c:v>
                </c:pt>
                <c:pt idx="390">
                  <c:v>2.752-2.759</c:v>
                </c:pt>
                <c:pt idx="391">
                  <c:v>2.759-2.766</c:v>
                </c:pt>
                <c:pt idx="392">
                  <c:v>2.766-2.773</c:v>
                </c:pt>
                <c:pt idx="393">
                  <c:v>2.773-2.780</c:v>
                </c:pt>
                <c:pt idx="394">
                  <c:v>2.780-2.787</c:v>
                </c:pt>
                <c:pt idx="395">
                  <c:v>2.787-2.794</c:v>
                </c:pt>
                <c:pt idx="396">
                  <c:v>2.794-2.801</c:v>
                </c:pt>
                <c:pt idx="397">
                  <c:v>2.801-2.808</c:v>
                </c:pt>
                <c:pt idx="398">
                  <c:v>2.808-2.815</c:v>
                </c:pt>
                <c:pt idx="399">
                  <c:v>2.815-2.822</c:v>
                </c:pt>
                <c:pt idx="400">
                  <c:v>2.822-2.829</c:v>
                </c:pt>
                <c:pt idx="401">
                  <c:v>2.829-2.836</c:v>
                </c:pt>
                <c:pt idx="402">
                  <c:v>2.836-2.843</c:v>
                </c:pt>
                <c:pt idx="403">
                  <c:v>2.843-2.850</c:v>
                </c:pt>
                <c:pt idx="404">
                  <c:v>2.850-2.857</c:v>
                </c:pt>
                <c:pt idx="405">
                  <c:v>2.857-2.864</c:v>
                </c:pt>
                <c:pt idx="406">
                  <c:v>2.864-2.871</c:v>
                </c:pt>
                <c:pt idx="407">
                  <c:v>2.871-2.878</c:v>
                </c:pt>
                <c:pt idx="408">
                  <c:v>2.878-2.885</c:v>
                </c:pt>
                <c:pt idx="409">
                  <c:v>2.885-2.892</c:v>
                </c:pt>
                <c:pt idx="410">
                  <c:v>2.892-2.899</c:v>
                </c:pt>
                <c:pt idx="411">
                  <c:v>2.899-2.906</c:v>
                </c:pt>
                <c:pt idx="412">
                  <c:v>2.906-2.913</c:v>
                </c:pt>
                <c:pt idx="413">
                  <c:v>2.913-2.920</c:v>
                </c:pt>
                <c:pt idx="414">
                  <c:v>2.920-2.927</c:v>
                </c:pt>
                <c:pt idx="415">
                  <c:v>2.927-2.934</c:v>
                </c:pt>
                <c:pt idx="416">
                  <c:v>2.934-2.941</c:v>
                </c:pt>
                <c:pt idx="417">
                  <c:v>2.941-2.948</c:v>
                </c:pt>
                <c:pt idx="418">
                  <c:v>2.948-2.955</c:v>
                </c:pt>
                <c:pt idx="419">
                  <c:v>2.955-2.963</c:v>
                </c:pt>
                <c:pt idx="420">
                  <c:v>2.963-2.970</c:v>
                </c:pt>
                <c:pt idx="421">
                  <c:v>2.970-2.977</c:v>
                </c:pt>
                <c:pt idx="422">
                  <c:v>2.977-2.984</c:v>
                </c:pt>
                <c:pt idx="423">
                  <c:v>2.984-2.991</c:v>
                </c:pt>
                <c:pt idx="424">
                  <c:v>2.991-2.998</c:v>
                </c:pt>
                <c:pt idx="425">
                  <c:v>2.998-3.005</c:v>
                </c:pt>
                <c:pt idx="426">
                  <c:v>3.005-3.012</c:v>
                </c:pt>
                <c:pt idx="427">
                  <c:v>3.012-3.019</c:v>
                </c:pt>
                <c:pt idx="428">
                  <c:v>3.019-3.026</c:v>
                </c:pt>
                <c:pt idx="429">
                  <c:v>3.026-3.033</c:v>
                </c:pt>
                <c:pt idx="430">
                  <c:v>3.033-3.040</c:v>
                </c:pt>
                <c:pt idx="431">
                  <c:v>3.040-3.047</c:v>
                </c:pt>
                <c:pt idx="432">
                  <c:v>3.047-3.054</c:v>
                </c:pt>
                <c:pt idx="433">
                  <c:v>3.054-3.061</c:v>
                </c:pt>
                <c:pt idx="434">
                  <c:v>3.061-3.068</c:v>
                </c:pt>
                <c:pt idx="435">
                  <c:v>3.068-3.075</c:v>
                </c:pt>
                <c:pt idx="436">
                  <c:v>3.075-3.082</c:v>
                </c:pt>
                <c:pt idx="437">
                  <c:v>3.082-3.089</c:v>
                </c:pt>
                <c:pt idx="438">
                  <c:v>3.089-3.096</c:v>
                </c:pt>
                <c:pt idx="439">
                  <c:v>3.096-3.103</c:v>
                </c:pt>
                <c:pt idx="440">
                  <c:v>3.103-3.110</c:v>
                </c:pt>
                <c:pt idx="441">
                  <c:v>3.110-3.117</c:v>
                </c:pt>
                <c:pt idx="442">
                  <c:v>3.117-3.124</c:v>
                </c:pt>
                <c:pt idx="443">
                  <c:v>3.124-3.131</c:v>
                </c:pt>
                <c:pt idx="444">
                  <c:v>3.131-3.138</c:v>
                </c:pt>
                <c:pt idx="445">
                  <c:v>3.138-3.145</c:v>
                </c:pt>
                <c:pt idx="446">
                  <c:v>3.145-3.152</c:v>
                </c:pt>
                <c:pt idx="447">
                  <c:v>3.152-3.159</c:v>
                </c:pt>
                <c:pt idx="448">
                  <c:v>3.159-3.166</c:v>
                </c:pt>
                <c:pt idx="449">
                  <c:v>3.166-3.173</c:v>
                </c:pt>
                <c:pt idx="450">
                  <c:v>3.173-3.181</c:v>
                </c:pt>
                <c:pt idx="451">
                  <c:v>3.181-3.188</c:v>
                </c:pt>
                <c:pt idx="452">
                  <c:v>3.188-3.195</c:v>
                </c:pt>
                <c:pt idx="453">
                  <c:v>3.195-3.202</c:v>
                </c:pt>
                <c:pt idx="454">
                  <c:v>3.202-3.209</c:v>
                </c:pt>
                <c:pt idx="455">
                  <c:v>3.209-3.216</c:v>
                </c:pt>
                <c:pt idx="456">
                  <c:v>3.216-3.223</c:v>
                </c:pt>
                <c:pt idx="457">
                  <c:v>3.223-3.230</c:v>
                </c:pt>
                <c:pt idx="458">
                  <c:v>3.230-3.237</c:v>
                </c:pt>
                <c:pt idx="459">
                  <c:v>3.237-3.244</c:v>
                </c:pt>
                <c:pt idx="460">
                  <c:v>3.244-3.251</c:v>
                </c:pt>
                <c:pt idx="461">
                  <c:v>3.251-3.258</c:v>
                </c:pt>
                <c:pt idx="462">
                  <c:v>3.258-3.265</c:v>
                </c:pt>
                <c:pt idx="463">
                  <c:v>3.265-3.272</c:v>
                </c:pt>
                <c:pt idx="464">
                  <c:v>3.272-3.279</c:v>
                </c:pt>
                <c:pt idx="465">
                  <c:v>3.279-3.286</c:v>
                </c:pt>
                <c:pt idx="466">
                  <c:v>3.286-3.293</c:v>
                </c:pt>
                <c:pt idx="467">
                  <c:v>3.293-3.300</c:v>
                </c:pt>
                <c:pt idx="468">
                  <c:v>3.300-3.307</c:v>
                </c:pt>
                <c:pt idx="469">
                  <c:v>3.307-3.314</c:v>
                </c:pt>
                <c:pt idx="470">
                  <c:v>3.314-3.321</c:v>
                </c:pt>
                <c:pt idx="471">
                  <c:v>3.321-3.328</c:v>
                </c:pt>
                <c:pt idx="472">
                  <c:v>3.328-3.335</c:v>
                </c:pt>
                <c:pt idx="473">
                  <c:v>3.335-3.342</c:v>
                </c:pt>
                <c:pt idx="474">
                  <c:v>3.342-3.349</c:v>
                </c:pt>
                <c:pt idx="475">
                  <c:v>3.349-3.356</c:v>
                </c:pt>
                <c:pt idx="476">
                  <c:v>3.356-3.363</c:v>
                </c:pt>
                <c:pt idx="477">
                  <c:v>3.363-3.370</c:v>
                </c:pt>
                <c:pt idx="478">
                  <c:v>3.370-3.377</c:v>
                </c:pt>
                <c:pt idx="479">
                  <c:v>3.377-3.384</c:v>
                </c:pt>
                <c:pt idx="480">
                  <c:v>3.384-3.391</c:v>
                </c:pt>
                <c:pt idx="481">
                  <c:v>3.391-3.399</c:v>
                </c:pt>
                <c:pt idx="482">
                  <c:v>3.399-3.406</c:v>
                </c:pt>
                <c:pt idx="483">
                  <c:v>3.406-3.413</c:v>
                </c:pt>
                <c:pt idx="484">
                  <c:v>3.413-3.420</c:v>
                </c:pt>
                <c:pt idx="485">
                  <c:v>3.420-3.427</c:v>
                </c:pt>
                <c:pt idx="486">
                  <c:v>3.427-3.434</c:v>
                </c:pt>
                <c:pt idx="487">
                  <c:v>3.434-3.441</c:v>
                </c:pt>
                <c:pt idx="488">
                  <c:v>3.441-3.448</c:v>
                </c:pt>
                <c:pt idx="489">
                  <c:v>3.448-3.455</c:v>
                </c:pt>
                <c:pt idx="490">
                  <c:v>3.455-3.462</c:v>
                </c:pt>
                <c:pt idx="491">
                  <c:v>3.462-3.469</c:v>
                </c:pt>
                <c:pt idx="492">
                  <c:v>3.469-3.476</c:v>
                </c:pt>
                <c:pt idx="493">
                  <c:v>3.476-3.483</c:v>
                </c:pt>
                <c:pt idx="494">
                  <c:v>3.483-3.490</c:v>
                </c:pt>
                <c:pt idx="495">
                  <c:v>3.490-3.497</c:v>
                </c:pt>
                <c:pt idx="496">
                  <c:v>3.497-3.504</c:v>
                </c:pt>
                <c:pt idx="497">
                  <c:v>3.504-3.511</c:v>
                </c:pt>
                <c:pt idx="498">
                  <c:v>3.511-3.518</c:v>
                </c:pt>
                <c:pt idx="499">
                  <c:v>3.518-3.525</c:v>
                </c:pt>
                <c:pt idx="500">
                  <c:v>3.525-3.532</c:v>
                </c:pt>
                <c:pt idx="501">
                  <c:v>3.532-3.539</c:v>
                </c:pt>
                <c:pt idx="502">
                  <c:v>3.539-3.546</c:v>
                </c:pt>
                <c:pt idx="503">
                  <c:v>3.546-3.553</c:v>
                </c:pt>
                <c:pt idx="504">
                  <c:v>3.553-3.560</c:v>
                </c:pt>
                <c:pt idx="505">
                  <c:v>3.560-3.567</c:v>
                </c:pt>
                <c:pt idx="506">
                  <c:v>3.567-3.574</c:v>
                </c:pt>
                <c:pt idx="507">
                  <c:v>3.574-3.581</c:v>
                </c:pt>
                <c:pt idx="508">
                  <c:v>3.581-3.588</c:v>
                </c:pt>
                <c:pt idx="509">
                  <c:v>3.588-3.595</c:v>
                </c:pt>
                <c:pt idx="510">
                  <c:v>3.595-3.602</c:v>
                </c:pt>
                <c:pt idx="511">
                  <c:v>3.602-3.609</c:v>
                </c:pt>
                <c:pt idx="512">
                  <c:v>3.609-3.617</c:v>
                </c:pt>
                <c:pt idx="513">
                  <c:v>3.617-3.624</c:v>
                </c:pt>
                <c:pt idx="514">
                  <c:v>3.624-3.631</c:v>
                </c:pt>
                <c:pt idx="515">
                  <c:v>3.631-3.638</c:v>
                </c:pt>
                <c:pt idx="516">
                  <c:v>3.638-3.645</c:v>
                </c:pt>
                <c:pt idx="517">
                  <c:v>3.645-3.652</c:v>
                </c:pt>
                <c:pt idx="518">
                  <c:v>3.652-3.659</c:v>
                </c:pt>
                <c:pt idx="519">
                  <c:v>3.659-3.666</c:v>
                </c:pt>
                <c:pt idx="520">
                  <c:v>3.666-3.673</c:v>
                </c:pt>
                <c:pt idx="521">
                  <c:v>3.673-3.680</c:v>
                </c:pt>
                <c:pt idx="522">
                  <c:v>3.680-3.687</c:v>
                </c:pt>
                <c:pt idx="523">
                  <c:v>3.687-3.694</c:v>
                </c:pt>
                <c:pt idx="524">
                  <c:v>3.694-3.701</c:v>
                </c:pt>
                <c:pt idx="525">
                  <c:v>3.701-3.708</c:v>
                </c:pt>
                <c:pt idx="526">
                  <c:v>3.708-3.715</c:v>
                </c:pt>
                <c:pt idx="527">
                  <c:v>3.715-3.722</c:v>
                </c:pt>
                <c:pt idx="528">
                  <c:v>3.722-3.729</c:v>
                </c:pt>
                <c:pt idx="529">
                  <c:v>3.729-3.736</c:v>
                </c:pt>
                <c:pt idx="530">
                  <c:v>3.736-3.743</c:v>
                </c:pt>
                <c:pt idx="531">
                  <c:v>3.743-3.750</c:v>
                </c:pt>
                <c:pt idx="532">
                  <c:v>3.750-3.757</c:v>
                </c:pt>
                <c:pt idx="533">
                  <c:v>3.757-3.764</c:v>
                </c:pt>
                <c:pt idx="534">
                  <c:v>3.764-3.771</c:v>
                </c:pt>
                <c:pt idx="535">
                  <c:v>3.771-3.778</c:v>
                </c:pt>
                <c:pt idx="536">
                  <c:v>3.778-3.785</c:v>
                </c:pt>
                <c:pt idx="537">
                  <c:v>3.785-3.792</c:v>
                </c:pt>
                <c:pt idx="538">
                  <c:v>3.792-3.799</c:v>
                </c:pt>
                <c:pt idx="539">
                  <c:v>3.799-3.806</c:v>
                </c:pt>
                <c:pt idx="540">
                  <c:v>3.806-3.813</c:v>
                </c:pt>
                <c:pt idx="541">
                  <c:v>3.813-3.820</c:v>
                </c:pt>
                <c:pt idx="542">
                  <c:v>3.820-3.827</c:v>
                </c:pt>
                <c:pt idx="543">
                  <c:v>3.827-3.835</c:v>
                </c:pt>
                <c:pt idx="544">
                  <c:v>3.835-3.842</c:v>
                </c:pt>
                <c:pt idx="545">
                  <c:v>3.842-3.849</c:v>
                </c:pt>
                <c:pt idx="546">
                  <c:v>3.849-3.856</c:v>
                </c:pt>
                <c:pt idx="547">
                  <c:v>3.856-3.863</c:v>
                </c:pt>
                <c:pt idx="548">
                  <c:v>3.863-3.870</c:v>
                </c:pt>
                <c:pt idx="549">
                  <c:v>3.870-3.877</c:v>
                </c:pt>
                <c:pt idx="550">
                  <c:v>3.877-3.884</c:v>
                </c:pt>
                <c:pt idx="551">
                  <c:v>3.884-3.891</c:v>
                </c:pt>
                <c:pt idx="552">
                  <c:v>3.891-3.898</c:v>
                </c:pt>
                <c:pt idx="553">
                  <c:v>3.898-3.905</c:v>
                </c:pt>
                <c:pt idx="554">
                  <c:v>3.905-3.912</c:v>
                </c:pt>
                <c:pt idx="555">
                  <c:v>3.912-3.919</c:v>
                </c:pt>
                <c:pt idx="556">
                  <c:v>3.919-3.926</c:v>
                </c:pt>
                <c:pt idx="557">
                  <c:v>3.926-3.933</c:v>
                </c:pt>
                <c:pt idx="558">
                  <c:v>3.933-3.940</c:v>
                </c:pt>
                <c:pt idx="559">
                  <c:v>3.940-3.947</c:v>
                </c:pt>
                <c:pt idx="560">
                  <c:v>3.947-3.954</c:v>
                </c:pt>
                <c:pt idx="561">
                  <c:v>3.954-3.961</c:v>
                </c:pt>
                <c:pt idx="562">
                  <c:v>3.961-3.968</c:v>
                </c:pt>
                <c:pt idx="563">
                  <c:v>3.968-3.975</c:v>
                </c:pt>
                <c:pt idx="564">
                  <c:v>3.975-3.982</c:v>
                </c:pt>
                <c:pt idx="565">
                  <c:v>3.982-3.989</c:v>
                </c:pt>
                <c:pt idx="566">
                  <c:v>3.989-3.996</c:v>
                </c:pt>
                <c:pt idx="567">
                  <c:v>3.996-4.003</c:v>
                </c:pt>
                <c:pt idx="568">
                  <c:v>4.003-4.010</c:v>
                </c:pt>
                <c:pt idx="569">
                  <c:v>4.010-4.017</c:v>
                </c:pt>
                <c:pt idx="570">
                  <c:v>4.017-4.024</c:v>
                </c:pt>
                <c:pt idx="571">
                  <c:v>4.024-4.031</c:v>
                </c:pt>
                <c:pt idx="572">
                  <c:v>4.031-4.038</c:v>
                </c:pt>
                <c:pt idx="573">
                  <c:v>4.038-4.045</c:v>
                </c:pt>
                <c:pt idx="574">
                  <c:v>4.045-4.053</c:v>
                </c:pt>
                <c:pt idx="575">
                  <c:v>4.053-4.060</c:v>
                </c:pt>
                <c:pt idx="576">
                  <c:v>4.060-4.067</c:v>
                </c:pt>
                <c:pt idx="577">
                  <c:v>4.067-4.074</c:v>
                </c:pt>
                <c:pt idx="578">
                  <c:v>4.074-4.081</c:v>
                </c:pt>
                <c:pt idx="579">
                  <c:v>4.081-4.088</c:v>
                </c:pt>
                <c:pt idx="580">
                  <c:v>4.088-4.095</c:v>
                </c:pt>
                <c:pt idx="581">
                  <c:v>4.095-4.102</c:v>
                </c:pt>
                <c:pt idx="582">
                  <c:v>4.102-4.109</c:v>
                </c:pt>
                <c:pt idx="583">
                  <c:v>4.109-4.116</c:v>
                </c:pt>
                <c:pt idx="584">
                  <c:v>4.116-4.123</c:v>
                </c:pt>
                <c:pt idx="585">
                  <c:v>4.123-4.130</c:v>
                </c:pt>
                <c:pt idx="586">
                  <c:v>4.130-4.137</c:v>
                </c:pt>
                <c:pt idx="587">
                  <c:v>4.137-4.144</c:v>
                </c:pt>
                <c:pt idx="588">
                  <c:v>4.144-4.151</c:v>
                </c:pt>
                <c:pt idx="589">
                  <c:v>4.151-4.158</c:v>
                </c:pt>
                <c:pt idx="590">
                  <c:v>4.158-4.165</c:v>
                </c:pt>
                <c:pt idx="591">
                  <c:v>4.165-4.172</c:v>
                </c:pt>
                <c:pt idx="592">
                  <c:v>4.172-4.179</c:v>
                </c:pt>
                <c:pt idx="593">
                  <c:v>4.179-4.186</c:v>
                </c:pt>
                <c:pt idx="594">
                  <c:v>4.186-4.193</c:v>
                </c:pt>
                <c:pt idx="595">
                  <c:v>4.193-4.200</c:v>
                </c:pt>
                <c:pt idx="596">
                  <c:v>4.200-4.207</c:v>
                </c:pt>
                <c:pt idx="597">
                  <c:v>4.207-4.214</c:v>
                </c:pt>
                <c:pt idx="598">
                  <c:v>4.214-4.221</c:v>
                </c:pt>
                <c:pt idx="599">
                  <c:v>4.221-4.228</c:v>
                </c:pt>
                <c:pt idx="600">
                  <c:v>4.228-4.235</c:v>
                </c:pt>
                <c:pt idx="601">
                  <c:v>4.235-4.242</c:v>
                </c:pt>
                <c:pt idx="602">
                  <c:v>4.242-4.249</c:v>
                </c:pt>
                <c:pt idx="603">
                  <c:v>4.249-4.256</c:v>
                </c:pt>
                <c:pt idx="604">
                  <c:v>4.256-4.263</c:v>
                </c:pt>
                <c:pt idx="605">
                  <c:v>4.263-4.271</c:v>
                </c:pt>
                <c:pt idx="606">
                  <c:v>4.271-4.278</c:v>
                </c:pt>
                <c:pt idx="607">
                  <c:v>4.278-4.285</c:v>
                </c:pt>
                <c:pt idx="608">
                  <c:v>4.285-4.292</c:v>
                </c:pt>
                <c:pt idx="609">
                  <c:v>4.292-4.299</c:v>
                </c:pt>
                <c:pt idx="610">
                  <c:v>4.299-4.306</c:v>
                </c:pt>
                <c:pt idx="611">
                  <c:v>4.306-4.313</c:v>
                </c:pt>
                <c:pt idx="612">
                  <c:v>4.313-4.320</c:v>
                </c:pt>
                <c:pt idx="613">
                  <c:v>4.320-4.327</c:v>
                </c:pt>
                <c:pt idx="614">
                  <c:v>4.327-4.334</c:v>
                </c:pt>
                <c:pt idx="615">
                  <c:v>4.334-4.341</c:v>
                </c:pt>
                <c:pt idx="616">
                  <c:v>4.341-4.348</c:v>
                </c:pt>
                <c:pt idx="617">
                  <c:v>4.348-4.355</c:v>
                </c:pt>
                <c:pt idx="618">
                  <c:v>4.355-4.362</c:v>
                </c:pt>
                <c:pt idx="619">
                  <c:v>4.362-4.369</c:v>
                </c:pt>
                <c:pt idx="620">
                  <c:v>4.369-4.376</c:v>
                </c:pt>
                <c:pt idx="621">
                  <c:v>4.376-4.383</c:v>
                </c:pt>
                <c:pt idx="622">
                  <c:v>4.383-4.390</c:v>
                </c:pt>
                <c:pt idx="623">
                  <c:v>4.390-4.397</c:v>
                </c:pt>
                <c:pt idx="624">
                  <c:v>4.397-4.404</c:v>
                </c:pt>
                <c:pt idx="625">
                  <c:v>4.404-4.411</c:v>
                </c:pt>
                <c:pt idx="626">
                  <c:v>4.411-4.418</c:v>
                </c:pt>
                <c:pt idx="627">
                  <c:v>4.418-4.425</c:v>
                </c:pt>
                <c:pt idx="628">
                  <c:v>4.425-4.432</c:v>
                </c:pt>
                <c:pt idx="629">
                  <c:v>4.432-4.439</c:v>
                </c:pt>
                <c:pt idx="630">
                  <c:v>4.439-4.446</c:v>
                </c:pt>
                <c:pt idx="631">
                  <c:v>4.446-4.453</c:v>
                </c:pt>
                <c:pt idx="632">
                  <c:v>4.453-4.460</c:v>
                </c:pt>
                <c:pt idx="633">
                  <c:v>4.460-4.467</c:v>
                </c:pt>
                <c:pt idx="634">
                  <c:v>4.467-4.474</c:v>
                </c:pt>
                <c:pt idx="635">
                  <c:v>4.474-4.481</c:v>
                </c:pt>
                <c:pt idx="636">
                  <c:v>4.481-4.489</c:v>
                </c:pt>
                <c:pt idx="637">
                  <c:v>4.489-4.496</c:v>
                </c:pt>
                <c:pt idx="638">
                  <c:v>4.496-4.503</c:v>
                </c:pt>
                <c:pt idx="639">
                  <c:v>4.503-4.510</c:v>
                </c:pt>
                <c:pt idx="640">
                  <c:v>4.510-4.517</c:v>
                </c:pt>
                <c:pt idx="641">
                  <c:v>4.517-4.524</c:v>
                </c:pt>
                <c:pt idx="642">
                  <c:v>4.524-4.531</c:v>
                </c:pt>
                <c:pt idx="643">
                  <c:v>4.531-4.538</c:v>
                </c:pt>
                <c:pt idx="644">
                  <c:v>4.538-4.545</c:v>
                </c:pt>
                <c:pt idx="645">
                  <c:v>4.545-4.552</c:v>
                </c:pt>
                <c:pt idx="646">
                  <c:v>4.552-4.559</c:v>
                </c:pt>
                <c:pt idx="647">
                  <c:v>4.559-4.566</c:v>
                </c:pt>
                <c:pt idx="648">
                  <c:v>4.566-4.573</c:v>
                </c:pt>
                <c:pt idx="649">
                  <c:v>4.573-4.580</c:v>
                </c:pt>
                <c:pt idx="650">
                  <c:v>4.580-4.587</c:v>
                </c:pt>
                <c:pt idx="651">
                  <c:v>4.587-4.594</c:v>
                </c:pt>
                <c:pt idx="652">
                  <c:v>4.594-4.601</c:v>
                </c:pt>
                <c:pt idx="653">
                  <c:v>4.601-4.608</c:v>
                </c:pt>
                <c:pt idx="654">
                  <c:v>4.608-4.615</c:v>
                </c:pt>
                <c:pt idx="655">
                  <c:v>4.615-4.622</c:v>
                </c:pt>
                <c:pt idx="656">
                  <c:v>4.622-4.629</c:v>
                </c:pt>
                <c:pt idx="657">
                  <c:v>4.629-4.636</c:v>
                </c:pt>
                <c:pt idx="658">
                  <c:v>4.636-4.643</c:v>
                </c:pt>
                <c:pt idx="659">
                  <c:v>4.643-4.650</c:v>
                </c:pt>
                <c:pt idx="660">
                  <c:v>4.650-4.657</c:v>
                </c:pt>
                <c:pt idx="661">
                  <c:v>4.657-4.664</c:v>
                </c:pt>
                <c:pt idx="662">
                  <c:v>4.664-4.671</c:v>
                </c:pt>
                <c:pt idx="663">
                  <c:v>4.671-4.678</c:v>
                </c:pt>
                <c:pt idx="664">
                  <c:v>4.678-4.685</c:v>
                </c:pt>
                <c:pt idx="665">
                  <c:v>4.685-4.692</c:v>
                </c:pt>
                <c:pt idx="666">
                  <c:v>4.692-4.699</c:v>
                </c:pt>
                <c:pt idx="667">
                  <c:v>4.699-4.707</c:v>
                </c:pt>
                <c:pt idx="668">
                  <c:v>4.707-4.714</c:v>
                </c:pt>
                <c:pt idx="669">
                  <c:v>4.714-4.721</c:v>
                </c:pt>
                <c:pt idx="670">
                  <c:v>4.721-4.728</c:v>
                </c:pt>
                <c:pt idx="671">
                  <c:v>4.728-4.735</c:v>
                </c:pt>
                <c:pt idx="672">
                  <c:v>4.735-4.742</c:v>
                </c:pt>
                <c:pt idx="673">
                  <c:v>4.742-4.749</c:v>
                </c:pt>
                <c:pt idx="674">
                  <c:v>4.749-4.756</c:v>
                </c:pt>
                <c:pt idx="675">
                  <c:v>4.756-4.763</c:v>
                </c:pt>
                <c:pt idx="676">
                  <c:v>4.763-4.770</c:v>
                </c:pt>
                <c:pt idx="677">
                  <c:v>4.770-4.777</c:v>
                </c:pt>
                <c:pt idx="678">
                  <c:v>4.777-4.784</c:v>
                </c:pt>
                <c:pt idx="679">
                  <c:v>4.784-4.791</c:v>
                </c:pt>
                <c:pt idx="680">
                  <c:v>4.791-4.798</c:v>
                </c:pt>
                <c:pt idx="681">
                  <c:v>4.798-4.805</c:v>
                </c:pt>
                <c:pt idx="682">
                  <c:v>4.805-4.812</c:v>
                </c:pt>
                <c:pt idx="683">
                  <c:v>4.812-4.819</c:v>
                </c:pt>
                <c:pt idx="684">
                  <c:v>4.819-4.826</c:v>
                </c:pt>
                <c:pt idx="685">
                  <c:v>4.826-4.833</c:v>
                </c:pt>
                <c:pt idx="686">
                  <c:v>4.833-4.840</c:v>
                </c:pt>
                <c:pt idx="687">
                  <c:v>4.840-4.847</c:v>
                </c:pt>
                <c:pt idx="688">
                  <c:v>4.847-4.854</c:v>
                </c:pt>
                <c:pt idx="689">
                  <c:v>4.854-4.861</c:v>
                </c:pt>
                <c:pt idx="690">
                  <c:v>4.861-4.868</c:v>
                </c:pt>
                <c:pt idx="691">
                  <c:v>4.868-4.875</c:v>
                </c:pt>
                <c:pt idx="692">
                  <c:v>4.875-4.882</c:v>
                </c:pt>
                <c:pt idx="693">
                  <c:v>4.882-4.889</c:v>
                </c:pt>
                <c:pt idx="694">
                  <c:v>4.889-4.896</c:v>
                </c:pt>
                <c:pt idx="695">
                  <c:v>4.896-4.903</c:v>
                </c:pt>
                <c:pt idx="696">
                  <c:v>4.903-4.910</c:v>
                </c:pt>
                <c:pt idx="697">
                  <c:v>4.910-4.917</c:v>
                </c:pt>
                <c:pt idx="698">
                  <c:v>4.917-4.925</c:v>
                </c:pt>
                <c:pt idx="699">
                  <c:v>4.925-4.932</c:v>
                </c:pt>
                <c:pt idx="700">
                  <c:v>4.932-4.939</c:v>
                </c:pt>
                <c:pt idx="701">
                  <c:v>4.939-4.946</c:v>
                </c:pt>
                <c:pt idx="702">
                  <c:v>4.946-4.953</c:v>
                </c:pt>
                <c:pt idx="703">
                  <c:v>4.953-4.960</c:v>
                </c:pt>
                <c:pt idx="704">
                  <c:v>4.960-4.967</c:v>
                </c:pt>
                <c:pt idx="705">
                  <c:v>4.967-4.974</c:v>
                </c:pt>
                <c:pt idx="706">
                  <c:v>4.974-4.981</c:v>
                </c:pt>
                <c:pt idx="707">
                  <c:v>4.981-4.988</c:v>
                </c:pt>
                <c:pt idx="708">
                  <c:v>4.988-4.995</c:v>
                </c:pt>
                <c:pt idx="709">
                  <c:v>4.995-5.002</c:v>
                </c:pt>
                <c:pt idx="710">
                  <c:v>5.002-5.009</c:v>
                </c:pt>
                <c:pt idx="711">
                  <c:v>5.009-5.016</c:v>
                </c:pt>
                <c:pt idx="712">
                  <c:v>5.016-5.023</c:v>
                </c:pt>
                <c:pt idx="713">
                  <c:v>5.023-5.030</c:v>
                </c:pt>
                <c:pt idx="714">
                  <c:v>5.030-5.037</c:v>
                </c:pt>
                <c:pt idx="715">
                  <c:v>5.037-5.044</c:v>
                </c:pt>
                <c:pt idx="716">
                  <c:v>5.044-5.051</c:v>
                </c:pt>
                <c:pt idx="717">
                  <c:v>5.051-5.058</c:v>
                </c:pt>
                <c:pt idx="718">
                  <c:v>5.058-5.065</c:v>
                </c:pt>
                <c:pt idx="719">
                  <c:v>5.065-5.072</c:v>
                </c:pt>
                <c:pt idx="720">
                  <c:v>5.072-5.079</c:v>
                </c:pt>
                <c:pt idx="721">
                  <c:v>5.079-5.086</c:v>
                </c:pt>
                <c:pt idx="722">
                  <c:v>5.086-5.093</c:v>
                </c:pt>
                <c:pt idx="723">
                  <c:v>5.093-5.100</c:v>
                </c:pt>
                <c:pt idx="724">
                  <c:v>5.100-5.107</c:v>
                </c:pt>
                <c:pt idx="725">
                  <c:v>5.107-5.114</c:v>
                </c:pt>
                <c:pt idx="726">
                  <c:v>5.114-5.121</c:v>
                </c:pt>
                <c:pt idx="727">
                  <c:v>5.121-5.128</c:v>
                </c:pt>
                <c:pt idx="728">
                  <c:v>5.128-5.135</c:v>
                </c:pt>
                <c:pt idx="729">
                  <c:v>5.135-5.143</c:v>
                </c:pt>
                <c:pt idx="730">
                  <c:v>5.143-5.150</c:v>
                </c:pt>
                <c:pt idx="731">
                  <c:v>5.150-5.157</c:v>
                </c:pt>
                <c:pt idx="732">
                  <c:v>5.157-5.164</c:v>
                </c:pt>
                <c:pt idx="733">
                  <c:v>5.164-5.171</c:v>
                </c:pt>
                <c:pt idx="734">
                  <c:v>5.171-5.178</c:v>
                </c:pt>
                <c:pt idx="735">
                  <c:v>5.178-5.185</c:v>
                </c:pt>
                <c:pt idx="736">
                  <c:v>5.185-5.192</c:v>
                </c:pt>
                <c:pt idx="737">
                  <c:v>5.192-5.199</c:v>
                </c:pt>
                <c:pt idx="738">
                  <c:v>5.199-5.206</c:v>
                </c:pt>
                <c:pt idx="739">
                  <c:v>5.206-5.213</c:v>
                </c:pt>
                <c:pt idx="740">
                  <c:v>5.213-5.220</c:v>
                </c:pt>
                <c:pt idx="741">
                  <c:v>5.220-5.227</c:v>
                </c:pt>
                <c:pt idx="742">
                  <c:v>5.227-5.234</c:v>
                </c:pt>
                <c:pt idx="743">
                  <c:v>5.234-5.241</c:v>
                </c:pt>
                <c:pt idx="744">
                  <c:v>5.241-5.248</c:v>
                </c:pt>
                <c:pt idx="745">
                  <c:v>5.248-5.255</c:v>
                </c:pt>
                <c:pt idx="746">
                  <c:v>5.255-5.262</c:v>
                </c:pt>
                <c:pt idx="747">
                  <c:v>5.262-5.269</c:v>
                </c:pt>
                <c:pt idx="748">
                  <c:v>5.269-5.276</c:v>
                </c:pt>
                <c:pt idx="749">
                  <c:v>5.276-5.283</c:v>
                </c:pt>
                <c:pt idx="750">
                  <c:v>5.283-5.290</c:v>
                </c:pt>
                <c:pt idx="751">
                  <c:v>5.290-5.297</c:v>
                </c:pt>
                <c:pt idx="752">
                  <c:v>5.297-5.304</c:v>
                </c:pt>
                <c:pt idx="753">
                  <c:v>5.304-5.311</c:v>
                </c:pt>
                <c:pt idx="754">
                  <c:v>5.311-5.318</c:v>
                </c:pt>
                <c:pt idx="755">
                  <c:v>5.318-5.325</c:v>
                </c:pt>
                <c:pt idx="756">
                  <c:v>5.325-5.332</c:v>
                </c:pt>
                <c:pt idx="757">
                  <c:v>5.332-5.339</c:v>
                </c:pt>
                <c:pt idx="758">
                  <c:v>5.339-5.346</c:v>
                </c:pt>
                <c:pt idx="759">
                  <c:v>5.346-5.353</c:v>
                </c:pt>
                <c:pt idx="760">
                  <c:v>5.353-5.361</c:v>
                </c:pt>
                <c:pt idx="761">
                  <c:v>5.361-5.368</c:v>
                </c:pt>
                <c:pt idx="762">
                  <c:v>5.368-5.375</c:v>
                </c:pt>
                <c:pt idx="763">
                  <c:v>5.375-5.382</c:v>
                </c:pt>
                <c:pt idx="764">
                  <c:v>5.382-5.389</c:v>
                </c:pt>
                <c:pt idx="765">
                  <c:v>5.389-5.396</c:v>
                </c:pt>
                <c:pt idx="766">
                  <c:v>5.396-5.403</c:v>
                </c:pt>
                <c:pt idx="767">
                  <c:v>5.403-5.410</c:v>
                </c:pt>
                <c:pt idx="768">
                  <c:v>5.410-5.417</c:v>
                </c:pt>
                <c:pt idx="769">
                  <c:v>5.417-5.424</c:v>
                </c:pt>
                <c:pt idx="770">
                  <c:v>5.424-5.431</c:v>
                </c:pt>
                <c:pt idx="771">
                  <c:v>5.431-5.438</c:v>
                </c:pt>
                <c:pt idx="772">
                  <c:v>5.438-5.445</c:v>
                </c:pt>
                <c:pt idx="773">
                  <c:v>5.445-5.452</c:v>
                </c:pt>
                <c:pt idx="774">
                  <c:v>5.452-5.459</c:v>
                </c:pt>
                <c:pt idx="775">
                  <c:v>5.459-5.466</c:v>
                </c:pt>
                <c:pt idx="776">
                  <c:v>5.466-5.473</c:v>
                </c:pt>
                <c:pt idx="777">
                  <c:v>5.473-5.480</c:v>
                </c:pt>
                <c:pt idx="778">
                  <c:v>5.480-5.487</c:v>
                </c:pt>
                <c:pt idx="779">
                  <c:v>5.487-5.494</c:v>
                </c:pt>
                <c:pt idx="780">
                  <c:v>5.494-5.501</c:v>
                </c:pt>
                <c:pt idx="781">
                  <c:v>5.501-5.508</c:v>
                </c:pt>
                <c:pt idx="782">
                  <c:v>5.508-5.515</c:v>
                </c:pt>
                <c:pt idx="783">
                  <c:v>5.515-5.522</c:v>
                </c:pt>
                <c:pt idx="784">
                  <c:v>5.522-5.529</c:v>
                </c:pt>
                <c:pt idx="785">
                  <c:v>5.529-5.536</c:v>
                </c:pt>
                <c:pt idx="786">
                  <c:v>5.536-5.543</c:v>
                </c:pt>
                <c:pt idx="787">
                  <c:v>5.543-5.550</c:v>
                </c:pt>
                <c:pt idx="788">
                  <c:v>5.550-5.557</c:v>
                </c:pt>
                <c:pt idx="789">
                  <c:v>5.557-5.564</c:v>
                </c:pt>
                <c:pt idx="790">
                  <c:v>5.564-5.571</c:v>
                </c:pt>
                <c:pt idx="791">
                  <c:v>5.571-5.579</c:v>
                </c:pt>
                <c:pt idx="792">
                  <c:v>5.579-5.586</c:v>
                </c:pt>
                <c:pt idx="793">
                  <c:v>5.586-5.593</c:v>
                </c:pt>
                <c:pt idx="794">
                  <c:v>5.593-5.600</c:v>
                </c:pt>
                <c:pt idx="795">
                  <c:v>5.600-5.607</c:v>
                </c:pt>
                <c:pt idx="796">
                  <c:v>5.607-5.614</c:v>
                </c:pt>
                <c:pt idx="797">
                  <c:v>5.614-5.621</c:v>
                </c:pt>
                <c:pt idx="798">
                  <c:v>5.621-5.628</c:v>
                </c:pt>
                <c:pt idx="799">
                  <c:v>5.628-5.635</c:v>
                </c:pt>
                <c:pt idx="800">
                  <c:v>5.635-5.642</c:v>
                </c:pt>
                <c:pt idx="801">
                  <c:v>5.642-5.649</c:v>
                </c:pt>
                <c:pt idx="802">
                  <c:v>5.649-5.656</c:v>
                </c:pt>
                <c:pt idx="803">
                  <c:v>5.656-5.663</c:v>
                </c:pt>
                <c:pt idx="804">
                  <c:v>5.663-5.670</c:v>
                </c:pt>
                <c:pt idx="805">
                  <c:v>5.670-5.677</c:v>
                </c:pt>
                <c:pt idx="806">
                  <c:v>5.677-5.684</c:v>
                </c:pt>
                <c:pt idx="807">
                  <c:v>5.684-5.691</c:v>
                </c:pt>
                <c:pt idx="808">
                  <c:v>5.691-5.698</c:v>
                </c:pt>
                <c:pt idx="809">
                  <c:v>5.698-5.705</c:v>
                </c:pt>
                <c:pt idx="810">
                  <c:v>5.705-5.712</c:v>
                </c:pt>
                <c:pt idx="811">
                  <c:v>5.712-5.719</c:v>
                </c:pt>
                <c:pt idx="812">
                  <c:v>5.719-5.726</c:v>
                </c:pt>
                <c:pt idx="813">
                  <c:v>5.726-5.733</c:v>
                </c:pt>
                <c:pt idx="814">
                  <c:v>5.733-5.740</c:v>
                </c:pt>
                <c:pt idx="815">
                  <c:v>5.740-5.747</c:v>
                </c:pt>
                <c:pt idx="816">
                  <c:v>5.747-5.754</c:v>
                </c:pt>
                <c:pt idx="817">
                  <c:v>5.754-5.761</c:v>
                </c:pt>
                <c:pt idx="818">
                  <c:v>5.761-5.768</c:v>
                </c:pt>
                <c:pt idx="819">
                  <c:v>5.768-5.775</c:v>
                </c:pt>
                <c:pt idx="820">
                  <c:v>5.775-5.782</c:v>
                </c:pt>
                <c:pt idx="821">
                  <c:v>5.782-5.789</c:v>
                </c:pt>
                <c:pt idx="822">
                  <c:v>5.789-5.797</c:v>
                </c:pt>
                <c:pt idx="823">
                  <c:v>5.797-5.804</c:v>
                </c:pt>
                <c:pt idx="824">
                  <c:v>5.804-5.811</c:v>
                </c:pt>
                <c:pt idx="825">
                  <c:v>5.811-5.818</c:v>
                </c:pt>
                <c:pt idx="826">
                  <c:v>5.818-5.825</c:v>
                </c:pt>
                <c:pt idx="827">
                  <c:v>5.825-5.832</c:v>
                </c:pt>
                <c:pt idx="828">
                  <c:v>5.832-5.839</c:v>
                </c:pt>
                <c:pt idx="829">
                  <c:v>5.839-5.846</c:v>
                </c:pt>
                <c:pt idx="830">
                  <c:v>5.846-5.853</c:v>
                </c:pt>
                <c:pt idx="831">
                  <c:v>5.853-5.860</c:v>
                </c:pt>
                <c:pt idx="832">
                  <c:v>5.860-5.867</c:v>
                </c:pt>
                <c:pt idx="833">
                  <c:v>5.867-5.874</c:v>
                </c:pt>
                <c:pt idx="834">
                  <c:v>5.874-5.881</c:v>
                </c:pt>
                <c:pt idx="835">
                  <c:v>5.881-5.888</c:v>
                </c:pt>
                <c:pt idx="836">
                  <c:v>5.888-5.895</c:v>
                </c:pt>
                <c:pt idx="837">
                  <c:v>5.895-5.902</c:v>
                </c:pt>
                <c:pt idx="838">
                  <c:v>5.902-5.909</c:v>
                </c:pt>
                <c:pt idx="839">
                  <c:v>5.909-5.916</c:v>
                </c:pt>
                <c:pt idx="840">
                  <c:v>5.916-5.923</c:v>
                </c:pt>
                <c:pt idx="841">
                  <c:v>5.923-5.930</c:v>
                </c:pt>
                <c:pt idx="842">
                  <c:v>5.930-5.937</c:v>
                </c:pt>
                <c:pt idx="843">
                  <c:v>5.937-5.944</c:v>
                </c:pt>
                <c:pt idx="844">
                  <c:v>5.944-5.951</c:v>
                </c:pt>
                <c:pt idx="845">
                  <c:v>5.951-5.958</c:v>
                </c:pt>
                <c:pt idx="846">
                  <c:v>5.958-5.965</c:v>
                </c:pt>
                <c:pt idx="847">
                  <c:v>5.965-5.972</c:v>
                </c:pt>
                <c:pt idx="848">
                  <c:v>5.972-5.979</c:v>
                </c:pt>
                <c:pt idx="849">
                  <c:v>5.979-5.986</c:v>
                </c:pt>
                <c:pt idx="850">
                  <c:v>5.986-5.993</c:v>
                </c:pt>
                <c:pt idx="851">
                  <c:v>5.993-6.000</c:v>
                </c:pt>
                <c:pt idx="852">
                  <c:v>6.000-6.007</c:v>
                </c:pt>
                <c:pt idx="853">
                  <c:v>6.007-6.014</c:v>
                </c:pt>
                <c:pt idx="854">
                  <c:v>6.014-6.022</c:v>
                </c:pt>
                <c:pt idx="855">
                  <c:v>6.022-6.029</c:v>
                </c:pt>
                <c:pt idx="856">
                  <c:v>6.029-6.036</c:v>
                </c:pt>
                <c:pt idx="857">
                  <c:v>6.036-6.043</c:v>
                </c:pt>
                <c:pt idx="858">
                  <c:v>6.043-6.050</c:v>
                </c:pt>
                <c:pt idx="859">
                  <c:v>6.050-6.057</c:v>
                </c:pt>
                <c:pt idx="860">
                  <c:v>6.057-6.064</c:v>
                </c:pt>
                <c:pt idx="861">
                  <c:v>6.064-6.071</c:v>
                </c:pt>
                <c:pt idx="862">
                  <c:v>6.071-6.078</c:v>
                </c:pt>
                <c:pt idx="863">
                  <c:v>6.078-6.085</c:v>
                </c:pt>
                <c:pt idx="864">
                  <c:v>6.085-6.092</c:v>
                </c:pt>
                <c:pt idx="865">
                  <c:v>6.092-6.099</c:v>
                </c:pt>
                <c:pt idx="866">
                  <c:v>6.099-6.106</c:v>
                </c:pt>
                <c:pt idx="867">
                  <c:v>6.106-6.113</c:v>
                </c:pt>
                <c:pt idx="868">
                  <c:v>6.113-6.120</c:v>
                </c:pt>
                <c:pt idx="869">
                  <c:v>6.120-6.127</c:v>
                </c:pt>
                <c:pt idx="870">
                  <c:v>6.127-6.134</c:v>
                </c:pt>
                <c:pt idx="871">
                  <c:v>6.134-6.141</c:v>
                </c:pt>
                <c:pt idx="872">
                  <c:v>6.141-6.148</c:v>
                </c:pt>
                <c:pt idx="873">
                  <c:v>6.148-6.155</c:v>
                </c:pt>
                <c:pt idx="874">
                  <c:v>6.155-6.162</c:v>
                </c:pt>
                <c:pt idx="875">
                  <c:v>6.162-6.169</c:v>
                </c:pt>
                <c:pt idx="876">
                  <c:v>6.169-6.176</c:v>
                </c:pt>
                <c:pt idx="877">
                  <c:v>6.176-6.183</c:v>
                </c:pt>
                <c:pt idx="878">
                  <c:v>6.183-6.190</c:v>
                </c:pt>
                <c:pt idx="879">
                  <c:v>6.190-6.197</c:v>
                </c:pt>
                <c:pt idx="880">
                  <c:v>6.197-6.204</c:v>
                </c:pt>
                <c:pt idx="881">
                  <c:v>6.204-6.211</c:v>
                </c:pt>
                <c:pt idx="882">
                  <c:v>6.211-6.218</c:v>
                </c:pt>
                <c:pt idx="883">
                  <c:v>6.218-6.225</c:v>
                </c:pt>
                <c:pt idx="884">
                  <c:v>6.225-6.232</c:v>
                </c:pt>
                <c:pt idx="885">
                  <c:v>6.232-6.240</c:v>
                </c:pt>
                <c:pt idx="886">
                  <c:v>6.240-6.247</c:v>
                </c:pt>
                <c:pt idx="887">
                  <c:v>6.247-6.254</c:v>
                </c:pt>
                <c:pt idx="888">
                  <c:v>6.254-6.261</c:v>
                </c:pt>
                <c:pt idx="889">
                  <c:v>6.261-6.268</c:v>
                </c:pt>
                <c:pt idx="890">
                  <c:v>6.268-6.275</c:v>
                </c:pt>
                <c:pt idx="891">
                  <c:v>6.275-6.282</c:v>
                </c:pt>
                <c:pt idx="892">
                  <c:v>6.282-6.289</c:v>
                </c:pt>
                <c:pt idx="893">
                  <c:v>6.289-6.296</c:v>
                </c:pt>
                <c:pt idx="894">
                  <c:v>6.296-6.303</c:v>
                </c:pt>
                <c:pt idx="895">
                  <c:v>6.303-6.310</c:v>
                </c:pt>
                <c:pt idx="896">
                  <c:v>6.310-6.317</c:v>
                </c:pt>
                <c:pt idx="897">
                  <c:v>6.317-6.324</c:v>
                </c:pt>
                <c:pt idx="898">
                  <c:v>6.324-6.331</c:v>
                </c:pt>
                <c:pt idx="899">
                  <c:v>6.331-6.338</c:v>
                </c:pt>
                <c:pt idx="900">
                  <c:v>6.338-6.345</c:v>
                </c:pt>
                <c:pt idx="901">
                  <c:v>6.345-6.352</c:v>
                </c:pt>
                <c:pt idx="902">
                  <c:v>6.352-6.359</c:v>
                </c:pt>
                <c:pt idx="903">
                  <c:v>6.359-6.366</c:v>
                </c:pt>
                <c:pt idx="904">
                  <c:v>6.366-6.373</c:v>
                </c:pt>
                <c:pt idx="905">
                  <c:v>6.373-6.380</c:v>
                </c:pt>
                <c:pt idx="906">
                  <c:v>6.380-6.387</c:v>
                </c:pt>
                <c:pt idx="907">
                  <c:v>6.387-6.394</c:v>
                </c:pt>
                <c:pt idx="908">
                  <c:v>6.394-6.401</c:v>
                </c:pt>
                <c:pt idx="909">
                  <c:v>6.401-6.408</c:v>
                </c:pt>
                <c:pt idx="910">
                  <c:v>6.408-6.415</c:v>
                </c:pt>
                <c:pt idx="911">
                  <c:v>6.415-6.422</c:v>
                </c:pt>
                <c:pt idx="912">
                  <c:v>6.422-6.429</c:v>
                </c:pt>
                <c:pt idx="913">
                  <c:v>6.429-6.436</c:v>
                </c:pt>
                <c:pt idx="914">
                  <c:v>6.436-6.443</c:v>
                </c:pt>
                <c:pt idx="915">
                  <c:v>6.443-6.450</c:v>
                </c:pt>
                <c:pt idx="916">
                  <c:v>6.450-6.458</c:v>
                </c:pt>
                <c:pt idx="917">
                  <c:v>6.458-6.465</c:v>
                </c:pt>
                <c:pt idx="918">
                  <c:v>6.465-6.472</c:v>
                </c:pt>
                <c:pt idx="919">
                  <c:v>6.472-6.479</c:v>
                </c:pt>
                <c:pt idx="920">
                  <c:v>6.479-6.486</c:v>
                </c:pt>
                <c:pt idx="921">
                  <c:v>6.486-6.493</c:v>
                </c:pt>
                <c:pt idx="922">
                  <c:v>6.493-6.500</c:v>
                </c:pt>
                <c:pt idx="923">
                  <c:v>6.500-6.507</c:v>
                </c:pt>
                <c:pt idx="924">
                  <c:v>6.507-6.514</c:v>
                </c:pt>
                <c:pt idx="925">
                  <c:v>6.514-6.521</c:v>
                </c:pt>
                <c:pt idx="926">
                  <c:v>6.521-6.528</c:v>
                </c:pt>
                <c:pt idx="927">
                  <c:v>6.528-6.535</c:v>
                </c:pt>
                <c:pt idx="928">
                  <c:v>6.535-6.542</c:v>
                </c:pt>
                <c:pt idx="929">
                  <c:v>6.542-6.549</c:v>
                </c:pt>
                <c:pt idx="930">
                  <c:v>6.549-6.556</c:v>
                </c:pt>
                <c:pt idx="931">
                  <c:v>6.556-6.563</c:v>
                </c:pt>
                <c:pt idx="932">
                  <c:v>6.563-6.570</c:v>
                </c:pt>
                <c:pt idx="933">
                  <c:v>6.570-6.577</c:v>
                </c:pt>
                <c:pt idx="934">
                  <c:v>6.577-6.584</c:v>
                </c:pt>
                <c:pt idx="935">
                  <c:v>6.584-6.591</c:v>
                </c:pt>
                <c:pt idx="936">
                  <c:v>6.591-6.598</c:v>
                </c:pt>
                <c:pt idx="937">
                  <c:v>6.598-6.605</c:v>
                </c:pt>
                <c:pt idx="938">
                  <c:v>6.605-6.612</c:v>
                </c:pt>
                <c:pt idx="939">
                  <c:v>6.612-6.619</c:v>
                </c:pt>
                <c:pt idx="940">
                  <c:v>6.619-6.626</c:v>
                </c:pt>
                <c:pt idx="941">
                  <c:v>6.626-6.633</c:v>
                </c:pt>
                <c:pt idx="942">
                  <c:v>6.633-6.640</c:v>
                </c:pt>
                <c:pt idx="943">
                  <c:v>6.640-6.647</c:v>
                </c:pt>
                <c:pt idx="944">
                  <c:v>6.647-6.654</c:v>
                </c:pt>
                <c:pt idx="945">
                  <c:v>6.654-6.661</c:v>
                </c:pt>
                <c:pt idx="946">
                  <c:v>6.661-6.668</c:v>
                </c:pt>
                <c:pt idx="947">
                  <c:v>6.668-6.676</c:v>
                </c:pt>
                <c:pt idx="948">
                  <c:v>6.676-6.683</c:v>
                </c:pt>
                <c:pt idx="949">
                  <c:v>6.683-6.690</c:v>
                </c:pt>
                <c:pt idx="950">
                  <c:v>6.690-6.697</c:v>
                </c:pt>
                <c:pt idx="951">
                  <c:v>6.697-6.704</c:v>
                </c:pt>
                <c:pt idx="952">
                  <c:v>6.704-6.711</c:v>
                </c:pt>
                <c:pt idx="953">
                  <c:v>6.711-6.718</c:v>
                </c:pt>
                <c:pt idx="954">
                  <c:v>6.718-6.725</c:v>
                </c:pt>
                <c:pt idx="955">
                  <c:v>6.725-6.732</c:v>
                </c:pt>
                <c:pt idx="956">
                  <c:v>6.732-6.739</c:v>
                </c:pt>
                <c:pt idx="957">
                  <c:v>6.739-6.746</c:v>
                </c:pt>
                <c:pt idx="958">
                  <c:v>6.746-6.753</c:v>
                </c:pt>
                <c:pt idx="959">
                  <c:v>6.753-6.760</c:v>
                </c:pt>
                <c:pt idx="960">
                  <c:v>6.760-6.767</c:v>
                </c:pt>
                <c:pt idx="961">
                  <c:v>6.767-6.774</c:v>
                </c:pt>
                <c:pt idx="962">
                  <c:v>6.774-6.781</c:v>
                </c:pt>
                <c:pt idx="963">
                  <c:v>6.781-6.788</c:v>
                </c:pt>
                <c:pt idx="964">
                  <c:v>6.788-6.795</c:v>
                </c:pt>
                <c:pt idx="965">
                  <c:v>6.795-6.802</c:v>
                </c:pt>
                <c:pt idx="966">
                  <c:v>6.802-6.809</c:v>
                </c:pt>
                <c:pt idx="967">
                  <c:v>6.809-6.816</c:v>
                </c:pt>
                <c:pt idx="968">
                  <c:v>6.816-6.823</c:v>
                </c:pt>
                <c:pt idx="969">
                  <c:v>6.823-6.830</c:v>
                </c:pt>
                <c:pt idx="970">
                  <c:v>6.830-6.837</c:v>
                </c:pt>
                <c:pt idx="971">
                  <c:v>6.837-6.844</c:v>
                </c:pt>
                <c:pt idx="972">
                  <c:v>6.844-6.851</c:v>
                </c:pt>
                <c:pt idx="973">
                  <c:v>6.851-6.858</c:v>
                </c:pt>
                <c:pt idx="974">
                  <c:v>6.858-6.865</c:v>
                </c:pt>
                <c:pt idx="975">
                  <c:v>6.865-6.872</c:v>
                </c:pt>
                <c:pt idx="976">
                  <c:v>6.872-6.879</c:v>
                </c:pt>
                <c:pt idx="977">
                  <c:v>6.879-6.886</c:v>
                </c:pt>
                <c:pt idx="978">
                  <c:v>6.886-6.894</c:v>
                </c:pt>
                <c:pt idx="979">
                  <c:v>6.894-6.901</c:v>
                </c:pt>
                <c:pt idx="980">
                  <c:v>6.901-6.908</c:v>
                </c:pt>
                <c:pt idx="981">
                  <c:v>6.908-6.915</c:v>
                </c:pt>
                <c:pt idx="982">
                  <c:v>6.915-6.922</c:v>
                </c:pt>
                <c:pt idx="983">
                  <c:v>6.922-6.929</c:v>
                </c:pt>
                <c:pt idx="984">
                  <c:v>6.929-6.936</c:v>
                </c:pt>
                <c:pt idx="985">
                  <c:v>6.936-6.943</c:v>
                </c:pt>
                <c:pt idx="986">
                  <c:v>6.943-6.950</c:v>
                </c:pt>
                <c:pt idx="987">
                  <c:v>6.950-6.957</c:v>
                </c:pt>
                <c:pt idx="988">
                  <c:v>6.957-6.964</c:v>
                </c:pt>
                <c:pt idx="989">
                  <c:v>6.964-6.971</c:v>
                </c:pt>
                <c:pt idx="990">
                  <c:v>6.971-6.978</c:v>
                </c:pt>
                <c:pt idx="991">
                  <c:v>6.978-6.985</c:v>
                </c:pt>
                <c:pt idx="992">
                  <c:v>6.985-6.992</c:v>
                </c:pt>
                <c:pt idx="993">
                  <c:v>6.992-6.999</c:v>
                </c:pt>
                <c:pt idx="994">
                  <c:v>6.999-7.006</c:v>
                </c:pt>
                <c:pt idx="995">
                  <c:v>7.006-7.013</c:v>
                </c:pt>
                <c:pt idx="996">
                  <c:v>7.013-7.020</c:v>
                </c:pt>
                <c:pt idx="997">
                  <c:v>7.020-7.027</c:v>
                </c:pt>
                <c:pt idx="998">
                  <c:v>7.027-7.034</c:v>
                </c:pt>
                <c:pt idx="999">
                  <c:v>7.034-7.041</c:v>
                </c:pt>
                <c:pt idx="1000">
                  <c:v>7.041-7.048</c:v>
                </c:pt>
                <c:pt idx="1001">
                  <c:v>7.048-7.055</c:v>
                </c:pt>
                <c:pt idx="1002">
                  <c:v>7.055-7.062</c:v>
                </c:pt>
                <c:pt idx="1003">
                  <c:v>7.062-7.069</c:v>
                </c:pt>
                <c:pt idx="1004">
                  <c:v>7.069-7.076</c:v>
                </c:pt>
                <c:pt idx="1005">
                  <c:v>7.076-7.083</c:v>
                </c:pt>
                <c:pt idx="1006">
                  <c:v>7.083-7.090</c:v>
                </c:pt>
                <c:pt idx="1007">
                  <c:v>7.090-7.097</c:v>
                </c:pt>
                <c:pt idx="1008">
                  <c:v>7.097-7.104</c:v>
                </c:pt>
                <c:pt idx="1009">
                  <c:v>7.104-7.112</c:v>
                </c:pt>
                <c:pt idx="1010">
                  <c:v>7.112-7.119</c:v>
                </c:pt>
                <c:pt idx="1011">
                  <c:v>7.119-7.126</c:v>
                </c:pt>
                <c:pt idx="1012">
                  <c:v>7.126-7.133</c:v>
                </c:pt>
                <c:pt idx="1013">
                  <c:v>7.133-7.140</c:v>
                </c:pt>
                <c:pt idx="1014">
                  <c:v>7.140-7.147</c:v>
                </c:pt>
                <c:pt idx="1015">
                  <c:v>7.147-7.154</c:v>
                </c:pt>
                <c:pt idx="1016">
                  <c:v>7.154-7.161</c:v>
                </c:pt>
                <c:pt idx="1017">
                  <c:v>7.161-7.168</c:v>
                </c:pt>
                <c:pt idx="1018">
                  <c:v>7.168-7.175</c:v>
                </c:pt>
                <c:pt idx="1019">
                  <c:v>7.175-7.182</c:v>
                </c:pt>
                <c:pt idx="1020">
                  <c:v>7.182-7.189</c:v>
                </c:pt>
                <c:pt idx="1021">
                  <c:v>7.189-7.196</c:v>
                </c:pt>
                <c:pt idx="1022">
                  <c:v>7.196-7.203</c:v>
                </c:pt>
                <c:pt idx="1023">
                  <c:v>7.203-7.210</c:v>
                </c:pt>
                <c:pt idx="1024">
                  <c:v>7.210-7.217</c:v>
                </c:pt>
                <c:pt idx="1025">
                  <c:v>7.217-7.224</c:v>
                </c:pt>
                <c:pt idx="1026">
                  <c:v>7.224-7.231</c:v>
                </c:pt>
                <c:pt idx="1027">
                  <c:v>7.231-7.238</c:v>
                </c:pt>
                <c:pt idx="1028">
                  <c:v>7.238-7.245</c:v>
                </c:pt>
                <c:pt idx="1029">
                  <c:v>7.245-7.252</c:v>
                </c:pt>
                <c:pt idx="1030">
                  <c:v>7.252-7.259</c:v>
                </c:pt>
                <c:pt idx="1031">
                  <c:v>7.259-7.266</c:v>
                </c:pt>
                <c:pt idx="1032">
                  <c:v>7.266-7.273</c:v>
                </c:pt>
                <c:pt idx="1033">
                  <c:v>7.273-7.280</c:v>
                </c:pt>
                <c:pt idx="1034">
                  <c:v>7.280-7.287</c:v>
                </c:pt>
                <c:pt idx="1035">
                  <c:v>7.287-7.294</c:v>
                </c:pt>
                <c:pt idx="1036">
                  <c:v>7.294-7.301</c:v>
                </c:pt>
                <c:pt idx="1037">
                  <c:v>7.301-7.308</c:v>
                </c:pt>
                <c:pt idx="1038">
                  <c:v>7.308-7.315</c:v>
                </c:pt>
                <c:pt idx="1039">
                  <c:v>7.315-7.322</c:v>
                </c:pt>
                <c:pt idx="1040">
                  <c:v>7.322-7.330</c:v>
                </c:pt>
                <c:pt idx="1041">
                  <c:v>7.330-7.337</c:v>
                </c:pt>
                <c:pt idx="1042">
                  <c:v>7.337-7.344</c:v>
                </c:pt>
                <c:pt idx="1043">
                  <c:v>7.344-7.351</c:v>
                </c:pt>
                <c:pt idx="1044">
                  <c:v>7.351-7.358</c:v>
                </c:pt>
                <c:pt idx="1045">
                  <c:v>7.358-7.365</c:v>
                </c:pt>
                <c:pt idx="1046">
                  <c:v>7.365-7.372</c:v>
                </c:pt>
                <c:pt idx="1047">
                  <c:v>7.372-7.379</c:v>
                </c:pt>
                <c:pt idx="1048">
                  <c:v>7.379-7.386</c:v>
                </c:pt>
                <c:pt idx="1049">
                  <c:v>7.386-7.393</c:v>
                </c:pt>
                <c:pt idx="1050">
                  <c:v>7.393-7.400</c:v>
                </c:pt>
                <c:pt idx="1051">
                  <c:v>7.400-7.407</c:v>
                </c:pt>
                <c:pt idx="1052">
                  <c:v>7.407-7.414</c:v>
                </c:pt>
                <c:pt idx="1053">
                  <c:v>7.414-7.421</c:v>
                </c:pt>
                <c:pt idx="1054">
                  <c:v>7.421-7.428</c:v>
                </c:pt>
                <c:pt idx="1055">
                  <c:v>7.428-7.435</c:v>
                </c:pt>
                <c:pt idx="1056">
                  <c:v>7.435-7.442</c:v>
                </c:pt>
                <c:pt idx="1057">
                  <c:v>7.442-7.449</c:v>
                </c:pt>
                <c:pt idx="1058">
                  <c:v>7.449-7.456</c:v>
                </c:pt>
                <c:pt idx="1059">
                  <c:v>7.456-7.463</c:v>
                </c:pt>
                <c:pt idx="1060">
                  <c:v>7.463-7.470</c:v>
                </c:pt>
                <c:pt idx="1061">
                  <c:v>7.470-7.477</c:v>
                </c:pt>
                <c:pt idx="1062">
                  <c:v>7.477-7.484</c:v>
                </c:pt>
                <c:pt idx="1063">
                  <c:v>7.484-7.491</c:v>
                </c:pt>
                <c:pt idx="1064">
                  <c:v>7.491-7.498</c:v>
                </c:pt>
                <c:pt idx="1065">
                  <c:v>7.498-7.505</c:v>
                </c:pt>
                <c:pt idx="1066">
                  <c:v>7.505-7.512</c:v>
                </c:pt>
                <c:pt idx="1067">
                  <c:v>7.512-7.519</c:v>
                </c:pt>
                <c:pt idx="1068">
                  <c:v>7.519-7.526</c:v>
                </c:pt>
                <c:pt idx="1069">
                  <c:v>7.526-7.533</c:v>
                </c:pt>
                <c:pt idx="1070">
                  <c:v>7.533-7.540</c:v>
                </c:pt>
                <c:pt idx="1071">
                  <c:v>7.540-7.548</c:v>
                </c:pt>
                <c:pt idx="1072">
                  <c:v>7.548-7.555</c:v>
                </c:pt>
                <c:pt idx="1073">
                  <c:v>7.555-7.562</c:v>
                </c:pt>
                <c:pt idx="1074">
                  <c:v>7.562-7.569</c:v>
                </c:pt>
                <c:pt idx="1075">
                  <c:v>7.569-7.576</c:v>
                </c:pt>
                <c:pt idx="1076">
                  <c:v>7.576-7.583</c:v>
                </c:pt>
                <c:pt idx="1077">
                  <c:v>7.583-7.590</c:v>
                </c:pt>
                <c:pt idx="1078">
                  <c:v>7.590-7.597</c:v>
                </c:pt>
                <c:pt idx="1079">
                  <c:v>7.597-7.604</c:v>
                </c:pt>
                <c:pt idx="1080">
                  <c:v>7.604-7.611</c:v>
                </c:pt>
                <c:pt idx="1081">
                  <c:v>7.611-7.618</c:v>
                </c:pt>
                <c:pt idx="1082">
                  <c:v>7.618-7.625</c:v>
                </c:pt>
                <c:pt idx="1083">
                  <c:v>7.625-7.632</c:v>
                </c:pt>
                <c:pt idx="1084">
                  <c:v>7.632-7.639</c:v>
                </c:pt>
                <c:pt idx="1085">
                  <c:v>7.639-7.646</c:v>
                </c:pt>
                <c:pt idx="1086">
                  <c:v>7.646-7.653</c:v>
                </c:pt>
                <c:pt idx="1087">
                  <c:v>7.653-7.660</c:v>
                </c:pt>
                <c:pt idx="1088">
                  <c:v>7.660-7.667</c:v>
                </c:pt>
                <c:pt idx="1089">
                  <c:v>7.667-7.674</c:v>
                </c:pt>
                <c:pt idx="1090">
                  <c:v>7.674-7.681</c:v>
                </c:pt>
                <c:pt idx="1091">
                  <c:v>7.681-7.688</c:v>
                </c:pt>
                <c:pt idx="1092">
                  <c:v>7.688-7.695</c:v>
                </c:pt>
                <c:pt idx="1093">
                  <c:v>7.695-7.702</c:v>
                </c:pt>
                <c:pt idx="1094">
                  <c:v>7.702-7.709</c:v>
                </c:pt>
                <c:pt idx="1095">
                  <c:v>7.709-7.716</c:v>
                </c:pt>
                <c:pt idx="1096">
                  <c:v>7.716-7.723</c:v>
                </c:pt>
                <c:pt idx="1097">
                  <c:v>7.723-7.730</c:v>
                </c:pt>
                <c:pt idx="1098">
                  <c:v>7.730-7.737</c:v>
                </c:pt>
                <c:pt idx="1099">
                  <c:v>7.737-7.744</c:v>
                </c:pt>
                <c:pt idx="1100">
                  <c:v>7.744-7.751</c:v>
                </c:pt>
                <c:pt idx="1101">
                  <c:v>7.751-7.758</c:v>
                </c:pt>
                <c:pt idx="1102">
                  <c:v>7.758-7.766</c:v>
                </c:pt>
                <c:pt idx="1103">
                  <c:v>7.766-7.773</c:v>
                </c:pt>
                <c:pt idx="1104">
                  <c:v>7.773-7.780</c:v>
                </c:pt>
                <c:pt idx="1105">
                  <c:v>7.780-7.787</c:v>
                </c:pt>
                <c:pt idx="1106">
                  <c:v>7.787-7.794</c:v>
                </c:pt>
                <c:pt idx="1107">
                  <c:v>7.794-7.801</c:v>
                </c:pt>
                <c:pt idx="1108">
                  <c:v>7.801-7.808</c:v>
                </c:pt>
                <c:pt idx="1109">
                  <c:v>7.808-7.815</c:v>
                </c:pt>
                <c:pt idx="1110">
                  <c:v>7.815-7.822</c:v>
                </c:pt>
                <c:pt idx="1111">
                  <c:v>7.822-7.829</c:v>
                </c:pt>
                <c:pt idx="1112">
                  <c:v>7.829-7.836</c:v>
                </c:pt>
                <c:pt idx="1113">
                  <c:v>7.836-7.843</c:v>
                </c:pt>
                <c:pt idx="1114">
                  <c:v>7.843-7.850</c:v>
                </c:pt>
                <c:pt idx="1115">
                  <c:v>7.850-7.857</c:v>
                </c:pt>
                <c:pt idx="1116">
                  <c:v>7.857-7.864</c:v>
                </c:pt>
                <c:pt idx="1117">
                  <c:v>7.864-7.871</c:v>
                </c:pt>
                <c:pt idx="1118">
                  <c:v>7.871-7.878</c:v>
                </c:pt>
                <c:pt idx="1119">
                  <c:v>7.878-7.885</c:v>
                </c:pt>
                <c:pt idx="1120">
                  <c:v>7.885-7.892</c:v>
                </c:pt>
                <c:pt idx="1121">
                  <c:v>7.892-7.899</c:v>
                </c:pt>
                <c:pt idx="1122">
                  <c:v>7.899-7.906</c:v>
                </c:pt>
                <c:pt idx="1123">
                  <c:v>7.906-7.913</c:v>
                </c:pt>
                <c:pt idx="1124">
                  <c:v>7.913-7.920</c:v>
                </c:pt>
                <c:pt idx="1125">
                  <c:v>7.920-7.927</c:v>
                </c:pt>
                <c:pt idx="1126">
                  <c:v>7.927-7.934</c:v>
                </c:pt>
                <c:pt idx="1127">
                  <c:v>7.934-7.941</c:v>
                </c:pt>
                <c:pt idx="1128">
                  <c:v>7.941-7.948</c:v>
                </c:pt>
                <c:pt idx="1129">
                  <c:v>7.948-7.955</c:v>
                </c:pt>
                <c:pt idx="1130">
                  <c:v>7.955-7.962</c:v>
                </c:pt>
                <c:pt idx="1131">
                  <c:v>7.962-7.969</c:v>
                </c:pt>
                <c:pt idx="1132">
                  <c:v>7.969-7.976</c:v>
                </c:pt>
                <c:pt idx="1133">
                  <c:v>7.976-7.984</c:v>
                </c:pt>
                <c:pt idx="1134">
                  <c:v>7.984-7.991</c:v>
                </c:pt>
                <c:pt idx="1135">
                  <c:v>7.991-7.998</c:v>
                </c:pt>
                <c:pt idx="1136">
                  <c:v>7.998-8.005</c:v>
                </c:pt>
                <c:pt idx="1137">
                  <c:v>8.005-8.012</c:v>
                </c:pt>
                <c:pt idx="1138">
                  <c:v>8.012-8.019</c:v>
                </c:pt>
                <c:pt idx="1139">
                  <c:v>8.019-8.026</c:v>
                </c:pt>
                <c:pt idx="1140">
                  <c:v>8.026-8.033</c:v>
                </c:pt>
                <c:pt idx="1141">
                  <c:v>8.033-8.040</c:v>
                </c:pt>
                <c:pt idx="1142">
                  <c:v>8.040-8.047</c:v>
                </c:pt>
                <c:pt idx="1143">
                  <c:v>8.047-8.054</c:v>
                </c:pt>
                <c:pt idx="1144">
                  <c:v>8.054-8.061</c:v>
                </c:pt>
                <c:pt idx="1145">
                  <c:v>8.061-8.068</c:v>
                </c:pt>
                <c:pt idx="1146">
                  <c:v>8.068-8.075</c:v>
                </c:pt>
                <c:pt idx="1147">
                  <c:v>8.075-8.082</c:v>
                </c:pt>
                <c:pt idx="1148">
                  <c:v>8.082-8.089</c:v>
                </c:pt>
                <c:pt idx="1149">
                  <c:v>8.089-8.096</c:v>
                </c:pt>
                <c:pt idx="1150">
                  <c:v>8.096-8.103</c:v>
                </c:pt>
                <c:pt idx="1151">
                  <c:v>8.103-8.110</c:v>
                </c:pt>
                <c:pt idx="1152">
                  <c:v>8.110-8.117</c:v>
                </c:pt>
                <c:pt idx="1153">
                  <c:v>8.117-8.124</c:v>
                </c:pt>
                <c:pt idx="1154">
                  <c:v>8.124-8.131</c:v>
                </c:pt>
                <c:pt idx="1155">
                  <c:v>8.131-8.138</c:v>
                </c:pt>
                <c:pt idx="1156">
                  <c:v>8.138-8.145</c:v>
                </c:pt>
                <c:pt idx="1157">
                  <c:v>8.145-8.152</c:v>
                </c:pt>
                <c:pt idx="1158">
                  <c:v>8.152-8.159</c:v>
                </c:pt>
                <c:pt idx="1159">
                  <c:v>8.159-8.166</c:v>
                </c:pt>
                <c:pt idx="1160">
                  <c:v>8.166-8.173</c:v>
                </c:pt>
                <c:pt idx="1161">
                  <c:v>8.173-8.180</c:v>
                </c:pt>
                <c:pt idx="1162">
                  <c:v>8.180-8.187</c:v>
                </c:pt>
                <c:pt idx="1163">
                  <c:v>8.187-8.194</c:v>
                </c:pt>
                <c:pt idx="1164">
                  <c:v>8.194-8.202</c:v>
                </c:pt>
                <c:pt idx="1165">
                  <c:v>8.202-8.209</c:v>
                </c:pt>
                <c:pt idx="1166">
                  <c:v>8.209-8.216</c:v>
                </c:pt>
                <c:pt idx="1167">
                  <c:v>8.216-8.223</c:v>
                </c:pt>
                <c:pt idx="1168">
                  <c:v>8.223-8.230</c:v>
                </c:pt>
                <c:pt idx="1169">
                  <c:v>8.230-8.237</c:v>
                </c:pt>
                <c:pt idx="1170">
                  <c:v>8.237-8.244</c:v>
                </c:pt>
                <c:pt idx="1171">
                  <c:v>8.244-8.251</c:v>
                </c:pt>
                <c:pt idx="1172">
                  <c:v>8.251-8.258</c:v>
                </c:pt>
                <c:pt idx="1173">
                  <c:v>8.258-8.265</c:v>
                </c:pt>
                <c:pt idx="1174">
                  <c:v>8.265-8.272</c:v>
                </c:pt>
                <c:pt idx="1175">
                  <c:v>8.272-8.279</c:v>
                </c:pt>
                <c:pt idx="1176">
                  <c:v>8.279-8.286</c:v>
                </c:pt>
                <c:pt idx="1177">
                  <c:v>8.286-8.293</c:v>
                </c:pt>
                <c:pt idx="1178">
                  <c:v>8.293-8.300</c:v>
                </c:pt>
                <c:pt idx="1179">
                  <c:v>8.300-8.307</c:v>
                </c:pt>
                <c:pt idx="1180">
                  <c:v>8.307-8.314</c:v>
                </c:pt>
                <c:pt idx="1181">
                  <c:v>8.314-8.321</c:v>
                </c:pt>
                <c:pt idx="1182">
                  <c:v>8.321-8.328</c:v>
                </c:pt>
                <c:pt idx="1183">
                  <c:v>8.328-8.335</c:v>
                </c:pt>
                <c:pt idx="1184">
                  <c:v>8.335-8.342</c:v>
                </c:pt>
                <c:pt idx="1185">
                  <c:v>8.342-8.349</c:v>
                </c:pt>
                <c:pt idx="1186">
                  <c:v>8.349-8.356</c:v>
                </c:pt>
                <c:pt idx="1187">
                  <c:v>8.356-8.363</c:v>
                </c:pt>
                <c:pt idx="1188">
                  <c:v>8.363-8.370</c:v>
                </c:pt>
                <c:pt idx="1189">
                  <c:v>8.370-8.377</c:v>
                </c:pt>
                <c:pt idx="1190">
                  <c:v>8.377-8.384</c:v>
                </c:pt>
                <c:pt idx="1191">
                  <c:v>8.384-8.391</c:v>
                </c:pt>
                <c:pt idx="1192">
                  <c:v>8.391-8.398</c:v>
                </c:pt>
                <c:pt idx="1193">
                  <c:v>8.398-8.405</c:v>
                </c:pt>
                <c:pt idx="1194">
                  <c:v>8.405-8.412</c:v>
                </c:pt>
                <c:pt idx="1195">
                  <c:v>8.412-8.420</c:v>
                </c:pt>
                <c:pt idx="1196">
                  <c:v>8.420-8.427</c:v>
                </c:pt>
                <c:pt idx="1197">
                  <c:v>8.427-8.434</c:v>
                </c:pt>
                <c:pt idx="1198">
                  <c:v>8.434-8.441</c:v>
                </c:pt>
                <c:pt idx="1199">
                  <c:v>8.441-8.448</c:v>
                </c:pt>
                <c:pt idx="1200">
                  <c:v>8.448-8.455</c:v>
                </c:pt>
                <c:pt idx="1201">
                  <c:v>8.455-8.462</c:v>
                </c:pt>
                <c:pt idx="1202">
                  <c:v>8.462-8.469</c:v>
                </c:pt>
                <c:pt idx="1203">
                  <c:v>8.469-8.476</c:v>
                </c:pt>
                <c:pt idx="1204">
                  <c:v>8.476-8.483</c:v>
                </c:pt>
                <c:pt idx="1205">
                  <c:v>8.483-8.490</c:v>
                </c:pt>
                <c:pt idx="1206">
                  <c:v>8.490-8.497</c:v>
                </c:pt>
                <c:pt idx="1207">
                  <c:v>8.497-8.504</c:v>
                </c:pt>
                <c:pt idx="1208">
                  <c:v>8.504-8.511</c:v>
                </c:pt>
                <c:pt idx="1209">
                  <c:v>8.511-8.518</c:v>
                </c:pt>
                <c:pt idx="1210">
                  <c:v>8.518-8.525</c:v>
                </c:pt>
                <c:pt idx="1211">
                  <c:v>8.525-8.532</c:v>
                </c:pt>
                <c:pt idx="1212">
                  <c:v>8.532-8.539</c:v>
                </c:pt>
                <c:pt idx="1213">
                  <c:v>8.539-8.546</c:v>
                </c:pt>
                <c:pt idx="1214">
                  <c:v>8.546-8.553</c:v>
                </c:pt>
                <c:pt idx="1215">
                  <c:v>8.553-8.560</c:v>
                </c:pt>
                <c:pt idx="1216">
                  <c:v>8.560-8.567</c:v>
                </c:pt>
                <c:pt idx="1217">
                  <c:v>8.567-8.574</c:v>
                </c:pt>
                <c:pt idx="1218">
                  <c:v>8.574-8.581</c:v>
                </c:pt>
                <c:pt idx="1219">
                  <c:v>8.581-8.588</c:v>
                </c:pt>
                <c:pt idx="1220">
                  <c:v>8.588-8.595</c:v>
                </c:pt>
                <c:pt idx="1221">
                  <c:v>8.595-8.602</c:v>
                </c:pt>
                <c:pt idx="1222">
                  <c:v>8.602-8.609</c:v>
                </c:pt>
                <c:pt idx="1223">
                  <c:v>8.609-8.616</c:v>
                </c:pt>
                <c:pt idx="1224">
                  <c:v>8.616-8.623</c:v>
                </c:pt>
                <c:pt idx="1225">
                  <c:v>8.623-8.630</c:v>
                </c:pt>
                <c:pt idx="1226">
                  <c:v>8.630-8.638</c:v>
                </c:pt>
                <c:pt idx="1227">
                  <c:v>8.638-8.645</c:v>
                </c:pt>
                <c:pt idx="1228">
                  <c:v>8.645-8.652</c:v>
                </c:pt>
                <c:pt idx="1229">
                  <c:v>8.652-8.659</c:v>
                </c:pt>
                <c:pt idx="1230">
                  <c:v>8.659-8.666</c:v>
                </c:pt>
                <c:pt idx="1231">
                  <c:v>8.666-8.673</c:v>
                </c:pt>
                <c:pt idx="1232">
                  <c:v>8.673-8.680</c:v>
                </c:pt>
                <c:pt idx="1233">
                  <c:v>8.680-8.687</c:v>
                </c:pt>
                <c:pt idx="1234">
                  <c:v>8.687-8.694</c:v>
                </c:pt>
                <c:pt idx="1235">
                  <c:v>8.694-8.701</c:v>
                </c:pt>
                <c:pt idx="1236">
                  <c:v>8.701-8.708</c:v>
                </c:pt>
                <c:pt idx="1237">
                  <c:v>8.708-8.715</c:v>
                </c:pt>
                <c:pt idx="1238">
                  <c:v>8.715-8.722</c:v>
                </c:pt>
                <c:pt idx="1239">
                  <c:v>8.722-8.729</c:v>
                </c:pt>
                <c:pt idx="1240">
                  <c:v>8.729-8.736</c:v>
                </c:pt>
                <c:pt idx="1241">
                  <c:v>8.736-8.743</c:v>
                </c:pt>
                <c:pt idx="1242">
                  <c:v>8.743-8.750</c:v>
                </c:pt>
                <c:pt idx="1243">
                  <c:v>8.750-8.757</c:v>
                </c:pt>
                <c:pt idx="1244">
                  <c:v>8.757-8.764</c:v>
                </c:pt>
                <c:pt idx="1245">
                  <c:v>8.764-8.771</c:v>
                </c:pt>
                <c:pt idx="1246">
                  <c:v>8.771-8.778</c:v>
                </c:pt>
                <c:pt idx="1247">
                  <c:v>8.778-8.785</c:v>
                </c:pt>
                <c:pt idx="1248">
                  <c:v>8.785-8.792</c:v>
                </c:pt>
                <c:pt idx="1249">
                  <c:v>8.792-8.799</c:v>
                </c:pt>
                <c:pt idx="1250">
                  <c:v>8.799-8.806</c:v>
                </c:pt>
                <c:pt idx="1251">
                  <c:v>8.806-8.813</c:v>
                </c:pt>
                <c:pt idx="1252">
                  <c:v>8.813-8.820</c:v>
                </c:pt>
                <c:pt idx="1253">
                  <c:v>8.820-8.827</c:v>
                </c:pt>
                <c:pt idx="1254">
                  <c:v>8.827-8.834</c:v>
                </c:pt>
                <c:pt idx="1255">
                  <c:v>8.834-8.841</c:v>
                </c:pt>
                <c:pt idx="1256">
                  <c:v>8.841-8.848</c:v>
                </c:pt>
                <c:pt idx="1257">
                  <c:v>8.848-8.856</c:v>
                </c:pt>
                <c:pt idx="1258">
                  <c:v>8.856-8.863</c:v>
                </c:pt>
                <c:pt idx="1259">
                  <c:v>8.863-8.870</c:v>
                </c:pt>
                <c:pt idx="1260">
                  <c:v>8.870-8.877</c:v>
                </c:pt>
                <c:pt idx="1261">
                  <c:v>8.877-8.884</c:v>
                </c:pt>
                <c:pt idx="1262">
                  <c:v>8.884-8.891</c:v>
                </c:pt>
                <c:pt idx="1263">
                  <c:v>8.891-8.898</c:v>
                </c:pt>
                <c:pt idx="1264">
                  <c:v>8.898-8.905</c:v>
                </c:pt>
                <c:pt idx="1265">
                  <c:v>8.905-8.912</c:v>
                </c:pt>
                <c:pt idx="1266">
                  <c:v>8.912-8.919</c:v>
                </c:pt>
                <c:pt idx="1267">
                  <c:v>8.919-8.926</c:v>
                </c:pt>
                <c:pt idx="1268">
                  <c:v>8.926-8.933</c:v>
                </c:pt>
                <c:pt idx="1269">
                  <c:v>8.933-8.940</c:v>
                </c:pt>
                <c:pt idx="1270">
                  <c:v>8.940-8.947</c:v>
                </c:pt>
                <c:pt idx="1271">
                  <c:v>8.947-8.954</c:v>
                </c:pt>
                <c:pt idx="1272">
                  <c:v>8.954-8.961</c:v>
                </c:pt>
                <c:pt idx="1273">
                  <c:v>8.961-8.968</c:v>
                </c:pt>
                <c:pt idx="1274">
                  <c:v>8.968-8.975</c:v>
                </c:pt>
                <c:pt idx="1275">
                  <c:v>8.975-8.982</c:v>
                </c:pt>
                <c:pt idx="1276">
                  <c:v>8.982-8.989</c:v>
                </c:pt>
                <c:pt idx="1277">
                  <c:v>8.989-8.996</c:v>
                </c:pt>
                <c:pt idx="1278">
                  <c:v>8.996-9.003</c:v>
                </c:pt>
                <c:pt idx="1279">
                  <c:v>9.003-9.010</c:v>
                </c:pt>
                <c:pt idx="1280">
                  <c:v>9.010-9.017</c:v>
                </c:pt>
                <c:pt idx="1281">
                  <c:v>9.017-9.024</c:v>
                </c:pt>
                <c:pt idx="1282">
                  <c:v>9.024-9.031</c:v>
                </c:pt>
                <c:pt idx="1283">
                  <c:v>9.031-9.038</c:v>
                </c:pt>
                <c:pt idx="1284">
                  <c:v>9.038-9.045</c:v>
                </c:pt>
                <c:pt idx="1285">
                  <c:v>9.045-9.052</c:v>
                </c:pt>
                <c:pt idx="1286">
                  <c:v>9.052-9.059</c:v>
                </c:pt>
                <c:pt idx="1287">
                  <c:v>9.059-9.066</c:v>
                </c:pt>
                <c:pt idx="1288">
                  <c:v>9.066-9.074</c:v>
                </c:pt>
                <c:pt idx="1289">
                  <c:v>9.074-9.081</c:v>
                </c:pt>
                <c:pt idx="1290">
                  <c:v>9.081-9.088</c:v>
                </c:pt>
                <c:pt idx="1291">
                  <c:v>9.088-9.095</c:v>
                </c:pt>
                <c:pt idx="1292">
                  <c:v>9.095-9.102</c:v>
                </c:pt>
                <c:pt idx="1293">
                  <c:v>9.102-9.109</c:v>
                </c:pt>
                <c:pt idx="1294">
                  <c:v>9.109-9.116</c:v>
                </c:pt>
                <c:pt idx="1295">
                  <c:v>9.116-9.123</c:v>
                </c:pt>
                <c:pt idx="1296">
                  <c:v>9.123-9.130</c:v>
                </c:pt>
                <c:pt idx="1297">
                  <c:v>9.130-9.137</c:v>
                </c:pt>
                <c:pt idx="1298">
                  <c:v>9.137-9.144</c:v>
                </c:pt>
                <c:pt idx="1299">
                  <c:v>9.144-9.151</c:v>
                </c:pt>
                <c:pt idx="1300">
                  <c:v>9.151-9.158</c:v>
                </c:pt>
                <c:pt idx="1301">
                  <c:v>9.158-9.165</c:v>
                </c:pt>
                <c:pt idx="1302">
                  <c:v>9.165-9.172</c:v>
                </c:pt>
                <c:pt idx="1303">
                  <c:v>9.172-9.179</c:v>
                </c:pt>
                <c:pt idx="1304">
                  <c:v>9.179-9.186</c:v>
                </c:pt>
                <c:pt idx="1305">
                  <c:v>9.186-9.193</c:v>
                </c:pt>
                <c:pt idx="1306">
                  <c:v>9.193-9.200</c:v>
                </c:pt>
                <c:pt idx="1307">
                  <c:v>9.200-9.207</c:v>
                </c:pt>
                <c:pt idx="1308">
                  <c:v>9.207-9.214</c:v>
                </c:pt>
                <c:pt idx="1309">
                  <c:v>9.214-9.221</c:v>
                </c:pt>
                <c:pt idx="1310">
                  <c:v>9.221-9.228</c:v>
                </c:pt>
                <c:pt idx="1311">
                  <c:v>9.228-9.235</c:v>
                </c:pt>
                <c:pt idx="1312">
                  <c:v>9.235-9.242</c:v>
                </c:pt>
                <c:pt idx="1313">
                  <c:v>9.242-9.249</c:v>
                </c:pt>
                <c:pt idx="1314">
                  <c:v>9.249-9.256</c:v>
                </c:pt>
                <c:pt idx="1315">
                  <c:v>9.256-9.263</c:v>
                </c:pt>
                <c:pt idx="1316">
                  <c:v>9.263-9.270</c:v>
                </c:pt>
                <c:pt idx="1317">
                  <c:v>9.270-9.277</c:v>
                </c:pt>
                <c:pt idx="1318">
                  <c:v>9.277-9.284</c:v>
                </c:pt>
                <c:pt idx="1319">
                  <c:v>9.284-9.292</c:v>
                </c:pt>
                <c:pt idx="1320">
                  <c:v>9.292-9.299</c:v>
                </c:pt>
                <c:pt idx="1321">
                  <c:v>9.299-9.306</c:v>
                </c:pt>
                <c:pt idx="1322">
                  <c:v>9.306-9.313</c:v>
                </c:pt>
                <c:pt idx="1323">
                  <c:v>9.313-9.320</c:v>
                </c:pt>
                <c:pt idx="1324">
                  <c:v>9.320-9.327</c:v>
                </c:pt>
                <c:pt idx="1325">
                  <c:v>9.327-9.334</c:v>
                </c:pt>
                <c:pt idx="1326">
                  <c:v>9.334-9.341</c:v>
                </c:pt>
                <c:pt idx="1327">
                  <c:v>9.341-9.348</c:v>
                </c:pt>
                <c:pt idx="1328">
                  <c:v>9.348-9.355</c:v>
                </c:pt>
                <c:pt idx="1329">
                  <c:v>9.355-9.362</c:v>
                </c:pt>
                <c:pt idx="1330">
                  <c:v>9.362-9.369</c:v>
                </c:pt>
                <c:pt idx="1331">
                  <c:v>9.369-9.376</c:v>
                </c:pt>
                <c:pt idx="1332">
                  <c:v>9.376-9.383</c:v>
                </c:pt>
                <c:pt idx="1333">
                  <c:v>9.383-9.390</c:v>
                </c:pt>
                <c:pt idx="1334">
                  <c:v>9.390-9.397</c:v>
                </c:pt>
                <c:pt idx="1335">
                  <c:v>9.397-9.404</c:v>
                </c:pt>
                <c:pt idx="1336">
                  <c:v>9.404-9.411</c:v>
                </c:pt>
                <c:pt idx="1337">
                  <c:v>9.411-9.418</c:v>
                </c:pt>
                <c:pt idx="1338">
                  <c:v>9.418-9.425</c:v>
                </c:pt>
                <c:pt idx="1339">
                  <c:v>9.425-9.432</c:v>
                </c:pt>
                <c:pt idx="1340">
                  <c:v>9.432-9.439</c:v>
                </c:pt>
                <c:pt idx="1341">
                  <c:v>9.439-9.446</c:v>
                </c:pt>
                <c:pt idx="1342">
                  <c:v>9.446-9.453</c:v>
                </c:pt>
                <c:pt idx="1343">
                  <c:v>9.453-9.460</c:v>
                </c:pt>
                <c:pt idx="1344">
                  <c:v>9.460-9.467</c:v>
                </c:pt>
                <c:pt idx="1345">
                  <c:v>9.467-9.474</c:v>
                </c:pt>
                <c:pt idx="1346">
                  <c:v>9.474-9.481</c:v>
                </c:pt>
                <c:pt idx="1347">
                  <c:v>9.481-9.488</c:v>
                </c:pt>
                <c:pt idx="1348">
                  <c:v>9.488-9.495</c:v>
                </c:pt>
                <c:pt idx="1349">
                  <c:v>9.495-9.502</c:v>
                </c:pt>
                <c:pt idx="1350">
                  <c:v>9.502-9.510</c:v>
                </c:pt>
                <c:pt idx="1351">
                  <c:v>9.510-9.517</c:v>
                </c:pt>
                <c:pt idx="1352">
                  <c:v>9.517-9.524</c:v>
                </c:pt>
                <c:pt idx="1353">
                  <c:v>9.524-9.531</c:v>
                </c:pt>
                <c:pt idx="1354">
                  <c:v>9.531-9.538</c:v>
                </c:pt>
                <c:pt idx="1355">
                  <c:v>9.538-9.545</c:v>
                </c:pt>
                <c:pt idx="1356">
                  <c:v>9.545-9.552</c:v>
                </c:pt>
                <c:pt idx="1357">
                  <c:v>9.552-9.559</c:v>
                </c:pt>
                <c:pt idx="1358">
                  <c:v>9.559-9.566</c:v>
                </c:pt>
                <c:pt idx="1359">
                  <c:v>9.566-9.573</c:v>
                </c:pt>
                <c:pt idx="1360">
                  <c:v>9.573-9.580</c:v>
                </c:pt>
                <c:pt idx="1361">
                  <c:v>9.580-9.587</c:v>
                </c:pt>
                <c:pt idx="1362">
                  <c:v>9.587-9.594</c:v>
                </c:pt>
                <c:pt idx="1363">
                  <c:v>9.594-9.601</c:v>
                </c:pt>
                <c:pt idx="1364">
                  <c:v>9.601-9.608</c:v>
                </c:pt>
                <c:pt idx="1365">
                  <c:v>9.608-9.615</c:v>
                </c:pt>
                <c:pt idx="1366">
                  <c:v>9.615-9.622</c:v>
                </c:pt>
                <c:pt idx="1367">
                  <c:v>9.622-9.629</c:v>
                </c:pt>
                <c:pt idx="1368">
                  <c:v>9.629-9.636</c:v>
                </c:pt>
                <c:pt idx="1369">
                  <c:v>9.636-9.643</c:v>
                </c:pt>
                <c:pt idx="1370">
                  <c:v>9.643-9.650</c:v>
                </c:pt>
                <c:pt idx="1371">
                  <c:v>9.650-9.657</c:v>
                </c:pt>
                <c:pt idx="1372">
                  <c:v>9.657-9.664</c:v>
                </c:pt>
                <c:pt idx="1373">
                  <c:v>9.664-9.671</c:v>
                </c:pt>
                <c:pt idx="1374">
                  <c:v>9.671-9.678</c:v>
                </c:pt>
                <c:pt idx="1375">
                  <c:v>9.678-9.685</c:v>
                </c:pt>
                <c:pt idx="1376">
                  <c:v>9.685-9.692</c:v>
                </c:pt>
                <c:pt idx="1377">
                  <c:v>9.692-9.699</c:v>
                </c:pt>
                <c:pt idx="1378">
                  <c:v>9.699-9.706</c:v>
                </c:pt>
                <c:pt idx="1379">
                  <c:v>9.706-9.713</c:v>
                </c:pt>
                <c:pt idx="1380">
                  <c:v>9.713-9.720</c:v>
                </c:pt>
                <c:pt idx="1381">
                  <c:v>9.720-9.728</c:v>
                </c:pt>
                <c:pt idx="1382">
                  <c:v>9.728-9.735</c:v>
                </c:pt>
                <c:pt idx="1383">
                  <c:v>9.735-9.742</c:v>
                </c:pt>
                <c:pt idx="1384">
                  <c:v>9.742-9.749</c:v>
                </c:pt>
                <c:pt idx="1385">
                  <c:v>9.749-9.756</c:v>
                </c:pt>
                <c:pt idx="1386">
                  <c:v>9.756-9.763</c:v>
                </c:pt>
                <c:pt idx="1387">
                  <c:v>9.763-9.770</c:v>
                </c:pt>
                <c:pt idx="1388">
                  <c:v>9.770-9.777</c:v>
                </c:pt>
                <c:pt idx="1389">
                  <c:v>9.777-9.784</c:v>
                </c:pt>
                <c:pt idx="1390">
                  <c:v>9.784-9.791</c:v>
                </c:pt>
                <c:pt idx="1391">
                  <c:v>9.791-9.798</c:v>
                </c:pt>
                <c:pt idx="1392">
                  <c:v>9.798-9.805</c:v>
                </c:pt>
                <c:pt idx="1393">
                  <c:v>9.805-9.812</c:v>
                </c:pt>
                <c:pt idx="1394">
                  <c:v>9.812-9.819</c:v>
                </c:pt>
                <c:pt idx="1395">
                  <c:v>9.819-9.826</c:v>
                </c:pt>
                <c:pt idx="1396">
                  <c:v>9.826-9.833</c:v>
                </c:pt>
                <c:pt idx="1397">
                  <c:v>9.833-9.840</c:v>
                </c:pt>
                <c:pt idx="1398">
                  <c:v>9.840-9.847</c:v>
                </c:pt>
                <c:pt idx="1399">
                  <c:v>9.847-9.854</c:v>
                </c:pt>
                <c:pt idx="1400">
                  <c:v>9.854-9.861</c:v>
                </c:pt>
                <c:pt idx="1401">
                  <c:v>9.861-9.868</c:v>
                </c:pt>
                <c:pt idx="1402">
                  <c:v>9.868-9.875</c:v>
                </c:pt>
                <c:pt idx="1403">
                  <c:v>9.875-9.882</c:v>
                </c:pt>
                <c:pt idx="1404">
                  <c:v>9.882-9.889</c:v>
                </c:pt>
                <c:pt idx="1405">
                  <c:v>9.889-9.896</c:v>
                </c:pt>
                <c:pt idx="1406">
                  <c:v>9.896-9.903</c:v>
                </c:pt>
                <c:pt idx="1407">
                  <c:v>9.903-9.910</c:v>
                </c:pt>
                <c:pt idx="1408">
                  <c:v>9.910-9.917</c:v>
                </c:pt>
                <c:pt idx="1409">
                  <c:v>9.917-9.924</c:v>
                </c:pt>
                <c:pt idx="1410">
                  <c:v>9.924-9.931</c:v>
                </c:pt>
                <c:pt idx="1411">
                  <c:v>9.931-9.938</c:v>
                </c:pt>
                <c:pt idx="1412">
                  <c:v>9.938-9.945</c:v>
                </c:pt>
                <c:pt idx="1413">
                  <c:v>9.945-9.953</c:v>
                </c:pt>
                <c:pt idx="1414">
                  <c:v>9.953-9.960</c:v>
                </c:pt>
                <c:pt idx="1415">
                  <c:v>9.960-9.967</c:v>
                </c:pt>
                <c:pt idx="1416">
                  <c:v>9.967-9.974</c:v>
                </c:pt>
                <c:pt idx="1417">
                  <c:v>9.974-9.981</c:v>
                </c:pt>
                <c:pt idx="1418">
                  <c:v>9.981-9.988</c:v>
                </c:pt>
                <c:pt idx="1419">
                  <c:v>9.988-9.995</c:v>
                </c:pt>
                <c:pt idx="1420">
                  <c:v>9.995-10.002</c:v>
                </c:pt>
                <c:pt idx="1421">
                  <c:v>10.002-10.009</c:v>
                </c:pt>
                <c:pt idx="1422">
                  <c:v>10.009-10.016</c:v>
                </c:pt>
                <c:pt idx="1423">
                  <c:v>10.016-10.023</c:v>
                </c:pt>
                <c:pt idx="1424">
                  <c:v>10.023-10.030</c:v>
                </c:pt>
                <c:pt idx="1425">
                  <c:v>10.030-10.037</c:v>
                </c:pt>
                <c:pt idx="1426">
                  <c:v>10.037-10.044</c:v>
                </c:pt>
                <c:pt idx="1427">
                  <c:v>10.044-10.051</c:v>
                </c:pt>
                <c:pt idx="1428">
                  <c:v>10.051-10.058</c:v>
                </c:pt>
                <c:pt idx="1429">
                  <c:v>10.058-10.065</c:v>
                </c:pt>
                <c:pt idx="1430">
                  <c:v>10.065-10.072</c:v>
                </c:pt>
                <c:pt idx="1431">
                  <c:v>10.072-10.079</c:v>
                </c:pt>
                <c:pt idx="1432">
                  <c:v>10.079-10.086</c:v>
                </c:pt>
                <c:pt idx="1433">
                  <c:v>10.086-10.093</c:v>
                </c:pt>
                <c:pt idx="1434">
                  <c:v>10.093-10.100</c:v>
                </c:pt>
                <c:pt idx="1435">
                  <c:v>10.100-10.107</c:v>
                </c:pt>
                <c:pt idx="1436">
                  <c:v>10.107-10.114</c:v>
                </c:pt>
                <c:pt idx="1437">
                  <c:v>10.114-10.121</c:v>
                </c:pt>
                <c:pt idx="1438">
                  <c:v>10.121-10.128</c:v>
                </c:pt>
                <c:pt idx="1439">
                  <c:v>10.128-10.135</c:v>
                </c:pt>
                <c:pt idx="1440">
                  <c:v>10.135-10.142</c:v>
                </c:pt>
                <c:pt idx="1441">
                  <c:v>10.142-10.149</c:v>
                </c:pt>
                <c:pt idx="1442">
                  <c:v>10.149-10.156</c:v>
                </c:pt>
                <c:pt idx="1443">
                  <c:v>10.156-10.163</c:v>
                </c:pt>
                <c:pt idx="1444">
                  <c:v>10.163-10.171</c:v>
                </c:pt>
                <c:pt idx="1445">
                  <c:v>10.171-10.178</c:v>
                </c:pt>
                <c:pt idx="1446">
                  <c:v>10.178-10.185</c:v>
                </c:pt>
                <c:pt idx="1447">
                  <c:v>10.185-10.192</c:v>
                </c:pt>
                <c:pt idx="1448">
                  <c:v>10.192-10.199</c:v>
                </c:pt>
                <c:pt idx="1449">
                  <c:v>10.199-10.206</c:v>
                </c:pt>
                <c:pt idx="1450">
                  <c:v>10.206-10.213</c:v>
                </c:pt>
                <c:pt idx="1451">
                  <c:v>10.213-10.220</c:v>
                </c:pt>
                <c:pt idx="1452">
                  <c:v>10.220-10.227</c:v>
                </c:pt>
                <c:pt idx="1453">
                  <c:v>10.227-10.234</c:v>
                </c:pt>
                <c:pt idx="1454">
                  <c:v>10.234-10.241</c:v>
                </c:pt>
                <c:pt idx="1455">
                  <c:v>10.241-10.248</c:v>
                </c:pt>
                <c:pt idx="1456">
                  <c:v>10.248-10.255</c:v>
                </c:pt>
                <c:pt idx="1457">
                  <c:v>10.255-10.262</c:v>
                </c:pt>
                <c:pt idx="1458">
                  <c:v>10.262-10.269</c:v>
                </c:pt>
                <c:pt idx="1459">
                  <c:v>10.269-10.276</c:v>
                </c:pt>
                <c:pt idx="1460">
                  <c:v>10.276-10.283</c:v>
                </c:pt>
                <c:pt idx="1461">
                  <c:v>10.283-10.290</c:v>
                </c:pt>
                <c:pt idx="1462">
                  <c:v>10.290-10.297</c:v>
                </c:pt>
                <c:pt idx="1463">
                  <c:v>10.297-10.304</c:v>
                </c:pt>
                <c:pt idx="1464">
                  <c:v>10.304-10.311</c:v>
                </c:pt>
                <c:pt idx="1465">
                  <c:v>10.311-10.318</c:v>
                </c:pt>
                <c:pt idx="1466">
                  <c:v>10.318-10.325</c:v>
                </c:pt>
                <c:pt idx="1467">
                  <c:v>10.325-10.332</c:v>
                </c:pt>
                <c:pt idx="1468">
                  <c:v>10.332-10.339</c:v>
                </c:pt>
                <c:pt idx="1469">
                  <c:v>10.339-10.346</c:v>
                </c:pt>
                <c:pt idx="1470">
                  <c:v>10.346-10.353</c:v>
                </c:pt>
                <c:pt idx="1471">
                  <c:v>10.353-10.360</c:v>
                </c:pt>
                <c:pt idx="1472">
                  <c:v>10.360-10.367</c:v>
                </c:pt>
                <c:pt idx="1473">
                  <c:v>10.367-10.374</c:v>
                </c:pt>
                <c:pt idx="1474">
                  <c:v>10.374-10.381</c:v>
                </c:pt>
                <c:pt idx="1475">
                  <c:v>10.381-10.389</c:v>
                </c:pt>
                <c:pt idx="1476">
                  <c:v>10.389-10.396</c:v>
                </c:pt>
                <c:pt idx="1477">
                  <c:v>10.396-10.403</c:v>
                </c:pt>
                <c:pt idx="1478">
                  <c:v>10.403-10.410</c:v>
                </c:pt>
                <c:pt idx="1479">
                  <c:v>10.410-10.417</c:v>
                </c:pt>
                <c:pt idx="1480">
                  <c:v>10.417-10.424</c:v>
                </c:pt>
                <c:pt idx="1481">
                  <c:v>10.424-10.431</c:v>
                </c:pt>
                <c:pt idx="1482">
                  <c:v>10.431-10.438</c:v>
                </c:pt>
                <c:pt idx="1483">
                  <c:v>10.438-10.445</c:v>
                </c:pt>
                <c:pt idx="1484">
                  <c:v>10.445-10.452</c:v>
                </c:pt>
                <c:pt idx="1485">
                  <c:v>10.452-10.459</c:v>
                </c:pt>
                <c:pt idx="1486">
                  <c:v>10.459-10.466</c:v>
                </c:pt>
                <c:pt idx="1487">
                  <c:v>10.466-10.473</c:v>
                </c:pt>
                <c:pt idx="1488">
                  <c:v>10.473-10.480</c:v>
                </c:pt>
                <c:pt idx="1489">
                  <c:v>10.480-10.487</c:v>
                </c:pt>
                <c:pt idx="1490">
                  <c:v>10.487-10.494</c:v>
                </c:pt>
                <c:pt idx="1491">
                  <c:v>10.494-10.501</c:v>
                </c:pt>
                <c:pt idx="1492">
                  <c:v>10.501-10.508</c:v>
                </c:pt>
                <c:pt idx="1493">
                  <c:v>10.508-10.515</c:v>
                </c:pt>
                <c:pt idx="1494">
                  <c:v>10.515-10.522</c:v>
                </c:pt>
                <c:pt idx="1495">
                  <c:v>10.522-10.529</c:v>
                </c:pt>
                <c:pt idx="1496">
                  <c:v>10.529-10.536</c:v>
                </c:pt>
                <c:pt idx="1497">
                  <c:v>10.536-10.543</c:v>
                </c:pt>
                <c:pt idx="1498">
                  <c:v>10.543-10.550</c:v>
                </c:pt>
                <c:pt idx="1499">
                  <c:v>10.550-10.557</c:v>
                </c:pt>
                <c:pt idx="1500">
                  <c:v>10.557-10.564</c:v>
                </c:pt>
                <c:pt idx="1501">
                  <c:v>10.564-10.571</c:v>
                </c:pt>
                <c:pt idx="1502">
                  <c:v>10.571-10.578</c:v>
                </c:pt>
                <c:pt idx="1503">
                  <c:v>10.578-10.585</c:v>
                </c:pt>
                <c:pt idx="1504">
                  <c:v>10.585-10.592</c:v>
                </c:pt>
                <c:pt idx="1505">
                  <c:v>10.592-10.599</c:v>
                </c:pt>
                <c:pt idx="1506">
                  <c:v>10.599-10.607</c:v>
                </c:pt>
                <c:pt idx="1507">
                  <c:v>10.607-10.614</c:v>
                </c:pt>
                <c:pt idx="1508">
                  <c:v>10.614-10.621</c:v>
                </c:pt>
                <c:pt idx="1509">
                  <c:v>10.621-10.628</c:v>
                </c:pt>
                <c:pt idx="1510">
                  <c:v>10.628-10.635</c:v>
                </c:pt>
                <c:pt idx="1511">
                  <c:v>10.635-10.642</c:v>
                </c:pt>
                <c:pt idx="1512">
                  <c:v>10.642-10.649</c:v>
                </c:pt>
                <c:pt idx="1513">
                  <c:v>10.649-10.656</c:v>
                </c:pt>
                <c:pt idx="1514">
                  <c:v>10.656-10.663</c:v>
                </c:pt>
                <c:pt idx="1515">
                  <c:v>10.663-10.670</c:v>
                </c:pt>
                <c:pt idx="1516">
                  <c:v>10.670-10.677</c:v>
                </c:pt>
                <c:pt idx="1517">
                  <c:v>10.677-10.684</c:v>
                </c:pt>
                <c:pt idx="1518">
                  <c:v>10.684-10.691</c:v>
                </c:pt>
                <c:pt idx="1519">
                  <c:v>10.691-10.698</c:v>
                </c:pt>
                <c:pt idx="1520">
                  <c:v>10.698-10.705</c:v>
                </c:pt>
                <c:pt idx="1521">
                  <c:v>10.705-10.712</c:v>
                </c:pt>
                <c:pt idx="1522">
                  <c:v>10.712-10.719</c:v>
                </c:pt>
                <c:pt idx="1523">
                  <c:v>10.719-10.726</c:v>
                </c:pt>
                <c:pt idx="1524">
                  <c:v>10.726-10.733</c:v>
                </c:pt>
                <c:pt idx="1525">
                  <c:v>10.733-10.740</c:v>
                </c:pt>
                <c:pt idx="1526">
                  <c:v>10.740-10.747</c:v>
                </c:pt>
                <c:pt idx="1527">
                  <c:v>10.747-10.754</c:v>
                </c:pt>
                <c:pt idx="1528">
                  <c:v>10.754-10.761</c:v>
                </c:pt>
                <c:pt idx="1529">
                  <c:v>10.761-10.768</c:v>
                </c:pt>
                <c:pt idx="1530">
                  <c:v>10.768-10.775</c:v>
                </c:pt>
                <c:pt idx="1531">
                  <c:v>10.775-10.782</c:v>
                </c:pt>
                <c:pt idx="1532">
                  <c:v>10.782-10.789</c:v>
                </c:pt>
                <c:pt idx="1533">
                  <c:v>10.789-10.796</c:v>
                </c:pt>
                <c:pt idx="1534">
                  <c:v>10.796-10.803</c:v>
                </c:pt>
                <c:pt idx="1535">
                  <c:v>10.803-10.810</c:v>
                </c:pt>
                <c:pt idx="1536">
                  <c:v>10.810-10.817</c:v>
                </c:pt>
                <c:pt idx="1537">
                  <c:v>10.817-10.825</c:v>
                </c:pt>
                <c:pt idx="1538">
                  <c:v>10.825-10.832</c:v>
                </c:pt>
                <c:pt idx="1539">
                  <c:v>10.832-10.839</c:v>
                </c:pt>
                <c:pt idx="1540">
                  <c:v>10.839-10.846</c:v>
                </c:pt>
                <c:pt idx="1541">
                  <c:v>10.846-10.853</c:v>
                </c:pt>
                <c:pt idx="1542">
                  <c:v>10.853-10.860</c:v>
                </c:pt>
                <c:pt idx="1543">
                  <c:v>10.860-10.867</c:v>
                </c:pt>
                <c:pt idx="1544">
                  <c:v>10.867-10.874</c:v>
                </c:pt>
                <c:pt idx="1545">
                  <c:v>10.874-10.881</c:v>
                </c:pt>
                <c:pt idx="1546">
                  <c:v>10.881-10.888</c:v>
                </c:pt>
                <c:pt idx="1547">
                  <c:v>10.888-10.895</c:v>
                </c:pt>
                <c:pt idx="1548">
                  <c:v>10.895-10.902</c:v>
                </c:pt>
                <c:pt idx="1549">
                  <c:v>10.902-10.909</c:v>
                </c:pt>
                <c:pt idx="1550">
                  <c:v>10.909-10.916</c:v>
                </c:pt>
                <c:pt idx="1551">
                  <c:v>10.916-10.923</c:v>
                </c:pt>
                <c:pt idx="1552">
                  <c:v>10.923-10.930</c:v>
                </c:pt>
                <c:pt idx="1553">
                  <c:v>10.930-10.937</c:v>
                </c:pt>
                <c:pt idx="1554">
                  <c:v>10.937-10.944</c:v>
                </c:pt>
                <c:pt idx="1555">
                  <c:v>10.944-10.951</c:v>
                </c:pt>
                <c:pt idx="1556">
                  <c:v>10.951-10.958</c:v>
                </c:pt>
                <c:pt idx="1557">
                  <c:v>10.958-10.965</c:v>
                </c:pt>
                <c:pt idx="1558">
                  <c:v>10.965-10.972</c:v>
                </c:pt>
                <c:pt idx="1559">
                  <c:v>10.972-10.979</c:v>
                </c:pt>
                <c:pt idx="1560">
                  <c:v>10.979-10.986</c:v>
                </c:pt>
                <c:pt idx="1561">
                  <c:v>10.986-10.993</c:v>
                </c:pt>
                <c:pt idx="1562">
                  <c:v>10.993-11.000</c:v>
                </c:pt>
                <c:pt idx="1563">
                  <c:v>11.000-11.007</c:v>
                </c:pt>
                <c:pt idx="1564">
                  <c:v>11.007-11.014</c:v>
                </c:pt>
                <c:pt idx="1565">
                  <c:v>11.014-11.021</c:v>
                </c:pt>
                <c:pt idx="1566">
                  <c:v>11.021-11.028</c:v>
                </c:pt>
                <c:pt idx="1567">
                  <c:v>11.028-11.035</c:v>
                </c:pt>
                <c:pt idx="1568">
                  <c:v>11.035-11.043</c:v>
                </c:pt>
                <c:pt idx="1569">
                  <c:v>11.043-11.050</c:v>
                </c:pt>
                <c:pt idx="1570">
                  <c:v>11.050-11.057</c:v>
                </c:pt>
                <c:pt idx="1571">
                  <c:v>11.057-11.064</c:v>
                </c:pt>
                <c:pt idx="1572">
                  <c:v>11.064-11.071</c:v>
                </c:pt>
                <c:pt idx="1573">
                  <c:v>11.071-11.078</c:v>
                </c:pt>
                <c:pt idx="1574">
                  <c:v>11.078-11.085</c:v>
                </c:pt>
                <c:pt idx="1575">
                  <c:v>11.085-11.092</c:v>
                </c:pt>
                <c:pt idx="1576">
                  <c:v>11.092-11.099</c:v>
                </c:pt>
                <c:pt idx="1577">
                  <c:v>11.099-11.106</c:v>
                </c:pt>
                <c:pt idx="1578">
                  <c:v>11.106-11.113</c:v>
                </c:pt>
                <c:pt idx="1579">
                  <c:v>11.113-11.120</c:v>
                </c:pt>
                <c:pt idx="1580">
                  <c:v>11.120-11.127</c:v>
                </c:pt>
                <c:pt idx="1581">
                  <c:v>11.127-11.134</c:v>
                </c:pt>
                <c:pt idx="1582">
                  <c:v>11.134-11.141</c:v>
                </c:pt>
                <c:pt idx="1583">
                  <c:v>11.141-11.148</c:v>
                </c:pt>
                <c:pt idx="1584">
                  <c:v>11.148-11.155</c:v>
                </c:pt>
                <c:pt idx="1585">
                  <c:v>11.155-11.162</c:v>
                </c:pt>
                <c:pt idx="1586">
                  <c:v>11.162-11.169</c:v>
                </c:pt>
                <c:pt idx="1587">
                  <c:v>11.169-11.176</c:v>
                </c:pt>
                <c:pt idx="1588">
                  <c:v>11.176-11.183</c:v>
                </c:pt>
                <c:pt idx="1589">
                  <c:v>11.183-11.190</c:v>
                </c:pt>
                <c:pt idx="1590">
                  <c:v>11.190-11.197</c:v>
                </c:pt>
                <c:pt idx="1591">
                  <c:v>11.197-11.204</c:v>
                </c:pt>
                <c:pt idx="1592">
                  <c:v>11.204-11.211</c:v>
                </c:pt>
                <c:pt idx="1593">
                  <c:v>11.211-11.218</c:v>
                </c:pt>
                <c:pt idx="1594">
                  <c:v>11.218-11.225</c:v>
                </c:pt>
                <c:pt idx="1595">
                  <c:v>11.225-11.232</c:v>
                </c:pt>
                <c:pt idx="1596">
                  <c:v>11.232-11.239</c:v>
                </c:pt>
                <c:pt idx="1597">
                  <c:v>11.239-11.246</c:v>
                </c:pt>
                <c:pt idx="1598">
                  <c:v>11.246-11.253</c:v>
                </c:pt>
                <c:pt idx="1599">
                  <c:v>11.253-11.261</c:v>
                </c:pt>
                <c:pt idx="1600">
                  <c:v>11.261-11.268</c:v>
                </c:pt>
                <c:pt idx="1601">
                  <c:v>11.268-11.275</c:v>
                </c:pt>
                <c:pt idx="1602">
                  <c:v>11.275-11.282</c:v>
                </c:pt>
                <c:pt idx="1603">
                  <c:v>11.282-11.289</c:v>
                </c:pt>
                <c:pt idx="1604">
                  <c:v>11.289-11.296</c:v>
                </c:pt>
                <c:pt idx="1605">
                  <c:v>11.296-11.303</c:v>
                </c:pt>
                <c:pt idx="1606">
                  <c:v>11.303-11.310</c:v>
                </c:pt>
                <c:pt idx="1607">
                  <c:v>11.310-11.317</c:v>
                </c:pt>
                <c:pt idx="1608">
                  <c:v>11.317-11.324</c:v>
                </c:pt>
                <c:pt idx="1609">
                  <c:v>11.324-11.331</c:v>
                </c:pt>
                <c:pt idx="1610">
                  <c:v>11.331-11.338</c:v>
                </c:pt>
                <c:pt idx="1611">
                  <c:v>11.338-11.345</c:v>
                </c:pt>
                <c:pt idx="1612">
                  <c:v>11.345-11.352</c:v>
                </c:pt>
                <c:pt idx="1613">
                  <c:v>11.352-11.359</c:v>
                </c:pt>
                <c:pt idx="1614">
                  <c:v>11.359-11.366</c:v>
                </c:pt>
                <c:pt idx="1615">
                  <c:v>11.366-11.373</c:v>
                </c:pt>
                <c:pt idx="1616">
                  <c:v>11.373-11.380</c:v>
                </c:pt>
                <c:pt idx="1617">
                  <c:v>11.380-11.387</c:v>
                </c:pt>
                <c:pt idx="1618">
                  <c:v>11.387-11.394</c:v>
                </c:pt>
                <c:pt idx="1619">
                  <c:v>11.394-11.401</c:v>
                </c:pt>
                <c:pt idx="1620">
                  <c:v>11.401-11.408</c:v>
                </c:pt>
                <c:pt idx="1621">
                  <c:v>11.408-11.415</c:v>
                </c:pt>
                <c:pt idx="1622">
                  <c:v>11.415-11.422</c:v>
                </c:pt>
                <c:pt idx="1623">
                  <c:v>11.422-11.429</c:v>
                </c:pt>
                <c:pt idx="1624">
                  <c:v>11.429-11.436</c:v>
                </c:pt>
                <c:pt idx="1625">
                  <c:v>11.436-11.443</c:v>
                </c:pt>
                <c:pt idx="1626">
                  <c:v>11.443-11.450</c:v>
                </c:pt>
                <c:pt idx="1627">
                  <c:v>11.450-11.457</c:v>
                </c:pt>
                <c:pt idx="1628">
                  <c:v>11.457-11.464</c:v>
                </c:pt>
                <c:pt idx="1629">
                  <c:v>11.464-11.471</c:v>
                </c:pt>
                <c:pt idx="1630">
                  <c:v>11.471-11.479</c:v>
                </c:pt>
                <c:pt idx="1631">
                  <c:v>11.479-11.486</c:v>
                </c:pt>
                <c:pt idx="1632">
                  <c:v>11.486-11.493</c:v>
                </c:pt>
                <c:pt idx="1633">
                  <c:v>11.493-11.500</c:v>
                </c:pt>
                <c:pt idx="1634">
                  <c:v>11.500-11.507</c:v>
                </c:pt>
                <c:pt idx="1635">
                  <c:v>11.507-11.514</c:v>
                </c:pt>
                <c:pt idx="1636">
                  <c:v>11.514-11.521</c:v>
                </c:pt>
                <c:pt idx="1637">
                  <c:v>11.521-11.528</c:v>
                </c:pt>
                <c:pt idx="1638">
                  <c:v>11.528-11.535</c:v>
                </c:pt>
                <c:pt idx="1639">
                  <c:v>11.535-11.542</c:v>
                </c:pt>
                <c:pt idx="1640">
                  <c:v>11.542-11.549</c:v>
                </c:pt>
                <c:pt idx="1641">
                  <c:v>11.549-11.556</c:v>
                </c:pt>
                <c:pt idx="1642">
                  <c:v>11.556-11.563</c:v>
                </c:pt>
                <c:pt idx="1643">
                  <c:v>11.563-11.570</c:v>
                </c:pt>
                <c:pt idx="1644">
                  <c:v>11.570-11.577</c:v>
                </c:pt>
                <c:pt idx="1645">
                  <c:v>11.577-11.584</c:v>
                </c:pt>
                <c:pt idx="1646">
                  <c:v>11.584-11.591</c:v>
                </c:pt>
                <c:pt idx="1647">
                  <c:v>11.591-11.598</c:v>
                </c:pt>
                <c:pt idx="1648">
                  <c:v>11.598-11.605</c:v>
                </c:pt>
                <c:pt idx="1649">
                  <c:v>11.605-11.612</c:v>
                </c:pt>
                <c:pt idx="1650">
                  <c:v>11.612-11.619</c:v>
                </c:pt>
                <c:pt idx="1651">
                  <c:v>11.619-11.626</c:v>
                </c:pt>
                <c:pt idx="1652">
                  <c:v>11.626-11.633</c:v>
                </c:pt>
                <c:pt idx="1653">
                  <c:v>11.633-11.640</c:v>
                </c:pt>
                <c:pt idx="1654">
                  <c:v>11.640-11.647</c:v>
                </c:pt>
                <c:pt idx="1655">
                  <c:v>11.647-11.654</c:v>
                </c:pt>
                <c:pt idx="1656">
                  <c:v>11.654-11.661</c:v>
                </c:pt>
                <c:pt idx="1657">
                  <c:v>11.661-11.668</c:v>
                </c:pt>
                <c:pt idx="1658">
                  <c:v>11.668-11.675</c:v>
                </c:pt>
                <c:pt idx="1659">
                  <c:v>11.675-11.682</c:v>
                </c:pt>
                <c:pt idx="1660">
                  <c:v>11.682-11.689</c:v>
                </c:pt>
                <c:pt idx="1661">
                  <c:v>11.689-11.697</c:v>
                </c:pt>
                <c:pt idx="1662">
                  <c:v>11.697-11.704</c:v>
                </c:pt>
                <c:pt idx="1663">
                  <c:v>11.704-11.711</c:v>
                </c:pt>
                <c:pt idx="1664">
                  <c:v>11.711-11.718</c:v>
                </c:pt>
                <c:pt idx="1665">
                  <c:v>11.718-11.725</c:v>
                </c:pt>
                <c:pt idx="1666">
                  <c:v>11.725-11.732</c:v>
                </c:pt>
                <c:pt idx="1667">
                  <c:v>11.732-11.739</c:v>
                </c:pt>
                <c:pt idx="1668">
                  <c:v>11.739-11.746</c:v>
                </c:pt>
                <c:pt idx="1669">
                  <c:v>11.746-11.753</c:v>
                </c:pt>
                <c:pt idx="1670">
                  <c:v>11.753-11.760</c:v>
                </c:pt>
                <c:pt idx="1671">
                  <c:v>11.760-11.767</c:v>
                </c:pt>
                <c:pt idx="1672">
                  <c:v>11.767-11.774</c:v>
                </c:pt>
                <c:pt idx="1673">
                  <c:v>11.774-11.781</c:v>
                </c:pt>
                <c:pt idx="1674">
                  <c:v>11.781-11.788</c:v>
                </c:pt>
                <c:pt idx="1675">
                  <c:v>11.788-11.795</c:v>
                </c:pt>
                <c:pt idx="1676">
                  <c:v>11.795-11.802</c:v>
                </c:pt>
                <c:pt idx="1677">
                  <c:v>11.802-11.809</c:v>
                </c:pt>
                <c:pt idx="1678">
                  <c:v>11.809-11.816</c:v>
                </c:pt>
                <c:pt idx="1679">
                  <c:v>11.816-11.823</c:v>
                </c:pt>
                <c:pt idx="1680">
                  <c:v>11.823-11.830</c:v>
                </c:pt>
                <c:pt idx="1681">
                  <c:v>11.830-11.837</c:v>
                </c:pt>
                <c:pt idx="1682">
                  <c:v>11.837-11.844</c:v>
                </c:pt>
                <c:pt idx="1683">
                  <c:v>11.844-11.851</c:v>
                </c:pt>
                <c:pt idx="1684">
                  <c:v>11.851-11.858</c:v>
                </c:pt>
                <c:pt idx="1685">
                  <c:v>11.858-11.865</c:v>
                </c:pt>
                <c:pt idx="1686">
                  <c:v>11.865-11.872</c:v>
                </c:pt>
                <c:pt idx="1687">
                  <c:v>11.872-11.879</c:v>
                </c:pt>
                <c:pt idx="1688">
                  <c:v>11.879-11.886</c:v>
                </c:pt>
                <c:pt idx="1689">
                  <c:v>11.886-11.893</c:v>
                </c:pt>
                <c:pt idx="1690">
                  <c:v>11.893-11.900</c:v>
                </c:pt>
                <c:pt idx="1691">
                  <c:v>11.900-11.907</c:v>
                </c:pt>
                <c:pt idx="1692">
                  <c:v>11.907-11.915</c:v>
                </c:pt>
                <c:pt idx="1693">
                  <c:v>11.915-11.922</c:v>
                </c:pt>
                <c:pt idx="1694">
                  <c:v>11.922-11.929</c:v>
                </c:pt>
                <c:pt idx="1695">
                  <c:v>11.929-11.936</c:v>
                </c:pt>
                <c:pt idx="1696">
                  <c:v>11.936-11.943</c:v>
                </c:pt>
                <c:pt idx="1697">
                  <c:v>11.943-11.950</c:v>
                </c:pt>
                <c:pt idx="1698">
                  <c:v>11.950-11.957</c:v>
                </c:pt>
                <c:pt idx="1699">
                  <c:v>11.957-11.964</c:v>
                </c:pt>
                <c:pt idx="1700">
                  <c:v>11.964-11.971</c:v>
                </c:pt>
                <c:pt idx="1701">
                  <c:v>11.971-11.978</c:v>
                </c:pt>
                <c:pt idx="1702">
                  <c:v>11.978-11.985</c:v>
                </c:pt>
                <c:pt idx="1703">
                  <c:v>11.985-11.992</c:v>
                </c:pt>
                <c:pt idx="1704">
                  <c:v>11.992-11.999</c:v>
                </c:pt>
                <c:pt idx="1705">
                  <c:v>11.999-12.006</c:v>
                </c:pt>
                <c:pt idx="1706">
                  <c:v>12.006-12.013</c:v>
                </c:pt>
                <c:pt idx="1707">
                  <c:v>12.013-12.020</c:v>
                </c:pt>
                <c:pt idx="1708">
                  <c:v>12.020-12.027</c:v>
                </c:pt>
                <c:pt idx="1709">
                  <c:v>12.027-12.034</c:v>
                </c:pt>
                <c:pt idx="1710">
                  <c:v>12.034-12.041</c:v>
                </c:pt>
                <c:pt idx="1711">
                  <c:v>12.041-12.048</c:v>
                </c:pt>
                <c:pt idx="1712">
                  <c:v>12.048-12.055</c:v>
                </c:pt>
                <c:pt idx="1713">
                  <c:v>12.055-12.062</c:v>
                </c:pt>
                <c:pt idx="1714">
                  <c:v>12.062-12.069</c:v>
                </c:pt>
                <c:pt idx="1715">
                  <c:v>12.069-12.076</c:v>
                </c:pt>
                <c:pt idx="1716">
                  <c:v>12.076-12.083</c:v>
                </c:pt>
                <c:pt idx="1717">
                  <c:v>12.083-12.090</c:v>
                </c:pt>
                <c:pt idx="1718">
                  <c:v>12.090-12.097</c:v>
                </c:pt>
                <c:pt idx="1719">
                  <c:v>12.097-12.104</c:v>
                </c:pt>
                <c:pt idx="1720">
                  <c:v>12.104-12.111</c:v>
                </c:pt>
                <c:pt idx="1721">
                  <c:v>12.111-12.118</c:v>
                </c:pt>
                <c:pt idx="1722">
                  <c:v>12.118-12.125</c:v>
                </c:pt>
                <c:pt idx="1723">
                  <c:v>12.125-12.133</c:v>
                </c:pt>
                <c:pt idx="1724">
                  <c:v>12.133-12.140</c:v>
                </c:pt>
                <c:pt idx="1725">
                  <c:v>12.140-12.147</c:v>
                </c:pt>
                <c:pt idx="1726">
                  <c:v>12.147-12.154</c:v>
                </c:pt>
                <c:pt idx="1727">
                  <c:v>12.154-12.161</c:v>
                </c:pt>
                <c:pt idx="1728">
                  <c:v>12.161-12.168</c:v>
                </c:pt>
                <c:pt idx="1729">
                  <c:v>12.168-12.175</c:v>
                </c:pt>
                <c:pt idx="1730">
                  <c:v>12.175-12.182</c:v>
                </c:pt>
                <c:pt idx="1731">
                  <c:v>12.182-12.189</c:v>
                </c:pt>
                <c:pt idx="1732">
                  <c:v>12.189-12.196</c:v>
                </c:pt>
                <c:pt idx="1733">
                  <c:v>12.196-12.203</c:v>
                </c:pt>
                <c:pt idx="1734">
                  <c:v>12.203-12.210</c:v>
                </c:pt>
                <c:pt idx="1735">
                  <c:v>12.210-12.217</c:v>
                </c:pt>
                <c:pt idx="1736">
                  <c:v>12.217-12.224</c:v>
                </c:pt>
                <c:pt idx="1737">
                  <c:v>12.224-12.231</c:v>
                </c:pt>
                <c:pt idx="1738">
                  <c:v>12.231-12.238</c:v>
                </c:pt>
                <c:pt idx="1739">
                  <c:v>12.238-12.245</c:v>
                </c:pt>
                <c:pt idx="1740">
                  <c:v>12.245-12.252</c:v>
                </c:pt>
                <c:pt idx="1741">
                  <c:v>12.252-12.259</c:v>
                </c:pt>
                <c:pt idx="1742">
                  <c:v>12.259-12.266</c:v>
                </c:pt>
                <c:pt idx="1743">
                  <c:v>12.266-12.273</c:v>
                </c:pt>
                <c:pt idx="1744">
                  <c:v>12.273-12.280</c:v>
                </c:pt>
                <c:pt idx="1745">
                  <c:v>12.280-12.287</c:v>
                </c:pt>
                <c:pt idx="1746">
                  <c:v>12.287-12.294</c:v>
                </c:pt>
                <c:pt idx="1747">
                  <c:v>12.294-12.301</c:v>
                </c:pt>
                <c:pt idx="1748">
                  <c:v>12.301-12.308</c:v>
                </c:pt>
                <c:pt idx="1749">
                  <c:v>12.308-12.315</c:v>
                </c:pt>
                <c:pt idx="1750">
                  <c:v>12.315-12.322</c:v>
                </c:pt>
                <c:pt idx="1751">
                  <c:v>12.322-12.329</c:v>
                </c:pt>
                <c:pt idx="1752">
                  <c:v>12.329-12.336</c:v>
                </c:pt>
                <c:pt idx="1753">
                  <c:v>12.336-12.343</c:v>
                </c:pt>
                <c:pt idx="1754">
                  <c:v>12.343-12.351</c:v>
                </c:pt>
                <c:pt idx="1755">
                  <c:v>12.351-12.358</c:v>
                </c:pt>
                <c:pt idx="1756">
                  <c:v>12.358-12.365</c:v>
                </c:pt>
                <c:pt idx="1757">
                  <c:v>12.365-12.372</c:v>
                </c:pt>
                <c:pt idx="1758">
                  <c:v>12.372-12.379</c:v>
                </c:pt>
                <c:pt idx="1759">
                  <c:v>12.379-12.386</c:v>
                </c:pt>
                <c:pt idx="1760">
                  <c:v>12.386-12.393</c:v>
                </c:pt>
                <c:pt idx="1761">
                  <c:v>12.393-12.400</c:v>
                </c:pt>
                <c:pt idx="1762">
                  <c:v>12.400-12.407</c:v>
                </c:pt>
                <c:pt idx="1763">
                  <c:v>12.407-12.414</c:v>
                </c:pt>
                <c:pt idx="1764">
                  <c:v>12.414-12.421</c:v>
                </c:pt>
                <c:pt idx="1765">
                  <c:v>12.421-12.428</c:v>
                </c:pt>
                <c:pt idx="1766">
                  <c:v>12.428-12.435</c:v>
                </c:pt>
                <c:pt idx="1767">
                  <c:v>12.435-12.442</c:v>
                </c:pt>
                <c:pt idx="1768">
                  <c:v>12.442-12.449</c:v>
                </c:pt>
                <c:pt idx="1769">
                  <c:v>12.449-12.456</c:v>
                </c:pt>
                <c:pt idx="1770">
                  <c:v>12.456-12.463</c:v>
                </c:pt>
                <c:pt idx="1771">
                  <c:v>12.463-12.470</c:v>
                </c:pt>
                <c:pt idx="1772">
                  <c:v>12.470-12.477</c:v>
                </c:pt>
                <c:pt idx="1773">
                  <c:v>12.477-12.484</c:v>
                </c:pt>
                <c:pt idx="1774">
                  <c:v>12.484-12.491</c:v>
                </c:pt>
                <c:pt idx="1775">
                  <c:v>12.491-12.498</c:v>
                </c:pt>
                <c:pt idx="1776">
                  <c:v>12.498-12.505</c:v>
                </c:pt>
                <c:pt idx="1777">
                  <c:v>12.505-12.512</c:v>
                </c:pt>
                <c:pt idx="1778">
                  <c:v>12.512-12.519</c:v>
                </c:pt>
                <c:pt idx="1779">
                  <c:v>12.519-12.526</c:v>
                </c:pt>
                <c:pt idx="1780">
                  <c:v>12.526-12.533</c:v>
                </c:pt>
                <c:pt idx="1781">
                  <c:v>12.533-12.540</c:v>
                </c:pt>
                <c:pt idx="1782">
                  <c:v>12.540-12.547</c:v>
                </c:pt>
                <c:pt idx="1783">
                  <c:v>12.547-12.554</c:v>
                </c:pt>
                <c:pt idx="1784">
                  <c:v>12.554-12.561</c:v>
                </c:pt>
                <c:pt idx="1785">
                  <c:v>12.561-12.569</c:v>
                </c:pt>
                <c:pt idx="1786">
                  <c:v>12.569-12.576</c:v>
                </c:pt>
                <c:pt idx="1787">
                  <c:v>12.576-12.583</c:v>
                </c:pt>
                <c:pt idx="1788">
                  <c:v>12.583-12.590</c:v>
                </c:pt>
                <c:pt idx="1789">
                  <c:v>12.590-12.597</c:v>
                </c:pt>
                <c:pt idx="1790">
                  <c:v>12.597-12.604</c:v>
                </c:pt>
                <c:pt idx="1791">
                  <c:v>12.604-12.611</c:v>
                </c:pt>
                <c:pt idx="1792">
                  <c:v>12.611-12.618</c:v>
                </c:pt>
                <c:pt idx="1793">
                  <c:v>12.618-12.625</c:v>
                </c:pt>
                <c:pt idx="1794">
                  <c:v>12.625-12.632</c:v>
                </c:pt>
                <c:pt idx="1795">
                  <c:v>12.632-12.639</c:v>
                </c:pt>
                <c:pt idx="1796">
                  <c:v>12.639-12.646</c:v>
                </c:pt>
                <c:pt idx="1797">
                  <c:v>12.646-12.653</c:v>
                </c:pt>
                <c:pt idx="1798">
                  <c:v>12.653-12.660</c:v>
                </c:pt>
                <c:pt idx="1799">
                  <c:v>12.660-12.667</c:v>
                </c:pt>
                <c:pt idx="1800">
                  <c:v>12.667-12.674</c:v>
                </c:pt>
                <c:pt idx="1801">
                  <c:v>12.674-12.681</c:v>
                </c:pt>
                <c:pt idx="1802">
                  <c:v>12.681-12.688</c:v>
                </c:pt>
                <c:pt idx="1803">
                  <c:v>12.688-12.695</c:v>
                </c:pt>
                <c:pt idx="1804">
                  <c:v>12.695-12.702</c:v>
                </c:pt>
                <c:pt idx="1805">
                  <c:v>12.702-12.709</c:v>
                </c:pt>
                <c:pt idx="1806">
                  <c:v>12.709-12.716</c:v>
                </c:pt>
                <c:pt idx="1807">
                  <c:v>12.716-12.723</c:v>
                </c:pt>
                <c:pt idx="1808">
                  <c:v>12.723-12.730</c:v>
                </c:pt>
                <c:pt idx="1809">
                  <c:v>12.730-12.737</c:v>
                </c:pt>
                <c:pt idx="1810">
                  <c:v>12.737-12.744</c:v>
                </c:pt>
                <c:pt idx="1811">
                  <c:v>12.744-12.751</c:v>
                </c:pt>
                <c:pt idx="1812">
                  <c:v>12.751-12.758</c:v>
                </c:pt>
                <c:pt idx="1813">
                  <c:v>12.758-12.765</c:v>
                </c:pt>
                <c:pt idx="1814">
                  <c:v>12.765-12.772</c:v>
                </c:pt>
                <c:pt idx="1815">
                  <c:v>12.772-12.779</c:v>
                </c:pt>
                <c:pt idx="1816">
                  <c:v>12.779-12.787</c:v>
                </c:pt>
                <c:pt idx="1817">
                  <c:v>12.787-12.794</c:v>
                </c:pt>
                <c:pt idx="1818">
                  <c:v>12.794-12.801</c:v>
                </c:pt>
                <c:pt idx="1819">
                  <c:v>12.801-12.808</c:v>
                </c:pt>
                <c:pt idx="1820">
                  <c:v>12.808-12.815</c:v>
                </c:pt>
                <c:pt idx="1821">
                  <c:v>12.815-12.822</c:v>
                </c:pt>
                <c:pt idx="1822">
                  <c:v>12.822-12.829</c:v>
                </c:pt>
                <c:pt idx="1823">
                  <c:v>12.829-12.836</c:v>
                </c:pt>
                <c:pt idx="1824">
                  <c:v>12.836-12.843</c:v>
                </c:pt>
                <c:pt idx="1825">
                  <c:v>12.843-12.850</c:v>
                </c:pt>
                <c:pt idx="1826">
                  <c:v>12.850-12.857</c:v>
                </c:pt>
                <c:pt idx="1827">
                  <c:v>12.857-12.864</c:v>
                </c:pt>
                <c:pt idx="1828">
                  <c:v>12.864-12.871</c:v>
                </c:pt>
                <c:pt idx="1829">
                  <c:v>12.871-12.878</c:v>
                </c:pt>
                <c:pt idx="1830">
                  <c:v>12.878-12.885</c:v>
                </c:pt>
                <c:pt idx="1831">
                  <c:v>12.885-12.892</c:v>
                </c:pt>
                <c:pt idx="1832">
                  <c:v>12.892-12.899</c:v>
                </c:pt>
                <c:pt idx="1833">
                  <c:v>12.899-12.906</c:v>
                </c:pt>
                <c:pt idx="1834">
                  <c:v>12.906-12.913</c:v>
                </c:pt>
                <c:pt idx="1835">
                  <c:v>12.913-12.920</c:v>
                </c:pt>
                <c:pt idx="1836">
                  <c:v>12.920-12.927</c:v>
                </c:pt>
                <c:pt idx="1837">
                  <c:v>12.927-12.934</c:v>
                </c:pt>
                <c:pt idx="1838">
                  <c:v>12.934-12.941</c:v>
                </c:pt>
                <c:pt idx="1839">
                  <c:v>12.941-12.948</c:v>
                </c:pt>
                <c:pt idx="1840">
                  <c:v>12.948-12.955</c:v>
                </c:pt>
                <c:pt idx="1841">
                  <c:v>12.955-12.962</c:v>
                </c:pt>
                <c:pt idx="1842">
                  <c:v>12.962-12.969</c:v>
                </c:pt>
                <c:pt idx="1843">
                  <c:v>12.969-12.976</c:v>
                </c:pt>
                <c:pt idx="1844">
                  <c:v>12.976-12.983</c:v>
                </c:pt>
                <c:pt idx="1845">
                  <c:v>12.983-12.990</c:v>
                </c:pt>
                <c:pt idx="1846">
                  <c:v>12.990-12.997</c:v>
                </c:pt>
                <c:pt idx="1847">
                  <c:v>12.997-13.005</c:v>
                </c:pt>
                <c:pt idx="1848">
                  <c:v>13.005-13.012</c:v>
                </c:pt>
                <c:pt idx="1849">
                  <c:v>13.012-13.019</c:v>
                </c:pt>
                <c:pt idx="1850">
                  <c:v>13.019-13.026</c:v>
                </c:pt>
                <c:pt idx="1851">
                  <c:v>13.026-13.033</c:v>
                </c:pt>
                <c:pt idx="1852">
                  <c:v>13.033-13.040</c:v>
                </c:pt>
                <c:pt idx="1853">
                  <c:v>13.040-13.047</c:v>
                </c:pt>
                <c:pt idx="1854">
                  <c:v>13.047-13.054</c:v>
                </c:pt>
                <c:pt idx="1855">
                  <c:v>13.054-13.061</c:v>
                </c:pt>
                <c:pt idx="1856">
                  <c:v>13.061-13.068</c:v>
                </c:pt>
                <c:pt idx="1857">
                  <c:v>13.068-13.075</c:v>
                </c:pt>
                <c:pt idx="1858">
                  <c:v>13.075-13.082</c:v>
                </c:pt>
                <c:pt idx="1859">
                  <c:v>13.082-13.089</c:v>
                </c:pt>
                <c:pt idx="1860">
                  <c:v>13.089-13.096</c:v>
                </c:pt>
                <c:pt idx="1861">
                  <c:v>13.096-13.103</c:v>
                </c:pt>
                <c:pt idx="1862">
                  <c:v>13.103-13.110</c:v>
                </c:pt>
                <c:pt idx="1863">
                  <c:v>13.110-13.117</c:v>
                </c:pt>
                <c:pt idx="1864">
                  <c:v>13.117-13.124</c:v>
                </c:pt>
                <c:pt idx="1865">
                  <c:v>13.124-13.131</c:v>
                </c:pt>
                <c:pt idx="1866">
                  <c:v>13.131-13.138</c:v>
                </c:pt>
                <c:pt idx="1867">
                  <c:v>13.138-13.145</c:v>
                </c:pt>
                <c:pt idx="1868">
                  <c:v>13.145-13.152</c:v>
                </c:pt>
                <c:pt idx="1869">
                  <c:v>13.152-13.159</c:v>
                </c:pt>
                <c:pt idx="1870">
                  <c:v>13.159-13.166</c:v>
                </c:pt>
                <c:pt idx="1871">
                  <c:v>13.166-13.173</c:v>
                </c:pt>
                <c:pt idx="1872">
                  <c:v>13.173-13.180</c:v>
                </c:pt>
                <c:pt idx="1873">
                  <c:v>13.180-13.187</c:v>
                </c:pt>
                <c:pt idx="1874">
                  <c:v>13.187-13.194</c:v>
                </c:pt>
                <c:pt idx="1875">
                  <c:v>13.194-13.201</c:v>
                </c:pt>
                <c:pt idx="1876">
                  <c:v>13.201-13.208</c:v>
                </c:pt>
                <c:pt idx="1877">
                  <c:v>13.208-13.215</c:v>
                </c:pt>
                <c:pt idx="1878">
                  <c:v>13.215-13.223</c:v>
                </c:pt>
                <c:pt idx="1879">
                  <c:v>13.223-13.230</c:v>
                </c:pt>
                <c:pt idx="1880">
                  <c:v>13.230-13.237</c:v>
                </c:pt>
                <c:pt idx="1881">
                  <c:v>13.237-13.244</c:v>
                </c:pt>
                <c:pt idx="1882">
                  <c:v>13.244-13.251</c:v>
                </c:pt>
                <c:pt idx="1883">
                  <c:v>13.251-13.258</c:v>
                </c:pt>
                <c:pt idx="1884">
                  <c:v>13.258-13.265</c:v>
                </c:pt>
                <c:pt idx="1885">
                  <c:v>13.265-13.272</c:v>
                </c:pt>
                <c:pt idx="1886">
                  <c:v>13.272-13.279</c:v>
                </c:pt>
                <c:pt idx="1887">
                  <c:v>13.279-13.286</c:v>
                </c:pt>
                <c:pt idx="1888">
                  <c:v>13.286-13.293</c:v>
                </c:pt>
                <c:pt idx="1889">
                  <c:v>13.293-13.300</c:v>
                </c:pt>
                <c:pt idx="1890">
                  <c:v>13.300-13.307</c:v>
                </c:pt>
                <c:pt idx="1891">
                  <c:v>13.307-13.314</c:v>
                </c:pt>
                <c:pt idx="1892">
                  <c:v>13.314-13.321</c:v>
                </c:pt>
                <c:pt idx="1893">
                  <c:v>13.321-13.328</c:v>
                </c:pt>
                <c:pt idx="1894">
                  <c:v>13.328-13.335</c:v>
                </c:pt>
                <c:pt idx="1895">
                  <c:v>13.335-13.342</c:v>
                </c:pt>
                <c:pt idx="1896">
                  <c:v>13.342-13.349</c:v>
                </c:pt>
                <c:pt idx="1897">
                  <c:v>13.349-13.356</c:v>
                </c:pt>
                <c:pt idx="1898">
                  <c:v>13.356-13.363</c:v>
                </c:pt>
                <c:pt idx="1899">
                  <c:v>13.363-13.370</c:v>
                </c:pt>
                <c:pt idx="1900">
                  <c:v>13.370-13.377</c:v>
                </c:pt>
                <c:pt idx="1901">
                  <c:v>13.377-13.384</c:v>
                </c:pt>
                <c:pt idx="1902">
                  <c:v>13.384-13.391</c:v>
                </c:pt>
                <c:pt idx="1903">
                  <c:v>13.391-13.398</c:v>
                </c:pt>
                <c:pt idx="1904">
                  <c:v>13.398-13.405</c:v>
                </c:pt>
                <c:pt idx="1905">
                  <c:v>13.405-13.412</c:v>
                </c:pt>
                <c:pt idx="1906">
                  <c:v>13.412-13.419</c:v>
                </c:pt>
                <c:pt idx="1907">
                  <c:v>13.419-13.426</c:v>
                </c:pt>
                <c:pt idx="1908">
                  <c:v>13.426-13.433</c:v>
                </c:pt>
                <c:pt idx="1909">
                  <c:v>13.433-13.441</c:v>
                </c:pt>
                <c:pt idx="1910">
                  <c:v>13.441-13.448</c:v>
                </c:pt>
                <c:pt idx="1911">
                  <c:v>13.448-13.455</c:v>
                </c:pt>
                <c:pt idx="1912">
                  <c:v>13.455-13.462</c:v>
                </c:pt>
                <c:pt idx="1913">
                  <c:v>13.462-13.469</c:v>
                </c:pt>
                <c:pt idx="1914">
                  <c:v>13.469-13.476</c:v>
                </c:pt>
                <c:pt idx="1915">
                  <c:v>13.476-13.483</c:v>
                </c:pt>
                <c:pt idx="1916">
                  <c:v>13.483-13.490</c:v>
                </c:pt>
                <c:pt idx="1917">
                  <c:v>13.490-13.497</c:v>
                </c:pt>
                <c:pt idx="1918">
                  <c:v>13.497-13.504</c:v>
                </c:pt>
                <c:pt idx="1919">
                  <c:v>13.504-13.511</c:v>
                </c:pt>
                <c:pt idx="1920">
                  <c:v>13.511-13.518</c:v>
                </c:pt>
                <c:pt idx="1921">
                  <c:v>13.518-13.525</c:v>
                </c:pt>
                <c:pt idx="1922">
                  <c:v>13.525-13.532</c:v>
                </c:pt>
                <c:pt idx="1923">
                  <c:v>13.532-13.539</c:v>
                </c:pt>
                <c:pt idx="1924">
                  <c:v>13.539-13.546</c:v>
                </c:pt>
                <c:pt idx="1925">
                  <c:v>13.546-13.553</c:v>
                </c:pt>
                <c:pt idx="1926">
                  <c:v>13.553-13.560</c:v>
                </c:pt>
                <c:pt idx="1927">
                  <c:v>13.560-13.567</c:v>
                </c:pt>
                <c:pt idx="1928">
                  <c:v>13.567-13.574</c:v>
                </c:pt>
                <c:pt idx="1929">
                  <c:v>13.574-13.581</c:v>
                </c:pt>
                <c:pt idx="1930">
                  <c:v>13.581-13.588</c:v>
                </c:pt>
                <c:pt idx="1931">
                  <c:v>13.588-13.595</c:v>
                </c:pt>
                <c:pt idx="1932">
                  <c:v>13.595-13.602</c:v>
                </c:pt>
                <c:pt idx="1933">
                  <c:v>13.602-13.609</c:v>
                </c:pt>
                <c:pt idx="1934">
                  <c:v>13.609-13.616</c:v>
                </c:pt>
                <c:pt idx="1935">
                  <c:v>13.616-13.623</c:v>
                </c:pt>
                <c:pt idx="1936">
                  <c:v>13.623-13.630</c:v>
                </c:pt>
                <c:pt idx="1937">
                  <c:v>13.630-13.637</c:v>
                </c:pt>
                <c:pt idx="1938">
                  <c:v>13.637-13.644</c:v>
                </c:pt>
                <c:pt idx="1939">
                  <c:v>13.644-13.651</c:v>
                </c:pt>
                <c:pt idx="1940">
                  <c:v>13.651-13.659</c:v>
                </c:pt>
                <c:pt idx="1941">
                  <c:v>13.659-13.666</c:v>
                </c:pt>
                <c:pt idx="1942">
                  <c:v>13.666-13.673</c:v>
                </c:pt>
                <c:pt idx="1943">
                  <c:v>13.673-13.680</c:v>
                </c:pt>
                <c:pt idx="1944">
                  <c:v>13.680-13.687</c:v>
                </c:pt>
                <c:pt idx="1945">
                  <c:v>13.687-13.694</c:v>
                </c:pt>
                <c:pt idx="1946">
                  <c:v>13.694-13.701</c:v>
                </c:pt>
                <c:pt idx="1947">
                  <c:v>13.701-13.708</c:v>
                </c:pt>
                <c:pt idx="1948">
                  <c:v>13.708-13.715</c:v>
                </c:pt>
                <c:pt idx="1949">
                  <c:v>13.715-13.722</c:v>
                </c:pt>
                <c:pt idx="1950">
                  <c:v>13.722-13.729</c:v>
                </c:pt>
                <c:pt idx="1951">
                  <c:v>13.729-13.736</c:v>
                </c:pt>
                <c:pt idx="1952">
                  <c:v>13.736-13.743</c:v>
                </c:pt>
                <c:pt idx="1953">
                  <c:v>13.743-13.750</c:v>
                </c:pt>
                <c:pt idx="1954">
                  <c:v>13.750-13.757</c:v>
                </c:pt>
                <c:pt idx="1955">
                  <c:v>13.757-13.764</c:v>
                </c:pt>
                <c:pt idx="1956">
                  <c:v>13.764-13.771</c:v>
                </c:pt>
                <c:pt idx="1957">
                  <c:v>13.771-13.778</c:v>
                </c:pt>
                <c:pt idx="1958">
                  <c:v>13.778-13.785</c:v>
                </c:pt>
                <c:pt idx="1959">
                  <c:v>13.785-13.792</c:v>
                </c:pt>
                <c:pt idx="1960">
                  <c:v>13.792-13.799</c:v>
                </c:pt>
                <c:pt idx="1961">
                  <c:v>13.799-13.806</c:v>
                </c:pt>
                <c:pt idx="1962">
                  <c:v>13.806-13.813</c:v>
                </c:pt>
                <c:pt idx="1963">
                  <c:v>13.813-13.820</c:v>
                </c:pt>
                <c:pt idx="1964">
                  <c:v>13.820-13.827</c:v>
                </c:pt>
                <c:pt idx="1965">
                  <c:v>13.827-13.834</c:v>
                </c:pt>
                <c:pt idx="1966">
                  <c:v>13.834-13.841</c:v>
                </c:pt>
                <c:pt idx="1967">
                  <c:v>13.841-13.848</c:v>
                </c:pt>
                <c:pt idx="1968">
                  <c:v>13.848-13.855</c:v>
                </c:pt>
                <c:pt idx="1969">
                  <c:v>13.855-13.862</c:v>
                </c:pt>
                <c:pt idx="1970">
                  <c:v>13.862-13.869</c:v>
                </c:pt>
                <c:pt idx="1971">
                  <c:v>13.869-13.876</c:v>
                </c:pt>
                <c:pt idx="1972">
                  <c:v>13.876-13.884</c:v>
                </c:pt>
                <c:pt idx="1973">
                  <c:v>13.884-13.891</c:v>
                </c:pt>
                <c:pt idx="1974">
                  <c:v>13.891-13.898</c:v>
                </c:pt>
                <c:pt idx="1975">
                  <c:v>13.898-13.905</c:v>
                </c:pt>
                <c:pt idx="1976">
                  <c:v>13.905-13.912</c:v>
                </c:pt>
                <c:pt idx="1977">
                  <c:v>13.912-13.919</c:v>
                </c:pt>
                <c:pt idx="1978">
                  <c:v>13.919-13.926</c:v>
                </c:pt>
                <c:pt idx="1979">
                  <c:v>13.926-13.933</c:v>
                </c:pt>
                <c:pt idx="1980">
                  <c:v>13.933-13.940</c:v>
                </c:pt>
                <c:pt idx="1981">
                  <c:v>13.940-13.947</c:v>
                </c:pt>
                <c:pt idx="1982">
                  <c:v>13.947-13.954</c:v>
                </c:pt>
                <c:pt idx="1983">
                  <c:v>13.954-13.961</c:v>
                </c:pt>
                <c:pt idx="1984">
                  <c:v>13.961-13.968</c:v>
                </c:pt>
                <c:pt idx="1985">
                  <c:v>13.968-13.975</c:v>
                </c:pt>
                <c:pt idx="1986">
                  <c:v>13.975-13.982</c:v>
                </c:pt>
                <c:pt idx="1987">
                  <c:v>13.982-13.989</c:v>
                </c:pt>
                <c:pt idx="1988">
                  <c:v>13.989-13.996</c:v>
                </c:pt>
                <c:pt idx="1989">
                  <c:v>13.996-14.003</c:v>
                </c:pt>
                <c:pt idx="1990">
                  <c:v>14.003-14.010</c:v>
                </c:pt>
                <c:pt idx="1991">
                  <c:v>14.010-14.017</c:v>
                </c:pt>
                <c:pt idx="1992">
                  <c:v>14.017-14.024</c:v>
                </c:pt>
                <c:pt idx="1993">
                  <c:v>14.024-14.031</c:v>
                </c:pt>
                <c:pt idx="1994">
                  <c:v>14.031-14.038</c:v>
                </c:pt>
                <c:pt idx="1995">
                  <c:v>14.038-14.045</c:v>
                </c:pt>
                <c:pt idx="1996">
                  <c:v>14.045-14.052</c:v>
                </c:pt>
                <c:pt idx="1997">
                  <c:v>14.052-14.059</c:v>
                </c:pt>
                <c:pt idx="1998">
                  <c:v>14.059-14.066</c:v>
                </c:pt>
                <c:pt idx="1999">
                  <c:v>14.066-14.073</c:v>
                </c:pt>
                <c:pt idx="2000">
                  <c:v>14.073-14.080</c:v>
                </c:pt>
                <c:pt idx="2001">
                  <c:v>14.080-14.087</c:v>
                </c:pt>
                <c:pt idx="2002">
                  <c:v>14.087-14.094</c:v>
                </c:pt>
                <c:pt idx="2003">
                  <c:v>14.094-14.102</c:v>
                </c:pt>
                <c:pt idx="2004">
                  <c:v>14.102-14.109</c:v>
                </c:pt>
                <c:pt idx="2005">
                  <c:v>14.109-14.116</c:v>
                </c:pt>
                <c:pt idx="2006">
                  <c:v>14.116-14.123</c:v>
                </c:pt>
                <c:pt idx="2007">
                  <c:v>14.123-14.130</c:v>
                </c:pt>
                <c:pt idx="2008">
                  <c:v>14.130-14.137</c:v>
                </c:pt>
                <c:pt idx="2009">
                  <c:v>14.137-14.144</c:v>
                </c:pt>
                <c:pt idx="2010">
                  <c:v>14.144-14.151</c:v>
                </c:pt>
                <c:pt idx="2011">
                  <c:v>14.151-14.158</c:v>
                </c:pt>
                <c:pt idx="2012">
                  <c:v>14.158-14.165</c:v>
                </c:pt>
                <c:pt idx="2013">
                  <c:v>14.165-14.172</c:v>
                </c:pt>
                <c:pt idx="2014">
                  <c:v>14.172-14.179</c:v>
                </c:pt>
                <c:pt idx="2015">
                  <c:v>14.179-14.186</c:v>
                </c:pt>
                <c:pt idx="2016">
                  <c:v>14.186-14.193</c:v>
                </c:pt>
                <c:pt idx="2017">
                  <c:v>14.193-14.200</c:v>
                </c:pt>
                <c:pt idx="2018">
                  <c:v>14.200-14.207</c:v>
                </c:pt>
                <c:pt idx="2019">
                  <c:v>14.207-14.214</c:v>
                </c:pt>
                <c:pt idx="2020">
                  <c:v>14.214-14.221</c:v>
                </c:pt>
                <c:pt idx="2021">
                  <c:v>14.221-14.228</c:v>
                </c:pt>
                <c:pt idx="2022">
                  <c:v>14.228-14.235</c:v>
                </c:pt>
                <c:pt idx="2023">
                  <c:v>14.235-14.242</c:v>
                </c:pt>
                <c:pt idx="2024">
                  <c:v>14.242-14.249</c:v>
                </c:pt>
                <c:pt idx="2025">
                  <c:v>14.249-14.256</c:v>
                </c:pt>
                <c:pt idx="2026">
                  <c:v>14.256-14.263</c:v>
                </c:pt>
                <c:pt idx="2027">
                  <c:v>14.263-14.270</c:v>
                </c:pt>
                <c:pt idx="2028">
                  <c:v>14.270-14.277</c:v>
                </c:pt>
                <c:pt idx="2029">
                  <c:v>14.277-14.284</c:v>
                </c:pt>
                <c:pt idx="2030">
                  <c:v>14.284-14.291</c:v>
                </c:pt>
                <c:pt idx="2031">
                  <c:v>14.291-14.298</c:v>
                </c:pt>
                <c:pt idx="2032">
                  <c:v>14.298-14.305</c:v>
                </c:pt>
                <c:pt idx="2033">
                  <c:v>14.305-14.312</c:v>
                </c:pt>
                <c:pt idx="2034">
                  <c:v>14.312-14.320</c:v>
                </c:pt>
                <c:pt idx="2035">
                  <c:v>14.320-14.327</c:v>
                </c:pt>
                <c:pt idx="2036">
                  <c:v>14.327-14.334</c:v>
                </c:pt>
                <c:pt idx="2037">
                  <c:v>14.334-14.341</c:v>
                </c:pt>
                <c:pt idx="2038">
                  <c:v>14.341-14.348</c:v>
                </c:pt>
                <c:pt idx="2039">
                  <c:v>14.348-14.355</c:v>
                </c:pt>
                <c:pt idx="2040">
                  <c:v>14.355-14.362</c:v>
                </c:pt>
                <c:pt idx="2041">
                  <c:v>14.362-14.369</c:v>
                </c:pt>
                <c:pt idx="2042">
                  <c:v>14.369-14.376</c:v>
                </c:pt>
                <c:pt idx="2043">
                  <c:v>14.376-14.383</c:v>
                </c:pt>
                <c:pt idx="2044">
                  <c:v>14.383-14.390</c:v>
                </c:pt>
                <c:pt idx="2045">
                  <c:v>14.390-14.397</c:v>
                </c:pt>
                <c:pt idx="2046">
                  <c:v>14.397-14.404</c:v>
                </c:pt>
                <c:pt idx="2047">
                  <c:v>14.404-14.411</c:v>
                </c:pt>
                <c:pt idx="2048">
                  <c:v>14.411-14.418</c:v>
                </c:pt>
                <c:pt idx="2049">
                  <c:v>14.418-14.425</c:v>
                </c:pt>
                <c:pt idx="2050">
                  <c:v>14.425-14.432</c:v>
                </c:pt>
                <c:pt idx="2051">
                  <c:v>14.432-14.439</c:v>
                </c:pt>
                <c:pt idx="2052">
                  <c:v>14.439-14.446</c:v>
                </c:pt>
                <c:pt idx="2053">
                  <c:v>14.446-14.453</c:v>
                </c:pt>
                <c:pt idx="2054">
                  <c:v>14.453-14.460</c:v>
                </c:pt>
                <c:pt idx="2055">
                  <c:v>14.460-14.467</c:v>
                </c:pt>
                <c:pt idx="2056">
                  <c:v>14.467-14.474</c:v>
                </c:pt>
                <c:pt idx="2057">
                  <c:v>14.474-14.481</c:v>
                </c:pt>
                <c:pt idx="2058">
                  <c:v>14.481-14.488</c:v>
                </c:pt>
                <c:pt idx="2059">
                  <c:v>14.488-14.495</c:v>
                </c:pt>
                <c:pt idx="2060">
                  <c:v>14.495-14.502</c:v>
                </c:pt>
                <c:pt idx="2061">
                  <c:v>14.502-14.509</c:v>
                </c:pt>
                <c:pt idx="2062">
                  <c:v>14.509-14.516</c:v>
                </c:pt>
                <c:pt idx="2063">
                  <c:v>14.516-14.523</c:v>
                </c:pt>
                <c:pt idx="2064">
                  <c:v>14.523-14.530</c:v>
                </c:pt>
                <c:pt idx="2065">
                  <c:v>14.530-14.538</c:v>
                </c:pt>
                <c:pt idx="2066">
                  <c:v>14.538-14.545</c:v>
                </c:pt>
                <c:pt idx="2067">
                  <c:v>14.545-14.552</c:v>
                </c:pt>
                <c:pt idx="2068">
                  <c:v>14.552-14.559</c:v>
                </c:pt>
                <c:pt idx="2069">
                  <c:v>14.559-14.566</c:v>
                </c:pt>
                <c:pt idx="2070">
                  <c:v>14.566-14.573</c:v>
                </c:pt>
                <c:pt idx="2071">
                  <c:v>14.573-14.580</c:v>
                </c:pt>
                <c:pt idx="2072">
                  <c:v>14.580-14.587</c:v>
                </c:pt>
                <c:pt idx="2073">
                  <c:v>14.587-14.594</c:v>
                </c:pt>
                <c:pt idx="2074">
                  <c:v>14.594-14.601</c:v>
                </c:pt>
                <c:pt idx="2075">
                  <c:v>14.601-14.608</c:v>
                </c:pt>
                <c:pt idx="2076">
                  <c:v>14.608-14.615</c:v>
                </c:pt>
                <c:pt idx="2077">
                  <c:v>14.615-14.622</c:v>
                </c:pt>
                <c:pt idx="2078">
                  <c:v>14.622-14.629</c:v>
                </c:pt>
                <c:pt idx="2079">
                  <c:v>14.629-14.636</c:v>
                </c:pt>
                <c:pt idx="2080">
                  <c:v>14.636-14.643</c:v>
                </c:pt>
                <c:pt idx="2081">
                  <c:v>14.643-14.650</c:v>
                </c:pt>
                <c:pt idx="2082">
                  <c:v>14.650-14.657</c:v>
                </c:pt>
                <c:pt idx="2083">
                  <c:v>14.657-14.664</c:v>
                </c:pt>
                <c:pt idx="2084">
                  <c:v>14.664-14.671</c:v>
                </c:pt>
                <c:pt idx="2085">
                  <c:v>14.671-14.678</c:v>
                </c:pt>
                <c:pt idx="2086">
                  <c:v>14.678-14.685</c:v>
                </c:pt>
                <c:pt idx="2087">
                  <c:v>14.685-14.692</c:v>
                </c:pt>
                <c:pt idx="2088">
                  <c:v>14.692-14.699</c:v>
                </c:pt>
                <c:pt idx="2089">
                  <c:v>14.699-14.706</c:v>
                </c:pt>
                <c:pt idx="2090">
                  <c:v>14.706-14.713</c:v>
                </c:pt>
                <c:pt idx="2091">
                  <c:v>14.713-14.720</c:v>
                </c:pt>
                <c:pt idx="2092">
                  <c:v>14.720-14.727</c:v>
                </c:pt>
                <c:pt idx="2093">
                  <c:v>14.727-14.734</c:v>
                </c:pt>
                <c:pt idx="2094">
                  <c:v>14.734-14.741</c:v>
                </c:pt>
                <c:pt idx="2095">
                  <c:v>14.741-14.748</c:v>
                </c:pt>
                <c:pt idx="2096">
                  <c:v>14.748-14.756</c:v>
                </c:pt>
                <c:pt idx="2097">
                  <c:v>14.756-14.763</c:v>
                </c:pt>
                <c:pt idx="2098">
                  <c:v>14.763-14.770</c:v>
                </c:pt>
                <c:pt idx="2099">
                  <c:v>14.770-14.777</c:v>
                </c:pt>
                <c:pt idx="2100">
                  <c:v>14.777-14.784</c:v>
                </c:pt>
                <c:pt idx="2101">
                  <c:v>14.784-14.791</c:v>
                </c:pt>
                <c:pt idx="2102">
                  <c:v>14.791-14.798</c:v>
                </c:pt>
                <c:pt idx="2103">
                  <c:v>14.798-14.805</c:v>
                </c:pt>
                <c:pt idx="2104">
                  <c:v>14.805-14.812</c:v>
                </c:pt>
                <c:pt idx="2105">
                  <c:v>14.812-14.819</c:v>
                </c:pt>
                <c:pt idx="2106">
                  <c:v>14.819-14.826</c:v>
                </c:pt>
                <c:pt idx="2107">
                  <c:v>14.826-14.833</c:v>
                </c:pt>
                <c:pt idx="2108">
                  <c:v>14.833-14.840</c:v>
                </c:pt>
                <c:pt idx="2109">
                  <c:v>14.840-14.847</c:v>
                </c:pt>
                <c:pt idx="2110">
                  <c:v>14.847-14.854</c:v>
                </c:pt>
                <c:pt idx="2111">
                  <c:v>14.854-14.861</c:v>
                </c:pt>
                <c:pt idx="2112">
                  <c:v>14.861-14.868</c:v>
                </c:pt>
                <c:pt idx="2113">
                  <c:v>14.868-14.875</c:v>
                </c:pt>
                <c:pt idx="2114">
                  <c:v>14.875-14.882</c:v>
                </c:pt>
                <c:pt idx="2115">
                  <c:v>14.882-14.889</c:v>
                </c:pt>
                <c:pt idx="2116">
                  <c:v>14.889-14.896</c:v>
                </c:pt>
                <c:pt idx="2117">
                  <c:v>14.896-14.903</c:v>
                </c:pt>
                <c:pt idx="2118">
                  <c:v>14.903-14.910</c:v>
                </c:pt>
                <c:pt idx="2119">
                  <c:v>14.910-14.917</c:v>
                </c:pt>
                <c:pt idx="2120">
                  <c:v>14.917-14.924</c:v>
                </c:pt>
                <c:pt idx="2121">
                  <c:v>14.924-14.931</c:v>
                </c:pt>
                <c:pt idx="2122">
                  <c:v>14.931-14.938</c:v>
                </c:pt>
                <c:pt idx="2123">
                  <c:v>14.938-14.945</c:v>
                </c:pt>
                <c:pt idx="2124">
                  <c:v>14.945-14.952</c:v>
                </c:pt>
                <c:pt idx="2125">
                  <c:v>14.952-14.959</c:v>
                </c:pt>
                <c:pt idx="2126">
                  <c:v>14.959-14.966</c:v>
                </c:pt>
                <c:pt idx="2127">
                  <c:v>14.966-14.974</c:v>
                </c:pt>
                <c:pt idx="2128">
                  <c:v>14.974-14.981</c:v>
                </c:pt>
                <c:pt idx="2129">
                  <c:v>14.981-14.988</c:v>
                </c:pt>
                <c:pt idx="2130">
                  <c:v>14.988-14.995</c:v>
                </c:pt>
                <c:pt idx="2131">
                  <c:v>14.995-15.002</c:v>
                </c:pt>
                <c:pt idx="2132">
                  <c:v>15.002-15.009</c:v>
                </c:pt>
                <c:pt idx="2133">
                  <c:v>15.009-15.016</c:v>
                </c:pt>
                <c:pt idx="2134">
                  <c:v>15.016-15.023</c:v>
                </c:pt>
                <c:pt idx="2135">
                  <c:v>15.023-15.030</c:v>
                </c:pt>
                <c:pt idx="2136">
                  <c:v>15.030-15.037</c:v>
                </c:pt>
                <c:pt idx="2137">
                  <c:v>15.037-15.044</c:v>
                </c:pt>
                <c:pt idx="2138">
                  <c:v>15.044-15.051</c:v>
                </c:pt>
                <c:pt idx="2139">
                  <c:v>15.051-15.058</c:v>
                </c:pt>
                <c:pt idx="2140">
                  <c:v>15.058-15.065</c:v>
                </c:pt>
                <c:pt idx="2141">
                  <c:v>15.065-15.072</c:v>
                </c:pt>
                <c:pt idx="2142">
                  <c:v>15.072-15.079</c:v>
                </c:pt>
                <c:pt idx="2143">
                  <c:v>15.079-15.086</c:v>
                </c:pt>
                <c:pt idx="2144">
                  <c:v>15.086-15.093</c:v>
                </c:pt>
                <c:pt idx="2145">
                  <c:v>15.093-15.100</c:v>
                </c:pt>
                <c:pt idx="2146">
                  <c:v>15.100-15.107</c:v>
                </c:pt>
                <c:pt idx="2147">
                  <c:v>15.107-15.114</c:v>
                </c:pt>
                <c:pt idx="2148">
                  <c:v>15.114-15.121</c:v>
                </c:pt>
                <c:pt idx="2149">
                  <c:v>15.121-15.128</c:v>
                </c:pt>
                <c:pt idx="2150">
                  <c:v>15.128-15.135</c:v>
                </c:pt>
                <c:pt idx="2151">
                  <c:v>15.135-15.142</c:v>
                </c:pt>
                <c:pt idx="2152">
                  <c:v>15.142-15.149</c:v>
                </c:pt>
                <c:pt idx="2153">
                  <c:v>15.149-15.156</c:v>
                </c:pt>
                <c:pt idx="2154">
                  <c:v>15.156-15.163</c:v>
                </c:pt>
                <c:pt idx="2155">
                  <c:v>15.163-15.170</c:v>
                </c:pt>
                <c:pt idx="2156">
                  <c:v>15.170-15.177</c:v>
                </c:pt>
                <c:pt idx="2157">
                  <c:v>15.177-15.184</c:v>
                </c:pt>
                <c:pt idx="2158">
                  <c:v>15.184-15.192</c:v>
                </c:pt>
                <c:pt idx="2159">
                  <c:v>15.192-15.199</c:v>
                </c:pt>
                <c:pt idx="2160">
                  <c:v>15.199-15.206</c:v>
                </c:pt>
                <c:pt idx="2161">
                  <c:v>15.206-15.213</c:v>
                </c:pt>
                <c:pt idx="2162">
                  <c:v>15.213-15.220</c:v>
                </c:pt>
                <c:pt idx="2163">
                  <c:v>15.220-15.227</c:v>
                </c:pt>
                <c:pt idx="2164">
                  <c:v>15.227-15.234</c:v>
                </c:pt>
                <c:pt idx="2165">
                  <c:v>15.234-15.241</c:v>
                </c:pt>
                <c:pt idx="2166">
                  <c:v>15.241-15.248</c:v>
                </c:pt>
                <c:pt idx="2167">
                  <c:v>15.248-15.255</c:v>
                </c:pt>
                <c:pt idx="2168">
                  <c:v>15.255-15.262</c:v>
                </c:pt>
                <c:pt idx="2169">
                  <c:v>15.262-15.269</c:v>
                </c:pt>
                <c:pt idx="2170">
                  <c:v>15.269-15.276</c:v>
                </c:pt>
                <c:pt idx="2171">
                  <c:v>15.276-15.283</c:v>
                </c:pt>
                <c:pt idx="2172">
                  <c:v>15.283-15.290</c:v>
                </c:pt>
                <c:pt idx="2173">
                  <c:v>15.290-15.297</c:v>
                </c:pt>
                <c:pt idx="2174">
                  <c:v>15.297-15.304</c:v>
                </c:pt>
                <c:pt idx="2175">
                  <c:v>15.304-15.311</c:v>
                </c:pt>
                <c:pt idx="2176">
                  <c:v>15.311-15.318</c:v>
                </c:pt>
                <c:pt idx="2177">
                  <c:v>15.318-15.325</c:v>
                </c:pt>
                <c:pt idx="2178">
                  <c:v>15.325-15.332</c:v>
                </c:pt>
                <c:pt idx="2179">
                  <c:v>15.332-15.339</c:v>
                </c:pt>
                <c:pt idx="2180">
                  <c:v>15.339-15.346</c:v>
                </c:pt>
                <c:pt idx="2181">
                  <c:v>15.346-15.353</c:v>
                </c:pt>
                <c:pt idx="2182">
                  <c:v>15.353-15.360</c:v>
                </c:pt>
                <c:pt idx="2183">
                  <c:v>15.360-15.367</c:v>
                </c:pt>
                <c:pt idx="2184">
                  <c:v>15.367-15.374</c:v>
                </c:pt>
                <c:pt idx="2185">
                  <c:v>15.374-15.381</c:v>
                </c:pt>
                <c:pt idx="2186">
                  <c:v>15.381-15.388</c:v>
                </c:pt>
                <c:pt idx="2187">
                  <c:v>15.388-15.395</c:v>
                </c:pt>
                <c:pt idx="2188">
                  <c:v>15.395-15.402</c:v>
                </c:pt>
                <c:pt idx="2189">
                  <c:v>15.402-15.410</c:v>
                </c:pt>
                <c:pt idx="2190">
                  <c:v>15.410-15.417</c:v>
                </c:pt>
                <c:pt idx="2191">
                  <c:v>15.417-15.424</c:v>
                </c:pt>
                <c:pt idx="2192">
                  <c:v>15.424-15.431</c:v>
                </c:pt>
                <c:pt idx="2193">
                  <c:v>15.431-15.438</c:v>
                </c:pt>
                <c:pt idx="2194">
                  <c:v>15.438-15.445</c:v>
                </c:pt>
                <c:pt idx="2195">
                  <c:v>15.445-15.452</c:v>
                </c:pt>
                <c:pt idx="2196">
                  <c:v>15.452-15.459</c:v>
                </c:pt>
                <c:pt idx="2197">
                  <c:v>15.459-15.466</c:v>
                </c:pt>
                <c:pt idx="2198">
                  <c:v>15.466-15.473</c:v>
                </c:pt>
                <c:pt idx="2199">
                  <c:v>15.473-15.480</c:v>
                </c:pt>
                <c:pt idx="2200">
                  <c:v>15.480-15.487</c:v>
                </c:pt>
                <c:pt idx="2201">
                  <c:v>15.487-15.494</c:v>
                </c:pt>
                <c:pt idx="2202">
                  <c:v>15.494-15.501</c:v>
                </c:pt>
                <c:pt idx="2203">
                  <c:v>15.501-15.508</c:v>
                </c:pt>
                <c:pt idx="2204">
                  <c:v>15.508-15.515</c:v>
                </c:pt>
                <c:pt idx="2205">
                  <c:v>15.515-15.522</c:v>
                </c:pt>
                <c:pt idx="2206">
                  <c:v>15.522-15.529</c:v>
                </c:pt>
                <c:pt idx="2207">
                  <c:v>15.529-15.536</c:v>
                </c:pt>
                <c:pt idx="2208">
                  <c:v>15.536-15.543</c:v>
                </c:pt>
                <c:pt idx="2209">
                  <c:v>15.543-15.550</c:v>
                </c:pt>
                <c:pt idx="2210">
                  <c:v>15.550-15.557</c:v>
                </c:pt>
                <c:pt idx="2211">
                  <c:v>15.557-15.564</c:v>
                </c:pt>
                <c:pt idx="2212">
                  <c:v>15.564-15.571</c:v>
                </c:pt>
                <c:pt idx="2213">
                  <c:v>15.571-15.578</c:v>
                </c:pt>
                <c:pt idx="2214">
                  <c:v>15.578-15.585</c:v>
                </c:pt>
                <c:pt idx="2215">
                  <c:v>15.585-15.592</c:v>
                </c:pt>
                <c:pt idx="2216">
                  <c:v>15.592-15.599</c:v>
                </c:pt>
                <c:pt idx="2217">
                  <c:v>15.599-15.606</c:v>
                </c:pt>
                <c:pt idx="2218">
                  <c:v>15.606-15.613</c:v>
                </c:pt>
                <c:pt idx="2219">
                  <c:v>15.613-15.620</c:v>
                </c:pt>
                <c:pt idx="2220">
                  <c:v>15.620-15.628</c:v>
                </c:pt>
                <c:pt idx="2221">
                  <c:v>15.628-15.635</c:v>
                </c:pt>
                <c:pt idx="2222">
                  <c:v>15.635-15.642</c:v>
                </c:pt>
                <c:pt idx="2223">
                  <c:v>15.642-15.649</c:v>
                </c:pt>
                <c:pt idx="2224">
                  <c:v>15.649-15.656</c:v>
                </c:pt>
                <c:pt idx="2225">
                  <c:v>15.656-15.663</c:v>
                </c:pt>
                <c:pt idx="2226">
                  <c:v>15.663-15.670</c:v>
                </c:pt>
                <c:pt idx="2227">
                  <c:v>15.670-15.677</c:v>
                </c:pt>
                <c:pt idx="2228">
                  <c:v>15.677-15.684</c:v>
                </c:pt>
                <c:pt idx="2229">
                  <c:v>15.684-15.691</c:v>
                </c:pt>
                <c:pt idx="2230">
                  <c:v>15.691-15.698</c:v>
                </c:pt>
                <c:pt idx="2231">
                  <c:v>15.698-15.705</c:v>
                </c:pt>
                <c:pt idx="2232">
                  <c:v>15.705-15.712</c:v>
                </c:pt>
                <c:pt idx="2233">
                  <c:v>15.712-15.719</c:v>
                </c:pt>
                <c:pt idx="2234">
                  <c:v>15.719-15.726</c:v>
                </c:pt>
                <c:pt idx="2235">
                  <c:v>15.726-15.733</c:v>
                </c:pt>
                <c:pt idx="2236">
                  <c:v>15.733-15.740</c:v>
                </c:pt>
                <c:pt idx="2237">
                  <c:v>15.740-15.747</c:v>
                </c:pt>
                <c:pt idx="2238">
                  <c:v>15.747-15.754</c:v>
                </c:pt>
                <c:pt idx="2239">
                  <c:v>15.754-15.761</c:v>
                </c:pt>
                <c:pt idx="2240">
                  <c:v>15.761-15.768</c:v>
                </c:pt>
                <c:pt idx="2241">
                  <c:v>15.768-15.775</c:v>
                </c:pt>
                <c:pt idx="2242">
                  <c:v>15.775-15.782</c:v>
                </c:pt>
                <c:pt idx="2243">
                  <c:v>15.782-15.789</c:v>
                </c:pt>
                <c:pt idx="2244">
                  <c:v>15.789-15.796</c:v>
                </c:pt>
                <c:pt idx="2245">
                  <c:v>15.796-15.803</c:v>
                </c:pt>
                <c:pt idx="2246">
                  <c:v>15.803-15.810</c:v>
                </c:pt>
                <c:pt idx="2247">
                  <c:v>15.810-15.817</c:v>
                </c:pt>
                <c:pt idx="2248">
                  <c:v>15.817-15.824</c:v>
                </c:pt>
                <c:pt idx="2249">
                  <c:v>15.824-15.831</c:v>
                </c:pt>
                <c:pt idx="2250">
                  <c:v>15.831-15.838</c:v>
                </c:pt>
                <c:pt idx="2251">
                  <c:v>15.838-15.846</c:v>
                </c:pt>
                <c:pt idx="2252">
                  <c:v>15.846-15.853</c:v>
                </c:pt>
                <c:pt idx="2253">
                  <c:v>15.853-15.860</c:v>
                </c:pt>
                <c:pt idx="2254">
                  <c:v>15.860-15.867</c:v>
                </c:pt>
                <c:pt idx="2255">
                  <c:v>15.867-15.874</c:v>
                </c:pt>
                <c:pt idx="2256">
                  <c:v>15.874-15.881</c:v>
                </c:pt>
                <c:pt idx="2257">
                  <c:v>15.881-15.888</c:v>
                </c:pt>
                <c:pt idx="2258">
                  <c:v>15.888-15.895</c:v>
                </c:pt>
                <c:pt idx="2259">
                  <c:v>15.895-15.902</c:v>
                </c:pt>
                <c:pt idx="2260">
                  <c:v>15.902-15.909</c:v>
                </c:pt>
                <c:pt idx="2261">
                  <c:v>15.909-15.916</c:v>
                </c:pt>
                <c:pt idx="2262">
                  <c:v>15.916-15.923</c:v>
                </c:pt>
                <c:pt idx="2263">
                  <c:v>15.923-15.930</c:v>
                </c:pt>
                <c:pt idx="2264">
                  <c:v>15.930-15.937</c:v>
                </c:pt>
                <c:pt idx="2265">
                  <c:v>15.937-15.944</c:v>
                </c:pt>
                <c:pt idx="2266">
                  <c:v>15.944-15.951</c:v>
                </c:pt>
                <c:pt idx="2267">
                  <c:v>15.951-15.958</c:v>
                </c:pt>
                <c:pt idx="2268">
                  <c:v>15.958-15.965</c:v>
                </c:pt>
                <c:pt idx="2269">
                  <c:v>15.965-15.972</c:v>
                </c:pt>
                <c:pt idx="2270">
                  <c:v>15.972-15.979</c:v>
                </c:pt>
                <c:pt idx="2271">
                  <c:v>15.979-15.986</c:v>
                </c:pt>
                <c:pt idx="2272">
                  <c:v>15.986-15.993</c:v>
                </c:pt>
                <c:pt idx="2273">
                  <c:v>15.993-16.000</c:v>
                </c:pt>
                <c:pt idx="2274">
                  <c:v>16.000-16.007</c:v>
                </c:pt>
                <c:pt idx="2275">
                  <c:v>16.007-16.014</c:v>
                </c:pt>
                <c:pt idx="2276">
                  <c:v>16.014-16.021</c:v>
                </c:pt>
                <c:pt idx="2277">
                  <c:v>16.021-16.028</c:v>
                </c:pt>
                <c:pt idx="2278">
                  <c:v>16.028-16.035</c:v>
                </c:pt>
                <c:pt idx="2279">
                  <c:v>16.035-16.042</c:v>
                </c:pt>
                <c:pt idx="2280">
                  <c:v>16.042-16.049</c:v>
                </c:pt>
                <c:pt idx="2281">
                  <c:v>16.049-16.056</c:v>
                </c:pt>
                <c:pt idx="2282">
                  <c:v>16.056-16.064</c:v>
                </c:pt>
                <c:pt idx="2283">
                  <c:v>16.064-16.071</c:v>
                </c:pt>
                <c:pt idx="2284">
                  <c:v>16.071-16.078</c:v>
                </c:pt>
                <c:pt idx="2285">
                  <c:v>16.078-16.085</c:v>
                </c:pt>
                <c:pt idx="2286">
                  <c:v>16.085-16.092</c:v>
                </c:pt>
                <c:pt idx="2287">
                  <c:v>16.092-16.099</c:v>
                </c:pt>
                <c:pt idx="2288">
                  <c:v>16.099-16.106</c:v>
                </c:pt>
                <c:pt idx="2289">
                  <c:v>16.106-16.113</c:v>
                </c:pt>
                <c:pt idx="2290">
                  <c:v>16.113-16.120</c:v>
                </c:pt>
                <c:pt idx="2291">
                  <c:v>16.120-16.127</c:v>
                </c:pt>
                <c:pt idx="2292">
                  <c:v>16.127-16.134</c:v>
                </c:pt>
                <c:pt idx="2293">
                  <c:v>16.134-16.141</c:v>
                </c:pt>
                <c:pt idx="2294">
                  <c:v>16.141-16.148</c:v>
                </c:pt>
                <c:pt idx="2295">
                  <c:v>16.148-16.155</c:v>
                </c:pt>
                <c:pt idx="2296">
                  <c:v>16.155-16.162</c:v>
                </c:pt>
                <c:pt idx="2297">
                  <c:v>16.162-16.169</c:v>
                </c:pt>
                <c:pt idx="2298">
                  <c:v>16.169-16.176</c:v>
                </c:pt>
                <c:pt idx="2299">
                  <c:v>16.176-16.183</c:v>
                </c:pt>
                <c:pt idx="2300">
                  <c:v>16.183-16.190</c:v>
                </c:pt>
                <c:pt idx="2301">
                  <c:v>16.190-16.197</c:v>
                </c:pt>
                <c:pt idx="2302">
                  <c:v>16.197-16.204</c:v>
                </c:pt>
                <c:pt idx="2303">
                  <c:v>16.204-16.211</c:v>
                </c:pt>
                <c:pt idx="2304">
                  <c:v>16.211-16.218</c:v>
                </c:pt>
                <c:pt idx="2305">
                  <c:v>16.218-16.225</c:v>
                </c:pt>
                <c:pt idx="2306">
                  <c:v>16.225-16.232</c:v>
                </c:pt>
                <c:pt idx="2307">
                  <c:v>16.232-16.239</c:v>
                </c:pt>
                <c:pt idx="2308">
                  <c:v>16.239-16.246</c:v>
                </c:pt>
                <c:pt idx="2309">
                  <c:v>16.246-16.253</c:v>
                </c:pt>
                <c:pt idx="2310">
                  <c:v>16.253-16.260</c:v>
                </c:pt>
                <c:pt idx="2311">
                  <c:v>16.260-16.267</c:v>
                </c:pt>
                <c:pt idx="2312">
                  <c:v>16.267-16.274</c:v>
                </c:pt>
                <c:pt idx="2313">
                  <c:v>16.274-16.282</c:v>
                </c:pt>
                <c:pt idx="2314">
                  <c:v>16.282-16.289</c:v>
                </c:pt>
                <c:pt idx="2315">
                  <c:v>16.289-16.296</c:v>
                </c:pt>
                <c:pt idx="2316">
                  <c:v>16.296-16.303</c:v>
                </c:pt>
                <c:pt idx="2317">
                  <c:v>16.303-16.310</c:v>
                </c:pt>
                <c:pt idx="2318">
                  <c:v>16.310-16.317</c:v>
                </c:pt>
                <c:pt idx="2319">
                  <c:v>16.317-16.324</c:v>
                </c:pt>
                <c:pt idx="2320">
                  <c:v>16.324-16.331</c:v>
                </c:pt>
                <c:pt idx="2321">
                  <c:v>16.331-16.338</c:v>
                </c:pt>
                <c:pt idx="2322">
                  <c:v>16.338-16.345</c:v>
                </c:pt>
                <c:pt idx="2323">
                  <c:v>16.345-16.352</c:v>
                </c:pt>
                <c:pt idx="2324">
                  <c:v>16.352-16.359</c:v>
                </c:pt>
                <c:pt idx="2325">
                  <c:v>16.359-16.366</c:v>
                </c:pt>
                <c:pt idx="2326">
                  <c:v>16.366-16.373</c:v>
                </c:pt>
                <c:pt idx="2327">
                  <c:v>16.373-16.380</c:v>
                </c:pt>
                <c:pt idx="2328">
                  <c:v>16.380-16.387</c:v>
                </c:pt>
                <c:pt idx="2329">
                  <c:v>16.387-16.394</c:v>
                </c:pt>
                <c:pt idx="2330">
                  <c:v>16.394-16.401</c:v>
                </c:pt>
                <c:pt idx="2331">
                  <c:v>16.401-16.408</c:v>
                </c:pt>
                <c:pt idx="2332">
                  <c:v>16.408-16.415</c:v>
                </c:pt>
                <c:pt idx="2333">
                  <c:v>16.415-16.422</c:v>
                </c:pt>
                <c:pt idx="2334">
                  <c:v>16.422-16.429</c:v>
                </c:pt>
                <c:pt idx="2335">
                  <c:v>16.429-16.436</c:v>
                </c:pt>
                <c:pt idx="2336">
                  <c:v>16.436-16.443</c:v>
                </c:pt>
                <c:pt idx="2337">
                  <c:v>16.443-16.450</c:v>
                </c:pt>
                <c:pt idx="2338">
                  <c:v>16.450-16.457</c:v>
                </c:pt>
                <c:pt idx="2339">
                  <c:v>16.457-16.464</c:v>
                </c:pt>
                <c:pt idx="2340">
                  <c:v>16.464-16.471</c:v>
                </c:pt>
                <c:pt idx="2341">
                  <c:v>16.471-16.478</c:v>
                </c:pt>
                <c:pt idx="2342">
                  <c:v>16.478-16.485</c:v>
                </c:pt>
                <c:pt idx="2343">
                  <c:v>16.485-16.492</c:v>
                </c:pt>
                <c:pt idx="2344">
                  <c:v>16.492-16.500</c:v>
                </c:pt>
                <c:pt idx="2345">
                  <c:v>16.500-16.507</c:v>
                </c:pt>
                <c:pt idx="2346">
                  <c:v>16.507-16.514</c:v>
                </c:pt>
                <c:pt idx="2347">
                  <c:v>16.514-16.521</c:v>
                </c:pt>
                <c:pt idx="2348">
                  <c:v>16.521-16.528</c:v>
                </c:pt>
                <c:pt idx="2349">
                  <c:v>16.528-16.535</c:v>
                </c:pt>
                <c:pt idx="2350">
                  <c:v>16.535-16.542</c:v>
                </c:pt>
                <c:pt idx="2351">
                  <c:v>16.542-16.549</c:v>
                </c:pt>
                <c:pt idx="2352">
                  <c:v>16.549-16.556</c:v>
                </c:pt>
                <c:pt idx="2353">
                  <c:v>16.556-16.563</c:v>
                </c:pt>
                <c:pt idx="2354">
                  <c:v>16.563-16.570</c:v>
                </c:pt>
                <c:pt idx="2355">
                  <c:v>16.570-16.577</c:v>
                </c:pt>
                <c:pt idx="2356">
                  <c:v>16.577-16.584</c:v>
                </c:pt>
                <c:pt idx="2357">
                  <c:v>16.584-16.591</c:v>
                </c:pt>
                <c:pt idx="2358">
                  <c:v>16.591-16.598</c:v>
                </c:pt>
                <c:pt idx="2359">
                  <c:v>16.598-16.605</c:v>
                </c:pt>
                <c:pt idx="2360">
                  <c:v>16.605-16.612</c:v>
                </c:pt>
                <c:pt idx="2361">
                  <c:v>16.612-16.619</c:v>
                </c:pt>
                <c:pt idx="2362">
                  <c:v>16.619-16.626</c:v>
                </c:pt>
                <c:pt idx="2363">
                  <c:v>16.626-16.633</c:v>
                </c:pt>
                <c:pt idx="2364">
                  <c:v>16.633-16.640</c:v>
                </c:pt>
                <c:pt idx="2365">
                  <c:v>16.640-16.647</c:v>
                </c:pt>
                <c:pt idx="2366">
                  <c:v>16.647-16.654</c:v>
                </c:pt>
                <c:pt idx="2367">
                  <c:v>16.654-16.661</c:v>
                </c:pt>
                <c:pt idx="2368">
                  <c:v>16.661-16.668</c:v>
                </c:pt>
                <c:pt idx="2369">
                  <c:v>16.668-16.675</c:v>
                </c:pt>
                <c:pt idx="2370">
                  <c:v>16.675-16.682</c:v>
                </c:pt>
                <c:pt idx="2371">
                  <c:v>16.682-16.689</c:v>
                </c:pt>
                <c:pt idx="2372">
                  <c:v>16.689-16.696</c:v>
                </c:pt>
                <c:pt idx="2373">
                  <c:v>16.696-16.703</c:v>
                </c:pt>
                <c:pt idx="2374">
                  <c:v>16.703-16.710</c:v>
                </c:pt>
                <c:pt idx="2375">
                  <c:v>16.710-16.718</c:v>
                </c:pt>
                <c:pt idx="2376">
                  <c:v>16.718-16.725</c:v>
                </c:pt>
                <c:pt idx="2377">
                  <c:v>16.725-16.732</c:v>
                </c:pt>
                <c:pt idx="2378">
                  <c:v>16.732-16.739</c:v>
                </c:pt>
                <c:pt idx="2379">
                  <c:v>16.739-16.746</c:v>
                </c:pt>
                <c:pt idx="2380">
                  <c:v>16.746-16.753</c:v>
                </c:pt>
                <c:pt idx="2381">
                  <c:v>16.753-16.760</c:v>
                </c:pt>
                <c:pt idx="2382">
                  <c:v>16.760-16.767</c:v>
                </c:pt>
                <c:pt idx="2383">
                  <c:v>16.767-16.774</c:v>
                </c:pt>
                <c:pt idx="2384">
                  <c:v>16.774-16.781</c:v>
                </c:pt>
                <c:pt idx="2385">
                  <c:v>16.781-16.788</c:v>
                </c:pt>
                <c:pt idx="2386">
                  <c:v>16.788-16.795</c:v>
                </c:pt>
                <c:pt idx="2387">
                  <c:v>16.795-16.802</c:v>
                </c:pt>
                <c:pt idx="2388">
                  <c:v>16.802-16.809</c:v>
                </c:pt>
                <c:pt idx="2389">
                  <c:v>16.809-16.816</c:v>
                </c:pt>
                <c:pt idx="2390">
                  <c:v>16.816-16.823</c:v>
                </c:pt>
                <c:pt idx="2391">
                  <c:v>16.823-16.830</c:v>
                </c:pt>
                <c:pt idx="2392">
                  <c:v>16.830-16.837</c:v>
                </c:pt>
                <c:pt idx="2393">
                  <c:v>16.837-16.844</c:v>
                </c:pt>
                <c:pt idx="2394">
                  <c:v>16.844-16.851</c:v>
                </c:pt>
                <c:pt idx="2395">
                  <c:v>16.851-16.858</c:v>
                </c:pt>
                <c:pt idx="2396">
                  <c:v>16.858-16.865</c:v>
                </c:pt>
                <c:pt idx="2397">
                  <c:v>16.865-16.872</c:v>
                </c:pt>
                <c:pt idx="2398">
                  <c:v>16.872-16.879</c:v>
                </c:pt>
                <c:pt idx="2399">
                  <c:v>16.879-16.886</c:v>
                </c:pt>
                <c:pt idx="2400">
                  <c:v>16.886-16.893</c:v>
                </c:pt>
                <c:pt idx="2401">
                  <c:v>16.893-16.900</c:v>
                </c:pt>
                <c:pt idx="2402">
                  <c:v>16.900-16.907</c:v>
                </c:pt>
                <c:pt idx="2403">
                  <c:v>16.907-16.914</c:v>
                </c:pt>
                <c:pt idx="2404">
                  <c:v>16.914-16.921</c:v>
                </c:pt>
                <c:pt idx="2405">
                  <c:v>16.921-16.928</c:v>
                </c:pt>
                <c:pt idx="2406">
                  <c:v>16.928-16.936</c:v>
                </c:pt>
                <c:pt idx="2407">
                  <c:v>16.936-16.943</c:v>
                </c:pt>
                <c:pt idx="2408">
                  <c:v>16.943-16.950</c:v>
                </c:pt>
                <c:pt idx="2409">
                  <c:v>16.950-16.957</c:v>
                </c:pt>
                <c:pt idx="2410">
                  <c:v>16.957-16.964</c:v>
                </c:pt>
                <c:pt idx="2411">
                  <c:v>16.964-16.971</c:v>
                </c:pt>
                <c:pt idx="2412">
                  <c:v>16.971-16.978</c:v>
                </c:pt>
                <c:pt idx="2413">
                  <c:v>16.978-16.985</c:v>
                </c:pt>
                <c:pt idx="2414">
                  <c:v>16.985-16.992</c:v>
                </c:pt>
                <c:pt idx="2415">
                  <c:v>16.992-16.999</c:v>
                </c:pt>
                <c:pt idx="2416">
                  <c:v>16.999-17.006</c:v>
                </c:pt>
                <c:pt idx="2417">
                  <c:v>17.006-17.013</c:v>
                </c:pt>
                <c:pt idx="2418">
                  <c:v>17.013-17.020</c:v>
                </c:pt>
                <c:pt idx="2419">
                  <c:v>17.020-17.027</c:v>
                </c:pt>
                <c:pt idx="2420">
                  <c:v>17.027-17.034</c:v>
                </c:pt>
                <c:pt idx="2421">
                  <c:v>17.034-17.041</c:v>
                </c:pt>
                <c:pt idx="2422">
                  <c:v>17.041-17.048</c:v>
                </c:pt>
                <c:pt idx="2423">
                  <c:v>17.048-17.055</c:v>
                </c:pt>
                <c:pt idx="2424">
                  <c:v>17.055-17.062</c:v>
                </c:pt>
                <c:pt idx="2425">
                  <c:v>17.062-17.069</c:v>
                </c:pt>
                <c:pt idx="2426">
                  <c:v>17.069-17.076</c:v>
                </c:pt>
                <c:pt idx="2427">
                  <c:v>17.076-17.083</c:v>
                </c:pt>
                <c:pt idx="2428">
                  <c:v>17.083-17.090</c:v>
                </c:pt>
                <c:pt idx="2429">
                  <c:v>17.090-17.097</c:v>
                </c:pt>
                <c:pt idx="2430">
                  <c:v>17.097-17.104</c:v>
                </c:pt>
                <c:pt idx="2431">
                  <c:v>17.104-17.111</c:v>
                </c:pt>
                <c:pt idx="2432">
                  <c:v>17.111-17.118</c:v>
                </c:pt>
                <c:pt idx="2433">
                  <c:v>17.118-17.125</c:v>
                </c:pt>
                <c:pt idx="2434">
                  <c:v>17.125-17.132</c:v>
                </c:pt>
                <c:pt idx="2435">
                  <c:v>17.132-17.139</c:v>
                </c:pt>
                <c:pt idx="2436">
                  <c:v>17.139-17.146</c:v>
                </c:pt>
                <c:pt idx="2437">
                  <c:v>17.146-17.154</c:v>
                </c:pt>
                <c:pt idx="2438">
                  <c:v>17.154-17.161</c:v>
                </c:pt>
                <c:pt idx="2439">
                  <c:v>17.161-17.168</c:v>
                </c:pt>
                <c:pt idx="2440">
                  <c:v>17.168-17.175</c:v>
                </c:pt>
                <c:pt idx="2441">
                  <c:v>17.175-17.182</c:v>
                </c:pt>
                <c:pt idx="2442">
                  <c:v>17.182-17.189</c:v>
                </c:pt>
                <c:pt idx="2443">
                  <c:v>17.189-17.196</c:v>
                </c:pt>
                <c:pt idx="2444">
                  <c:v>17.196-17.203</c:v>
                </c:pt>
                <c:pt idx="2445">
                  <c:v>17.203-17.210</c:v>
                </c:pt>
                <c:pt idx="2446">
                  <c:v>17.210-17.217</c:v>
                </c:pt>
                <c:pt idx="2447">
                  <c:v>17.217-17.224</c:v>
                </c:pt>
                <c:pt idx="2448">
                  <c:v>17.224-17.231</c:v>
                </c:pt>
                <c:pt idx="2449">
                  <c:v>17.231-17.238</c:v>
                </c:pt>
                <c:pt idx="2450">
                  <c:v>17.238-17.245</c:v>
                </c:pt>
                <c:pt idx="2451">
                  <c:v>17.245-17.252</c:v>
                </c:pt>
                <c:pt idx="2452">
                  <c:v>17.252-17.259</c:v>
                </c:pt>
                <c:pt idx="2453">
                  <c:v>17.259-17.266</c:v>
                </c:pt>
                <c:pt idx="2454">
                  <c:v>17.266-17.273</c:v>
                </c:pt>
                <c:pt idx="2455">
                  <c:v>17.273-17.280</c:v>
                </c:pt>
                <c:pt idx="2456">
                  <c:v>17.280-17.287</c:v>
                </c:pt>
                <c:pt idx="2457">
                  <c:v>17.287-17.294</c:v>
                </c:pt>
                <c:pt idx="2458">
                  <c:v>17.294-17.301</c:v>
                </c:pt>
                <c:pt idx="2459">
                  <c:v>17.301-17.308</c:v>
                </c:pt>
                <c:pt idx="2460">
                  <c:v>17.308-17.315</c:v>
                </c:pt>
                <c:pt idx="2461">
                  <c:v>17.315-17.322</c:v>
                </c:pt>
                <c:pt idx="2462">
                  <c:v>17.322-17.329</c:v>
                </c:pt>
                <c:pt idx="2463">
                  <c:v>17.329-17.336</c:v>
                </c:pt>
                <c:pt idx="2464">
                  <c:v>17.336-17.343</c:v>
                </c:pt>
                <c:pt idx="2465">
                  <c:v>17.343-17.350</c:v>
                </c:pt>
                <c:pt idx="2466">
                  <c:v>17.350-17.357</c:v>
                </c:pt>
                <c:pt idx="2467">
                  <c:v>17.357-17.364</c:v>
                </c:pt>
                <c:pt idx="2468">
                  <c:v>17.364-17.372</c:v>
                </c:pt>
                <c:pt idx="2469">
                  <c:v>17.372-17.379</c:v>
                </c:pt>
                <c:pt idx="2470">
                  <c:v>17.379-17.386</c:v>
                </c:pt>
                <c:pt idx="2471">
                  <c:v>17.386-17.393</c:v>
                </c:pt>
                <c:pt idx="2472">
                  <c:v>17.393-17.400</c:v>
                </c:pt>
                <c:pt idx="2473">
                  <c:v>17.400-17.407</c:v>
                </c:pt>
                <c:pt idx="2474">
                  <c:v>17.407-17.414</c:v>
                </c:pt>
                <c:pt idx="2475">
                  <c:v>17.414-17.421</c:v>
                </c:pt>
                <c:pt idx="2476">
                  <c:v>17.421-17.428</c:v>
                </c:pt>
                <c:pt idx="2477">
                  <c:v>17.428-17.435</c:v>
                </c:pt>
                <c:pt idx="2478">
                  <c:v>17.435-17.442</c:v>
                </c:pt>
                <c:pt idx="2479">
                  <c:v>17.442-17.449</c:v>
                </c:pt>
                <c:pt idx="2480">
                  <c:v>17.449-17.456</c:v>
                </c:pt>
                <c:pt idx="2481">
                  <c:v>17.456-17.463</c:v>
                </c:pt>
                <c:pt idx="2482">
                  <c:v>17.463-17.470</c:v>
                </c:pt>
                <c:pt idx="2483">
                  <c:v>17.470-17.477</c:v>
                </c:pt>
                <c:pt idx="2484">
                  <c:v>17.477-17.484</c:v>
                </c:pt>
                <c:pt idx="2485">
                  <c:v>17.484-17.491</c:v>
                </c:pt>
                <c:pt idx="2486">
                  <c:v>17.491-17.498</c:v>
                </c:pt>
                <c:pt idx="2487">
                  <c:v>17.498-17.505</c:v>
                </c:pt>
                <c:pt idx="2488">
                  <c:v>17.505-17.512</c:v>
                </c:pt>
                <c:pt idx="2489">
                  <c:v>17.512-17.519</c:v>
                </c:pt>
                <c:pt idx="2490">
                  <c:v>17.519-17.526</c:v>
                </c:pt>
                <c:pt idx="2491">
                  <c:v>17.526-17.533</c:v>
                </c:pt>
                <c:pt idx="2492">
                  <c:v>17.533-17.540</c:v>
                </c:pt>
                <c:pt idx="2493">
                  <c:v>17.540-17.547</c:v>
                </c:pt>
                <c:pt idx="2494">
                  <c:v>17.547-17.554</c:v>
                </c:pt>
                <c:pt idx="2495">
                  <c:v>17.554-17.561</c:v>
                </c:pt>
                <c:pt idx="2496">
                  <c:v>17.561-17.568</c:v>
                </c:pt>
                <c:pt idx="2497">
                  <c:v>17.568-17.575</c:v>
                </c:pt>
                <c:pt idx="2498">
                  <c:v>17.575-17.582</c:v>
                </c:pt>
                <c:pt idx="2499">
                  <c:v>17.582-17.590</c:v>
                </c:pt>
                <c:pt idx="2500">
                  <c:v>17.590-17.597</c:v>
                </c:pt>
                <c:pt idx="2501">
                  <c:v>17.597-17.604</c:v>
                </c:pt>
                <c:pt idx="2502">
                  <c:v>17.604-17.611</c:v>
                </c:pt>
                <c:pt idx="2503">
                  <c:v>17.611-17.618</c:v>
                </c:pt>
                <c:pt idx="2504">
                  <c:v>17.618-17.625</c:v>
                </c:pt>
                <c:pt idx="2505">
                  <c:v>17.625-17.632</c:v>
                </c:pt>
                <c:pt idx="2506">
                  <c:v>17.632-17.639</c:v>
                </c:pt>
                <c:pt idx="2507">
                  <c:v>17.639-17.646</c:v>
                </c:pt>
                <c:pt idx="2508">
                  <c:v>17.646-17.653</c:v>
                </c:pt>
                <c:pt idx="2509">
                  <c:v>17.653-17.660</c:v>
                </c:pt>
                <c:pt idx="2510">
                  <c:v>17.660-17.667</c:v>
                </c:pt>
                <c:pt idx="2511">
                  <c:v>17.667-17.674</c:v>
                </c:pt>
                <c:pt idx="2512">
                  <c:v>17.674-17.681</c:v>
                </c:pt>
                <c:pt idx="2513">
                  <c:v>17.681-17.688</c:v>
                </c:pt>
                <c:pt idx="2514">
                  <c:v>17.688-17.695</c:v>
                </c:pt>
                <c:pt idx="2515">
                  <c:v>17.695-17.702</c:v>
                </c:pt>
                <c:pt idx="2516">
                  <c:v>17.702-17.709</c:v>
                </c:pt>
                <c:pt idx="2517">
                  <c:v>17.709-17.716</c:v>
                </c:pt>
                <c:pt idx="2518">
                  <c:v>17.716-17.723</c:v>
                </c:pt>
                <c:pt idx="2519">
                  <c:v>17.723-17.730</c:v>
                </c:pt>
                <c:pt idx="2520">
                  <c:v>17.730-17.737</c:v>
                </c:pt>
                <c:pt idx="2521">
                  <c:v>17.737-17.744</c:v>
                </c:pt>
                <c:pt idx="2522">
                  <c:v>17.744-17.751</c:v>
                </c:pt>
                <c:pt idx="2523">
                  <c:v>17.751-17.758</c:v>
                </c:pt>
                <c:pt idx="2524">
                  <c:v>17.758-17.765</c:v>
                </c:pt>
                <c:pt idx="2525">
                  <c:v>17.765-17.772</c:v>
                </c:pt>
                <c:pt idx="2526">
                  <c:v>17.772-17.779</c:v>
                </c:pt>
                <c:pt idx="2527">
                  <c:v>17.779-17.786</c:v>
                </c:pt>
                <c:pt idx="2528">
                  <c:v>17.786-17.793</c:v>
                </c:pt>
                <c:pt idx="2529">
                  <c:v>17.793-17.800</c:v>
                </c:pt>
                <c:pt idx="2530">
                  <c:v>17.800-17.807</c:v>
                </c:pt>
                <c:pt idx="2531">
                  <c:v>17.807-17.815</c:v>
                </c:pt>
                <c:pt idx="2532">
                  <c:v>17.815-17.822</c:v>
                </c:pt>
                <c:pt idx="2533">
                  <c:v>17.822-17.829</c:v>
                </c:pt>
                <c:pt idx="2534">
                  <c:v>17.829-17.836</c:v>
                </c:pt>
                <c:pt idx="2535">
                  <c:v>17.836-17.843</c:v>
                </c:pt>
                <c:pt idx="2536">
                  <c:v>17.843-17.850</c:v>
                </c:pt>
                <c:pt idx="2537">
                  <c:v>17.850-17.857</c:v>
                </c:pt>
                <c:pt idx="2538">
                  <c:v>17.857-17.864</c:v>
                </c:pt>
                <c:pt idx="2539">
                  <c:v>17.864-17.871</c:v>
                </c:pt>
                <c:pt idx="2540">
                  <c:v>17.871-17.878</c:v>
                </c:pt>
                <c:pt idx="2541">
                  <c:v>17.878-17.885</c:v>
                </c:pt>
                <c:pt idx="2542">
                  <c:v>17.885-17.892</c:v>
                </c:pt>
                <c:pt idx="2543">
                  <c:v>17.892-17.899</c:v>
                </c:pt>
                <c:pt idx="2544">
                  <c:v>17.899-17.906</c:v>
                </c:pt>
                <c:pt idx="2545">
                  <c:v>17.906-17.913</c:v>
                </c:pt>
                <c:pt idx="2546">
                  <c:v>17.913-17.920</c:v>
                </c:pt>
                <c:pt idx="2547">
                  <c:v>17.920-17.927</c:v>
                </c:pt>
                <c:pt idx="2548">
                  <c:v>17.927-17.934</c:v>
                </c:pt>
                <c:pt idx="2549">
                  <c:v>17.934-17.941</c:v>
                </c:pt>
                <c:pt idx="2550">
                  <c:v>17.941-17.948</c:v>
                </c:pt>
                <c:pt idx="2551">
                  <c:v>17.948-17.955</c:v>
                </c:pt>
                <c:pt idx="2552">
                  <c:v>17.955-17.962</c:v>
                </c:pt>
                <c:pt idx="2553">
                  <c:v>17.962-17.969</c:v>
                </c:pt>
                <c:pt idx="2554">
                  <c:v>17.969-17.976</c:v>
                </c:pt>
                <c:pt idx="2555">
                  <c:v>17.976-17.983</c:v>
                </c:pt>
                <c:pt idx="2556">
                  <c:v>17.983-17.990</c:v>
                </c:pt>
                <c:pt idx="2557">
                  <c:v>17.990-17.997</c:v>
                </c:pt>
                <c:pt idx="2558">
                  <c:v>17.997-18.004</c:v>
                </c:pt>
                <c:pt idx="2559">
                  <c:v>18.004-18.011</c:v>
                </c:pt>
                <c:pt idx="2560">
                  <c:v>18.011-18.018</c:v>
                </c:pt>
                <c:pt idx="2561">
                  <c:v>18.018-18.025</c:v>
                </c:pt>
                <c:pt idx="2562">
                  <c:v>18.025-18.033</c:v>
                </c:pt>
                <c:pt idx="2563">
                  <c:v>18.033-18.040</c:v>
                </c:pt>
                <c:pt idx="2564">
                  <c:v>18.040-18.047</c:v>
                </c:pt>
                <c:pt idx="2565">
                  <c:v>18.047-18.054</c:v>
                </c:pt>
                <c:pt idx="2566">
                  <c:v>18.054-18.061</c:v>
                </c:pt>
                <c:pt idx="2567">
                  <c:v>18.061-18.068</c:v>
                </c:pt>
                <c:pt idx="2568">
                  <c:v>18.068-18.075</c:v>
                </c:pt>
                <c:pt idx="2569">
                  <c:v>18.075-18.082</c:v>
                </c:pt>
                <c:pt idx="2570">
                  <c:v>18.082-18.089</c:v>
                </c:pt>
                <c:pt idx="2571">
                  <c:v>18.089-18.096</c:v>
                </c:pt>
                <c:pt idx="2572">
                  <c:v>18.096-18.103</c:v>
                </c:pt>
                <c:pt idx="2573">
                  <c:v>18.103-18.110</c:v>
                </c:pt>
                <c:pt idx="2574">
                  <c:v>18.110-18.117</c:v>
                </c:pt>
                <c:pt idx="2575">
                  <c:v>18.117-18.124</c:v>
                </c:pt>
                <c:pt idx="2576">
                  <c:v>18.124-18.131</c:v>
                </c:pt>
                <c:pt idx="2577">
                  <c:v>18.131-18.138</c:v>
                </c:pt>
                <c:pt idx="2578">
                  <c:v>18.138-18.145</c:v>
                </c:pt>
                <c:pt idx="2579">
                  <c:v>18.145-18.152</c:v>
                </c:pt>
                <c:pt idx="2580">
                  <c:v>18.152-18.159</c:v>
                </c:pt>
                <c:pt idx="2581">
                  <c:v>18.159-18.166</c:v>
                </c:pt>
                <c:pt idx="2582">
                  <c:v>18.166-18.173</c:v>
                </c:pt>
                <c:pt idx="2583">
                  <c:v>18.173-18.180</c:v>
                </c:pt>
                <c:pt idx="2584">
                  <c:v>18.180-18.187</c:v>
                </c:pt>
                <c:pt idx="2585">
                  <c:v>18.187-18.194</c:v>
                </c:pt>
                <c:pt idx="2586">
                  <c:v>18.194-18.201</c:v>
                </c:pt>
                <c:pt idx="2587">
                  <c:v>18.201-18.208</c:v>
                </c:pt>
                <c:pt idx="2588">
                  <c:v>18.208-18.215</c:v>
                </c:pt>
                <c:pt idx="2589">
                  <c:v>18.215-18.222</c:v>
                </c:pt>
                <c:pt idx="2590">
                  <c:v>18.222-18.229</c:v>
                </c:pt>
                <c:pt idx="2591">
                  <c:v>18.229-18.236</c:v>
                </c:pt>
                <c:pt idx="2592">
                  <c:v>18.236-18.243</c:v>
                </c:pt>
                <c:pt idx="2593">
                  <c:v>18.243-18.251</c:v>
                </c:pt>
                <c:pt idx="2594">
                  <c:v>18.251-18.258</c:v>
                </c:pt>
                <c:pt idx="2595">
                  <c:v>18.258-18.265</c:v>
                </c:pt>
                <c:pt idx="2596">
                  <c:v>18.265-18.272</c:v>
                </c:pt>
                <c:pt idx="2597">
                  <c:v>18.272-18.279</c:v>
                </c:pt>
                <c:pt idx="2598">
                  <c:v>18.279-18.286</c:v>
                </c:pt>
                <c:pt idx="2599">
                  <c:v>18.286-18.293</c:v>
                </c:pt>
                <c:pt idx="2600">
                  <c:v>18.293-18.300</c:v>
                </c:pt>
                <c:pt idx="2601">
                  <c:v>18.300-18.307</c:v>
                </c:pt>
                <c:pt idx="2602">
                  <c:v>18.307-18.314</c:v>
                </c:pt>
                <c:pt idx="2603">
                  <c:v>18.314-18.321</c:v>
                </c:pt>
                <c:pt idx="2604">
                  <c:v>18.321-18.328</c:v>
                </c:pt>
                <c:pt idx="2605">
                  <c:v>18.328-18.335</c:v>
                </c:pt>
                <c:pt idx="2606">
                  <c:v>18.335-18.342</c:v>
                </c:pt>
                <c:pt idx="2607">
                  <c:v>18.342-18.349</c:v>
                </c:pt>
                <c:pt idx="2608">
                  <c:v>18.349-18.356</c:v>
                </c:pt>
                <c:pt idx="2609">
                  <c:v>18.356-18.363</c:v>
                </c:pt>
                <c:pt idx="2610">
                  <c:v>18.363-18.370</c:v>
                </c:pt>
                <c:pt idx="2611">
                  <c:v>18.370-18.377</c:v>
                </c:pt>
                <c:pt idx="2612">
                  <c:v>18.377-18.384</c:v>
                </c:pt>
                <c:pt idx="2613">
                  <c:v>18.384-18.391</c:v>
                </c:pt>
                <c:pt idx="2614">
                  <c:v>18.391-18.398</c:v>
                </c:pt>
                <c:pt idx="2615">
                  <c:v>18.398-18.405</c:v>
                </c:pt>
                <c:pt idx="2616">
                  <c:v>18.405-18.412</c:v>
                </c:pt>
                <c:pt idx="2617">
                  <c:v>18.412-18.419</c:v>
                </c:pt>
                <c:pt idx="2618">
                  <c:v>18.419-18.426</c:v>
                </c:pt>
                <c:pt idx="2619">
                  <c:v>18.426-18.433</c:v>
                </c:pt>
                <c:pt idx="2620">
                  <c:v>18.433-18.440</c:v>
                </c:pt>
                <c:pt idx="2621">
                  <c:v>18.440-18.447</c:v>
                </c:pt>
                <c:pt idx="2622">
                  <c:v>18.447-18.454</c:v>
                </c:pt>
                <c:pt idx="2623">
                  <c:v>18.454-18.461</c:v>
                </c:pt>
                <c:pt idx="2624">
                  <c:v>18.461-18.469</c:v>
                </c:pt>
                <c:pt idx="2625">
                  <c:v>18.469-18.476</c:v>
                </c:pt>
                <c:pt idx="2626">
                  <c:v>18.476-18.483</c:v>
                </c:pt>
                <c:pt idx="2627">
                  <c:v>18.483-18.490</c:v>
                </c:pt>
                <c:pt idx="2628">
                  <c:v>18.490-18.497</c:v>
                </c:pt>
                <c:pt idx="2629">
                  <c:v>18.497-18.504</c:v>
                </c:pt>
                <c:pt idx="2630">
                  <c:v>18.504-18.511</c:v>
                </c:pt>
                <c:pt idx="2631">
                  <c:v>18.511-18.518</c:v>
                </c:pt>
                <c:pt idx="2632">
                  <c:v>18.518-18.525</c:v>
                </c:pt>
                <c:pt idx="2633">
                  <c:v>18.525-18.532</c:v>
                </c:pt>
                <c:pt idx="2634">
                  <c:v>18.532-18.539</c:v>
                </c:pt>
                <c:pt idx="2635">
                  <c:v>18.539-18.546</c:v>
                </c:pt>
                <c:pt idx="2636">
                  <c:v>18.546-18.553</c:v>
                </c:pt>
                <c:pt idx="2637">
                  <c:v>18.553-18.560</c:v>
                </c:pt>
                <c:pt idx="2638">
                  <c:v>18.560-18.567</c:v>
                </c:pt>
                <c:pt idx="2639">
                  <c:v>18.567-18.574</c:v>
                </c:pt>
                <c:pt idx="2640">
                  <c:v>18.574-18.581</c:v>
                </c:pt>
                <c:pt idx="2641">
                  <c:v>18.581-18.588</c:v>
                </c:pt>
                <c:pt idx="2642">
                  <c:v>18.588-18.595</c:v>
                </c:pt>
                <c:pt idx="2643">
                  <c:v>18.595-18.602</c:v>
                </c:pt>
                <c:pt idx="2644">
                  <c:v>18.602-18.609</c:v>
                </c:pt>
                <c:pt idx="2645">
                  <c:v>18.609-18.616</c:v>
                </c:pt>
                <c:pt idx="2646">
                  <c:v>18.616-18.623</c:v>
                </c:pt>
                <c:pt idx="2647">
                  <c:v>18.623-18.630</c:v>
                </c:pt>
                <c:pt idx="2648">
                  <c:v>18.630-18.637</c:v>
                </c:pt>
                <c:pt idx="2649">
                  <c:v>18.637-18.644</c:v>
                </c:pt>
                <c:pt idx="2650">
                  <c:v>18.644-18.651</c:v>
                </c:pt>
                <c:pt idx="2651">
                  <c:v>18.651-18.658</c:v>
                </c:pt>
                <c:pt idx="2652">
                  <c:v>18.658-18.665</c:v>
                </c:pt>
                <c:pt idx="2653">
                  <c:v>18.665-18.672</c:v>
                </c:pt>
                <c:pt idx="2654">
                  <c:v>18.672-18.679</c:v>
                </c:pt>
                <c:pt idx="2655">
                  <c:v>18.679-18.687</c:v>
                </c:pt>
                <c:pt idx="2656">
                  <c:v>18.687-18.694</c:v>
                </c:pt>
                <c:pt idx="2657">
                  <c:v>18.694-18.701</c:v>
                </c:pt>
                <c:pt idx="2658">
                  <c:v>18.701-18.708</c:v>
                </c:pt>
                <c:pt idx="2659">
                  <c:v>18.708-18.715</c:v>
                </c:pt>
                <c:pt idx="2660">
                  <c:v>18.715-18.722</c:v>
                </c:pt>
                <c:pt idx="2661">
                  <c:v>18.722-18.729</c:v>
                </c:pt>
                <c:pt idx="2662">
                  <c:v>18.729-18.736</c:v>
                </c:pt>
                <c:pt idx="2663">
                  <c:v>18.736-18.743</c:v>
                </c:pt>
                <c:pt idx="2664">
                  <c:v>18.743-18.750</c:v>
                </c:pt>
                <c:pt idx="2665">
                  <c:v>18.750-18.757</c:v>
                </c:pt>
                <c:pt idx="2666">
                  <c:v>18.757-18.764</c:v>
                </c:pt>
                <c:pt idx="2667">
                  <c:v>18.764-18.771</c:v>
                </c:pt>
                <c:pt idx="2668">
                  <c:v>18.771-18.778</c:v>
                </c:pt>
                <c:pt idx="2669">
                  <c:v>18.778-18.785</c:v>
                </c:pt>
                <c:pt idx="2670">
                  <c:v>18.785-18.792</c:v>
                </c:pt>
                <c:pt idx="2671">
                  <c:v>18.792-18.799</c:v>
                </c:pt>
                <c:pt idx="2672">
                  <c:v>18.799-18.806</c:v>
                </c:pt>
                <c:pt idx="2673">
                  <c:v>18.806-18.813</c:v>
                </c:pt>
                <c:pt idx="2674">
                  <c:v>18.813-18.820</c:v>
                </c:pt>
                <c:pt idx="2675">
                  <c:v>18.820-18.827</c:v>
                </c:pt>
                <c:pt idx="2676">
                  <c:v>18.827-18.834</c:v>
                </c:pt>
                <c:pt idx="2677">
                  <c:v>18.834-18.841</c:v>
                </c:pt>
                <c:pt idx="2678">
                  <c:v>18.841-18.848</c:v>
                </c:pt>
                <c:pt idx="2679">
                  <c:v>18.848-18.855</c:v>
                </c:pt>
                <c:pt idx="2680">
                  <c:v>18.855-18.862</c:v>
                </c:pt>
                <c:pt idx="2681">
                  <c:v>18.862-18.869</c:v>
                </c:pt>
                <c:pt idx="2682">
                  <c:v>18.869-18.876</c:v>
                </c:pt>
                <c:pt idx="2683">
                  <c:v>18.876-18.883</c:v>
                </c:pt>
                <c:pt idx="2684">
                  <c:v>18.883-18.890</c:v>
                </c:pt>
                <c:pt idx="2685">
                  <c:v>18.890-18.897</c:v>
                </c:pt>
                <c:pt idx="2686">
                  <c:v>18.897-18.905</c:v>
                </c:pt>
                <c:pt idx="2687">
                  <c:v>18.905-18.912</c:v>
                </c:pt>
                <c:pt idx="2688">
                  <c:v>18.912-18.919</c:v>
                </c:pt>
                <c:pt idx="2689">
                  <c:v>18.919-18.926</c:v>
                </c:pt>
                <c:pt idx="2690">
                  <c:v>18.926-18.933</c:v>
                </c:pt>
                <c:pt idx="2691">
                  <c:v>18.933-18.940</c:v>
                </c:pt>
                <c:pt idx="2692">
                  <c:v>18.940-18.947</c:v>
                </c:pt>
                <c:pt idx="2693">
                  <c:v>18.947-18.954</c:v>
                </c:pt>
                <c:pt idx="2694">
                  <c:v>18.954-18.961</c:v>
                </c:pt>
                <c:pt idx="2695">
                  <c:v>18.961-18.968</c:v>
                </c:pt>
                <c:pt idx="2696">
                  <c:v>18.968-18.975</c:v>
                </c:pt>
                <c:pt idx="2697">
                  <c:v>18.975-18.982</c:v>
                </c:pt>
                <c:pt idx="2698">
                  <c:v>18.982-18.989</c:v>
                </c:pt>
                <c:pt idx="2699">
                  <c:v>18.989-18.996</c:v>
                </c:pt>
                <c:pt idx="2700">
                  <c:v>18.996-19.003</c:v>
                </c:pt>
                <c:pt idx="2701">
                  <c:v>19.003-19.010</c:v>
                </c:pt>
                <c:pt idx="2702">
                  <c:v>19.010-19.017</c:v>
                </c:pt>
                <c:pt idx="2703">
                  <c:v>19.017-19.024</c:v>
                </c:pt>
                <c:pt idx="2704">
                  <c:v>19.024-19.031</c:v>
                </c:pt>
                <c:pt idx="2705">
                  <c:v>19.031-19.038</c:v>
                </c:pt>
                <c:pt idx="2706">
                  <c:v>19.038-19.045</c:v>
                </c:pt>
                <c:pt idx="2707">
                  <c:v>19.045-19.052</c:v>
                </c:pt>
                <c:pt idx="2708">
                  <c:v>19.052-19.059</c:v>
                </c:pt>
                <c:pt idx="2709">
                  <c:v>19.059-19.066</c:v>
                </c:pt>
                <c:pt idx="2710">
                  <c:v>19.066-19.073</c:v>
                </c:pt>
                <c:pt idx="2711">
                  <c:v>19.073-19.080</c:v>
                </c:pt>
                <c:pt idx="2712">
                  <c:v>19.080-19.087</c:v>
                </c:pt>
                <c:pt idx="2713">
                  <c:v>19.087-19.094</c:v>
                </c:pt>
                <c:pt idx="2714">
                  <c:v>19.094-19.101</c:v>
                </c:pt>
                <c:pt idx="2715">
                  <c:v>19.101-19.108</c:v>
                </c:pt>
                <c:pt idx="2716">
                  <c:v>19.108-19.115</c:v>
                </c:pt>
                <c:pt idx="2717">
                  <c:v>19.115-19.123</c:v>
                </c:pt>
                <c:pt idx="2718">
                  <c:v>19.123-19.130</c:v>
                </c:pt>
                <c:pt idx="2719">
                  <c:v>19.130-19.137</c:v>
                </c:pt>
                <c:pt idx="2720">
                  <c:v>19.137-19.144</c:v>
                </c:pt>
                <c:pt idx="2721">
                  <c:v>19.144-19.151</c:v>
                </c:pt>
                <c:pt idx="2722">
                  <c:v>19.151-19.158</c:v>
                </c:pt>
                <c:pt idx="2723">
                  <c:v>19.158-19.165</c:v>
                </c:pt>
                <c:pt idx="2724">
                  <c:v>19.165-19.172</c:v>
                </c:pt>
                <c:pt idx="2725">
                  <c:v>19.172-19.179</c:v>
                </c:pt>
                <c:pt idx="2726">
                  <c:v>19.179-19.186</c:v>
                </c:pt>
                <c:pt idx="2727">
                  <c:v>19.186-19.193</c:v>
                </c:pt>
                <c:pt idx="2728">
                  <c:v>19.193-19.200</c:v>
                </c:pt>
                <c:pt idx="2729">
                  <c:v>19.200-19.207</c:v>
                </c:pt>
                <c:pt idx="2730">
                  <c:v>19.207-19.214</c:v>
                </c:pt>
                <c:pt idx="2731">
                  <c:v>19.214-19.221</c:v>
                </c:pt>
                <c:pt idx="2732">
                  <c:v>19.221-19.228</c:v>
                </c:pt>
                <c:pt idx="2733">
                  <c:v>19.228-19.235</c:v>
                </c:pt>
                <c:pt idx="2734">
                  <c:v>19.235-19.242</c:v>
                </c:pt>
                <c:pt idx="2735">
                  <c:v>19.242-19.249</c:v>
                </c:pt>
                <c:pt idx="2736">
                  <c:v>19.249-19.256</c:v>
                </c:pt>
                <c:pt idx="2737">
                  <c:v>19.256-19.263</c:v>
                </c:pt>
                <c:pt idx="2738">
                  <c:v>19.263-19.270</c:v>
                </c:pt>
                <c:pt idx="2739">
                  <c:v>19.270-19.277</c:v>
                </c:pt>
                <c:pt idx="2740">
                  <c:v>19.277-19.284</c:v>
                </c:pt>
                <c:pt idx="2741">
                  <c:v>19.284-19.291</c:v>
                </c:pt>
                <c:pt idx="2742">
                  <c:v>19.291-19.298</c:v>
                </c:pt>
                <c:pt idx="2743">
                  <c:v>19.298-19.305</c:v>
                </c:pt>
                <c:pt idx="2744">
                  <c:v>19.305-19.312</c:v>
                </c:pt>
                <c:pt idx="2745">
                  <c:v>19.312-19.319</c:v>
                </c:pt>
                <c:pt idx="2746">
                  <c:v>19.319-19.326</c:v>
                </c:pt>
                <c:pt idx="2747">
                  <c:v>19.326-19.333</c:v>
                </c:pt>
                <c:pt idx="2748">
                  <c:v>19.333-19.341</c:v>
                </c:pt>
                <c:pt idx="2749">
                  <c:v>19.341-19.348</c:v>
                </c:pt>
                <c:pt idx="2750">
                  <c:v>19.348-19.355</c:v>
                </c:pt>
                <c:pt idx="2751">
                  <c:v>19.355-19.362</c:v>
                </c:pt>
                <c:pt idx="2752">
                  <c:v>19.362-19.369</c:v>
                </c:pt>
                <c:pt idx="2753">
                  <c:v>19.369-19.376</c:v>
                </c:pt>
                <c:pt idx="2754">
                  <c:v>19.376-19.383</c:v>
                </c:pt>
                <c:pt idx="2755">
                  <c:v>19.383-19.390</c:v>
                </c:pt>
                <c:pt idx="2756">
                  <c:v>19.390-19.397</c:v>
                </c:pt>
                <c:pt idx="2757">
                  <c:v>19.397-19.404</c:v>
                </c:pt>
                <c:pt idx="2758">
                  <c:v>19.404-19.411</c:v>
                </c:pt>
                <c:pt idx="2759">
                  <c:v>19.411-19.418</c:v>
                </c:pt>
                <c:pt idx="2760">
                  <c:v>19.418-19.425</c:v>
                </c:pt>
                <c:pt idx="2761">
                  <c:v>19.425-19.432</c:v>
                </c:pt>
                <c:pt idx="2762">
                  <c:v>19.432-19.439</c:v>
                </c:pt>
                <c:pt idx="2763">
                  <c:v>19.439-19.446</c:v>
                </c:pt>
                <c:pt idx="2764">
                  <c:v>19.446-19.453</c:v>
                </c:pt>
                <c:pt idx="2765">
                  <c:v>19.453-19.460</c:v>
                </c:pt>
                <c:pt idx="2766">
                  <c:v>19.460-19.467</c:v>
                </c:pt>
                <c:pt idx="2767">
                  <c:v>19.467-19.474</c:v>
                </c:pt>
                <c:pt idx="2768">
                  <c:v>19.474-19.481</c:v>
                </c:pt>
                <c:pt idx="2769">
                  <c:v>19.481-19.488</c:v>
                </c:pt>
                <c:pt idx="2770">
                  <c:v>19.488-19.495</c:v>
                </c:pt>
                <c:pt idx="2771">
                  <c:v>19.495-19.502</c:v>
                </c:pt>
                <c:pt idx="2772">
                  <c:v>19.502-19.509</c:v>
                </c:pt>
                <c:pt idx="2773">
                  <c:v>19.509-19.516</c:v>
                </c:pt>
                <c:pt idx="2774">
                  <c:v>19.516-19.523</c:v>
                </c:pt>
                <c:pt idx="2775">
                  <c:v>19.523-19.530</c:v>
                </c:pt>
                <c:pt idx="2776">
                  <c:v>19.530-19.537</c:v>
                </c:pt>
                <c:pt idx="2777">
                  <c:v>19.537-19.544</c:v>
                </c:pt>
                <c:pt idx="2778">
                  <c:v>19.544-19.551</c:v>
                </c:pt>
                <c:pt idx="2779">
                  <c:v>19.551-19.559</c:v>
                </c:pt>
                <c:pt idx="2780">
                  <c:v>19.559-19.566</c:v>
                </c:pt>
                <c:pt idx="2781">
                  <c:v>19.566-19.573</c:v>
                </c:pt>
                <c:pt idx="2782">
                  <c:v>19.573-19.580</c:v>
                </c:pt>
                <c:pt idx="2783">
                  <c:v>19.580-19.587</c:v>
                </c:pt>
                <c:pt idx="2784">
                  <c:v>19.587-19.594</c:v>
                </c:pt>
                <c:pt idx="2785">
                  <c:v>19.594-19.601</c:v>
                </c:pt>
                <c:pt idx="2786">
                  <c:v>19.601-19.608</c:v>
                </c:pt>
                <c:pt idx="2787">
                  <c:v>19.608-19.615</c:v>
                </c:pt>
                <c:pt idx="2788">
                  <c:v>19.615-19.622</c:v>
                </c:pt>
                <c:pt idx="2789">
                  <c:v>19.622-19.629</c:v>
                </c:pt>
                <c:pt idx="2790">
                  <c:v>19.629-19.636</c:v>
                </c:pt>
                <c:pt idx="2791">
                  <c:v>19.636-19.643</c:v>
                </c:pt>
                <c:pt idx="2792">
                  <c:v>19.643-19.650</c:v>
                </c:pt>
                <c:pt idx="2793">
                  <c:v>19.650-19.657</c:v>
                </c:pt>
                <c:pt idx="2794">
                  <c:v>19.657-19.664</c:v>
                </c:pt>
                <c:pt idx="2795">
                  <c:v>19.664-19.671</c:v>
                </c:pt>
                <c:pt idx="2796">
                  <c:v>19.671-19.678</c:v>
                </c:pt>
                <c:pt idx="2797">
                  <c:v>19.678-19.685</c:v>
                </c:pt>
                <c:pt idx="2798">
                  <c:v>19.685-19.692</c:v>
                </c:pt>
                <c:pt idx="2799">
                  <c:v>19.692-19.699</c:v>
                </c:pt>
                <c:pt idx="2800">
                  <c:v>19.699-19.706</c:v>
                </c:pt>
                <c:pt idx="2801">
                  <c:v>19.706-19.713</c:v>
                </c:pt>
                <c:pt idx="2802">
                  <c:v>19.713-19.720</c:v>
                </c:pt>
                <c:pt idx="2803">
                  <c:v>19.720-19.727</c:v>
                </c:pt>
                <c:pt idx="2804">
                  <c:v>19.727-19.734</c:v>
                </c:pt>
                <c:pt idx="2805">
                  <c:v>19.734-19.741</c:v>
                </c:pt>
                <c:pt idx="2806">
                  <c:v>19.741-19.748</c:v>
                </c:pt>
                <c:pt idx="2807">
                  <c:v>19.748-19.755</c:v>
                </c:pt>
                <c:pt idx="2808">
                  <c:v>19.755-19.762</c:v>
                </c:pt>
                <c:pt idx="2809">
                  <c:v>19.762-19.769</c:v>
                </c:pt>
                <c:pt idx="2810">
                  <c:v>19.769-19.777</c:v>
                </c:pt>
                <c:pt idx="2811">
                  <c:v>19.777-19.784</c:v>
                </c:pt>
                <c:pt idx="2812">
                  <c:v>19.784-19.791</c:v>
                </c:pt>
                <c:pt idx="2813">
                  <c:v>19.791-19.798</c:v>
                </c:pt>
                <c:pt idx="2814">
                  <c:v>19.798-19.805</c:v>
                </c:pt>
                <c:pt idx="2815">
                  <c:v>19.805-19.812</c:v>
                </c:pt>
                <c:pt idx="2816">
                  <c:v>19.812-19.819</c:v>
                </c:pt>
                <c:pt idx="2817">
                  <c:v>19.819-19.826</c:v>
                </c:pt>
                <c:pt idx="2818">
                  <c:v>19.826-19.833</c:v>
                </c:pt>
                <c:pt idx="2819">
                  <c:v>19.833-19.840</c:v>
                </c:pt>
                <c:pt idx="2820">
                  <c:v>19.840-19.847</c:v>
                </c:pt>
                <c:pt idx="2821">
                  <c:v>19.847-19.854</c:v>
                </c:pt>
                <c:pt idx="2822">
                  <c:v>19.854-19.861</c:v>
                </c:pt>
                <c:pt idx="2823">
                  <c:v>19.861-19.868</c:v>
                </c:pt>
                <c:pt idx="2824">
                  <c:v>19.868-19.875</c:v>
                </c:pt>
                <c:pt idx="2825">
                  <c:v>19.875-19.882</c:v>
                </c:pt>
                <c:pt idx="2826">
                  <c:v>19.882-19.889</c:v>
                </c:pt>
                <c:pt idx="2827">
                  <c:v>19.889-19.896</c:v>
                </c:pt>
                <c:pt idx="2828">
                  <c:v>19.896-19.903</c:v>
                </c:pt>
                <c:pt idx="2829">
                  <c:v>19.903-19.910</c:v>
                </c:pt>
                <c:pt idx="2830">
                  <c:v>19.910-19.917</c:v>
                </c:pt>
                <c:pt idx="2831">
                  <c:v>19.917-19.924</c:v>
                </c:pt>
                <c:pt idx="2832">
                  <c:v>19.924-19.931</c:v>
                </c:pt>
                <c:pt idx="2833">
                  <c:v>19.931-19.938</c:v>
                </c:pt>
                <c:pt idx="2834">
                  <c:v>19.938-19.945</c:v>
                </c:pt>
                <c:pt idx="2835">
                  <c:v>19.945-19.952</c:v>
                </c:pt>
                <c:pt idx="2836">
                  <c:v>19.952-19.959</c:v>
                </c:pt>
                <c:pt idx="2837">
                  <c:v>19.959-19.966</c:v>
                </c:pt>
                <c:pt idx="2838">
                  <c:v>19.966-19.973</c:v>
                </c:pt>
                <c:pt idx="2839">
                  <c:v>19.973-19.980</c:v>
                </c:pt>
                <c:pt idx="2840">
                  <c:v>19.980-19.987</c:v>
                </c:pt>
                <c:pt idx="2841">
                  <c:v>19.987-19.995</c:v>
                </c:pt>
                <c:pt idx="2842">
                  <c:v>19.995-20.002</c:v>
                </c:pt>
                <c:pt idx="2843">
                  <c:v>20.002-20.009</c:v>
                </c:pt>
                <c:pt idx="2844">
                  <c:v>20.009-20.016</c:v>
                </c:pt>
                <c:pt idx="2845">
                  <c:v>20.016-20.023</c:v>
                </c:pt>
                <c:pt idx="2846">
                  <c:v>20.023-20.030</c:v>
                </c:pt>
                <c:pt idx="2847">
                  <c:v>20.030-20.037</c:v>
                </c:pt>
                <c:pt idx="2848">
                  <c:v>20.037-20.044</c:v>
                </c:pt>
                <c:pt idx="2849">
                  <c:v>20.044-20.051</c:v>
                </c:pt>
                <c:pt idx="2850">
                  <c:v>20.051-20.058</c:v>
                </c:pt>
                <c:pt idx="2851">
                  <c:v>20.058-20.065</c:v>
                </c:pt>
                <c:pt idx="2852">
                  <c:v>20.065-20.072</c:v>
                </c:pt>
                <c:pt idx="2853">
                  <c:v>20.072-20.079</c:v>
                </c:pt>
                <c:pt idx="2854">
                  <c:v>20.079-20.086</c:v>
                </c:pt>
                <c:pt idx="2855">
                  <c:v>20.086-20.093</c:v>
                </c:pt>
                <c:pt idx="2856">
                  <c:v>20.093-20.100</c:v>
                </c:pt>
                <c:pt idx="2857">
                  <c:v>20.100-20.107</c:v>
                </c:pt>
                <c:pt idx="2858">
                  <c:v>20.107-20.114</c:v>
                </c:pt>
                <c:pt idx="2859">
                  <c:v>20.114-20.121</c:v>
                </c:pt>
                <c:pt idx="2860">
                  <c:v>20.121-20.128</c:v>
                </c:pt>
                <c:pt idx="2861">
                  <c:v>20.128-20.135</c:v>
                </c:pt>
                <c:pt idx="2862">
                  <c:v>20.135-20.142</c:v>
                </c:pt>
                <c:pt idx="2863">
                  <c:v>20.142-20.149</c:v>
                </c:pt>
                <c:pt idx="2864">
                  <c:v>20.149-20.156</c:v>
                </c:pt>
                <c:pt idx="2865">
                  <c:v>20.156-20.163</c:v>
                </c:pt>
                <c:pt idx="2866">
                  <c:v>20.163-20.170</c:v>
                </c:pt>
                <c:pt idx="2867">
                  <c:v>20.170-20.177</c:v>
                </c:pt>
                <c:pt idx="2868">
                  <c:v>20.177-20.184</c:v>
                </c:pt>
                <c:pt idx="2869">
                  <c:v>20.184-20.191</c:v>
                </c:pt>
                <c:pt idx="2870">
                  <c:v>20.191-20.198</c:v>
                </c:pt>
                <c:pt idx="2871">
                  <c:v>20.198-20.205</c:v>
                </c:pt>
                <c:pt idx="2872">
                  <c:v>20.205-20.213</c:v>
                </c:pt>
                <c:pt idx="2873">
                  <c:v>20.213-20.220</c:v>
                </c:pt>
                <c:pt idx="2874">
                  <c:v>20.220-20.227</c:v>
                </c:pt>
                <c:pt idx="2875">
                  <c:v>20.227-20.234</c:v>
                </c:pt>
                <c:pt idx="2876">
                  <c:v>20.234-20.241</c:v>
                </c:pt>
                <c:pt idx="2877">
                  <c:v>20.241-20.248</c:v>
                </c:pt>
                <c:pt idx="2878">
                  <c:v>20.248-20.255</c:v>
                </c:pt>
                <c:pt idx="2879">
                  <c:v>20.255-20.262</c:v>
                </c:pt>
                <c:pt idx="2880">
                  <c:v>20.262-20.269</c:v>
                </c:pt>
                <c:pt idx="2881">
                  <c:v>20.269-20.276</c:v>
                </c:pt>
                <c:pt idx="2882">
                  <c:v>20.276-20.283</c:v>
                </c:pt>
                <c:pt idx="2883">
                  <c:v>20.283-20.290</c:v>
                </c:pt>
                <c:pt idx="2884">
                  <c:v>20.290-20.297</c:v>
                </c:pt>
                <c:pt idx="2885">
                  <c:v>20.297-20.304</c:v>
                </c:pt>
                <c:pt idx="2886">
                  <c:v>20.304-20.311</c:v>
                </c:pt>
                <c:pt idx="2887">
                  <c:v>20.311-20.318</c:v>
                </c:pt>
                <c:pt idx="2888">
                  <c:v>20.318-20.325</c:v>
                </c:pt>
                <c:pt idx="2889">
                  <c:v>20.325-20.332</c:v>
                </c:pt>
                <c:pt idx="2890">
                  <c:v>20.332-20.339</c:v>
                </c:pt>
                <c:pt idx="2891">
                  <c:v>20.339-20.346</c:v>
                </c:pt>
                <c:pt idx="2892">
                  <c:v>20.346-20.353</c:v>
                </c:pt>
                <c:pt idx="2893">
                  <c:v>20.353-20.360</c:v>
                </c:pt>
                <c:pt idx="2894">
                  <c:v>20.360-20.367</c:v>
                </c:pt>
                <c:pt idx="2895">
                  <c:v>20.367-20.374</c:v>
                </c:pt>
                <c:pt idx="2896">
                  <c:v>20.374-20.381</c:v>
                </c:pt>
                <c:pt idx="2897">
                  <c:v>20.381-20.388</c:v>
                </c:pt>
                <c:pt idx="2898">
                  <c:v>20.388-20.395</c:v>
                </c:pt>
                <c:pt idx="2899">
                  <c:v>20.395-20.402</c:v>
                </c:pt>
                <c:pt idx="2900">
                  <c:v>20.402-20.409</c:v>
                </c:pt>
                <c:pt idx="2901">
                  <c:v>20.409-20.416</c:v>
                </c:pt>
                <c:pt idx="2902">
                  <c:v>20.416-20.423</c:v>
                </c:pt>
                <c:pt idx="2903">
                  <c:v>20.423-20.431</c:v>
                </c:pt>
                <c:pt idx="2904">
                  <c:v>20.431-20.438</c:v>
                </c:pt>
                <c:pt idx="2905">
                  <c:v>20.438-20.445</c:v>
                </c:pt>
                <c:pt idx="2906">
                  <c:v>20.445-20.452</c:v>
                </c:pt>
                <c:pt idx="2907">
                  <c:v>20.452-20.459</c:v>
                </c:pt>
                <c:pt idx="2908">
                  <c:v>20.459-20.466</c:v>
                </c:pt>
                <c:pt idx="2909">
                  <c:v>20.466-20.473</c:v>
                </c:pt>
                <c:pt idx="2910">
                  <c:v>20.473-20.480</c:v>
                </c:pt>
                <c:pt idx="2911">
                  <c:v>20.480-20.487</c:v>
                </c:pt>
                <c:pt idx="2912">
                  <c:v>20.487-20.494</c:v>
                </c:pt>
                <c:pt idx="2913">
                  <c:v>20.494-20.501</c:v>
                </c:pt>
                <c:pt idx="2914">
                  <c:v>20.501-20.508</c:v>
                </c:pt>
                <c:pt idx="2915">
                  <c:v>20.508-20.515</c:v>
                </c:pt>
                <c:pt idx="2916">
                  <c:v>20.515-20.522</c:v>
                </c:pt>
                <c:pt idx="2917">
                  <c:v>20.522-20.529</c:v>
                </c:pt>
                <c:pt idx="2918">
                  <c:v>20.529-20.536</c:v>
                </c:pt>
                <c:pt idx="2919">
                  <c:v>20.536-20.543</c:v>
                </c:pt>
                <c:pt idx="2920">
                  <c:v>20.543-20.550</c:v>
                </c:pt>
                <c:pt idx="2921">
                  <c:v>20.550-20.557</c:v>
                </c:pt>
                <c:pt idx="2922">
                  <c:v>20.557-20.564</c:v>
                </c:pt>
                <c:pt idx="2923">
                  <c:v>20.564-20.571</c:v>
                </c:pt>
                <c:pt idx="2924">
                  <c:v>20.571-20.578</c:v>
                </c:pt>
                <c:pt idx="2925">
                  <c:v>20.578-20.585</c:v>
                </c:pt>
                <c:pt idx="2926">
                  <c:v>20.585-20.592</c:v>
                </c:pt>
                <c:pt idx="2927">
                  <c:v>20.592-20.599</c:v>
                </c:pt>
                <c:pt idx="2928">
                  <c:v>20.599-20.606</c:v>
                </c:pt>
                <c:pt idx="2929">
                  <c:v>20.606-20.613</c:v>
                </c:pt>
                <c:pt idx="2930">
                  <c:v>20.613-20.620</c:v>
                </c:pt>
                <c:pt idx="2931">
                  <c:v>20.620-20.627</c:v>
                </c:pt>
                <c:pt idx="2932">
                  <c:v>20.627-20.634</c:v>
                </c:pt>
                <c:pt idx="2933">
                  <c:v>20.634-20.641</c:v>
                </c:pt>
                <c:pt idx="2934">
                  <c:v>20.641-20.649</c:v>
                </c:pt>
                <c:pt idx="2935">
                  <c:v>20.649-20.656</c:v>
                </c:pt>
                <c:pt idx="2936">
                  <c:v>20.656-20.663</c:v>
                </c:pt>
                <c:pt idx="2937">
                  <c:v>20.663-20.670</c:v>
                </c:pt>
                <c:pt idx="2938">
                  <c:v>20.670-20.677</c:v>
                </c:pt>
                <c:pt idx="2939">
                  <c:v>20.677-20.684</c:v>
                </c:pt>
                <c:pt idx="2940">
                  <c:v>20.684-20.691</c:v>
                </c:pt>
                <c:pt idx="2941">
                  <c:v>20.691-20.698</c:v>
                </c:pt>
                <c:pt idx="2942">
                  <c:v>20.698-20.705</c:v>
                </c:pt>
                <c:pt idx="2943">
                  <c:v>20.705-20.712</c:v>
                </c:pt>
                <c:pt idx="2944">
                  <c:v>20.712-20.719</c:v>
                </c:pt>
                <c:pt idx="2945">
                  <c:v>20.719-20.726</c:v>
                </c:pt>
                <c:pt idx="2946">
                  <c:v>20.726-20.733</c:v>
                </c:pt>
                <c:pt idx="2947">
                  <c:v>20.733-20.740</c:v>
                </c:pt>
                <c:pt idx="2948">
                  <c:v>20.740-20.747</c:v>
                </c:pt>
                <c:pt idx="2949">
                  <c:v>20.747-20.754</c:v>
                </c:pt>
                <c:pt idx="2950">
                  <c:v>20.754-20.761</c:v>
                </c:pt>
                <c:pt idx="2951">
                  <c:v>20.761-20.768</c:v>
                </c:pt>
                <c:pt idx="2952">
                  <c:v>20.768-20.775</c:v>
                </c:pt>
                <c:pt idx="2953">
                  <c:v>20.775-20.782</c:v>
                </c:pt>
                <c:pt idx="2954">
                  <c:v>20.782-20.789</c:v>
                </c:pt>
                <c:pt idx="2955">
                  <c:v>20.789-20.796</c:v>
                </c:pt>
                <c:pt idx="2956">
                  <c:v>20.796-20.803</c:v>
                </c:pt>
                <c:pt idx="2957">
                  <c:v>20.803-20.810</c:v>
                </c:pt>
                <c:pt idx="2958">
                  <c:v>20.810-20.817</c:v>
                </c:pt>
                <c:pt idx="2959">
                  <c:v>20.817-20.824</c:v>
                </c:pt>
                <c:pt idx="2960">
                  <c:v>20.824-20.831</c:v>
                </c:pt>
                <c:pt idx="2961">
                  <c:v>20.831-20.838</c:v>
                </c:pt>
                <c:pt idx="2962">
                  <c:v>20.838-20.845</c:v>
                </c:pt>
                <c:pt idx="2963">
                  <c:v>20.845-20.852</c:v>
                </c:pt>
                <c:pt idx="2964">
                  <c:v>20.852-20.859</c:v>
                </c:pt>
                <c:pt idx="2965">
                  <c:v>20.859-20.867</c:v>
                </c:pt>
                <c:pt idx="2966">
                  <c:v>20.867-20.874</c:v>
                </c:pt>
                <c:pt idx="2967">
                  <c:v>20.874-20.881</c:v>
                </c:pt>
                <c:pt idx="2968">
                  <c:v>20.881-20.888</c:v>
                </c:pt>
                <c:pt idx="2969">
                  <c:v>20.888-20.895</c:v>
                </c:pt>
                <c:pt idx="2970">
                  <c:v>20.895-20.902</c:v>
                </c:pt>
                <c:pt idx="2971">
                  <c:v>20.902-20.909</c:v>
                </c:pt>
                <c:pt idx="2972">
                  <c:v>20.909-20.916</c:v>
                </c:pt>
                <c:pt idx="2973">
                  <c:v>20.916-20.923</c:v>
                </c:pt>
                <c:pt idx="2974">
                  <c:v>20.923-20.930</c:v>
                </c:pt>
                <c:pt idx="2975">
                  <c:v>20.930-20.937</c:v>
                </c:pt>
                <c:pt idx="2976">
                  <c:v>20.937-20.944</c:v>
                </c:pt>
                <c:pt idx="2977">
                  <c:v>20.944-20.951</c:v>
                </c:pt>
                <c:pt idx="2978">
                  <c:v>20.951-20.958</c:v>
                </c:pt>
                <c:pt idx="2979">
                  <c:v>20.958-20.965</c:v>
                </c:pt>
                <c:pt idx="2980">
                  <c:v>20.965-20.972</c:v>
                </c:pt>
                <c:pt idx="2981">
                  <c:v>20.972-20.979</c:v>
                </c:pt>
                <c:pt idx="2982">
                  <c:v>20.979-20.986</c:v>
                </c:pt>
                <c:pt idx="2983">
                  <c:v>20.986-20.993</c:v>
                </c:pt>
                <c:pt idx="2984">
                  <c:v>20.993-21.000</c:v>
                </c:pt>
                <c:pt idx="2985">
                  <c:v>21.000-21.007</c:v>
                </c:pt>
                <c:pt idx="2986">
                  <c:v>21.007-21.014</c:v>
                </c:pt>
                <c:pt idx="2987">
                  <c:v>21.014-21.021</c:v>
                </c:pt>
                <c:pt idx="2988">
                  <c:v>21.021-21.028</c:v>
                </c:pt>
                <c:pt idx="2989">
                  <c:v>21.028-21.035</c:v>
                </c:pt>
                <c:pt idx="2990">
                  <c:v>21.035-21.042</c:v>
                </c:pt>
                <c:pt idx="2991">
                  <c:v>21.042-21.049</c:v>
                </c:pt>
                <c:pt idx="2992">
                  <c:v>21.049-21.056</c:v>
                </c:pt>
                <c:pt idx="2993">
                  <c:v>21.056-21.063</c:v>
                </c:pt>
                <c:pt idx="2994">
                  <c:v>21.063-21.070</c:v>
                </c:pt>
                <c:pt idx="2995">
                  <c:v>21.070-21.077</c:v>
                </c:pt>
                <c:pt idx="2996">
                  <c:v>21.077-21.085</c:v>
                </c:pt>
                <c:pt idx="2997">
                  <c:v>21.085-21.092</c:v>
                </c:pt>
                <c:pt idx="2998">
                  <c:v>21.092-21.099</c:v>
                </c:pt>
                <c:pt idx="2999">
                  <c:v>21.099-21.106</c:v>
                </c:pt>
                <c:pt idx="3000">
                  <c:v>21.106-21.113</c:v>
                </c:pt>
                <c:pt idx="3001">
                  <c:v>21.113-21.120</c:v>
                </c:pt>
                <c:pt idx="3002">
                  <c:v>21.120-21.127</c:v>
                </c:pt>
                <c:pt idx="3003">
                  <c:v>21.127-21.134</c:v>
                </c:pt>
                <c:pt idx="3004">
                  <c:v>21.134-21.141</c:v>
                </c:pt>
                <c:pt idx="3005">
                  <c:v>21.141-21.148</c:v>
                </c:pt>
                <c:pt idx="3006">
                  <c:v>21.148-21.155</c:v>
                </c:pt>
                <c:pt idx="3007">
                  <c:v>21.155-21.162</c:v>
                </c:pt>
                <c:pt idx="3008">
                  <c:v>21.162-21.169</c:v>
                </c:pt>
                <c:pt idx="3009">
                  <c:v>21.169-21.176</c:v>
                </c:pt>
                <c:pt idx="3010">
                  <c:v>21.176-21.183</c:v>
                </c:pt>
                <c:pt idx="3011">
                  <c:v>21.183-21.190</c:v>
                </c:pt>
                <c:pt idx="3012">
                  <c:v>21.190-21.197</c:v>
                </c:pt>
                <c:pt idx="3013">
                  <c:v>21.197-21.204</c:v>
                </c:pt>
                <c:pt idx="3014">
                  <c:v>21.204-21.211</c:v>
                </c:pt>
                <c:pt idx="3015">
                  <c:v>21.211-21.218</c:v>
                </c:pt>
                <c:pt idx="3016">
                  <c:v>21.218-21.225</c:v>
                </c:pt>
                <c:pt idx="3017">
                  <c:v>21.225-21.232</c:v>
                </c:pt>
                <c:pt idx="3018">
                  <c:v>21.232-21.239</c:v>
                </c:pt>
                <c:pt idx="3019">
                  <c:v>21.239-21.246</c:v>
                </c:pt>
                <c:pt idx="3020">
                  <c:v>21.246-21.253</c:v>
                </c:pt>
                <c:pt idx="3021">
                  <c:v>21.253-21.260</c:v>
                </c:pt>
                <c:pt idx="3022">
                  <c:v>21.260-21.267</c:v>
                </c:pt>
                <c:pt idx="3023">
                  <c:v>21.267-21.274</c:v>
                </c:pt>
                <c:pt idx="3024">
                  <c:v>21.274-21.281</c:v>
                </c:pt>
                <c:pt idx="3025">
                  <c:v>21.281-21.288</c:v>
                </c:pt>
                <c:pt idx="3026">
                  <c:v>21.288-21.295</c:v>
                </c:pt>
                <c:pt idx="3027">
                  <c:v>21.295-21.303</c:v>
                </c:pt>
                <c:pt idx="3028">
                  <c:v>21.303-21.310</c:v>
                </c:pt>
                <c:pt idx="3029">
                  <c:v>21.310-21.317</c:v>
                </c:pt>
                <c:pt idx="3030">
                  <c:v>21.317-21.324</c:v>
                </c:pt>
                <c:pt idx="3031">
                  <c:v>21.324-21.331</c:v>
                </c:pt>
                <c:pt idx="3032">
                  <c:v>21.331-21.338</c:v>
                </c:pt>
                <c:pt idx="3033">
                  <c:v>21.338-21.345</c:v>
                </c:pt>
                <c:pt idx="3034">
                  <c:v>21.345-21.352</c:v>
                </c:pt>
                <c:pt idx="3035">
                  <c:v>21.352-21.359</c:v>
                </c:pt>
                <c:pt idx="3036">
                  <c:v>21.359-21.366</c:v>
                </c:pt>
                <c:pt idx="3037">
                  <c:v>21.366-21.373</c:v>
                </c:pt>
                <c:pt idx="3038">
                  <c:v>21.373-21.380</c:v>
                </c:pt>
                <c:pt idx="3039">
                  <c:v>21.380-21.387</c:v>
                </c:pt>
                <c:pt idx="3040">
                  <c:v>21.387-21.394</c:v>
                </c:pt>
                <c:pt idx="3041">
                  <c:v>21.394-21.401</c:v>
                </c:pt>
                <c:pt idx="3042">
                  <c:v>21.401-21.408</c:v>
                </c:pt>
                <c:pt idx="3043">
                  <c:v>21.408-21.415</c:v>
                </c:pt>
                <c:pt idx="3044">
                  <c:v>21.415-21.422</c:v>
                </c:pt>
                <c:pt idx="3045">
                  <c:v>21.422-21.429</c:v>
                </c:pt>
                <c:pt idx="3046">
                  <c:v>21.429-21.436</c:v>
                </c:pt>
                <c:pt idx="3047">
                  <c:v>21.436-21.443</c:v>
                </c:pt>
                <c:pt idx="3048">
                  <c:v>21.443-21.450</c:v>
                </c:pt>
                <c:pt idx="3049">
                  <c:v>21.450-21.457</c:v>
                </c:pt>
                <c:pt idx="3050">
                  <c:v>21.457-21.464</c:v>
                </c:pt>
                <c:pt idx="3051">
                  <c:v>21.464-21.471</c:v>
                </c:pt>
                <c:pt idx="3052">
                  <c:v>21.471-21.478</c:v>
                </c:pt>
                <c:pt idx="3053">
                  <c:v>21.478-21.485</c:v>
                </c:pt>
                <c:pt idx="3054">
                  <c:v>21.485-21.492</c:v>
                </c:pt>
                <c:pt idx="3055">
                  <c:v>21.492-21.499</c:v>
                </c:pt>
                <c:pt idx="3056">
                  <c:v>21.499-21.506</c:v>
                </c:pt>
                <c:pt idx="3057">
                  <c:v>21.506-21.513</c:v>
                </c:pt>
                <c:pt idx="3058">
                  <c:v>21.513-21.520</c:v>
                </c:pt>
                <c:pt idx="3059">
                  <c:v>21.520-21.528</c:v>
                </c:pt>
                <c:pt idx="3060">
                  <c:v>21.528-21.535</c:v>
                </c:pt>
                <c:pt idx="3061">
                  <c:v>21.535-21.542</c:v>
                </c:pt>
                <c:pt idx="3062">
                  <c:v>21.542-21.549</c:v>
                </c:pt>
                <c:pt idx="3063">
                  <c:v>21.549-21.556</c:v>
                </c:pt>
                <c:pt idx="3064">
                  <c:v>21.556-21.563</c:v>
                </c:pt>
                <c:pt idx="3065">
                  <c:v>21.563-21.570</c:v>
                </c:pt>
                <c:pt idx="3066">
                  <c:v>21.570-21.577</c:v>
                </c:pt>
                <c:pt idx="3067">
                  <c:v>21.577-21.584</c:v>
                </c:pt>
                <c:pt idx="3068">
                  <c:v>21.584-21.591</c:v>
                </c:pt>
                <c:pt idx="3069">
                  <c:v>21.591-21.598</c:v>
                </c:pt>
                <c:pt idx="3070">
                  <c:v>21.598-21.605</c:v>
                </c:pt>
                <c:pt idx="3071">
                  <c:v>21.605-21.612</c:v>
                </c:pt>
                <c:pt idx="3072">
                  <c:v>21.612-21.619</c:v>
                </c:pt>
                <c:pt idx="3073">
                  <c:v>21.619-21.626</c:v>
                </c:pt>
                <c:pt idx="3074">
                  <c:v>21.626-21.633</c:v>
                </c:pt>
                <c:pt idx="3075">
                  <c:v>21.633-21.640</c:v>
                </c:pt>
                <c:pt idx="3076">
                  <c:v>21.640-21.647</c:v>
                </c:pt>
                <c:pt idx="3077">
                  <c:v>21.647-21.654</c:v>
                </c:pt>
                <c:pt idx="3078">
                  <c:v>21.654-21.661</c:v>
                </c:pt>
                <c:pt idx="3079">
                  <c:v>21.661-21.668</c:v>
                </c:pt>
                <c:pt idx="3080">
                  <c:v>21.668-21.675</c:v>
                </c:pt>
                <c:pt idx="3081">
                  <c:v>21.675-21.682</c:v>
                </c:pt>
                <c:pt idx="3082">
                  <c:v>21.682-21.689</c:v>
                </c:pt>
                <c:pt idx="3083">
                  <c:v>21.689-21.696</c:v>
                </c:pt>
                <c:pt idx="3084">
                  <c:v>21.696-21.703</c:v>
                </c:pt>
                <c:pt idx="3085">
                  <c:v>21.703-21.710</c:v>
                </c:pt>
                <c:pt idx="3086">
                  <c:v>21.710-21.717</c:v>
                </c:pt>
                <c:pt idx="3087">
                  <c:v>21.717-21.724</c:v>
                </c:pt>
                <c:pt idx="3088">
                  <c:v>21.724-21.731</c:v>
                </c:pt>
                <c:pt idx="3089">
                  <c:v>21.731-21.738</c:v>
                </c:pt>
                <c:pt idx="3090">
                  <c:v>21.738-21.746</c:v>
                </c:pt>
                <c:pt idx="3091">
                  <c:v>21.746-21.753</c:v>
                </c:pt>
                <c:pt idx="3092">
                  <c:v>21.753-21.760</c:v>
                </c:pt>
                <c:pt idx="3093">
                  <c:v>21.760-21.767</c:v>
                </c:pt>
                <c:pt idx="3094">
                  <c:v>21.767-21.774</c:v>
                </c:pt>
                <c:pt idx="3095">
                  <c:v>21.774-21.781</c:v>
                </c:pt>
                <c:pt idx="3096">
                  <c:v>21.781-21.788</c:v>
                </c:pt>
                <c:pt idx="3097">
                  <c:v>21.788-21.795</c:v>
                </c:pt>
                <c:pt idx="3098">
                  <c:v>21.795-21.802</c:v>
                </c:pt>
                <c:pt idx="3099">
                  <c:v>21.802-21.809</c:v>
                </c:pt>
                <c:pt idx="3100">
                  <c:v>21.809-21.816</c:v>
                </c:pt>
                <c:pt idx="3101">
                  <c:v>21.816-21.823</c:v>
                </c:pt>
                <c:pt idx="3102">
                  <c:v>21.823-21.830</c:v>
                </c:pt>
                <c:pt idx="3103">
                  <c:v>21.830-21.837</c:v>
                </c:pt>
                <c:pt idx="3104">
                  <c:v>21.837-21.844</c:v>
                </c:pt>
                <c:pt idx="3105">
                  <c:v>21.844-21.851</c:v>
                </c:pt>
                <c:pt idx="3106">
                  <c:v>21.851-21.858</c:v>
                </c:pt>
                <c:pt idx="3107">
                  <c:v>21.858-21.865</c:v>
                </c:pt>
                <c:pt idx="3108">
                  <c:v>21.865-21.872</c:v>
                </c:pt>
                <c:pt idx="3109">
                  <c:v>21.872-21.879</c:v>
                </c:pt>
                <c:pt idx="3110">
                  <c:v>21.879-21.886</c:v>
                </c:pt>
                <c:pt idx="3111">
                  <c:v>21.886-21.893</c:v>
                </c:pt>
                <c:pt idx="3112">
                  <c:v>21.893-21.900</c:v>
                </c:pt>
                <c:pt idx="3113">
                  <c:v>21.900-21.907</c:v>
                </c:pt>
                <c:pt idx="3114">
                  <c:v>21.907-21.914</c:v>
                </c:pt>
                <c:pt idx="3115">
                  <c:v>21.914-21.921</c:v>
                </c:pt>
                <c:pt idx="3116">
                  <c:v>21.921-21.928</c:v>
                </c:pt>
                <c:pt idx="3117">
                  <c:v>21.928-21.935</c:v>
                </c:pt>
                <c:pt idx="3118">
                  <c:v>21.935-21.942</c:v>
                </c:pt>
                <c:pt idx="3119">
                  <c:v>21.942-21.949</c:v>
                </c:pt>
                <c:pt idx="3120">
                  <c:v>21.949-21.956</c:v>
                </c:pt>
                <c:pt idx="3121">
                  <c:v>21.956-21.964</c:v>
                </c:pt>
                <c:pt idx="3122">
                  <c:v>21.964-21.971</c:v>
                </c:pt>
                <c:pt idx="3123">
                  <c:v>21.971-21.978</c:v>
                </c:pt>
                <c:pt idx="3124">
                  <c:v>21.978-21.985</c:v>
                </c:pt>
                <c:pt idx="3125">
                  <c:v>21.985-21.992</c:v>
                </c:pt>
                <c:pt idx="3126">
                  <c:v>21.992-21.999</c:v>
                </c:pt>
                <c:pt idx="3127">
                  <c:v>21.999-22.006</c:v>
                </c:pt>
                <c:pt idx="3128">
                  <c:v>22.006-22.013</c:v>
                </c:pt>
                <c:pt idx="3129">
                  <c:v>22.013-22.020</c:v>
                </c:pt>
                <c:pt idx="3130">
                  <c:v>22.020-22.027</c:v>
                </c:pt>
                <c:pt idx="3131">
                  <c:v>22.027-22.034</c:v>
                </c:pt>
                <c:pt idx="3132">
                  <c:v>22.034-22.041</c:v>
                </c:pt>
                <c:pt idx="3133">
                  <c:v>22.041-22.048</c:v>
                </c:pt>
                <c:pt idx="3134">
                  <c:v>22.048-22.055</c:v>
                </c:pt>
                <c:pt idx="3135">
                  <c:v>22.055-22.062</c:v>
                </c:pt>
                <c:pt idx="3136">
                  <c:v>22.062-22.069</c:v>
                </c:pt>
                <c:pt idx="3137">
                  <c:v>22.069-22.076</c:v>
                </c:pt>
                <c:pt idx="3138">
                  <c:v>22.076-22.083</c:v>
                </c:pt>
                <c:pt idx="3139">
                  <c:v>22.083-22.090</c:v>
                </c:pt>
                <c:pt idx="3140">
                  <c:v>22.090-22.097</c:v>
                </c:pt>
                <c:pt idx="3141">
                  <c:v>22.097-22.104</c:v>
                </c:pt>
                <c:pt idx="3142">
                  <c:v>22.104-22.111</c:v>
                </c:pt>
                <c:pt idx="3143">
                  <c:v>22.111-22.118</c:v>
                </c:pt>
                <c:pt idx="3144">
                  <c:v>22.118-22.125</c:v>
                </c:pt>
                <c:pt idx="3145">
                  <c:v>22.125-22.132</c:v>
                </c:pt>
                <c:pt idx="3146">
                  <c:v>22.132-22.139</c:v>
                </c:pt>
                <c:pt idx="3147">
                  <c:v>22.139-22.146</c:v>
                </c:pt>
                <c:pt idx="3148">
                  <c:v>22.146-22.153</c:v>
                </c:pt>
                <c:pt idx="3149">
                  <c:v>22.153-22.160</c:v>
                </c:pt>
                <c:pt idx="3150">
                  <c:v>22.160-22.167</c:v>
                </c:pt>
                <c:pt idx="3151">
                  <c:v>22.167-22.174</c:v>
                </c:pt>
                <c:pt idx="3152">
                  <c:v>22.174-22.182</c:v>
                </c:pt>
                <c:pt idx="3153">
                  <c:v>22.182-22.189</c:v>
                </c:pt>
                <c:pt idx="3154">
                  <c:v>22.189-22.196</c:v>
                </c:pt>
                <c:pt idx="3155">
                  <c:v>22.196-22.203</c:v>
                </c:pt>
                <c:pt idx="3156">
                  <c:v>22.203-22.210</c:v>
                </c:pt>
                <c:pt idx="3157">
                  <c:v>22.210-22.217</c:v>
                </c:pt>
                <c:pt idx="3158">
                  <c:v>22.217-22.224</c:v>
                </c:pt>
                <c:pt idx="3159">
                  <c:v>22.224-22.231</c:v>
                </c:pt>
                <c:pt idx="3160">
                  <c:v>22.231-22.238</c:v>
                </c:pt>
                <c:pt idx="3161">
                  <c:v>22.238-22.245</c:v>
                </c:pt>
                <c:pt idx="3162">
                  <c:v>22.245-22.252</c:v>
                </c:pt>
                <c:pt idx="3163">
                  <c:v>22.252-22.259</c:v>
                </c:pt>
                <c:pt idx="3164">
                  <c:v>22.259-22.266</c:v>
                </c:pt>
                <c:pt idx="3165">
                  <c:v>22.266-22.273</c:v>
                </c:pt>
                <c:pt idx="3166">
                  <c:v>22.273-22.280</c:v>
                </c:pt>
                <c:pt idx="3167">
                  <c:v>22.280-22.287</c:v>
                </c:pt>
                <c:pt idx="3168">
                  <c:v>22.287-22.294</c:v>
                </c:pt>
                <c:pt idx="3169">
                  <c:v>22.294-22.301</c:v>
                </c:pt>
                <c:pt idx="3170">
                  <c:v>22.301-22.308</c:v>
                </c:pt>
                <c:pt idx="3171">
                  <c:v>22.308-22.315</c:v>
                </c:pt>
                <c:pt idx="3172">
                  <c:v>22.315-22.322</c:v>
                </c:pt>
                <c:pt idx="3173">
                  <c:v>22.322-22.329</c:v>
                </c:pt>
                <c:pt idx="3174">
                  <c:v>22.329-22.336</c:v>
                </c:pt>
                <c:pt idx="3175">
                  <c:v>22.336-22.343</c:v>
                </c:pt>
                <c:pt idx="3176">
                  <c:v>22.343-22.350</c:v>
                </c:pt>
                <c:pt idx="3177">
                  <c:v>22.350-22.357</c:v>
                </c:pt>
                <c:pt idx="3178">
                  <c:v>22.357-22.364</c:v>
                </c:pt>
                <c:pt idx="3179">
                  <c:v>22.364-22.371</c:v>
                </c:pt>
                <c:pt idx="3180">
                  <c:v>22.371-22.378</c:v>
                </c:pt>
                <c:pt idx="3181">
                  <c:v>22.378-22.385</c:v>
                </c:pt>
                <c:pt idx="3182">
                  <c:v>22.385-22.392</c:v>
                </c:pt>
                <c:pt idx="3183">
                  <c:v>22.392-22.400</c:v>
                </c:pt>
                <c:pt idx="3184">
                  <c:v>22.400-22.407</c:v>
                </c:pt>
                <c:pt idx="3185">
                  <c:v>22.407-22.414</c:v>
                </c:pt>
                <c:pt idx="3186">
                  <c:v>22.414-22.421</c:v>
                </c:pt>
                <c:pt idx="3187">
                  <c:v>22.421-22.428</c:v>
                </c:pt>
                <c:pt idx="3188">
                  <c:v>22.428-22.435</c:v>
                </c:pt>
                <c:pt idx="3189">
                  <c:v>22.435-22.442</c:v>
                </c:pt>
                <c:pt idx="3190">
                  <c:v>22.442-22.449</c:v>
                </c:pt>
                <c:pt idx="3191">
                  <c:v>22.449-22.456</c:v>
                </c:pt>
                <c:pt idx="3192">
                  <c:v>22.456-22.463</c:v>
                </c:pt>
                <c:pt idx="3193">
                  <c:v>22.463-22.470</c:v>
                </c:pt>
                <c:pt idx="3194">
                  <c:v>22.470-22.477</c:v>
                </c:pt>
                <c:pt idx="3195">
                  <c:v>22.477-22.484</c:v>
                </c:pt>
                <c:pt idx="3196">
                  <c:v>22.484-22.491</c:v>
                </c:pt>
                <c:pt idx="3197">
                  <c:v>22.491-22.498</c:v>
                </c:pt>
                <c:pt idx="3198">
                  <c:v>22.498-22.505</c:v>
                </c:pt>
                <c:pt idx="3199">
                  <c:v>22.505-22.512</c:v>
                </c:pt>
                <c:pt idx="3200">
                  <c:v>22.512-22.519</c:v>
                </c:pt>
                <c:pt idx="3201">
                  <c:v>22.519-22.526</c:v>
                </c:pt>
                <c:pt idx="3202">
                  <c:v>22.526-22.533</c:v>
                </c:pt>
                <c:pt idx="3203">
                  <c:v>22.533-22.540</c:v>
                </c:pt>
                <c:pt idx="3204">
                  <c:v>22.540-22.547</c:v>
                </c:pt>
                <c:pt idx="3205">
                  <c:v>22.547-22.554</c:v>
                </c:pt>
                <c:pt idx="3206">
                  <c:v>22.554-22.561</c:v>
                </c:pt>
                <c:pt idx="3207">
                  <c:v>22.561-22.568</c:v>
                </c:pt>
                <c:pt idx="3208">
                  <c:v>22.568-22.575</c:v>
                </c:pt>
                <c:pt idx="3209">
                  <c:v>22.575-22.582</c:v>
                </c:pt>
                <c:pt idx="3210">
                  <c:v>22.582-22.589</c:v>
                </c:pt>
                <c:pt idx="3211">
                  <c:v>22.589-22.596</c:v>
                </c:pt>
                <c:pt idx="3212">
                  <c:v>22.596-22.603</c:v>
                </c:pt>
                <c:pt idx="3213">
                  <c:v>22.603-22.610</c:v>
                </c:pt>
                <c:pt idx="3214">
                  <c:v>22.610-22.618</c:v>
                </c:pt>
                <c:pt idx="3215">
                  <c:v>22.618-22.625</c:v>
                </c:pt>
                <c:pt idx="3216">
                  <c:v>22.625-22.632</c:v>
                </c:pt>
                <c:pt idx="3217">
                  <c:v>22.632-22.639</c:v>
                </c:pt>
                <c:pt idx="3218">
                  <c:v>22.639-22.646</c:v>
                </c:pt>
                <c:pt idx="3219">
                  <c:v>22.646-22.653</c:v>
                </c:pt>
                <c:pt idx="3220">
                  <c:v>22.653-22.660</c:v>
                </c:pt>
                <c:pt idx="3221">
                  <c:v>22.660-22.667</c:v>
                </c:pt>
                <c:pt idx="3222">
                  <c:v>22.667-22.674</c:v>
                </c:pt>
                <c:pt idx="3223">
                  <c:v>22.674-22.681</c:v>
                </c:pt>
                <c:pt idx="3224">
                  <c:v>22.681-22.688</c:v>
                </c:pt>
                <c:pt idx="3225">
                  <c:v>22.688-22.695</c:v>
                </c:pt>
                <c:pt idx="3226">
                  <c:v>22.695-22.702</c:v>
                </c:pt>
                <c:pt idx="3227">
                  <c:v>22.702-22.709</c:v>
                </c:pt>
                <c:pt idx="3228">
                  <c:v>22.709-22.716</c:v>
                </c:pt>
                <c:pt idx="3229">
                  <c:v>22.716-22.723</c:v>
                </c:pt>
                <c:pt idx="3230">
                  <c:v>22.723-22.730</c:v>
                </c:pt>
                <c:pt idx="3231">
                  <c:v>22.730-22.737</c:v>
                </c:pt>
                <c:pt idx="3232">
                  <c:v>22.737-22.744</c:v>
                </c:pt>
                <c:pt idx="3233">
                  <c:v>22.744-22.751</c:v>
                </c:pt>
                <c:pt idx="3234">
                  <c:v>22.751-22.758</c:v>
                </c:pt>
                <c:pt idx="3235">
                  <c:v>22.758-22.765</c:v>
                </c:pt>
                <c:pt idx="3236">
                  <c:v>22.765-22.772</c:v>
                </c:pt>
                <c:pt idx="3237">
                  <c:v>22.772-22.779</c:v>
                </c:pt>
                <c:pt idx="3238">
                  <c:v>22.779-22.786</c:v>
                </c:pt>
                <c:pt idx="3239">
                  <c:v>22.786-22.793</c:v>
                </c:pt>
                <c:pt idx="3240">
                  <c:v>22.793-22.800</c:v>
                </c:pt>
                <c:pt idx="3241">
                  <c:v>22.800-22.807</c:v>
                </c:pt>
                <c:pt idx="3242">
                  <c:v>22.807-22.814</c:v>
                </c:pt>
                <c:pt idx="3243">
                  <c:v>22.814-22.821</c:v>
                </c:pt>
                <c:pt idx="3244">
                  <c:v>22.821-22.828</c:v>
                </c:pt>
                <c:pt idx="3245">
                  <c:v>22.828-22.836</c:v>
                </c:pt>
                <c:pt idx="3246">
                  <c:v>22.836-22.843</c:v>
                </c:pt>
                <c:pt idx="3247">
                  <c:v>22.843-22.850</c:v>
                </c:pt>
                <c:pt idx="3248">
                  <c:v>22.850-22.857</c:v>
                </c:pt>
                <c:pt idx="3249">
                  <c:v>22.857-22.864</c:v>
                </c:pt>
                <c:pt idx="3250">
                  <c:v>22.864-22.871</c:v>
                </c:pt>
                <c:pt idx="3251">
                  <c:v>22.871-22.878</c:v>
                </c:pt>
                <c:pt idx="3252">
                  <c:v>22.878-22.885</c:v>
                </c:pt>
                <c:pt idx="3253">
                  <c:v>22.885-22.892</c:v>
                </c:pt>
                <c:pt idx="3254">
                  <c:v>22.892-22.899</c:v>
                </c:pt>
                <c:pt idx="3255">
                  <c:v>22.899-22.906</c:v>
                </c:pt>
                <c:pt idx="3256">
                  <c:v>22.906-22.913</c:v>
                </c:pt>
                <c:pt idx="3257">
                  <c:v>22.913-22.920</c:v>
                </c:pt>
                <c:pt idx="3258">
                  <c:v>22.920-22.927</c:v>
                </c:pt>
                <c:pt idx="3259">
                  <c:v>22.927-22.934</c:v>
                </c:pt>
                <c:pt idx="3260">
                  <c:v>22.934-22.941</c:v>
                </c:pt>
                <c:pt idx="3261">
                  <c:v>22.941-22.948</c:v>
                </c:pt>
                <c:pt idx="3262">
                  <c:v>22.948-22.955</c:v>
                </c:pt>
                <c:pt idx="3263">
                  <c:v>22.955-22.962</c:v>
                </c:pt>
                <c:pt idx="3264">
                  <c:v>22.962-22.969</c:v>
                </c:pt>
                <c:pt idx="3265">
                  <c:v>22.969-22.976</c:v>
                </c:pt>
                <c:pt idx="3266">
                  <c:v>22.976-22.983</c:v>
                </c:pt>
                <c:pt idx="3267">
                  <c:v>22.983-22.990</c:v>
                </c:pt>
                <c:pt idx="3268">
                  <c:v>22.990-22.997</c:v>
                </c:pt>
                <c:pt idx="3269">
                  <c:v>22.997-23.004</c:v>
                </c:pt>
                <c:pt idx="3270">
                  <c:v>23.004-23.011</c:v>
                </c:pt>
                <c:pt idx="3271">
                  <c:v>23.011-23.018</c:v>
                </c:pt>
                <c:pt idx="3272">
                  <c:v>23.018-23.025</c:v>
                </c:pt>
                <c:pt idx="3273">
                  <c:v>23.025-23.032</c:v>
                </c:pt>
                <c:pt idx="3274">
                  <c:v>23.032-23.039</c:v>
                </c:pt>
                <c:pt idx="3275">
                  <c:v>23.039-23.046</c:v>
                </c:pt>
                <c:pt idx="3276">
                  <c:v>23.046-23.054</c:v>
                </c:pt>
                <c:pt idx="3277">
                  <c:v>23.054-23.061</c:v>
                </c:pt>
                <c:pt idx="3278">
                  <c:v>23.061-23.068</c:v>
                </c:pt>
                <c:pt idx="3279">
                  <c:v>23.068-23.075</c:v>
                </c:pt>
                <c:pt idx="3280">
                  <c:v>23.075-23.082</c:v>
                </c:pt>
                <c:pt idx="3281">
                  <c:v>23.082-23.089</c:v>
                </c:pt>
                <c:pt idx="3282">
                  <c:v>23.089-23.096</c:v>
                </c:pt>
                <c:pt idx="3283">
                  <c:v>23.096-23.103</c:v>
                </c:pt>
                <c:pt idx="3284">
                  <c:v>23.103-23.110</c:v>
                </c:pt>
                <c:pt idx="3285">
                  <c:v>23.110-23.117</c:v>
                </c:pt>
                <c:pt idx="3286">
                  <c:v>23.117-23.124</c:v>
                </c:pt>
                <c:pt idx="3287">
                  <c:v>23.124-23.131</c:v>
                </c:pt>
                <c:pt idx="3288">
                  <c:v>23.131-23.138</c:v>
                </c:pt>
                <c:pt idx="3289">
                  <c:v>23.138-23.145</c:v>
                </c:pt>
                <c:pt idx="3290">
                  <c:v>23.145-23.152</c:v>
                </c:pt>
                <c:pt idx="3291">
                  <c:v>23.152-23.159</c:v>
                </c:pt>
                <c:pt idx="3292">
                  <c:v>23.159-23.166</c:v>
                </c:pt>
                <c:pt idx="3293">
                  <c:v>23.166-23.173</c:v>
                </c:pt>
                <c:pt idx="3294">
                  <c:v>23.173-23.180</c:v>
                </c:pt>
                <c:pt idx="3295">
                  <c:v>23.180-23.187</c:v>
                </c:pt>
                <c:pt idx="3296">
                  <c:v>23.187-23.194</c:v>
                </c:pt>
                <c:pt idx="3297">
                  <c:v>23.194-23.201</c:v>
                </c:pt>
                <c:pt idx="3298">
                  <c:v>23.201-23.208</c:v>
                </c:pt>
                <c:pt idx="3299">
                  <c:v>23.208-23.215</c:v>
                </c:pt>
                <c:pt idx="3300">
                  <c:v>23.215-23.222</c:v>
                </c:pt>
                <c:pt idx="3301">
                  <c:v>23.222-23.229</c:v>
                </c:pt>
                <c:pt idx="3302">
                  <c:v>23.229-23.236</c:v>
                </c:pt>
                <c:pt idx="3303">
                  <c:v>23.236-23.243</c:v>
                </c:pt>
                <c:pt idx="3304">
                  <c:v>23.243-23.250</c:v>
                </c:pt>
                <c:pt idx="3305">
                  <c:v>23.250-23.257</c:v>
                </c:pt>
                <c:pt idx="3306">
                  <c:v>23.257-23.264</c:v>
                </c:pt>
                <c:pt idx="3307">
                  <c:v>23.264-23.272</c:v>
                </c:pt>
                <c:pt idx="3308">
                  <c:v>23.272-23.279</c:v>
                </c:pt>
                <c:pt idx="3309">
                  <c:v>23.279-23.286</c:v>
                </c:pt>
                <c:pt idx="3310">
                  <c:v>23.286-23.293</c:v>
                </c:pt>
                <c:pt idx="3311">
                  <c:v>23.293-23.300</c:v>
                </c:pt>
                <c:pt idx="3312">
                  <c:v>23.300-23.307</c:v>
                </c:pt>
                <c:pt idx="3313">
                  <c:v>23.307-23.314</c:v>
                </c:pt>
                <c:pt idx="3314">
                  <c:v>23.314-23.321</c:v>
                </c:pt>
                <c:pt idx="3315">
                  <c:v>23.321-23.328</c:v>
                </c:pt>
                <c:pt idx="3316">
                  <c:v>23.328-23.335</c:v>
                </c:pt>
                <c:pt idx="3317">
                  <c:v>23.335-23.342</c:v>
                </c:pt>
                <c:pt idx="3318">
                  <c:v>23.342-23.349</c:v>
                </c:pt>
                <c:pt idx="3319">
                  <c:v>23.349-23.356</c:v>
                </c:pt>
                <c:pt idx="3320">
                  <c:v>23.356-23.363</c:v>
                </c:pt>
                <c:pt idx="3321">
                  <c:v>23.363-23.370</c:v>
                </c:pt>
                <c:pt idx="3322">
                  <c:v>23.370-23.377</c:v>
                </c:pt>
                <c:pt idx="3323">
                  <c:v>23.377-23.384</c:v>
                </c:pt>
                <c:pt idx="3324">
                  <c:v>23.384-23.391</c:v>
                </c:pt>
                <c:pt idx="3325">
                  <c:v>23.391-23.398</c:v>
                </c:pt>
                <c:pt idx="3326">
                  <c:v>23.398-23.405</c:v>
                </c:pt>
                <c:pt idx="3327">
                  <c:v>23.405-23.412</c:v>
                </c:pt>
                <c:pt idx="3328">
                  <c:v>23.412-23.419</c:v>
                </c:pt>
                <c:pt idx="3329">
                  <c:v>23.419-23.426</c:v>
                </c:pt>
                <c:pt idx="3330">
                  <c:v>23.426-23.433</c:v>
                </c:pt>
                <c:pt idx="3331">
                  <c:v>23.433-23.440</c:v>
                </c:pt>
                <c:pt idx="3332">
                  <c:v>23.440-23.447</c:v>
                </c:pt>
                <c:pt idx="3333">
                  <c:v>23.447-23.454</c:v>
                </c:pt>
                <c:pt idx="3334">
                  <c:v>23.454-23.461</c:v>
                </c:pt>
                <c:pt idx="3335">
                  <c:v>23.461-23.468</c:v>
                </c:pt>
                <c:pt idx="3336">
                  <c:v>23.468-23.475</c:v>
                </c:pt>
                <c:pt idx="3337">
                  <c:v>23.475-23.482</c:v>
                </c:pt>
                <c:pt idx="3338">
                  <c:v>23.482-23.490</c:v>
                </c:pt>
                <c:pt idx="3339">
                  <c:v>23.490-23.497</c:v>
                </c:pt>
                <c:pt idx="3340">
                  <c:v>23.497-23.504</c:v>
                </c:pt>
                <c:pt idx="3341">
                  <c:v>23.504-23.511</c:v>
                </c:pt>
                <c:pt idx="3342">
                  <c:v>23.511-23.518</c:v>
                </c:pt>
                <c:pt idx="3343">
                  <c:v>23.518-23.525</c:v>
                </c:pt>
                <c:pt idx="3344">
                  <c:v>23.525-23.532</c:v>
                </c:pt>
                <c:pt idx="3345">
                  <c:v>23.532-23.539</c:v>
                </c:pt>
                <c:pt idx="3346">
                  <c:v>23.539-23.546</c:v>
                </c:pt>
                <c:pt idx="3347">
                  <c:v>23.546-23.553</c:v>
                </c:pt>
                <c:pt idx="3348">
                  <c:v>23.553-23.560</c:v>
                </c:pt>
                <c:pt idx="3349">
                  <c:v>23.560-23.567</c:v>
                </c:pt>
                <c:pt idx="3350">
                  <c:v>23.567-23.574</c:v>
                </c:pt>
                <c:pt idx="3351">
                  <c:v>23.574-23.581</c:v>
                </c:pt>
                <c:pt idx="3352">
                  <c:v>23.581-23.588</c:v>
                </c:pt>
                <c:pt idx="3353">
                  <c:v>23.588-23.595</c:v>
                </c:pt>
                <c:pt idx="3354">
                  <c:v>23.595-23.602</c:v>
                </c:pt>
                <c:pt idx="3355">
                  <c:v>23.602-23.609</c:v>
                </c:pt>
                <c:pt idx="3356">
                  <c:v>23.609-23.616</c:v>
                </c:pt>
                <c:pt idx="3357">
                  <c:v>23.616-23.623</c:v>
                </c:pt>
                <c:pt idx="3358">
                  <c:v>23.623-23.630</c:v>
                </c:pt>
                <c:pt idx="3359">
                  <c:v>23.630-23.637</c:v>
                </c:pt>
                <c:pt idx="3360">
                  <c:v>23.637-23.644</c:v>
                </c:pt>
                <c:pt idx="3361">
                  <c:v>23.644-23.651</c:v>
                </c:pt>
                <c:pt idx="3362">
                  <c:v>23.651-23.658</c:v>
                </c:pt>
                <c:pt idx="3363">
                  <c:v>23.658-23.665</c:v>
                </c:pt>
                <c:pt idx="3364">
                  <c:v>23.665-23.672</c:v>
                </c:pt>
                <c:pt idx="3365">
                  <c:v>23.672-23.679</c:v>
                </c:pt>
                <c:pt idx="3366">
                  <c:v>23.679-23.686</c:v>
                </c:pt>
                <c:pt idx="3367">
                  <c:v>23.686-23.693</c:v>
                </c:pt>
                <c:pt idx="3368">
                  <c:v>23.693-23.700</c:v>
                </c:pt>
                <c:pt idx="3369">
                  <c:v>23.700-23.708</c:v>
                </c:pt>
                <c:pt idx="3370">
                  <c:v>23.708-23.715</c:v>
                </c:pt>
                <c:pt idx="3371">
                  <c:v>23.715-23.722</c:v>
                </c:pt>
                <c:pt idx="3372">
                  <c:v>23.722-23.729</c:v>
                </c:pt>
                <c:pt idx="3373">
                  <c:v>23.729-23.736</c:v>
                </c:pt>
                <c:pt idx="3374">
                  <c:v>23.736-23.743</c:v>
                </c:pt>
                <c:pt idx="3375">
                  <c:v>23.743-23.750</c:v>
                </c:pt>
                <c:pt idx="3376">
                  <c:v>23.750-23.757</c:v>
                </c:pt>
                <c:pt idx="3377">
                  <c:v>23.757-23.764</c:v>
                </c:pt>
                <c:pt idx="3378">
                  <c:v>23.764-23.771</c:v>
                </c:pt>
                <c:pt idx="3379">
                  <c:v>23.771-23.778</c:v>
                </c:pt>
                <c:pt idx="3380">
                  <c:v>23.778-23.785</c:v>
                </c:pt>
                <c:pt idx="3381">
                  <c:v>23.785-23.792</c:v>
                </c:pt>
                <c:pt idx="3382">
                  <c:v>23.792-23.799</c:v>
                </c:pt>
                <c:pt idx="3383">
                  <c:v>23.799-23.806</c:v>
                </c:pt>
                <c:pt idx="3384">
                  <c:v>23.806-23.813</c:v>
                </c:pt>
                <c:pt idx="3385">
                  <c:v>23.813-23.820</c:v>
                </c:pt>
                <c:pt idx="3386">
                  <c:v>23.820-23.827</c:v>
                </c:pt>
                <c:pt idx="3387">
                  <c:v>23.827-23.834</c:v>
                </c:pt>
                <c:pt idx="3388">
                  <c:v>23.834-23.841</c:v>
                </c:pt>
                <c:pt idx="3389">
                  <c:v>23.841-23.848</c:v>
                </c:pt>
                <c:pt idx="3390">
                  <c:v>23.848-23.855</c:v>
                </c:pt>
                <c:pt idx="3391">
                  <c:v>23.855-23.862</c:v>
                </c:pt>
                <c:pt idx="3392">
                  <c:v>23.862-23.869</c:v>
                </c:pt>
                <c:pt idx="3393">
                  <c:v>23.869-23.876</c:v>
                </c:pt>
                <c:pt idx="3394">
                  <c:v>23.876-23.883</c:v>
                </c:pt>
                <c:pt idx="3395">
                  <c:v>23.883-23.890</c:v>
                </c:pt>
                <c:pt idx="3396">
                  <c:v>23.890-23.897</c:v>
                </c:pt>
                <c:pt idx="3397">
                  <c:v>23.897-23.904</c:v>
                </c:pt>
                <c:pt idx="3398">
                  <c:v>23.904-23.911</c:v>
                </c:pt>
                <c:pt idx="3399">
                  <c:v>23.911-23.918</c:v>
                </c:pt>
                <c:pt idx="3400">
                  <c:v>23.918-23.926</c:v>
                </c:pt>
                <c:pt idx="3401">
                  <c:v>23.926-23.933</c:v>
                </c:pt>
                <c:pt idx="3402">
                  <c:v>23.933-23.940</c:v>
                </c:pt>
                <c:pt idx="3403">
                  <c:v>23.940-23.947</c:v>
                </c:pt>
                <c:pt idx="3404">
                  <c:v>23.947-23.954</c:v>
                </c:pt>
                <c:pt idx="3405">
                  <c:v>23.954-23.961</c:v>
                </c:pt>
                <c:pt idx="3406">
                  <c:v>23.961-23.968</c:v>
                </c:pt>
                <c:pt idx="3407">
                  <c:v>23.968-23.975</c:v>
                </c:pt>
                <c:pt idx="3408">
                  <c:v>23.975-23.982</c:v>
                </c:pt>
                <c:pt idx="3409">
                  <c:v>23.982-23.989</c:v>
                </c:pt>
                <c:pt idx="3410">
                  <c:v>23.989-23.996</c:v>
                </c:pt>
                <c:pt idx="3411">
                  <c:v>23.996-24.003</c:v>
                </c:pt>
                <c:pt idx="3412">
                  <c:v>24.003-24.010</c:v>
                </c:pt>
                <c:pt idx="3413">
                  <c:v>24.010-24.017</c:v>
                </c:pt>
                <c:pt idx="3414">
                  <c:v>24.017-24.024</c:v>
                </c:pt>
                <c:pt idx="3415">
                  <c:v>24.024-24.031</c:v>
                </c:pt>
                <c:pt idx="3416">
                  <c:v>24.031-24.038</c:v>
                </c:pt>
                <c:pt idx="3417">
                  <c:v>24.038-24.045</c:v>
                </c:pt>
                <c:pt idx="3418">
                  <c:v>24.045-24.052</c:v>
                </c:pt>
                <c:pt idx="3419">
                  <c:v>24.052-24.059</c:v>
                </c:pt>
                <c:pt idx="3420">
                  <c:v>24.059-24.066</c:v>
                </c:pt>
                <c:pt idx="3421">
                  <c:v>24.066-24.073</c:v>
                </c:pt>
                <c:pt idx="3422">
                  <c:v>24.073-24.080</c:v>
                </c:pt>
                <c:pt idx="3423">
                  <c:v>24.080-24.087</c:v>
                </c:pt>
                <c:pt idx="3424">
                  <c:v>24.087-24.094</c:v>
                </c:pt>
                <c:pt idx="3425">
                  <c:v>24.094-24.101</c:v>
                </c:pt>
                <c:pt idx="3426">
                  <c:v>24.101-24.108</c:v>
                </c:pt>
                <c:pt idx="3427">
                  <c:v>24.108-24.115</c:v>
                </c:pt>
                <c:pt idx="3428">
                  <c:v>24.115-24.122</c:v>
                </c:pt>
                <c:pt idx="3429">
                  <c:v>24.122-24.129</c:v>
                </c:pt>
                <c:pt idx="3430">
                  <c:v>24.129-24.136</c:v>
                </c:pt>
                <c:pt idx="3431">
                  <c:v>24.136-24.144</c:v>
                </c:pt>
                <c:pt idx="3432">
                  <c:v>24.144-24.151</c:v>
                </c:pt>
                <c:pt idx="3433">
                  <c:v>24.151-24.158</c:v>
                </c:pt>
                <c:pt idx="3434">
                  <c:v>24.158-24.165</c:v>
                </c:pt>
                <c:pt idx="3435">
                  <c:v>24.165-24.172</c:v>
                </c:pt>
                <c:pt idx="3436">
                  <c:v>24.172-24.179</c:v>
                </c:pt>
                <c:pt idx="3437">
                  <c:v>24.179-24.186</c:v>
                </c:pt>
                <c:pt idx="3438">
                  <c:v>24.186-24.193</c:v>
                </c:pt>
                <c:pt idx="3439">
                  <c:v>24.193-24.200</c:v>
                </c:pt>
                <c:pt idx="3440">
                  <c:v>24.200-24.207</c:v>
                </c:pt>
                <c:pt idx="3441">
                  <c:v>24.207-24.214</c:v>
                </c:pt>
                <c:pt idx="3442">
                  <c:v>24.214-24.221</c:v>
                </c:pt>
                <c:pt idx="3443">
                  <c:v>24.221-24.228</c:v>
                </c:pt>
                <c:pt idx="3444">
                  <c:v>24.228-24.235</c:v>
                </c:pt>
                <c:pt idx="3445">
                  <c:v>24.235-24.242</c:v>
                </c:pt>
                <c:pt idx="3446">
                  <c:v>24.242-24.249</c:v>
                </c:pt>
                <c:pt idx="3447">
                  <c:v>24.249-24.256</c:v>
                </c:pt>
                <c:pt idx="3448">
                  <c:v>24.256-24.263</c:v>
                </c:pt>
                <c:pt idx="3449">
                  <c:v>24.263-24.270</c:v>
                </c:pt>
                <c:pt idx="3450">
                  <c:v>24.270-24.277</c:v>
                </c:pt>
                <c:pt idx="3451">
                  <c:v>24.277-24.284</c:v>
                </c:pt>
                <c:pt idx="3452">
                  <c:v>24.284-24.291</c:v>
                </c:pt>
                <c:pt idx="3453">
                  <c:v>24.291-24.298</c:v>
                </c:pt>
                <c:pt idx="3454">
                  <c:v>24.298-24.305</c:v>
                </c:pt>
                <c:pt idx="3455">
                  <c:v>24.305-24.312</c:v>
                </c:pt>
                <c:pt idx="3456">
                  <c:v>24.312-24.319</c:v>
                </c:pt>
                <c:pt idx="3457">
                  <c:v>24.319-24.326</c:v>
                </c:pt>
                <c:pt idx="3458">
                  <c:v>24.326-24.333</c:v>
                </c:pt>
                <c:pt idx="3459">
                  <c:v>24.333-24.340</c:v>
                </c:pt>
                <c:pt idx="3460">
                  <c:v>24.340-24.347</c:v>
                </c:pt>
                <c:pt idx="3461">
                  <c:v>24.347-24.354</c:v>
                </c:pt>
                <c:pt idx="3462">
                  <c:v>24.354-24.362</c:v>
                </c:pt>
                <c:pt idx="3463">
                  <c:v>24.362-24.369</c:v>
                </c:pt>
                <c:pt idx="3464">
                  <c:v>24.369-24.376</c:v>
                </c:pt>
                <c:pt idx="3465">
                  <c:v>24.376-24.383</c:v>
                </c:pt>
                <c:pt idx="3466">
                  <c:v>24.383-24.390</c:v>
                </c:pt>
                <c:pt idx="3467">
                  <c:v>24.390-24.397</c:v>
                </c:pt>
                <c:pt idx="3468">
                  <c:v>24.397-24.404</c:v>
                </c:pt>
                <c:pt idx="3469">
                  <c:v>24.404-24.411</c:v>
                </c:pt>
                <c:pt idx="3470">
                  <c:v>24.411-24.418</c:v>
                </c:pt>
                <c:pt idx="3471">
                  <c:v>24.418-24.425</c:v>
                </c:pt>
                <c:pt idx="3472">
                  <c:v>24.425-24.432</c:v>
                </c:pt>
                <c:pt idx="3473">
                  <c:v>24.432-24.439</c:v>
                </c:pt>
                <c:pt idx="3474">
                  <c:v>24.439-24.446</c:v>
                </c:pt>
                <c:pt idx="3475">
                  <c:v>24.446-24.453</c:v>
                </c:pt>
                <c:pt idx="3476">
                  <c:v>24.453-24.460</c:v>
                </c:pt>
                <c:pt idx="3477">
                  <c:v>24.460-24.467</c:v>
                </c:pt>
                <c:pt idx="3478">
                  <c:v>24.467-24.474</c:v>
                </c:pt>
                <c:pt idx="3479">
                  <c:v>24.474-24.481</c:v>
                </c:pt>
                <c:pt idx="3480">
                  <c:v>24.481-24.488</c:v>
                </c:pt>
                <c:pt idx="3481">
                  <c:v>24.488-24.495</c:v>
                </c:pt>
                <c:pt idx="3482">
                  <c:v>24.495-24.502</c:v>
                </c:pt>
                <c:pt idx="3483">
                  <c:v>24.502-24.509</c:v>
                </c:pt>
                <c:pt idx="3484">
                  <c:v>24.509-24.516</c:v>
                </c:pt>
                <c:pt idx="3485">
                  <c:v>24.516-24.523</c:v>
                </c:pt>
                <c:pt idx="3486">
                  <c:v>24.523-24.530</c:v>
                </c:pt>
                <c:pt idx="3487">
                  <c:v>24.530-24.537</c:v>
                </c:pt>
                <c:pt idx="3488">
                  <c:v>24.537-24.544</c:v>
                </c:pt>
                <c:pt idx="3489">
                  <c:v>24.544-24.551</c:v>
                </c:pt>
                <c:pt idx="3490">
                  <c:v>24.551-24.558</c:v>
                </c:pt>
                <c:pt idx="3491">
                  <c:v>24.558-24.565</c:v>
                </c:pt>
                <c:pt idx="3492">
                  <c:v>24.565-24.572</c:v>
                </c:pt>
                <c:pt idx="3493">
                  <c:v>24.572-24.580</c:v>
                </c:pt>
                <c:pt idx="3494">
                  <c:v>24.580-24.587</c:v>
                </c:pt>
                <c:pt idx="3495">
                  <c:v>24.587-24.594</c:v>
                </c:pt>
                <c:pt idx="3496">
                  <c:v>24.594-24.601</c:v>
                </c:pt>
                <c:pt idx="3497">
                  <c:v>24.601-24.608</c:v>
                </c:pt>
                <c:pt idx="3498">
                  <c:v>24.608-24.615</c:v>
                </c:pt>
                <c:pt idx="3499">
                  <c:v>24.615-24.622</c:v>
                </c:pt>
                <c:pt idx="3500">
                  <c:v>24.622-24.629</c:v>
                </c:pt>
                <c:pt idx="3501">
                  <c:v>24.629-24.636</c:v>
                </c:pt>
                <c:pt idx="3502">
                  <c:v>24.636-24.643</c:v>
                </c:pt>
                <c:pt idx="3503">
                  <c:v>24.643-24.650</c:v>
                </c:pt>
                <c:pt idx="3504">
                  <c:v>24.650-24.657</c:v>
                </c:pt>
                <c:pt idx="3505">
                  <c:v>24.657-24.664</c:v>
                </c:pt>
                <c:pt idx="3506">
                  <c:v>24.664-24.671</c:v>
                </c:pt>
                <c:pt idx="3507">
                  <c:v>24.671-24.678</c:v>
                </c:pt>
                <c:pt idx="3508">
                  <c:v>24.678-24.685</c:v>
                </c:pt>
                <c:pt idx="3509">
                  <c:v>24.685-24.692</c:v>
                </c:pt>
                <c:pt idx="3510">
                  <c:v>24.692-24.699</c:v>
                </c:pt>
                <c:pt idx="3511">
                  <c:v>24.699-24.706</c:v>
                </c:pt>
                <c:pt idx="3512">
                  <c:v>24.706-24.713</c:v>
                </c:pt>
                <c:pt idx="3513">
                  <c:v>24.713-24.720</c:v>
                </c:pt>
                <c:pt idx="3514">
                  <c:v>24.720-24.727</c:v>
                </c:pt>
                <c:pt idx="3515">
                  <c:v>24.727-24.734</c:v>
                </c:pt>
                <c:pt idx="3516">
                  <c:v>24.734-24.741</c:v>
                </c:pt>
                <c:pt idx="3517">
                  <c:v>24.741-24.748</c:v>
                </c:pt>
                <c:pt idx="3518">
                  <c:v>24.748-24.755</c:v>
                </c:pt>
                <c:pt idx="3519">
                  <c:v>24.755-24.762</c:v>
                </c:pt>
                <c:pt idx="3520">
                  <c:v>24.762-24.769</c:v>
                </c:pt>
                <c:pt idx="3521">
                  <c:v>24.769-24.776</c:v>
                </c:pt>
                <c:pt idx="3522">
                  <c:v>24.776-24.783</c:v>
                </c:pt>
                <c:pt idx="3523">
                  <c:v>24.783-24.790</c:v>
                </c:pt>
                <c:pt idx="3524">
                  <c:v>24.790-24.798</c:v>
                </c:pt>
                <c:pt idx="3525">
                  <c:v>24.798-24.805</c:v>
                </c:pt>
                <c:pt idx="3526">
                  <c:v>24.805-24.812</c:v>
                </c:pt>
                <c:pt idx="3527">
                  <c:v>24.812-24.819</c:v>
                </c:pt>
                <c:pt idx="3528">
                  <c:v>24.819-24.826</c:v>
                </c:pt>
                <c:pt idx="3529">
                  <c:v>24.826-24.833</c:v>
                </c:pt>
                <c:pt idx="3530">
                  <c:v>24.833-24.840</c:v>
                </c:pt>
                <c:pt idx="3531">
                  <c:v>24.840-24.847</c:v>
                </c:pt>
                <c:pt idx="3532">
                  <c:v>24.847-24.854</c:v>
                </c:pt>
                <c:pt idx="3533">
                  <c:v>24.854-24.861</c:v>
                </c:pt>
                <c:pt idx="3534">
                  <c:v>24.861-24.868</c:v>
                </c:pt>
                <c:pt idx="3535">
                  <c:v>24.868-24.875</c:v>
                </c:pt>
                <c:pt idx="3536">
                  <c:v>24.875-24.882</c:v>
                </c:pt>
                <c:pt idx="3537">
                  <c:v>24.882-24.889</c:v>
                </c:pt>
                <c:pt idx="3538">
                  <c:v>24.889-24.896</c:v>
                </c:pt>
                <c:pt idx="3539">
                  <c:v>24.896-24.903</c:v>
                </c:pt>
                <c:pt idx="3540">
                  <c:v>24.903-24.910</c:v>
                </c:pt>
                <c:pt idx="3541">
                  <c:v>24.910-24.917</c:v>
                </c:pt>
                <c:pt idx="3542">
                  <c:v>24.917-24.924</c:v>
                </c:pt>
                <c:pt idx="3543">
                  <c:v>24.924-24.931</c:v>
                </c:pt>
                <c:pt idx="3544">
                  <c:v>24.931-24.938</c:v>
                </c:pt>
                <c:pt idx="3545">
                  <c:v>24.938-24.945</c:v>
                </c:pt>
                <c:pt idx="3546">
                  <c:v>24.945-24.952</c:v>
                </c:pt>
                <c:pt idx="3547">
                  <c:v>24.952-24.959</c:v>
                </c:pt>
                <c:pt idx="3548">
                  <c:v>24.959-24.966</c:v>
                </c:pt>
                <c:pt idx="3549">
                  <c:v>24.966-24.973</c:v>
                </c:pt>
                <c:pt idx="3550">
                  <c:v>24.973-24.980</c:v>
                </c:pt>
                <c:pt idx="3551">
                  <c:v>24.980-24.987</c:v>
                </c:pt>
                <c:pt idx="3552">
                  <c:v>24.987-24.994</c:v>
                </c:pt>
                <c:pt idx="3553">
                  <c:v>24.994-25.001</c:v>
                </c:pt>
                <c:pt idx="3554">
                  <c:v>25.001-25.008</c:v>
                </c:pt>
                <c:pt idx="3555">
                  <c:v>25.008-25.016</c:v>
                </c:pt>
                <c:pt idx="3556">
                  <c:v>25.016-25.023</c:v>
                </c:pt>
                <c:pt idx="3557">
                  <c:v>25.023-25.030</c:v>
                </c:pt>
                <c:pt idx="3558">
                  <c:v>25.030-25.037</c:v>
                </c:pt>
                <c:pt idx="3559">
                  <c:v>25.037-25.044</c:v>
                </c:pt>
                <c:pt idx="3560">
                  <c:v>25.044-25.051</c:v>
                </c:pt>
                <c:pt idx="3561">
                  <c:v>25.051-25.058</c:v>
                </c:pt>
                <c:pt idx="3562">
                  <c:v>25.058-25.065</c:v>
                </c:pt>
                <c:pt idx="3563">
                  <c:v>25.065-25.072</c:v>
                </c:pt>
                <c:pt idx="3564">
                  <c:v>25.072-25.079</c:v>
                </c:pt>
                <c:pt idx="3565">
                  <c:v>25.079-25.086</c:v>
                </c:pt>
                <c:pt idx="3566">
                  <c:v>25.086-25.093</c:v>
                </c:pt>
                <c:pt idx="3567">
                  <c:v>25.093-25.100</c:v>
                </c:pt>
                <c:pt idx="3568">
                  <c:v>25.100-25.107</c:v>
                </c:pt>
                <c:pt idx="3569">
                  <c:v>25.107-25.114</c:v>
                </c:pt>
                <c:pt idx="3570">
                  <c:v>25.114-25.121</c:v>
                </c:pt>
                <c:pt idx="3571">
                  <c:v>25.121-25.128</c:v>
                </c:pt>
                <c:pt idx="3572">
                  <c:v>25.128-25.135</c:v>
                </c:pt>
                <c:pt idx="3573">
                  <c:v>25.135-25.142</c:v>
                </c:pt>
                <c:pt idx="3574">
                  <c:v>25.142-25.149</c:v>
                </c:pt>
                <c:pt idx="3575">
                  <c:v>25.149-25.156</c:v>
                </c:pt>
                <c:pt idx="3576">
                  <c:v>25.156-25.163</c:v>
                </c:pt>
                <c:pt idx="3577">
                  <c:v>25.163-25.170</c:v>
                </c:pt>
                <c:pt idx="3578">
                  <c:v>25.170-25.177</c:v>
                </c:pt>
                <c:pt idx="3579">
                  <c:v>25.177-25.184</c:v>
                </c:pt>
                <c:pt idx="3580">
                  <c:v>25.184-25.191</c:v>
                </c:pt>
                <c:pt idx="3581">
                  <c:v>25.191-25.198</c:v>
                </c:pt>
                <c:pt idx="3582">
                  <c:v>25.198-25.205</c:v>
                </c:pt>
                <c:pt idx="3583">
                  <c:v>25.205-25.212</c:v>
                </c:pt>
                <c:pt idx="3584">
                  <c:v>25.212-25.219</c:v>
                </c:pt>
                <c:pt idx="3585">
                  <c:v>25.219-25.226</c:v>
                </c:pt>
                <c:pt idx="3586">
                  <c:v>25.226-25.234</c:v>
                </c:pt>
                <c:pt idx="3587">
                  <c:v>25.234-25.241</c:v>
                </c:pt>
                <c:pt idx="3588">
                  <c:v>25.241-25.248</c:v>
                </c:pt>
                <c:pt idx="3589">
                  <c:v>25.248-25.255</c:v>
                </c:pt>
                <c:pt idx="3590">
                  <c:v>25.255-25.262</c:v>
                </c:pt>
                <c:pt idx="3591">
                  <c:v>25.262-25.269</c:v>
                </c:pt>
                <c:pt idx="3592">
                  <c:v>25.269-25.276</c:v>
                </c:pt>
                <c:pt idx="3593">
                  <c:v>25.276-25.283</c:v>
                </c:pt>
                <c:pt idx="3594">
                  <c:v>25.283-25.290</c:v>
                </c:pt>
                <c:pt idx="3595">
                  <c:v>25.290-25.297</c:v>
                </c:pt>
                <c:pt idx="3596">
                  <c:v>25.297-25.304</c:v>
                </c:pt>
                <c:pt idx="3597">
                  <c:v>25.304-25.311</c:v>
                </c:pt>
                <c:pt idx="3598">
                  <c:v>25.311-25.318</c:v>
                </c:pt>
                <c:pt idx="3599">
                  <c:v>25.318-25.325</c:v>
                </c:pt>
                <c:pt idx="3600">
                  <c:v>25.325-25.332</c:v>
                </c:pt>
                <c:pt idx="3601">
                  <c:v>25.332-25.339</c:v>
                </c:pt>
                <c:pt idx="3602">
                  <c:v>25.339-25.346</c:v>
                </c:pt>
                <c:pt idx="3603">
                  <c:v>25.346-25.353</c:v>
                </c:pt>
                <c:pt idx="3604">
                  <c:v>25.353-25.360</c:v>
                </c:pt>
                <c:pt idx="3605">
                  <c:v>25.360-25.367</c:v>
                </c:pt>
                <c:pt idx="3606">
                  <c:v>25.367-25.374</c:v>
                </c:pt>
                <c:pt idx="3607">
                  <c:v>25.374-25.381</c:v>
                </c:pt>
                <c:pt idx="3608">
                  <c:v>25.381-25.388</c:v>
                </c:pt>
                <c:pt idx="3609">
                  <c:v>25.388-25.395</c:v>
                </c:pt>
                <c:pt idx="3610">
                  <c:v>25.395-25.402</c:v>
                </c:pt>
                <c:pt idx="3611">
                  <c:v>25.402-25.409</c:v>
                </c:pt>
                <c:pt idx="3612">
                  <c:v>25.409-25.416</c:v>
                </c:pt>
                <c:pt idx="3613">
                  <c:v>25.416-25.423</c:v>
                </c:pt>
                <c:pt idx="3614">
                  <c:v>25.423-25.430</c:v>
                </c:pt>
                <c:pt idx="3615">
                  <c:v>25.430-25.437</c:v>
                </c:pt>
                <c:pt idx="3616">
                  <c:v>25.437-25.444</c:v>
                </c:pt>
                <c:pt idx="3617">
                  <c:v>25.444-25.451</c:v>
                </c:pt>
                <c:pt idx="3618">
                  <c:v>25.451-25.459</c:v>
                </c:pt>
                <c:pt idx="3619">
                  <c:v>25.459-25.466</c:v>
                </c:pt>
                <c:pt idx="3620">
                  <c:v>25.466-25.473</c:v>
                </c:pt>
                <c:pt idx="3621">
                  <c:v>25.473-25.480</c:v>
                </c:pt>
                <c:pt idx="3622">
                  <c:v>25.480-25.487</c:v>
                </c:pt>
                <c:pt idx="3623">
                  <c:v>25.487-25.494</c:v>
                </c:pt>
                <c:pt idx="3624">
                  <c:v>25.494-25.501</c:v>
                </c:pt>
                <c:pt idx="3625">
                  <c:v>25.501-25.508</c:v>
                </c:pt>
                <c:pt idx="3626">
                  <c:v>25.508-25.515</c:v>
                </c:pt>
                <c:pt idx="3627">
                  <c:v>25.515-25.522</c:v>
                </c:pt>
                <c:pt idx="3628">
                  <c:v>25.522-25.529</c:v>
                </c:pt>
                <c:pt idx="3629">
                  <c:v>25.529-25.536</c:v>
                </c:pt>
                <c:pt idx="3630">
                  <c:v>25.536-25.543</c:v>
                </c:pt>
                <c:pt idx="3631">
                  <c:v>25.543-25.550</c:v>
                </c:pt>
                <c:pt idx="3632">
                  <c:v>25.550-25.557</c:v>
                </c:pt>
                <c:pt idx="3633">
                  <c:v>25.557-25.564</c:v>
                </c:pt>
                <c:pt idx="3634">
                  <c:v>25.564-25.571</c:v>
                </c:pt>
                <c:pt idx="3635">
                  <c:v>25.571-25.578</c:v>
                </c:pt>
                <c:pt idx="3636">
                  <c:v>25.578-25.585</c:v>
                </c:pt>
                <c:pt idx="3637">
                  <c:v>25.585-25.592</c:v>
                </c:pt>
                <c:pt idx="3638">
                  <c:v>25.592-25.599</c:v>
                </c:pt>
                <c:pt idx="3639">
                  <c:v>25.599-25.606</c:v>
                </c:pt>
                <c:pt idx="3640">
                  <c:v>25.606-25.613</c:v>
                </c:pt>
                <c:pt idx="3641">
                  <c:v>25.613-25.620</c:v>
                </c:pt>
                <c:pt idx="3642">
                  <c:v>25.620-25.627</c:v>
                </c:pt>
                <c:pt idx="3643">
                  <c:v>25.627-25.634</c:v>
                </c:pt>
                <c:pt idx="3644">
                  <c:v>25.634-25.641</c:v>
                </c:pt>
                <c:pt idx="3645">
                  <c:v>25.641-25.648</c:v>
                </c:pt>
                <c:pt idx="3646">
                  <c:v>25.648-25.655</c:v>
                </c:pt>
                <c:pt idx="3647">
                  <c:v>25.655-25.662</c:v>
                </c:pt>
                <c:pt idx="3648">
                  <c:v>25.662-25.669</c:v>
                </c:pt>
                <c:pt idx="3649">
                  <c:v>25.669-25.677</c:v>
                </c:pt>
                <c:pt idx="3650">
                  <c:v>25.677-25.684</c:v>
                </c:pt>
                <c:pt idx="3651">
                  <c:v>25.684-25.691</c:v>
                </c:pt>
                <c:pt idx="3652">
                  <c:v>25.691-25.698</c:v>
                </c:pt>
                <c:pt idx="3653">
                  <c:v>25.698-25.705</c:v>
                </c:pt>
                <c:pt idx="3654">
                  <c:v>25.705-25.712</c:v>
                </c:pt>
                <c:pt idx="3655">
                  <c:v>25.712-25.719</c:v>
                </c:pt>
                <c:pt idx="3656">
                  <c:v>25.719-25.726</c:v>
                </c:pt>
                <c:pt idx="3657">
                  <c:v>25.726-25.733</c:v>
                </c:pt>
                <c:pt idx="3658">
                  <c:v>25.733-25.740</c:v>
                </c:pt>
                <c:pt idx="3659">
                  <c:v>25.740-25.747</c:v>
                </c:pt>
                <c:pt idx="3660">
                  <c:v>25.747-25.754</c:v>
                </c:pt>
                <c:pt idx="3661">
                  <c:v>25.754-25.761</c:v>
                </c:pt>
                <c:pt idx="3662">
                  <c:v>25.761-25.768</c:v>
                </c:pt>
                <c:pt idx="3663">
                  <c:v>25.768-25.775</c:v>
                </c:pt>
                <c:pt idx="3664">
                  <c:v>25.775-25.782</c:v>
                </c:pt>
                <c:pt idx="3665">
                  <c:v>25.782-25.789</c:v>
                </c:pt>
                <c:pt idx="3666">
                  <c:v>25.789-25.796</c:v>
                </c:pt>
                <c:pt idx="3667">
                  <c:v>25.796-25.803</c:v>
                </c:pt>
                <c:pt idx="3668">
                  <c:v>25.803-25.810</c:v>
                </c:pt>
                <c:pt idx="3669">
                  <c:v>25.810-25.817</c:v>
                </c:pt>
                <c:pt idx="3670">
                  <c:v>25.817-25.824</c:v>
                </c:pt>
                <c:pt idx="3671">
                  <c:v>25.824-25.831</c:v>
                </c:pt>
                <c:pt idx="3672">
                  <c:v>25.831-25.838</c:v>
                </c:pt>
                <c:pt idx="3673">
                  <c:v>25.838-25.845</c:v>
                </c:pt>
                <c:pt idx="3674">
                  <c:v>25.845-25.852</c:v>
                </c:pt>
                <c:pt idx="3675">
                  <c:v>25.852-25.859</c:v>
                </c:pt>
                <c:pt idx="3676">
                  <c:v>25.859-25.866</c:v>
                </c:pt>
                <c:pt idx="3677">
                  <c:v>25.866-25.873</c:v>
                </c:pt>
                <c:pt idx="3678">
                  <c:v>25.873-25.880</c:v>
                </c:pt>
                <c:pt idx="3679">
                  <c:v>25.880-25.887</c:v>
                </c:pt>
                <c:pt idx="3680">
                  <c:v>25.887-25.895</c:v>
                </c:pt>
                <c:pt idx="3681">
                  <c:v>25.895-25.902</c:v>
                </c:pt>
                <c:pt idx="3682">
                  <c:v>25.902-25.909</c:v>
                </c:pt>
                <c:pt idx="3683">
                  <c:v>25.909-25.916</c:v>
                </c:pt>
                <c:pt idx="3684">
                  <c:v>25.916-25.923</c:v>
                </c:pt>
                <c:pt idx="3685">
                  <c:v>25.923-25.930</c:v>
                </c:pt>
                <c:pt idx="3686">
                  <c:v>25.930-25.937</c:v>
                </c:pt>
                <c:pt idx="3687">
                  <c:v>25.937-25.944</c:v>
                </c:pt>
                <c:pt idx="3688">
                  <c:v>25.944-25.951</c:v>
                </c:pt>
                <c:pt idx="3689">
                  <c:v>25.951-25.958</c:v>
                </c:pt>
                <c:pt idx="3690">
                  <c:v>25.958-25.965</c:v>
                </c:pt>
                <c:pt idx="3691">
                  <c:v>25.965-25.972</c:v>
                </c:pt>
                <c:pt idx="3692">
                  <c:v>25.972-25.979</c:v>
                </c:pt>
                <c:pt idx="3693">
                  <c:v>25.979-25.986</c:v>
                </c:pt>
                <c:pt idx="3694">
                  <c:v>25.986-25.993</c:v>
                </c:pt>
                <c:pt idx="3695">
                  <c:v>25.993-26.000</c:v>
                </c:pt>
                <c:pt idx="3696">
                  <c:v>26.000-26.007</c:v>
                </c:pt>
                <c:pt idx="3697">
                  <c:v>26.007-26.014</c:v>
                </c:pt>
                <c:pt idx="3698">
                  <c:v>26.014-26.021</c:v>
                </c:pt>
                <c:pt idx="3699">
                  <c:v>26.021-26.028</c:v>
                </c:pt>
                <c:pt idx="3700">
                  <c:v>26.028-26.035</c:v>
                </c:pt>
                <c:pt idx="3701">
                  <c:v>26.035-26.042</c:v>
                </c:pt>
                <c:pt idx="3702">
                  <c:v>26.042-26.049</c:v>
                </c:pt>
                <c:pt idx="3703">
                  <c:v>26.049-26.056</c:v>
                </c:pt>
                <c:pt idx="3704">
                  <c:v>26.056-26.063</c:v>
                </c:pt>
                <c:pt idx="3705">
                  <c:v>26.063-26.070</c:v>
                </c:pt>
                <c:pt idx="3706">
                  <c:v>26.070-26.077</c:v>
                </c:pt>
                <c:pt idx="3707">
                  <c:v>26.077-26.084</c:v>
                </c:pt>
                <c:pt idx="3708">
                  <c:v>26.084-26.091</c:v>
                </c:pt>
                <c:pt idx="3709">
                  <c:v>26.091-26.098</c:v>
                </c:pt>
                <c:pt idx="3710">
                  <c:v>26.098-26.105</c:v>
                </c:pt>
                <c:pt idx="3711">
                  <c:v>26.105-26.113</c:v>
                </c:pt>
                <c:pt idx="3712">
                  <c:v>26.113-26.120</c:v>
                </c:pt>
                <c:pt idx="3713">
                  <c:v>26.120-26.127</c:v>
                </c:pt>
                <c:pt idx="3714">
                  <c:v>26.127-26.134</c:v>
                </c:pt>
                <c:pt idx="3715">
                  <c:v>26.134-26.141</c:v>
                </c:pt>
                <c:pt idx="3716">
                  <c:v>26.141-26.148</c:v>
                </c:pt>
                <c:pt idx="3717">
                  <c:v>26.148-26.155</c:v>
                </c:pt>
                <c:pt idx="3718">
                  <c:v>26.155-26.162</c:v>
                </c:pt>
                <c:pt idx="3719">
                  <c:v>26.162-26.169</c:v>
                </c:pt>
                <c:pt idx="3720">
                  <c:v>26.169-26.176</c:v>
                </c:pt>
                <c:pt idx="3721">
                  <c:v>26.176-26.183</c:v>
                </c:pt>
                <c:pt idx="3722">
                  <c:v>26.183-26.190</c:v>
                </c:pt>
                <c:pt idx="3723">
                  <c:v>26.190-26.197</c:v>
                </c:pt>
                <c:pt idx="3724">
                  <c:v>26.197-26.204</c:v>
                </c:pt>
                <c:pt idx="3725">
                  <c:v>26.204-26.211</c:v>
                </c:pt>
                <c:pt idx="3726">
                  <c:v>26.211-26.218</c:v>
                </c:pt>
                <c:pt idx="3727">
                  <c:v>26.218-26.225</c:v>
                </c:pt>
                <c:pt idx="3728">
                  <c:v>26.225-26.232</c:v>
                </c:pt>
                <c:pt idx="3729">
                  <c:v>26.232-26.239</c:v>
                </c:pt>
                <c:pt idx="3730">
                  <c:v>26.239-26.246</c:v>
                </c:pt>
                <c:pt idx="3731">
                  <c:v>26.246-26.253</c:v>
                </c:pt>
                <c:pt idx="3732">
                  <c:v>26.253-26.260</c:v>
                </c:pt>
                <c:pt idx="3733">
                  <c:v>26.260-26.267</c:v>
                </c:pt>
                <c:pt idx="3734">
                  <c:v>26.267-26.274</c:v>
                </c:pt>
                <c:pt idx="3735">
                  <c:v>26.274-26.281</c:v>
                </c:pt>
                <c:pt idx="3736">
                  <c:v>26.281-26.288</c:v>
                </c:pt>
                <c:pt idx="3737">
                  <c:v>26.288-26.295</c:v>
                </c:pt>
                <c:pt idx="3738">
                  <c:v>26.295-26.302</c:v>
                </c:pt>
                <c:pt idx="3739">
                  <c:v>26.302-26.309</c:v>
                </c:pt>
                <c:pt idx="3740">
                  <c:v>26.309-26.316</c:v>
                </c:pt>
                <c:pt idx="3741">
                  <c:v>26.316-26.323</c:v>
                </c:pt>
                <c:pt idx="3742">
                  <c:v>26.323-26.331</c:v>
                </c:pt>
                <c:pt idx="3743">
                  <c:v>26.331-26.338</c:v>
                </c:pt>
                <c:pt idx="3744">
                  <c:v>26.338-26.345</c:v>
                </c:pt>
                <c:pt idx="3745">
                  <c:v>26.345-26.352</c:v>
                </c:pt>
                <c:pt idx="3746">
                  <c:v>26.352-26.359</c:v>
                </c:pt>
                <c:pt idx="3747">
                  <c:v>26.359-26.366</c:v>
                </c:pt>
                <c:pt idx="3748">
                  <c:v>26.366-26.373</c:v>
                </c:pt>
                <c:pt idx="3749">
                  <c:v>26.373-26.380</c:v>
                </c:pt>
                <c:pt idx="3750">
                  <c:v>26.380-26.387</c:v>
                </c:pt>
                <c:pt idx="3751">
                  <c:v>26.387-26.394</c:v>
                </c:pt>
                <c:pt idx="3752">
                  <c:v>26.394-26.401</c:v>
                </c:pt>
                <c:pt idx="3753">
                  <c:v>26.401-26.408</c:v>
                </c:pt>
                <c:pt idx="3754">
                  <c:v>26.408-26.415</c:v>
                </c:pt>
                <c:pt idx="3755">
                  <c:v>26.415-26.422</c:v>
                </c:pt>
                <c:pt idx="3756">
                  <c:v>26.422-26.429</c:v>
                </c:pt>
                <c:pt idx="3757">
                  <c:v>26.429-26.436</c:v>
                </c:pt>
                <c:pt idx="3758">
                  <c:v>26.436-26.443</c:v>
                </c:pt>
                <c:pt idx="3759">
                  <c:v>26.443-26.450</c:v>
                </c:pt>
                <c:pt idx="3760">
                  <c:v>26.450-26.457</c:v>
                </c:pt>
                <c:pt idx="3761">
                  <c:v>26.457-26.464</c:v>
                </c:pt>
                <c:pt idx="3762">
                  <c:v>26.464-26.471</c:v>
                </c:pt>
                <c:pt idx="3763">
                  <c:v>26.471-26.478</c:v>
                </c:pt>
                <c:pt idx="3764">
                  <c:v>26.478-26.485</c:v>
                </c:pt>
                <c:pt idx="3765">
                  <c:v>26.485-26.492</c:v>
                </c:pt>
                <c:pt idx="3766">
                  <c:v>26.492-26.499</c:v>
                </c:pt>
                <c:pt idx="3767">
                  <c:v>26.499-26.506</c:v>
                </c:pt>
                <c:pt idx="3768">
                  <c:v>26.506-26.513</c:v>
                </c:pt>
                <c:pt idx="3769">
                  <c:v>26.513-26.520</c:v>
                </c:pt>
                <c:pt idx="3770">
                  <c:v>26.520-26.527</c:v>
                </c:pt>
                <c:pt idx="3771">
                  <c:v>26.527-26.534</c:v>
                </c:pt>
                <c:pt idx="3772">
                  <c:v>26.534-26.541</c:v>
                </c:pt>
                <c:pt idx="3773">
                  <c:v>26.541-26.549</c:v>
                </c:pt>
                <c:pt idx="3774">
                  <c:v>26.549-26.556</c:v>
                </c:pt>
                <c:pt idx="3775">
                  <c:v>26.556-26.563</c:v>
                </c:pt>
                <c:pt idx="3776">
                  <c:v>26.563-26.570</c:v>
                </c:pt>
                <c:pt idx="3777">
                  <c:v>26.570-26.577</c:v>
                </c:pt>
                <c:pt idx="3778">
                  <c:v>26.577-26.584</c:v>
                </c:pt>
                <c:pt idx="3779">
                  <c:v>26.584-26.591</c:v>
                </c:pt>
                <c:pt idx="3780">
                  <c:v>26.591-26.598</c:v>
                </c:pt>
                <c:pt idx="3781">
                  <c:v>26.598-26.605</c:v>
                </c:pt>
                <c:pt idx="3782">
                  <c:v>26.605-26.612</c:v>
                </c:pt>
                <c:pt idx="3783">
                  <c:v>26.612-26.619</c:v>
                </c:pt>
                <c:pt idx="3784">
                  <c:v>26.619-26.626</c:v>
                </c:pt>
                <c:pt idx="3785">
                  <c:v>26.626-26.633</c:v>
                </c:pt>
                <c:pt idx="3786">
                  <c:v>26.633-26.640</c:v>
                </c:pt>
                <c:pt idx="3787">
                  <c:v>26.640-26.647</c:v>
                </c:pt>
                <c:pt idx="3788">
                  <c:v>26.647-26.654</c:v>
                </c:pt>
                <c:pt idx="3789">
                  <c:v>26.654-26.661</c:v>
                </c:pt>
                <c:pt idx="3790">
                  <c:v>26.661-26.668</c:v>
                </c:pt>
                <c:pt idx="3791">
                  <c:v>26.668-26.675</c:v>
                </c:pt>
                <c:pt idx="3792">
                  <c:v>26.675-26.682</c:v>
                </c:pt>
                <c:pt idx="3793">
                  <c:v>26.682-26.689</c:v>
                </c:pt>
                <c:pt idx="3794">
                  <c:v>26.689-26.696</c:v>
                </c:pt>
                <c:pt idx="3795">
                  <c:v>26.696-26.703</c:v>
                </c:pt>
                <c:pt idx="3796">
                  <c:v>26.703-26.710</c:v>
                </c:pt>
                <c:pt idx="3797">
                  <c:v>26.710-26.717</c:v>
                </c:pt>
                <c:pt idx="3798">
                  <c:v>26.717-26.724</c:v>
                </c:pt>
                <c:pt idx="3799">
                  <c:v>26.724-26.731</c:v>
                </c:pt>
                <c:pt idx="3800">
                  <c:v>26.731-26.738</c:v>
                </c:pt>
                <c:pt idx="3801">
                  <c:v>26.738-26.745</c:v>
                </c:pt>
                <c:pt idx="3802">
                  <c:v>26.745-26.752</c:v>
                </c:pt>
                <c:pt idx="3803">
                  <c:v>26.752-26.759</c:v>
                </c:pt>
                <c:pt idx="3804">
                  <c:v>26.759-26.767</c:v>
                </c:pt>
                <c:pt idx="3805">
                  <c:v>26.767-26.774</c:v>
                </c:pt>
                <c:pt idx="3806">
                  <c:v>26.774-26.781</c:v>
                </c:pt>
                <c:pt idx="3807">
                  <c:v>26.781-26.788</c:v>
                </c:pt>
                <c:pt idx="3808">
                  <c:v>26.788-26.795</c:v>
                </c:pt>
                <c:pt idx="3809">
                  <c:v>26.795-26.802</c:v>
                </c:pt>
                <c:pt idx="3810">
                  <c:v>26.802-26.809</c:v>
                </c:pt>
                <c:pt idx="3811">
                  <c:v>26.809-26.816</c:v>
                </c:pt>
                <c:pt idx="3812">
                  <c:v>26.816-26.823</c:v>
                </c:pt>
                <c:pt idx="3813">
                  <c:v>26.823-26.830</c:v>
                </c:pt>
                <c:pt idx="3814">
                  <c:v>26.830-26.837</c:v>
                </c:pt>
                <c:pt idx="3815">
                  <c:v>26.837-26.844</c:v>
                </c:pt>
                <c:pt idx="3816">
                  <c:v>26.844-26.851</c:v>
                </c:pt>
                <c:pt idx="3817">
                  <c:v>26.851-26.858</c:v>
                </c:pt>
                <c:pt idx="3818">
                  <c:v>26.858-26.865</c:v>
                </c:pt>
                <c:pt idx="3819">
                  <c:v>26.865-26.872</c:v>
                </c:pt>
                <c:pt idx="3820">
                  <c:v>26.872-26.879</c:v>
                </c:pt>
                <c:pt idx="3821">
                  <c:v>26.879-26.886</c:v>
                </c:pt>
                <c:pt idx="3822">
                  <c:v>26.886-26.893</c:v>
                </c:pt>
                <c:pt idx="3823">
                  <c:v>26.893-26.900</c:v>
                </c:pt>
                <c:pt idx="3824">
                  <c:v>26.900-26.907</c:v>
                </c:pt>
                <c:pt idx="3825">
                  <c:v>26.907-26.914</c:v>
                </c:pt>
                <c:pt idx="3826">
                  <c:v>26.914-26.921</c:v>
                </c:pt>
                <c:pt idx="3827">
                  <c:v>26.921-26.928</c:v>
                </c:pt>
                <c:pt idx="3828">
                  <c:v>26.928-26.935</c:v>
                </c:pt>
                <c:pt idx="3829">
                  <c:v>26.935-26.942</c:v>
                </c:pt>
                <c:pt idx="3830">
                  <c:v>26.942-26.949</c:v>
                </c:pt>
                <c:pt idx="3831">
                  <c:v>26.949-26.956</c:v>
                </c:pt>
                <c:pt idx="3832">
                  <c:v>26.956-26.963</c:v>
                </c:pt>
                <c:pt idx="3833">
                  <c:v>26.963-26.970</c:v>
                </c:pt>
                <c:pt idx="3834">
                  <c:v>26.970-26.977</c:v>
                </c:pt>
                <c:pt idx="3835">
                  <c:v>26.977-26.985</c:v>
                </c:pt>
                <c:pt idx="3836">
                  <c:v>26.985-26.992</c:v>
                </c:pt>
                <c:pt idx="3837">
                  <c:v>26.992-26.999</c:v>
                </c:pt>
                <c:pt idx="3838">
                  <c:v>26.999-27.006</c:v>
                </c:pt>
                <c:pt idx="3839">
                  <c:v>27.006-27.013</c:v>
                </c:pt>
                <c:pt idx="3840">
                  <c:v>27.013-27.020</c:v>
                </c:pt>
                <c:pt idx="3841">
                  <c:v>27.020-27.027</c:v>
                </c:pt>
                <c:pt idx="3842">
                  <c:v>27.027-27.034</c:v>
                </c:pt>
                <c:pt idx="3843">
                  <c:v>27.034-27.041</c:v>
                </c:pt>
                <c:pt idx="3844">
                  <c:v>27.041-27.048</c:v>
                </c:pt>
                <c:pt idx="3845">
                  <c:v>27.048-27.055</c:v>
                </c:pt>
                <c:pt idx="3846">
                  <c:v>27.055-27.062</c:v>
                </c:pt>
                <c:pt idx="3847">
                  <c:v>27.062-27.069</c:v>
                </c:pt>
                <c:pt idx="3848">
                  <c:v>27.069-27.076</c:v>
                </c:pt>
                <c:pt idx="3849">
                  <c:v>27.076-27.083</c:v>
                </c:pt>
                <c:pt idx="3850">
                  <c:v>27.083-27.090</c:v>
                </c:pt>
                <c:pt idx="3851">
                  <c:v>27.090-27.097</c:v>
                </c:pt>
                <c:pt idx="3852">
                  <c:v>27.097-27.104</c:v>
                </c:pt>
                <c:pt idx="3853">
                  <c:v>27.104-27.111</c:v>
                </c:pt>
                <c:pt idx="3854">
                  <c:v>27.111-27.118</c:v>
                </c:pt>
                <c:pt idx="3855">
                  <c:v>27.118-27.125</c:v>
                </c:pt>
                <c:pt idx="3856">
                  <c:v>27.125-27.132</c:v>
                </c:pt>
                <c:pt idx="3857">
                  <c:v>27.132-27.139</c:v>
                </c:pt>
                <c:pt idx="3858">
                  <c:v>27.139-27.146</c:v>
                </c:pt>
                <c:pt idx="3859">
                  <c:v>27.146-27.153</c:v>
                </c:pt>
                <c:pt idx="3860">
                  <c:v>27.153-27.160</c:v>
                </c:pt>
                <c:pt idx="3861">
                  <c:v>27.160-27.167</c:v>
                </c:pt>
                <c:pt idx="3862">
                  <c:v>27.167-27.174</c:v>
                </c:pt>
                <c:pt idx="3863">
                  <c:v>27.174-27.181</c:v>
                </c:pt>
                <c:pt idx="3864">
                  <c:v>27.181-27.188</c:v>
                </c:pt>
                <c:pt idx="3865">
                  <c:v>27.188-27.195</c:v>
                </c:pt>
                <c:pt idx="3866">
                  <c:v>27.195-27.203</c:v>
                </c:pt>
                <c:pt idx="3867">
                  <c:v>27.203-27.210</c:v>
                </c:pt>
                <c:pt idx="3868">
                  <c:v>27.210-27.217</c:v>
                </c:pt>
                <c:pt idx="3869">
                  <c:v>27.217-27.224</c:v>
                </c:pt>
                <c:pt idx="3870">
                  <c:v>27.224-27.231</c:v>
                </c:pt>
                <c:pt idx="3871">
                  <c:v>27.231-27.238</c:v>
                </c:pt>
                <c:pt idx="3872">
                  <c:v>27.238-27.245</c:v>
                </c:pt>
                <c:pt idx="3873">
                  <c:v>27.245-27.252</c:v>
                </c:pt>
                <c:pt idx="3874">
                  <c:v>27.252-27.259</c:v>
                </c:pt>
                <c:pt idx="3875">
                  <c:v>27.259-27.266</c:v>
                </c:pt>
                <c:pt idx="3876">
                  <c:v>27.266-27.273</c:v>
                </c:pt>
                <c:pt idx="3877">
                  <c:v>27.273-27.280</c:v>
                </c:pt>
                <c:pt idx="3878">
                  <c:v>27.280-27.287</c:v>
                </c:pt>
                <c:pt idx="3879">
                  <c:v>27.287-27.294</c:v>
                </c:pt>
                <c:pt idx="3880">
                  <c:v>27.294-27.301</c:v>
                </c:pt>
                <c:pt idx="3881">
                  <c:v>27.301-27.308</c:v>
                </c:pt>
                <c:pt idx="3882">
                  <c:v>27.308-27.315</c:v>
                </c:pt>
                <c:pt idx="3883">
                  <c:v>27.315-27.322</c:v>
                </c:pt>
                <c:pt idx="3884">
                  <c:v>27.322-27.329</c:v>
                </c:pt>
                <c:pt idx="3885">
                  <c:v>27.329-27.336</c:v>
                </c:pt>
                <c:pt idx="3886">
                  <c:v>27.336-27.343</c:v>
                </c:pt>
                <c:pt idx="3887">
                  <c:v>27.343-27.350</c:v>
                </c:pt>
                <c:pt idx="3888">
                  <c:v>27.350-27.357</c:v>
                </c:pt>
                <c:pt idx="3889">
                  <c:v>27.357-27.364</c:v>
                </c:pt>
                <c:pt idx="3890">
                  <c:v>27.364-27.371</c:v>
                </c:pt>
                <c:pt idx="3891">
                  <c:v>27.371-27.378</c:v>
                </c:pt>
                <c:pt idx="3892">
                  <c:v>27.378-27.385</c:v>
                </c:pt>
                <c:pt idx="3893">
                  <c:v>27.385-27.392</c:v>
                </c:pt>
                <c:pt idx="3894">
                  <c:v>27.392-27.399</c:v>
                </c:pt>
                <c:pt idx="3895">
                  <c:v>27.399-27.406</c:v>
                </c:pt>
                <c:pt idx="3896">
                  <c:v>27.406-27.413</c:v>
                </c:pt>
                <c:pt idx="3897">
                  <c:v>27.413-27.421</c:v>
                </c:pt>
                <c:pt idx="3898">
                  <c:v>27.421-27.428</c:v>
                </c:pt>
                <c:pt idx="3899">
                  <c:v>27.428-27.435</c:v>
                </c:pt>
                <c:pt idx="3900">
                  <c:v>27.435-27.442</c:v>
                </c:pt>
                <c:pt idx="3901">
                  <c:v>27.442-27.449</c:v>
                </c:pt>
                <c:pt idx="3902">
                  <c:v>27.449-27.456</c:v>
                </c:pt>
                <c:pt idx="3903">
                  <c:v>27.456-27.463</c:v>
                </c:pt>
                <c:pt idx="3904">
                  <c:v>27.463-27.470</c:v>
                </c:pt>
                <c:pt idx="3905">
                  <c:v>27.470-27.477</c:v>
                </c:pt>
                <c:pt idx="3906">
                  <c:v>27.477-27.484</c:v>
                </c:pt>
                <c:pt idx="3907">
                  <c:v>27.484-27.491</c:v>
                </c:pt>
                <c:pt idx="3908">
                  <c:v>27.491-27.498</c:v>
                </c:pt>
                <c:pt idx="3909">
                  <c:v>27.498-27.505</c:v>
                </c:pt>
                <c:pt idx="3910">
                  <c:v>27.505-27.512</c:v>
                </c:pt>
                <c:pt idx="3911">
                  <c:v>27.512-27.519</c:v>
                </c:pt>
                <c:pt idx="3912">
                  <c:v>27.519-27.526</c:v>
                </c:pt>
                <c:pt idx="3913">
                  <c:v>27.526-27.533</c:v>
                </c:pt>
                <c:pt idx="3914">
                  <c:v>27.533-27.540</c:v>
                </c:pt>
                <c:pt idx="3915">
                  <c:v>27.540-27.547</c:v>
                </c:pt>
                <c:pt idx="3916">
                  <c:v>27.547-27.554</c:v>
                </c:pt>
                <c:pt idx="3917">
                  <c:v>27.554-27.561</c:v>
                </c:pt>
                <c:pt idx="3918">
                  <c:v>27.561-27.568</c:v>
                </c:pt>
                <c:pt idx="3919">
                  <c:v>27.568-27.575</c:v>
                </c:pt>
                <c:pt idx="3920">
                  <c:v>27.575-27.582</c:v>
                </c:pt>
                <c:pt idx="3921">
                  <c:v>27.582-27.589</c:v>
                </c:pt>
                <c:pt idx="3922">
                  <c:v>27.589-27.596</c:v>
                </c:pt>
                <c:pt idx="3923">
                  <c:v>27.596-27.603</c:v>
                </c:pt>
                <c:pt idx="3924">
                  <c:v>27.603-27.610</c:v>
                </c:pt>
                <c:pt idx="3925">
                  <c:v>27.610-27.617</c:v>
                </c:pt>
                <c:pt idx="3926">
                  <c:v>27.617-27.624</c:v>
                </c:pt>
                <c:pt idx="3927">
                  <c:v>27.624-27.631</c:v>
                </c:pt>
                <c:pt idx="3928">
                  <c:v>27.631-27.639</c:v>
                </c:pt>
                <c:pt idx="3929">
                  <c:v>27.639-27.646</c:v>
                </c:pt>
                <c:pt idx="3930">
                  <c:v>27.646-27.653</c:v>
                </c:pt>
                <c:pt idx="3931">
                  <c:v>27.653-27.660</c:v>
                </c:pt>
                <c:pt idx="3932">
                  <c:v>27.660-27.667</c:v>
                </c:pt>
                <c:pt idx="3933">
                  <c:v>27.667-27.674</c:v>
                </c:pt>
                <c:pt idx="3934">
                  <c:v>27.674-27.681</c:v>
                </c:pt>
                <c:pt idx="3935">
                  <c:v>27.681-27.688</c:v>
                </c:pt>
                <c:pt idx="3936">
                  <c:v>27.688-27.695</c:v>
                </c:pt>
                <c:pt idx="3937">
                  <c:v>27.695-27.702</c:v>
                </c:pt>
                <c:pt idx="3938">
                  <c:v>27.702-27.709</c:v>
                </c:pt>
                <c:pt idx="3939">
                  <c:v>27.709-27.716</c:v>
                </c:pt>
                <c:pt idx="3940">
                  <c:v>27.716-27.723</c:v>
                </c:pt>
                <c:pt idx="3941">
                  <c:v>27.723-27.730</c:v>
                </c:pt>
                <c:pt idx="3942">
                  <c:v>27.730-27.737</c:v>
                </c:pt>
                <c:pt idx="3943">
                  <c:v>27.737-27.744</c:v>
                </c:pt>
                <c:pt idx="3944">
                  <c:v>27.744-27.751</c:v>
                </c:pt>
                <c:pt idx="3945">
                  <c:v>27.751-27.758</c:v>
                </c:pt>
                <c:pt idx="3946">
                  <c:v>27.758-27.765</c:v>
                </c:pt>
                <c:pt idx="3947">
                  <c:v>27.765-27.772</c:v>
                </c:pt>
                <c:pt idx="3948">
                  <c:v>27.772-27.779</c:v>
                </c:pt>
                <c:pt idx="3949">
                  <c:v>27.779-27.786</c:v>
                </c:pt>
                <c:pt idx="3950">
                  <c:v>27.786-27.793</c:v>
                </c:pt>
                <c:pt idx="3951">
                  <c:v>27.793-27.800</c:v>
                </c:pt>
                <c:pt idx="3952">
                  <c:v>27.800-27.807</c:v>
                </c:pt>
                <c:pt idx="3953">
                  <c:v>27.807-27.814</c:v>
                </c:pt>
                <c:pt idx="3954">
                  <c:v>27.814-27.821</c:v>
                </c:pt>
                <c:pt idx="3955">
                  <c:v>27.821-27.828</c:v>
                </c:pt>
                <c:pt idx="3956">
                  <c:v>27.828-27.835</c:v>
                </c:pt>
                <c:pt idx="3957">
                  <c:v>27.835-27.842</c:v>
                </c:pt>
                <c:pt idx="3958">
                  <c:v>27.842-27.849</c:v>
                </c:pt>
                <c:pt idx="3959">
                  <c:v>27.849-27.857</c:v>
                </c:pt>
                <c:pt idx="3960">
                  <c:v>27.857-27.864</c:v>
                </c:pt>
                <c:pt idx="3961">
                  <c:v>27.864-27.871</c:v>
                </c:pt>
                <c:pt idx="3962">
                  <c:v>27.871-27.878</c:v>
                </c:pt>
                <c:pt idx="3963">
                  <c:v>27.878-27.885</c:v>
                </c:pt>
                <c:pt idx="3964">
                  <c:v>27.885-27.892</c:v>
                </c:pt>
                <c:pt idx="3965">
                  <c:v>27.892-27.899</c:v>
                </c:pt>
                <c:pt idx="3966">
                  <c:v>27.899-27.906</c:v>
                </c:pt>
                <c:pt idx="3967">
                  <c:v>27.906-27.913</c:v>
                </c:pt>
                <c:pt idx="3968">
                  <c:v>27.913-27.920</c:v>
                </c:pt>
                <c:pt idx="3969">
                  <c:v>27.920-27.927</c:v>
                </c:pt>
                <c:pt idx="3970">
                  <c:v>27.927-27.934</c:v>
                </c:pt>
                <c:pt idx="3971">
                  <c:v>27.934-27.941</c:v>
                </c:pt>
                <c:pt idx="3972">
                  <c:v>27.941-27.948</c:v>
                </c:pt>
                <c:pt idx="3973">
                  <c:v>27.948-27.955</c:v>
                </c:pt>
                <c:pt idx="3974">
                  <c:v>27.955-27.962</c:v>
                </c:pt>
                <c:pt idx="3975">
                  <c:v>27.962-27.969</c:v>
                </c:pt>
                <c:pt idx="3976">
                  <c:v>27.969-27.976</c:v>
                </c:pt>
                <c:pt idx="3977">
                  <c:v>27.976-27.983</c:v>
                </c:pt>
                <c:pt idx="3978">
                  <c:v>27.983-27.990</c:v>
                </c:pt>
                <c:pt idx="3979">
                  <c:v>27.990-27.997</c:v>
                </c:pt>
                <c:pt idx="3980">
                  <c:v>27.997-28.004</c:v>
                </c:pt>
                <c:pt idx="3981">
                  <c:v>28.004-28.011</c:v>
                </c:pt>
                <c:pt idx="3982">
                  <c:v>28.011-28.018</c:v>
                </c:pt>
                <c:pt idx="3983">
                  <c:v>28.018-28.025</c:v>
                </c:pt>
                <c:pt idx="3984">
                  <c:v>28.025-28.032</c:v>
                </c:pt>
                <c:pt idx="3985">
                  <c:v>28.032-28.039</c:v>
                </c:pt>
                <c:pt idx="3986">
                  <c:v>28.039-28.046</c:v>
                </c:pt>
                <c:pt idx="3987">
                  <c:v>28.046-28.053</c:v>
                </c:pt>
                <c:pt idx="3988">
                  <c:v>28.053-28.060</c:v>
                </c:pt>
                <c:pt idx="3989">
                  <c:v>28.060-28.067</c:v>
                </c:pt>
                <c:pt idx="3990">
                  <c:v>28.067-28.075</c:v>
                </c:pt>
                <c:pt idx="3991">
                  <c:v>28.075-28.082</c:v>
                </c:pt>
                <c:pt idx="3992">
                  <c:v>28.082-28.089</c:v>
                </c:pt>
                <c:pt idx="3993">
                  <c:v>28.089-28.096</c:v>
                </c:pt>
                <c:pt idx="3994">
                  <c:v>28.096-28.103</c:v>
                </c:pt>
                <c:pt idx="3995">
                  <c:v>28.103-28.110</c:v>
                </c:pt>
                <c:pt idx="3996">
                  <c:v>28.110-28.117</c:v>
                </c:pt>
                <c:pt idx="3997">
                  <c:v>28.117-28.124</c:v>
                </c:pt>
                <c:pt idx="3998">
                  <c:v>28.124-28.131</c:v>
                </c:pt>
                <c:pt idx="3999">
                  <c:v>28.131-28.138</c:v>
                </c:pt>
                <c:pt idx="4000">
                  <c:v>28.138-28.145</c:v>
                </c:pt>
                <c:pt idx="4001">
                  <c:v>28.145-28.152</c:v>
                </c:pt>
                <c:pt idx="4002">
                  <c:v>28.152-28.159</c:v>
                </c:pt>
                <c:pt idx="4003">
                  <c:v>28.159-28.166</c:v>
                </c:pt>
                <c:pt idx="4004">
                  <c:v>28.166-28.173</c:v>
                </c:pt>
                <c:pt idx="4005">
                  <c:v>28.173-28.180</c:v>
                </c:pt>
                <c:pt idx="4006">
                  <c:v>28.180-28.187</c:v>
                </c:pt>
                <c:pt idx="4007">
                  <c:v>28.187-28.194</c:v>
                </c:pt>
                <c:pt idx="4008">
                  <c:v>28.194-28.201</c:v>
                </c:pt>
                <c:pt idx="4009">
                  <c:v>28.201-28.208</c:v>
                </c:pt>
                <c:pt idx="4010">
                  <c:v>28.208-28.215</c:v>
                </c:pt>
                <c:pt idx="4011">
                  <c:v>28.215-28.222</c:v>
                </c:pt>
                <c:pt idx="4012">
                  <c:v>28.222-28.229</c:v>
                </c:pt>
                <c:pt idx="4013">
                  <c:v>28.229-28.236</c:v>
                </c:pt>
                <c:pt idx="4014">
                  <c:v>28.236-28.243</c:v>
                </c:pt>
                <c:pt idx="4015">
                  <c:v>28.243-28.250</c:v>
                </c:pt>
                <c:pt idx="4016">
                  <c:v>28.250-28.257</c:v>
                </c:pt>
                <c:pt idx="4017">
                  <c:v>28.257-28.264</c:v>
                </c:pt>
                <c:pt idx="4018">
                  <c:v>28.264-28.271</c:v>
                </c:pt>
                <c:pt idx="4019">
                  <c:v>28.271-28.278</c:v>
                </c:pt>
                <c:pt idx="4020">
                  <c:v>28.278-28.285</c:v>
                </c:pt>
                <c:pt idx="4021">
                  <c:v>28.285-28.293</c:v>
                </c:pt>
                <c:pt idx="4022">
                  <c:v>28.293-28.300</c:v>
                </c:pt>
                <c:pt idx="4023">
                  <c:v>28.300-28.307</c:v>
                </c:pt>
                <c:pt idx="4024">
                  <c:v>28.307-28.314</c:v>
                </c:pt>
                <c:pt idx="4025">
                  <c:v>28.314-28.321</c:v>
                </c:pt>
                <c:pt idx="4026">
                  <c:v>28.321-28.328</c:v>
                </c:pt>
                <c:pt idx="4027">
                  <c:v>28.328-28.335</c:v>
                </c:pt>
                <c:pt idx="4028">
                  <c:v>28.335-28.342</c:v>
                </c:pt>
                <c:pt idx="4029">
                  <c:v>28.342-28.349</c:v>
                </c:pt>
                <c:pt idx="4030">
                  <c:v>28.349-28.356</c:v>
                </c:pt>
                <c:pt idx="4031">
                  <c:v>28.356-28.363</c:v>
                </c:pt>
                <c:pt idx="4032">
                  <c:v>28.363-28.370</c:v>
                </c:pt>
                <c:pt idx="4033">
                  <c:v>28.370-28.377</c:v>
                </c:pt>
                <c:pt idx="4034">
                  <c:v>28.377-28.384</c:v>
                </c:pt>
                <c:pt idx="4035">
                  <c:v>28.384-28.391</c:v>
                </c:pt>
                <c:pt idx="4036">
                  <c:v>28.391-28.398</c:v>
                </c:pt>
                <c:pt idx="4037">
                  <c:v>28.398-28.405</c:v>
                </c:pt>
                <c:pt idx="4038">
                  <c:v>28.405-28.412</c:v>
                </c:pt>
                <c:pt idx="4039">
                  <c:v>28.412-28.419</c:v>
                </c:pt>
                <c:pt idx="4040">
                  <c:v>28.419-28.426</c:v>
                </c:pt>
                <c:pt idx="4041">
                  <c:v>28.426-28.433</c:v>
                </c:pt>
                <c:pt idx="4042">
                  <c:v>28.433-28.440</c:v>
                </c:pt>
                <c:pt idx="4043">
                  <c:v>28.440-28.447</c:v>
                </c:pt>
                <c:pt idx="4044">
                  <c:v>28.447-28.454</c:v>
                </c:pt>
                <c:pt idx="4045">
                  <c:v>28.454-28.461</c:v>
                </c:pt>
                <c:pt idx="4046">
                  <c:v>28.461-28.468</c:v>
                </c:pt>
                <c:pt idx="4047">
                  <c:v>28.468-28.475</c:v>
                </c:pt>
                <c:pt idx="4048">
                  <c:v>28.475-28.482</c:v>
                </c:pt>
                <c:pt idx="4049">
                  <c:v>28.482-28.489</c:v>
                </c:pt>
                <c:pt idx="4050">
                  <c:v>28.489-28.496</c:v>
                </c:pt>
                <c:pt idx="4051">
                  <c:v>28.496-28.503</c:v>
                </c:pt>
                <c:pt idx="4052">
                  <c:v>28.503-28.511</c:v>
                </c:pt>
                <c:pt idx="4053">
                  <c:v>28.511-28.518</c:v>
                </c:pt>
                <c:pt idx="4054">
                  <c:v>28.518-28.525</c:v>
                </c:pt>
                <c:pt idx="4055">
                  <c:v>28.525-28.532</c:v>
                </c:pt>
                <c:pt idx="4056">
                  <c:v>28.532-28.539</c:v>
                </c:pt>
                <c:pt idx="4057">
                  <c:v>28.539-28.546</c:v>
                </c:pt>
                <c:pt idx="4058">
                  <c:v>28.546-28.553</c:v>
                </c:pt>
                <c:pt idx="4059">
                  <c:v>28.553-28.560</c:v>
                </c:pt>
                <c:pt idx="4060">
                  <c:v>28.560-28.567</c:v>
                </c:pt>
                <c:pt idx="4061">
                  <c:v>28.567-28.574</c:v>
                </c:pt>
                <c:pt idx="4062">
                  <c:v>28.574-28.581</c:v>
                </c:pt>
                <c:pt idx="4063">
                  <c:v>28.581-28.588</c:v>
                </c:pt>
                <c:pt idx="4064">
                  <c:v>28.588-28.595</c:v>
                </c:pt>
                <c:pt idx="4065">
                  <c:v>28.595-28.602</c:v>
                </c:pt>
                <c:pt idx="4066">
                  <c:v>28.602-28.609</c:v>
                </c:pt>
                <c:pt idx="4067">
                  <c:v>28.609-28.616</c:v>
                </c:pt>
                <c:pt idx="4068">
                  <c:v>28.616-28.623</c:v>
                </c:pt>
                <c:pt idx="4069">
                  <c:v>28.623-28.630</c:v>
                </c:pt>
                <c:pt idx="4070">
                  <c:v>28.630-28.637</c:v>
                </c:pt>
                <c:pt idx="4071">
                  <c:v>28.637-28.644</c:v>
                </c:pt>
                <c:pt idx="4072">
                  <c:v>28.644-28.651</c:v>
                </c:pt>
                <c:pt idx="4073">
                  <c:v>28.651-28.658</c:v>
                </c:pt>
                <c:pt idx="4074">
                  <c:v>28.658-28.665</c:v>
                </c:pt>
                <c:pt idx="4075">
                  <c:v>28.665-28.672</c:v>
                </c:pt>
                <c:pt idx="4076">
                  <c:v>28.672-28.679</c:v>
                </c:pt>
                <c:pt idx="4077">
                  <c:v>28.679-28.686</c:v>
                </c:pt>
                <c:pt idx="4078">
                  <c:v>28.686-28.693</c:v>
                </c:pt>
                <c:pt idx="4079">
                  <c:v>28.693-28.700</c:v>
                </c:pt>
                <c:pt idx="4080">
                  <c:v>28.700-28.707</c:v>
                </c:pt>
                <c:pt idx="4081">
                  <c:v>28.707-28.714</c:v>
                </c:pt>
                <c:pt idx="4082">
                  <c:v>28.714-28.721</c:v>
                </c:pt>
                <c:pt idx="4083">
                  <c:v>28.721-28.729</c:v>
                </c:pt>
                <c:pt idx="4084">
                  <c:v>28.729-28.736</c:v>
                </c:pt>
                <c:pt idx="4085">
                  <c:v>28.736-28.743</c:v>
                </c:pt>
                <c:pt idx="4086">
                  <c:v>28.743-28.750</c:v>
                </c:pt>
                <c:pt idx="4087">
                  <c:v>28.750-28.757</c:v>
                </c:pt>
                <c:pt idx="4088">
                  <c:v>28.757-28.764</c:v>
                </c:pt>
                <c:pt idx="4089">
                  <c:v>28.764-28.771</c:v>
                </c:pt>
                <c:pt idx="4090">
                  <c:v>28.771-28.778</c:v>
                </c:pt>
                <c:pt idx="4091">
                  <c:v>28.778-28.785</c:v>
                </c:pt>
                <c:pt idx="4092">
                  <c:v>28.785-28.792</c:v>
                </c:pt>
                <c:pt idx="4093">
                  <c:v>28.792-28.799</c:v>
                </c:pt>
                <c:pt idx="4094">
                  <c:v>28.799-28.806</c:v>
                </c:pt>
                <c:pt idx="4095">
                  <c:v>28.806-28.813</c:v>
                </c:pt>
                <c:pt idx="4096">
                  <c:v>28.813-28.820</c:v>
                </c:pt>
                <c:pt idx="4097">
                  <c:v>28.820-28.827</c:v>
                </c:pt>
                <c:pt idx="4098">
                  <c:v>28.827-28.834</c:v>
                </c:pt>
                <c:pt idx="4099">
                  <c:v>28.834-28.841</c:v>
                </c:pt>
                <c:pt idx="4100">
                  <c:v>28.841-28.848</c:v>
                </c:pt>
                <c:pt idx="4101">
                  <c:v>28.848-28.855</c:v>
                </c:pt>
                <c:pt idx="4102">
                  <c:v>28.855-28.862</c:v>
                </c:pt>
                <c:pt idx="4103">
                  <c:v>28.862-28.869</c:v>
                </c:pt>
                <c:pt idx="4104">
                  <c:v>28.869-28.876</c:v>
                </c:pt>
                <c:pt idx="4105">
                  <c:v>28.876-28.883</c:v>
                </c:pt>
                <c:pt idx="4106">
                  <c:v>28.883-28.890</c:v>
                </c:pt>
                <c:pt idx="4107">
                  <c:v>28.890-28.897</c:v>
                </c:pt>
                <c:pt idx="4108">
                  <c:v>28.897-28.904</c:v>
                </c:pt>
                <c:pt idx="4109">
                  <c:v>28.904-28.911</c:v>
                </c:pt>
                <c:pt idx="4110">
                  <c:v>28.911-28.918</c:v>
                </c:pt>
                <c:pt idx="4111">
                  <c:v>28.918-28.925</c:v>
                </c:pt>
                <c:pt idx="4112">
                  <c:v>28.925-28.932</c:v>
                </c:pt>
                <c:pt idx="4113">
                  <c:v>28.932-28.939</c:v>
                </c:pt>
                <c:pt idx="4114">
                  <c:v>28.939-28.947</c:v>
                </c:pt>
                <c:pt idx="4115">
                  <c:v>28.947-28.954</c:v>
                </c:pt>
                <c:pt idx="4116">
                  <c:v>28.954-28.961</c:v>
                </c:pt>
                <c:pt idx="4117">
                  <c:v>28.961-28.968</c:v>
                </c:pt>
                <c:pt idx="4118">
                  <c:v>28.968-28.975</c:v>
                </c:pt>
                <c:pt idx="4119">
                  <c:v>28.975-28.982</c:v>
                </c:pt>
                <c:pt idx="4120">
                  <c:v>28.982-28.989</c:v>
                </c:pt>
                <c:pt idx="4121">
                  <c:v>28.989-28.996</c:v>
                </c:pt>
                <c:pt idx="4122">
                  <c:v>28.996-29.003</c:v>
                </c:pt>
                <c:pt idx="4123">
                  <c:v>29.003-29.010</c:v>
                </c:pt>
                <c:pt idx="4124">
                  <c:v>29.010-29.017</c:v>
                </c:pt>
                <c:pt idx="4125">
                  <c:v>29.017-29.024</c:v>
                </c:pt>
                <c:pt idx="4126">
                  <c:v>29.024-29.031</c:v>
                </c:pt>
                <c:pt idx="4127">
                  <c:v>29.031-29.038</c:v>
                </c:pt>
                <c:pt idx="4128">
                  <c:v>29.038-29.045</c:v>
                </c:pt>
                <c:pt idx="4129">
                  <c:v>29.045-29.052</c:v>
                </c:pt>
                <c:pt idx="4130">
                  <c:v>29.052-29.059</c:v>
                </c:pt>
                <c:pt idx="4131">
                  <c:v>29.059-29.066</c:v>
                </c:pt>
                <c:pt idx="4132">
                  <c:v>29.066-29.073</c:v>
                </c:pt>
                <c:pt idx="4133">
                  <c:v>29.073-29.080</c:v>
                </c:pt>
                <c:pt idx="4134">
                  <c:v>29.080-29.087</c:v>
                </c:pt>
                <c:pt idx="4135">
                  <c:v>29.087-29.094</c:v>
                </c:pt>
                <c:pt idx="4136">
                  <c:v>29.094-29.101</c:v>
                </c:pt>
                <c:pt idx="4137">
                  <c:v>29.101-29.108</c:v>
                </c:pt>
                <c:pt idx="4138">
                  <c:v>29.108-29.115</c:v>
                </c:pt>
                <c:pt idx="4139">
                  <c:v>29.115-29.122</c:v>
                </c:pt>
                <c:pt idx="4140">
                  <c:v>29.122-29.129</c:v>
                </c:pt>
                <c:pt idx="4141">
                  <c:v>29.129-29.136</c:v>
                </c:pt>
                <c:pt idx="4142">
                  <c:v>29.136-29.143</c:v>
                </c:pt>
                <c:pt idx="4143">
                  <c:v>29.143-29.150</c:v>
                </c:pt>
                <c:pt idx="4144">
                  <c:v>29.150-29.157</c:v>
                </c:pt>
                <c:pt idx="4145">
                  <c:v>29.157-29.165</c:v>
                </c:pt>
                <c:pt idx="4146">
                  <c:v>29.165-29.172</c:v>
                </c:pt>
                <c:pt idx="4147">
                  <c:v>29.172-29.179</c:v>
                </c:pt>
                <c:pt idx="4148">
                  <c:v>29.179-29.186</c:v>
                </c:pt>
                <c:pt idx="4149">
                  <c:v>29.186-29.193</c:v>
                </c:pt>
                <c:pt idx="4150">
                  <c:v>29.193-29.200</c:v>
                </c:pt>
                <c:pt idx="4151">
                  <c:v>29.200-29.207</c:v>
                </c:pt>
                <c:pt idx="4152">
                  <c:v>29.207-29.214</c:v>
                </c:pt>
                <c:pt idx="4153">
                  <c:v>29.214-29.221</c:v>
                </c:pt>
                <c:pt idx="4154">
                  <c:v>29.221-29.228</c:v>
                </c:pt>
                <c:pt idx="4155">
                  <c:v>29.228-29.235</c:v>
                </c:pt>
                <c:pt idx="4156">
                  <c:v>29.235-29.242</c:v>
                </c:pt>
                <c:pt idx="4157">
                  <c:v>29.242-29.249</c:v>
                </c:pt>
                <c:pt idx="4158">
                  <c:v>29.249-29.256</c:v>
                </c:pt>
                <c:pt idx="4159">
                  <c:v>29.256-29.263</c:v>
                </c:pt>
                <c:pt idx="4160">
                  <c:v>29.263-29.270</c:v>
                </c:pt>
                <c:pt idx="4161">
                  <c:v>29.270-29.277</c:v>
                </c:pt>
                <c:pt idx="4162">
                  <c:v>29.277-29.284</c:v>
                </c:pt>
                <c:pt idx="4163">
                  <c:v>29.284-29.291</c:v>
                </c:pt>
                <c:pt idx="4164">
                  <c:v>29.291-29.298</c:v>
                </c:pt>
                <c:pt idx="4165">
                  <c:v>29.298-29.305</c:v>
                </c:pt>
                <c:pt idx="4166">
                  <c:v>29.305-29.312</c:v>
                </c:pt>
                <c:pt idx="4167">
                  <c:v>29.312-29.319</c:v>
                </c:pt>
                <c:pt idx="4168">
                  <c:v>29.319-29.326</c:v>
                </c:pt>
                <c:pt idx="4169">
                  <c:v>29.326-29.333</c:v>
                </c:pt>
                <c:pt idx="4170">
                  <c:v>29.333-29.340</c:v>
                </c:pt>
                <c:pt idx="4171">
                  <c:v>29.340-29.347</c:v>
                </c:pt>
                <c:pt idx="4172">
                  <c:v>29.347-29.354</c:v>
                </c:pt>
                <c:pt idx="4173">
                  <c:v>29.354-29.361</c:v>
                </c:pt>
                <c:pt idx="4174">
                  <c:v>29.361-29.368</c:v>
                </c:pt>
                <c:pt idx="4175">
                  <c:v>29.368-29.375</c:v>
                </c:pt>
                <c:pt idx="4176">
                  <c:v>29.375-29.382</c:v>
                </c:pt>
                <c:pt idx="4177">
                  <c:v>29.382-29.390</c:v>
                </c:pt>
                <c:pt idx="4178">
                  <c:v>29.390-29.397</c:v>
                </c:pt>
                <c:pt idx="4179">
                  <c:v>29.397-29.404</c:v>
                </c:pt>
                <c:pt idx="4180">
                  <c:v>29.404-29.411</c:v>
                </c:pt>
                <c:pt idx="4181">
                  <c:v>29.411-29.418</c:v>
                </c:pt>
                <c:pt idx="4182">
                  <c:v>29.418-29.425</c:v>
                </c:pt>
                <c:pt idx="4183">
                  <c:v>29.425-29.432</c:v>
                </c:pt>
                <c:pt idx="4184">
                  <c:v>29.432-29.439</c:v>
                </c:pt>
                <c:pt idx="4185">
                  <c:v>29.439-29.446</c:v>
                </c:pt>
                <c:pt idx="4186">
                  <c:v>29.446-29.453</c:v>
                </c:pt>
                <c:pt idx="4187">
                  <c:v>29.453-29.460</c:v>
                </c:pt>
                <c:pt idx="4188">
                  <c:v>29.460-29.467</c:v>
                </c:pt>
                <c:pt idx="4189">
                  <c:v>29.467-29.474</c:v>
                </c:pt>
                <c:pt idx="4190">
                  <c:v>29.474-29.481</c:v>
                </c:pt>
                <c:pt idx="4191">
                  <c:v>29.481-29.488</c:v>
                </c:pt>
                <c:pt idx="4192">
                  <c:v>29.488-29.495</c:v>
                </c:pt>
                <c:pt idx="4193">
                  <c:v>29.495-29.502</c:v>
                </c:pt>
                <c:pt idx="4194">
                  <c:v>29.502-29.509</c:v>
                </c:pt>
                <c:pt idx="4195">
                  <c:v>29.509-29.516</c:v>
                </c:pt>
                <c:pt idx="4196">
                  <c:v>29.516-29.523</c:v>
                </c:pt>
                <c:pt idx="4197">
                  <c:v>29.523-29.530</c:v>
                </c:pt>
                <c:pt idx="4198">
                  <c:v>29.530-29.537</c:v>
                </c:pt>
                <c:pt idx="4199">
                  <c:v>29.537-29.544</c:v>
                </c:pt>
                <c:pt idx="4200">
                  <c:v>29.544-29.551</c:v>
                </c:pt>
                <c:pt idx="4201">
                  <c:v>29.551-29.558</c:v>
                </c:pt>
                <c:pt idx="4202">
                  <c:v>29.558-29.565</c:v>
                </c:pt>
                <c:pt idx="4203">
                  <c:v>29.565-29.572</c:v>
                </c:pt>
                <c:pt idx="4204">
                  <c:v>29.572-29.579</c:v>
                </c:pt>
                <c:pt idx="4205">
                  <c:v>29.579-29.586</c:v>
                </c:pt>
                <c:pt idx="4206">
                  <c:v>29.586-29.593</c:v>
                </c:pt>
                <c:pt idx="4207">
                  <c:v>29.593-29.600</c:v>
                </c:pt>
                <c:pt idx="4208">
                  <c:v>29.600-29.608</c:v>
                </c:pt>
                <c:pt idx="4209">
                  <c:v>29.608-29.615</c:v>
                </c:pt>
                <c:pt idx="4210">
                  <c:v>29.615-29.622</c:v>
                </c:pt>
                <c:pt idx="4211">
                  <c:v>29.622-29.629</c:v>
                </c:pt>
                <c:pt idx="4212">
                  <c:v>29.629-29.636</c:v>
                </c:pt>
                <c:pt idx="4213">
                  <c:v>29.636-29.643</c:v>
                </c:pt>
                <c:pt idx="4214">
                  <c:v>29.643-29.650</c:v>
                </c:pt>
                <c:pt idx="4215">
                  <c:v>29.650-29.657</c:v>
                </c:pt>
                <c:pt idx="4216">
                  <c:v>29.657-29.664</c:v>
                </c:pt>
                <c:pt idx="4217">
                  <c:v>29.664-29.671</c:v>
                </c:pt>
                <c:pt idx="4218">
                  <c:v>29.671-29.678</c:v>
                </c:pt>
                <c:pt idx="4219">
                  <c:v>29.678-29.685</c:v>
                </c:pt>
                <c:pt idx="4220">
                  <c:v>29.685-29.692</c:v>
                </c:pt>
                <c:pt idx="4221">
                  <c:v>29.692-29.699</c:v>
                </c:pt>
                <c:pt idx="4222">
                  <c:v>29.699-29.706</c:v>
                </c:pt>
                <c:pt idx="4223">
                  <c:v>29.706-29.713</c:v>
                </c:pt>
                <c:pt idx="4224">
                  <c:v>29.713-29.720</c:v>
                </c:pt>
                <c:pt idx="4225">
                  <c:v>29.720-29.727</c:v>
                </c:pt>
                <c:pt idx="4226">
                  <c:v>29.727-29.734</c:v>
                </c:pt>
                <c:pt idx="4227">
                  <c:v>29.734-29.741</c:v>
                </c:pt>
                <c:pt idx="4228">
                  <c:v>29.741-29.748</c:v>
                </c:pt>
                <c:pt idx="4229">
                  <c:v>29.748-29.755</c:v>
                </c:pt>
                <c:pt idx="4230">
                  <c:v>29.755-29.762</c:v>
                </c:pt>
                <c:pt idx="4231">
                  <c:v>29.762-29.769</c:v>
                </c:pt>
                <c:pt idx="4232">
                  <c:v>29.769-29.776</c:v>
                </c:pt>
                <c:pt idx="4233">
                  <c:v>29.776-29.783</c:v>
                </c:pt>
                <c:pt idx="4234">
                  <c:v>29.783-29.790</c:v>
                </c:pt>
                <c:pt idx="4235">
                  <c:v>29.790-29.797</c:v>
                </c:pt>
                <c:pt idx="4236">
                  <c:v>29.797-29.804</c:v>
                </c:pt>
                <c:pt idx="4237">
                  <c:v>29.804-29.811</c:v>
                </c:pt>
                <c:pt idx="4238">
                  <c:v>29.811-29.818</c:v>
                </c:pt>
                <c:pt idx="4239">
                  <c:v>29.818-29.826</c:v>
                </c:pt>
                <c:pt idx="4240">
                  <c:v>29.826-29.833</c:v>
                </c:pt>
                <c:pt idx="4241">
                  <c:v>29.833-29.840</c:v>
                </c:pt>
                <c:pt idx="4242">
                  <c:v>29.840-29.847</c:v>
                </c:pt>
                <c:pt idx="4243">
                  <c:v>29.847-29.854</c:v>
                </c:pt>
                <c:pt idx="4244">
                  <c:v>29.854-29.861</c:v>
                </c:pt>
                <c:pt idx="4245">
                  <c:v>29.861-29.868</c:v>
                </c:pt>
                <c:pt idx="4246">
                  <c:v>29.868-29.875</c:v>
                </c:pt>
                <c:pt idx="4247">
                  <c:v>29.875-29.882</c:v>
                </c:pt>
                <c:pt idx="4248">
                  <c:v>29.882-29.889</c:v>
                </c:pt>
                <c:pt idx="4249">
                  <c:v>29.889-29.896</c:v>
                </c:pt>
                <c:pt idx="4250">
                  <c:v>29.896-29.903</c:v>
                </c:pt>
                <c:pt idx="4251">
                  <c:v>29.903-29.910</c:v>
                </c:pt>
                <c:pt idx="4252">
                  <c:v>29.910-29.917</c:v>
                </c:pt>
                <c:pt idx="4253">
                  <c:v>29.917-29.924</c:v>
                </c:pt>
                <c:pt idx="4254">
                  <c:v>29.924-29.931</c:v>
                </c:pt>
                <c:pt idx="4255">
                  <c:v>29.931-29.938</c:v>
                </c:pt>
                <c:pt idx="4256">
                  <c:v>29.938-29.945</c:v>
                </c:pt>
                <c:pt idx="4257">
                  <c:v>29.945-29.952</c:v>
                </c:pt>
                <c:pt idx="4258">
                  <c:v>29.952-29.959</c:v>
                </c:pt>
                <c:pt idx="4259">
                  <c:v>29.959-29.966</c:v>
                </c:pt>
                <c:pt idx="4260">
                  <c:v>29.966-29.973</c:v>
                </c:pt>
                <c:pt idx="4261">
                  <c:v>29.973-29.980</c:v>
                </c:pt>
                <c:pt idx="4262">
                  <c:v>29.980-29.987</c:v>
                </c:pt>
                <c:pt idx="4263">
                  <c:v>29.987-29.994</c:v>
                </c:pt>
                <c:pt idx="4264">
                  <c:v>29.994-30.001</c:v>
                </c:pt>
                <c:pt idx="4265">
                  <c:v>30.001-30.008</c:v>
                </c:pt>
                <c:pt idx="4266">
                  <c:v>30.008-30.015</c:v>
                </c:pt>
                <c:pt idx="4267">
                  <c:v>30.015-30.022</c:v>
                </c:pt>
                <c:pt idx="4268">
                  <c:v>30.022-30.029</c:v>
                </c:pt>
                <c:pt idx="4269">
                  <c:v>30.029-30.036</c:v>
                </c:pt>
                <c:pt idx="4270">
                  <c:v>30.036-30.044</c:v>
                </c:pt>
                <c:pt idx="4271">
                  <c:v>30.044-30.051</c:v>
                </c:pt>
                <c:pt idx="4272">
                  <c:v>30.051-30.058</c:v>
                </c:pt>
                <c:pt idx="4273">
                  <c:v>30.058-30.065</c:v>
                </c:pt>
                <c:pt idx="4274">
                  <c:v>30.065-30.072</c:v>
                </c:pt>
                <c:pt idx="4275">
                  <c:v>30.072-30.079</c:v>
                </c:pt>
                <c:pt idx="4276">
                  <c:v>30.079-30.086</c:v>
                </c:pt>
                <c:pt idx="4277">
                  <c:v>30.086-30.093</c:v>
                </c:pt>
                <c:pt idx="4278">
                  <c:v>30.093-30.100</c:v>
                </c:pt>
                <c:pt idx="4279">
                  <c:v>30.100-30.107</c:v>
                </c:pt>
                <c:pt idx="4280">
                  <c:v>30.107-30.114</c:v>
                </c:pt>
                <c:pt idx="4281">
                  <c:v>30.114-30.121</c:v>
                </c:pt>
                <c:pt idx="4282">
                  <c:v>30.121-30.128</c:v>
                </c:pt>
                <c:pt idx="4283">
                  <c:v>30.128-30.135</c:v>
                </c:pt>
                <c:pt idx="4284">
                  <c:v>30.135-30.142</c:v>
                </c:pt>
                <c:pt idx="4285">
                  <c:v>30.142-30.149</c:v>
                </c:pt>
                <c:pt idx="4286">
                  <c:v>30.149-30.156</c:v>
                </c:pt>
                <c:pt idx="4287">
                  <c:v>30.156-30.163</c:v>
                </c:pt>
                <c:pt idx="4288">
                  <c:v>30.163-30.170</c:v>
                </c:pt>
                <c:pt idx="4289">
                  <c:v>30.170-30.177</c:v>
                </c:pt>
                <c:pt idx="4290">
                  <c:v>30.177-30.184</c:v>
                </c:pt>
                <c:pt idx="4291">
                  <c:v>30.184-30.191</c:v>
                </c:pt>
                <c:pt idx="4292">
                  <c:v>30.191-30.198</c:v>
                </c:pt>
                <c:pt idx="4293">
                  <c:v>30.198-30.205</c:v>
                </c:pt>
                <c:pt idx="4294">
                  <c:v>30.205-30.212</c:v>
                </c:pt>
                <c:pt idx="4295">
                  <c:v>30.212-30.219</c:v>
                </c:pt>
                <c:pt idx="4296">
                  <c:v>30.219-30.226</c:v>
                </c:pt>
                <c:pt idx="4297">
                  <c:v>30.226-30.233</c:v>
                </c:pt>
                <c:pt idx="4298">
                  <c:v>30.233-30.240</c:v>
                </c:pt>
                <c:pt idx="4299">
                  <c:v>30.240-30.247</c:v>
                </c:pt>
                <c:pt idx="4300">
                  <c:v>30.247-30.254</c:v>
                </c:pt>
                <c:pt idx="4301">
                  <c:v>30.254-30.262</c:v>
                </c:pt>
                <c:pt idx="4302">
                  <c:v>30.262-30.269</c:v>
                </c:pt>
                <c:pt idx="4303">
                  <c:v>30.269-30.276</c:v>
                </c:pt>
                <c:pt idx="4304">
                  <c:v>30.276-30.283</c:v>
                </c:pt>
                <c:pt idx="4305">
                  <c:v>30.283-30.290</c:v>
                </c:pt>
                <c:pt idx="4306">
                  <c:v>30.290-30.297</c:v>
                </c:pt>
                <c:pt idx="4307">
                  <c:v>30.297-30.304</c:v>
                </c:pt>
                <c:pt idx="4308">
                  <c:v>30.304-30.311</c:v>
                </c:pt>
                <c:pt idx="4309">
                  <c:v>30.311-30.318</c:v>
                </c:pt>
                <c:pt idx="4310">
                  <c:v>30.318-30.325</c:v>
                </c:pt>
                <c:pt idx="4311">
                  <c:v>30.325-30.332</c:v>
                </c:pt>
                <c:pt idx="4312">
                  <c:v>30.332-30.339</c:v>
                </c:pt>
                <c:pt idx="4313">
                  <c:v>30.339-30.346</c:v>
                </c:pt>
                <c:pt idx="4314">
                  <c:v>30.346-30.353</c:v>
                </c:pt>
                <c:pt idx="4315">
                  <c:v>30.353-30.360</c:v>
                </c:pt>
                <c:pt idx="4316">
                  <c:v>30.360-30.367</c:v>
                </c:pt>
                <c:pt idx="4317">
                  <c:v>30.367-30.374</c:v>
                </c:pt>
                <c:pt idx="4318">
                  <c:v>30.374-30.381</c:v>
                </c:pt>
                <c:pt idx="4319">
                  <c:v>30.381-30.388</c:v>
                </c:pt>
                <c:pt idx="4320">
                  <c:v>30.388-30.395</c:v>
                </c:pt>
                <c:pt idx="4321">
                  <c:v>30.395-30.402</c:v>
                </c:pt>
                <c:pt idx="4322">
                  <c:v>30.402-30.409</c:v>
                </c:pt>
                <c:pt idx="4323">
                  <c:v>30.409-30.416</c:v>
                </c:pt>
                <c:pt idx="4324">
                  <c:v>30.416-30.423</c:v>
                </c:pt>
                <c:pt idx="4325">
                  <c:v>30.423-30.430</c:v>
                </c:pt>
                <c:pt idx="4326">
                  <c:v>30.430-30.437</c:v>
                </c:pt>
                <c:pt idx="4327">
                  <c:v>30.437-30.444</c:v>
                </c:pt>
                <c:pt idx="4328">
                  <c:v>30.444-30.451</c:v>
                </c:pt>
                <c:pt idx="4329">
                  <c:v>30.451-30.458</c:v>
                </c:pt>
                <c:pt idx="4330">
                  <c:v>30.458-30.465</c:v>
                </c:pt>
                <c:pt idx="4331">
                  <c:v>30.465-30.472</c:v>
                </c:pt>
                <c:pt idx="4332">
                  <c:v>30.472-30.480</c:v>
                </c:pt>
                <c:pt idx="4333">
                  <c:v>30.480-30.487</c:v>
                </c:pt>
                <c:pt idx="4334">
                  <c:v>30.487-30.494</c:v>
                </c:pt>
                <c:pt idx="4335">
                  <c:v>30.494-30.501</c:v>
                </c:pt>
                <c:pt idx="4336">
                  <c:v>30.501-30.508</c:v>
                </c:pt>
                <c:pt idx="4337">
                  <c:v>30.508-30.515</c:v>
                </c:pt>
                <c:pt idx="4338">
                  <c:v>30.515-30.522</c:v>
                </c:pt>
                <c:pt idx="4339">
                  <c:v>30.522-30.529</c:v>
                </c:pt>
                <c:pt idx="4340">
                  <c:v>30.529-30.536</c:v>
                </c:pt>
                <c:pt idx="4341">
                  <c:v>30.536-30.543</c:v>
                </c:pt>
                <c:pt idx="4342">
                  <c:v>30.543-30.550</c:v>
                </c:pt>
                <c:pt idx="4343">
                  <c:v>30.550-30.557</c:v>
                </c:pt>
                <c:pt idx="4344">
                  <c:v>30.557-30.564</c:v>
                </c:pt>
                <c:pt idx="4345">
                  <c:v>30.564-30.571</c:v>
                </c:pt>
                <c:pt idx="4346">
                  <c:v>30.571-30.578</c:v>
                </c:pt>
                <c:pt idx="4347">
                  <c:v>30.578-30.585</c:v>
                </c:pt>
                <c:pt idx="4348">
                  <c:v>30.585-30.592</c:v>
                </c:pt>
                <c:pt idx="4349">
                  <c:v>30.592-30.599</c:v>
                </c:pt>
                <c:pt idx="4350">
                  <c:v>30.599-30.606</c:v>
                </c:pt>
                <c:pt idx="4351">
                  <c:v>30.606-30.613</c:v>
                </c:pt>
                <c:pt idx="4352">
                  <c:v>30.613-30.620</c:v>
                </c:pt>
                <c:pt idx="4353">
                  <c:v>30.620-30.627</c:v>
                </c:pt>
                <c:pt idx="4354">
                  <c:v>30.627-30.634</c:v>
                </c:pt>
                <c:pt idx="4355">
                  <c:v>30.634-30.641</c:v>
                </c:pt>
                <c:pt idx="4356">
                  <c:v>30.641-30.648</c:v>
                </c:pt>
                <c:pt idx="4357">
                  <c:v>30.648-30.655</c:v>
                </c:pt>
                <c:pt idx="4358">
                  <c:v>30.655-30.662</c:v>
                </c:pt>
                <c:pt idx="4359">
                  <c:v>30.662-30.669</c:v>
                </c:pt>
                <c:pt idx="4360">
                  <c:v>30.669-30.676</c:v>
                </c:pt>
                <c:pt idx="4361">
                  <c:v>30.676-30.683</c:v>
                </c:pt>
                <c:pt idx="4362">
                  <c:v>30.683-30.690</c:v>
                </c:pt>
                <c:pt idx="4363">
                  <c:v>30.690-30.698</c:v>
                </c:pt>
                <c:pt idx="4364">
                  <c:v>30.698-30.705</c:v>
                </c:pt>
                <c:pt idx="4365">
                  <c:v>30.705-30.712</c:v>
                </c:pt>
                <c:pt idx="4366">
                  <c:v>30.712-30.719</c:v>
                </c:pt>
                <c:pt idx="4367">
                  <c:v>30.719-30.726</c:v>
                </c:pt>
                <c:pt idx="4368">
                  <c:v>30.726-30.733</c:v>
                </c:pt>
                <c:pt idx="4369">
                  <c:v>30.733-30.740</c:v>
                </c:pt>
                <c:pt idx="4370">
                  <c:v>30.740-30.747</c:v>
                </c:pt>
                <c:pt idx="4371">
                  <c:v>30.747-30.754</c:v>
                </c:pt>
                <c:pt idx="4372">
                  <c:v>30.754-30.761</c:v>
                </c:pt>
                <c:pt idx="4373">
                  <c:v>30.761-30.768</c:v>
                </c:pt>
                <c:pt idx="4374">
                  <c:v>30.768-30.775</c:v>
                </c:pt>
                <c:pt idx="4375">
                  <c:v>30.775-30.782</c:v>
                </c:pt>
                <c:pt idx="4376">
                  <c:v>30.782-30.789</c:v>
                </c:pt>
                <c:pt idx="4377">
                  <c:v>30.789-30.796</c:v>
                </c:pt>
                <c:pt idx="4378">
                  <c:v>30.796-30.803</c:v>
                </c:pt>
                <c:pt idx="4379">
                  <c:v>30.803-30.810</c:v>
                </c:pt>
                <c:pt idx="4380">
                  <c:v>30.810-30.817</c:v>
                </c:pt>
                <c:pt idx="4381">
                  <c:v>30.817-30.824</c:v>
                </c:pt>
                <c:pt idx="4382">
                  <c:v>30.824-30.831</c:v>
                </c:pt>
                <c:pt idx="4383">
                  <c:v>30.831-30.838</c:v>
                </c:pt>
                <c:pt idx="4384">
                  <c:v>30.838-30.845</c:v>
                </c:pt>
                <c:pt idx="4385">
                  <c:v>30.845-30.852</c:v>
                </c:pt>
                <c:pt idx="4386">
                  <c:v>30.852-30.859</c:v>
                </c:pt>
                <c:pt idx="4387">
                  <c:v>30.859-30.866</c:v>
                </c:pt>
                <c:pt idx="4388">
                  <c:v>30.866-30.873</c:v>
                </c:pt>
                <c:pt idx="4389">
                  <c:v>30.873-30.880</c:v>
                </c:pt>
                <c:pt idx="4390">
                  <c:v>30.880-30.887</c:v>
                </c:pt>
                <c:pt idx="4391">
                  <c:v>30.887-30.894</c:v>
                </c:pt>
                <c:pt idx="4392">
                  <c:v>30.894-30.901</c:v>
                </c:pt>
                <c:pt idx="4393">
                  <c:v>30.901-30.908</c:v>
                </c:pt>
                <c:pt idx="4394">
                  <c:v>30.908-30.916</c:v>
                </c:pt>
                <c:pt idx="4395">
                  <c:v>30.916-30.923</c:v>
                </c:pt>
                <c:pt idx="4396">
                  <c:v>30.923-30.930</c:v>
                </c:pt>
                <c:pt idx="4397">
                  <c:v>30.930-30.937</c:v>
                </c:pt>
                <c:pt idx="4398">
                  <c:v>30.937-30.944</c:v>
                </c:pt>
                <c:pt idx="4399">
                  <c:v>30.944-30.951</c:v>
                </c:pt>
                <c:pt idx="4400">
                  <c:v>30.951-30.958</c:v>
                </c:pt>
                <c:pt idx="4401">
                  <c:v>30.958-30.965</c:v>
                </c:pt>
                <c:pt idx="4402">
                  <c:v>30.965-30.972</c:v>
                </c:pt>
                <c:pt idx="4403">
                  <c:v>30.972-30.979</c:v>
                </c:pt>
                <c:pt idx="4404">
                  <c:v>30.979-30.986</c:v>
                </c:pt>
                <c:pt idx="4405">
                  <c:v>30.986-30.993</c:v>
                </c:pt>
                <c:pt idx="4406">
                  <c:v>30.993-31.000</c:v>
                </c:pt>
                <c:pt idx="4407">
                  <c:v>31.000-31.007</c:v>
                </c:pt>
                <c:pt idx="4408">
                  <c:v>31.007-31.014</c:v>
                </c:pt>
                <c:pt idx="4409">
                  <c:v>31.014-31.021</c:v>
                </c:pt>
                <c:pt idx="4410">
                  <c:v>31.021-31.028</c:v>
                </c:pt>
                <c:pt idx="4411">
                  <c:v>31.028-31.035</c:v>
                </c:pt>
                <c:pt idx="4412">
                  <c:v>31.035-31.042</c:v>
                </c:pt>
                <c:pt idx="4413">
                  <c:v>31.042-31.049</c:v>
                </c:pt>
                <c:pt idx="4414">
                  <c:v>31.049-31.056</c:v>
                </c:pt>
                <c:pt idx="4415">
                  <c:v>31.056-31.063</c:v>
                </c:pt>
                <c:pt idx="4416">
                  <c:v>31.063-31.070</c:v>
                </c:pt>
                <c:pt idx="4417">
                  <c:v>31.070-31.077</c:v>
                </c:pt>
                <c:pt idx="4418">
                  <c:v>31.077-31.084</c:v>
                </c:pt>
                <c:pt idx="4419">
                  <c:v>31.084-31.091</c:v>
                </c:pt>
                <c:pt idx="4420">
                  <c:v>31.091-31.098</c:v>
                </c:pt>
                <c:pt idx="4421">
                  <c:v>31.098-31.105</c:v>
                </c:pt>
                <c:pt idx="4422">
                  <c:v>31.105-31.112</c:v>
                </c:pt>
                <c:pt idx="4423">
                  <c:v>31.112-31.119</c:v>
                </c:pt>
                <c:pt idx="4424">
                  <c:v>31.119-31.126</c:v>
                </c:pt>
                <c:pt idx="4425">
                  <c:v>31.126-31.134</c:v>
                </c:pt>
                <c:pt idx="4426">
                  <c:v>31.134-31.141</c:v>
                </c:pt>
                <c:pt idx="4427">
                  <c:v>31.141-31.148</c:v>
                </c:pt>
                <c:pt idx="4428">
                  <c:v>31.148-31.155</c:v>
                </c:pt>
                <c:pt idx="4429">
                  <c:v>31.155-31.162</c:v>
                </c:pt>
                <c:pt idx="4430">
                  <c:v>31.162-31.169</c:v>
                </c:pt>
                <c:pt idx="4431">
                  <c:v>31.169-31.176</c:v>
                </c:pt>
                <c:pt idx="4432">
                  <c:v>31.176-31.183</c:v>
                </c:pt>
                <c:pt idx="4433">
                  <c:v>31.183-31.190</c:v>
                </c:pt>
                <c:pt idx="4434">
                  <c:v>31.190-31.197</c:v>
                </c:pt>
                <c:pt idx="4435">
                  <c:v>31.197-31.204</c:v>
                </c:pt>
                <c:pt idx="4436">
                  <c:v>31.204-31.211</c:v>
                </c:pt>
                <c:pt idx="4437">
                  <c:v>31.211-31.218</c:v>
                </c:pt>
                <c:pt idx="4438">
                  <c:v>31.218-31.225</c:v>
                </c:pt>
                <c:pt idx="4439">
                  <c:v>31.225-31.232</c:v>
                </c:pt>
                <c:pt idx="4440">
                  <c:v>31.232-31.239</c:v>
                </c:pt>
                <c:pt idx="4441">
                  <c:v>31.239-31.246</c:v>
                </c:pt>
                <c:pt idx="4442">
                  <c:v>31.246-31.253</c:v>
                </c:pt>
                <c:pt idx="4443">
                  <c:v>31.253-31.260</c:v>
                </c:pt>
                <c:pt idx="4444">
                  <c:v>31.260-31.267</c:v>
                </c:pt>
                <c:pt idx="4445">
                  <c:v>31.267-31.274</c:v>
                </c:pt>
                <c:pt idx="4446">
                  <c:v>31.274-31.281</c:v>
                </c:pt>
                <c:pt idx="4447">
                  <c:v>31.281-31.288</c:v>
                </c:pt>
                <c:pt idx="4448">
                  <c:v>31.288-31.295</c:v>
                </c:pt>
                <c:pt idx="4449">
                  <c:v>31.295-31.302</c:v>
                </c:pt>
                <c:pt idx="4450">
                  <c:v>31.302-31.309</c:v>
                </c:pt>
                <c:pt idx="4451">
                  <c:v>31.309-31.316</c:v>
                </c:pt>
                <c:pt idx="4452">
                  <c:v>31.316-31.323</c:v>
                </c:pt>
                <c:pt idx="4453">
                  <c:v>31.323-31.330</c:v>
                </c:pt>
                <c:pt idx="4454">
                  <c:v>31.330-31.337</c:v>
                </c:pt>
                <c:pt idx="4455">
                  <c:v>31.337-31.344</c:v>
                </c:pt>
                <c:pt idx="4456">
                  <c:v>31.344-31.352</c:v>
                </c:pt>
                <c:pt idx="4457">
                  <c:v>31.352-31.359</c:v>
                </c:pt>
                <c:pt idx="4458">
                  <c:v>31.359-31.366</c:v>
                </c:pt>
                <c:pt idx="4459">
                  <c:v>31.366-31.373</c:v>
                </c:pt>
                <c:pt idx="4460">
                  <c:v>31.373-31.380</c:v>
                </c:pt>
                <c:pt idx="4461">
                  <c:v>31.380-31.387</c:v>
                </c:pt>
                <c:pt idx="4462">
                  <c:v>31.387-31.394</c:v>
                </c:pt>
                <c:pt idx="4463">
                  <c:v>31.394-31.401</c:v>
                </c:pt>
                <c:pt idx="4464">
                  <c:v>31.401-31.408</c:v>
                </c:pt>
                <c:pt idx="4465">
                  <c:v>31.408-31.415</c:v>
                </c:pt>
                <c:pt idx="4466">
                  <c:v>31.415-31.422</c:v>
                </c:pt>
                <c:pt idx="4467">
                  <c:v>31.422-31.429</c:v>
                </c:pt>
                <c:pt idx="4468">
                  <c:v>31.429-31.436</c:v>
                </c:pt>
                <c:pt idx="4469">
                  <c:v>31.436-31.443</c:v>
                </c:pt>
                <c:pt idx="4470">
                  <c:v>31.443-31.450</c:v>
                </c:pt>
                <c:pt idx="4471">
                  <c:v>31.450-31.457</c:v>
                </c:pt>
                <c:pt idx="4472">
                  <c:v>31.457-31.464</c:v>
                </c:pt>
                <c:pt idx="4473">
                  <c:v>31.464-31.471</c:v>
                </c:pt>
                <c:pt idx="4474">
                  <c:v>31.471-31.478</c:v>
                </c:pt>
                <c:pt idx="4475">
                  <c:v>31.478-31.485</c:v>
                </c:pt>
                <c:pt idx="4476">
                  <c:v>31.485-31.492</c:v>
                </c:pt>
                <c:pt idx="4477">
                  <c:v>31.492-31.499</c:v>
                </c:pt>
                <c:pt idx="4478">
                  <c:v>31.499-31.506</c:v>
                </c:pt>
                <c:pt idx="4479">
                  <c:v>31.506-31.513</c:v>
                </c:pt>
                <c:pt idx="4480">
                  <c:v>31.513-31.520</c:v>
                </c:pt>
                <c:pt idx="4481">
                  <c:v>31.520-31.527</c:v>
                </c:pt>
                <c:pt idx="4482">
                  <c:v>31.527-31.534</c:v>
                </c:pt>
                <c:pt idx="4483">
                  <c:v>31.534-31.541</c:v>
                </c:pt>
                <c:pt idx="4484">
                  <c:v>31.541-31.548</c:v>
                </c:pt>
                <c:pt idx="4485">
                  <c:v>31.548-31.555</c:v>
                </c:pt>
                <c:pt idx="4486">
                  <c:v>31.555-31.562</c:v>
                </c:pt>
                <c:pt idx="4487">
                  <c:v>31.562-31.570</c:v>
                </c:pt>
                <c:pt idx="4488">
                  <c:v>31.570-31.577</c:v>
                </c:pt>
                <c:pt idx="4489">
                  <c:v>31.577-31.584</c:v>
                </c:pt>
                <c:pt idx="4490">
                  <c:v>31.584-31.591</c:v>
                </c:pt>
                <c:pt idx="4491">
                  <c:v>31.591-31.598</c:v>
                </c:pt>
                <c:pt idx="4492">
                  <c:v>31.598-31.605</c:v>
                </c:pt>
                <c:pt idx="4493">
                  <c:v>31.605-31.612</c:v>
                </c:pt>
                <c:pt idx="4494">
                  <c:v>31.612-31.619</c:v>
                </c:pt>
                <c:pt idx="4495">
                  <c:v>31.619-31.626</c:v>
                </c:pt>
                <c:pt idx="4496">
                  <c:v>31.626-31.633</c:v>
                </c:pt>
                <c:pt idx="4497">
                  <c:v>31.633-31.640</c:v>
                </c:pt>
                <c:pt idx="4498">
                  <c:v>31.640-31.647</c:v>
                </c:pt>
                <c:pt idx="4499">
                  <c:v>31.647-31.654</c:v>
                </c:pt>
                <c:pt idx="4500">
                  <c:v>31.654-31.661</c:v>
                </c:pt>
                <c:pt idx="4501">
                  <c:v>31.661-31.668</c:v>
                </c:pt>
                <c:pt idx="4502">
                  <c:v>31.668-31.675</c:v>
                </c:pt>
                <c:pt idx="4503">
                  <c:v>31.675-31.682</c:v>
                </c:pt>
                <c:pt idx="4504">
                  <c:v>31.682-31.689</c:v>
                </c:pt>
                <c:pt idx="4505">
                  <c:v>31.689-31.696</c:v>
                </c:pt>
                <c:pt idx="4506">
                  <c:v>31.696-31.703</c:v>
                </c:pt>
                <c:pt idx="4507">
                  <c:v>31.703-31.710</c:v>
                </c:pt>
                <c:pt idx="4508">
                  <c:v>31.710-31.717</c:v>
                </c:pt>
                <c:pt idx="4509">
                  <c:v>31.717-31.724</c:v>
                </c:pt>
                <c:pt idx="4510">
                  <c:v>31.724-31.731</c:v>
                </c:pt>
                <c:pt idx="4511">
                  <c:v>31.731-31.738</c:v>
                </c:pt>
                <c:pt idx="4512">
                  <c:v>31.738-31.745</c:v>
                </c:pt>
                <c:pt idx="4513">
                  <c:v>31.745-31.752</c:v>
                </c:pt>
                <c:pt idx="4514">
                  <c:v>31.752-31.759</c:v>
                </c:pt>
                <c:pt idx="4515">
                  <c:v>31.759-31.766</c:v>
                </c:pt>
                <c:pt idx="4516">
                  <c:v>31.766-31.773</c:v>
                </c:pt>
                <c:pt idx="4517">
                  <c:v>31.773-31.780</c:v>
                </c:pt>
                <c:pt idx="4518">
                  <c:v>31.780-31.788</c:v>
                </c:pt>
                <c:pt idx="4519">
                  <c:v>31.788-31.795</c:v>
                </c:pt>
                <c:pt idx="4520">
                  <c:v>31.795-31.802</c:v>
                </c:pt>
                <c:pt idx="4521">
                  <c:v>31.802-31.809</c:v>
                </c:pt>
                <c:pt idx="4522">
                  <c:v>31.809-31.816</c:v>
                </c:pt>
                <c:pt idx="4523">
                  <c:v>31.816-31.823</c:v>
                </c:pt>
                <c:pt idx="4524">
                  <c:v>31.823-31.830</c:v>
                </c:pt>
                <c:pt idx="4525">
                  <c:v>31.830-31.837</c:v>
                </c:pt>
                <c:pt idx="4526">
                  <c:v>31.837-31.844</c:v>
                </c:pt>
                <c:pt idx="4527">
                  <c:v>31.844-31.851</c:v>
                </c:pt>
                <c:pt idx="4528">
                  <c:v>31.851-31.858</c:v>
                </c:pt>
                <c:pt idx="4529">
                  <c:v>31.858-31.865</c:v>
                </c:pt>
                <c:pt idx="4530">
                  <c:v>31.865-31.872</c:v>
                </c:pt>
                <c:pt idx="4531">
                  <c:v>31.872-31.879</c:v>
                </c:pt>
                <c:pt idx="4532">
                  <c:v>31.879-31.886</c:v>
                </c:pt>
                <c:pt idx="4533">
                  <c:v>31.886-31.893</c:v>
                </c:pt>
                <c:pt idx="4534">
                  <c:v>31.893-31.900</c:v>
                </c:pt>
                <c:pt idx="4535">
                  <c:v>31.900-31.907</c:v>
                </c:pt>
                <c:pt idx="4536">
                  <c:v>31.907-31.914</c:v>
                </c:pt>
                <c:pt idx="4537">
                  <c:v>31.914-31.921</c:v>
                </c:pt>
                <c:pt idx="4538">
                  <c:v>31.921-31.928</c:v>
                </c:pt>
                <c:pt idx="4539">
                  <c:v>31.928-31.935</c:v>
                </c:pt>
                <c:pt idx="4540">
                  <c:v>31.935-31.942</c:v>
                </c:pt>
                <c:pt idx="4541">
                  <c:v>31.942-31.949</c:v>
                </c:pt>
                <c:pt idx="4542">
                  <c:v>31.949-31.956</c:v>
                </c:pt>
                <c:pt idx="4543">
                  <c:v>31.956-31.963</c:v>
                </c:pt>
                <c:pt idx="4544">
                  <c:v>31.963-31.970</c:v>
                </c:pt>
                <c:pt idx="4545">
                  <c:v>31.970-31.977</c:v>
                </c:pt>
                <c:pt idx="4546">
                  <c:v>31.977-31.984</c:v>
                </c:pt>
                <c:pt idx="4547">
                  <c:v>31.984-31.991</c:v>
                </c:pt>
                <c:pt idx="4548">
                  <c:v>31.991-31.998</c:v>
                </c:pt>
                <c:pt idx="4549">
                  <c:v>31.998-32.006</c:v>
                </c:pt>
                <c:pt idx="4550">
                  <c:v>32.006-32.013</c:v>
                </c:pt>
                <c:pt idx="4551">
                  <c:v>32.013-32.020</c:v>
                </c:pt>
                <c:pt idx="4552">
                  <c:v>32.020-32.027</c:v>
                </c:pt>
                <c:pt idx="4553">
                  <c:v>32.027-32.034</c:v>
                </c:pt>
                <c:pt idx="4554">
                  <c:v>32.034-32.041</c:v>
                </c:pt>
                <c:pt idx="4555">
                  <c:v>32.041-32.048</c:v>
                </c:pt>
                <c:pt idx="4556">
                  <c:v>32.048-32.055</c:v>
                </c:pt>
                <c:pt idx="4557">
                  <c:v>32.055-32.062</c:v>
                </c:pt>
                <c:pt idx="4558">
                  <c:v>32.062-32.069</c:v>
                </c:pt>
                <c:pt idx="4559">
                  <c:v>32.069-32.076</c:v>
                </c:pt>
                <c:pt idx="4560">
                  <c:v>32.076-32.083</c:v>
                </c:pt>
                <c:pt idx="4561">
                  <c:v>32.083-32.090</c:v>
                </c:pt>
                <c:pt idx="4562">
                  <c:v>32.090-32.097</c:v>
                </c:pt>
                <c:pt idx="4563">
                  <c:v>32.097-32.104</c:v>
                </c:pt>
                <c:pt idx="4564">
                  <c:v>32.104-32.111</c:v>
                </c:pt>
                <c:pt idx="4565">
                  <c:v>32.111-32.118</c:v>
                </c:pt>
                <c:pt idx="4566">
                  <c:v>32.118-32.125</c:v>
                </c:pt>
                <c:pt idx="4567">
                  <c:v>32.125-32.132</c:v>
                </c:pt>
                <c:pt idx="4568">
                  <c:v>32.132-32.139</c:v>
                </c:pt>
                <c:pt idx="4569">
                  <c:v>32.139-32.146</c:v>
                </c:pt>
                <c:pt idx="4570">
                  <c:v>32.146-32.153</c:v>
                </c:pt>
                <c:pt idx="4571">
                  <c:v>32.153-32.160</c:v>
                </c:pt>
                <c:pt idx="4572">
                  <c:v>32.160-32.167</c:v>
                </c:pt>
                <c:pt idx="4573">
                  <c:v>32.167-32.174</c:v>
                </c:pt>
                <c:pt idx="4574">
                  <c:v>32.174-32.181</c:v>
                </c:pt>
                <c:pt idx="4575">
                  <c:v>32.181-32.188</c:v>
                </c:pt>
                <c:pt idx="4576">
                  <c:v>32.188-32.195</c:v>
                </c:pt>
                <c:pt idx="4577">
                  <c:v>32.195-32.202</c:v>
                </c:pt>
                <c:pt idx="4578">
                  <c:v>32.202-32.209</c:v>
                </c:pt>
                <c:pt idx="4579">
                  <c:v>32.209-32.216</c:v>
                </c:pt>
                <c:pt idx="4580">
                  <c:v>32.216-32.224</c:v>
                </c:pt>
                <c:pt idx="4581">
                  <c:v>32.224-32.231</c:v>
                </c:pt>
                <c:pt idx="4582">
                  <c:v>32.231-32.238</c:v>
                </c:pt>
                <c:pt idx="4583">
                  <c:v>32.238-32.245</c:v>
                </c:pt>
                <c:pt idx="4584">
                  <c:v>32.245-32.252</c:v>
                </c:pt>
                <c:pt idx="4585">
                  <c:v>32.252-32.259</c:v>
                </c:pt>
                <c:pt idx="4586">
                  <c:v>32.259-32.266</c:v>
                </c:pt>
                <c:pt idx="4587">
                  <c:v>32.266-32.273</c:v>
                </c:pt>
                <c:pt idx="4588">
                  <c:v>32.273-32.280</c:v>
                </c:pt>
                <c:pt idx="4589">
                  <c:v>32.280-32.287</c:v>
                </c:pt>
                <c:pt idx="4590">
                  <c:v>32.287-32.294</c:v>
                </c:pt>
                <c:pt idx="4591">
                  <c:v>32.294-32.301</c:v>
                </c:pt>
                <c:pt idx="4592">
                  <c:v>32.301-32.308</c:v>
                </c:pt>
                <c:pt idx="4593">
                  <c:v>32.308-32.315</c:v>
                </c:pt>
                <c:pt idx="4594">
                  <c:v>32.315-32.322</c:v>
                </c:pt>
                <c:pt idx="4595">
                  <c:v>32.322-32.329</c:v>
                </c:pt>
                <c:pt idx="4596">
                  <c:v>32.329-32.336</c:v>
                </c:pt>
                <c:pt idx="4597">
                  <c:v>32.336-32.343</c:v>
                </c:pt>
                <c:pt idx="4598">
                  <c:v>32.343-32.350</c:v>
                </c:pt>
                <c:pt idx="4599">
                  <c:v>32.350-32.357</c:v>
                </c:pt>
                <c:pt idx="4600">
                  <c:v>32.357-32.364</c:v>
                </c:pt>
                <c:pt idx="4601">
                  <c:v>32.364-32.371</c:v>
                </c:pt>
                <c:pt idx="4602">
                  <c:v>32.371-32.378</c:v>
                </c:pt>
                <c:pt idx="4603">
                  <c:v>32.378-32.385</c:v>
                </c:pt>
                <c:pt idx="4604">
                  <c:v>32.385-32.392</c:v>
                </c:pt>
                <c:pt idx="4605">
                  <c:v>32.392-32.399</c:v>
                </c:pt>
                <c:pt idx="4606">
                  <c:v>32.399-32.406</c:v>
                </c:pt>
                <c:pt idx="4607">
                  <c:v>32.406-32.413</c:v>
                </c:pt>
                <c:pt idx="4608">
                  <c:v>32.413-32.420</c:v>
                </c:pt>
                <c:pt idx="4609">
                  <c:v>32.420-32.427</c:v>
                </c:pt>
                <c:pt idx="4610">
                  <c:v>32.427-32.434</c:v>
                </c:pt>
                <c:pt idx="4611">
                  <c:v>32.434-32.442</c:v>
                </c:pt>
                <c:pt idx="4612">
                  <c:v>32.442-32.449</c:v>
                </c:pt>
                <c:pt idx="4613">
                  <c:v>32.449-32.456</c:v>
                </c:pt>
                <c:pt idx="4614">
                  <c:v>32.456-32.463</c:v>
                </c:pt>
                <c:pt idx="4615">
                  <c:v>32.463-32.470</c:v>
                </c:pt>
                <c:pt idx="4616">
                  <c:v>32.470-32.477</c:v>
                </c:pt>
                <c:pt idx="4617">
                  <c:v>32.477-32.484</c:v>
                </c:pt>
                <c:pt idx="4618">
                  <c:v>32.484-32.491</c:v>
                </c:pt>
                <c:pt idx="4619">
                  <c:v>32.491-32.498</c:v>
                </c:pt>
                <c:pt idx="4620">
                  <c:v>32.498-32.505</c:v>
                </c:pt>
                <c:pt idx="4621">
                  <c:v>32.505-32.512</c:v>
                </c:pt>
                <c:pt idx="4622">
                  <c:v>32.512-32.519</c:v>
                </c:pt>
                <c:pt idx="4623">
                  <c:v>32.519-32.526</c:v>
                </c:pt>
                <c:pt idx="4624">
                  <c:v>32.526-32.533</c:v>
                </c:pt>
                <c:pt idx="4625">
                  <c:v>32.533-32.540</c:v>
                </c:pt>
                <c:pt idx="4626">
                  <c:v>32.540-32.547</c:v>
                </c:pt>
                <c:pt idx="4627">
                  <c:v>32.547-32.554</c:v>
                </c:pt>
                <c:pt idx="4628">
                  <c:v>32.554-32.561</c:v>
                </c:pt>
                <c:pt idx="4629">
                  <c:v>32.561-32.568</c:v>
                </c:pt>
                <c:pt idx="4630">
                  <c:v>32.568-32.575</c:v>
                </c:pt>
                <c:pt idx="4631">
                  <c:v>32.575-32.582</c:v>
                </c:pt>
                <c:pt idx="4632">
                  <c:v>32.582-32.589</c:v>
                </c:pt>
                <c:pt idx="4633">
                  <c:v>32.589-32.596</c:v>
                </c:pt>
                <c:pt idx="4634">
                  <c:v>32.596-32.603</c:v>
                </c:pt>
                <c:pt idx="4635">
                  <c:v>32.603-32.610</c:v>
                </c:pt>
                <c:pt idx="4636">
                  <c:v>32.610-32.617</c:v>
                </c:pt>
                <c:pt idx="4637">
                  <c:v>32.617-32.624</c:v>
                </c:pt>
                <c:pt idx="4638">
                  <c:v>32.624-32.631</c:v>
                </c:pt>
                <c:pt idx="4639">
                  <c:v>32.631-32.638</c:v>
                </c:pt>
                <c:pt idx="4640">
                  <c:v>32.638-32.645</c:v>
                </c:pt>
                <c:pt idx="4641">
                  <c:v>32.645-32.652</c:v>
                </c:pt>
                <c:pt idx="4642">
                  <c:v>32.652-32.660</c:v>
                </c:pt>
                <c:pt idx="4643">
                  <c:v>32.660-32.667</c:v>
                </c:pt>
                <c:pt idx="4644">
                  <c:v>32.667-32.674</c:v>
                </c:pt>
                <c:pt idx="4645">
                  <c:v>32.674-32.681</c:v>
                </c:pt>
                <c:pt idx="4646">
                  <c:v>32.681-32.688</c:v>
                </c:pt>
                <c:pt idx="4647">
                  <c:v>32.688-32.695</c:v>
                </c:pt>
                <c:pt idx="4648">
                  <c:v>32.695-32.702</c:v>
                </c:pt>
                <c:pt idx="4649">
                  <c:v>32.702-32.709</c:v>
                </c:pt>
                <c:pt idx="4650">
                  <c:v>32.709-32.716</c:v>
                </c:pt>
                <c:pt idx="4651">
                  <c:v>32.716-32.723</c:v>
                </c:pt>
                <c:pt idx="4652">
                  <c:v>32.723-32.730</c:v>
                </c:pt>
                <c:pt idx="4653">
                  <c:v>32.730-32.737</c:v>
                </c:pt>
                <c:pt idx="4654">
                  <c:v>32.737-32.744</c:v>
                </c:pt>
                <c:pt idx="4655">
                  <c:v>32.744-32.751</c:v>
                </c:pt>
                <c:pt idx="4656">
                  <c:v>32.751-32.758</c:v>
                </c:pt>
                <c:pt idx="4657">
                  <c:v>32.758-32.765</c:v>
                </c:pt>
                <c:pt idx="4658">
                  <c:v>32.765-32.772</c:v>
                </c:pt>
                <c:pt idx="4659">
                  <c:v>32.772-32.779</c:v>
                </c:pt>
                <c:pt idx="4660">
                  <c:v>32.779-32.786</c:v>
                </c:pt>
                <c:pt idx="4661">
                  <c:v>32.786-32.793</c:v>
                </c:pt>
                <c:pt idx="4662">
                  <c:v>32.793-32.800</c:v>
                </c:pt>
                <c:pt idx="4663">
                  <c:v>32.800-32.807</c:v>
                </c:pt>
                <c:pt idx="4664">
                  <c:v>32.807-32.814</c:v>
                </c:pt>
                <c:pt idx="4665">
                  <c:v>32.814-32.821</c:v>
                </c:pt>
                <c:pt idx="4666">
                  <c:v>32.821-32.828</c:v>
                </c:pt>
                <c:pt idx="4667">
                  <c:v>32.828-32.835</c:v>
                </c:pt>
                <c:pt idx="4668">
                  <c:v>32.835-32.842</c:v>
                </c:pt>
                <c:pt idx="4669">
                  <c:v>32.842-32.849</c:v>
                </c:pt>
                <c:pt idx="4670">
                  <c:v>32.849-32.856</c:v>
                </c:pt>
                <c:pt idx="4671">
                  <c:v>32.856-32.863</c:v>
                </c:pt>
                <c:pt idx="4672">
                  <c:v>32.863-32.870</c:v>
                </c:pt>
                <c:pt idx="4673">
                  <c:v>32.870-32.878</c:v>
                </c:pt>
                <c:pt idx="4674">
                  <c:v>32.878-32.885</c:v>
                </c:pt>
                <c:pt idx="4675">
                  <c:v>32.885-32.892</c:v>
                </c:pt>
                <c:pt idx="4676">
                  <c:v>32.892-32.899</c:v>
                </c:pt>
                <c:pt idx="4677">
                  <c:v>32.899-32.906</c:v>
                </c:pt>
                <c:pt idx="4678">
                  <c:v>32.906-32.913</c:v>
                </c:pt>
                <c:pt idx="4679">
                  <c:v>32.913-32.920</c:v>
                </c:pt>
                <c:pt idx="4680">
                  <c:v>32.920-32.927</c:v>
                </c:pt>
                <c:pt idx="4681">
                  <c:v>32.927-32.934</c:v>
                </c:pt>
                <c:pt idx="4682">
                  <c:v>32.934-32.941</c:v>
                </c:pt>
                <c:pt idx="4683">
                  <c:v>32.941-32.948</c:v>
                </c:pt>
                <c:pt idx="4684">
                  <c:v>32.948-32.955</c:v>
                </c:pt>
                <c:pt idx="4685">
                  <c:v>32.955-32.962</c:v>
                </c:pt>
                <c:pt idx="4686">
                  <c:v>32.962-32.969</c:v>
                </c:pt>
                <c:pt idx="4687">
                  <c:v>32.969-32.976</c:v>
                </c:pt>
                <c:pt idx="4688">
                  <c:v>32.976-32.983</c:v>
                </c:pt>
                <c:pt idx="4689">
                  <c:v>32.983-32.990</c:v>
                </c:pt>
                <c:pt idx="4690">
                  <c:v>32.990-32.997</c:v>
                </c:pt>
                <c:pt idx="4691">
                  <c:v>32.997-33.004</c:v>
                </c:pt>
                <c:pt idx="4692">
                  <c:v>33.004-33.011</c:v>
                </c:pt>
                <c:pt idx="4693">
                  <c:v>33.011-33.018</c:v>
                </c:pt>
                <c:pt idx="4694">
                  <c:v>33.018-33.025</c:v>
                </c:pt>
                <c:pt idx="4695">
                  <c:v>33.025-33.032</c:v>
                </c:pt>
                <c:pt idx="4696">
                  <c:v>33.032-33.039</c:v>
                </c:pt>
                <c:pt idx="4697">
                  <c:v>33.039-33.046</c:v>
                </c:pt>
                <c:pt idx="4698">
                  <c:v>33.046-33.053</c:v>
                </c:pt>
                <c:pt idx="4699">
                  <c:v>33.053-33.060</c:v>
                </c:pt>
                <c:pt idx="4700">
                  <c:v>33.060-33.067</c:v>
                </c:pt>
                <c:pt idx="4701">
                  <c:v>33.067-33.074</c:v>
                </c:pt>
                <c:pt idx="4702">
                  <c:v>33.074-33.081</c:v>
                </c:pt>
                <c:pt idx="4703">
                  <c:v>33.081-33.088</c:v>
                </c:pt>
                <c:pt idx="4704">
                  <c:v>33.088-33.096</c:v>
                </c:pt>
                <c:pt idx="4705">
                  <c:v>33.096-33.103</c:v>
                </c:pt>
                <c:pt idx="4706">
                  <c:v>33.103-33.110</c:v>
                </c:pt>
                <c:pt idx="4707">
                  <c:v>33.110-33.117</c:v>
                </c:pt>
                <c:pt idx="4708">
                  <c:v>33.117-33.124</c:v>
                </c:pt>
                <c:pt idx="4709">
                  <c:v>33.124-33.131</c:v>
                </c:pt>
                <c:pt idx="4710">
                  <c:v>33.131-33.138</c:v>
                </c:pt>
                <c:pt idx="4711">
                  <c:v>33.138-33.145</c:v>
                </c:pt>
                <c:pt idx="4712">
                  <c:v>33.145-33.152</c:v>
                </c:pt>
                <c:pt idx="4713">
                  <c:v>33.152-33.159</c:v>
                </c:pt>
                <c:pt idx="4714">
                  <c:v>33.159-33.166</c:v>
                </c:pt>
                <c:pt idx="4715">
                  <c:v>33.166-33.173</c:v>
                </c:pt>
                <c:pt idx="4716">
                  <c:v>33.173-33.180</c:v>
                </c:pt>
                <c:pt idx="4717">
                  <c:v>33.180-33.187</c:v>
                </c:pt>
                <c:pt idx="4718">
                  <c:v>33.187-33.194</c:v>
                </c:pt>
                <c:pt idx="4719">
                  <c:v>33.194-33.201</c:v>
                </c:pt>
                <c:pt idx="4720">
                  <c:v>33.201-33.208</c:v>
                </c:pt>
                <c:pt idx="4721">
                  <c:v>33.208-33.215</c:v>
                </c:pt>
                <c:pt idx="4722">
                  <c:v>33.215-33.222</c:v>
                </c:pt>
                <c:pt idx="4723">
                  <c:v>33.222-33.229</c:v>
                </c:pt>
                <c:pt idx="4724">
                  <c:v>33.229-33.236</c:v>
                </c:pt>
                <c:pt idx="4725">
                  <c:v>33.236-33.243</c:v>
                </c:pt>
                <c:pt idx="4726">
                  <c:v>33.243-33.250</c:v>
                </c:pt>
                <c:pt idx="4727">
                  <c:v>33.250-33.257</c:v>
                </c:pt>
                <c:pt idx="4728">
                  <c:v>33.257-33.264</c:v>
                </c:pt>
                <c:pt idx="4729">
                  <c:v>33.264-33.271</c:v>
                </c:pt>
                <c:pt idx="4730">
                  <c:v>33.271-33.278</c:v>
                </c:pt>
                <c:pt idx="4731">
                  <c:v>33.278-33.285</c:v>
                </c:pt>
                <c:pt idx="4732">
                  <c:v>33.285-33.292</c:v>
                </c:pt>
                <c:pt idx="4733">
                  <c:v>33.292-33.299</c:v>
                </c:pt>
                <c:pt idx="4734">
                  <c:v>33.299-33.306</c:v>
                </c:pt>
                <c:pt idx="4735">
                  <c:v>33.306-33.313</c:v>
                </c:pt>
                <c:pt idx="4736">
                  <c:v>33.313-33.321</c:v>
                </c:pt>
                <c:pt idx="4737">
                  <c:v>33.321-33.328</c:v>
                </c:pt>
                <c:pt idx="4738">
                  <c:v>33.328-33.335</c:v>
                </c:pt>
                <c:pt idx="4739">
                  <c:v>33.335-33.342</c:v>
                </c:pt>
                <c:pt idx="4740">
                  <c:v>33.342-33.349</c:v>
                </c:pt>
                <c:pt idx="4741">
                  <c:v>33.349-33.356</c:v>
                </c:pt>
                <c:pt idx="4742">
                  <c:v>33.356-33.363</c:v>
                </c:pt>
                <c:pt idx="4743">
                  <c:v>33.363-33.370</c:v>
                </c:pt>
                <c:pt idx="4744">
                  <c:v>33.370-33.377</c:v>
                </c:pt>
                <c:pt idx="4745">
                  <c:v>33.377-33.384</c:v>
                </c:pt>
                <c:pt idx="4746">
                  <c:v>33.384-33.391</c:v>
                </c:pt>
                <c:pt idx="4747">
                  <c:v>33.391-33.398</c:v>
                </c:pt>
                <c:pt idx="4748">
                  <c:v>33.398-33.405</c:v>
                </c:pt>
                <c:pt idx="4749">
                  <c:v>33.405-33.412</c:v>
                </c:pt>
                <c:pt idx="4750">
                  <c:v>33.412-33.419</c:v>
                </c:pt>
                <c:pt idx="4751">
                  <c:v>33.419-33.426</c:v>
                </c:pt>
                <c:pt idx="4752">
                  <c:v>33.426-33.433</c:v>
                </c:pt>
                <c:pt idx="4753">
                  <c:v>33.433-33.440</c:v>
                </c:pt>
                <c:pt idx="4754">
                  <c:v>33.440-33.447</c:v>
                </c:pt>
                <c:pt idx="4755">
                  <c:v>33.447-33.454</c:v>
                </c:pt>
                <c:pt idx="4756">
                  <c:v>33.454-33.461</c:v>
                </c:pt>
                <c:pt idx="4757">
                  <c:v>33.461-33.468</c:v>
                </c:pt>
                <c:pt idx="4758">
                  <c:v>33.468-33.475</c:v>
                </c:pt>
                <c:pt idx="4759">
                  <c:v>33.475-33.482</c:v>
                </c:pt>
                <c:pt idx="4760">
                  <c:v>33.482-33.489</c:v>
                </c:pt>
                <c:pt idx="4761">
                  <c:v>33.489-33.496</c:v>
                </c:pt>
                <c:pt idx="4762">
                  <c:v>33.496-33.503</c:v>
                </c:pt>
                <c:pt idx="4763">
                  <c:v>33.503-33.510</c:v>
                </c:pt>
                <c:pt idx="4764">
                  <c:v>33.510-33.517</c:v>
                </c:pt>
                <c:pt idx="4765">
                  <c:v>33.517-33.524</c:v>
                </c:pt>
                <c:pt idx="4766">
                  <c:v>33.524-33.531</c:v>
                </c:pt>
                <c:pt idx="4767">
                  <c:v>33.531-33.539</c:v>
                </c:pt>
                <c:pt idx="4768">
                  <c:v>33.539-33.546</c:v>
                </c:pt>
                <c:pt idx="4769">
                  <c:v>33.546-33.553</c:v>
                </c:pt>
                <c:pt idx="4770">
                  <c:v>33.553-33.560</c:v>
                </c:pt>
                <c:pt idx="4771">
                  <c:v>33.560-33.567</c:v>
                </c:pt>
                <c:pt idx="4772">
                  <c:v>33.567-33.574</c:v>
                </c:pt>
                <c:pt idx="4773">
                  <c:v>33.574-33.581</c:v>
                </c:pt>
                <c:pt idx="4774">
                  <c:v>33.581-33.588</c:v>
                </c:pt>
                <c:pt idx="4775">
                  <c:v>33.588-33.595</c:v>
                </c:pt>
                <c:pt idx="4776">
                  <c:v>33.595-33.602</c:v>
                </c:pt>
                <c:pt idx="4777">
                  <c:v>33.602-33.609</c:v>
                </c:pt>
                <c:pt idx="4778">
                  <c:v>33.609-33.616</c:v>
                </c:pt>
                <c:pt idx="4779">
                  <c:v>33.616-33.623</c:v>
                </c:pt>
                <c:pt idx="4780">
                  <c:v>33.623-33.630</c:v>
                </c:pt>
                <c:pt idx="4781">
                  <c:v>33.630-33.637</c:v>
                </c:pt>
                <c:pt idx="4782">
                  <c:v>33.637-33.644</c:v>
                </c:pt>
                <c:pt idx="4783">
                  <c:v>33.644-33.651</c:v>
                </c:pt>
                <c:pt idx="4784">
                  <c:v>33.651-33.658</c:v>
                </c:pt>
                <c:pt idx="4785">
                  <c:v>33.658-33.665</c:v>
                </c:pt>
                <c:pt idx="4786">
                  <c:v>33.665-33.672</c:v>
                </c:pt>
                <c:pt idx="4787">
                  <c:v>33.672-33.679</c:v>
                </c:pt>
                <c:pt idx="4788">
                  <c:v>33.679-33.686</c:v>
                </c:pt>
                <c:pt idx="4789">
                  <c:v>33.686-33.693</c:v>
                </c:pt>
                <c:pt idx="4790">
                  <c:v>33.693-33.700</c:v>
                </c:pt>
                <c:pt idx="4791">
                  <c:v>33.700-33.707</c:v>
                </c:pt>
                <c:pt idx="4792">
                  <c:v>33.707-33.714</c:v>
                </c:pt>
                <c:pt idx="4793">
                  <c:v>33.714-33.721</c:v>
                </c:pt>
                <c:pt idx="4794">
                  <c:v>33.721-33.728</c:v>
                </c:pt>
                <c:pt idx="4795">
                  <c:v>33.728-33.735</c:v>
                </c:pt>
                <c:pt idx="4796">
                  <c:v>33.735-33.742</c:v>
                </c:pt>
                <c:pt idx="4797">
                  <c:v>33.742-33.749</c:v>
                </c:pt>
                <c:pt idx="4798">
                  <c:v>33.749-33.757</c:v>
                </c:pt>
                <c:pt idx="4799">
                  <c:v>33.757-33.764</c:v>
                </c:pt>
                <c:pt idx="4800">
                  <c:v>33.764-33.771</c:v>
                </c:pt>
                <c:pt idx="4801">
                  <c:v>33.771-33.778</c:v>
                </c:pt>
                <c:pt idx="4802">
                  <c:v>33.778-33.785</c:v>
                </c:pt>
                <c:pt idx="4803">
                  <c:v>33.785-33.792</c:v>
                </c:pt>
                <c:pt idx="4804">
                  <c:v>33.792-33.799</c:v>
                </c:pt>
                <c:pt idx="4805">
                  <c:v>33.799-33.806</c:v>
                </c:pt>
                <c:pt idx="4806">
                  <c:v>33.806-33.813</c:v>
                </c:pt>
                <c:pt idx="4807">
                  <c:v>33.813-33.820</c:v>
                </c:pt>
                <c:pt idx="4808">
                  <c:v>33.820-33.827</c:v>
                </c:pt>
                <c:pt idx="4809">
                  <c:v>33.827-33.834</c:v>
                </c:pt>
                <c:pt idx="4810">
                  <c:v>33.834-33.841</c:v>
                </c:pt>
                <c:pt idx="4811">
                  <c:v>33.841-33.848</c:v>
                </c:pt>
                <c:pt idx="4812">
                  <c:v>33.848-33.855</c:v>
                </c:pt>
                <c:pt idx="4813">
                  <c:v>33.855-33.862</c:v>
                </c:pt>
                <c:pt idx="4814">
                  <c:v>33.862-33.869</c:v>
                </c:pt>
                <c:pt idx="4815">
                  <c:v>33.869-33.876</c:v>
                </c:pt>
                <c:pt idx="4816">
                  <c:v>33.876-33.883</c:v>
                </c:pt>
                <c:pt idx="4817">
                  <c:v>33.883-33.890</c:v>
                </c:pt>
                <c:pt idx="4818">
                  <c:v>33.890-33.897</c:v>
                </c:pt>
                <c:pt idx="4819">
                  <c:v>33.897-33.904</c:v>
                </c:pt>
                <c:pt idx="4820">
                  <c:v>33.904-33.911</c:v>
                </c:pt>
                <c:pt idx="4821">
                  <c:v>33.911-33.918</c:v>
                </c:pt>
                <c:pt idx="4822">
                  <c:v>33.918-33.925</c:v>
                </c:pt>
                <c:pt idx="4823">
                  <c:v>33.925-33.932</c:v>
                </c:pt>
                <c:pt idx="4824">
                  <c:v>33.932-33.939</c:v>
                </c:pt>
                <c:pt idx="4825">
                  <c:v>33.939-33.946</c:v>
                </c:pt>
                <c:pt idx="4826">
                  <c:v>33.946-33.953</c:v>
                </c:pt>
                <c:pt idx="4827">
                  <c:v>33.953-33.960</c:v>
                </c:pt>
                <c:pt idx="4828">
                  <c:v>33.960-33.967</c:v>
                </c:pt>
                <c:pt idx="4829">
                  <c:v>33.967-33.975</c:v>
                </c:pt>
                <c:pt idx="4830">
                  <c:v>33.975-33.982</c:v>
                </c:pt>
                <c:pt idx="4831">
                  <c:v>33.982-33.989</c:v>
                </c:pt>
                <c:pt idx="4832">
                  <c:v>33.989-33.996</c:v>
                </c:pt>
                <c:pt idx="4833">
                  <c:v>33.996-34.003</c:v>
                </c:pt>
                <c:pt idx="4834">
                  <c:v>34.003-34.010</c:v>
                </c:pt>
                <c:pt idx="4835">
                  <c:v>34.010-34.017</c:v>
                </c:pt>
                <c:pt idx="4836">
                  <c:v>34.017-34.024</c:v>
                </c:pt>
                <c:pt idx="4837">
                  <c:v>34.024-34.031</c:v>
                </c:pt>
                <c:pt idx="4838">
                  <c:v>34.031-34.038</c:v>
                </c:pt>
                <c:pt idx="4839">
                  <c:v>34.038-34.045</c:v>
                </c:pt>
                <c:pt idx="4840">
                  <c:v>34.045-34.052</c:v>
                </c:pt>
                <c:pt idx="4841">
                  <c:v>34.052-34.059</c:v>
                </c:pt>
                <c:pt idx="4842">
                  <c:v>34.059-34.066</c:v>
                </c:pt>
                <c:pt idx="4843">
                  <c:v>34.066-34.073</c:v>
                </c:pt>
                <c:pt idx="4844">
                  <c:v>34.073-34.080</c:v>
                </c:pt>
                <c:pt idx="4845">
                  <c:v>34.080-34.087</c:v>
                </c:pt>
                <c:pt idx="4846">
                  <c:v>34.087-34.094</c:v>
                </c:pt>
                <c:pt idx="4847">
                  <c:v>34.094-34.101</c:v>
                </c:pt>
                <c:pt idx="4848">
                  <c:v>34.101-34.108</c:v>
                </c:pt>
                <c:pt idx="4849">
                  <c:v>34.108-34.115</c:v>
                </c:pt>
                <c:pt idx="4850">
                  <c:v>34.115-34.122</c:v>
                </c:pt>
                <c:pt idx="4851">
                  <c:v>34.122-34.129</c:v>
                </c:pt>
                <c:pt idx="4852">
                  <c:v>34.129-34.136</c:v>
                </c:pt>
                <c:pt idx="4853">
                  <c:v>34.136-34.143</c:v>
                </c:pt>
                <c:pt idx="4854">
                  <c:v>34.143-34.150</c:v>
                </c:pt>
                <c:pt idx="4855">
                  <c:v>34.150-34.157</c:v>
                </c:pt>
                <c:pt idx="4856">
                  <c:v>34.157-34.164</c:v>
                </c:pt>
                <c:pt idx="4857">
                  <c:v>34.164-34.171</c:v>
                </c:pt>
                <c:pt idx="4858">
                  <c:v>34.171-34.178</c:v>
                </c:pt>
                <c:pt idx="4859">
                  <c:v>34.178-34.185</c:v>
                </c:pt>
                <c:pt idx="4860">
                  <c:v>34.185-34.193</c:v>
                </c:pt>
                <c:pt idx="4861">
                  <c:v>34.193-34.200</c:v>
                </c:pt>
                <c:pt idx="4862">
                  <c:v>34.200-34.207</c:v>
                </c:pt>
                <c:pt idx="4863">
                  <c:v>34.207-34.214</c:v>
                </c:pt>
                <c:pt idx="4864">
                  <c:v>34.214-34.221</c:v>
                </c:pt>
                <c:pt idx="4865">
                  <c:v>34.221-34.228</c:v>
                </c:pt>
                <c:pt idx="4866">
                  <c:v>34.228-34.235</c:v>
                </c:pt>
                <c:pt idx="4867">
                  <c:v>34.235-34.242</c:v>
                </c:pt>
                <c:pt idx="4868">
                  <c:v>34.242-34.249</c:v>
                </c:pt>
                <c:pt idx="4869">
                  <c:v>34.249-34.256</c:v>
                </c:pt>
                <c:pt idx="4870">
                  <c:v>34.256-34.263</c:v>
                </c:pt>
                <c:pt idx="4871">
                  <c:v>34.263-34.270</c:v>
                </c:pt>
                <c:pt idx="4872">
                  <c:v>34.270-34.277</c:v>
                </c:pt>
                <c:pt idx="4873">
                  <c:v>34.277-34.284</c:v>
                </c:pt>
                <c:pt idx="4874">
                  <c:v>34.284-34.291</c:v>
                </c:pt>
                <c:pt idx="4875">
                  <c:v>34.291-34.298</c:v>
                </c:pt>
                <c:pt idx="4876">
                  <c:v>34.298-34.305</c:v>
                </c:pt>
                <c:pt idx="4877">
                  <c:v>34.305-34.312</c:v>
                </c:pt>
                <c:pt idx="4878">
                  <c:v>34.312-34.319</c:v>
                </c:pt>
                <c:pt idx="4879">
                  <c:v>34.319-34.326</c:v>
                </c:pt>
                <c:pt idx="4880">
                  <c:v>34.326-34.333</c:v>
                </c:pt>
                <c:pt idx="4881">
                  <c:v>34.333-34.340</c:v>
                </c:pt>
                <c:pt idx="4882">
                  <c:v>34.340-34.347</c:v>
                </c:pt>
                <c:pt idx="4883">
                  <c:v>34.347-34.354</c:v>
                </c:pt>
                <c:pt idx="4884">
                  <c:v>34.354-34.361</c:v>
                </c:pt>
                <c:pt idx="4885">
                  <c:v>34.361-34.368</c:v>
                </c:pt>
                <c:pt idx="4886">
                  <c:v>34.368-34.375</c:v>
                </c:pt>
                <c:pt idx="4887">
                  <c:v>34.375-34.382</c:v>
                </c:pt>
                <c:pt idx="4888">
                  <c:v>34.382-34.389</c:v>
                </c:pt>
                <c:pt idx="4889">
                  <c:v>34.389-34.396</c:v>
                </c:pt>
                <c:pt idx="4890">
                  <c:v>34.396-34.403</c:v>
                </c:pt>
                <c:pt idx="4891">
                  <c:v>34.403-34.411</c:v>
                </c:pt>
                <c:pt idx="4892">
                  <c:v>34.411-34.418</c:v>
                </c:pt>
                <c:pt idx="4893">
                  <c:v>34.418-34.425</c:v>
                </c:pt>
                <c:pt idx="4894">
                  <c:v>34.425-34.432</c:v>
                </c:pt>
                <c:pt idx="4895">
                  <c:v>34.432-34.439</c:v>
                </c:pt>
                <c:pt idx="4896">
                  <c:v>34.439-34.446</c:v>
                </c:pt>
                <c:pt idx="4897">
                  <c:v>34.446-34.453</c:v>
                </c:pt>
                <c:pt idx="4898">
                  <c:v>34.453-34.460</c:v>
                </c:pt>
                <c:pt idx="4899">
                  <c:v>34.460-34.467</c:v>
                </c:pt>
                <c:pt idx="4900">
                  <c:v>34.467-34.474</c:v>
                </c:pt>
                <c:pt idx="4901">
                  <c:v>34.474-34.481</c:v>
                </c:pt>
                <c:pt idx="4902">
                  <c:v>34.481-34.488</c:v>
                </c:pt>
                <c:pt idx="4903">
                  <c:v>34.488-34.495</c:v>
                </c:pt>
                <c:pt idx="4904">
                  <c:v>34.495-34.502</c:v>
                </c:pt>
                <c:pt idx="4905">
                  <c:v>34.502-34.509</c:v>
                </c:pt>
                <c:pt idx="4906">
                  <c:v>34.509-34.516</c:v>
                </c:pt>
                <c:pt idx="4907">
                  <c:v>34.516-34.523</c:v>
                </c:pt>
                <c:pt idx="4908">
                  <c:v>34.523-34.530</c:v>
                </c:pt>
                <c:pt idx="4909">
                  <c:v>34.530-34.537</c:v>
                </c:pt>
                <c:pt idx="4910">
                  <c:v>34.537-34.544</c:v>
                </c:pt>
                <c:pt idx="4911">
                  <c:v>34.544-34.551</c:v>
                </c:pt>
                <c:pt idx="4912">
                  <c:v>34.551-34.558</c:v>
                </c:pt>
                <c:pt idx="4913">
                  <c:v>34.558-34.565</c:v>
                </c:pt>
                <c:pt idx="4914">
                  <c:v>34.565-34.572</c:v>
                </c:pt>
                <c:pt idx="4915">
                  <c:v>34.572-34.579</c:v>
                </c:pt>
                <c:pt idx="4916">
                  <c:v>34.579-34.586</c:v>
                </c:pt>
                <c:pt idx="4917">
                  <c:v>34.586-34.593</c:v>
                </c:pt>
                <c:pt idx="4918">
                  <c:v>34.593-34.600</c:v>
                </c:pt>
                <c:pt idx="4919">
                  <c:v>34.600-34.607</c:v>
                </c:pt>
                <c:pt idx="4920">
                  <c:v>34.607-34.614</c:v>
                </c:pt>
                <c:pt idx="4921">
                  <c:v>34.614-34.621</c:v>
                </c:pt>
                <c:pt idx="4922">
                  <c:v>34.621-34.629</c:v>
                </c:pt>
                <c:pt idx="4923">
                  <c:v>34.629-34.636</c:v>
                </c:pt>
                <c:pt idx="4924">
                  <c:v>34.636-34.643</c:v>
                </c:pt>
                <c:pt idx="4925">
                  <c:v>34.643-34.650</c:v>
                </c:pt>
                <c:pt idx="4926">
                  <c:v>34.650-34.657</c:v>
                </c:pt>
                <c:pt idx="4927">
                  <c:v>34.657-34.664</c:v>
                </c:pt>
                <c:pt idx="4928">
                  <c:v>34.664-34.671</c:v>
                </c:pt>
                <c:pt idx="4929">
                  <c:v>34.671-34.678</c:v>
                </c:pt>
                <c:pt idx="4930">
                  <c:v>34.678-34.685</c:v>
                </c:pt>
                <c:pt idx="4931">
                  <c:v>34.685-34.692</c:v>
                </c:pt>
                <c:pt idx="4932">
                  <c:v>34.692-34.699</c:v>
                </c:pt>
                <c:pt idx="4933">
                  <c:v>34.699-34.706</c:v>
                </c:pt>
                <c:pt idx="4934">
                  <c:v>34.706-34.713</c:v>
                </c:pt>
                <c:pt idx="4935">
                  <c:v>34.713-34.720</c:v>
                </c:pt>
                <c:pt idx="4936">
                  <c:v>34.720-34.727</c:v>
                </c:pt>
                <c:pt idx="4937">
                  <c:v>34.727-34.734</c:v>
                </c:pt>
                <c:pt idx="4938">
                  <c:v>34.734-34.741</c:v>
                </c:pt>
                <c:pt idx="4939">
                  <c:v>34.741-34.748</c:v>
                </c:pt>
                <c:pt idx="4940">
                  <c:v>34.748-34.755</c:v>
                </c:pt>
                <c:pt idx="4941">
                  <c:v>34.755-34.762</c:v>
                </c:pt>
                <c:pt idx="4942">
                  <c:v>34.762-34.769</c:v>
                </c:pt>
                <c:pt idx="4943">
                  <c:v>34.769-34.776</c:v>
                </c:pt>
                <c:pt idx="4944">
                  <c:v>34.776-34.783</c:v>
                </c:pt>
                <c:pt idx="4945">
                  <c:v>34.783-34.790</c:v>
                </c:pt>
                <c:pt idx="4946">
                  <c:v>34.790-34.797</c:v>
                </c:pt>
                <c:pt idx="4947">
                  <c:v>34.797-34.804</c:v>
                </c:pt>
                <c:pt idx="4948">
                  <c:v>34.804-34.811</c:v>
                </c:pt>
                <c:pt idx="4949">
                  <c:v>34.811-34.818</c:v>
                </c:pt>
                <c:pt idx="4950">
                  <c:v>34.818-34.825</c:v>
                </c:pt>
                <c:pt idx="4951">
                  <c:v>34.825-34.832</c:v>
                </c:pt>
                <c:pt idx="4952">
                  <c:v>34.832-34.839</c:v>
                </c:pt>
                <c:pt idx="4953">
                  <c:v>34.839-34.847</c:v>
                </c:pt>
                <c:pt idx="4954">
                  <c:v>34.847-34.854</c:v>
                </c:pt>
                <c:pt idx="4955">
                  <c:v>34.854-34.861</c:v>
                </c:pt>
                <c:pt idx="4956">
                  <c:v>34.861-34.868</c:v>
                </c:pt>
                <c:pt idx="4957">
                  <c:v>34.868-34.875</c:v>
                </c:pt>
                <c:pt idx="4958">
                  <c:v>34.875-34.882</c:v>
                </c:pt>
                <c:pt idx="4959">
                  <c:v>34.882-34.889</c:v>
                </c:pt>
                <c:pt idx="4960">
                  <c:v>34.889-34.896</c:v>
                </c:pt>
                <c:pt idx="4961">
                  <c:v>34.896-34.903</c:v>
                </c:pt>
                <c:pt idx="4962">
                  <c:v>34.903-34.910</c:v>
                </c:pt>
                <c:pt idx="4963">
                  <c:v>34.910-34.917</c:v>
                </c:pt>
                <c:pt idx="4964">
                  <c:v>34.917-34.924</c:v>
                </c:pt>
                <c:pt idx="4965">
                  <c:v>34.924-34.931</c:v>
                </c:pt>
                <c:pt idx="4966">
                  <c:v>34.931-34.938</c:v>
                </c:pt>
                <c:pt idx="4967">
                  <c:v>34.938-34.945</c:v>
                </c:pt>
                <c:pt idx="4968">
                  <c:v>34.945-34.952</c:v>
                </c:pt>
                <c:pt idx="4969">
                  <c:v>34.952-34.959</c:v>
                </c:pt>
                <c:pt idx="4970">
                  <c:v>34.959-34.966</c:v>
                </c:pt>
                <c:pt idx="4971">
                  <c:v>34.966-34.973</c:v>
                </c:pt>
                <c:pt idx="4972">
                  <c:v>34.973-34.980</c:v>
                </c:pt>
                <c:pt idx="4973">
                  <c:v>34.980-34.987</c:v>
                </c:pt>
                <c:pt idx="4974">
                  <c:v>34.987-34.994</c:v>
                </c:pt>
                <c:pt idx="4975">
                  <c:v>34.994-35.001</c:v>
                </c:pt>
                <c:pt idx="4976">
                  <c:v>35.001-35.008</c:v>
                </c:pt>
                <c:pt idx="4977">
                  <c:v>35.008-35.015</c:v>
                </c:pt>
                <c:pt idx="4978">
                  <c:v>35.015-35.022</c:v>
                </c:pt>
                <c:pt idx="4979">
                  <c:v>35.022-35.029</c:v>
                </c:pt>
                <c:pt idx="4980">
                  <c:v>35.029-35.036</c:v>
                </c:pt>
                <c:pt idx="4981">
                  <c:v>35.036-35.043</c:v>
                </c:pt>
                <c:pt idx="4982">
                  <c:v>35.043-35.050</c:v>
                </c:pt>
                <c:pt idx="4983">
                  <c:v>35.050-35.057</c:v>
                </c:pt>
                <c:pt idx="4984">
                  <c:v>35.057-35.065</c:v>
                </c:pt>
                <c:pt idx="4985">
                  <c:v>35.065-35.072</c:v>
                </c:pt>
                <c:pt idx="4986">
                  <c:v>35.072-35.079</c:v>
                </c:pt>
                <c:pt idx="4987">
                  <c:v>35.079-35.086</c:v>
                </c:pt>
                <c:pt idx="4988">
                  <c:v>35.086-35.093</c:v>
                </c:pt>
                <c:pt idx="4989">
                  <c:v>35.093-35.100</c:v>
                </c:pt>
                <c:pt idx="4990">
                  <c:v>35.100-35.107</c:v>
                </c:pt>
                <c:pt idx="4991">
                  <c:v>35.107-35.114</c:v>
                </c:pt>
                <c:pt idx="4992">
                  <c:v>35.114-35.121</c:v>
                </c:pt>
                <c:pt idx="4993">
                  <c:v>35.121-35.128</c:v>
                </c:pt>
                <c:pt idx="4994">
                  <c:v>35.128-35.135</c:v>
                </c:pt>
                <c:pt idx="4995">
                  <c:v>35.135-35.142</c:v>
                </c:pt>
                <c:pt idx="4996">
                  <c:v>35.142-35.149</c:v>
                </c:pt>
                <c:pt idx="4997">
                  <c:v>35.149-35.156</c:v>
                </c:pt>
                <c:pt idx="4998">
                  <c:v>35.156-35.163</c:v>
                </c:pt>
                <c:pt idx="4999">
                  <c:v>35.163-35.170</c:v>
                </c:pt>
                <c:pt idx="5000">
                  <c:v>35.170-35.177</c:v>
                </c:pt>
                <c:pt idx="5001">
                  <c:v>35.177-35.184</c:v>
                </c:pt>
                <c:pt idx="5002">
                  <c:v>35.184-35.191</c:v>
                </c:pt>
                <c:pt idx="5003">
                  <c:v>35.191-35.198</c:v>
                </c:pt>
                <c:pt idx="5004">
                  <c:v>35.198-35.205</c:v>
                </c:pt>
                <c:pt idx="5005">
                  <c:v>35.205-35.212</c:v>
                </c:pt>
                <c:pt idx="5006">
                  <c:v>35.212-35.219</c:v>
                </c:pt>
                <c:pt idx="5007">
                  <c:v>35.219-35.226</c:v>
                </c:pt>
                <c:pt idx="5008">
                  <c:v>35.226-35.233</c:v>
                </c:pt>
                <c:pt idx="5009">
                  <c:v>35.233-35.240</c:v>
                </c:pt>
                <c:pt idx="5010">
                  <c:v>35.240-35.247</c:v>
                </c:pt>
                <c:pt idx="5011">
                  <c:v>35.247-35.254</c:v>
                </c:pt>
                <c:pt idx="5012">
                  <c:v>35.254-35.261</c:v>
                </c:pt>
                <c:pt idx="5013">
                  <c:v>35.261-35.268</c:v>
                </c:pt>
                <c:pt idx="5014">
                  <c:v>35.268-35.275</c:v>
                </c:pt>
                <c:pt idx="5015">
                  <c:v>35.275-35.283</c:v>
                </c:pt>
                <c:pt idx="5016">
                  <c:v>35.283-35.290</c:v>
                </c:pt>
                <c:pt idx="5017">
                  <c:v>35.290-35.297</c:v>
                </c:pt>
                <c:pt idx="5018">
                  <c:v>35.297-35.304</c:v>
                </c:pt>
                <c:pt idx="5019">
                  <c:v>35.304-35.311</c:v>
                </c:pt>
                <c:pt idx="5020">
                  <c:v>35.311-35.318</c:v>
                </c:pt>
                <c:pt idx="5021">
                  <c:v>35.318-35.325</c:v>
                </c:pt>
                <c:pt idx="5022">
                  <c:v>35.325-35.332</c:v>
                </c:pt>
                <c:pt idx="5023">
                  <c:v>35.332-35.339</c:v>
                </c:pt>
                <c:pt idx="5024">
                  <c:v>35.339-35.346</c:v>
                </c:pt>
                <c:pt idx="5025">
                  <c:v>35.346-35.353</c:v>
                </c:pt>
                <c:pt idx="5026">
                  <c:v>35.353-35.360</c:v>
                </c:pt>
                <c:pt idx="5027">
                  <c:v>35.360-35.367</c:v>
                </c:pt>
                <c:pt idx="5028">
                  <c:v>35.367-35.374</c:v>
                </c:pt>
                <c:pt idx="5029">
                  <c:v>35.374-35.381</c:v>
                </c:pt>
                <c:pt idx="5030">
                  <c:v>35.381-35.388</c:v>
                </c:pt>
                <c:pt idx="5031">
                  <c:v>35.388-35.395</c:v>
                </c:pt>
                <c:pt idx="5032">
                  <c:v>35.395-35.402</c:v>
                </c:pt>
                <c:pt idx="5033">
                  <c:v>35.402-35.409</c:v>
                </c:pt>
                <c:pt idx="5034">
                  <c:v>35.409-35.416</c:v>
                </c:pt>
                <c:pt idx="5035">
                  <c:v>35.416-35.423</c:v>
                </c:pt>
                <c:pt idx="5036">
                  <c:v>35.423-35.430</c:v>
                </c:pt>
                <c:pt idx="5037">
                  <c:v>35.430-35.437</c:v>
                </c:pt>
                <c:pt idx="5038">
                  <c:v>35.437-35.444</c:v>
                </c:pt>
                <c:pt idx="5039">
                  <c:v>35.444-35.451</c:v>
                </c:pt>
                <c:pt idx="5040">
                  <c:v>35.451-35.458</c:v>
                </c:pt>
                <c:pt idx="5041">
                  <c:v>35.458-35.465</c:v>
                </c:pt>
                <c:pt idx="5042">
                  <c:v>35.465-35.472</c:v>
                </c:pt>
                <c:pt idx="5043">
                  <c:v>35.472-35.479</c:v>
                </c:pt>
                <c:pt idx="5044">
                  <c:v>35.479-35.486</c:v>
                </c:pt>
                <c:pt idx="5045">
                  <c:v>35.486-35.493</c:v>
                </c:pt>
                <c:pt idx="5046">
                  <c:v>35.493-35.501</c:v>
                </c:pt>
                <c:pt idx="5047">
                  <c:v>35.501-35.508</c:v>
                </c:pt>
                <c:pt idx="5048">
                  <c:v>35.508-35.515</c:v>
                </c:pt>
                <c:pt idx="5049">
                  <c:v>35.515-35.522</c:v>
                </c:pt>
                <c:pt idx="5050">
                  <c:v>35.522-35.529</c:v>
                </c:pt>
                <c:pt idx="5051">
                  <c:v>35.529-35.536</c:v>
                </c:pt>
                <c:pt idx="5052">
                  <c:v>35.536-35.543</c:v>
                </c:pt>
                <c:pt idx="5053">
                  <c:v>35.543-35.550</c:v>
                </c:pt>
                <c:pt idx="5054">
                  <c:v>35.550-35.557</c:v>
                </c:pt>
                <c:pt idx="5055">
                  <c:v>35.557-35.564</c:v>
                </c:pt>
                <c:pt idx="5056">
                  <c:v>35.564-35.571</c:v>
                </c:pt>
                <c:pt idx="5057">
                  <c:v>35.571-35.578</c:v>
                </c:pt>
                <c:pt idx="5058">
                  <c:v>35.578-35.585</c:v>
                </c:pt>
                <c:pt idx="5059">
                  <c:v>35.585-35.592</c:v>
                </c:pt>
                <c:pt idx="5060">
                  <c:v>35.592-35.599</c:v>
                </c:pt>
                <c:pt idx="5061">
                  <c:v>35.599-35.606</c:v>
                </c:pt>
                <c:pt idx="5062">
                  <c:v>35.606-35.613</c:v>
                </c:pt>
                <c:pt idx="5063">
                  <c:v>35.613-35.620</c:v>
                </c:pt>
                <c:pt idx="5064">
                  <c:v>35.620-35.627</c:v>
                </c:pt>
                <c:pt idx="5065">
                  <c:v>35.627-35.634</c:v>
                </c:pt>
                <c:pt idx="5066">
                  <c:v>35.634-35.641</c:v>
                </c:pt>
                <c:pt idx="5067">
                  <c:v>35.641-35.648</c:v>
                </c:pt>
                <c:pt idx="5068">
                  <c:v>35.648-35.655</c:v>
                </c:pt>
                <c:pt idx="5069">
                  <c:v>35.655-35.662</c:v>
                </c:pt>
                <c:pt idx="5070">
                  <c:v>35.662-35.669</c:v>
                </c:pt>
                <c:pt idx="5071">
                  <c:v>35.669-35.676</c:v>
                </c:pt>
                <c:pt idx="5072">
                  <c:v>35.676-35.683</c:v>
                </c:pt>
                <c:pt idx="5073">
                  <c:v>35.683-35.690</c:v>
                </c:pt>
                <c:pt idx="5074">
                  <c:v>35.690-35.697</c:v>
                </c:pt>
                <c:pt idx="5075">
                  <c:v>35.697-35.704</c:v>
                </c:pt>
                <c:pt idx="5076">
                  <c:v>35.704-35.711</c:v>
                </c:pt>
                <c:pt idx="5077">
                  <c:v>35.711-35.719</c:v>
                </c:pt>
                <c:pt idx="5078">
                  <c:v>35.719-35.726</c:v>
                </c:pt>
                <c:pt idx="5079">
                  <c:v>35.726-35.733</c:v>
                </c:pt>
                <c:pt idx="5080">
                  <c:v>35.733-35.740</c:v>
                </c:pt>
                <c:pt idx="5081">
                  <c:v>35.740-35.747</c:v>
                </c:pt>
                <c:pt idx="5082">
                  <c:v>35.747-35.754</c:v>
                </c:pt>
                <c:pt idx="5083">
                  <c:v>35.754-35.761</c:v>
                </c:pt>
                <c:pt idx="5084">
                  <c:v>35.761-35.768</c:v>
                </c:pt>
                <c:pt idx="5085">
                  <c:v>35.768-35.775</c:v>
                </c:pt>
                <c:pt idx="5086">
                  <c:v>35.775-35.782</c:v>
                </c:pt>
                <c:pt idx="5087">
                  <c:v>35.782-35.789</c:v>
                </c:pt>
                <c:pt idx="5088">
                  <c:v>35.789-35.796</c:v>
                </c:pt>
                <c:pt idx="5089">
                  <c:v>35.796-35.803</c:v>
                </c:pt>
                <c:pt idx="5090">
                  <c:v>35.803-35.810</c:v>
                </c:pt>
                <c:pt idx="5091">
                  <c:v>35.810-35.817</c:v>
                </c:pt>
                <c:pt idx="5092">
                  <c:v>35.817-35.824</c:v>
                </c:pt>
                <c:pt idx="5093">
                  <c:v>35.824-35.831</c:v>
                </c:pt>
                <c:pt idx="5094">
                  <c:v>35.831-35.838</c:v>
                </c:pt>
                <c:pt idx="5095">
                  <c:v>35.838-35.845</c:v>
                </c:pt>
                <c:pt idx="5096">
                  <c:v>35.845-35.852</c:v>
                </c:pt>
                <c:pt idx="5097">
                  <c:v>35.852-35.859</c:v>
                </c:pt>
                <c:pt idx="5098">
                  <c:v>35.859-35.866</c:v>
                </c:pt>
                <c:pt idx="5099">
                  <c:v>35.866-35.873</c:v>
                </c:pt>
                <c:pt idx="5100">
                  <c:v>35.873-35.880</c:v>
                </c:pt>
                <c:pt idx="5101">
                  <c:v>35.880-35.887</c:v>
                </c:pt>
                <c:pt idx="5102">
                  <c:v>35.887-35.894</c:v>
                </c:pt>
                <c:pt idx="5103">
                  <c:v>35.894-35.901</c:v>
                </c:pt>
                <c:pt idx="5104">
                  <c:v>35.901-35.908</c:v>
                </c:pt>
                <c:pt idx="5105">
                  <c:v>35.908-35.915</c:v>
                </c:pt>
                <c:pt idx="5106">
                  <c:v>35.915-35.922</c:v>
                </c:pt>
                <c:pt idx="5107">
                  <c:v>35.922-35.929</c:v>
                </c:pt>
                <c:pt idx="5108">
                  <c:v>35.929-35.937</c:v>
                </c:pt>
                <c:pt idx="5109">
                  <c:v>35.937-35.944</c:v>
                </c:pt>
                <c:pt idx="5110">
                  <c:v>35.944-35.951</c:v>
                </c:pt>
                <c:pt idx="5111">
                  <c:v>35.951-35.958</c:v>
                </c:pt>
                <c:pt idx="5112">
                  <c:v>35.958-35.965</c:v>
                </c:pt>
                <c:pt idx="5113">
                  <c:v>35.965-35.972</c:v>
                </c:pt>
                <c:pt idx="5114">
                  <c:v>35.972-35.979</c:v>
                </c:pt>
                <c:pt idx="5115">
                  <c:v>35.979-35.986</c:v>
                </c:pt>
                <c:pt idx="5116">
                  <c:v>35.986-35.993</c:v>
                </c:pt>
                <c:pt idx="5117">
                  <c:v>35.993-36.000</c:v>
                </c:pt>
                <c:pt idx="5118">
                  <c:v>36.000-36.007</c:v>
                </c:pt>
                <c:pt idx="5119">
                  <c:v>36.007-36.014</c:v>
                </c:pt>
                <c:pt idx="5120">
                  <c:v>36.014-36.021</c:v>
                </c:pt>
                <c:pt idx="5121">
                  <c:v>36.021-36.028</c:v>
                </c:pt>
                <c:pt idx="5122">
                  <c:v>36.028-36.035</c:v>
                </c:pt>
                <c:pt idx="5123">
                  <c:v>36.035-36.042</c:v>
                </c:pt>
                <c:pt idx="5124">
                  <c:v>36.042-36.049</c:v>
                </c:pt>
                <c:pt idx="5125">
                  <c:v>36.049-36.056</c:v>
                </c:pt>
                <c:pt idx="5126">
                  <c:v>36.056-36.063</c:v>
                </c:pt>
                <c:pt idx="5127">
                  <c:v>36.063-36.070</c:v>
                </c:pt>
                <c:pt idx="5128">
                  <c:v>36.070-36.077</c:v>
                </c:pt>
                <c:pt idx="5129">
                  <c:v>36.077-36.084</c:v>
                </c:pt>
                <c:pt idx="5130">
                  <c:v>36.084-36.091</c:v>
                </c:pt>
                <c:pt idx="5131">
                  <c:v>36.091-36.098</c:v>
                </c:pt>
                <c:pt idx="5132">
                  <c:v>36.098-36.105</c:v>
                </c:pt>
                <c:pt idx="5133">
                  <c:v>36.105-36.112</c:v>
                </c:pt>
                <c:pt idx="5134">
                  <c:v>36.112-36.119</c:v>
                </c:pt>
                <c:pt idx="5135">
                  <c:v>36.119-36.126</c:v>
                </c:pt>
                <c:pt idx="5136">
                  <c:v>36.126-36.133</c:v>
                </c:pt>
                <c:pt idx="5137">
                  <c:v>36.133-36.140</c:v>
                </c:pt>
                <c:pt idx="5138">
                  <c:v>36.140-36.147</c:v>
                </c:pt>
                <c:pt idx="5139">
                  <c:v>36.147-36.155</c:v>
                </c:pt>
                <c:pt idx="5140">
                  <c:v>36.155-36.162</c:v>
                </c:pt>
                <c:pt idx="5141">
                  <c:v>36.162-36.169</c:v>
                </c:pt>
                <c:pt idx="5142">
                  <c:v>36.169-36.176</c:v>
                </c:pt>
                <c:pt idx="5143">
                  <c:v>36.176-36.183</c:v>
                </c:pt>
                <c:pt idx="5144">
                  <c:v>36.183-36.190</c:v>
                </c:pt>
                <c:pt idx="5145">
                  <c:v>36.190-36.197</c:v>
                </c:pt>
                <c:pt idx="5146">
                  <c:v>36.197-36.204</c:v>
                </c:pt>
                <c:pt idx="5147">
                  <c:v>36.204-36.211</c:v>
                </c:pt>
                <c:pt idx="5148">
                  <c:v>36.211-36.218</c:v>
                </c:pt>
                <c:pt idx="5149">
                  <c:v>36.218-36.225</c:v>
                </c:pt>
                <c:pt idx="5150">
                  <c:v>36.225-36.232</c:v>
                </c:pt>
                <c:pt idx="5151">
                  <c:v>36.232-36.239</c:v>
                </c:pt>
                <c:pt idx="5152">
                  <c:v>36.239-36.246</c:v>
                </c:pt>
                <c:pt idx="5153">
                  <c:v>36.246-36.253</c:v>
                </c:pt>
                <c:pt idx="5154">
                  <c:v>36.253-36.260</c:v>
                </c:pt>
                <c:pt idx="5155">
                  <c:v>36.260-36.267</c:v>
                </c:pt>
                <c:pt idx="5156">
                  <c:v>36.267-36.274</c:v>
                </c:pt>
                <c:pt idx="5157">
                  <c:v>36.274-36.281</c:v>
                </c:pt>
                <c:pt idx="5158">
                  <c:v>36.281-36.288</c:v>
                </c:pt>
                <c:pt idx="5159">
                  <c:v>36.288-36.295</c:v>
                </c:pt>
                <c:pt idx="5160">
                  <c:v>36.295-36.302</c:v>
                </c:pt>
                <c:pt idx="5161">
                  <c:v>36.302-36.309</c:v>
                </c:pt>
                <c:pt idx="5162">
                  <c:v>36.309-36.316</c:v>
                </c:pt>
                <c:pt idx="5163">
                  <c:v>36.316-36.323</c:v>
                </c:pt>
                <c:pt idx="5164">
                  <c:v>36.323-36.330</c:v>
                </c:pt>
                <c:pt idx="5165">
                  <c:v>36.330-36.337</c:v>
                </c:pt>
                <c:pt idx="5166">
                  <c:v>36.337-36.344</c:v>
                </c:pt>
                <c:pt idx="5167">
                  <c:v>36.344-36.351</c:v>
                </c:pt>
                <c:pt idx="5168">
                  <c:v>36.351-36.358</c:v>
                </c:pt>
                <c:pt idx="5169">
                  <c:v>36.358-36.365</c:v>
                </c:pt>
                <c:pt idx="5170">
                  <c:v>36.365-36.373</c:v>
                </c:pt>
                <c:pt idx="5171">
                  <c:v>36.373-36.380</c:v>
                </c:pt>
                <c:pt idx="5172">
                  <c:v>36.380-36.387</c:v>
                </c:pt>
                <c:pt idx="5173">
                  <c:v>36.387-36.394</c:v>
                </c:pt>
                <c:pt idx="5174">
                  <c:v>36.394-36.401</c:v>
                </c:pt>
                <c:pt idx="5175">
                  <c:v>36.401-36.408</c:v>
                </c:pt>
                <c:pt idx="5176">
                  <c:v>36.408-36.415</c:v>
                </c:pt>
                <c:pt idx="5177">
                  <c:v>36.415-36.422</c:v>
                </c:pt>
                <c:pt idx="5178">
                  <c:v>36.422-36.429</c:v>
                </c:pt>
                <c:pt idx="5179">
                  <c:v>36.429-36.436</c:v>
                </c:pt>
                <c:pt idx="5180">
                  <c:v>36.436-36.443</c:v>
                </c:pt>
                <c:pt idx="5181">
                  <c:v>36.443-36.450</c:v>
                </c:pt>
                <c:pt idx="5182">
                  <c:v>36.450-36.457</c:v>
                </c:pt>
                <c:pt idx="5183">
                  <c:v>36.457-36.464</c:v>
                </c:pt>
                <c:pt idx="5184">
                  <c:v>36.464-36.471</c:v>
                </c:pt>
                <c:pt idx="5185">
                  <c:v>36.471-36.478</c:v>
                </c:pt>
                <c:pt idx="5186">
                  <c:v>36.478-36.485</c:v>
                </c:pt>
                <c:pt idx="5187">
                  <c:v>36.485-36.492</c:v>
                </c:pt>
                <c:pt idx="5188">
                  <c:v>36.492-36.499</c:v>
                </c:pt>
                <c:pt idx="5189">
                  <c:v>36.499-36.506</c:v>
                </c:pt>
                <c:pt idx="5190">
                  <c:v>36.506-36.513</c:v>
                </c:pt>
                <c:pt idx="5191">
                  <c:v>36.513-36.520</c:v>
                </c:pt>
                <c:pt idx="5192">
                  <c:v>36.520-36.527</c:v>
                </c:pt>
                <c:pt idx="5193">
                  <c:v>36.527-36.534</c:v>
                </c:pt>
                <c:pt idx="5194">
                  <c:v>36.534-36.541</c:v>
                </c:pt>
                <c:pt idx="5195">
                  <c:v>36.541-36.548</c:v>
                </c:pt>
                <c:pt idx="5196">
                  <c:v>36.548-36.555</c:v>
                </c:pt>
                <c:pt idx="5197">
                  <c:v>36.555-36.562</c:v>
                </c:pt>
                <c:pt idx="5198">
                  <c:v>36.562-36.569</c:v>
                </c:pt>
                <c:pt idx="5199">
                  <c:v>36.569-36.576</c:v>
                </c:pt>
                <c:pt idx="5200">
                  <c:v>36.576-36.583</c:v>
                </c:pt>
                <c:pt idx="5201">
                  <c:v>36.583-36.591</c:v>
                </c:pt>
                <c:pt idx="5202">
                  <c:v>36.591-36.598</c:v>
                </c:pt>
                <c:pt idx="5203">
                  <c:v>36.598-36.605</c:v>
                </c:pt>
                <c:pt idx="5204">
                  <c:v>36.605-36.612</c:v>
                </c:pt>
                <c:pt idx="5205">
                  <c:v>36.612-36.619</c:v>
                </c:pt>
                <c:pt idx="5206">
                  <c:v>36.619-36.626</c:v>
                </c:pt>
                <c:pt idx="5207">
                  <c:v>36.626-36.633</c:v>
                </c:pt>
                <c:pt idx="5208">
                  <c:v>36.633-36.640</c:v>
                </c:pt>
                <c:pt idx="5209">
                  <c:v>36.640-36.647</c:v>
                </c:pt>
                <c:pt idx="5210">
                  <c:v>36.647-36.654</c:v>
                </c:pt>
                <c:pt idx="5211">
                  <c:v>36.654-36.661</c:v>
                </c:pt>
                <c:pt idx="5212">
                  <c:v>36.661-36.668</c:v>
                </c:pt>
                <c:pt idx="5213">
                  <c:v>36.668-36.675</c:v>
                </c:pt>
                <c:pt idx="5214">
                  <c:v>36.675-36.682</c:v>
                </c:pt>
                <c:pt idx="5215">
                  <c:v>36.682-36.689</c:v>
                </c:pt>
                <c:pt idx="5216">
                  <c:v>36.689-36.696</c:v>
                </c:pt>
                <c:pt idx="5217">
                  <c:v>36.696-36.703</c:v>
                </c:pt>
                <c:pt idx="5218">
                  <c:v>36.703-36.710</c:v>
                </c:pt>
                <c:pt idx="5219">
                  <c:v>36.710-36.717</c:v>
                </c:pt>
                <c:pt idx="5220">
                  <c:v>36.717-36.724</c:v>
                </c:pt>
                <c:pt idx="5221">
                  <c:v>36.724-36.731</c:v>
                </c:pt>
                <c:pt idx="5222">
                  <c:v>36.731-36.738</c:v>
                </c:pt>
                <c:pt idx="5223">
                  <c:v>36.738-36.745</c:v>
                </c:pt>
                <c:pt idx="5224">
                  <c:v>36.745-36.752</c:v>
                </c:pt>
                <c:pt idx="5225">
                  <c:v>36.752-36.759</c:v>
                </c:pt>
                <c:pt idx="5226">
                  <c:v>36.759-36.766</c:v>
                </c:pt>
                <c:pt idx="5227">
                  <c:v>36.766-36.773</c:v>
                </c:pt>
                <c:pt idx="5228">
                  <c:v>36.773-36.780</c:v>
                </c:pt>
                <c:pt idx="5229">
                  <c:v>36.780-36.787</c:v>
                </c:pt>
                <c:pt idx="5230">
                  <c:v>36.787-36.794</c:v>
                </c:pt>
                <c:pt idx="5231">
                  <c:v>36.794-36.801</c:v>
                </c:pt>
                <c:pt idx="5232">
                  <c:v>36.801-36.809</c:v>
                </c:pt>
                <c:pt idx="5233">
                  <c:v>36.809-36.816</c:v>
                </c:pt>
                <c:pt idx="5234">
                  <c:v>36.816-36.823</c:v>
                </c:pt>
                <c:pt idx="5235">
                  <c:v>36.823-36.830</c:v>
                </c:pt>
                <c:pt idx="5236">
                  <c:v>36.830-36.837</c:v>
                </c:pt>
                <c:pt idx="5237">
                  <c:v>36.837-36.844</c:v>
                </c:pt>
                <c:pt idx="5238">
                  <c:v>36.844-36.851</c:v>
                </c:pt>
                <c:pt idx="5239">
                  <c:v>36.851-36.858</c:v>
                </c:pt>
                <c:pt idx="5240">
                  <c:v>36.858-36.865</c:v>
                </c:pt>
                <c:pt idx="5241">
                  <c:v>36.865-36.872</c:v>
                </c:pt>
                <c:pt idx="5242">
                  <c:v>36.872-36.879</c:v>
                </c:pt>
                <c:pt idx="5243">
                  <c:v>36.879-36.886</c:v>
                </c:pt>
                <c:pt idx="5244">
                  <c:v>36.886-36.893</c:v>
                </c:pt>
                <c:pt idx="5245">
                  <c:v>36.893-36.900</c:v>
                </c:pt>
                <c:pt idx="5246">
                  <c:v>36.900-36.907</c:v>
                </c:pt>
                <c:pt idx="5247">
                  <c:v>36.907-36.914</c:v>
                </c:pt>
                <c:pt idx="5248">
                  <c:v>36.914-36.921</c:v>
                </c:pt>
                <c:pt idx="5249">
                  <c:v>36.921-36.928</c:v>
                </c:pt>
                <c:pt idx="5250">
                  <c:v>36.928-36.935</c:v>
                </c:pt>
                <c:pt idx="5251">
                  <c:v>36.935-36.942</c:v>
                </c:pt>
                <c:pt idx="5252">
                  <c:v>36.942-36.949</c:v>
                </c:pt>
                <c:pt idx="5253">
                  <c:v>36.949-36.956</c:v>
                </c:pt>
                <c:pt idx="5254">
                  <c:v>36.956-36.963</c:v>
                </c:pt>
                <c:pt idx="5255">
                  <c:v>36.963-36.970</c:v>
                </c:pt>
                <c:pt idx="5256">
                  <c:v>36.970-36.977</c:v>
                </c:pt>
                <c:pt idx="5257">
                  <c:v>36.977-36.984</c:v>
                </c:pt>
                <c:pt idx="5258">
                  <c:v>36.984-36.991</c:v>
                </c:pt>
                <c:pt idx="5259">
                  <c:v>36.991-36.998</c:v>
                </c:pt>
                <c:pt idx="5260">
                  <c:v>36.998-37.005</c:v>
                </c:pt>
                <c:pt idx="5261">
                  <c:v>37.005-37.012</c:v>
                </c:pt>
                <c:pt idx="5262">
                  <c:v>37.012-37.019</c:v>
                </c:pt>
                <c:pt idx="5263">
                  <c:v>37.019-37.027</c:v>
                </c:pt>
                <c:pt idx="5264">
                  <c:v>37.027-37.034</c:v>
                </c:pt>
                <c:pt idx="5265">
                  <c:v>37.034-37.041</c:v>
                </c:pt>
                <c:pt idx="5266">
                  <c:v>37.041-37.048</c:v>
                </c:pt>
                <c:pt idx="5267">
                  <c:v>37.048-37.055</c:v>
                </c:pt>
                <c:pt idx="5268">
                  <c:v>37.055-37.062</c:v>
                </c:pt>
                <c:pt idx="5269">
                  <c:v>37.062-37.069</c:v>
                </c:pt>
                <c:pt idx="5270">
                  <c:v>37.069-37.076</c:v>
                </c:pt>
                <c:pt idx="5271">
                  <c:v>37.076-37.083</c:v>
                </c:pt>
                <c:pt idx="5272">
                  <c:v>37.083-37.090</c:v>
                </c:pt>
                <c:pt idx="5273">
                  <c:v>37.090-37.097</c:v>
                </c:pt>
                <c:pt idx="5274">
                  <c:v>37.097-37.104</c:v>
                </c:pt>
                <c:pt idx="5275">
                  <c:v>37.104-37.111</c:v>
                </c:pt>
                <c:pt idx="5276">
                  <c:v>37.111-37.118</c:v>
                </c:pt>
                <c:pt idx="5277">
                  <c:v>37.118-37.125</c:v>
                </c:pt>
                <c:pt idx="5278">
                  <c:v>37.125-37.132</c:v>
                </c:pt>
                <c:pt idx="5279">
                  <c:v>37.132-37.139</c:v>
                </c:pt>
                <c:pt idx="5280">
                  <c:v>37.139-37.146</c:v>
                </c:pt>
                <c:pt idx="5281">
                  <c:v>37.146-37.153</c:v>
                </c:pt>
                <c:pt idx="5282">
                  <c:v>37.153-37.160</c:v>
                </c:pt>
                <c:pt idx="5283">
                  <c:v>37.160-37.167</c:v>
                </c:pt>
                <c:pt idx="5284">
                  <c:v>37.167-37.174</c:v>
                </c:pt>
                <c:pt idx="5285">
                  <c:v>37.174-37.181</c:v>
                </c:pt>
                <c:pt idx="5286">
                  <c:v>37.181-37.188</c:v>
                </c:pt>
                <c:pt idx="5287">
                  <c:v>37.188-37.195</c:v>
                </c:pt>
                <c:pt idx="5288">
                  <c:v>37.195-37.202</c:v>
                </c:pt>
                <c:pt idx="5289">
                  <c:v>37.202-37.209</c:v>
                </c:pt>
                <c:pt idx="5290">
                  <c:v>37.209-37.216</c:v>
                </c:pt>
                <c:pt idx="5291">
                  <c:v>37.216-37.223</c:v>
                </c:pt>
                <c:pt idx="5292">
                  <c:v>37.223-37.230</c:v>
                </c:pt>
                <c:pt idx="5293">
                  <c:v>37.230-37.237</c:v>
                </c:pt>
                <c:pt idx="5294">
                  <c:v>37.237-37.244</c:v>
                </c:pt>
                <c:pt idx="5295">
                  <c:v>37.244-37.252</c:v>
                </c:pt>
                <c:pt idx="5296">
                  <c:v>37.252-37.259</c:v>
                </c:pt>
                <c:pt idx="5297">
                  <c:v>37.259-37.266</c:v>
                </c:pt>
                <c:pt idx="5298">
                  <c:v>37.266-37.273</c:v>
                </c:pt>
                <c:pt idx="5299">
                  <c:v>37.273-37.280</c:v>
                </c:pt>
                <c:pt idx="5300">
                  <c:v>37.280-37.287</c:v>
                </c:pt>
                <c:pt idx="5301">
                  <c:v>37.287-37.294</c:v>
                </c:pt>
                <c:pt idx="5302">
                  <c:v>37.294-37.301</c:v>
                </c:pt>
                <c:pt idx="5303">
                  <c:v>37.301-37.308</c:v>
                </c:pt>
                <c:pt idx="5304">
                  <c:v>37.308-37.315</c:v>
                </c:pt>
                <c:pt idx="5305">
                  <c:v>37.315-37.322</c:v>
                </c:pt>
                <c:pt idx="5306">
                  <c:v>37.322-37.329</c:v>
                </c:pt>
                <c:pt idx="5307">
                  <c:v>37.329-37.336</c:v>
                </c:pt>
                <c:pt idx="5308">
                  <c:v>37.336-37.343</c:v>
                </c:pt>
                <c:pt idx="5309">
                  <c:v>37.343-37.350</c:v>
                </c:pt>
                <c:pt idx="5310">
                  <c:v>37.350-37.357</c:v>
                </c:pt>
                <c:pt idx="5311">
                  <c:v>37.357-37.364</c:v>
                </c:pt>
                <c:pt idx="5312">
                  <c:v>37.364-37.371</c:v>
                </c:pt>
                <c:pt idx="5313">
                  <c:v>37.371-37.378</c:v>
                </c:pt>
                <c:pt idx="5314">
                  <c:v>37.378-37.385</c:v>
                </c:pt>
                <c:pt idx="5315">
                  <c:v>37.385-37.392</c:v>
                </c:pt>
                <c:pt idx="5316">
                  <c:v>37.392-37.399</c:v>
                </c:pt>
                <c:pt idx="5317">
                  <c:v>37.399-37.406</c:v>
                </c:pt>
                <c:pt idx="5318">
                  <c:v>37.406-37.413</c:v>
                </c:pt>
                <c:pt idx="5319">
                  <c:v>37.413-37.420</c:v>
                </c:pt>
                <c:pt idx="5320">
                  <c:v>37.420-37.427</c:v>
                </c:pt>
                <c:pt idx="5321">
                  <c:v>37.427-37.434</c:v>
                </c:pt>
                <c:pt idx="5322">
                  <c:v>37.434-37.441</c:v>
                </c:pt>
                <c:pt idx="5323">
                  <c:v>37.441-37.448</c:v>
                </c:pt>
                <c:pt idx="5324">
                  <c:v>37.448-37.455</c:v>
                </c:pt>
                <c:pt idx="5325">
                  <c:v>37.455-37.462</c:v>
                </c:pt>
                <c:pt idx="5326">
                  <c:v>37.462-37.470</c:v>
                </c:pt>
                <c:pt idx="5327">
                  <c:v>37.470-37.477</c:v>
                </c:pt>
                <c:pt idx="5328">
                  <c:v>37.477-37.484</c:v>
                </c:pt>
                <c:pt idx="5329">
                  <c:v>37.484-37.491</c:v>
                </c:pt>
                <c:pt idx="5330">
                  <c:v>37.491-37.498</c:v>
                </c:pt>
                <c:pt idx="5331">
                  <c:v>37.498-37.505</c:v>
                </c:pt>
                <c:pt idx="5332">
                  <c:v>37.505-37.512</c:v>
                </c:pt>
                <c:pt idx="5333">
                  <c:v>37.512-37.519</c:v>
                </c:pt>
                <c:pt idx="5334">
                  <c:v>37.519-37.526</c:v>
                </c:pt>
                <c:pt idx="5335">
                  <c:v>37.526-37.533</c:v>
                </c:pt>
                <c:pt idx="5336">
                  <c:v>37.533-37.540</c:v>
                </c:pt>
                <c:pt idx="5337">
                  <c:v>37.540-37.547</c:v>
                </c:pt>
                <c:pt idx="5338">
                  <c:v>37.547-37.554</c:v>
                </c:pt>
                <c:pt idx="5339">
                  <c:v>37.554-37.561</c:v>
                </c:pt>
                <c:pt idx="5340">
                  <c:v>37.561-37.568</c:v>
                </c:pt>
                <c:pt idx="5341">
                  <c:v>37.568-37.575</c:v>
                </c:pt>
                <c:pt idx="5342">
                  <c:v>37.575-37.582</c:v>
                </c:pt>
                <c:pt idx="5343">
                  <c:v>37.582-37.589</c:v>
                </c:pt>
                <c:pt idx="5344">
                  <c:v>37.589-37.596</c:v>
                </c:pt>
                <c:pt idx="5345">
                  <c:v>37.596-37.603</c:v>
                </c:pt>
                <c:pt idx="5346">
                  <c:v>37.603-37.610</c:v>
                </c:pt>
                <c:pt idx="5347">
                  <c:v>37.610-37.617</c:v>
                </c:pt>
                <c:pt idx="5348">
                  <c:v>37.617-37.624</c:v>
                </c:pt>
                <c:pt idx="5349">
                  <c:v>37.624-37.631</c:v>
                </c:pt>
                <c:pt idx="5350">
                  <c:v>37.631-37.638</c:v>
                </c:pt>
                <c:pt idx="5351">
                  <c:v>37.638-37.645</c:v>
                </c:pt>
                <c:pt idx="5352">
                  <c:v>37.645-37.652</c:v>
                </c:pt>
                <c:pt idx="5353">
                  <c:v>37.652-37.659</c:v>
                </c:pt>
                <c:pt idx="5354">
                  <c:v>37.659-37.666</c:v>
                </c:pt>
                <c:pt idx="5355">
                  <c:v>37.666-37.673</c:v>
                </c:pt>
                <c:pt idx="5356">
                  <c:v>37.673-37.680</c:v>
                </c:pt>
                <c:pt idx="5357">
                  <c:v>37.680-37.688</c:v>
                </c:pt>
                <c:pt idx="5358">
                  <c:v>37.688-37.695</c:v>
                </c:pt>
                <c:pt idx="5359">
                  <c:v>37.695-37.702</c:v>
                </c:pt>
                <c:pt idx="5360">
                  <c:v>37.702-37.709</c:v>
                </c:pt>
                <c:pt idx="5361">
                  <c:v>37.709-37.716</c:v>
                </c:pt>
                <c:pt idx="5362">
                  <c:v>37.716-37.723</c:v>
                </c:pt>
                <c:pt idx="5363">
                  <c:v>37.723-37.730</c:v>
                </c:pt>
                <c:pt idx="5364">
                  <c:v>37.730-37.737</c:v>
                </c:pt>
                <c:pt idx="5365">
                  <c:v>37.737-37.744</c:v>
                </c:pt>
                <c:pt idx="5366">
                  <c:v>37.744-37.751</c:v>
                </c:pt>
                <c:pt idx="5367">
                  <c:v>37.751-37.758</c:v>
                </c:pt>
                <c:pt idx="5368">
                  <c:v>37.758-37.765</c:v>
                </c:pt>
                <c:pt idx="5369">
                  <c:v>37.765-37.772</c:v>
                </c:pt>
                <c:pt idx="5370">
                  <c:v>37.772-37.779</c:v>
                </c:pt>
                <c:pt idx="5371">
                  <c:v>37.779-37.786</c:v>
                </c:pt>
                <c:pt idx="5372">
                  <c:v>37.786-37.793</c:v>
                </c:pt>
                <c:pt idx="5373">
                  <c:v>37.793-37.800</c:v>
                </c:pt>
                <c:pt idx="5374">
                  <c:v>37.800-37.807</c:v>
                </c:pt>
                <c:pt idx="5375">
                  <c:v>37.807-37.814</c:v>
                </c:pt>
                <c:pt idx="5376">
                  <c:v>37.814-37.821</c:v>
                </c:pt>
                <c:pt idx="5377">
                  <c:v>37.821-37.828</c:v>
                </c:pt>
                <c:pt idx="5378">
                  <c:v>37.828-37.835</c:v>
                </c:pt>
                <c:pt idx="5379">
                  <c:v>37.835-37.842</c:v>
                </c:pt>
                <c:pt idx="5380">
                  <c:v>37.842-37.849</c:v>
                </c:pt>
                <c:pt idx="5381">
                  <c:v>37.849-37.856</c:v>
                </c:pt>
                <c:pt idx="5382">
                  <c:v>37.856-37.863</c:v>
                </c:pt>
                <c:pt idx="5383">
                  <c:v>37.863-37.870</c:v>
                </c:pt>
                <c:pt idx="5384">
                  <c:v>37.870-37.877</c:v>
                </c:pt>
                <c:pt idx="5385">
                  <c:v>37.877-37.884</c:v>
                </c:pt>
                <c:pt idx="5386">
                  <c:v>37.884-37.891</c:v>
                </c:pt>
                <c:pt idx="5387">
                  <c:v>37.891-37.898</c:v>
                </c:pt>
                <c:pt idx="5388">
                  <c:v>37.898-37.906</c:v>
                </c:pt>
                <c:pt idx="5389">
                  <c:v>37.906-37.913</c:v>
                </c:pt>
                <c:pt idx="5390">
                  <c:v>37.913-37.920</c:v>
                </c:pt>
                <c:pt idx="5391">
                  <c:v>37.920-37.927</c:v>
                </c:pt>
                <c:pt idx="5392">
                  <c:v>37.927-37.934</c:v>
                </c:pt>
                <c:pt idx="5393">
                  <c:v>37.934-37.941</c:v>
                </c:pt>
                <c:pt idx="5394">
                  <c:v>37.941-37.948</c:v>
                </c:pt>
                <c:pt idx="5395">
                  <c:v>37.948-37.955</c:v>
                </c:pt>
                <c:pt idx="5396">
                  <c:v>37.955-37.962</c:v>
                </c:pt>
                <c:pt idx="5397">
                  <c:v>37.962-37.969</c:v>
                </c:pt>
                <c:pt idx="5398">
                  <c:v>37.969-37.976</c:v>
                </c:pt>
                <c:pt idx="5399">
                  <c:v>37.976-37.983</c:v>
                </c:pt>
                <c:pt idx="5400">
                  <c:v>37.983-37.990</c:v>
                </c:pt>
                <c:pt idx="5401">
                  <c:v>37.990-37.997</c:v>
                </c:pt>
                <c:pt idx="5402">
                  <c:v>37.997-38.004</c:v>
                </c:pt>
                <c:pt idx="5403">
                  <c:v>38.004-38.011</c:v>
                </c:pt>
                <c:pt idx="5404">
                  <c:v>38.011-38.018</c:v>
                </c:pt>
                <c:pt idx="5405">
                  <c:v>38.018-38.025</c:v>
                </c:pt>
                <c:pt idx="5406">
                  <c:v>38.025-38.032</c:v>
                </c:pt>
                <c:pt idx="5407">
                  <c:v>38.032-38.039</c:v>
                </c:pt>
                <c:pt idx="5408">
                  <c:v>38.039-38.046</c:v>
                </c:pt>
                <c:pt idx="5409">
                  <c:v>38.046-38.053</c:v>
                </c:pt>
                <c:pt idx="5410">
                  <c:v>38.053-38.060</c:v>
                </c:pt>
                <c:pt idx="5411">
                  <c:v>38.060-38.067</c:v>
                </c:pt>
                <c:pt idx="5412">
                  <c:v>38.067-38.074</c:v>
                </c:pt>
                <c:pt idx="5413">
                  <c:v>38.074-38.081</c:v>
                </c:pt>
                <c:pt idx="5414">
                  <c:v>38.081-38.088</c:v>
                </c:pt>
                <c:pt idx="5415">
                  <c:v>38.088-38.095</c:v>
                </c:pt>
                <c:pt idx="5416">
                  <c:v>38.095-38.102</c:v>
                </c:pt>
                <c:pt idx="5417">
                  <c:v>38.102-38.109</c:v>
                </c:pt>
                <c:pt idx="5418">
                  <c:v>38.109-38.116</c:v>
                </c:pt>
                <c:pt idx="5419">
                  <c:v>38.116-38.124</c:v>
                </c:pt>
                <c:pt idx="5420">
                  <c:v>38.124-38.131</c:v>
                </c:pt>
                <c:pt idx="5421">
                  <c:v>38.131-38.138</c:v>
                </c:pt>
                <c:pt idx="5422">
                  <c:v>38.138-38.145</c:v>
                </c:pt>
                <c:pt idx="5423">
                  <c:v>38.145-38.152</c:v>
                </c:pt>
                <c:pt idx="5424">
                  <c:v>38.152-38.159</c:v>
                </c:pt>
                <c:pt idx="5425">
                  <c:v>38.159-38.166</c:v>
                </c:pt>
                <c:pt idx="5426">
                  <c:v>38.166-38.173</c:v>
                </c:pt>
                <c:pt idx="5427">
                  <c:v>38.173-38.180</c:v>
                </c:pt>
                <c:pt idx="5428">
                  <c:v>38.180-38.187</c:v>
                </c:pt>
                <c:pt idx="5429">
                  <c:v>38.187-38.194</c:v>
                </c:pt>
                <c:pt idx="5430">
                  <c:v>38.194-38.201</c:v>
                </c:pt>
                <c:pt idx="5431">
                  <c:v>38.201-38.208</c:v>
                </c:pt>
                <c:pt idx="5432">
                  <c:v>38.208-38.215</c:v>
                </c:pt>
                <c:pt idx="5433">
                  <c:v>38.215-38.222</c:v>
                </c:pt>
                <c:pt idx="5434">
                  <c:v>38.222-38.229</c:v>
                </c:pt>
                <c:pt idx="5435">
                  <c:v>38.229-38.236</c:v>
                </c:pt>
                <c:pt idx="5436">
                  <c:v>38.236-38.243</c:v>
                </c:pt>
                <c:pt idx="5437">
                  <c:v>38.243-38.250</c:v>
                </c:pt>
                <c:pt idx="5438">
                  <c:v>38.250-38.257</c:v>
                </c:pt>
                <c:pt idx="5439">
                  <c:v>38.257-38.264</c:v>
                </c:pt>
                <c:pt idx="5440">
                  <c:v>38.264-38.271</c:v>
                </c:pt>
                <c:pt idx="5441">
                  <c:v>38.271-38.278</c:v>
                </c:pt>
                <c:pt idx="5442">
                  <c:v>38.278-38.285</c:v>
                </c:pt>
                <c:pt idx="5443">
                  <c:v>38.285-38.292</c:v>
                </c:pt>
                <c:pt idx="5444">
                  <c:v>38.292-38.299</c:v>
                </c:pt>
                <c:pt idx="5445">
                  <c:v>38.299-38.306</c:v>
                </c:pt>
                <c:pt idx="5446">
                  <c:v>38.306-38.313</c:v>
                </c:pt>
                <c:pt idx="5447">
                  <c:v>38.313-38.320</c:v>
                </c:pt>
                <c:pt idx="5448">
                  <c:v>38.320-38.327</c:v>
                </c:pt>
                <c:pt idx="5449">
                  <c:v>38.327-38.334</c:v>
                </c:pt>
                <c:pt idx="5450">
                  <c:v>38.334-38.342</c:v>
                </c:pt>
                <c:pt idx="5451">
                  <c:v>38.342-38.349</c:v>
                </c:pt>
                <c:pt idx="5452">
                  <c:v>38.349-38.356</c:v>
                </c:pt>
                <c:pt idx="5453">
                  <c:v>38.356-38.363</c:v>
                </c:pt>
                <c:pt idx="5454">
                  <c:v>38.363-38.370</c:v>
                </c:pt>
                <c:pt idx="5455">
                  <c:v>38.370-38.377</c:v>
                </c:pt>
                <c:pt idx="5456">
                  <c:v>38.377-38.384</c:v>
                </c:pt>
                <c:pt idx="5457">
                  <c:v>38.384-38.391</c:v>
                </c:pt>
                <c:pt idx="5458">
                  <c:v>38.391-38.398</c:v>
                </c:pt>
                <c:pt idx="5459">
                  <c:v>38.398-38.405</c:v>
                </c:pt>
                <c:pt idx="5460">
                  <c:v>38.405-38.412</c:v>
                </c:pt>
                <c:pt idx="5461">
                  <c:v>38.412-38.419</c:v>
                </c:pt>
                <c:pt idx="5462">
                  <c:v>38.419-38.426</c:v>
                </c:pt>
                <c:pt idx="5463">
                  <c:v>38.426-38.433</c:v>
                </c:pt>
                <c:pt idx="5464">
                  <c:v>38.433-38.440</c:v>
                </c:pt>
                <c:pt idx="5465">
                  <c:v>38.440-38.447</c:v>
                </c:pt>
                <c:pt idx="5466">
                  <c:v>38.447-38.454</c:v>
                </c:pt>
                <c:pt idx="5467">
                  <c:v>38.454-38.461</c:v>
                </c:pt>
                <c:pt idx="5468">
                  <c:v>38.461-38.468</c:v>
                </c:pt>
                <c:pt idx="5469">
                  <c:v>38.468-38.475</c:v>
                </c:pt>
                <c:pt idx="5470">
                  <c:v>38.475-38.482</c:v>
                </c:pt>
                <c:pt idx="5471">
                  <c:v>38.482-38.489</c:v>
                </c:pt>
                <c:pt idx="5472">
                  <c:v>38.489-38.496</c:v>
                </c:pt>
                <c:pt idx="5473">
                  <c:v>38.496-38.503</c:v>
                </c:pt>
                <c:pt idx="5474">
                  <c:v>38.503-38.510</c:v>
                </c:pt>
                <c:pt idx="5475">
                  <c:v>38.510-38.517</c:v>
                </c:pt>
                <c:pt idx="5476">
                  <c:v>38.517-38.524</c:v>
                </c:pt>
                <c:pt idx="5477">
                  <c:v>38.524-38.531</c:v>
                </c:pt>
                <c:pt idx="5478">
                  <c:v>38.531-38.538</c:v>
                </c:pt>
                <c:pt idx="5479">
                  <c:v>38.538-38.545</c:v>
                </c:pt>
                <c:pt idx="5480">
                  <c:v>38.545-38.552</c:v>
                </c:pt>
                <c:pt idx="5481">
                  <c:v>38.552-38.560</c:v>
                </c:pt>
                <c:pt idx="5482">
                  <c:v>38.560-38.567</c:v>
                </c:pt>
                <c:pt idx="5483">
                  <c:v>38.567-38.574</c:v>
                </c:pt>
                <c:pt idx="5484">
                  <c:v>38.574-38.581</c:v>
                </c:pt>
                <c:pt idx="5485">
                  <c:v>38.581-38.588</c:v>
                </c:pt>
                <c:pt idx="5486">
                  <c:v>38.588-38.595</c:v>
                </c:pt>
                <c:pt idx="5487">
                  <c:v>38.595-38.602</c:v>
                </c:pt>
                <c:pt idx="5488">
                  <c:v>38.602-38.609</c:v>
                </c:pt>
                <c:pt idx="5489">
                  <c:v>38.609-38.616</c:v>
                </c:pt>
                <c:pt idx="5490">
                  <c:v>38.616-38.623</c:v>
                </c:pt>
                <c:pt idx="5491">
                  <c:v>38.623-38.630</c:v>
                </c:pt>
                <c:pt idx="5492">
                  <c:v>38.630-38.637</c:v>
                </c:pt>
                <c:pt idx="5493">
                  <c:v>38.637-38.644</c:v>
                </c:pt>
                <c:pt idx="5494">
                  <c:v>38.644-38.651</c:v>
                </c:pt>
                <c:pt idx="5495">
                  <c:v>38.651-38.658</c:v>
                </c:pt>
                <c:pt idx="5496">
                  <c:v>38.658-38.665</c:v>
                </c:pt>
                <c:pt idx="5497">
                  <c:v>38.665-38.672</c:v>
                </c:pt>
                <c:pt idx="5498">
                  <c:v>38.672-38.679</c:v>
                </c:pt>
                <c:pt idx="5499">
                  <c:v>38.679-38.686</c:v>
                </c:pt>
                <c:pt idx="5500">
                  <c:v>38.686-38.693</c:v>
                </c:pt>
                <c:pt idx="5501">
                  <c:v>38.693-38.700</c:v>
                </c:pt>
                <c:pt idx="5502">
                  <c:v>38.700-38.707</c:v>
                </c:pt>
                <c:pt idx="5503">
                  <c:v>38.707-38.714</c:v>
                </c:pt>
                <c:pt idx="5504">
                  <c:v>38.714-38.721</c:v>
                </c:pt>
                <c:pt idx="5505">
                  <c:v>38.721-38.728</c:v>
                </c:pt>
                <c:pt idx="5506">
                  <c:v>38.728-38.735</c:v>
                </c:pt>
                <c:pt idx="5507">
                  <c:v>38.735-38.742</c:v>
                </c:pt>
                <c:pt idx="5508">
                  <c:v>38.742-38.749</c:v>
                </c:pt>
                <c:pt idx="5509">
                  <c:v>38.749-38.756</c:v>
                </c:pt>
                <c:pt idx="5510">
                  <c:v>38.756-38.763</c:v>
                </c:pt>
                <c:pt idx="5511">
                  <c:v>38.763-38.770</c:v>
                </c:pt>
                <c:pt idx="5512">
                  <c:v>38.770-38.778</c:v>
                </c:pt>
                <c:pt idx="5513">
                  <c:v>38.778-38.785</c:v>
                </c:pt>
                <c:pt idx="5514">
                  <c:v>38.785-38.792</c:v>
                </c:pt>
                <c:pt idx="5515">
                  <c:v>38.792-38.799</c:v>
                </c:pt>
                <c:pt idx="5516">
                  <c:v>38.799-38.806</c:v>
                </c:pt>
                <c:pt idx="5517">
                  <c:v>38.806-38.813</c:v>
                </c:pt>
                <c:pt idx="5518">
                  <c:v>38.813-38.820</c:v>
                </c:pt>
                <c:pt idx="5519">
                  <c:v>38.820-38.827</c:v>
                </c:pt>
                <c:pt idx="5520">
                  <c:v>38.827-38.834</c:v>
                </c:pt>
                <c:pt idx="5521">
                  <c:v>38.834-38.841</c:v>
                </c:pt>
                <c:pt idx="5522">
                  <c:v>38.841-38.848</c:v>
                </c:pt>
                <c:pt idx="5523">
                  <c:v>38.848-38.855</c:v>
                </c:pt>
                <c:pt idx="5524">
                  <c:v>38.855-38.862</c:v>
                </c:pt>
                <c:pt idx="5525">
                  <c:v>38.862-38.869</c:v>
                </c:pt>
                <c:pt idx="5526">
                  <c:v>38.869-38.876</c:v>
                </c:pt>
                <c:pt idx="5527">
                  <c:v>38.876-38.883</c:v>
                </c:pt>
                <c:pt idx="5528">
                  <c:v>38.883-38.890</c:v>
                </c:pt>
                <c:pt idx="5529">
                  <c:v>38.890-38.897</c:v>
                </c:pt>
                <c:pt idx="5530">
                  <c:v>38.897-38.904</c:v>
                </c:pt>
                <c:pt idx="5531">
                  <c:v>38.904-38.911</c:v>
                </c:pt>
                <c:pt idx="5532">
                  <c:v>38.911-38.918</c:v>
                </c:pt>
                <c:pt idx="5533">
                  <c:v>38.918-38.925</c:v>
                </c:pt>
                <c:pt idx="5534">
                  <c:v>38.925-38.932</c:v>
                </c:pt>
                <c:pt idx="5535">
                  <c:v>38.932-38.939</c:v>
                </c:pt>
                <c:pt idx="5536">
                  <c:v>38.939-38.946</c:v>
                </c:pt>
                <c:pt idx="5537">
                  <c:v>38.946-38.953</c:v>
                </c:pt>
                <c:pt idx="5538">
                  <c:v>38.953-38.960</c:v>
                </c:pt>
                <c:pt idx="5539">
                  <c:v>38.960-38.967</c:v>
                </c:pt>
                <c:pt idx="5540">
                  <c:v>38.967-38.974</c:v>
                </c:pt>
                <c:pt idx="5541">
                  <c:v>38.974-38.981</c:v>
                </c:pt>
                <c:pt idx="5542">
                  <c:v>38.981-38.988</c:v>
                </c:pt>
                <c:pt idx="5543">
                  <c:v>38.988-38.996</c:v>
                </c:pt>
                <c:pt idx="5544">
                  <c:v>38.996-39.003</c:v>
                </c:pt>
                <c:pt idx="5545">
                  <c:v>39.003-39.010</c:v>
                </c:pt>
                <c:pt idx="5546">
                  <c:v>39.010-39.017</c:v>
                </c:pt>
                <c:pt idx="5547">
                  <c:v>39.017-39.024</c:v>
                </c:pt>
                <c:pt idx="5548">
                  <c:v>39.024-39.031</c:v>
                </c:pt>
                <c:pt idx="5549">
                  <c:v>39.031-39.038</c:v>
                </c:pt>
                <c:pt idx="5550">
                  <c:v>39.038-39.045</c:v>
                </c:pt>
                <c:pt idx="5551">
                  <c:v>39.045-39.052</c:v>
                </c:pt>
                <c:pt idx="5552">
                  <c:v>39.052-39.059</c:v>
                </c:pt>
                <c:pt idx="5553">
                  <c:v>39.059-39.066</c:v>
                </c:pt>
                <c:pt idx="5554">
                  <c:v>39.066-39.073</c:v>
                </c:pt>
                <c:pt idx="5555">
                  <c:v>39.073-39.080</c:v>
                </c:pt>
                <c:pt idx="5556">
                  <c:v>39.080-39.087</c:v>
                </c:pt>
                <c:pt idx="5557">
                  <c:v>39.087-39.094</c:v>
                </c:pt>
                <c:pt idx="5558">
                  <c:v>39.094-39.101</c:v>
                </c:pt>
                <c:pt idx="5559">
                  <c:v>39.101-39.108</c:v>
                </c:pt>
                <c:pt idx="5560">
                  <c:v>39.108-39.115</c:v>
                </c:pt>
                <c:pt idx="5561">
                  <c:v>39.115-39.122</c:v>
                </c:pt>
                <c:pt idx="5562">
                  <c:v>39.122-39.129</c:v>
                </c:pt>
                <c:pt idx="5563">
                  <c:v>39.129-39.136</c:v>
                </c:pt>
                <c:pt idx="5564">
                  <c:v>39.136-39.143</c:v>
                </c:pt>
                <c:pt idx="5565">
                  <c:v>39.143-39.150</c:v>
                </c:pt>
                <c:pt idx="5566">
                  <c:v>39.150-39.157</c:v>
                </c:pt>
                <c:pt idx="5567">
                  <c:v>39.157-39.164</c:v>
                </c:pt>
                <c:pt idx="5568">
                  <c:v>39.164-39.171</c:v>
                </c:pt>
                <c:pt idx="5569">
                  <c:v>39.171-39.178</c:v>
                </c:pt>
                <c:pt idx="5570">
                  <c:v>39.178-39.185</c:v>
                </c:pt>
                <c:pt idx="5571">
                  <c:v>39.185-39.192</c:v>
                </c:pt>
                <c:pt idx="5572">
                  <c:v>39.192-39.199</c:v>
                </c:pt>
                <c:pt idx="5573">
                  <c:v>39.199-39.206</c:v>
                </c:pt>
                <c:pt idx="5574">
                  <c:v>39.206-39.214</c:v>
                </c:pt>
                <c:pt idx="5575">
                  <c:v>39.214-39.221</c:v>
                </c:pt>
                <c:pt idx="5576">
                  <c:v>39.221-39.228</c:v>
                </c:pt>
                <c:pt idx="5577">
                  <c:v>39.228-39.235</c:v>
                </c:pt>
                <c:pt idx="5578">
                  <c:v>39.235-39.242</c:v>
                </c:pt>
                <c:pt idx="5579">
                  <c:v>39.242-39.249</c:v>
                </c:pt>
                <c:pt idx="5580">
                  <c:v>39.249-39.256</c:v>
                </c:pt>
                <c:pt idx="5581">
                  <c:v>39.256-39.263</c:v>
                </c:pt>
                <c:pt idx="5582">
                  <c:v>39.263-39.270</c:v>
                </c:pt>
                <c:pt idx="5583">
                  <c:v>39.270-39.277</c:v>
                </c:pt>
                <c:pt idx="5584">
                  <c:v>39.277-39.284</c:v>
                </c:pt>
                <c:pt idx="5585">
                  <c:v>39.284-39.291</c:v>
                </c:pt>
                <c:pt idx="5586">
                  <c:v>39.291-39.298</c:v>
                </c:pt>
                <c:pt idx="5587">
                  <c:v>39.298-39.305</c:v>
                </c:pt>
                <c:pt idx="5588">
                  <c:v>39.305-39.312</c:v>
                </c:pt>
                <c:pt idx="5589">
                  <c:v>39.312-39.319</c:v>
                </c:pt>
                <c:pt idx="5590">
                  <c:v>39.319-39.326</c:v>
                </c:pt>
                <c:pt idx="5591">
                  <c:v>39.326-39.333</c:v>
                </c:pt>
                <c:pt idx="5592">
                  <c:v>39.333-39.340</c:v>
                </c:pt>
                <c:pt idx="5593">
                  <c:v>39.340-39.347</c:v>
                </c:pt>
                <c:pt idx="5594">
                  <c:v>39.347-39.354</c:v>
                </c:pt>
                <c:pt idx="5595">
                  <c:v>39.354-39.361</c:v>
                </c:pt>
                <c:pt idx="5596">
                  <c:v>39.361-39.368</c:v>
                </c:pt>
                <c:pt idx="5597">
                  <c:v>39.368-39.375</c:v>
                </c:pt>
                <c:pt idx="5598">
                  <c:v>39.375-39.382</c:v>
                </c:pt>
                <c:pt idx="5599">
                  <c:v>39.382-39.389</c:v>
                </c:pt>
                <c:pt idx="5600">
                  <c:v>39.389-39.396</c:v>
                </c:pt>
                <c:pt idx="5601">
                  <c:v>39.396-39.403</c:v>
                </c:pt>
                <c:pt idx="5602">
                  <c:v>39.403-39.410</c:v>
                </c:pt>
                <c:pt idx="5603">
                  <c:v>39.410-39.417</c:v>
                </c:pt>
                <c:pt idx="5604">
                  <c:v>39.417-39.424</c:v>
                </c:pt>
                <c:pt idx="5605">
                  <c:v>39.424-39.432</c:v>
                </c:pt>
                <c:pt idx="5606">
                  <c:v>39.432-39.439</c:v>
                </c:pt>
                <c:pt idx="5607">
                  <c:v>39.439-39.446</c:v>
                </c:pt>
                <c:pt idx="5608">
                  <c:v>39.446-39.453</c:v>
                </c:pt>
                <c:pt idx="5609">
                  <c:v>39.453-39.460</c:v>
                </c:pt>
                <c:pt idx="5610">
                  <c:v>39.460-39.467</c:v>
                </c:pt>
                <c:pt idx="5611">
                  <c:v>39.467-39.474</c:v>
                </c:pt>
                <c:pt idx="5612">
                  <c:v>39.474-39.481</c:v>
                </c:pt>
                <c:pt idx="5613">
                  <c:v>39.481-39.488</c:v>
                </c:pt>
                <c:pt idx="5614">
                  <c:v>39.488-39.495</c:v>
                </c:pt>
                <c:pt idx="5615">
                  <c:v>39.495-39.502</c:v>
                </c:pt>
                <c:pt idx="5616">
                  <c:v>39.502-39.509</c:v>
                </c:pt>
                <c:pt idx="5617">
                  <c:v>39.509-39.516</c:v>
                </c:pt>
                <c:pt idx="5618">
                  <c:v>39.516-39.523</c:v>
                </c:pt>
                <c:pt idx="5619">
                  <c:v>39.523-39.530</c:v>
                </c:pt>
                <c:pt idx="5620">
                  <c:v>39.530-39.537</c:v>
                </c:pt>
                <c:pt idx="5621">
                  <c:v>39.537-39.544</c:v>
                </c:pt>
                <c:pt idx="5622">
                  <c:v>39.544-39.551</c:v>
                </c:pt>
                <c:pt idx="5623">
                  <c:v>39.551-39.558</c:v>
                </c:pt>
                <c:pt idx="5624">
                  <c:v>39.558-39.565</c:v>
                </c:pt>
                <c:pt idx="5625">
                  <c:v>39.565-39.572</c:v>
                </c:pt>
                <c:pt idx="5626">
                  <c:v>39.572-39.579</c:v>
                </c:pt>
                <c:pt idx="5627">
                  <c:v>39.579-39.586</c:v>
                </c:pt>
                <c:pt idx="5628">
                  <c:v>39.586-39.593</c:v>
                </c:pt>
                <c:pt idx="5629">
                  <c:v>39.593-39.600</c:v>
                </c:pt>
                <c:pt idx="5630">
                  <c:v>39.600-39.607</c:v>
                </c:pt>
                <c:pt idx="5631">
                  <c:v>39.607-39.614</c:v>
                </c:pt>
                <c:pt idx="5632">
                  <c:v>39.614-39.621</c:v>
                </c:pt>
                <c:pt idx="5633">
                  <c:v>39.621-39.628</c:v>
                </c:pt>
                <c:pt idx="5634">
                  <c:v>39.628-39.635</c:v>
                </c:pt>
                <c:pt idx="5635">
                  <c:v>39.635-39.642</c:v>
                </c:pt>
                <c:pt idx="5636">
                  <c:v>39.642-39.650</c:v>
                </c:pt>
                <c:pt idx="5637">
                  <c:v>39.650-39.657</c:v>
                </c:pt>
                <c:pt idx="5638">
                  <c:v>39.657-39.664</c:v>
                </c:pt>
                <c:pt idx="5639">
                  <c:v>39.664-39.671</c:v>
                </c:pt>
                <c:pt idx="5640">
                  <c:v>39.671-39.678</c:v>
                </c:pt>
                <c:pt idx="5641">
                  <c:v>39.678-39.685</c:v>
                </c:pt>
                <c:pt idx="5642">
                  <c:v>39.685-39.692</c:v>
                </c:pt>
                <c:pt idx="5643">
                  <c:v>39.692-39.699</c:v>
                </c:pt>
                <c:pt idx="5644">
                  <c:v>39.699-39.706</c:v>
                </c:pt>
                <c:pt idx="5645">
                  <c:v>39.706-39.713</c:v>
                </c:pt>
                <c:pt idx="5646">
                  <c:v>39.713-39.720</c:v>
                </c:pt>
                <c:pt idx="5647">
                  <c:v>39.720-39.727</c:v>
                </c:pt>
                <c:pt idx="5648">
                  <c:v>39.727-39.734</c:v>
                </c:pt>
                <c:pt idx="5649">
                  <c:v>39.734-39.741</c:v>
                </c:pt>
                <c:pt idx="5650">
                  <c:v>39.741-39.748</c:v>
                </c:pt>
                <c:pt idx="5651">
                  <c:v>39.748-39.755</c:v>
                </c:pt>
                <c:pt idx="5652">
                  <c:v>39.755-39.762</c:v>
                </c:pt>
                <c:pt idx="5653">
                  <c:v>39.762-39.769</c:v>
                </c:pt>
                <c:pt idx="5654">
                  <c:v>39.769-39.776</c:v>
                </c:pt>
                <c:pt idx="5655">
                  <c:v>39.776-39.783</c:v>
                </c:pt>
                <c:pt idx="5656">
                  <c:v>39.783-39.790</c:v>
                </c:pt>
                <c:pt idx="5657">
                  <c:v>39.790-39.797</c:v>
                </c:pt>
                <c:pt idx="5658">
                  <c:v>39.797-39.804</c:v>
                </c:pt>
                <c:pt idx="5659">
                  <c:v>39.804-39.811</c:v>
                </c:pt>
                <c:pt idx="5660">
                  <c:v>39.811-39.818</c:v>
                </c:pt>
                <c:pt idx="5661">
                  <c:v>39.818-39.825</c:v>
                </c:pt>
                <c:pt idx="5662">
                  <c:v>39.825-39.832</c:v>
                </c:pt>
                <c:pt idx="5663">
                  <c:v>39.832-39.839</c:v>
                </c:pt>
                <c:pt idx="5664">
                  <c:v>39.839-39.846</c:v>
                </c:pt>
                <c:pt idx="5665">
                  <c:v>39.846-39.853</c:v>
                </c:pt>
                <c:pt idx="5666">
                  <c:v>39.853-39.860</c:v>
                </c:pt>
                <c:pt idx="5667">
                  <c:v>39.860-39.868</c:v>
                </c:pt>
                <c:pt idx="5668">
                  <c:v>39.868-39.875</c:v>
                </c:pt>
                <c:pt idx="5669">
                  <c:v>39.875-39.882</c:v>
                </c:pt>
                <c:pt idx="5670">
                  <c:v>39.882-39.889</c:v>
                </c:pt>
                <c:pt idx="5671">
                  <c:v>39.889-39.896</c:v>
                </c:pt>
                <c:pt idx="5672">
                  <c:v>39.896-39.903</c:v>
                </c:pt>
                <c:pt idx="5673">
                  <c:v>39.903-39.910</c:v>
                </c:pt>
                <c:pt idx="5674">
                  <c:v>39.910-39.917</c:v>
                </c:pt>
                <c:pt idx="5675">
                  <c:v>39.917-39.924</c:v>
                </c:pt>
                <c:pt idx="5676">
                  <c:v>39.924-39.931</c:v>
                </c:pt>
                <c:pt idx="5677">
                  <c:v>39.931-39.938</c:v>
                </c:pt>
                <c:pt idx="5678">
                  <c:v>39.938-39.945</c:v>
                </c:pt>
                <c:pt idx="5679">
                  <c:v>39.945-39.952</c:v>
                </c:pt>
                <c:pt idx="5680">
                  <c:v>39.952-39.959</c:v>
                </c:pt>
                <c:pt idx="5681">
                  <c:v>39.959-39.966</c:v>
                </c:pt>
                <c:pt idx="5682">
                  <c:v>39.966-39.973</c:v>
                </c:pt>
                <c:pt idx="5683">
                  <c:v>39.973-39.980</c:v>
                </c:pt>
                <c:pt idx="5684">
                  <c:v>39.980-39.987</c:v>
                </c:pt>
                <c:pt idx="5685">
                  <c:v>39.987-39.994</c:v>
                </c:pt>
                <c:pt idx="5686">
                  <c:v>39.994-40.001</c:v>
                </c:pt>
                <c:pt idx="5687">
                  <c:v>40.001-40.008</c:v>
                </c:pt>
                <c:pt idx="5688">
                  <c:v>40.008-40.015</c:v>
                </c:pt>
                <c:pt idx="5689">
                  <c:v>40.015-40.022</c:v>
                </c:pt>
                <c:pt idx="5690">
                  <c:v>40.022-40.029</c:v>
                </c:pt>
                <c:pt idx="5691">
                  <c:v>40.029-40.036</c:v>
                </c:pt>
                <c:pt idx="5692">
                  <c:v>40.036-40.043</c:v>
                </c:pt>
                <c:pt idx="5693">
                  <c:v>40.043-40.050</c:v>
                </c:pt>
                <c:pt idx="5694">
                  <c:v>40.050-40.057</c:v>
                </c:pt>
                <c:pt idx="5695">
                  <c:v>40.057-40.064</c:v>
                </c:pt>
                <c:pt idx="5696">
                  <c:v>40.064-40.071</c:v>
                </c:pt>
                <c:pt idx="5697">
                  <c:v>40.071-40.078</c:v>
                </c:pt>
                <c:pt idx="5698">
                  <c:v>40.078-40.086</c:v>
                </c:pt>
                <c:pt idx="5699">
                  <c:v>40.086-40.093</c:v>
                </c:pt>
                <c:pt idx="5700">
                  <c:v>40.093-40.100</c:v>
                </c:pt>
                <c:pt idx="5701">
                  <c:v>40.100-40.107</c:v>
                </c:pt>
                <c:pt idx="5702">
                  <c:v>40.107-40.114</c:v>
                </c:pt>
                <c:pt idx="5703">
                  <c:v>40.114-40.121</c:v>
                </c:pt>
                <c:pt idx="5704">
                  <c:v>40.121-40.128</c:v>
                </c:pt>
                <c:pt idx="5705">
                  <c:v>40.128-40.135</c:v>
                </c:pt>
                <c:pt idx="5706">
                  <c:v>40.135-40.142</c:v>
                </c:pt>
                <c:pt idx="5707">
                  <c:v>40.142-40.149</c:v>
                </c:pt>
                <c:pt idx="5708">
                  <c:v>40.149-40.156</c:v>
                </c:pt>
                <c:pt idx="5709">
                  <c:v>40.156-40.163</c:v>
                </c:pt>
                <c:pt idx="5710">
                  <c:v>40.163-40.170</c:v>
                </c:pt>
                <c:pt idx="5711">
                  <c:v>40.170-40.177</c:v>
                </c:pt>
                <c:pt idx="5712">
                  <c:v>40.177-40.184</c:v>
                </c:pt>
                <c:pt idx="5713">
                  <c:v>40.184-40.191</c:v>
                </c:pt>
                <c:pt idx="5714">
                  <c:v>40.191-40.198</c:v>
                </c:pt>
                <c:pt idx="5715">
                  <c:v>40.198-40.205</c:v>
                </c:pt>
                <c:pt idx="5716">
                  <c:v>40.205-40.212</c:v>
                </c:pt>
                <c:pt idx="5717">
                  <c:v>40.212-40.219</c:v>
                </c:pt>
                <c:pt idx="5718">
                  <c:v>40.219-40.226</c:v>
                </c:pt>
                <c:pt idx="5719">
                  <c:v>40.226-40.233</c:v>
                </c:pt>
                <c:pt idx="5720">
                  <c:v>40.233-40.240</c:v>
                </c:pt>
                <c:pt idx="5721">
                  <c:v>40.240-40.247</c:v>
                </c:pt>
                <c:pt idx="5722">
                  <c:v>40.247-40.254</c:v>
                </c:pt>
                <c:pt idx="5723">
                  <c:v>40.254-40.261</c:v>
                </c:pt>
                <c:pt idx="5724">
                  <c:v>40.261-40.268</c:v>
                </c:pt>
                <c:pt idx="5725">
                  <c:v>40.268-40.275</c:v>
                </c:pt>
                <c:pt idx="5726">
                  <c:v>40.275-40.282</c:v>
                </c:pt>
                <c:pt idx="5727">
                  <c:v>40.282-40.289</c:v>
                </c:pt>
                <c:pt idx="5728">
                  <c:v>40.289-40.296</c:v>
                </c:pt>
                <c:pt idx="5729">
                  <c:v>40.296-40.304</c:v>
                </c:pt>
                <c:pt idx="5730">
                  <c:v>40.304-40.311</c:v>
                </c:pt>
                <c:pt idx="5731">
                  <c:v>40.311-40.318</c:v>
                </c:pt>
                <c:pt idx="5732">
                  <c:v>40.318-40.325</c:v>
                </c:pt>
                <c:pt idx="5733">
                  <c:v>40.325-40.332</c:v>
                </c:pt>
                <c:pt idx="5734">
                  <c:v>40.332-40.339</c:v>
                </c:pt>
                <c:pt idx="5735">
                  <c:v>40.339-40.346</c:v>
                </c:pt>
                <c:pt idx="5736">
                  <c:v>40.346-40.353</c:v>
                </c:pt>
                <c:pt idx="5737">
                  <c:v>40.353-40.360</c:v>
                </c:pt>
                <c:pt idx="5738">
                  <c:v>40.360-40.367</c:v>
                </c:pt>
                <c:pt idx="5739">
                  <c:v>40.367-40.374</c:v>
                </c:pt>
                <c:pt idx="5740">
                  <c:v>40.374-40.381</c:v>
                </c:pt>
                <c:pt idx="5741">
                  <c:v>40.381-40.388</c:v>
                </c:pt>
                <c:pt idx="5742">
                  <c:v>40.388-40.395</c:v>
                </c:pt>
                <c:pt idx="5743">
                  <c:v>40.395-40.402</c:v>
                </c:pt>
                <c:pt idx="5744">
                  <c:v>40.402-40.409</c:v>
                </c:pt>
                <c:pt idx="5745">
                  <c:v>40.409-40.416</c:v>
                </c:pt>
                <c:pt idx="5746">
                  <c:v>40.416-40.423</c:v>
                </c:pt>
                <c:pt idx="5747">
                  <c:v>40.423-40.430</c:v>
                </c:pt>
                <c:pt idx="5748">
                  <c:v>40.430-40.437</c:v>
                </c:pt>
                <c:pt idx="5749">
                  <c:v>40.437-40.444</c:v>
                </c:pt>
                <c:pt idx="5750">
                  <c:v>40.444-40.451</c:v>
                </c:pt>
                <c:pt idx="5751">
                  <c:v>40.451-40.458</c:v>
                </c:pt>
                <c:pt idx="5752">
                  <c:v>40.458-40.465</c:v>
                </c:pt>
                <c:pt idx="5753">
                  <c:v>40.465-40.472</c:v>
                </c:pt>
                <c:pt idx="5754">
                  <c:v>40.472-40.479</c:v>
                </c:pt>
                <c:pt idx="5755">
                  <c:v>40.479-40.486</c:v>
                </c:pt>
                <c:pt idx="5756">
                  <c:v>40.486-40.493</c:v>
                </c:pt>
                <c:pt idx="5757">
                  <c:v>40.493-40.500</c:v>
                </c:pt>
                <c:pt idx="5758">
                  <c:v>40.500-40.507</c:v>
                </c:pt>
                <c:pt idx="5759">
                  <c:v>40.507-40.514</c:v>
                </c:pt>
                <c:pt idx="5760">
                  <c:v>40.514-40.522</c:v>
                </c:pt>
                <c:pt idx="5761">
                  <c:v>40.522-40.529</c:v>
                </c:pt>
                <c:pt idx="5762">
                  <c:v>40.529-40.536</c:v>
                </c:pt>
                <c:pt idx="5763">
                  <c:v>40.536-40.543</c:v>
                </c:pt>
                <c:pt idx="5764">
                  <c:v>40.543-40.550</c:v>
                </c:pt>
                <c:pt idx="5765">
                  <c:v>40.550-40.557</c:v>
                </c:pt>
                <c:pt idx="5766">
                  <c:v>40.557-40.564</c:v>
                </c:pt>
                <c:pt idx="5767">
                  <c:v>40.564-40.571</c:v>
                </c:pt>
                <c:pt idx="5768">
                  <c:v>40.571-40.578</c:v>
                </c:pt>
                <c:pt idx="5769">
                  <c:v>40.578-40.585</c:v>
                </c:pt>
                <c:pt idx="5770">
                  <c:v>40.585-40.592</c:v>
                </c:pt>
                <c:pt idx="5771">
                  <c:v>40.592-40.599</c:v>
                </c:pt>
                <c:pt idx="5772">
                  <c:v>40.599-40.606</c:v>
                </c:pt>
                <c:pt idx="5773">
                  <c:v>40.606-40.613</c:v>
                </c:pt>
                <c:pt idx="5774">
                  <c:v>40.613-40.620</c:v>
                </c:pt>
                <c:pt idx="5775">
                  <c:v>40.620-40.627</c:v>
                </c:pt>
                <c:pt idx="5776">
                  <c:v>40.627-40.634</c:v>
                </c:pt>
                <c:pt idx="5777">
                  <c:v>40.634-40.641</c:v>
                </c:pt>
                <c:pt idx="5778">
                  <c:v>40.641-40.648</c:v>
                </c:pt>
                <c:pt idx="5779">
                  <c:v>40.648-40.655</c:v>
                </c:pt>
                <c:pt idx="5780">
                  <c:v>40.655-40.662</c:v>
                </c:pt>
                <c:pt idx="5781">
                  <c:v>40.662-40.669</c:v>
                </c:pt>
                <c:pt idx="5782">
                  <c:v>40.669-40.676</c:v>
                </c:pt>
                <c:pt idx="5783">
                  <c:v>40.676-40.683</c:v>
                </c:pt>
                <c:pt idx="5784">
                  <c:v>40.683-40.690</c:v>
                </c:pt>
                <c:pt idx="5785">
                  <c:v>40.690-40.697</c:v>
                </c:pt>
                <c:pt idx="5786">
                  <c:v>40.697-40.704</c:v>
                </c:pt>
                <c:pt idx="5787">
                  <c:v>40.704-40.711</c:v>
                </c:pt>
                <c:pt idx="5788">
                  <c:v>40.711-40.718</c:v>
                </c:pt>
                <c:pt idx="5789">
                  <c:v>40.718-40.725</c:v>
                </c:pt>
                <c:pt idx="5790">
                  <c:v>40.725-40.732</c:v>
                </c:pt>
                <c:pt idx="5791">
                  <c:v>40.732-40.740</c:v>
                </c:pt>
                <c:pt idx="5792">
                  <c:v>40.740-40.747</c:v>
                </c:pt>
                <c:pt idx="5793">
                  <c:v>40.747-40.754</c:v>
                </c:pt>
                <c:pt idx="5794">
                  <c:v>40.754-40.761</c:v>
                </c:pt>
                <c:pt idx="5795">
                  <c:v>40.761-40.768</c:v>
                </c:pt>
                <c:pt idx="5796">
                  <c:v>40.768-40.775</c:v>
                </c:pt>
                <c:pt idx="5797">
                  <c:v>40.775-40.782</c:v>
                </c:pt>
                <c:pt idx="5798">
                  <c:v>40.782-40.789</c:v>
                </c:pt>
                <c:pt idx="5799">
                  <c:v>40.789-40.796</c:v>
                </c:pt>
                <c:pt idx="5800">
                  <c:v>40.796-40.803</c:v>
                </c:pt>
                <c:pt idx="5801">
                  <c:v>40.803-40.810</c:v>
                </c:pt>
                <c:pt idx="5802">
                  <c:v>40.810-40.817</c:v>
                </c:pt>
                <c:pt idx="5803">
                  <c:v>40.817-40.824</c:v>
                </c:pt>
                <c:pt idx="5804">
                  <c:v>40.824-40.831</c:v>
                </c:pt>
                <c:pt idx="5805">
                  <c:v>40.831-40.838</c:v>
                </c:pt>
                <c:pt idx="5806">
                  <c:v>40.838-40.845</c:v>
                </c:pt>
                <c:pt idx="5807">
                  <c:v>40.845-40.852</c:v>
                </c:pt>
                <c:pt idx="5808">
                  <c:v>40.852-40.859</c:v>
                </c:pt>
                <c:pt idx="5809">
                  <c:v>40.859-40.866</c:v>
                </c:pt>
                <c:pt idx="5810">
                  <c:v>40.866-40.873</c:v>
                </c:pt>
                <c:pt idx="5811">
                  <c:v>40.873-40.880</c:v>
                </c:pt>
                <c:pt idx="5812">
                  <c:v>40.880-40.887</c:v>
                </c:pt>
                <c:pt idx="5813">
                  <c:v>40.887-40.894</c:v>
                </c:pt>
                <c:pt idx="5814">
                  <c:v>40.894-40.901</c:v>
                </c:pt>
                <c:pt idx="5815">
                  <c:v>40.901-40.908</c:v>
                </c:pt>
                <c:pt idx="5816">
                  <c:v>40.908-40.915</c:v>
                </c:pt>
                <c:pt idx="5817">
                  <c:v>40.915-40.922</c:v>
                </c:pt>
                <c:pt idx="5818">
                  <c:v>40.922-40.929</c:v>
                </c:pt>
                <c:pt idx="5819">
                  <c:v>40.929-40.936</c:v>
                </c:pt>
                <c:pt idx="5820">
                  <c:v>40.936-40.943</c:v>
                </c:pt>
                <c:pt idx="5821">
                  <c:v>40.943-40.950</c:v>
                </c:pt>
                <c:pt idx="5822">
                  <c:v>40.950-40.958</c:v>
                </c:pt>
                <c:pt idx="5823">
                  <c:v>40.958-40.965</c:v>
                </c:pt>
                <c:pt idx="5824">
                  <c:v>40.965-40.972</c:v>
                </c:pt>
                <c:pt idx="5825">
                  <c:v>40.972-40.979</c:v>
                </c:pt>
                <c:pt idx="5826">
                  <c:v>40.979-40.986</c:v>
                </c:pt>
                <c:pt idx="5827">
                  <c:v>40.986-40.993</c:v>
                </c:pt>
                <c:pt idx="5828">
                  <c:v>40.993-41.000</c:v>
                </c:pt>
                <c:pt idx="5829">
                  <c:v>41.000-41.007</c:v>
                </c:pt>
                <c:pt idx="5830">
                  <c:v>41.007-41.014</c:v>
                </c:pt>
                <c:pt idx="5831">
                  <c:v>41.014-41.021</c:v>
                </c:pt>
                <c:pt idx="5832">
                  <c:v>41.021-41.028</c:v>
                </c:pt>
                <c:pt idx="5833">
                  <c:v>41.028-41.035</c:v>
                </c:pt>
                <c:pt idx="5834">
                  <c:v>41.035-41.042</c:v>
                </c:pt>
                <c:pt idx="5835">
                  <c:v>41.042-41.049</c:v>
                </c:pt>
                <c:pt idx="5836">
                  <c:v>41.049-41.056</c:v>
                </c:pt>
                <c:pt idx="5837">
                  <c:v>41.056-41.063</c:v>
                </c:pt>
                <c:pt idx="5838">
                  <c:v>41.063-41.070</c:v>
                </c:pt>
                <c:pt idx="5839">
                  <c:v>41.070-41.077</c:v>
                </c:pt>
                <c:pt idx="5840">
                  <c:v>41.077-41.084</c:v>
                </c:pt>
                <c:pt idx="5841">
                  <c:v>41.084-41.091</c:v>
                </c:pt>
                <c:pt idx="5842">
                  <c:v>41.091-41.098</c:v>
                </c:pt>
                <c:pt idx="5843">
                  <c:v>41.098-41.105</c:v>
                </c:pt>
                <c:pt idx="5844">
                  <c:v>41.105-41.112</c:v>
                </c:pt>
                <c:pt idx="5845">
                  <c:v>41.112-41.119</c:v>
                </c:pt>
                <c:pt idx="5846">
                  <c:v>41.119-41.126</c:v>
                </c:pt>
                <c:pt idx="5847">
                  <c:v>41.126-41.133</c:v>
                </c:pt>
                <c:pt idx="5848">
                  <c:v>41.133-41.140</c:v>
                </c:pt>
                <c:pt idx="5849">
                  <c:v>41.140-41.147</c:v>
                </c:pt>
                <c:pt idx="5850">
                  <c:v>41.147-41.154</c:v>
                </c:pt>
                <c:pt idx="5851">
                  <c:v>41.154-41.161</c:v>
                </c:pt>
                <c:pt idx="5852">
                  <c:v>41.161-41.168</c:v>
                </c:pt>
                <c:pt idx="5853">
                  <c:v>41.168-41.175</c:v>
                </c:pt>
                <c:pt idx="5854">
                  <c:v>41.175-41.183</c:v>
                </c:pt>
                <c:pt idx="5855">
                  <c:v>41.183-41.190</c:v>
                </c:pt>
                <c:pt idx="5856">
                  <c:v>41.190-41.197</c:v>
                </c:pt>
                <c:pt idx="5857">
                  <c:v>41.197-41.204</c:v>
                </c:pt>
                <c:pt idx="5858">
                  <c:v>41.204-41.211</c:v>
                </c:pt>
                <c:pt idx="5859">
                  <c:v>41.211-41.218</c:v>
                </c:pt>
                <c:pt idx="5860">
                  <c:v>41.218-41.225</c:v>
                </c:pt>
                <c:pt idx="5861">
                  <c:v>41.225-41.232</c:v>
                </c:pt>
                <c:pt idx="5862">
                  <c:v>41.232-41.239</c:v>
                </c:pt>
                <c:pt idx="5863">
                  <c:v>41.239-41.246</c:v>
                </c:pt>
                <c:pt idx="5864">
                  <c:v>41.246-41.253</c:v>
                </c:pt>
                <c:pt idx="5865">
                  <c:v>41.253-41.260</c:v>
                </c:pt>
                <c:pt idx="5866">
                  <c:v>41.260-41.267</c:v>
                </c:pt>
                <c:pt idx="5867">
                  <c:v>41.267-41.274</c:v>
                </c:pt>
                <c:pt idx="5868">
                  <c:v>41.274-41.281</c:v>
                </c:pt>
                <c:pt idx="5869">
                  <c:v>41.281-41.288</c:v>
                </c:pt>
                <c:pt idx="5870">
                  <c:v>41.288-41.295</c:v>
                </c:pt>
                <c:pt idx="5871">
                  <c:v>41.295-41.302</c:v>
                </c:pt>
                <c:pt idx="5872">
                  <c:v>41.302-41.309</c:v>
                </c:pt>
                <c:pt idx="5873">
                  <c:v>41.309-41.316</c:v>
                </c:pt>
                <c:pt idx="5874">
                  <c:v>41.316-41.323</c:v>
                </c:pt>
                <c:pt idx="5875">
                  <c:v>41.323-41.330</c:v>
                </c:pt>
                <c:pt idx="5876">
                  <c:v>41.330-41.337</c:v>
                </c:pt>
                <c:pt idx="5877">
                  <c:v>41.337-41.344</c:v>
                </c:pt>
                <c:pt idx="5878">
                  <c:v>41.344-41.351</c:v>
                </c:pt>
                <c:pt idx="5879">
                  <c:v>41.351-41.358</c:v>
                </c:pt>
                <c:pt idx="5880">
                  <c:v>41.358-41.365</c:v>
                </c:pt>
                <c:pt idx="5881">
                  <c:v>41.365-41.372</c:v>
                </c:pt>
                <c:pt idx="5882">
                  <c:v>41.372-41.379</c:v>
                </c:pt>
                <c:pt idx="5883">
                  <c:v>41.379-41.386</c:v>
                </c:pt>
                <c:pt idx="5884">
                  <c:v>41.386-41.393</c:v>
                </c:pt>
                <c:pt idx="5885">
                  <c:v>41.393-41.401</c:v>
                </c:pt>
                <c:pt idx="5886">
                  <c:v>41.401-41.408</c:v>
                </c:pt>
                <c:pt idx="5887">
                  <c:v>41.408-41.415</c:v>
                </c:pt>
                <c:pt idx="5888">
                  <c:v>41.415-41.422</c:v>
                </c:pt>
                <c:pt idx="5889">
                  <c:v>41.422-41.429</c:v>
                </c:pt>
                <c:pt idx="5890">
                  <c:v>41.429-41.436</c:v>
                </c:pt>
                <c:pt idx="5891">
                  <c:v>41.436-41.443</c:v>
                </c:pt>
                <c:pt idx="5892">
                  <c:v>41.443-41.450</c:v>
                </c:pt>
                <c:pt idx="5893">
                  <c:v>41.450-41.457</c:v>
                </c:pt>
                <c:pt idx="5894">
                  <c:v>41.457-41.464</c:v>
                </c:pt>
                <c:pt idx="5895">
                  <c:v>41.464-41.471</c:v>
                </c:pt>
                <c:pt idx="5896">
                  <c:v>41.471-41.478</c:v>
                </c:pt>
                <c:pt idx="5897">
                  <c:v>41.478-41.485</c:v>
                </c:pt>
                <c:pt idx="5898">
                  <c:v>41.485-41.492</c:v>
                </c:pt>
                <c:pt idx="5899">
                  <c:v>41.492-41.499</c:v>
                </c:pt>
                <c:pt idx="5900">
                  <c:v>41.499-41.506</c:v>
                </c:pt>
                <c:pt idx="5901">
                  <c:v>41.506-41.513</c:v>
                </c:pt>
                <c:pt idx="5902">
                  <c:v>41.513-41.520</c:v>
                </c:pt>
                <c:pt idx="5903">
                  <c:v>41.520-41.527</c:v>
                </c:pt>
                <c:pt idx="5904">
                  <c:v>41.527-41.534</c:v>
                </c:pt>
                <c:pt idx="5905">
                  <c:v>41.534-41.541</c:v>
                </c:pt>
                <c:pt idx="5906">
                  <c:v>41.541-41.548</c:v>
                </c:pt>
                <c:pt idx="5907">
                  <c:v>41.548-41.555</c:v>
                </c:pt>
                <c:pt idx="5908">
                  <c:v>41.555-41.562</c:v>
                </c:pt>
                <c:pt idx="5909">
                  <c:v>41.562-41.569</c:v>
                </c:pt>
                <c:pt idx="5910">
                  <c:v>41.569-41.576</c:v>
                </c:pt>
                <c:pt idx="5911">
                  <c:v>41.576-41.583</c:v>
                </c:pt>
                <c:pt idx="5912">
                  <c:v>41.583-41.590</c:v>
                </c:pt>
                <c:pt idx="5913">
                  <c:v>41.590-41.597</c:v>
                </c:pt>
                <c:pt idx="5914">
                  <c:v>41.597-41.604</c:v>
                </c:pt>
                <c:pt idx="5915">
                  <c:v>41.604-41.611</c:v>
                </c:pt>
                <c:pt idx="5916">
                  <c:v>41.611-41.619</c:v>
                </c:pt>
                <c:pt idx="5917">
                  <c:v>41.619-41.626</c:v>
                </c:pt>
                <c:pt idx="5918">
                  <c:v>41.626-41.633</c:v>
                </c:pt>
                <c:pt idx="5919">
                  <c:v>41.633-41.640</c:v>
                </c:pt>
                <c:pt idx="5920">
                  <c:v>41.640-41.647</c:v>
                </c:pt>
                <c:pt idx="5921">
                  <c:v>41.647-41.654</c:v>
                </c:pt>
                <c:pt idx="5922">
                  <c:v>41.654-41.661</c:v>
                </c:pt>
                <c:pt idx="5923">
                  <c:v>41.661-41.668</c:v>
                </c:pt>
                <c:pt idx="5924">
                  <c:v>41.668-41.675</c:v>
                </c:pt>
                <c:pt idx="5925">
                  <c:v>41.675-41.682</c:v>
                </c:pt>
                <c:pt idx="5926">
                  <c:v>41.682-41.689</c:v>
                </c:pt>
                <c:pt idx="5927">
                  <c:v>41.689-41.696</c:v>
                </c:pt>
                <c:pt idx="5928">
                  <c:v>41.696-41.703</c:v>
                </c:pt>
                <c:pt idx="5929">
                  <c:v>41.703-41.710</c:v>
                </c:pt>
                <c:pt idx="5930">
                  <c:v>41.710-41.717</c:v>
                </c:pt>
                <c:pt idx="5931">
                  <c:v>41.717-41.724</c:v>
                </c:pt>
                <c:pt idx="5932">
                  <c:v>41.724-41.731</c:v>
                </c:pt>
                <c:pt idx="5933">
                  <c:v>41.731-41.738</c:v>
                </c:pt>
                <c:pt idx="5934">
                  <c:v>41.738-41.745</c:v>
                </c:pt>
                <c:pt idx="5935">
                  <c:v>41.745-41.752</c:v>
                </c:pt>
                <c:pt idx="5936">
                  <c:v>41.752-41.759</c:v>
                </c:pt>
                <c:pt idx="5937">
                  <c:v>41.759-41.766</c:v>
                </c:pt>
                <c:pt idx="5938">
                  <c:v>41.766-41.773</c:v>
                </c:pt>
                <c:pt idx="5939">
                  <c:v>41.773-41.780</c:v>
                </c:pt>
                <c:pt idx="5940">
                  <c:v>41.780-41.787</c:v>
                </c:pt>
                <c:pt idx="5941">
                  <c:v>41.787-41.794</c:v>
                </c:pt>
                <c:pt idx="5942">
                  <c:v>41.794-41.801</c:v>
                </c:pt>
                <c:pt idx="5943">
                  <c:v>41.801-41.808</c:v>
                </c:pt>
                <c:pt idx="5944">
                  <c:v>41.808-41.815</c:v>
                </c:pt>
                <c:pt idx="5945">
                  <c:v>41.815-41.822</c:v>
                </c:pt>
                <c:pt idx="5946">
                  <c:v>41.822-41.829</c:v>
                </c:pt>
                <c:pt idx="5947">
                  <c:v>41.829-41.837</c:v>
                </c:pt>
                <c:pt idx="5948">
                  <c:v>41.837-41.844</c:v>
                </c:pt>
                <c:pt idx="5949">
                  <c:v>41.844-41.851</c:v>
                </c:pt>
                <c:pt idx="5950">
                  <c:v>41.851-41.858</c:v>
                </c:pt>
                <c:pt idx="5951">
                  <c:v>41.858-41.865</c:v>
                </c:pt>
                <c:pt idx="5952">
                  <c:v>41.865-41.872</c:v>
                </c:pt>
                <c:pt idx="5953">
                  <c:v>41.872-41.879</c:v>
                </c:pt>
                <c:pt idx="5954">
                  <c:v>41.879-41.886</c:v>
                </c:pt>
                <c:pt idx="5955">
                  <c:v>41.886-41.893</c:v>
                </c:pt>
                <c:pt idx="5956">
                  <c:v>41.893-41.900</c:v>
                </c:pt>
                <c:pt idx="5957">
                  <c:v>41.900-41.907</c:v>
                </c:pt>
                <c:pt idx="5958">
                  <c:v>41.907-41.914</c:v>
                </c:pt>
                <c:pt idx="5959">
                  <c:v>41.914-41.921</c:v>
                </c:pt>
                <c:pt idx="5960">
                  <c:v>41.921-41.928</c:v>
                </c:pt>
                <c:pt idx="5961">
                  <c:v>41.928-41.935</c:v>
                </c:pt>
                <c:pt idx="5962">
                  <c:v>41.935-41.942</c:v>
                </c:pt>
                <c:pt idx="5963">
                  <c:v>41.942-41.949</c:v>
                </c:pt>
                <c:pt idx="5964">
                  <c:v>41.949-41.956</c:v>
                </c:pt>
                <c:pt idx="5965">
                  <c:v>41.956-41.963</c:v>
                </c:pt>
                <c:pt idx="5966">
                  <c:v>41.963-41.970</c:v>
                </c:pt>
                <c:pt idx="5967">
                  <c:v>41.970-41.977</c:v>
                </c:pt>
                <c:pt idx="5968">
                  <c:v>41.977-41.984</c:v>
                </c:pt>
                <c:pt idx="5969">
                  <c:v>41.984-41.991</c:v>
                </c:pt>
                <c:pt idx="5970">
                  <c:v>41.991-41.998</c:v>
                </c:pt>
                <c:pt idx="5971">
                  <c:v>41.998-42.005</c:v>
                </c:pt>
                <c:pt idx="5972">
                  <c:v>42.005-42.012</c:v>
                </c:pt>
                <c:pt idx="5973">
                  <c:v>42.012-42.019</c:v>
                </c:pt>
                <c:pt idx="5974">
                  <c:v>42.019-42.026</c:v>
                </c:pt>
                <c:pt idx="5975">
                  <c:v>42.026-42.033</c:v>
                </c:pt>
                <c:pt idx="5976">
                  <c:v>42.033-42.040</c:v>
                </c:pt>
                <c:pt idx="5977">
                  <c:v>42.040-42.047</c:v>
                </c:pt>
                <c:pt idx="5978">
                  <c:v>42.047-42.055</c:v>
                </c:pt>
                <c:pt idx="5979">
                  <c:v>42.055-42.062</c:v>
                </c:pt>
                <c:pt idx="5980">
                  <c:v>42.062-42.069</c:v>
                </c:pt>
                <c:pt idx="5981">
                  <c:v>42.069-42.076</c:v>
                </c:pt>
                <c:pt idx="5982">
                  <c:v>42.076-42.083</c:v>
                </c:pt>
                <c:pt idx="5983">
                  <c:v>42.083-42.090</c:v>
                </c:pt>
                <c:pt idx="5984">
                  <c:v>42.090-42.097</c:v>
                </c:pt>
                <c:pt idx="5985">
                  <c:v>42.097-42.104</c:v>
                </c:pt>
                <c:pt idx="5986">
                  <c:v>42.104-42.111</c:v>
                </c:pt>
                <c:pt idx="5987">
                  <c:v>42.111-42.118</c:v>
                </c:pt>
                <c:pt idx="5988">
                  <c:v>42.118-42.125</c:v>
                </c:pt>
                <c:pt idx="5989">
                  <c:v>42.125-42.132</c:v>
                </c:pt>
                <c:pt idx="5990">
                  <c:v>42.132-42.139</c:v>
                </c:pt>
                <c:pt idx="5991">
                  <c:v>42.139-42.146</c:v>
                </c:pt>
                <c:pt idx="5992">
                  <c:v>42.146-42.153</c:v>
                </c:pt>
                <c:pt idx="5993">
                  <c:v>42.153-42.160</c:v>
                </c:pt>
                <c:pt idx="5994">
                  <c:v>42.160-42.167</c:v>
                </c:pt>
                <c:pt idx="5995">
                  <c:v>42.167-42.174</c:v>
                </c:pt>
                <c:pt idx="5996">
                  <c:v>42.174-42.181</c:v>
                </c:pt>
                <c:pt idx="5997">
                  <c:v>42.181-42.188</c:v>
                </c:pt>
                <c:pt idx="5998">
                  <c:v>42.188-42.195</c:v>
                </c:pt>
                <c:pt idx="5999">
                  <c:v>42.195-42.202</c:v>
                </c:pt>
                <c:pt idx="6000">
                  <c:v>42.202-42.209</c:v>
                </c:pt>
                <c:pt idx="6001">
                  <c:v>42.209-42.216</c:v>
                </c:pt>
                <c:pt idx="6002">
                  <c:v>42.216-42.223</c:v>
                </c:pt>
                <c:pt idx="6003">
                  <c:v>42.223-42.230</c:v>
                </c:pt>
                <c:pt idx="6004">
                  <c:v>42.230-42.237</c:v>
                </c:pt>
                <c:pt idx="6005">
                  <c:v>42.237-42.244</c:v>
                </c:pt>
                <c:pt idx="6006">
                  <c:v>42.244-42.251</c:v>
                </c:pt>
                <c:pt idx="6007">
                  <c:v>42.251-42.258</c:v>
                </c:pt>
                <c:pt idx="6008">
                  <c:v>42.258-42.265</c:v>
                </c:pt>
                <c:pt idx="6009">
                  <c:v>42.265-42.273</c:v>
                </c:pt>
                <c:pt idx="6010">
                  <c:v>42.273-42.280</c:v>
                </c:pt>
                <c:pt idx="6011">
                  <c:v>42.280-42.287</c:v>
                </c:pt>
                <c:pt idx="6012">
                  <c:v>42.287-42.294</c:v>
                </c:pt>
                <c:pt idx="6013">
                  <c:v>42.294-42.301</c:v>
                </c:pt>
                <c:pt idx="6014">
                  <c:v>42.301-42.308</c:v>
                </c:pt>
                <c:pt idx="6015">
                  <c:v>42.308-42.315</c:v>
                </c:pt>
                <c:pt idx="6016">
                  <c:v>42.315-42.322</c:v>
                </c:pt>
                <c:pt idx="6017">
                  <c:v>42.322-42.329</c:v>
                </c:pt>
                <c:pt idx="6018">
                  <c:v>42.329-42.336</c:v>
                </c:pt>
                <c:pt idx="6019">
                  <c:v>42.336-42.343</c:v>
                </c:pt>
                <c:pt idx="6020">
                  <c:v>42.343-42.350</c:v>
                </c:pt>
                <c:pt idx="6021">
                  <c:v>42.350-42.357</c:v>
                </c:pt>
                <c:pt idx="6022">
                  <c:v>42.357-42.364</c:v>
                </c:pt>
                <c:pt idx="6023">
                  <c:v>42.364-42.371</c:v>
                </c:pt>
                <c:pt idx="6024">
                  <c:v>42.371-42.378</c:v>
                </c:pt>
                <c:pt idx="6025">
                  <c:v>42.378-42.385</c:v>
                </c:pt>
                <c:pt idx="6026">
                  <c:v>42.385-42.392</c:v>
                </c:pt>
                <c:pt idx="6027">
                  <c:v>42.392-42.399</c:v>
                </c:pt>
                <c:pt idx="6028">
                  <c:v>42.399-42.406</c:v>
                </c:pt>
                <c:pt idx="6029">
                  <c:v>42.406-42.413</c:v>
                </c:pt>
                <c:pt idx="6030">
                  <c:v>42.413-42.420</c:v>
                </c:pt>
                <c:pt idx="6031">
                  <c:v>42.420-42.427</c:v>
                </c:pt>
                <c:pt idx="6032">
                  <c:v>42.427-42.434</c:v>
                </c:pt>
                <c:pt idx="6033">
                  <c:v>42.434-42.441</c:v>
                </c:pt>
                <c:pt idx="6034">
                  <c:v>42.441-42.448</c:v>
                </c:pt>
                <c:pt idx="6035">
                  <c:v>42.448-42.455</c:v>
                </c:pt>
                <c:pt idx="6036">
                  <c:v>42.455-42.462</c:v>
                </c:pt>
                <c:pt idx="6037">
                  <c:v>42.462-42.469</c:v>
                </c:pt>
                <c:pt idx="6038">
                  <c:v>42.469-42.476</c:v>
                </c:pt>
                <c:pt idx="6039">
                  <c:v>42.476-42.483</c:v>
                </c:pt>
                <c:pt idx="6040">
                  <c:v>42.483-42.491</c:v>
                </c:pt>
                <c:pt idx="6041">
                  <c:v>42.491-42.498</c:v>
                </c:pt>
                <c:pt idx="6042">
                  <c:v>42.498-42.505</c:v>
                </c:pt>
                <c:pt idx="6043">
                  <c:v>42.505-42.512</c:v>
                </c:pt>
                <c:pt idx="6044">
                  <c:v>42.512-42.519</c:v>
                </c:pt>
                <c:pt idx="6045">
                  <c:v>42.519-42.526</c:v>
                </c:pt>
                <c:pt idx="6046">
                  <c:v>42.526-42.533</c:v>
                </c:pt>
                <c:pt idx="6047">
                  <c:v>42.533-42.540</c:v>
                </c:pt>
                <c:pt idx="6048">
                  <c:v>42.540-42.547</c:v>
                </c:pt>
                <c:pt idx="6049">
                  <c:v>42.547-42.554</c:v>
                </c:pt>
                <c:pt idx="6050">
                  <c:v>42.554-42.561</c:v>
                </c:pt>
                <c:pt idx="6051">
                  <c:v>42.561-42.568</c:v>
                </c:pt>
                <c:pt idx="6052">
                  <c:v>42.568-42.575</c:v>
                </c:pt>
                <c:pt idx="6053">
                  <c:v>42.575-42.582</c:v>
                </c:pt>
                <c:pt idx="6054">
                  <c:v>42.582-42.589</c:v>
                </c:pt>
                <c:pt idx="6055">
                  <c:v>42.589-42.596</c:v>
                </c:pt>
                <c:pt idx="6056">
                  <c:v>42.596-42.603</c:v>
                </c:pt>
                <c:pt idx="6057">
                  <c:v>42.603-42.610</c:v>
                </c:pt>
                <c:pt idx="6058">
                  <c:v>42.610-42.617</c:v>
                </c:pt>
                <c:pt idx="6059">
                  <c:v>42.617-42.624</c:v>
                </c:pt>
                <c:pt idx="6060">
                  <c:v>42.624-42.631</c:v>
                </c:pt>
                <c:pt idx="6061">
                  <c:v>42.631-42.638</c:v>
                </c:pt>
                <c:pt idx="6062">
                  <c:v>42.638-42.645</c:v>
                </c:pt>
                <c:pt idx="6063">
                  <c:v>42.645-42.652</c:v>
                </c:pt>
                <c:pt idx="6064">
                  <c:v>42.652-42.659</c:v>
                </c:pt>
                <c:pt idx="6065">
                  <c:v>42.659-42.666</c:v>
                </c:pt>
                <c:pt idx="6066">
                  <c:v>42.666-42.673</c:v>
                </c:pt>
                <c:pt idx="6067">
                  <c:v>42.673-42.680</c:v>
                </c:pt>
                <c:pt idx="6068">
                  <c:v>42.680-42.687</c:v>
                </c:pt>
                <c:pt idx="6069">
                  <c:v>42.687-42.694</c:v>
                </c:pt>
                <c:pt idx="6070">
                  <c:v>42.694-42.701</c:v>
                </c:pt>
                <c:pt idx="6071">
                  <c:v>42.701-42.709</c:v>
                </c:pt>
                <c:pt idx="6072">
                  <c:v>42.709-42.716</c:v>
                </c:pt>
                <c:pt idx="6073">
                  <c:v>42.716-42.723</c:v>
                </c:pt>
                <c:pt idx="6074">
                  <c:v>42.723-42.730</c:v>
                </c:pt>
                <c:pt idx="6075">
                  <c:v>42.730-42.737</c:v>
                </c:pt>
                <c:pt idx="6076">
                  <c:v>42.737-42.744</c:v>
                </c:pt>
                <c:pt idx="6077">
                  <c:v>42.744-42.751</c:v>
                </c:pt>
                <c:pt idx="6078">
                  <c:v>42.751-42.758</c:v>
                </c:pt>
                <c:pt idx="6079">
                  <c:v>42.758-42.765</c:v>
                </c:pt>
                <c:pt idx="6080">
                  <c:v>42.765-42.772</c:v>
                </c:pt>
                <c:pt idx="6081">
                  <c:v>42.772-42.779</c:v>
                </c:pt>
                <c:pt idx="6082">
                  <c:v>42.779-42.786</c:v>
                </c:pt>
                <c:pt idx="6083">
                  <c:v>42.786-42.793</c:v>
                </c:pt>
                <c:pt idx="6084">
                  <c:v>42.793-42.800</c:v>
                </c:pt>
                <c:pt idx="6085">
                  <c:v>42.800-42.807</c:v>
                </c:pt>
                <c:pt idx="6086">
                  <c:v>42.807-42.814</c:v>
                </c:pt>
                <c:pt idx="6087">
                  <c:v>42.814-42.821</c:v>
                </c:pt>
                <c:pt idx="6088">
                  <c:v>42.821-42.828</c:v>
                </c:pt>
                <c:pt idx="6089">
                  <c:v>42.828-42.835</c:v>
                </c:pt>
                <c:pt idx="6090">
                  <c:v>42.835-42.842</c:v>
                </c:pt>
                <c:pt idx="6091">
                  <c:v>42.842-42.849</c:v>
                </c:pt>
                <c:pt idx="6092">
                  <c:v>42.849-42.856</c:v>
                </c:pt>
                <c:pt idx="6093">
                  <c:v>42.856-42.863</c:v>
                </c:pt>
                <c:pt idx="6094">
                  <c:v>42.863-42.870</c:v>
                </c:pt>
                <c:pt idx="6095">
                  <c:v>42.870-42.877</c:v>
                </c:pt>
                <c:pt idx="6096">
                  <c:v>42.877-42.884</c:v>
                </c:pt>
                <c:pt idx="6097">
                  <c:v>42.884-42.891</c:v>
                </c:pt>
                <c:pt idx="6098">
                  <c:v>42.891-42.898</c:v>
                </c:pt>
                <c:pt idx="6099">
                  <c:v>42.898-42.905</c:v>
                </c:pt>
                <c:pt idx="6100">
                  <c:v>42.905-42.912</c:v>
                </c:pt>
                <c:pt idx="6101">
                  <c:v>42.912-42.919</c:v>
                </c:pt>
                <c:pt idx="6102">
                  <c:v>42.919-42.927</c:v>
                </c:pt>
                <c:pt idx="6103">
                  <c:v>42.927-42.934</c:v>
                </c:pt>
                <c:pt idx="6104">
                  <c:v>42.934-42.941</c:v>
                </c:pt>
                <c:pt idx="6105">
                  <c:v>42.941-42.948</c:v>
                </c:pt>
                <c:pt idx="6106">
                  <c:v>42.948-42.955</c:v>
                </c:pt>
                <c:pt idx="6107">
                  <c:v>42.955-42.962</c:v>
                </c:pt>
                <c:pt idx="6108">
                  <c:v>42.962-42.969</c:v>
                </c:pt>
                <c:pt idx="6109">
                  <c:v>42.969-42.976</c:v>
                </c:pt>
                <c:pt idx="6110">
                  <c:v>42.976-42.983</c:v>
                </c:pt>
                <c:pt idx="6111">
                  <c:v>42.983-42.990</c:v>
                </c:pt>
                <c:pt idx="6112">
                  <c:v>42.990-42.997</c:v>
                </c:pt>
                <c:pt idx="6113">
                  <c:v>42.997-43.004</c:v>
                </c:pt>
                <c:pt idx="6114">
                  <c:v>43.004-43.011</c:v>
                </c:pt>
                <c:pt idx="6115">
                  <c:v>43.011-43.018</c:v>
                </c:pt>
                <c:pt idx="6116">
                  <c:v>43.018-43.025</c:v>
                </c:pt>
                <c:pt idx="6117">
                  <c:v>43.025-43.032</c:v>
                </c:pt>
                <c:pt idx="6118">
                  <c:v>43.032-43.039</c:v>
                </c:pt>
                <c:pt idx="6119">
                  <c:v>43.039-43.046</c:v>
                </c:pt>
                <c:pt idx="6120">
                  <c:v>43.046-43.053</c:v>
                </c:pt>
                <c:pt idx="6121">
                  <c:v>43.053-43.060</c:v>
                </c:pt>
                <c:pt idx="6122">
                  <c:v>43.060-43.067</c:v>
                </c:pt>
                <c:pt idx="6123">
                  <c:v>43.067-43.074</c:v>
                </c:pt>
                <c:pt idx="6124">
                  <c:v>43.074-43.081</c:v>
                </c:pt>
                <c:pt idx="6125">
                  <c:v>43.081-43.088</c:v>
                </c:pt>
                <c:pt idx="6126">
                  <c:v>43.088-43.095</c:v>
                </c:pt>
                <c:pt idx="6127">
                  <c:v>43.095-43.102</c:v>
                </c:pt>
                <c:pt idx="6128">
                  <c:v>43.102-43.109</c:v>
                </c:pt>
                <c:pt idx="6129">
                  <c:v>43.109-43.116</c:v>
                </c:pt>
                <c:pt idx="6130">
                  <c:v>43.116-43.123</c:v>
                </c:pt>
                <c:pt idx="6131">
                  <c:v>43.123-43.130</c:v>
                </c:pt>
                <c:pt idx="6132">
                  <c:v>43.130-43.137</c:v>
                </c:pt>
                <c:pt idx="6133">
                  <c:v>43.137-43.145</c:v>
                </c:pt>
                <c:pt idx="6134">
                  <c:v>43.145-43.152</c:v>
                </c:pt>
                <c:pt idx="6135">
                  <c:v>43.152-43.159</c:v>
                </c:pt>
                <c:pt idx="6136">
                  <c:v>43.159-43.166</c:v>
                </c:pt>
                <c:pt idx="6137">
                  <c:v>43.166-43.173</c:v>
                </c:pt>
                <c:pt idx="6138">
                  <c:v>43.173-43.180</c:v>
                </c:pt>
                <c:pt idx="6139">
                  <c:v>43.180-43.187</c:v>
                </c:pt>
                <c:pt idx="6140">
                  <c:v>43.187-43.194</c:v>
                </c:pt>
                <c:pt idx="6141">
                  <c:v>43.194-43.201</c:v>
                </c:pt>
                <c:pt idx="6142">
                  <c:v>43.201-43.208</c:v>
                </c:pt>
                <c:pt idx="6143">
                  <c:v>43.208-43.215</c:v>
                </c:pt>
                <c:pt idx="6144">
                  <c:v>43.215-43.222</c:v>
                </c:pt>
                <c:pt idx="6145">
                  <c:v>43.222-43.229</c:v>
                </c:pt>
                <c:pt idx="6146">
                  <c:v>43.229-43.236</c:v>
                </c:pt>
                <c:pt idx="6147">
                  <c:v>43.236-43.243</c:v>
                </c:pt>
                <c:pt idx="6148">
                  <c:v>43.243-43.250</c:v>
                </c:pt>
                <c:pt idx="6149">
                  <c:v>43.250-43.257</c:v>
                </c:pt>
                <c:pt idx="6150">
                  <c:v>43.257-43.264</c:v>
                </c:pt>
                <c:pt idx="6151">
                  <c:v>43.264-43.271</c:v>
                </c:pt>
                <c:pt idx="6152">
                  <c:v>43.271-43.278</c:v>
                </c:pt>
                <c:pt idx="6153">
                  <c:v>43.278-43.285</c:v>
                </c:pt>
                <c:pt idx="6154">
                  <c:v>43.285-43.292</c:v>
                </c:pt>
                <c:pt idx="6155">
                  <c:v>43.292-43.299</c:v>
                </c:pt>
                <c:pt idx="6156">
                  <c:v>43.299-43.306</c:v>
                </c:pt>
                <c:pt idx="6157">
                  <c:v>43.306-43.313</c:v>
                </c:pt>
                <c:pt idx="6158">
                  <c:v>43.313-43.320</c:v>
                </c:pt>
                <c:pt idx="6159">
                  <c:v>43.320-43.327</c:v>
                </c:pt>
                <c:pt idx="6160">
                  <c:v>43.327-43.334</c:v>
                </c:pt>
                <c:pt idx="6161">
                  <c:v>43.334-43.341</c:v>
                </c:pt>
                <c:pt idx="6162">
                  <c:v>43.341-43.348</c:v>
                </c:pt>
                <c:pt idx="6163">
                  <c:v>43.348-43.355</c:v>
                </c:pt>
                <c:pt idx="6164">
                  <c:v>43.355-43.363</c:v>
                </c:pt>
                <c:pt idx="6165">
                  <c:v>43.363-43.370</c:v>
                </c:pt>
                <c:pt idx="6166">
                  <c:v>43.370-43.377</c:v>
                </c:pt>
                <c:pt idx="6167">
                  <c:v>43.377-43.384</c:v>
                </c:pt>
                <c:pt idx="6168">
                  <c:v>43.384-43.391</c:v>
                </c:pt>
                <c:pt idx="6169">
                  <c:v>43.391-43.398</c:v>
                </c:pt>
                <c:pt idx="6170">
                  <c:v>43.398-43.405</c:v>
                </c:pt>
                <c:pt idx="6171">
                  <c:v>43.405-43.412</c:v>
                </c:pt>
                <c:pt idx="6172">
                  <c:v>43.412-43.419</c:v>
                </c:pt>
                <c:pt idx="6173">
                  <c:v>43.419-43.426</c:v>
                </c:pt>
                <c:pt idx="6174">
                  <c:v>43.426-43.433</c:v>
                </c:pt>
                <c:pt idx="6175">
                  <c:v>43.433-43.440</c:v>
                </c:pt>
                <c:pt idx="6176">
                  <c:v>43.440-43.447</c:v>
                </c:pt>
                <c:pt idx="6177">
                  <c:v>43.447-43.454</c:v>
                </c:pt>
                <c:pt idx="6178">
                  <c:v>43.454-43.461</c:v>
                </c:pt>
                <c:pt idx="6179">
                  <c:v>43.461-43.468</c:v>
                </c:pt>
                <c:pt idx="6180">
                  <c:v>43.468-43.475</c:v>
                </c:pt>
                <c:pt idx="6181">
                  <c:v>43.475-43.482</c:v>
                </c:pt>
                <c:pt idx="6182">
                  <c:v>43.482-43.489</c:v>
                </c:pt>
                <c:pt idx="6183">
                  <c:v>43.489-43.496</c:v>
                </c:pt>
                <c:pt idx="6184">
                  <c:v>43.496-43.503</c:v>
                </c:pt>
                <c:pt idx="6185">
                  <c:v>43.503-43.510</c:v>
                </c:pt>
                <c:pt idx="6186">
                  <c:v>43.510-43.517</c:v>
                </c:pt>
                <c:pt idx="6187">
                  <c:v>43.517-43.524</c:v>
                </c:pt>
                <c:pt idx="6188">
                  <c:v>43.524-43.531</c:v>
                </c:pt>
                <c:pt idx="6189">
                  <c:v>43.531-43.538</c:v>
                </c:pt>
                <c:pt idx="6190">
                  <c:v>43.538-43.545</c:v>
                </c:pt>
                <c:pt idx="6191">
                  <c:v>43.545-43.552</c:v>
                </c:pt>
                <c:pt idx="6192">
                  <c:v>43.552-43.559</c:v>
                </c:pt>
                <c:pt idx="6193">
                  <c:v>43.559-43.566</c:v>
                </c:pt>
                <c:pt idx="6194">
                  <c:v>43.566-43.573</c:v>
                </c:pt>
                <c:pt idx="6195">
                  <c:v>43.573-43.581</c:v>
                </c:pt>
                <c:pt idx="6196">
                  <c:v>43.581-43.588</c:v>
                </c:pt>
                <c:pt idx="6197">
                  <c:v>43.588-43.595</c:v>
                </c:pt>
                <c:pt idx="6198">
                  <c:v>43.595-43.602</c:v>
                </c:pt>
                <c:pt idx="6199">
                  <c:v>43.602-43.609</c:v>
                </c:pt>
                <c:pt idx="6200">
                  <c:v>43.609-43.616</c:v>
                </c:pt>
                <c:pt idx="6201">
                  <c:v>43.616-43.623</c:v>
                </c:pt>
                <c:pt idx="6202">
                  <c:v>43.623-43.630</c:v>
                </c:pt>
                <c:pt idx="6203">
                  <c:v>43.630-43.637</c:v>
                </c:pt>
                <c:pt idx="6204">
                  <c:v>43.637-43.644</c:v>
                </c:pt>
                <c:pt idx="6205">
                  <c:v>43.644-43.651</c:v>
                </c:pt>
                <c:pt idx="6206">
                  <c:v>43.651-43.658</c:v>
                </c:pt>
                <c:pt idx="6207">
                  <c:v>43.658-43.665</c:v>
                </c:pt>
                <c:pt idx="6208">
                  <c:v>43.665-43.672</c:v>
                </c:pt>
                <c:pt idx="6209">
                  <c:v>43.672-43.679</c:v>
                </c:pt>
                <c:pt idx="6210">
                  <c:v>43.679-43.686</c:v>
                </c:pt>
                <c:pt idx="6211">
                  <c:v>43.686-43.693</c:v>
                </c:pt>
                <c:pt idx="6212">
                  <c:v>43.693-43.700</c:v>
                </c:pt>
                <c:pt idx="6213">
                  <c:v>43.700-43.707</c:v>
                </c:pt>
                <c:pt idx="6214">
                  <c:v>43.707-43.714</c:v>
                </c:pt>
                <c:pt idx="6215">
                  <c:v>43.714-43.721</c:v>
                </c:pt>
                <c:pt idx="6216">
                  <c:v>43.721-43.728</c:v>
                </c:pt>
                <c:pt idx="6217">
                  <c:v>43.728-43.735</c:v>
                </c:pt>
                <c:pt idx="6218">
                  <c:v>43.735-43.742</c:v>
                </c:pt>
                <c:pt idx="6219">
                  <c:v>43.742-43.749</c:v>
                </c:pt>
                <c:pt idx="6220">
                  <c:v>43.749-43.756</c:v>
                </c:pt>
                <c:pt idx="6221">
                  <c:v>43.756-43.763</c:v>
                </c:pt>
                <c:pt idx="6222">
                  <c:v>43.763-43.770</c:v>
                </c:pt>
                <c:pt idx="6223">
                  <c:v>43.770-43.777</c:v>
                </c:pt>
                <c:pt idx="6224">
                  <c:v>43.777-43.784</c:v>
                </c:pt>
                <c:pt idx="6225">
                  <c:v>43.784-43.791</c:v>
                </c:pt>
                <c:pt idx="6226">
                  <c:v>43.791-43.799</c:v>
                </c:pt>
                <c:pt idx="6227">
                  <c:v>43.799-43.806</c:v>
                </c:pt>
                <c:pt idx="6228">
                  <c:v>43.806-43.813</c:v>
                </c:pt>
                <c:pt idx="6229">
                  <c:v>43.813-43.820</c:v>
                </c:pt>
                <c:pt idx="6230">
                  <c:v>43.820-43.827</c:v>
                </c:pt>
                <c:pt idx="6231">
                  <c:v>43.827-43.834</c:v>
                </c:pt>
                <c:pt idx="6232">
                  <c:v>43.834-43.841</c:v>
                </c:pt>
                <c:pt idx="6233">
                  <c:v>43.841-43.848</c:v>
                </c:pt>
                <c:pt idx="6234">
                  <c:v>43.848-43.855</c:v>
                </c:pt>
                <c:pt idx="6235">
                  <c:v>43.855-43.862</c:v>
                </c:pt>
                <c:pt idx="6236">
                  <c:v>43.862-43.869</c:v>
                </c:pt>
                <c:pt idx="6237">
                  <c:v>43.869-43.876</c:v>
                </c:pt>
                <c:pt idx="6238">
                  <c:v>43.876-43.883</c:v>
                </c:pt>
                <c:pt idx="6239">
                  <c:v>43.883-43.890</c:v>
                </c:pt>
                <c:pt idx="6240">
                  <c:v>43.890-43.897</c:v>
                </c:pt>
                <c:pt idx="6241">
                  <c:v>43.897-43.904</c:v>
                </c:pt>
                <c:pt idx="6242">
                  <c:v>43.904-43.911</c:v>
                </c:pt>
                <c:pt idx="6243">
                  <c:v>43.911-43.918</c:v>
                </c:pt>
                <c:pt idx="6244">
                  <c:v>43.918-43.925</c:v>
                </c:pt>
                <c:pt idx="6245">
                  <c:v>43.925-43.932</c:v>
                </c:pt>
                <c:pt idx="6246">
                  <c:v>43.932-43.939</c:v>
                </c:pt>
                <c:pt idx="6247">
                  <c:v>43.939-43.946</c:v>
                </c:pt>
                <c:pt idx="6248">
                  <c:v>43.946-43.953</c:v>
                </c:pt>
                <c:pt idx="6249">
                  <c:v>43.953-43.960</c:v>
                </c:pt>
                <c:pt idx="6250">
                  <c:v>43.960-43.967</c:v>
                </c:pt>
                <c:pt idx="6251">
                  <c:v>43.967-43.974</c:v>
                </c:pt>
                <c:pt idx="6252">
                  <c:v>43.974-43.981</c:v>
                </c:pt>
                <c:pt idx="6253">
                  <c:v>43.981-43.988</c:v>
                </c:pt>
                <c:pt idx="6254">
                  <c:v>43.988-43.995</c:v>
                </c:pt>
                <c:pt idx="6255">
                  <c:v>43.995-44.002</c:v>
                </c:pt>
                <c:pt idx="6256">
                  <c:v>44.002-44.009</c:v>
                </c:pt>
                <c:pt idx="6257">
                  <c:v>44.009-44.017</c:v>
                </c:pt>
                <c:pt idx="6258">
                  <c:v>44.017-44.024</c:v>
                </c:pt>
                <c:pt idx="6259">
                  <c:v>44.024-44.031</c:v>
                </c:pt>
                <c:pt idx="6260">
                  <c:v>44.031-44.038</c:v>
                </c:pt>
                <c:pt idx="6261">
                  <c:v>44.038-44.045</c:v>
                </c:pt>
                <c:pt idx="6262">
                  <c:v>44.045-44.052</c:v>
                </c:pt>
                <c:pt idx="6263">
                  <c:v>44.052-44.059</c:v>
                </c:pt>
                <c:pt idx="6264">
                  <c:v>44.059-44.066</c:v>
                </c:pt>
                <c:pt idx="6265">
                  <c:v>44.066-44.073</c:v>
                </c:pt>
                <c:pt idx="6266">
                  <c:v>44.073-44.080</c:v>
                </c:pt>
                <c:pt idx="6267">
                  <c:v>44.080-44.087</c:v>
                </c:pt>
                <c:pt idx="6268">
                  <c:v>44.087-44.094</c:v>
                </c:pt>
                <c:pt idx="6269">
                  <c:v>44.094-44.101</c:v>
                </c:pt>
                <c:pt idx="6270">
                  <c:v>44.101-44.108</c:v>
                </c:pt>
                <c:pt idx="6271">
                  <c:v>44.108-44.115</c:v>
                </c:pt>
                <c:pt idx="6272">
                  <c:v>44.115-44.122</c:v>
                </c:pt>
                <c:pt idx="6273">
                  <c:v>44.122-44.129</c:v>
                </c:pt>
                <c:pt idx="6274">
                  <c:v>44.129-44.136</c:v>
                </c:pt>
                <c:pt idx="6275">
                  <c:v>44.136-44.143</c:v>
                </c:pt>
                <c:pt idx="6276">
                  <c:v>44.143-44.150</c:v>
                </c:pt>
                <c:pt idx="6277">
                  <c:v>44.150-44.157</c:v>
                </c:pt>
                <c:pt idx="6278">
                  <c:v>44.157-44.164</c:v>
                </c:pt>
                <c:pt idx="6279">
                  <c:v>44.164-44.171</c:v>
                </c:pt>
                <c:pt idx="6280">
                  <c:v>44.171-44.178</c:v>
                </c:pt>
                <c:pt idx="6281">
                  <c:v>44.178-44.185</c:v>
                </c:pt>
                <c:pt idx="6282">
                  <c:v>44.185-44.192</c:v>
                </c:pt>
                <c:pt idx="6283">
                  <c:v>44.192-44.199</c:v>
                </c:pt>
                <c:pt idx="6284">
                  <c:v>44.199-44.206</c:v>
                </c:pt>
                <c:pt idx="6285">
                  <c:v>44.206-44.213</c:v>
                </c:pt>
                <c:pt idx="6286">
                  <c:v>44.213-44.220</c:v>
                </c:pt>
                <c:pt idx="6287">
                  <c:v>44.220-44.227</c:v>
                </c:pt>
                <c:pt idx="6288">
                  <c:v>44.227-44.235</c:v>
                </c:pt>
                <c:pt idx="6289">
                  <c:v>44.235-44.242</c:v>
                </c:pt>
                <c:pt idx="6290">
                  <c:v>44.242-44.249</c:v>
                </c:pt>
                <c:pt idx="6291">
                  <c:v>44.249-44.256</c:v>
                </c:pt>
                <c:pt idx="6292">
                  <c:v>44.256-44.263</c:v>
                </c:pt>
                <c:pt idx="6293">
                  <c:v>44.263-44.270</c:v>
                </c:pt>
                <c:pt idx="6294">
                  <c:v>44.270-44.277</c:v>
                </c:pt>
                <c:pt idx="6295">
                  <c:v>44.277-44.284</c:v>
                </c:pt>
                <c:pt idx="6296">
                  <c:v>44.284-44.291</c:v>
                </c:pt>
                <c:pt idx="6297">
                  <c:v>44.291-44.298</c:v>
                </c:pt>
                <c:pt idx="6298">
                  <c:v>44.298-44.305</c:v>
                </c:pt>
                <c:pt idx="6299">
                  <c:v>44.305-44.312</c:v>
                </c:pt>
                <c:pt idx="6300">
                  <c:v>44.312-44.319</c:v>
                </c:pt>
                <c:pt idx="6301">
                  <c:v>44.319-44.326</c:v>
                </c:pt>
                <c:pt idx="6302">
                  <c:v>44.326-44.333</c:v>
                </c:pt>
                <c:pt idx="6303">
                  <c:v>44.333-44.340</c:v>
                </c:pt>
                <c:pt idx="6304">
                  <c:v>44.340-44.347</c:v>
                </c:pt>
                <c:pt idx="6305">
                  <c:v>44.347-44.354</c:v>
                </c:pt>
                <c:pt idx="6306">
                  <c:v>44.354-44.361</c:v>
                </c:pt>
                <c:pt idx="6307">
                  <c:v>44.361-44.368</c:v>
                </c:pt>
                <c:pt idx="6308">
                  <c:v>44.368-44.375</c:v>
                </c:pt>
                <c:pt idx="6309">
                  <c:v>44.375-44.382</c:v>
                </c:pt>
                <c:pt idx="6310">
                  <c:v>44.382-44.389</c:v>
                </c:pt>
                <c:pt idx="6311">
                  <c:v>44.389-44.396</c:v>
                </c:pt>
                <c:pt idx="6312">
                  <c:v>44.396-44.403</c:v>
                </c:pt>
                <c:pt idx="6313">
                  <c:v>44.403-44.410</c:v>
                </c:pt>
                <c:pt idx="6314">
                  <c:v>44.410-44.417</c:v>
                </c:pt>
                <c:pt idx="6315">
                  <c:v>44.417-44.424</c:v>
                </c:pt>
                <c:pt idx="6316">
                  <c:v>44.424-44.431</c:v>
                </c:pt>
                <c:pt idx="6317">
                  <c:v>44.431-44.438</c:v>
                </c:pt>
                <c:pt idx="6318">
                  <c:v>44.438-44.445</c:v>
                </c:pt>
                <c:pt idx="6319">
                  <c:v>44.445-44.453</c:v>
                </c:pt>
                <c:pt idx="6320">
                  <c:v>44.453-44.460</c:v>
                </c:pt>
                <c:pt idx="6321">
                  <c:v>44.460-44.467</c:v>
                </c:pt>
                <c:pt idx="6322">
                  <c:v>44.467-44.474</c:v>
                </c:pt>
                <c:pt idx="6323">
                  <c:v>44.474-44.481</c:v>
                </c:pt>
                <c:pt idx="6324">
                  <c:v>44.481-44.488</c:v>
                </c:pt>
                <c:pt idx="6325">
                  <c:v>44.488-44.495</c:v>
                </c:pt>
                <c:pt idx="6326">
                  <c:v>44.495-44.502</c:v>
                </c:pt>
                <c:pt idx="6327">
                  <c:v>44.502-44.509</c:v>
                </c:pt>
                <c:pt idx="6328">
                  <c:v>44.509-44.516</c:v>
                </c:pt>
                <c:pt idx="6329">
                  <c:v>44.516-44.523</c:v>
                </c:pt>
                <c:pt idx="6330">
                  <c:v>44.523-44.530</c:v>
                </c:pt>
                <c:pt idx="6331">
                  <c:v>44.530-44.537</c:v>
                </c:pt>
                <c:pt idx="6332">
                  <c:v>44.537-44.544</c:v>
                </c:pt>
                <c:pt idx="6333">
                  <c:v>44.544-44.551</c:v>
                </c:pt>
                <c:pt idx="6334">
                  <c:v>44.551-44.558</c:v>
                </c:pt>
                <c:pt idx="6335">
                  <c:v>44.558-44.565</c:v>
                </c:pt>
                <c:pt idx="6336">
                  <c:v>44.565-44.572</c:v>
                </c:pt>
                <c:pt idx="6337">
                  <c:v>44.572-44.579</c:v>
                </c:pt>
                <c:pt idx="6338">
                  <c:v>44.579-44.586</c:v>
                </c:pt>
                <c:pt idx="6339">
                  <c:v>44.586-44.593</c:v>
                </c:pt>
                <c:pt idx="6340">
                  <c:v>44.593-44.600</c:v>
                </c:pt>
                <c:pt idx="6341">
                  <c:v>44.600-44.607</c:v>
                </c:pt>
                <c:pt idx="6342">
                  <c:v>44.607-44.614</c:v>
                </c:pt>
                <c:pt idx="6343">
                  <c:v>44.614-44.621</c:v>
                </c:pt>
                <c:pt idx="6344">
                  <c:v>44.621-44.628</c:v>
                </c:pt>
                <c:pt idx="6345">
                  <c:v>44.628-44.635</c:v>
                </c:pt>
                <c:pt idx="6346">
                  <c:v>44.635-44.642</c:v>
                </c:pt>
                <c:pt idx="6347">
                  <c:v>44.642-44.649</c:v>
                </c:pt>
                <c:pt idx="6348">
                  <c:v>44.649-44.656</c:v>
                </c:pt>
                <c:pt idx="6349">
                  <c:v>44.656-44.663</c:v>
                </c:pt>
                <c:pt idx="6350">
                  <c:v>44.663-44.671</c:v>
                </c:pt>
                <c:pt idx="6351">
                  <c:v>44.671-44.678</c:v>
                </c:pt>
                <c:pt idx="6352">
                  <c:v>44.678-44.685</c:v>
                </c:pt>
                <c:pt idx="6353">
                  <c:v>44.685-44.692</c:v>
                </c:pt>
                <c:pt idx="6354">
                  <c:v>44.692-44.699</c:v>
                </c:pt>
                <c:pt idx="6355">
                  <c:v>44.699-44.706</c:v>
                </c:pt>
                <c:pt idx="6356">
                  <c:v>44.706-44.713</c:v>
                </c:pt>
                <c:pt idx="6357">
                  <c:v>44.713-44.720</c:v>
                </c:pt>
                <c:pt idx="6358">
                  <c:v>44.720-44.727</c:v>
                </c:pt>
                <c:pt idx="6359">
                  <c:v>44.727-44.734</c:v>
                </c:pt>
                <c:pt idx="6360">
                  <c:v>44.734-44.741</c:v>
                </c:pt>
                <c:pt idx="6361">
                  <c:v>44.741-44.748</c:v>
                </c:pt>
                <c:pt idx="6362">
                  <c:v>44.748-44.755</c:v>
                </c:pt>
                <c:pt idx="6363">
                  <c:v>44.755-44.762</c:v>
                </c:pt>
                <c:pt idx="6364">
                  <c:v>44.762-44.769</c:v>
                </c:pt>
                <c:pt idx="6365">
                  <c:v>44.769-44.776</c:v>
                </c:pt>
                <c:pt idx="6366">
                  <c:v>44.776-44.783</c:v>
                </c:pt>
                <c:pt idx="6367">
                  <c:v>44.783-44.790</c:v>
                </c:pt>
                <c:pt idx="6368">
                  <c:v>44.790-44.797</c:v>
                </c:pt>
                <c:pt idx="6369">
                  <c:v>44.797-44.804</c:v>
                </c:pt>
                <c:pt idx="6370">
                  <c:v>44.804-44.811</c:v>
                </c:pt>
                <c:pt idx="6371">
                  <c:v>44.811-44.818</c:v>
                </c:pt>
                <c:pt idx="6372">
                  <c:v>44.818-44.825</c:v>
                </c:pt>
                <c:pt idx="6373">
                  <c:v>44.825-44.832</c:v>
                </c:pt>
                <c:pt idx="6374">
                  <c:v>44.832-44.839</c:v>
                </c:pt>
                <c:pt idx="6375">
                  <c:v>44.839-44.846</c:v>
                </c:pt>
                <c:pt idx="6376">
                  <c:v>44.846-44.853</c:v>
                </c:pt>
                <c:pt idx="6377">
                  <c:v>44.853-44.860</c:v>
                </c:pt>
                <c:pt idx="6378">
                  <c:v>44.860-44.867</c:v>
                </c:pt>
                <c:pt idx="6379">
                  <c:v>44.867-44.874</c:v>
                </c:pt>
                <c:pt idx="6380">
                  <c:v>44.874-44.881</c:v>
                </c:pt>
                <c:pt idx="6381">
                  <c:v>44.881-44.889</c:v>
                </c:pt>
                <c:pt idx="6382">
                  <c:v>44.889-44.896</c:v>
                </c:pt>
                <c:pt idx="6383">
                  <c:v>44.896-44.903</c:v>
                </c:pt>
                <c:pt idx="6384">
                  <c:v>44.903-44.910</c:v>
                </c:pt>
                <c:pt idx="6385">
                  <c:v>44.910-44.917</c:v>
                </c:pt>
                <c:pt idx="6386">
                  <c:v>44.917-44.924</c:v>
                </c:pt>
                <c:pt idx="6387">
                  <c:v>44.924-44.931</c:v>
                </c:pt>
                <c:pt idx="6388">
                  <c:v>44.931-44.938</c:v>
                </c:pt>
                <c:pt idx="6389">
                  <c:v>44.938-44.945</c:v>
                </c:pt>
                <c:pt idx="6390">
                  <c:v>44.945-44.952</c:v>
                </c:pt>
                <c:pt idx="6391">
                  <c:v>44.952-44.959</c:v>
                </c:pt>
                <c:pt idx="6392">
                  <c:v>44.959-44.966</c:v>
                </c:pt>
                <c:pt idx="6393">
                  <c:v>44.966-44.973</c:v>
                </c:pt>
                <c:pt idx="6394">
                  <c:v>44.973-44.980</c:v>
                </c:pt>
                <c:pt idx="6395">
                  <c:v>44.980-44.987</c:v>
                </c:pt>
                <c:pt idx="6396">
                  <c:v>44.987-44.994</c:v>
                </c:pt>
                <c:pt idx="6397">
                  <c:v>44.994-45.001</c:v>
                </c:pt>
                <c:pt idx="6398">
                  <c:v>45.001-45.008</c:v>
                </c:pt>
                <c:pt idx="6399">
                  <c:v>45.008-45.015</c:v>
                </c:pt>
                <c:pt idx="6400">
                  <c:v>45.015-45.022</c:v>
                </c:pt>
                <c:pt idx="6401">
                  <c:v>45.022-45.029</c:v>
                </c:pt>
                <c:pt idx="6402">
                  <c:v>45.029-45.036</c:v>
                </c:pt>
                <c:pt idx="6403">
                  <c:v>45.036-45.043</c:v>
                </c:pt>
                <c:pt idx="6404">
                  <c:v>45.043-45.050</c:v>
                </c:pt>
                <c:pt idx="6405">
                  <c:v>45.050-45.057</c:v>
                </c:pt>
                <c:pt idx="6406">
                  <c:v>45.057-45.064</c:v>
                </c:pt>
                <c:pt idx="6407">
                  <c:v>45.064-45.071</c:v>
                </c:pt>
                <c:pt idx="6408">
                  <c:v>45.071-45.078</c:v>
                </c:pt>
                <c:pt idx="6409">
                  <c:v>45.078-45.085</c:v>
                </c:pt>
                <c:pt idx="6410">
                  <c:v>45.085-45.092</c:v>
                </c:pt>
                <c:pt idx="6411">
                  <c:v>45.092-45.099</c:v>
                </c:pt>
                <c:pt idx="6412">
                  <c:v>45.099-45.106</c:v>
                </c:pt>
                <c:pt idx="6413">
                  <c:v>45.106-45.114</c:v>
                </c:pt>
                <c:pt idx="6414">
                  <c:v>45.114-45.121</c:v>
                </c:pt>
                <c:pt idx="6415">
                  <c:v>45.121-45.128</c:v>
                </c:pt>
                <c:pt idx="6416">
                  <c:v>45.128-45.135</c:v>
                </c:pt>
                <c:pt idx="6417">
                  <c:v>45.135-45.142</c:v>
                </c:pt>
                <c:pt idx="6418">
                  <c:v>45.142-45.149</c:v>
                </c:pt>
                <c:pt idx="6419">
                  <c:v>45.149-45.156</c:v>
                </c:pt>
                <c:pt idx="6420">
                  <c:v>45.156-45.163</c:v>
                </c:pt>
                <c:pt idx="6421">
                  <c:v>45.163-45.170</c:v>
                </c:pt>
                <c:pt idx="6422">
                  <c:v>45.170-45.177</c:v>
                </c:pt>
                <c:pt idx="6423">
                  <c:v>45.177-45.184</c:v>
                </c:pt>
                <c:pt idx="6424">
                  <c:v>45.184-45.191</c:v>
                </c:pt>
                <c:pt idx="6425">
                  <c:v>45.191-45.198</c:v>
                </c:pt>
                <c:pt idx="6426">
                  <c:v>45.198-45.205</c:v>
                </c:pt>
                <c:pt idx="6427">
                  <c:v>45.205-45.212</c:v>
                </c:pt>
                <c:pt idx="6428">
                  <c:v>45.212-45.219</c:v>
                </c:pt>
                <c:pt idx="6429">
                  <c:v>45.219-45.226</c:v>
                </c:pt>
                <c:pt idx="6430">
                  <c:v>45.226-45.233</c:v>
                </c:pt>
                <c:pt idx="6431">
                  <c:v>45.233-45.240</c:v>
                </c:pt>
                <c:pt idx="6432">
                  <c:v>45.240-45.247</c:v>
                </c:pt>
                <c:pt idx="6433">
                  <c:v>45.247-45.254</c:v>
                </c:pt>
                <c:pt idx="6434">
                  <c:v>45.254-45.261</c:v>
                </c:pt>
                <c:pt idx="6435">
                  <c:v>45.261-45.268</c:v>
                </c:pt>
                <c:pt idx="6436">
                  <c:v>45.268-45.275</c:v>
                </c:pt>
                <c:pt idx="6437">
                  <c:v>45.275-45.282</c:v>
                </c:pt>
                <c:pt idx="6438">
                  <c:v>45.282-45.289</c:v>
                </c:pt>
                <c:pt idx="6439">
                  <c:v>45.289-45.296</c:v>
                </c:pt>
                <c:pt idx="6440">
                  <c:v>45.296-45.303</c:v>
                </c:pt>
                <c:pt idx="6441">
                  <c:v>45.303-45.310</c:v>
                </c:pt>
                <c:pt idx="6442">
                  <c:v>45.310-45.317</c:v>
                </c:pt>
                <c:pt idx="6443">
                  <c:v>45.317-45.324</c:v>
                </c:pt>
                <c:pt idx="6444">
                  <c:v>45.324-45.332</c:v>
                </c:pt>
                <c:pt idx="6445">
                  <c:v>45.332-45.339</c:v>
                </c:pt>
                <c:pt idx="6446">
                  <c:v>45.339-45.346</c:v>
                </c:pt>
                <c:pt idx="6447">
                  <c:v>45.346-45.353</c:v>
                </c:pt>
                <c:pt idx="6448">
                  <c:v>45.353-45.360</c:v>
                </c:pt>
                <c:pt idx="6449">
                  <c:v>45.360-45.367</c:v>
                </c:pt>
                <c:pt idx="6450">
                  <c:v>45.367-45.374</c:v>
                </c:pt>
                <c:pt idx="6451">
                  <c:v>45.374-45.381</c:v>
                </c:pt>
                <c:pt idx="6452">
                  <c:v>45.381-45.388</c:v>
                </c:pt>
                <c:pt idx="6453">
                  <c:v>45.388-45.395</c:v>
                </c:pt>
                <c:pt idx="6454">
                  <c:v>45.395-45.402</c:v>
                </c:pt>
                <c:pt idx="6455">
                  <c:v>45.402-45.409</c:v>
                </c:pt>
                <c:pt idx="6456">
                  <c:v>45.409-45.416</c:v>
                </c:pt>
                <c:pt idx="6457">
                  <c:v>45.416-45.423</c:v>
                </c:pt>
                <c:pt idx="6458">
                  <c:v>45.423-45.430</c:v>
                </c:pt>
                <c:pt idx="6459">
                  <c:v>45.430-45.437</c:v>
                </c:pt>
                <c:pt idx="6460">
                  <c:v>45.437-45.444</c:v>
                </c:pt>
                <c:pt idx="6461">
                  <c:v>45.444-45.451</c:v>
                </c:pt>
                <c:pt idx="6462">
                  <c:v>45.451-45.458</c:v>
                </c:pt>
                <c:pt idx="6463">
                  <c:v>45.458-45.465</c:v>
                </c:pt>
                <c:pt idx="6464">
                  <c:v>45.465-45.472</c:v>
                </c:pt>
                <c:pt idx="6465">
                  <c:v>45.472-45.479</c:v>
                </c:pt>
                <c:pt idx="6466">
                  <c:v>45.479-45.486</c:v>
                </c:pt>
                <c:pt idx="6467">
                  <c:v>45.486-45.493</c:v>
                </c:pt>
                <c:pt idx="6468">
                  <c:v>45.493-45.500</c:v>
                </c:pt>
                <c:pt idx="6469">
                  <c:v>45.500-45.507</c:v>
                </c:pt>
                <c:pt idx="6470">
                  <c:v>45.507-45.514</c:v>
                </c:pt>
                <c:pt idx="6471">
                  <c:v>45.514-45.521</c:v>
                </c:pt>
                <c:pt idx="6472">
                  <c:v>45.521-45.528</c:v>
                </c:pt>
                <c:pt idx="6473">
                  <c:v>45.528-45.535</c:v>
                </c:pt>
                <c:pt idx="6474">
                  <c:v>45.535-45.542</c:v>
                </c:pt>
                <c:pt idx="6475">
                  <c:v>45.542-45.550</c:v>
                </c:pt>
                <c:pt idx="6476">
                  <c:v>45.550-45.557</c:v>
                </c:pt>
                <c:pt idx="6477">
                  <c:v>45.557-45.564</c:v>
                </c:pt>
                <c:pt idx="6478">
                  <c:v>45.564-45.571</c:v>
                </c:pt>
                <c:pt idx="6479">
                  <c:v>45.571-45.578</c:v>
                </c:pt>
                <c:pt idx="6480">
                  <c:v>45.578-45.585</c:v>
                </c:pt>
                <c:pt idx="6481">
                  <c:v>45.585-45.592</c:v>
                </c:pt>
                <c:pt idx="6482">
                  <c:v>45.592-45.599</c:v>
                </c:pt>
                <c:pt idx="6483">
                  <c:v>45.599-45.606</c:v>
                </c:pt>
                <c:pt idx="6484">
                  <c:v>45.606-45.613</c:v>
                </c:pt>
                <c:pt idx="6485">
                  <c:v>45.613-45.620</c:v>
                </c:pt>
                <c:pt idx="6486">
                  <c:v>45.620-45.627</c:v>
                </c:pt>
                <c:pt idx="6487">
                  <c:v>45.627-45.634</c:v>
                </c:pt>
                <c:pt idx="6488">
                  <c:v>45.634-45.641</c:v>
                </c:pt>
                <c:pt idx="6489">
                  <c:v>45.641-45.648</c:v>
                </c:pt>
                <c:pt idx="6490">
                  <c:v>45.648-45.655</c:v>
                </c:pt>
                <c:pt idx="6491">
                  <c:v>45.655-45.662</c:v>
                </c:pt>
                <c:pt idx="6492">
                  <c:v>45.662-45.669</c:v>
                </c:pt>
                <c:pt idx="6493">
                  <c:v>45.669-45.676</c:v>
                </c:pt>
                <c:pt idx="6494">
                  <c:v>45.676-45.683</c:v>
                </c:pt>
                <c:pt idx="6495">
                  <c:v>45.683-45.690</c:v>
                </c:pt>
                <c:pt idx="6496">
                  <c:v>45.690-45.697</c:v>
                </c:pt>
                <c:pt idx="6497">
                  <c:v>45.697-45.704</c:v>
                </c:pt>
                <c:pt idx="6498">
                  <c:v>45.704-45.711</c:v>
                </c:pt>
                <c:pt idx="6499">
                  <c:v>45.711-45.718</c:v>
                </c:pt>
                <c:pt idx="6500">
                  <c:v>45.718-45.725</c:v>
                </c:pt>
                <c:pt idx="6501">
                  <c:v>45.725-45.732</c:v>
                </c:pt>
                <c:pt idx="6502">
                  <c:v>45.732-45.739</c:v>
                </c:pt>
                <c:pt idx="6503">
                  <c:v>45.739-45.746</c:v>
                </c:pt>
                <c:pt idx="6504">
                  <c:v>45.746-45.753</c:v>
                </c:pt>
                <c:pt idx="6505">
                  <c:v>45.753-45.760</c:v>
                </c:pt>
                <c:pt idx="6506">
                  <c:v>45.760-45.768</c:v>
                </c:pt>
                <c:pt idx="6507">
                  <c:v>45.768-45.775</c:v>
                </c:pt>
                <c:pt idx="6508">
                  <c:v>45.775-45.782</c:v>
                </c:pt>
                <c:pt idx="6509">
                  <c:v>45.782-45.789</c:v>
                </c:pt>
                <c:pt idx="6510">
                  <c:v>45.789-45.796</c:v>
                </c:pt>
                <c:pt idx="6511">
                  <c:v>45.796-45.803</c:v>
                </c:pt>
                <c:pt idx="6512">
                  <c:v>45.803-45.810</c:v>
                </c:pt>
                <c:pt idx="6513">
                  <c:v>45.810-45.817</c:v>
                </c:pt>
                <c:pt idx="6514">
                  <c:v>45.817-45.824</c:v>
                </c:pt>
                <c:pt idx="6515">
                  <c:v>45.824-45.831</c:v>
                </c:pt>
                <c:pt idx="6516">
                  <c:v>45.831-45.838</c:v>
                </c:pt>
                <c:pt idx="6517">
                  <c:v>45.838-45.845</c:v>
                </c:pt>
                <c:pt idx="6518">
                  <c:v>45.845-45.852</c:v>
                </c:pt>
                <c:pt idx="6519">
                  <c:v>45.852-45.859</c:v>
                </c:pt>
                <c:pt idx="6520">
                  <c:v>45.859-45.866</c:v>
                </c:pt>
                <c:pt idx="6521">
                  <c:v>45.866-45.873</c:v>
                </c:pt>
                <c:pt idx="6522">
                  <c:v>45.873-45.880</c:v>
                </c:pt>
                <c:pt idx="6523">
                  <c:v>45.880-45.887</c:v>
                </c:pt>
                <c:pt idx="6524">
                  <c:v>45.887-45.894</c:v>
                </c:pt>
                <c:pt idx="6525">
                  <c:v>45.894-45.901</c:v>
                </c:pt>
                <c:pt idx="6526">
                  <c:v>45.901-45.908</c:v>
                </c:pt>
                <c:pt idx="6527">
                  <c:v>45.908-45.915</c:v>
                </c:pt>
                <c:pt idx="6528">
                  <c:v>45.915-45.922</c:v>
                </c:pt>
                <c:pt idx="6529">
                  <c:v>45.922-45.929</c:v>
                </c:pt>
                <c:pt idx="6530">
                  <c:v>45.929-45.936</c:v>
                </c:pt>
                <c:pt idx="6531">
                  <c:v>45.936-45.943</c:v>
                </c:pt>
                <c:pt idx="6532">
                  <c:v>45.943-45.950</c:v>
                </c:pt>
                <c:pt idx="6533">
                  <c:v>45.950-45.957</c:v>
                </c:pt>
                <c:pt idx="6534">
                  <c:v>45.957-45.964</c:v>
                </c:pt>
                <c:pt idx="6535">
                  <c:v>45.964-45.971</c:v>
                </c:pt>
                <c:pt idx="6536">
                  <c:v>45.971-45.978</c:v>
                </c:pt>
                <c:pt idx="6537">
                  <c:v>45.978-45.986</c:v>
                </c:pt>
                <c:pt idx="6538">
                  <c:v>45.986-45.993</c:v>
                </c:pt>
                <c:pt idx="6539">
                  <c:v>45.993-46.000</c:v>
                </c:pt>
                <c:pt idx="6540">
                  <c:v>46.000-46.007</c:v>
                </c:pt>
                <c:pt idx="6541">
                  <c:v>46.007-46.014</c:v>
                </c:pt>
                <c:pt idx="6542">
                  <c:v>46.014-46.021</c:v>
                </c:pt>
                <c:pt idx="6543">
                  <c:v>46.021-46.028</c:v>
                </c:pt>
                <c:pt idx="6544">
                  <c:v>46.028-46.035</c:v>
                </c:pt>
                <c:pt idx="6545">
                  <c:v>46.035-46.042</c:v>
                </c:pt>
                <c:pt idx="6546">
                  <c:v>46.042-46.049</c:v>
                </c:pt>
                <c:pt idx="6547">
                  <c:v>46.049-46.056</c:v>
                </c:pt>
                <c:pt idx="6548">
                  <c:v>46.056-46.063</c:v>
                </c:pt>
                <c:pt idx="6549">
                  <c:v>46.063-46.070</c:v>
                </c:pt>
                <c:pt idx="6550">
                  <c:v>46.070-46.077</c:v>
                </c:pt>
                <c:pt idx="6551">
                  <c:v>46.077-46.084</c:v>
                </c:pt>
                <c:pt idx="6552">
                  <c:v>46.084-46.091</c:v>
                </c:pt>
                <c:pt idx="6553">
                  <c:v>46.091-46.098</c:v>
                </c:pt>
                <c:pt idx="6554">
                  <c:v>46.098-46.105</c:v>
                </c:pt>
                <c:pt idx="6555">
                  <c:v>46.105-46.112</c:v>
                </c:pt>
                <c:pt idx="6556">
                  <c:v>46.112-46.119</c:v>
                </c:pt>
                <c:pt idx="6557">
                  <c:v>46.119-46.126</c:v>
                </c:pt>
                <c:pt idx="6558">
                  <c:v>46.126-46.133</c:v>
                </c:pt>
                <c:pt idx="6559">
                  <c:v>46.133-46.140</c:v>
                </c:pt>
                <c:pt idx="6560">
                  <c:v>46.140-46.147</c:v>
                </c:pt>
                <c:pt idx="6561">
                  <c:v>46.147-46.154</c:v>
                </c:pt>
                <c:pt idx="6562">
                  <c:v>46.154-46.161</c:v>
                </c:pt>
                <c:pt idx="6563">
                  <c:v>46.161-46.168</c:v>
                </c:pt>
                <c:pt idx="6564">
                  <c:v>46.168-46.175</c:v>
                </c:pt>
                <c:pt idx="6565">
                  <c:v>46.175-46.182</c:v>
                </c:pt>
                <c:pt idx="6566">
                  <c:v>46.182-46.189</c:v>
                </c:pt>
                <c:pt idx="6567">
                  <c:v>46.189-46.196</c:v>
                </c:pt>
                <c:pt idx="6568">
                  <c:v>46.196-46.204</c:v>
                </c:pt>
                <c:pt idx="6569">
                  <c:v>46.204-46.211</c:v>
                </c:pt>
                <c:pt idx="6570">
                  <c:v>46.211-46.218</c:v>
                </c:pt>
                <c:pt idx="6571">
                  <c:v>46.218-46.225</c:v>
                </c:pt>
                <c:pt idx="6572">
                  <c:v>46.225-46.232</c:v>
                </c:pt>
                <c:pt idx="6573">
                  <c:v>46.232-46.239</c:v>
                </c:pt>
                <c:pt idx="6574">
                  <c:v>46.239-46.246</c:v>
                </c:pt>
                <c:pt idx="6575">
                  <c:v>46.246-46.253</c:v>
                </c:pt>
                <c:pt idx="6576">
                  <c:v>46.253-46.260</c:v>
                </c:pt>
                <c:pt idx="6577">
                  <c:v>46.260-46.267</c:v>
                </c:pt>
                <c:pt idx="6578">
                  <c:v>46.267-46.274</c:v>
                </c:pt>
                <c:pt idx="6579">
                  <c:v>46.274-46.281</c:v>
                </c:pt>
                <c:pt idx="6580">
                  <c:v>46.281-46.288</c:v>
                </c:pt>
                <c:pt idx="6581">
                  <c:v>46.288-46.295</c:v>
                </c:pt>
                <c:pt idx="6582">
                  <c:v>46.295-46.302</c:v>
                </c:pt>
                <c:pt idx="6583">
                  <c:v>46.302-46.309</c:v>
                </c:pt>
                <c:pt idx="6584">
                  <c:v>46.309-46.316</c:v>
                </c:pt>
                <c:pt idx="6585">
                  <c:v>46.316-46.323</c:v>
                </c:pt>
                <c:pt idx="6586">
                  <c:v>46.323-46.330</c:v>
                </c:pt>
                <c:pt idx="6587">
                  <c:v>46.330-46.337</c:v>
                </c:pt>
                <c:pt idx="6588">
                  <c:v>46.337-46.344</c:v>
                </c:pt>
                <c:pt idx="6589">
                  <c:v>46.344-46.351</c:v>
                </c:pt>
                <c:pt idx="6590">
                  <c:v>46.351-46.358</c:v>
                </c:pt>
                <c:pt idx="6591">
                  <c:v>46.358-46.365</c:v>
                </c:pt>
                <c:pt idx="6592">
                  <c:v>46.365-46.372</c:v>
                </c:pt>
                <c:pt idx="6593">
                  <c:v>46.372-46.379</c:v>
                </c:pt>
                <c:pt idx="6594">
                  <c:v>46.379-46.386</c:v>
                </c:pt>
                <c:pt idx="6595">
                  <c:v>46.386-46.393</c:v>
                </c:pt>
                <c:pt idx="6596">
                  <c:v>46.393-46.400</c:v>
                </c:pt>
                <c:pt idx="6597">
                  <c:v>46.400-46.407</c:v>
                </c:pt>
                <c:pt idx="6598">
                  <c:v>46.407-46.414</c:v>
                </c:pt>
                <c:pt idx="6599">
                  <c:v>46.414-46.422</c:v>
                </c:pt>
                <c:pt idx="6600">
                  <c:v>46.422-46.429</c:v>
                </c:pt>
                <c:pt idx="6601">
                  <c:v>46.429-46.436</c:v>
                </c:pt>
                <c:pt idx="6602">
                  <c:v>46.436-46.443</c:v>
                </c:pt>
                <c:pt idx="6603">
                  <c:v>46.443-46.450</c:v>
                </c:pt>
                <c:pt idx="6604">
                  <c:v>46.450-46.457</c:v>
                </c:pt>
                <c:pt idx="6605">
                  <c:v>46.457-46.464</c:v>
                </c:pt>
                <c:pt idx="6606">
                  <c:v>46.464-46.471</c:v>
                </c:pt>
                <c:pt idx="6607">
                  <c:v>46.471-46.478</c:v>
                </c:pt>
                <c:pt idx="6608">
                  <c:v>46.478-46.485</c:v>
                </c:pt>
                <c:pt idx="6609">
                  <c:v>46.485-46.492</c:v>
                </c:pt>
                <c:pt idx="6610">
                  <c:v>46.492-46.499</c:v>
                </c:pt>
                <c:pt idx="6611">
                  <c:v>46.499-46.506</c:v>
                </c:pt>
                <c:pt idx="6612">
                  <c:v>46.506-46.513</c:v>
                </c:pt>
                <c:pt idx="6613">
                  <c:v>46.513-46.520</c:v>
                </c:pt>
                <c:pt idx="6614">
                  <c:v>46.520-46.527</c:v>
                </c:pt>
                <c:pt idx="6615">
                  <c:v>46.527-46.534</c:v>
                </c:pt>
                <c:pt idx="6616">
                  <c:v>46.534-46.541</c:v>
                </c:pt>
                <c:pt idx="6617">
                  <c:v>46.541-46.548</c:v>
                </c:pt>
                <c:pt idx="6618">
                  <c:v>46.548-46.555</c:v>
                </c:pt>
                <c:pt idx="6619">
                  <c:v>46.555-46.562</c:v>
                </c:pt>
                <c:pt idx="6620">
                  <c:v>46.562-46.569</c:v>
                </c:pt>
                <c:pt idx="6621">
                  <c:v>46.569-46.576</c:v>
                </c:pt>
                <c:pt idx="6622">
                  <c:v>46.576-46.583</c:v>
                </c:pt>
                <c:pt idx="6623">
                  <c:v>46.583-46.590</c:v>
                </c:pt>
                <c:pt idx="6624">
                  <c:v>46.590-46.597</c:v>
                </c:pt>
                <c:pt idx="6625">
                  <c:v>46.597-46.604</c:v>
                </c:pt>
                <c:pt idx="6626">
                  <c:v>46.604-46.611</c:v>
                </c:pt>
                <c:pt idx="6627">
                  <c:v>46.611-46.618</c:v>
                </c:pt>
                <c:pt idx="6628">
                  <c:v>46.618-46.625</c:v>
                </c:pt>
                <c:pt idx="6629">
                  <c:v>46.625-46.632</c:v>
                </c:pt>
                <c:pt idx="6630">
                  <c:v>46.632-46.640</c:v>
                </c:pt>
                <c:pt idx="6631">
                  <c:v>46.640-46.647</c:v>
                </c:pt>
                <c:pt idx="6632">
                  <c:v>46.647-46.654</c:v>
                </c:pt>
                <c:pt idx="6633">
                  <c:v>46.654-46.661</c:v>
                </c:pt>
                <c:pt idx="6634">
                  <c:v>46.661-46.668</c:v>
                </c:pt>
                <c:pt idx="6635">
                  <c:v>46.668-46.675</c:v>
                </c:pt>
                <c:pt idx="6636">
                  <c:v>46.675-46.682</c:v>
                </c:pt>
                <c:pt idx="6637">
                  <c:v>46.682-46.689</c:v>
                </c:pt>
                <c:pt idx="6638">
                  <c:v>46.689-46.696</c:v>
                </c:pt>
                <c:pt idx="6639">
                  <c:v>46.696-46.703</c:v>
                </c:pt>
                <c:pt idx="6640">
                  <c:v>46.703-46.710</c:v>
                </c:pt>
                <c:pt idx="6641">
                  <c:v>46.710-46.717</c:v>
                </c:pt>
                <c:pt idx="6642">
                  <c:v>46.717-46.724</c:v>
                </c:pt>
                <c:pt idx="6643">
                  <c:v>46.724-46.731</c:v>
                </c:pt>
                <c:pt idx="6644">
                  <c:v>46.731-46.738</c:v>
                </c:pt>
                <c:pt idx="6645">
                  <c:v>46.738-46.745</c:v>
                </c:pt>
                <c:pt idx="6646">
                  <c:v>46.745-46.752</c:v>
                </c:pt>
                <c:pt idx="6647">
                  <c:v>46.752-46.759</c:v>
                </c:pt>
                <c:pt idx="6648">
                  <c:v>46.759-46.766</c:v>
                </c:pt>
                <c:pt idx="6649">
                  <c:v>46.766-46.773</c:v>
                </c:pt>
                <c:pt idx="6650">
                  <c:v>46.773-46.780</c:v>
                </c:pt>
                <c:pt idx="6651">
                  <c:v>46.780-46.787</c:v>
                </c:pt>
                <c:pt idx="6652">
                  <c:v>46.787-46.794</c:v>
                </c:pt>
                <c:pt idx="6653">
                  <c:v>46.794-46.801</c:v>
                </c:pt>
                <c:pt idx="6654">
                  <c:v>46.801-46.808</c:v>
                </c:pt>
                <c:pt idx="6655">
                  <c:v>46.808-46.815</c:v>
                </c:pt>
                <c:pt idx="6656">
                  <c:v>46.815-46.822</c:v>
                </c:pt>
                <c:pt idx="6657">
                  <c:v>46.822-46.829</c:v>
                </c:pt>
                <c:pt idx="6658">
                  <c:v>46.829-46.836</c:v>
                </c:pt>
                <c:pt idx="6659">
                  <c:v>46.836-46.843</c:v>
                </c:pt>
                <c:pt idx="6660">
                  <c:v>46.843-46.850</c:v>
                </c:pt>
                <c:pt idx="6661">
                  <c:v>46.850-46.858</c:v>
                </c:pt>
                <c:pt idx="6662">
                  <c:v>46.858-46.865</c:v>
                </c:pt>
                <c:pt idx="6663">
                  <c:v>46.865-46.872</c:v>
                </c:pt>
                <c:pt idx="6664">
                  <c:v>46.872-46.879</c:v>
                </c:pt>
                <c:pt idx="6665">
                  <c:v>46.879-46.886</c:v>
                </c:pt>
                <c:pt idx="6666">
                  <c:v>46.886-46.893</c:v>
                </c:pt>
                <c:pt idx="6667">
                  <c:v>46.893-46.900</c:v>
                </c:pt>
                <c:pt idx="6668">
                  <c:v>46.900-46.907</c:v>
                </c:pt>
                <c:pt idx="6669">
                  <c:v>46.907-46.914</c:v>
                </c:pt>
                <c:pt idx="6670">
                  <c:v>46.914-46.921</c:v>
                </c:pt>
                <c:pt idx="6671">
                  <c:v>46.921-46.928</c:v>
                </c:pt>
                <c:pt idx="6672">
                  <c:v>46.928-46.935</c:v>
                </c:pt>
                <c:pt idx="6673">
                  <c:v>46.935-46.942</c:v>
                </c:pt>
                <c:pt idx="6674">
                  <c:v>46.942-46.949</c:v>
                </c:pt>
                <c:pt idx="6675">
                  <c:v>46.949-46.956</c:v>
                </c:pt>
                <c:pt idx="6676">
                  <c:v>46.956-46.963</c:v>
                </c:pt>
                <c:pt idx="6677">
                  <c:v>46.963-46.970</c:v>
                </c:pt>
                <c:pt idx="6678">
                  <c:v>46.970-46.977</c:v>
                </c:pt>
                <c:pt idx="6679">
                  <c:v>46.977-46.984</c:v>
                </c:pt>
                <c:pt idx="6680">
                  <c:v>46.984-46.991</c:v>
                </c:pt>
                <c:pt idx="6681">
                  <c:v>46.991-46.998</c:v>
                </c:pt>
                <c:pt idx="6682">
                  <c:v>46.998-47.005</c:v>
                </c:pt>
                <c:pt idx="6683">
                  <c:v>47.005-47.012</c:v>
                </c:pt>
                <c:pt idx="6684">
                  <c:v>47.012-47.019</c:v>
                </c:pt>
                <c:pt idx="6685">
                  <c:v>47.019-47.026</c:v>
                </c:pt>
                <c:pt idx="6686">
                  <c:v>47.026-47.033</c:v>
                </c:pt>
                <c:pt idx="6687">
                  <c:v>47.033-47.040</c:v>
                </c:pt>
                <c:pt idx="6688">
                  <c:v>47.040-47.047</c:v>
                </c:pt>
                <c:pt idx="6689">
                  <c:v>47.047-47.054</c:v>
                </c:pt>
                <c:pt idx="6690">
                  <c:v>47.054-47.061</c:v>
                </c:pt>
                <c:pt idx="6691">
                  <c:v>47.061-47.068</c:v>
                </c:pt>
                <c:pt idx="6692">
                  <c:v>47.068-47.076</c:v>
                </c:pt>
                <c:pt idx="6693">
                  <c:v>47.076-47.083</c:v>
                </c:pt>
                <c:pt idx="6694">
                  <c:v>47.083-47.090</c:v>
                </c:pt>
                <c:pt idx="6695">
                  <c:v>47.090-47.097</c:v>
                </c:pt>
                <c:pt idx="6696">
                  <c:v>47.097-47.104</c:v>
                </c:pt>
                <c:pt idx="6697">
                  <c:v>47.104-47.111</c:v>
                </c:pt>
                <c:pt idx="6698">
                  <c:v>47.111-47.118</c:v>
                </c:pt>
                <c:pt idx="6699">
                  <c:v>47.118-47.125</c:v>
                </c:pt>
                <c:pt idx="6700">
                  <c:v>47.125-47.132</c:v>
                </c:pt>
                <c:pt idx="6701">
                  <c:v>47.132-47.139</c:v>
                </c:pt>
                <c:pt idx="6702">
                  <c:v>47.139-47.146</c:v>
                </c:pt>
                <c:pt idx="6703">
                  <c:v>47.146-47.153</c:v>
                </c:pt>
                <c:pt idx="6704">
                  <c:v>47.153-47.160</c:v>
                </c:pt>
                <c:pt idx="6705">
                  <c:v>47.160-47.167</c:v>
                </c:pt>
                <c:pt idx="6706">
                  <c:v>47.167-47.174</c:v>
                </c:pt>
                <c:pt idx="6707">
                  <c:v>47.174-47.181</c:v>
                </c:pt>
                <c:pt idx="6708">
                  <c:v>47.181-47.188</c:v>
                </c:pt>
                <c:pt idx="6709">
                  <c:v>47.188-47.195</c:v>
                </c:pt>
                <c:pt idx="6710">
                  <c:v>47.195-47.202</c:v>
                </c:pt>
                <c:pt idx="6711">
                  <c:v>47.202-47.209</c:v>
                </c:pt>
                <c:pt idx="6712">
                  <c:v>47.209-47.216</c:v>
                </c:pt>
                <c:pt idx="6713">
                  <c:v>47.216-47.223</c:v>
                </c:pt>
                <c:pt idx="6714">
                  <c:v>47.223-47.230</c:v>
                </c:pt>
                <c:pt idx="6715">
                  <c:v>47.230-47.237</c:v>
                </c:pt>
                <c:pt idx="6716">
                  <c:v>47.237-47.244</c:v>
                </c:pt>
                <c:pt idx="6717">
                  <c:v>47.244-47.251</c:v>
                </c:pt>
                <c:pt idx="6718">
                  <c:v>47.251-47.258</c:v>
                </c:pt>
                <c:pt idx="6719">
                  <c:v>47.258-47.265</c:v>
                </c:pt>
                <c:pt idx="6720">
                  <c:v>47.265-47.272</c:v>
                </c:pt>
                <c:pt idx="6721">
                  <c:v>47.272-47.279</c:v>
                </c:pt>
                <c:pt idx="6722">
                  <c:v>47.279-47.286</c:v>
                </c:pt>
                <c:pt idx="6723">
                  <c:v>47.286-47.294</c:v>
                </c:pt>
                <c:pt idx="6724">
                  <c:v>47.294-47.301</c:v>
                </c:pt>
                <c:pt idx="6725">
                  <c:v>47.301-47.308</c:v>
                </c:pt>
                <c:pt idx="6726">
                  <c:v>47.308-47.315</c:v>
                </c:pt>
                <c:pt idx="6727">
                  <c:v>47.315-47.322</c:v>
                </c:pt>
                <c:pt idx="6728">
                  <c:v>47.322-47.329</c:v>
                </c:pt>
                <c:pt idx="6729">
                  <c:v>47.329-47.336</c:v>
                </c:pt>
                <c:pt idx="6730">
                  <c:v>47.336-47.343</c:v>
                </c:pt>
                <c:pt idx="6731">
                  <c:v>47.343-47.350</c:v>
                </c:pt>
                <c:pt idx="6732">
                  <c:v>47.350-47.357</c:v>
                </c:pt>
                <c:pt idx="6733">
                  <c:v>47.357-47.364</c:v>
                </c:pt>
                <c:pt idx="6734">
                  <c:v>47.364-47.371</c:v>
                </c:pt>
                <c:pt idx="6735">
                  <c:v>47.371-47.378</c:v>
                </c:pt>
                <c:pt idx="6736">
                  <c:v>47.378-47.385</c:v>
                </c:pt>
                <c:pt idx="6737">
                  <c:v>47.385-47.392</c:v>
                </c:pt>
                <c:pt idx="6738">
                  <c:v>47.392-47.399</c:v>
                </c:pt>
                <c:pt idx="6739">
                  <c:v>47.399-47.406</c:v>
                </c:pt>
                <c:pt idx="6740">
                  <c:v>47.406-47.413</c:v>
                </c:pt>
                <c:pt idx="6741">
                  <c:v>47.413-47.420</c:v>
                </c:pt>
                <c:pt idx="6742">
                  <c:v>47.420-47.427</c:v>
                </c:pt>
                <c:pt idx="6743">
                  <c:v>47.427-47.434</c:v>
                </c:pt>
                <c:pt idx="6744">
                  <c:v>47.434-47.441</c:v>
                </c:pt>
                <c:pt idx="6745">
                  <c:v>47.441-47.448</c:v>
                </c:pt>
                <c:pt idx="6746">
                  <c:v>47.448-47.455</c:v>
                </c:pt>
                <c:pt idx="6747">
                  <c:v>47.455-47.462</c:v>
                </c:pt>
                <c:pt idx="6748">
                  <c:v>47.462-47.469</c:v>
                </c:pt>
                <c:pt idx="6749">
                  <c:v>47.469-47.476</c:v>
                </c:pt>
                <c:pt idx="6750">
                  <c:v>47.476-47.483</c:v>
                </c:pt>
                <c:pt idx="6751">
                  <c:v>47.483-47.490</c:v>
                </c:pt>
                <c:pt idx="6752">
                  <c:v>47.490-47.497</c:v>
                </c:pt>
                <c:pt idx="6753">
                  <c:v>47.497-47.504</c:v>
                </c:pt>
                <c:pt idx="6754">
                  <c:v>47.504-47.512</c:v>
                </c:pt>
                <c:pt idx="6755">
                  <c:v>47.512-47.519</c:v>
                </c:pt>
                <c:pt idx="6756">
                  <c:v>47.519-47.526</c:v>
                </c:pt>
                <c:pt idx="6757">
                  <c:v>47.526-47.533</c:v>
                </c:pt>
                <c:pt idx="6758">
                  <c:v>47.533-47.540</c:v>
                </c:pt>
                <c:pt idx="6759">
                  <c:v>47.540-47.547</c:v>
                </c:pt>
                <c:pt idx="6760">
                  <c:v>47.547-47.554</c:v>
                </c:pt>
                <c:pt idx="6761">
                  <c:v>47.554-47.561</c:v>
                </c:pt>
                <c:pt idx="6762">
                  <c:v>47.561-47.568</c:v>
                </c:pt>
                <c:pt idx="6763">
                  <c:v>47.568-47.575</c:v>
                </c:pt>
                <c:pt idx="6764">
                  <c:v>47.575-47.582</c:v>
                </c:pt>
                <c:pt idx="6765">
                  <c:v>47.582-47.589</c:v>
                </c:pt>
                <c:pt idx="6766">
                  <c:v>47.589-47.596</c:v>
                </c:pt>
                <c:pt idx="6767">
                  <c:v>47.596-47.603</c:v>
                </c:pt>
                <c:pt idx="6768">
                  <c:v>47.603-47.610</c:v>
                </c:pt>
                <c:pt idx="6769">
                  <c:v>47.610-47.617</c:v>
                </c:pt>
                <c:pt idx="6770">
                  <c:v>47.617-47.624</c:v>
                </c:pt>
                <c:pt idx="6771">
                  <c:v>47.624-47.631</c:v>
                </c:pt>
                <c:pt idx="6772">
                  <c:v>47.631-47.638</c:v>
                </c:pt>
                <c:pt idx="6773">
                  <c:v>47.638-47.645</c:v>
                </c:pt>
                <c:pt idx="6774">
                  <c:v>47.645-47.652</c:v>
                </c:pt>
                <c:pt idx="6775">
                  <c:v>47.652-47.659</c:v>
                </c:pt>
                <c:pt idx="6776">
                  <c:v>47.659-47.666</c:v>
                </c:pt>
                <c:pt idx="6777">
                  <c:v>47.666-47.673</c:v>
                </c:pt>
                <c:pt idx="6778">
                  <c:v>47.673-47.680</c:v>
                </c:pt>
                <c:pt idx="6779">
                  <c:v>47.680-47.687</c:v>
                </c:pt>
                <c:pt idx="6780">
                  <c:v>47.687-47.694</c:v>
                </c:pt>
                <c:pt idx="6781">
                  <c:v>47.694-47.701</c:v>
                </c:pt>
                <c:pt idx="6782">
                  <c:v>47.701-47.708</c:v>
                </c:pt>
                <c:pt idx="6783">
                  <c:v>47.708-47.715</c:v>
                </c:pt>
                <c:pt idx="6784">
                  <c:v>47.715-47.722</c:v>
                </c:pt>
                <c:pt idx="6785">
                  <c:v>47.722-47.730</c:v>
                </c:pt>
                <c:pt idx="6786">
                  <c:v>47.730-47.737</c:v>
                </c:pt>
                <c:pt idx="6787">
                  <c:v>47.737-47.744</c:v>
                </c:pt>
                <c:pt idx="6788">
                  <c:v>47.744-47.751</c:v>
                </c:pt>
                <c:pt idx="6789">
                  <c:v>47.751-47.758</c:v>
                </c:pt>
                <c:pt idx="6790">
                  <c:v>47.758-47.765</c:v>
                </c:pt>
                <c:pt idx="6791">
                  <c:v>47.765-47.772</c:v>
                </c:pt>
                <c:pt idx="6792">
                  <c:v>47.772-47.779</c:v>
                </c:pt>
                <c:pt idx="6793">
                  <c:v>47.779-47.786</c:v>
                </c:pt>
                <c:pt idx="6794">
                  <c:v>47.786-47.793</c:v>
                </c:pt>
                <c:pt idx="6795">
                  <c:v>47.793-47.800</c:v>
                </c:pt>
                <c:pt idx="6796">
                  <c:v>47.800-47.807</c:v>
                </c:pt>
                <c:pt idx="6797">
                  <c:v>47.807-47.814</c:v>
                </c:pt>
                <c:pt idx="6798">
                  <c:v>47.814-47.821</c:v>
                </c:pt>
                <c:pt idx="6799">
                  <c:v>47.821-47.828</c:v>
                </c:pt>
                <c:pt idx="6800">
                  <c:v>47.828-47.835</c:v>
                </c:pt>
                <c:pt idx="6801">
                  <c:v>47.835-47.842</c:v>
                </c:pt>
                <c:pt idx="6802">
                  <c:v>47.842-47.849</c:v>
                </c:pt>
                <c:pt idx="6803">
                  <c:v>47.849-47.856</c:v>
                </c:pt>
                <c:pt idx="6804">
                  <c:v>47.856-47.863</c:v>
                </c:pt>
                <c:pt idx="6805">
                  <c:v>47.863-47.870</c:v>
                </c:pt>
                <c:pt idx="6806">
                  <c:v>47.870-47.877</c:v>
                </c:pt>
                <c:pt idx="6807">
                  <c:v>47.877-47.884</c:v>
                </c:pt>
                <c:pt idx="6808">
                  <c:v>47.884-47.891</c:v>
                </c:pt>
                <c:pt idx="6809">
                  <c:v>47.891-47.898</c:v>
                </c:pt>
                <c:pt idx="6810">
                  <c:v>47.898-47.905</c:v>
                </c:pt>
                <c:pt idx="6811">
                  <c:v>47.905-47.912</c:v>
                </c:pt>
                <c:pt idx="6812">
                  <c:v>47.912-47.919</c:v>
                </c:pt>
                <c:pt idx="6813">
                  <c:v>47.919-47.926</c:v>
                </c:pt>
                <c:pt idx="6814">
                  <c:v>47.926-47.933</c:v>
                </c:pt>
                <c:pt idx="6815">
                  <c:v>47.933-47.940</c:v>
                </c:pt>
                <c:pt idx="6816">
                  <c:v>47.940-47.948</c:v>
                </c:pt>
                <c:pt idx="6817">
                  <c:v>47.948-47.955</c:v>
                </c:pt>
                <c:pt idx="6818">
                  <c:v>47.955-47.962</c:v>
                </c:pt>
                <c:pt idx="6819">
                  <c:v>47.962-47.969</c:v>
                </c:pt>
                <c:pt idx="6820">
                  <c:v>47.969-47.976</c:v>
                </c:pt>
                <c:pt idx="6821">
                  <c:v>47.976-47.983</c:v>
                </c:pt>
                <c:pt idx="6822">
                  <c:v>47.983-47.990</c:v>
                </c:pt>
                <c:pt idx="6823">
                  <c:v>47.990-47.997</c:v>
                </c:pt>
                <c:pt idx="6824">
                  <c:v>47.997-48.004</c:v>
                </c:pt>
                <c:pt idx="6825">
                  <c:v>48.004-48.011</c:v>
                </c:pt>
                <c:pt idx="6826">
                  <c:v>48.011-48.018</c:v>
                </c:pt>
                <c:pt idx="6827">
                  <c:v>48.018-48.025</c:v>
                </c:pt>
                <c:pt idx="6828">
                  <c:v>48.025-48.032</c:v>
                </c:pt>
                <c:pt idx="6829">
                  <c:v>48.032-48.039</c:v>
                </c:pt>
                <c:pt idx="6830">
                  <c:v>48.039-48.046</c:v>
                </c:pt>
                <c:pt idx="6831">
                  <c:v>48.046-48.053</c:v>
                </c:pt>
                <c:pt idx="6832">
                  <c:v>48.053-48.060</c:v>
                </c:pt>
                <c:pt idx="6833">
                  <c:v>48.060-48.067</c:v>
                </c:pt>
                <c:pt idx="6834">
                  <c:v>48.067-48.074</c:v>
                </c:pt>
                <c:pt idx="6835">
                  <c:v>48.074-48.081</c:v>
                </c:pt>
                <c:pt idx="6836">
                  <c:v>48.081-48.088</c:v>
                </c:pt>
                <c:pt idx="6837">
                  <c:v>48.088-48.095</c:v>
                </c:pt>
                <c:pt idx="6838">
                  <c:v>48.095-48.102</c:v>
                </c:pt>
                <c:pt idx="6839">
                  <c:v>48.102-48.109</c:v>
                </c:pt>
                <c:pt idx="6840">
                  <c:v>48.109-48.116</c:v>
                </c:pt>
                <c:pt idx="6841">
                  <c:v>48.116-48.123</c:v>
                </c:pt>
                <c:pt idx="6842">
                  <c:v>48.123-48.130</c:v>
                </c:pt>
                <c:pt idx="6843">
                  <c:v>48.130-48.137</c:v>
                </c:pt>
                <c:pt idx="6844">
                  <c:v>48.137-48.144</c:v>
                </c:pt>
                <c:pt idx="6845">
                  <c:v>48.144-48.151</c:v>
                </c:pt>
                <c:pt idx="6846">
                  <c:v>48.151-48.158</c:v>
                </c:pt>
                <c:pt idx="6847">
                  <c:v>48.158-48.166</c:v>
                </c:pt>
                <c:pt idx="6848">
                  <c:v>48.166-48.173</c:v>
                </c:pt>
                <c:pt idx="6849">
                  <c:v>48.173-48.180</c:v>
                </c:pt>
                <c:pt idx="6850">
                  <c:v>48.180-48.187</c:v>
                </c:pt>
                <c:pt idx="6851">
                  <c:v>48.187-48.194</c:v>
                </c:pt>
                <c:pt idx="6852">
                  <c:v>48.194-48.201</c:v>
                </c:pt>
                <c:pt idx="6853">
                  <c:v>48.201-48.208</c:v>
                </c:pt>
                <c:pt idx="6854">
                  <c:v>48.208-48.215</c:v>
                </c:pt>
                <c:pt idx="6855">
                  <c:v>48.215-48.222</c:v>
                </c:pt>
                <c:pt idx="6856">
                  <c:v>48.222-48.229</c:v>
                </c:pt>
                <c:pt idx="6857">
                  <c:v>48.229-48.236</c:v>
                </c:pt>
                <c:pt idx="6858">
                  <c:v>48.236-48.243</c:v>
                </c:pt>
                <c:pt idx="6859">
                  <c:v>48.243-48.250</c:v>
                </c:pt>
                <c:pt idx="6860">
                  <c:v>48.250-48.257</c:v>
                </c:pt>
                <c:pt idx="6861">
                  <c:v>48.257-48.264</c:v>
                </c:pt>
                <c:pt idx="6862">
                  <c:v>48.264-48.271</c:v>
                </c:pt>
                <c:pt idx="6863">
                  <c:v>48.271-48.278</c:v>
                </c:pt>
                <c:pt idx="6864">
                  <c:v>48.278-48.285</c:v>
                </c:pt>
                <c:pt idx="6865">
                  <c:v>48.285-48.292</c:v>
                </c:pt>
                <c:pt idx="6866">
                  <c:v>48.292-48.299</c:v>
                </c:pt>
                <c:pt idx="6867">
                  <c:v>48.299-48.306</c:v>
                </c:pt>
                <c:pt idx="6868">
                  <c:v>48.306-48.313</c:v>
                </c:pt>
                <c:pt idx="6869">
                  <c:v>48.313-48.320</c:v>
                </c:pt>
                <c:pt idx="6870">
                  <c:v>48.320-48.327</c:v>
                </c:pt>
                <c:pt idx="6871">
                  <c:v>48.327-48.334</c:v>
                </c:pt>
                <c:pt idx="6872">
                  <c:v>48.334-48.341</c:v>
                </c:pt>
                <c:pt idx="6873">
                  <c:v>48.341-48.348</c:v>
                </c:pt>
                <c:pt idx="6874">
                  <c:v>48.348-48.355</c:v>
                </c:pt>
                <c:pt idx="6875">
                  <c:v>48.355-48.362</c:v>
                </c:pt>
                <c:pt idx="6876">
                  <c:v>48.362-48.369</c:v>
                </c:pt>
                <c:pt idx="6877">
                  <c:v>48.369-48.376</c:v>
                </c:pt>
                <c:pt idx="6878">
                  <c:v>48.376-48.384</c:v>
                </c:pt>
                <c:pt idx="6879">
                  <c:v>48.384-48.391</c:v>
                </c:pt>
                <c:pt idx="6880">
                  <c:v>48.391-48.398</c:v>
                </c:pt>
                <c:pt idx="6881">
                  <c:v>48.398-48.405</c:v>
                </c:pt>
                <c:pt idx="6882">
                  <c:v>48.405-48.412</c:v>
                </c:pt>
                <c:pt idx="6883">
                  <c:v>48.412-48.419</c:v>
                </c:pt>
                <c:pt idx="6884">
                  <c:v>48.419-48.426</c:v>
                </c:pt>
                <c:pt idx="6885">
                  <c:v>48.426-48.433</c:v>
                </c:pt>
                <c:pt idx="6886">
                  <c:v>48.433-48.440</c:v>
                </c:pt>
                <c:pt idx="6887">
                  <c:v>48.440-48.447</c:v>
                </c:pt>
                <c:pt idx="6888">
                  <c:v>48.447-48.454</c:v>
                </c:pt>
                <c:pt idx="6889">
                  <c:v>48.454-48.461</c:v>
                </c:pt>
                <c:pt idx="6890">
                  <c:v>48.461-48.468</c:v>
                </c:pt>
                <c:pt idx="6891">
                  <c:v>48.468-48.475</c:v>
                </c:pt>
                <c:pt idx="6892">
                  <c:v>48.475-48.482</c:v>
                </c:pt>
                <c:pt idx="6893">
                  <c:v>48.482-48.489</c:v>
                </c:pt>
                <c:pt idx="6894">
                  <c:v>48.489-48.496</c:v>
                </c:pt>
                <c:pt idx="6895">
                  <c:v>48.496-48.503</c:v>
                </c:pt>
                <c:pt idx="6896">
                  <c:v>48.503-48.510</c:v>
                </c:pt>
                <c:pt idx="6897">
                  <c:v>48.510-48.517</c:v>
                </c:pt>
                <c:pt idx="6898">
                  <c:v>48.517-48.524</c:v>
                </c:pt>
                <c:pt idx="6899">
                  <c:v>48.524-48.531</c:v>
                </c:pt>
                <c:pt idx="6900">
                  <c:v>48.531-48.538</c:v>
                </c:pt>
                <c:pt idx="6901">
                  <c:v>48.538-48.545</c:v>
                </c:pt>
                <c:pt idx="6902">
                  <c:v>48.545-48.552</c:v>
                </c:pt>
                <c:pt idx="6903">
                  <c:v>48.552-48.559</c:v>
                </c:pt>
                <c:pt idx="6904">
                  <c:v>48.559-48.566</c:v>
                </c:pt>
                <c:pt idx="6905">
                  <c:v>48.566-48.573</c:v>
                </c:pt>
                <c:pt idx="6906">
                  <c:v>48.573-48.580</c:v>
                </c:pt>
                <c:pt idx="6907">
                  <c:v>48.580-48.587</c:v>
                </c:pt>
                <c:pt idx="6908">
                  <c:v>48.587-48.594</c:v>
                </c:pt>
                <c:pt idx="6909">
                  <c:v>48.594-48.602</c:v>
                </c:pt>
                <c:pt idx="6910">
                  <c:v>48.602-48.609</c:v>
                </c:pt>
                <c:pt idx="6911">
                  <c:v>48.609-48.616</c:v>
                </c:pt>
                <c:pt idx="6912">
                  <c:v>48.616-48.623</c:v>
                </c:pt>
                <c:pt idx="6913">
                  <c:v>48.623-48.630</c:v>
                </c:pt>
                <c:pt idx="6914">
                  <c:v>48.630-48.637</c:v>
                </c:pt>
                <c:pt idx="6915">
                  <c:v>48.637-48.644</c:v>
                </c:pt>
                <c:pt idx="6916">
                  <c:v>48.644-48.651</c:v>
                </c:pt>
                <c:pt idx="6917">
                  <c:v>48.651-48.658</c:v>
                </c:pt>
                <c:pt idx="6918">
                  <c:v>48.658-48.665</c:v>
                </c:pt>
                <c:pt idx="6919">
                  <c:v>48.665-48.672</c:v>
                </c:pt>
                <c:pt idx="6920">
                  <c:v>48.672-48.679</c:v>
                </c:pt>
                <c:pt idx="6921">
                  <c:v>48.679-48.686</c:v>
                </c:pt>
                <c:pt idx="6922">
                  <c:v>48.686-48.693</c:v>
                </c:pt>
                <c:pt idx="6923">
                  <c:v>48.693-48.700</c:v>
                </c:pt>
                <c:pt idx="6924">
                  <c:v>48.700-48.707</c:v>
                </c:pt>
                <c:pt idx="6925">
                  <c:v>48.707-48.714</c:v>
                </c:pt>
                <c:pt idx="6926">
                  <c:v>48.714-48.721</c:v>
                </c:pt>
                <c:pt idx="6927">
                  <c:v>48.721-48.728</c:v>
                </c:pt>
                <c:pt idx="6928">
                  <c:v>48.728-48.735</c:v>
                </c:pt>
                <c:pt idx="6929">
                  <c:v>48.735-48.742</c:v>
                </c:pt>
                <c:pt idx="6930">
                  <c:v>48.742-48.749</c:v>
                </c:pt>
                <c:pt idx="6931">
                  <c:v>48.749-48.756</c:v>
                </c:pt>
                <c:pt idx="6932">
                  <c:v>48.756-48.763</c:v>
                </c:pt>
                <c:pt idx="6933">
                  <c:v>48.763-48.770</c:v>
                </c:pt>
                <c:pt idx="6934">
                  <c:v>48.770-48.777</c:v>
                </c:pt>
                <c:pt idx="6935">
                  <c:v>48.777-48.784</c:v>
                </c:pt>
                <c:pt idx="6936">
                  <c:v>48.784-48.791</c:v>
                </c:pt>
                <c:pt idx="6937">
                  <c:v>48.791-48.798</c:v>
                </c:pt>
                <c:pt idx="6938">
                  <c:v>48.798-48.805</c:v>
                </c:pt>
                <c:pt idx="6939">
                  <c:v>48.805-48.812</c:v>
                </c:pt>
                <c:pt idx="6940">
                  <c:v>48.812-48.820</c:v>
                </c:pt>
                <c:pt idx="6941">
                  <c:v>48.820-48.827</c:v>
                </c:pt>
                <c:pt idx="6942">
                  <c:v>48.827-48.834</c:v>
                </c:pt>
                <c:pt idx="6943">
                  <c:v>48.834-48.841</c:v>
                </c:pt>
                <c:pt idx="6944">
                  <c:v>48.841-48.848</c:v>
                </c:pt>
                <c:pt idx="6945">
                  <c:v>48.848-48.855</c:v>
                </c:pt>
                <c:pt idx="6946">
                  <c:v>48.855-48.862</c:v>
                </c:pt>
                <c:pt idx="6947">
                  <c:v>48.862-48.869</c:v>
                </c:pt>
                <c:pt idx="6948">
                  <c:v>48.869-48.876</c:v>
                </c:pt>
                <c:pt idx="6949">
                  <c:v>48.876-48.883</c:v>
                </c:pt>
                <c:pt idx="6950">
                  <c:v>48.883-48.890</c:v>
                </c:pt>
                <c:pt idx="6951">
                  <c:v>48.890-48.897</c:v>
                </c:pt>
                <c:pt idx="6952">
                  <c:v>48.897-48.904</c:v>
                </c:pt>
                <c:pt idx="6953">
                  <c:v>48.904-48.911</c:v>
                </c:pt>
                <c:pt idx="6954">
                  <c:v>48.911-48.918</c:v>
                </c:pt>
                <c:pt idx="6955">
                  <c:v>48.918-48.925</c:v>
                </c:pt>
                <c:pt idx="6956">
                  <c:v>48.925-48.932</c:v>
                </c:pt>
                <c:pt idx="6957">
                  <c:v>48.932-48.939</c:v>
                </c:pt>
                <c:pt idx="6958">
                  <c:v>48.939-48.946</c:v>
                </c:pt>
                <c:pt idx="6959">
                  <c:v>48.946-48.953</c:v>
                </c:pt>
                <c:pt idx="6960">
                  <c:v>48.953-48.960</c:v>
                </c:pt>
                <c:pt idx="6961">
                  <c:v>48.960-48.967</c:v>
                </c:pt>
                <c:pt idx="6962">
                  <c:v>48.967-48.974</c:v>
                </c:pt>
                <c:pt idx="6963">
                  <c:v>48.974-48.981</c:v>
                </c:pt>
                <c:pt idx="6964">
                  <c:v>48.981-48.988</c:v>
                </c:pt>
                <c:pt idx="6965">
                  <c:v>48.988-48.995</c:v>
                </c:pt>
                <c:pt idx="6966">
                  <c:v>48.995-49.002</c:v>
                </c:pt>
                <c:pt idx="6967">
                  <c:v>49.002-49.009</c:v>
                </c:pt>
                <c:pt idx="6968">
                  <c:v>49.009-49.016</c:v>
                </c:pt>
                <c:pt idx="6969">
                  <c:v>49.016-49.023</c:v>
                </c:pt>
                <c:pt idx="6970">
                  <c:v>49.023-49.030</c:v>
                </c:pt>
                <c:pt idx="6971">
                  <c:v>49.030-49.037</c:v>
                </c:pt>
                <c:pt idx="6972">
                  <c:v>49.037-49.045</c:v>
                </c:pt>
                <c:pt idx="6973">
                  <c:v>49.045-49.052</c:v>
                </c:pt>
                <c:pt idx="6974">
                  <c:v>49.052-49.059</c:v>
                </c:pt>
                <c:pt idx="6975">
                  <c:v>49.059-49.066</c:v>
                </c:pt>
                <c:pt idx="6976">
                  <c:v>49.066-49.073</c:v>
                </c:pt>
                <c:pt idx="6977">
                  <c:v>49.073-49.080</c:v>
                </c:pt>
                <c:pt idx="6978">
                  <c:v>49.080-49.087</c:v>
                </c:pt>
                <c:pt idx="6979">
                  <c:v>49.087-49.094</c:v>
                </c:pt>
                <c:pt idx="6980">
                  <c:v>49.094-49.101</c:v>
                </c:pt>
                <c:pt idx="6981">
                  <c:v>49.101-49.108</c:v>
                </c:pt>
                <c:pt idx="6982">
                  <c:v>49.108-49.115</c:v>
                </c:pt>
                <c:pt idx="6983">
                  <c:v>49.115-49.122</c:v>
                </c:pt>
                <c:pt idx="6984">
                  <c:v>49.122-49.129</c:v>
                </c:pt>
                <c:pt idx="6985">
                  <c:v>49.129-49.136</c:v>
                </c:pt>
                <c:pt idx="6986">
                  <c:v>49.136-49.143</c:v>
                </c:pt>
                <c:pt idx="6987">
                  <c:v>49.143-49.150</c:v>
                </c:pt>
                <c:pt idx="6988">
                  <c:v>49.150-49.157</c:v>
                </c:pt>
                <c:pt idx="6989">
                  <c:v>49.157-49.164</c:v>
                </c:pt>
                <c:pt idx="6990">
                  <c:v>49.164-49.171</c:v>
                </c:pt>
                <c:pt idx="6991">
                  <c:v>49.171-49.178</c:v>
                </c:pt>
                <c:pt idx="6992">
                  <c:v>49.178-49.185</c:v>
                </c:pt>
                <c:pt idx="6993">
                  <c:v>49.185-49.192</c:v>
                </c:pt>
                <c:pt idx="6994">
                  <c:v>49.192-49.199</c:v>
                </c:pt>
                <c:pt idx="6995">
                  <c:v>49.199-49.206</c:v>
                </c:pt>
                <c:pt idx="6996">
                  <c:v>49.206-49.213</c:v>
                </c:pt>
                <c:pt idx="6997">
                  <c:v>49.213-49.220</c:v>
                </c:pt>
                <c:pt idx="6998">
                  <c:v>49.220-49.227</c:v>
                </c:pt>
                <c:pt idx="6999">
                  <c:v>49.227-49.234</c:v>
                </c:pt>
                <c:pt idx="7000">
                  <c:v>49.234-49.241</c:v>
                </c:pt>
                <c:pt idx="7001">
                  <c:v>49.241-49.248</c:v>
                </c:pt>
                <c:pt idx="7002">
                  <c:v>49.248-49.255</c:v>
                </c:pt>
                <c:pt idx="7003">
                  <c:v>49.255-49.263</c:v>
                </c:pt>
                <c:pt idx="7004">
                  <c:v>49.263-49.270</c:v>
                </c:pt>
                <c:pt idx="7005">
                  <c:v>49.270-49.277</c:v>
                </c:pt>
                <c:pt idx="7006">
                  <c:v>49.277-49.284</c:v>
                </c:pt>
                <c:pt idx="7007">
                  <c:v>49.284-49.291</c:v>
                </c:pt>
                <c:pt idx="7008">
                  <c:v>49.291-49.298</c:v>
                </c:pt>
                <c:pt idx="7009">
                  <c:v>49.298-49.305</c:v>
                </c:pt>
                <c:pt idx="7010">
                  <c:v>49.305-49.312</c:v>
                </c:pt>
                <c:pt idx="7011">
                  <c:v>49.312-49.319</c:v>
                </c:pt>
                <c:pt idx="7012">
                  <c:v>49.319-49.326</c:v>
                </c:pt>
                <c:pt idx="7013">
                  <c:v>49.326-49.333</c:v>
                </c:pt>
                <c:pt idx="7014">
                  <c:v>49.333-49.340</c:v>
                </c:pt>
                <c:pt idx="7015">
                  <c:v>49.340-49.347</c:v>
                </c:pt>
                <c:pt idx="7016">
                  <c:v>49.347-49.354</c:v>
                </c:pt>
                <c:pt idx="7017">
                  <c:v>49.354-49.361</c:v>
                </c:pt>
                <c:pt idx="7018">
                  <c:v>49.361-49.368</c:v>
                </c:pt>
                <c:pt idx="7019">
                  <c:v>49.368-49.375</c:v>
                </c:pt>
                <c:pt idx="7020">
                  <c:v>49.375-49.382</c:v>
                </c:pt>
                <c:pt idx="7021">
                  <c:v>49.382-49.389</c:v>
                </c:pt>
                <c:pt idx="7022">
                  <c:v>49.389-49.396</c:v>
                </c:pt>
                <c:pt idx="7023">
                  <c:v>49.396-49.403</c:v>
                </c:pt>
                <c:pt idx="7024">
                  <c:v>49.403-49.410</c:v>
                </c:pt>
                <c:pt idx="7025">
                  <c:v>49.410-49.417</c:v>
                </c:pt>
                <c:pt idx="7026">
                  <c:v>49.417-49.424</c:v>
                </c:pt>
                <c:pt idx="7027">
                  <c:v>49.424-49.431</c:v>
                </c:pt>
                <c:pt idx="7028">
                  <c:v>49.431-49.438</c:v>
                </c:pt>
                <c:pt idx="7029">
                  <c:v>49.438-49.445</c:v>
                </c:pt>
                <c:pt idx="7030">
                  <c:v>49.445-49.452</c:v>
                </c:pt>
                <c:pt idx="7031">
                  <c:v>49.452-49.459</c:v>
                </c:pt>
                <c:pt idx="7032">
                  <c:v>49.459-49.466</c:v>
                </c:pt>
                <c:pt idx="7033">
                  <c:v>49.466-49.473</c:v>
                </c:pt>
                <c:pt idx="7034">
                  <c:v>49.473-49.481</c:v>
                </c:pt>
                <c:pt idx="7035">
                  <c:v>49.481-49.488</c:v>
                </c:pt>
                <c:pt idx="7036">
                  <c:v>49.488-49.495</c:v>
                </c:pt>
                <c:pt idx="7037">
                  <c:v>49.495-49.502</c:v>
                </c:pt>
                <c:pt idx="7038">
                  <c:v>49.502-49.509</c:v>
                </c:pt>
                <c:pt idx="7039">
                  <c:v>49.509-49.516</c:v>
                </c:pt>
                <c:pt idx="7040">
                  <c:v>49.516-49.523</c:v>
                </c:pt>
                <c:pt idx="7041">
                  <c:v>49.523-49.530</c:v>
                </c:pt>
                <c:pt idx="7042">
                  <c:v>49.530-49.537</c:v>
                </c:pt>
                <c:pt idx="7043">
                  <c:v>49.537-49.544</c:v>
                </c:pt>
                <c:pt idx="7044">
                  <c:v>49.544-49.551</c:v>
                </c:pt>
                <c:pt idx="7045">
                  <c:v>49.551-49.558</c:v>
                </c:pt>
                <c:pt idx="7046">
                  <c:v>49.558-49.565</c:v>
                </c:pt>
                <c:pt idx="7047">
                  <c:v>49.565-49.572</c:v>
                </c:pt>
                <c:pt idx="7048">
                  <c:v>49.572-49.579</c:v>
                </c:pt>
                <c:pt idx="7049">
                  <c:v>49.579-49.586</c:v>
                </c:pt>
                <c:pt idx="7050">
                  <c:v>49.586-49.593</c:v>
                </c:pt>
                <c:pt idx="7051">
                  <c:v>49.593-49.600</c:v>
                </c:pt>
                <c:pt idx="7052">
                  <c:v>49.600-49.607</c:v>
                </c:pt>
                <c:pt idx="7053">
                  <c:v>49.607-49.614</c:v>
                </c:pt>
                <c:pt idx="7054">
                  <c:v>49.614-49.621</c:v>
                </c:pt>
                <c:pt idx="7055">
                  <c:v>49.621-49.628</c:v>
                </c:pt>
                <c:pt idx="7056">
                  <c:v>49.628-49.635</c:v>
                </c:pt>
                <c:pt idx="7057">
                  <c:v>49.635-49.642</c:v>
                </c:pt>
                <c:pt idx="7058">
                  <c:v>49.642-49.649</c:v>
                </c:pt>
                <c:pt idx="7059">
                  <c:v>49.649-49.656</c:v>
                </c:pt>
                <c:pt idx="7060">
                  <c:v>49.656-49.663</c:v>
                </c:pt>
                <c:pt idx="7061">
                  <c:v>49.663-49.670</c:v>
                </c:pt>
                <c:pt idx="7062">
                  <c:v>49.670-49.677</c:v>
                </c:pt>
                <c:pt idx="7063">
                  <c:v>49.677-49.684</c:v>
                </c:pt>
                <c:pt idx="7064">
                  <c:v>49.684-49.691</c:v>
                </c:pt>
                <c:pt idx="7065">
                  <c:v>49.691-49.699</c:v>
                </c:pt>
                <c:pt idx="7066">
                  <c:v>49.699-49.706</c:v>
                </c:pt>
                <c:pt idx="7067">
                  <c:v>49.706-49.713</c:v>
                </c:pt>
                <c:pt idx="7068">
                  <c:v>49.713-49.720</c:v>
                </c:pt>
                <c:pt idx="7069">
                  <c:v>49.720-49.727</c:v>
                </c:pt>
                <c:pt idx="7070">
                  <c:v>49.727-49.734</c:v>
                </c:pt>
                <c:pt idx="7071">
                  <c:v>49.734-49.741</c:v>
                </c:pt>
                <c:pt idx="7072">
                  <c:v>49.741-49.748</c:v>
                </c:pt>
                <c:pt idx="7073">
                  <c:v>49.748-49.755</c:v>
                </c:pt>
                <c:pt idx="7074">
                  <c:v>49.755-49.762</c:v>
                </c:pt>
                <c:pt idx="7075">
                  <c:v>49.762-49.769</c:v>
                </c:pt>
                <c:pt idx="7076">
                  <c:v>49.769-49.776</c:v>
                </c:pt>
                <c:pt idx="7077">
                  <c:v>49.776-49.783</c:v>
                </c:pt>
                <c:pt idx="7078">
                  <c:v>49.783-49.790</c:v>
                </c:pt>
                <c:pt idx="7079">
                  <c:v>49.790-49.797</c:v>
                </c:pt>
                <c:pt idx="7080">
                  <c:v>49.797-49.804</c:v>
                </c:pt>
                <c:pt idx="7081">
                  <c:v>49.804-49.811</c:v>
                </c:pt>
                <c:pt idx="7082">
                  <c:v>49.811-49.818</c:v>
                </c:pt>
                <c:pt idx="7083">
                  <c:v>49.818-49.825</c:v>
                </c:pt>
                <c:pt idx="7084">
                  <c:v>49.825-49.832</c:v>
                </c:pt>
                <c:pt idx="7085">
                  <c:v>49.832-49.839</c:v>
                </c:pt>
                <c:pt idx="7086">
                  <c:v>49.839-49.846</c:v>
                </c:pt>
                <c:pt idx="7087">
                  <c:v>49.846-49.853</c:v>
                </c:pt>
                <c:pt idx="7088">
                  <c:v>49.853-49.860</c:v>
                </c:pt>
                <c:pt idx="7089">
                  <c:v>49.860-49.867</c:v>
                </c:pt>
                <c:pt idx="7090">
                  <c:v>49.867-49.874</c:v>
                </c:pt>
                <c:pt idx="7091">
                  <c:v>49.874-49.881</c:v>
                </c:pt>
                <c:pt idx="7092">
                  <c:v>49.881-49.888</c:v>
                </c:pt>
                <c:pt idx="7093">
                  <c:v>49.888-49.895</c:v>
                </c:pt>
                <c:pt idx="7094">
                  <c:v>49.895-49.902</c:v>
                </c:pt>
                <c:pt idx="7095">
                  <c:v>49.902-49.909</c:v>
                </c:pt>
                <c:pt idx="7096">
                  <c:v>49.909-49.917</c:v>
                </c:pt>
                <c:pt idx="7097">
                  <c:v>49.917-49.924</c:v>
                </c:pt>
                <c:pt idx="7098">
                  <c:v>49.924-49.931</c:v>
                </c:pt>
                <c:pt idx="7099">
                  <c:v>49.931-49.938</c:v>
                </c:pt>
                <c:pt idx="7100">
                  <c:v>49.938-49.945</c:v>
                </c:pt>
                <c:pt idx="7101">
                  <c:v>49.945-49.952</c:v>
                </c:pt>
                <c:pt idx="7102">
                  <c:v>49.952-49.959</c:v>
                </c:pt>
                <c:pt idx="7103">
                  <c:v>49.959-49.966</c:v>
                </c:pt>
                <c:pt idx="7104">
                  <c:v>49.966-49.973</c:v>
                </c:pt>
                <c:pt idx="7105">
                  <c:v>49.973-49.980</c:v>
                </c:pt>
                <c:pt idx="7106">
                  <c:v>49.980-49.987</c:v>
                </c:pt>
                <c:pt idx="7107">
                  <c:v>49.987-49.994</c:v>
                </c:pt>
                <c:pt idx="7108">
                  <c:v>49.994-50.001</c:v>
                </c:pt>
                <c:pt idx="7109">
                  <c:v>50.001-50.008</c:v>
                </c:pt>
                <c:pt idx="7110">
                  <c:v>50.008-50.015</c:v>
                </c:pt>
                <c:pt idx="7111">
                  <c:v>50.015-50.022</c:v>
                </c:pt>
                <c:pt idx="7112">
                  <c:v>50.022-50.029</c:v>
                </c:pt>
                <c:pt idx="7113">
                  <c:v>50.029-50.036</c:v>
                </c:pt>
                <c:pt idx="7114">
                  <c:v>50.036-50.043</c:v>
                </c:pt>
                <c:pt idx="7115">
                  <c:v>50.043-50.050</c:v>
                </c:pt>
                <c:pt idx="7116">
                  <c:v>50.050-50.057</c:v>
                </c:pt>
                <c:pt idx="7117">
                  <c:v>50.057-50.064</c:v>
                </c:pt>
                <c:pt idx="7118">
                  <c:v>50.064-50.071</c:v>
                </c:pt>
                <c:pt idx="7119">
                  <c:v>50.071-50.078</c:v>
                </c:pt>
                <c:pt idx="7120">
                  <c:v>50.078-50.085</c:v>
                </c:pt>
                <c:pt idx="7121">
                  <c:v>50.085-50.092</c:v>
                </c:pt>
                <c:pt idx="7122">
                  <c:v>50.092-50.099</c:v>
                </c:pt>
                <c:pt idx="7123">
                  <c:v>50.099-50.106</c:v>
                </c:pt>
                <c:pt idx="7124">
                  <c:v>50.106-50.113</c:v>
                </c:pt>
                <c:pt idx="7125">
                  <c:v>50.113-50.120</c:v>
                </c:pt>
                <c:pt idx="7126">
                  <c:v>50.120-50.127</c:v>
                </c:pt>
                <c:pt idx="7127">
                  <c:v>50.127-50.135</c:v>
                </c:pt>
                <c:pt idx="7128">
                  <c:v>50.135-50.142</c:v>
                </c:pt>
                <c:pt idx="7129">
                  <c:v>50.142-50.149</c:v>
                </c:pt>
                <c:pt idx="7130">
                  <c:v>50.149-50.156</c:v>
                </c:pt>
                <c:pt idx="7131">
                  <c:v>50.156-50.163</c:v>
                </c:pt>
                <c:pt idx="7132">
                  <c:v>50.163-50.170</c:v>
                </c:pt>
                <c:pt idx="7133">
                  <c:v>50.170-50.177</c:v>
                </c:pt>
                <c:pt idx="7134">
                  <c:v>50.177-50.184</c:v>
                </c:pt>
                <c:pt idx="7135">
                  <c:v>50.184-50.191</c:v>
                </c:pt>
                <c:pt idx="7136">
                  <c:v>50.191-50.198</c:v>
                </c:pt>
                <c:pt idx="7137">
                  <c:v>50.198-50.205</c:v>
                </c:pt>
                <c:pt idx="7138">
                  <c:v>50.205-50.212</c:v>
                </c:pt>
                <c:pt idx="7139">
                  <c:v>50.212-50.219</c:v>
                </c:pt>
                <c:pt idx="7140">
                  <c:v>50.219-50.226</c:v>
                </c:pt>
                <c:pt idx="7141">
                  <c:v>50.226-50.233</c:v>
                </c:pt>
                <c:pt idx="7142">
                  <c:v>50.233-50.240</c:v>
                </c:pt>
                <c:pt idx="7143">
                  <c:v>50.240-50.247</c:v>
                </c:pt>
                <c:pt idx="7144">
                  <c:v>50.247-50.254</c:v>
                </c:pt>
                <c:pt idx="7145">
                  <c:v>50.254-50.261</c:v>
                </c:pt>
                <c:pt idx="7146">
                  <c:v>50.261-50.268</c:v>
                </c:pt>
                <c:pt idx="7147">
                  <c:v>50.268-50.275</c:v>
                </c:pt>
                <c:pt idx="7148">
                  <c:v>50.275-50.282</c:v>
                </c:pt>
                <c:pt idx="7149">
                  <c:v>50.282-50.289</c:v>
                </c:pt>
                <c:pt idx="7150">
                  <c:v>50.289-50.296</c:v>
                </c:pt>
                <c:pt idx="7151">
                  <c:v>50.296-50.303</c:v>
                </c:pt>
                <c:pt idx="7152">
                  <c:v>50.303-50.310</c:v>
                </c:pt>
                <c:pt idx="7153">
                  <c:v>50.310-50.317</c:v>
                </c:pt>
                <c:pt idx="7154">
                  <c:v>50.317-50.324</c:v>
                </c:pt>
                <c:pt idx="7155">
                  <c:v>50.324-50.331</c:v>
                </c:pt>
                <c:pt idx="7156">
                  <c:v>50.331-50.338</c:v>
                </c:pt>
                <c:pt idx="7157">
                  <c:v>50.338-50.345</c:v>
                </c:pt>
                <c:pt idx="7158">
                  <c:v>50.345-50.353</c:v>
                </c:pt>
                <c:pt idx="7159">
                  <c:v>50.353-50.360</c:v>
                </c:pt>
                <c:pt idx="7160">
                  <c:v>50.360-50.367</c:v>
                </c:pt>
                <c:pt idx="7161">
                  <c:v>50.367-50.374</c:v>
                </c:pt>
                <c:pt idx="7162">
                  <c:v>50.374-50.381</c:v>
                </c:pt>
                <c:pt idx="7163">
                  <c:v>50.381-50.388</c:v>
                </c:pt>
                <c:pt idx="7164">
                  <c:v>50.388-50.395</c:v>
                </c:pt>
                <c:pt idx="7165">
                  <c:v>50.395-50.402</c:v>
                </c:pt>
                <c:pt idx="7166">
                  <c:v>50.402-50.409</c:v>
                </c:pt>
                <c:pt idx="7167">
                  <c:v>50.409-50.416</c:v>
                </c:pt>
                <c:pt idx="7168">
                  <c:v>50.416-50.423</c:v>
                </c:pt>
                <c:pt idx="7169">
                  <c:v>50.423-50.430</c:v>
                </c:pt>
                <c:pt idx="7170">
                  <c:v>50.430-50.437</c:v>
                </c:pt>
                <c:pt idx="7171">
                  <c:v>50.437-50.444</c:v>
                </c:pt>
                <c:pt idx="7172">
                  <c:v>50.444-50.451</c:v>
                </c:pt>
                <c:pt idx="7173">
                  <c:v>50.451-50.458</c:v>
                </c:pt>
                <c:pt idx="7174">
                  <c:v>50.458-50.465</c:v>
                </c:pt>
                <c:pt idx="7175">
                  <c:v>50.465-50.472</c:v>
                </c:pt>
                <c:pt idx="7176">
                  <c:v>50.472-50.479</c:v>
                </c:pt>
                <c:pt idx="7177">
                  <c:v>50.479-50.486</c:v>
                </c:pt>
                <c:pt idx="7178">
                  <c:v>50.486-50.493</c:v>
                </c:pt>
                <c:pt idx="7179">
                  <c:v>50.493-50.500</c:v>
                </c:pt>
                <c:pt idx="7180">
                  <c:v>50.500-50.507</c:v>
                </c:pt>
                <c:pt idx="7181">
                  <c:v>50.507-50.514</c:v>
                </c:pt>
                <c:pt idx="7182">
                  <c:v>50.514-50.521</c:v>
                </c:pt>
                <c:pt idx="7183">
                  <c:v>50.521-50.528</c:v>
                </c:pt>
                <c:pt idx="7184">
                  <c:v>50.528-50.535</c:v>
                </c:pt>
                <c:pt idx="7185">
                  <c:v>50.535-50.542</c:v>
                </c:pt>
                <c:pt idx="7186">
                  <c:v>50.542-50.549</c:v>
                </c:pt>
                <c:pt idx="7187">
                  <c:v>50.549-50.556</c:v>
                </c:pt>
                <c:pt idx="7188">
                  <c:v>50.556-50.563</c:v>
                </c:pt>
                <c:pt idx="7189">
                  <c:v>50.563-50.571</c:v>
                </c:pt>
                <c:pt idx="7190">
                  <c:v>50.571-50.578</c:v>
                </c:pt>
                <c:pt idx="7191">
                  <c:v>50.578-50.585</c:v>
                </c:pt>
                <c:pt idx="7192">
                  <c:v>50.585-50.592</c:v>
                </c:pt>
                <c:pt idx="7193">
                  <c:v>50.592-50.599</c:v>
                </c:pt>
                <c:pt idx="7194">
                  <c:v>50.599-50.606</c:v>
                </c:pt>
                <c:pt idx="7195">
                  <c:v>50.606-50.613</c:v>
                </c:pt>
                <c:pt idx="7196">
                  <c:v>50.613-50.620</c:v>
                </c:pt>
                <c:pt idx="7197">
                  <c:v>50.620-50.627</c:v>
                </c:pt>
                <c:pt idx="7198">
                  <c:v>50.627-50.634</c:v>
                </c:pt>
                <c:pt idx="7199">
                  <c:v>50.634-50.641</c:v>
                </c:pt>
                <c:pt idx="7200">
                  <c:v>50.641-50.648</c:v>
                </c:pt>
                <c:pt idx="7201">
                  <c:v>50.648-50.655</c:v>
                </c:pt>
                <c:pt idx="7202">
                  <c:v>50.655-50.662</c:v>
                </c:pt>
                <c:pt idx="7203">
                  <c:v>50.662-50.669</c:v>
                </c:pt>
                <c:pt idx="7204">
                  <c:v>50.669-50.676</c:v>
                </c:pt>
                <c:pt idx="7205">
                  <c:v>50.676-50.683</c:v>
                </c:pt>
                <c:pt idx="7206">
                  <c:v>50.683-50.690</c:v>
                </c:pt>
                <c:pt idx="7207">
                  <c:v>50.690-50.697</c:v>
                </c:pt>
                <c:pt idx="7208">
                  <c:v>50.697-50.704</c:v>
                </c:pt>
                <c:pt idx="7209">
                  <c:v>50.704-50.711</c:v>
                </c:pt>
                <c:pt idx="7210">
                  <c:v>50.711-50.718</c:v>
                </c:pt>
                <c:pt idx="7211">
                  <c:v>50.718-50.725</c:v>
                </c:pt>
                <c:pt idx="7212">
                  <c:v>50.725-50.732</c:v>
                </c:pt>
                <c:pt idx="7213">
                  <c:v>50.732-50.739</c:v>
                </c:pt>
                <c:pt idx="7214">
                  <c:v>50.739-50.746</c:v>
                </c:pt>
                <c:pt idx="7215">
                  <c:v>50.746-50.753</c:v>
                </c:pt>
                <c:pt idx="7216">
                  <c:v>50.753-50.760</c:v>
                </c:pt>
                <c:pt idx="7217">
                  <c:v>50.760-50.767</c:v>
                </c:pt>
                <c:pt idx="7218">
                  <c:v>50.767-50.774</c:v>
                </c:pt>
                <c:pt idx="7219">
                  <c:v>50.774-50.781</c:v>
                </c:pt>
                <c:pt idx="7220">
                  <c:v>50.781-50.789</c:v>
                </c:pt>
                <c:pt idx="7221">
                  <c:v>50.789-50.796</c:v>
                </c:pt>
                <c:pt idx="7222">
                  <c:v>50.796-50.803</c:v>
                </c:pt>
                <c:pt idx="7223">
                  <c:v>50.803-50.810</c:v>
                </c:pt>
                <c:pt idx="7224">
                  <c:v>50.810-50.817</c:v>
                </c:pt>
                <c:pt idx="7225">
                  <c:v>50.817-50.824</c:v>
                </c:pt>
                <c:pt idx="7226">
                  <c:v>50.824-50.831</c:v>
                </c:pt>
                <c:pt idx="7227">
                  <c:v>50.831-50.838</c:v>
                </c:pt>
                <c:pt idx="7228">
                  <c:v>50.838-50.845</c:v>
                </c:pt>
                <c:pt idx="7229">
                  <c:v>50.845-50.852</c:v>
                </c:pt>
                <c:pt idx="7230">
                  <c:v>50.852-50.859</c:v>
                </c:pt>
                <c:pt idx="7231">
                  <c:v>50.859-50.866</c:v>
                </c:pt>
                <c:pt idx="7232">
                  <c:v>50.866-50.873</c:v>
                </c:pt>
                <c:pt idx="7233">
                  <c:v>50.873-50.880</c:v>
                </c:pt>
                <c:pt idx="7234">
                  <c:v>50.880-50.887</c:v>
                </c:pt>
                <c:pt idx="7235">
                  <c:v>50.887-50.894</c:v>
                </c:pt>
                <c:pt idx="7236">
                  <c:v>50.894-50.901</c:v>
                </c:pt>
                <c:pt idx="7237">
                  <c:v>50.901-50.908</c:v>
                </c:pt>
                <c:pt idx="7238">
                  <c:v>50.908-50.915</c:v>
                </c:pt>
                <c:pt idx="7239">
                  <c:v>50.915-50.922</c:v>
                </c:pt>
                <c:pt idx="7240">
                  <c:v>50.922-50.929</c:v>
                </c:pt>
                <c:pt idx="7241">
                  <c:v>50.929-50.936</c:v>
                </c:pt>
                <c:pt idx="7242">
                  <c:v>50.936-50.943</c:v>
                </c:pt>
                <c:pt idx="7243">
                  <c:v>50.943-50.950</c:v>
                </c:pt>
                <c:pt idx="7244">
                  <c:v>50.950-50.957</c:v>
                </c:pt>
                <c:pt idx="7245">
                  <c:v>50.957-50.964</c:v>
                </c:pt>
                <c:pt idx="7246">
                  <c:v>50.964-50.971</c:v>
                </c:pt>
                <c:pt idx="7247">
                  <c:v>50.971-50.978</c:v>
                </c:pt>
                <c:pt idx="7248">
                  <c:v>50.978-50.985</c:v>
                </c:pt>
                <c:pt idx="7249">
                  <c:v>50.985-50.992</c:v>
                </c:pt>
                <c:pt idx="7250">
                  <c:v>50.992-50.999</c:v>
                </c:pt>
                <c:pt idx="7251">
                  <c:v>50.999-51.007</c:v>
                </c:pt>
                <c:pt idx="7252">
                  <c:v>51.007-51.014</c:v>
                </c:pt>
                <c:pt idx="7253">
                  <c:v>51.014-51.021</c:v>
                </c:pt>
                <c:pt idx="7254">
                  <c:v>51.021-51.028</c:v>
                </c:pt>
                <c:pt idx="7255">
                  <c:v>51.028-51.035</c:v>
                </c:pt>
                <c:pt idx="7256">
                  <c:v>51.035-51.042</c:v>
                </c:pt>
                <c:pt idx="7257">
                  <c:v>51.042-51.049</c:v>
                </c:pt>
                <c:pt idx="7258">
                  <c:v>51.049-51.056</c:v>
                </c:pt>
                <c:pt idx="7259">
                  <c:v>51.056-51.063</c:v>
                </c:pt>
                <c:pt idx="7260">
                  <c:v>51.063-51.070</c:v>
                </c:pt>
                <c:pt idx="7261">
                  <c:v>51.070-51.077</c:v>
                </c:pt>
                <c:pt idx="7262">
                  <c:v>51.077-51.084</c:v>
                </c:pt>
                <c:pt idx="7263">
                  <c:v>51.084-51.091</c:v>
                </c:pt>
                <c:pt idx="7264">
                  <c:v>51.091-51.098</c:v>
                </c:pt>
                <c:pt idx="7265">
                  <c:v>51.098-51.105</c:v>
                </c:pt>
                <c:pt idx="7266">
                  <c:v>51.105-51.112</c:v>
                </c:pt>
                <c:pt idx="7267">
                  <c:v>51.112-51.119</c:v>
                </c:pt>
                <c:pt idx="7268">
                  <c:v>51.119-51.126</c:v>
                </c:pt>
                <c:pt idx="7269">
                  <c:v>51.126-51.133</c:v>
                </c:pt>
                <c:pt idx="7270">
                  <c:v>51.133-51.140</c:v>
                </c:pt>
                <c:pt idx="7271">
                  <c:v>51.140-51.147</c:v>
                </c:pt>
                <c:pt idx="7272">
                  <c:v>51.147-51.154</c:v>
                </c:pt>
                <c:pt idx="7273">
                  <c:v>51.154-51.161</c:v>
                </c:pt>
                <c:pt idx="7274">
                  <c:v>51.161-51.168</c:v>
                </c:pt>
                <c:pt idx="7275">
                  <c:v>51.168-51.175</c:v>
                </c:pt>
                <c:pt idx="7276">
                  <c:v>51.175-51.182</c:v>
                </c:pt>
                <c:pt idx="7277">
                  <c:v>51.182-51.189</c:v>
                </c:pt>
                <c:pt idx="7278">
                  <c:v>51.189-51.196</c:v>
                </c:pt>
                <c:pt idx="7279">
                  <c:v>51.196-51.203</c:v>
                </c:pt>
                <c:pt idx="7280">
                  <c:v>51.203-51.210</c:v>
                </c:pt>
                <c:pt idx="7281">
                  <c:v>51.210-51.217</c:v>
                </c:pt>
                <c:pt idx="7282">
                  <c:v>51.217-51.225</c:v>
                </c:pt>
                <c:pt idx="7283">
                  <c:v>51.225-51.232</c:v>
                </c:pt>
                <c:pt idx="7284">
                  <c:v>51.232-51.239</c:v>
                </c:pt>
                <c:pt idx="7285">
                  <c:v>51.239-51.246</c:v>
                </c:pt>
                <c:pt idx="7286">
                  <c:v>51.246-51.253</c:v>
                </c:pt>
                <c:pt idx="7287">
                  <c:v>51.253-51.260</c:v>
                </c:pt>
                <c:pt idx="7288">
                  <c:v>51.260-51.267</c:v>
                </c:pt>
                <c:pt idx="7289">
                  <c:v>51.267-51.274</c:v>
                </c:pt>
                <c:pt idx="7290">
                  <c:v>51.274-51.281</c:v>
                </c:pt>
                <c:pt idx="7291">
                  <c:v>51.281-51.288</c:v>
                </c:pt>
                <c:pt idx="7292">
                  <c:v>51.288-51.295</c:v>
                </c:pt>
                <c:pt idx="7293">
                  <c:v>51.295-51.302</c:v>
                </c:pt>
                <c:pt idx="7294">
                  <c:v>51.302-51.309</c:v>
                </c:pt>
                <c:pt idx="7295">
                  <c:v>51.309-51.316</c:v>
                </c:pt>
                <c:pt idx="7296">
                  <c:v>51.316-51.323</c:v>
                </c:pt>
                <c:pt idx="7297">
                  <c:v>51.323-51.330</c:v>
                </c:pt>
                <c:pt idx="7298">
                  <c:v>51.330-51.337</c:v>
                </c:pt>
                <c:pt idx="7299">
                  <c:v>51.337-51.344</c:v>
                </c:pt>
                <c:pt idx="7300">
                  <c:v>51.344-51.351</c:v>
                </c:pt>
                <c:pt idx="7301">
                  <c:v>51.351-51.358</c:v>
                </c:pt>
                <c:pt idx="7302">
                  <c:v>51.358-51.365</c:v>
                </c:pt>
                <c:pt idx="7303">
                  <c:v>51.365-51.372</c:v>
                </c:pt>
                <c:pt idx="7304">
                  <c:v>51.372-51.379</c:v>
                </c:pt>
                <c:pt idx="7305">
                  <c:v>51.379-51.386</c:v>
                </c:pt>
                <c:pt idx="7306">
                  <c:v>51.386-51.393</c:v>
                </c:pt>
                <c:pt idx="7307">
                  <c:v>51.393-51.400</c:v>
                </c:pt>
                <c:pt idx="7308">
                  <c:v>51.400-51.407</c:v>
                </c:pt>
                <c:pt idx="7309">
                  <c:v>51.407-51.414</c:v>
                </c:pt>
                <c:pt idx="7310">
                  <c:v>51.414-51.421</c:v>
                </c:pt>
                <c:pt idx="7311">
                  <c:v>51.421-51.428</c:v>
                </c:pt>
                <c:pt idx="7312">
                  <c:v>51.428-51.435</c:v>
                </c:pt>
                <c:pt idx="7313">
                  <c:v>51.435-51.443</c:v>
                </c:pt>
                <c:pt idx="7314">
                  <c:v>51.443-51.450</c:v>
                </c:pt>
                <c:pt idx="7315">
                  <c:v>51.450-51.457</c:v>
                </c:pt>
                <c:pt idx="7316">
                  <c:v>51.457-51.464</c:v>
                </c:pt>
                <c:pt idx="7317">
                  <c:v>51.464-51.471</c:v>
                </c:pt>
                <c:pt idx="7318">
                  <c:v>51.471-51.478</c:v>
                </c:pt>
                <c:pt idx="7319">
                  <c:v>51.478-51.485</c:v>
                </c:pt>
                <c:pt idx="7320">
                  <c:v>51.485-51.492</c:v>
                </c:pt>
                <c:pt idx="7321">
                  <c:v>51.492-51.499</c:v>
                </c:pt>
                <c:pt idx="7322">
                  <c:v>51.499-51.506</c:v>
                </c:pt>
                <c:pt idx="7323">
                  <c:v>51.506-51.513</c:v>
                </c:pt>
                <c:pt idx="7324">
                  <c:v>51.513-51.520</c:v>
                </c:pt>
                <c:pt idx="7325">
                  <c:v>51.520-51.527</c:v>
                </c:pt>
                <c:pt idx="7326">
                  <c:v>51.527-51.534</c:v>
                </c:pt>
                <c:pt idx="7327">
                  <c:v>51.534-51.541</c:v>
                </c:pt>
                <c:pt idx="7328">
                  <c:v>51.541-51.548</c:v>
                </c:pt>
                <c:pt idx="7329">
                  <c:v>51.548-51.555</c:v>
                </c:pt>
                <c:pt idx="7330">
                  <c:v>51.555-51.562</c:v>
                </c:pt>
                <c:pt idx="7331">
                  <c:v>51.562-51.569</c:v>
                </c:pt>
                <c:pt idx="7332">
                  <c:v>51.569-51.576</c:v>
                </c:pt>
                <c:pt idx="7333">
                  <c:v>51.576-51.583</c:v>
                </c:pt>
                <c:pt idx="7334">
                  <c:v>51.583-51.590</c:v>
                </c:pt>
                <c:pt idx="7335">
                  <c:v>51.590-51.597</c:v>
                </c:pt>
                <c:pt idx="7336">
                  <c:v>51.597-51.604</c:v>
                </c:pt>
                <c:pt idx="7337">
                  <c:v>51.604-51.611</c:v>
                </c:pt>
                <c:pt idx="7338">
                  <c:v>51.611-51.618</c:v>
                </c:pt>
                <c:pt idx="7339">
                  <c:v>51.618-51.625</c:v>
                </c:pt>
                <c:pt idx="7340">
                  <c:v>51.625-51.632</c:v>
                </c:pt>
                <c:pt idx="7341">
                  <c:v>51.632-51.639</c:v>
                </c:pt>
                <c:pt idx="7342">
                  <c:v>51.639-51.646</c:v>
                </c:pt>
                <c:pt idx="7343">
                  <c:v>51.646-51.653</c:v>
                </c:pt>
                <c:pt idx="7344">
                  <c:v>51.653-51.661</c:v>
                </c:pt>
                <c:pt idx="7345">
                  <c:v>51.661-51.668</c:v>
                </c:pt>
                <c:pt idx="7346">
                  <c:v>51.668-51.675</c:v>
                </c:pt>
                <c:pt idx="7347">
                  <c:v>51.675-51.682</c:v>
                </c:pt>
                <c:pt idx="7348">
                  <c:v>51.682-51.689</c:v>
                </c:pt>
                <c:pt idx="7349">
                  <c:v>51.689-51.696</c:v>
                </c:pt>
                <c:pt idx="7350">
                  <c:v>51.696-51.703</c:v>
                </c:pt>
                <c:pt idx="7351">
                  <c:v>51.703-51.710</c:v>
                </c:pt>
                <c:pt idx="7352">
                  <c:v>51.710-51.717</c:v>
                </c:pt>
                <c:pt idx="7353">
                  <c:v>51.717-51.724</c:v>
                </c:pt>
                <c:pt idx="7354">
                  <c:v>51.724-51.731</c:v>
                </c:pt>
                <c:pt idx="7355">
                  <c:v>51.731-51.738</c:v>
                </c:pt>
                <c:pt idx="7356">
                  <c:v>51.738-51.745</c:v>
                </c:pt>
                <c:pt idx="7357">
                  <c:v>51.745-51.752</c:v>
                </c:pt>
                <c:pt idx="7358">
                  <c:v>51.752-51.759</c:v>
                </c:pt>
                <c:pt idx="7359">
                  <c:v>51.759-51.766</c:v>
                </c:pt>
                <c:pt idx="7360">
                  <c:v>51.766-51.773</c:v>
                </c:pt>
                <c:pt idx="7361">
                  <c:v>51.773-51.780</c:v>
                </c:pt>
                <c:pt idx="7362">
                  <c:v>51.780-51.787</c:v>
                </c:pt>
                <c:pt idx="7363">
                  <c:v>51.787-51.794</c:v>
                </c:pt>
                <c:pt idx="7364">
                  <c:v>51.794-51.801</c:v>
                </c:pt>
                <c:pt idx="7365">
                  <c:v>51.801-51.808</c:v>
                </c:pt>
                <c:pt idx="7366">
                  <c:v>51.808-51.815</c:v>
                </c:pt>
                <c:pt idx="7367">
                  <c:v>51.815-51.822</c:v>
                </c:pt>
                <c:pt idx="7368">
                  <c:v>51.822-51.829</c:v>
                </c:pt>
                <c:pt idx="7369">
                  <c:v>51.829-51.836</c:v>
                </c:pt>
                <c:pt idx="7370">
                  <c:v>51.836-51.843</c:v>
                </c:pt>
                <c:pt idx="7371">
                  <c:v>51.843-51.850</c:v>
                </c:pt>
                <c:pt idx="7372">
                  <c:v>51.850-51.857</c:v>
                </c:pt>
                <c:pt idx="7373">
                  <c:v>51.857-51.864</c:v>
                </c:pt>
                <c:pt idx="7374">
                  <c:v>51.864-51.871</c:v>
                </c:pt>
                <c:pt idx="7375">
                  <c:v>51.871-51.879</c:v>
                </c:pt>
                <c:pt idx="7376">
                  <c:v>51.879-51.886</c:v>
                </c:pt>
                <c:pt idx="7377">
                  <c:v>51.886-51.893</c:v>
                </c:pt>
                <c:pt idx="7378">
                  <c:v>51.893-51.900</c:v>
                </c:pt>
                <c:pt idx="7379">
                  <c:v>51.900-51.907</c:v>
                </c:pt>
                <c:pt idx="7380">
                  <c:v>51.907-51.914</c:v>
                </c:pt>
                <c:pt idx="7381">
                  <c:v>51.914-51.921</c:v>
                </c:pt>
                <c:pt idx="7382">
                  <c:v>51.921-51.928</c:v>
                </c:pt>
                <c:pt idx="7383">
                  <c:v>51.928-51.935</c:v>
                </c:pt>
                <c:pt idx="7384">
                  <c:v>51.935-51.942</c:v>
                </c:pt>
                <c:pt idx="7385">
                  <c:v>51.942-51.949</c:v>
                </c:pt>
                <c:pt idx="7386">
                  <c:v>51.949-51.956</c:v>
                </c:pt>
                <c:pt idx="7387">
                  <c:v>51.956-51.963</c:v>
                </c:pt>
                <c:pt idx="7388">
                  <c:v>51.963-51.970</c:v>
                </c:pt>
                <c:pt idx="7389">
                  <c:v>51.970-51.977</c:v>
                </c:pt>
                <c:pt idx="7390">
                  <c:v>51.977-51.984</c:v>
                </c:pt>
                <c:pt idx="7391">
                  <c:v>51.984-51.991</c:v>
                </c:pt>
                <c:pt idx="7392">
                  <c:v>51.991-51.998</c:v>
                </c:pt>
                <c:pt idx="7393">
                  <c:v>51.998-52.005</c:v>
                </c:pt>
                <c:pt idx="7394">
                  <c:v>52.005-52.012</c:v>
                </c:pt>
                <c:pt idx="7395">
                  <c:v>52.012-52.019</c:v>
                </c:pt>
                <c:pt idx="7396">
                  <c:v>52.019-52.026</c:v>
                </c:pt>
                <c:pt idx="7397">
                  <c:v>52.026-52.033</c:v>
                </c:pt>
                <c:pt idx="7398">
                  <c:v>52.033-52.040</c:v>
                </c:pt>
                <c:pt idx="7399">
                  <c:v>52.040-52.047</c:v>
                </c:pt>
                <c:pt idx="7400">
                  <c:v>52.047-52.054</c:v>
                </c:pt>
                <c:pt idx="7401">
                  <c:v>52.054-52.061</c:v>
                </c:pt>
                <c:pt idx="7402">
                  <c:v>52.061-52.068</c:v>
                </c:pt>
                <c:pt idx="7403">
                  <c:v>52.068-52.075</c:v>
                </c:pt>
                <c:pt idx="7404">
                  <c:v>52.075-52.082</c:v>
                </c:pt>
                <c:pt idx="7405">
                  <c:v>52.082-52.089</c:v>
                </c:pt>
                <c:pt idx="7406">
                  <c:v>52.089-52.097</c:v>
                </c:pt>
                <c:pt idx="7407">
                  <c:v>52.097-52.104</c:v>
                </c:pt>
                <c:pt idx="7408">
                  <c:v>52.104-52.111</c:v>
                </c:pt>
                <c:pt idx="7409">
                  <c:v>52.111-52.118</c:v>
                </c:pt>
                <c:pt idx="7410">
                  <c:v>52.118-52.125</c:v>
                </c:pt>
                <c:pt idx="7411">
                  <c:v>52.125-52.132</c:v>
                </c:pt>
                <c:pt idx="7412">
                  <c:v>52.132-52.139</c:v>
                </c:pt>
                <c:pt idx="7413">
                  <c:v>52.139-52.146</c:v>
                </c:pt>
                <c:pt idx="7414">
                  <c:v>52.146-52.153</c:v>
                </c:pt>
                <c:pt idx="7415">
                  <c:v>52.153-52.160</c:v>
                </c:pt>
                <c:pt idx="7416">
                  <c:v>52.160-52.167</c:v>
                </c:pt>
                <c:pt idx="7417">
                  <c:v>52.167-52.174</c:v>
                </c:pt>
                <c:pt idx="7418">
                  <c:v>52.174-52.181</c:v>
                </c:pt>
                <c:pt idx="7419">
                  <c:v>52.181-52.188</c:v>
                </c:pt>
                <c:pt idx="7420">
                  <c:v>52.188-52.195</c:v>
                </c:pt>
                <c:pt idx="7421">
                  <c:v>52.195-52.202</c:v>
                </c:pt>
                <c:pt idx="7422">
                  <c:v>52.202-52.209</c:v>
                </c:pt>
                <c:pt idx="7423">
                  <c:v>52.209-52.216</c:v>
                </c:pt>
                <c:pt idx="7424">
                  <c:v>52.216-52.223</c:v>
                </c:pt>
                <c:pt idx="7425">
                  <c:v>52.223-52.230</c:v>
                </c:pt>
                <c:pt idx="7426">
                  <c:v>52.230-52.237</c:v>
                </c:pt>
                <c:pt idx="7427">
                  <c:v>52.237-52.244</c:v>
                </c:pt>
                <c:pt idx="7428">
                  <c:v>52.244-52.251</c:v>
                </c:pt>
                <c:pt idx="7429">
                  <c:v>52.251-52.258</c:v>
                </c:pt>
                <c:pt idx="7430">
                  <c:v>52.258-52.265</c:v>
                </c:pt>
                <c:pt idx="7431">
                  <c:v>52.265-52.272</c:v>
                </c:pt>
                <c:pt idx="7432">
                  <c:v>52.272-52.279</c:v>
                </c:pt>
                <c:pt idx="7433">
                  <c:v>52.279-52.286</c:v>
                </c:pt>
                <c:pt idx="7434">
                  <c:v>52.286-52.293</c:v>
                </c:pt>
                <c:pt idx="7435">
                  <c:v>52.293-52.300</c:v>
                </c:pt>
                <c:pt idx="7436">
                  <c:v>52.300-52.307</c:v>
                </c:pt>
                <c:pt idx="7437">
                  <c:v>52.307-52.315</c:v>
                </c:pt>
                <c:pt idx="7438">
                  <c:v>52.315-52.322</c:v>
                </c:pt>
                <c:pt idx="7439">
                  <c:v>52.322-52.329</c:v>
                </c:pt>
                <c:pt idx="7440">
                  <c:v>52.329-52.336</c:v>
                </c:pt>
                <c:pt idx="7441">
                  <c:v>52.336-52.343</c:v>
                </c:pt>
                <c:pt idx="7442">
                  <c:v>52.343-52.350</c:v>
                </c:pt>
                <c:pt idx="7443">
                  <c:v>52.350-52.357</c:v>
                </c:pt>
                <c:pt idx="7444">
                  <c:v>52.357-52.364</c:v>
                </c:pt>
                <c:pt idx="7445">
                  <c:v>52.364-52.371</c:v>
                </c:pt>
                <c:pt idx="7446">
                  <c:v>52.371-52.378</c:v>
                </c:pt>
                <c:pt idx="7447">
                  <c:v>52.378-52.385</c:v>
                </c:pt>
                <c:pt idx="7448">
                  <c:v>52.385-52.392</c:v>
                </c:pt>
                <c:pt idx="7449">
                  <c:v>52.392-52.399</c:v>
                </c:pt>
                <c:pt idx="7450">
                  <c:v>52.399-52.406</c:v>
                </c:pt>
                <c:pt idx="7451">
                  <c:v>52.406-52.413</c:v>
                </c:pt>
                <c:pt idx="7452">
                  <c:v>52.413-52.420</c:v>
                </c:pt>
                <c:pt idx="7453">
                  <c:v>52.420-52.427</c:v>
                </c:pt>
                <c:pt idx="7454">
                  <c:v>52.427-52.434</c:v>
                </c:pt>
                <c:pt idx="7455">
                  <c:v>52.434-52.441</c:v>
                </c:pt>
                <c:pt idx="7456">
                  <c:v>52.441-52.448</c:v>
                </c:pt>
                <c:pt idx="7457">
                  <c:v>52.448-52.455</c:v>
                </c:pt>
                <c:pt idx="7458">
                  <c:v>52.455-52.462</c:v>
                </c:pt>
                <c:pt idx="7459">
                  <c:v>52.462-52.469</c:v>
                </c:pt>
                <c:pt idx="7460">
                  <c:v>52.469-52.476</c:v>
                </c:pt>
                <c:pt idx="7461">
                  <c:v>52.476-52.483</c:v>
                </c:pt>
                <c:pt idx="7462">
                  <c:v>52.483-52.490</c:v>
                </c:pt>
                <c:pt idx="7463">
                  <c:v>52.490-52.497</c:v>
                </c:pt>
                <c:pt idx="7464">
                  <c:v>52.497-52.504</c:v>
                </c:pt>
                <c:pt idx="7465">
                  <c:v>52.504-52.511</c:v>
                </c:pt>
                <c:pt idx="7466">
                  <c:v>52.511-52.518</c:v>
                </c:pt>
                <c:pt idx="7467">
                  <c:v>52.518-52.525</c:v>
                </c:pt>
                <c:pt idx="7468">
                  <c:v>52.525-52.533</c:v>
                </c:pt>
                <c:pt idx="7469">
                  <c:v>52.533-52.540</c:v>
                </c:pt>
                <c:pt idx="7470">
                  <c:v>52.540-52.547</c:v>
                </c:pt>
                <c:pt idx="7471">
                  <c:v>52.547-52.554</c:v>
                </c:pt>
                <c:pt idx="7472">
                  <c:v>52.554-52.561</c:v>
                </c:pt>
                <c:pt idx="7473">
                  <c:v>52.561-52.568</c:v>
                </c:pt>
                <c:pt idx="7474">
                  <c:v>52.568-52.575</c:v>
                </c:pt>
                <c:pt idx="7475">
                  <c:v>52.575-52.582</c:v>
                </c:pt>
                <c:pt idx="7476">
                  <c:v>52.582-52.589</c:v>
                </c:pt>
                <c:pt idx="7477">
                  <c:v>52.589-52.596</c:v>
                </c:pt>
                <c:pt idx="7478">
                  <c:v>52.596-52.603</c:v>
                </c:pt>
                <c:pt idx="7479">
                  <c:v>52.603-52.610</c:v>
                </c:pt>
                <c:pt idx="7480">
                  <c:v>52.610-52.617</c:v>
                </c:pt>
                <c:pt idx="7481">
                  <c:v>52.617-52.624</c:v>
                </c:pt>
                <c:pt idx="7482">
                  <c:v>52.624-52.631</c:v>
                </c:pt>
                <c:pt idx="7483">
                  <c:v>52.631-52.638</c:v>
                </c:pt>
                <c:pt idx="7484">
                  <c:v>52.638-52.645</c:v>
                </c:pt>
                <c:pt idx="7485">
                  <c:v>52.645-52.652</c:v>
                </c:pt>
                <c:pt idx="7486">
                  <c:v>52.652-52.659</c:v>
                </c:pt>
                <c:pt idx="7487">
                  <c:v>52.659-52.666</c:v>
                </c:pt>
                <c:pt idx="7488">
                  <c:v>52.666-52.673</c:v>
                </c:pt>
                <c:pt idx="7489">
                  <c:v>52.673-52.680</c:v>
                </c:pt>
                <c:pt idx="7490">
                  <c:v>52.680-52.687</c:v>
                </c:pt>
                <c:pt idx="7491">
                  <c:v>52.687-52.694</c:v>
                </c:pt>
                <c:pt idx="7492">
                  <c:v>52.694-52.701</c:v>
                </c:pt>
                <c:pt idx="7493">
                  <c:v>52.701-52.708</c:v>
                </c:pt>
                <c:pt idx="7494">
                  <c:v>52.708-52.715</c:v>
                </c:pt>
                <c:pt idx="7495">
                  <c:v>52.715-52.722</c:v>
                </c:pt>
                <c:pt idx="7496">
                  <c:v>52.722-52.729</c:v>
                </c:pt>
                <c:pt idx="7497">
                  <c:v>52.729-52.736</c:v>
                </c:pt>
                <c:pt idx="7498">
                  <c:v>52.736-52.743</c:v>
                </c:pt>
                <c:pt idx="7499">
                  <c:v>52.743-52.751</c:v>
                </c:pt>
                <c:pt idx="7500">
                  <c:v>52.751-52.758</c:v>
                </c:pt>
                <c:pt idx="7501">
                  <c:v>52.758-52.765</c:v>
                </c:pt>
                <c:pt idx="7502">
                  <c:v>52.765-52.772</c:v>
                </c:pt>
                <c:pt idx="7503">
                  <c:v>52.772-52.779</c:v>
                </c:pt>
                <c:pt idx="7504">
                  <c:v>52.779-52.786</c:v>
                </c:pt>
                <c:pt idx="7505">
                  <c:v>52.786-52.793</c:v>
                </c:pt>
                <c:pt idx="7506">
                  <c:v>52.793-52.800</c:v>
                </c:pt>
                <c:pt idx="7507">
                  <c:v>52.800-52.807</c:v>
                </c:pt>
                <c:pt idx="7508">
                  <c:v>52.807-52.814</c:v>
                </c:pt>
                <c:pt idx="7509">
                  <c:v>52.814-52.821</c:v>
                </c:pt>
                <c:pt idx="7510">
                  <c:v>52.821-52.828</c:v>
                </c:pt>
                <c:pt idx="7511">
                  <c:v>52.828-52.835</c:v>
                </c:pt>
                <c:pt idx="7512">
                  <c:v>52.835-52.842</c:v>
                </c:pt>
                <c:pt idx="7513">
                  <c:v>52.842-52.849</c:v>
                </c:pt>
                <c:pt idx="7514">
                  <c:v>52.849-52.856</c:v>
                </c:pt>
                <c:pt idx="7515">
                  <c:v>52.856-52.863</c:v>
                </c:pt>
                <c:pt idx="7516">
                  <c:v>52.863-52.870</c:v>
                </c:pt>
                <c:pt idx="7517">
                  <c:v>52.870-52.877</c:v>
                </c:pt>
                <c:pt idx="7518">
                  <c:v>52.877-52.884</c:v>
                </c:pt>
                <c:pt idx="7519">
                  <c:v>52.884-52.891</c:v>
                </c:pt>
                <c:pt idx="7520">
                  <c:v>52.891-52.898</c:v>
                </c:pt>
                <c:pt idx="7521">
                  <c:v>52.898-52.905</c:v>
                </c:pt>
                <c:pt idx="7522">
                  <c:v>52.905-52.912</c:v>
                </c:pt>
                <c:pt idx="7523">
                  <c:v>52.912-52.919</c:v>
                </c:pt>
                <c:pt idx="7524">
                  <c:v>52.919-52.926</c:v>
                </c:pt>
                <c:pt idx="7525">
                  <c:v>52.926-52.933</c:v>
                </c:pt>
                <c:pt idx="7526">
                  <c:v>52.933-52.940</c:v>
                </c:pt>
                <c:pt idx="7527">
                  <c:v>52.940-52.947</c:v>
                </c:pt>
                <c:pt idx="7528">
                  <c:v>52.947-52.954</c:v>
                </c:pt>
                <c:pt idx="7529">
                  <c:v>52.954-52.961</c:v>
                </c:pt>
                <c:pt idx="7530">
                  <c:v>52.961-52.968</c:v>
                </c:pt>
                <c:pt idx="7531">
                  <c:v>52.968-52.976</c:v>
                </c:pt>
                <c:pt idx="7532">
                  <c:v>52.976-52.983</c:v>
                </c:pt>
                <c:pt idx="7533">
                  <c:v>52.983-52.990</c:v>
                </c:pt>
                <c:pt idx="7534">
                  <c:v>52.990-52.997</c:v>
                </c:pt>
                <c:pt idx="7535">
                  <c:v>52.997-53.004</c:v>
                </c:pt>
                <c:pt idx="7536">
                  <c:v>53.004-53.011</c:v>
                </c:pt>
                <c:pt idx="7537">
                  <c:v>53.011-53.018</c:v>
                </c:pt>
                <c:pt idx="7538">
                  <c:v>53.018-53.025</c:v>
                </c:pt>
                <c:pt idx="7539">
                  <c:v>53.025-53.032</c:v>
                </c:pt>
                <c:pt idx="7540">
                  <c:v>53.032-53.039</c:v>
                </c:pt>
                <c:pt idx="7541">
                  <c:v>53.039-53.046</c:v>
                </c:pt>
                <c:pt idx="7542">
                  <c:v>53.046-53.053</c:v>
                </c:pt>
                <c:pt idx="7543">
                  <c:v>53.053-53.060</c:v>
                </c:pt>
                <c:pt idx="7544">
                  <c:v>53.060-53.067</c:v>
                </c:pt>
                <c:pt idx="7545">
                  <c:v>53.067-53.074</c:v>
                </c:pt>
                <c:pt idx="7546">
                  <c:v>53.074-53.081</c:v>
                </c:pt>
                <c:pt idx="7547">
                  <c:v>53.081-53.088</c:v>
                </c:pt>
                <c:pt idx="7548">
                  <c:v>53.088-53.095</c:v>
                </c:pt>
                <c:pt idx="7549">
                  <c:v>53.095-53.102</c:v>
                </c:pt>
                <c:pt idx="7550">
                  <c:v>53.102-53.109</c:v>
                </c:pt>
                <c:pt idx="7551">
                  <c:v>53.109-53.116</c:v>
                </c:pt>
                <c:pt idx="7552">
                  <c:v>53.116-53.123</c:v>
                </c:pt>
                <c:pt idx="7553">
                  <c:v>53.123-53.130</c:v>
                </c:pt>
                <c:pt idx="7554">
                  <c:v>53.130-53.137</c:v>
                </c:pt>
                <c:pt idx="7555">
                  <c:v>53.137-53.144</c:v>
                </c:pt>
                <c:pt idx="7556">
                  <c:v>53.144-53.151</c:v>
                </c:pt>
                <c:pt idx="7557">
                  <c:v>53.151-53.158</c:v>
                </c:pt>
                <c:pt idx="7558">
                  <c:v>53.158-53.165</c:v>
                </c:pt>
                <c:pt idx="7559">
                  <c:v>53.165-53.172</c:v>
                </c:pt>
                <c:pt idx="7560">
                  <c:v>53.172-53.179</c:v>
                </c:pt>
                <c:pt idx="7561">
                  <c:v>53.179-53.186</c:v>
                </c:pt>
                <c:pt idx="7562">
                  <c:v>53.186-53.194</c:v>
                </c:pt>
                <c:pt idx="7563">
                  <c:v>53.194-53.201</c:v>
                </c:pt>
                <c:pt idx="7564">
                  <c:v>53.201-53.208</c:v>
                </c:pt>
                <c:pt idx="7565">
                  <c:v>53.208-53.215</c:v>
                </c:pt>
                <c:pt idx="7566">
                  <c:v>53.215-53.222</c:v>
                </c:pt>
                <c:pt idx="7567">
                  <c:v>53.222-53.229</c:v>
                </c:pt>
                <c:pt idx="7568">
                  <c:v>53.229-53.236</c:v>
                </c:pt>
                <c:pt idx="7569">
                  <c:v>53.236-53.243</c:v>
                </c:pt>
                <c:pt idx="7570">
                  <c:v>53.243-53.250</c:v>
                </c:pt>
                <c:pt idx="7571">
                  <c:v>53.250-53.257</c:v>
                </c:pt>
                <c:pt idx="7572">
                  <c:v>53.257-53.264</c:v>
                </c:pt>
                <c:pt idx="7573">
                  <c:v>53.264-53.271</c:v>
                </c:pt>
                <c:pt idx="7574">
                  <c:v>53.271-53.278</c:v>
                </c:pt>
                <c:pt idx="7575">
                  <c:v>53.278-53.285</c:v>
                </c:pt>
                <c:pt idx="7576">
                  <c:v>53.285-53.292</c:v>
                </c:pt>
                <c:pt idx="7577">
                  <c:v>53.292-53.299</c:v>
                </c:pt>
                <c:pt idx="7578">
                  <c:v>53.299-53.306</c:v>
                </c:pt>
                <c:pt idx="7579">
                  <c:v>53.306-53.313</c:v>
                </c:pt>
                <c:pt idx="7580">
                  <c:v>53.313-53.320</c:v>
                </c:pt>
                <c:pt idx="7581">
                  <c:v>53.320-53.327</c:v>
                </c:pt>
                <c:pt idx="7582">
                  <c:v>53.327-53.334</c:v>
                </c:pt>
                <c:pt idx="7583">
                  <c:v>53.334-53.341</c:v>
                </c:pt>
                <c:pt idx="7584">
                  <c:v>53.341-53.348</c:v>
                </c:pt>
                <c:pt idx="7585">
                  <c:v>53.348-53.355</c:v>
                </c:pt>
                <c:pt idx="7586">
                  <c:v>53.355-53.362</c:v>
                </c:pt>
                <c:pt idx="7587">
                  <c:v>53.362-53.369</c:v>
                </c:pt>
                <c:pt idx="7588">
                  <c:v>53.369-53.376</c:v>
                </c:pt>
                <c:pt idx="7589">
                  <c:v>53.376-53.383</c:v>
                </c:pt>
                <c:pt idx="7590">
                  <c:v>53.383-53.390</c:v>
                </c:pt>
                <c:pt idx="7591">
                  <c:v>53.390-53.397</c:v>
                </c:pt>
                <c:pt idx="7592">
                  <c:v>53.397-53.404</c:v>
                </c:pt>
                <c:pt idx="7593">
                  <c:v>53.404-53.412</c:v>
                </c:pt>
                <c:pt idx="7594">
                  <c:v>53.412-53.419</c:v>
                </c:pt>
                <c:pt idx="7595">
                  <c:v>53.419-53.426</c:v>
                </c:pt>
                <c:pt idx="7596">
                  <c:v>53.426-53.433</c:v>
                </c:pt>
                <c:pt idx="7597">
                  <c:v>53.433-53.440</c:v>
                </c:pt>
                <c:pt idx="7598">
                  <c:v>53.440-53.447</c:v>
                </c:pt>
                <c:pt idx="7599">
                  <c:v>53.447-53.454</c:v>
                </c:pt>
                <c:pt idx="7600">
                  <c:v>53.454-53.461</c:v>
                </c:pt>
                <c:pt idx="7601">
                  <c:v>53.461-53.468</c:v>
                </c:pt>
                <c:pt idx="7602">
                  <c:v>53.468-53.475</c:v>
                </c:pt>
                <c:pt idx="7603">
                  <c:v>53.475-53.482</c:v>
                </c:pt>
                <c:pt idx="7604">
                  <c:v>53.482-53.489</c:v>
                </c:pt>
                <c:pt idx="7605">
                  <c:v>53.489-53.496</c:v>
                </c:pt>
                <c:pt idx="7606">
                  <c:v>53.496-53.503</c:v>
                </c:pt>
                <c:pt idx="7607">
                  <c:v>53.503-53.510</c:v>
                </c:pt>
                <c:pt idx="7608">
                  <c:v>53.510-53.517</c:v>
                </c:pt>
                <c:pt idx="7609">
                  <c:v>53.517-53.524</c:v>
                </c:pt>
                <c:pt idx="7610">
                  <c:v>53.524-53.531</c:v>
                </c:pt>
                <c:pt idx="7611">
                  <c:v>53.531-53.538</c:v>
                </c:pt>
                <c:pt idx="7612">
                  <c:v>53.538-53.545</c:v>
                </c:pt>
                <c:pt idx="7613">
                  <c:v>53.545-53.552</c:v>
                </c:pt>
                <c:pt idx="7614">
                  <c:v>53.552-53.559</c:v>
                </c:pt>
                <c:pt idx="7615">
                  <c:v>53.559-53.566</c:v>
                </c:pt>
                <c:pt idx="7616">
                  <c:v>53.566-53.573</c:v>
                </c:pt>
                <c:pt idx="7617">
                  <c:v>53.573-53.580</c:v>
                </c:pt>
                <c:pt idx="7618">
                  <c:v>53.580-53.587</c:v>
                </c:pt>
                <c:pt idx="7619">
                  <c:v>53.587-53.594</c:v>
                </c:pt>
                <c:pt idx="7620">
                  <c:v>53.594-53.601</c:v>
                </c:pt>
                <c:pt idx="7621">
                  <c:v>53.601-53.608</c:v>
                </c:pt>
                <c:pt idx="7622">
                  <c:v>53.608-53.615</c:v>
                </c:pt>
                <c:pt idx="7623">
                  <c:v>53.615-53.622</c:v>
                </c:pt>
                <c:pt idx="7624">
                  <c:v>53.622-53.630</c:v>
                </c:pt>
                <c:pt idx="7625">
                  <c:v>53.630-53.637</c:v>
                </c:pt>
                <c:pt idx="7626">
                  <c:v>53.637-53.644</c:v>
                </c:pt>
                <c:pt idx="7627">
                  <c:v>53.644-53.651</c:v>
                </c:pt>
                <c:pt idx="7628">
                  <c:v>53.651-53.658</c:v>
                </c:pt>
                <c:pt idx="7629">
                  <c:v>53.658-53.665</c:v>
                </c:pt>
                <c:pt idx="7630">
                  <c:v>53.665-53.672</c:v>
                </c:pt>
                <c:pt idx="7631">
                  <c:v>53.672-53.679</c:v>
                </c:pt>
                <c:pt idx="7632">
                  <c:v>53.679-53.686</c:v>
                </c:pt>
                <c:pt idx="7633">
                  <c:v>53.686-53.693</c:v>
                </c:pt>
                <c:pt idx="7634">
                  <c:v>53.693-53.700</c:v>
                </c:pt>
                <c:pt idx="7635">
                  <c:v>53.700-53.707</c:v>
                </c:pt>
                <c:pt idx="7636">
                  <c:v>53.707-53.714</c:v>
                </c:pt>
                <c:pt idx="7637">
                  <c:v>53.714-53.721</c:v>
                </c:pt>
                <c:pt idx="7638">
                  <c:v>53.721-53.728</c:v>
                </c:pt>
                <c:pt idx="7639">
                  <c:v>53.728-53.735</c:v>
                </c:pt>
                <c:pt idx="7640">
                  <c:v>53.735-53.742</c:v>
                </c:pt>
                <c:pt idx="7641">
                  <c:v>53.742-53.749</c:v>
                </c:pt>
                <c:pt idx="7642">
                  <c:v>53.749-53.756</c:v>
                </c:pt>
                <c:pt idx="7643">
                  <c:v>53.756-53.763</c:v>
                </c:pt>
                <c:pt idx="7644">
                  <c:v>53.763-53.770</c:v>
                </c:pt>
                <c:pt idx="7645">
                  <c:v>53.770-53.777</c:v>
                </c:pt>
                <c:pt idx="7646">
                  <c:v>53.777-53.784</c:v>
                </c:pt>
                <c:pt idx="7647">
                  <c:v>53.784-53.791</c:v>
                </c:pt>
                <c:pt idx="7648">
                  <c:v>53.791-53.798</c:v>
                </c:pt>
                <c:pt idx="7649">
                  <c:v>53.798-53.805</c:v>
                </c:pt>
                <c:pt idx="7650">
                  <c:v>53.805-53.812</c:v>
                </c:pt>
                <c:pt idx="7651">
                  <c:v>53.812-53.819</c:v>
                </c:pt>
                <c:pt idx="7652">
                  <c:v>53.819-53.826</c:v>
                </c:pt>
                <c:pt idx="7653">
                  <c:v>53.826-53.833</c:v>
                </c:pt>
                <c:pt idx="7654">
                  <c:v>53.833-53.840</c:v>
                </c:pt>
                <c:pt idx="7655">
                  <c:v>53.840-53.848</c:v>
                </c:pt>
                <c:pt idx="7656">
                  <c:v>53.848-53.855</c:v>
                </c:pt>
                <c:pt idx="7657">
                  <c:v>53.855-53.862</c:v>
                </c:pt>
                <c:pt idx="7658">
                  <c:v>53.862-53.869</c:v>
                </c:pt>
                <c:pt idx="7659">
                  <c:v>53.869-53.876</c:v>
                </c:pt>
                <c:pt idx="7660">
                  <c:v>53.876-53.883</c:v>
                </c:pt>
                <c:pt idx="7661">
                  <c:v>53.883-53.890</c:v>
                </c:pt>
                <c:pt idx="7662">
                  <c:v>53.890-53.897</c:v>
                </c:pt>
                <c:pt idx="7663">
                  <c:v>53.897-53.904</c:v>
                </c:pt>
                <c:pt idx="7664">
                  <c:v>53.904-53.911</c:v>
                </c:pt>
                <c:pt idx="7665">
                  <c:v>53.911-53.918</c:v>
                </c:pt>
                <c:pt idx="7666">
                  <c:v>53.918-53.925</c:v>
                </c:pt>
                <c:pt idx="7667">
                  <c:v>53.925-53.932</c:v>
                </c:pt>
                <c:pt idx="7668">
                  <c:v>53.932-53.939</c:v>
                </c:pt>
                <c:pt idx="7669">
                  <c:v>53.939-53.946</c:v>
                </c:pt>
                <c:pt idx="7670">
                  <c:v>53.946-53.953</c:v>
                </c:pt>
                <c:pt idx="7671">
                  <c:v>53.953-53.960</c:v>
                </c:pt>
                <c:pt idx="7672">
                  <c:v>53.960-53.967</c:v>
                </c:pt>
                <c:pt idx="7673">
                  <c:v>53.967-53.974</c:v>
                </c:pt>
                <c:pt idx="7674">
                  <c:v>53.974-53.981</c:v>
                </c:pt>
                <c:pt idx="7675">
                  <c:v>53.981-53.988</c:v>
                </c:pt>
                <c:pt idx="7676">
                  <c:v>53.988-53.995</c:v>
                </c:pt>
                <c:pt idx="7677">
                  <c:v>53.995-54.002</c:v>
                </c:pt>
                <c:pt idx="7678">
                  <c:v>54.002-54.009</c:v>
                </c:pt>
                <c:pt idx="7679">
                  <c:v>54.009-54.016</c:v>
                </c:pt>
                <c:pt idx="7680">
                  <c:v>54.016-54.023</c:v>
                </c:pt>
                <c:pt idx="7681">
                  <c:v>54.023-54.030</c:v>
                </c:pt>
                <c:pt idx="7682">
                  <c:v>54.030-54.037</c:v>
                </c:pt>
                <c:pt idx="7683">
                  <c:v>54.037-54.044</c:v>
                </c:pt>
                <c:pt idx="7684">
                  <c:v>54.044-54.051</c:v>
                </c:pt>
                <c:pt idx="7685">
                  <c:v>54.051-54.058</c:v>
                </c:pt>
                <c:pt idx="7686">
                  <c:v>54.058-54.066</c:v>
                </c:pt>
                <c:pt idx="7687">
                  <c:v>54.066-54.073</c:v>
                </c:pt>
                <c:pt idx="7688">
                  <c:v>54.073-54.080</c:v>
                </c:pt>
                <c:pt idx="7689">
                  <c:v>54.080-54.087</c:v>
                </c:pt>
                <c:pt idx="7690">
                  <c:v>54.087-54.094</c:v>
                </c:pt>
                <c:pt idx="7691">
                  <c:v>54.094-54.101</c:v>
                </c:pt>
                <c:pt idx="7692">
                  <c:v>54.101-54.108</c:v>
                </c:pt>
                <c:pt idx="7693">
                  <c:v>54.108-54.115</c:v>
                </c:pt>
                <c:pt idx="7694">
                  <c:v>54.115-54.122</c:v>
                </c:pt>
                <c:pt idx="7695">
                  <c:v>54.122-54.129</c:v>
                </c:pt>
                <c:pt idx="7696">
                  <c:v>54.129-54.136</c:v>
                </c:pt>
                <c:pt idx="7697">
                  <c:v>54.136-54.143</c:v>
                </c:pt>
                <c:pt idx="7698">
                  <c:v>54.143-54.150</c:v>
                </c:pt>
                <c:pt idx="7699">
                  <c:v>54.150-54.157</c:v>
                </c:pt>
                <c:pt idx="7700">
                  <c:v>54.157-54.164</c:v>
                </c:pt>
                <c:pt idx="7701">
                  <c:v>54.164-54.171</c:v>
                </c:pt>
                <c:pt idx="7702">
                  <c:v>54.171-54.178</c:v>
                </c:pt>
                <c:pt idx="7703">
                  <c:v>54.178-54.185</c:v>
                </c:pt>
                <c:pt idx="7704">
                  <c:v>54.185-54.192</c:v>
                </c:pt>
                <c:pt idx="7705">
                  <c:v>54.192-54.199</c:v>
                </c:pt>
                <c:pt idx="7706">
                  <c:v>54.199-54.206</c:v>
                </c:pt>
                <c:pt idx="7707">
                  <c:v>54.206-54.213</c:v>
                </c:pt>
                <c:pt idx="7708">
                  <c:v>54.213-54.220</c:v>
                </c:pt>
                <c:pt idx="7709">
                  <c:v>54.220-54.227</c:v>
                </c:pt>
                <c:pt idx="7710">
                  <c:v>54.227-54.234</c:v>
                </c:pt>
                <c:pt idx="7711">
                  <c:v>54.234-54.241</c:v>
                </c:pt>
                <c:pt idx="7712">
                  <c:v>54.241-54.248</c:v>
                </c:pt>
                <c:pt idx="7713">
                  <c:v>54.248-54.255</c:v>
                </c:pt>
                <c:pt idx="7714">
                  <c:v>54.255-54.262</c:v>
                </c:pt>
                <c:pt idx="7715">
                  <c:v>54.262-54.269</c:v>
                </c:pt>
                <c:pt idx="7716">
                  <c:v>54.269-54.276</c:v>
                </c:pt>
                <c:pt idx="7717">
                  <c:v>54.276-54.284</c:v>
                </c:pt>
                <c:pt idx="7718">
                  <c:v>54.284-54.291</c:v>
                </c:pt>
                <c:pt idx="7719">
                  <c:v>54.291-54.298</c:v>
                </c:pt>
                <c:pt idx="7720">
                  <c:v>54.298-54.305</c:v>
                </c:pt>
                <c:pt idx="7721">
                  <c:v>54.305-54.312</c:v>
                </c:pt>
                <c:pt idx="7722">
                  <c:v>54.312-54.319</c:v>
                </c:pt>
                <c:pt idx="7723">
                  <c:v>54.319-54.326</c:v>
                </c:pt>
                <c:pt idx="7724">
                  <c:v>54.326-54.333</c:v>
                </c:pt>
                <c:pt idx="7725">
                  <c:v>54.333-54.340</c:v>
                </c:pt>
                <c:pt idx="7726">
                  <c:v>54.340-54.347</c:v>
                </c:pt>
                <c:pt idx="7727">
                  <c:v>54.347-54.354</c:v>
                </c:pt>
                <c:pt idx="7728">
                  <c:v>54.354-54.361</c:v>
                </c:pt>
                <c:pt idx="7729">
                  <c:v>54.361-54.368</c:v>
                </c:pt>
                <c:pt idx="7730">
                  <c:v>54.368-54.375</c:v>
                </c:pt>
                <c:pt idx="7731">
                  <c:v>54.375-54.382</c:v>
                </c:pt>
                <c:pt idx="7732">
                  <c:v>54.382-54.389</c:v>
                </c:pt>
                <c:pt idx="7733">
                  <c:v>54.389-54.396</c:v>
                </c:pt>
                <c:pt idx="7734">
                  <c:v>54.396-54.403</c:v>
                </c:pt>
                <c:pt idx="7735">
                  <c:v>54.403-54.410</c:v>
                </c:pt>
                <c:pt idx="7736">
                  <c:v>54.410-54.417</c:v>
                </c:pt>
                <c:pt idx="7737">
                  <c:v>54.417-54.424</c:v>
                </c:pt>
                <c:pt idx="7738">
                  <c:v>54.424-54.431</c:v>
                </c:pt>
                <c:pt idx="7739">
                  <c:v>54.431-54.438</c:v>
                </c:pt>
                <c:pt idx="7740">
                  <c:v>54.438-54.445</c:v>
                </c:pt>
                <c:pt idx="7741">
                  <c:v>54.445-54.452</c:v>
                </c:pt>
                <c:pt idx="7742">
                  <c:v>54.452-54.459</c:v>
                </c:pt>
                <c:pt idx="7743">
                  <c:v>54.459-54.466</c:v>
                </c:pt>
                <c:pt idx="7744">
                  <c:v>54.466-54.473</c:v>
                </c:pt>
                <c:pt idx="7745">
                  <c:v>54.473-54.480</c:v>
                </c:pt>
                <c:pt idx="7746">
                  <c:v>54.480-54.487</c:v>
                </c:pt>
                <c:pt idx="7747">
                  <c:v>54.487-54.494</c:v>
                </c:pt>
                <c:pt idx="7748">
                  <c:v>54.494-54.502</c:v>
                </c:pt>
                <c:pt idx="7749">
                  <c:v>54.502-54.509</c:v>
                </c:pt>
                <c:pt idx="7750">
                  <c:v>54.509-54.516</c:v>
                </c:pt>
                <c:pt idx="7751">
                  <c:v>54.516-54.523</c:v>
                </c:pt>
                <c:pt idx="7752">
                  <c:v>54.523-54.530</c:v>
                </c:pt>
                <c:pt idx="7753">
                  <c:v>54.530-54.537</c:v>
                </c:pt>
                <c:pt idx="7754">
                  <c:v>54.537-54.544</c:v>
                </c:pt>
                <c:pt idx="7755">
                  <c:v>54.544-54.551</c:v>
                </c:pt>
                <c:pt idx="7756">
                  <c:v>54.551-54.558</c:v>
                </c:pt>
                <c:pt idx="7757">
                  <c:v>54.558-54.565</c:v>
                </c:pt>
                <c:pt idx="7758">
                  <c:v>54.565-54.572</c:v>
                </c:pt>
                <c:pt idx="7759">
                  <c:v>54.572-54.579</c:v>
                </c:pt>
                <c:pt idx="7760">
                  <c:v>54.579-54.586</c:v>
                </c:pt>
                <c:pt idx="7761">
                  <c:v>54.586-54.593</c:v>
                </c:pt>
                <c:pt idx="7762">
                  <c:v>54.593-54.600</c:v>
                </c:pt>
                <c:pt idx="7763">
                  <c:v>54.600-54.607</c:v>
                </c:pt>
                <c:pt idx="7764">
                  <c:v>54.607-54.614</c:v>
                </c:pt>
                <c:pt idx="7765">
                  <c:v>54.614-54.621</c:v>
                </c:pt>
                <c:pt idx="7766">
                  <c:v>54.621-54.628</c:v>
                </c:pt>
                <c:pt idx="7767">
                  <c:v>54.628-54.635</c:v>
                </c:pt>
                <c:pt idx="7768">
                  <c:v>54.635-54.642</c:v>
                </c:pt>
                <c:pt idx="7769">
                  <c:v>54.642-54.649</c:v>
                </c:pt>
                <c:pt idx="7770">
                  <c:v>54.649-54.656</c:v>
                </c:pt>
                <c:pt idx="7771">
                  <c:v>54.656-54.663</c:v>
                </c:pt>
                <c:pt idx="7772">
                  <c:v>54.663-54.670</c:v>
                </c:pt>
                <c:pt idx="7773">
                  <c:v>54.670-54.677</c:v>
                </c:pt>
                <c:pt idx="7774">
                  <c:v>54.677-54.684</c:v>
                </c:pt>
                <c:pt idx="7775">
                  <c:v>54.684-54.691</c:v>
                </c:pt>
                <c:pt idx="7776">
                  <c:v>54.691-54.698</c:v>
                </c:pt>
                <c:pt idx="7777">
                  <c:v>54.698-54.705</c:v>
                </c:pt>
                <c:pt idx="7778">
                  <c:v>54.705-54.712</c:v>
                </c:pt>
                <c:pt idx="7779">
                  <c:v>54.712-54.720</c:v>
                </c:pt>
                <c:pt idx="7780">
                  <c:v>54.720-54.727</c:v>
                </c:pt>
                <c:pt idx="7781">
                  <c:v>54.727-54.734</c:v>
                </c:pt>
                <c:pt idx="7782">
                  <c:v>54.734-54.741</c:v>
                </c:pt>
                <c:pt idx="7783">
                  <c:v>54.741-54.748</c:v>
                </c:pt>
                <c:pt idx="7784">
                  <c:v>54.748-54.755</c:v>
                </c:pt>
                <c:pt idx="7785">
                  <c:v>54.755-54.762</c:v>
                </c:pt>
                <c:pt idx="7786">
                  <c:v>54.762-54.769</c:v>
                </c:pt>
                <c:pt idx="7787">
                  <c:v>54.769-54.776</c:v>
                </c:pt>
                <c:pt idx="7788">
                  <c:v>54.776-54.783</c:v>
                </c:pt>
                <c:pt idx="7789">
                  <c:v>54.783-54.790</c:v>
                </c:pt>
                <c:pt idx="7790">
                  <c:v>54.790-54.797</c:v>
                </c:pt>
                <c:pt idx="7791">
                  <c:v>54.797-54.804</c:v>
                </c:pt>
                <c:pt idx="7792">
                  <c:v>54.804-54.811</c:v>
                </c:pt>
                <c:pt idx="7793">
                  <c:v>54.811-54.818</c:v>
                </c:pt>
                <c:pt idx="7794">
                  <c:v>54.818-54.825</c:v>
                </c:pt>
                <c:pt idx="7795">
                  <c:v>54.825-54.832</c:v>
                </c:pt>
                <c:pt idx="7796">
                  <c:v>54.832-54.839</c:v>
                </c:pt>
                <c:pt idx="7797">
                  <c:v>54.839-54.846</c:v>
                </c:pt>
                <c:pt idx="7798">
                  <c:v>54.846-54.853</c:v>
                </c:pt>
                <c:pt idx="7799">
                  <c:v>54.853-54.860</c:v>
                </c:pt>
                <c:pt idx="7800">
                  <c:v>54.860-54.867</c:v>
                </c:pt>
                <c:pt idx="7801">
                  <c:v>54.867-54.874</c:v>
                </c:pt>
                <c:pt idx="7802">
                  <c:v>54.874-54.881</c:v>
                </c:pt>
                <c:pt idx="7803">
                  <c:v>54.881-54.888</c:v>
                </c:pt>
                <c:pt idx="7804">
                  <c:v>54.888-54.895</c:v>
                </c:pt>
                <c:pt idx="7805">
                  <c:v>54.895-54.902</c:v>
                </c:pt>
                <c:pt idx="7806">
                  <c:v>54.902-54.909</c:v>
                </c:pt>
                <c:pt idx="7807">
                  <c:v>54.909-54.916</c:v>
                </c:pt>
                <c:pt idx="7808">
                  <c:v>54.916-54.923</c:v>
                </c:pt>
                <c:pt idx="7809">
                  <c:v>54.923-54.930</c:v>
                </c:pt>
                <c:pt idx="7810">
                  <c:v>54.930-54.938</c:v>
                </c:pt>
                <c:pt idx="7811">
                  <c:v>54.938-54.945</c:v>
                </c:pt>
                <c:pt idx="7812">
                  <c:v>54.945-54.952</c:v>
                </c:pt>
                <c:pt idx="7813">
                  <c:v>54.952-54.959</c:v>
                </c:pt>
                <c:pt idx="7814">
                  <c:v>54.959-54.966</c:v>
                </c:pt>
                <c:pt idx="7815">
                  <c:v>54.966-54.973</c:v>
                </c:pt>
                <c:pt idx="7816">
                  <c:v>54.973-54.980</c:v>
                </c:pt>
                <c:pt idx="7817">
                  <c:v>54.980-54.987</c:v>
                </c:pt>
                <c:pt idx="7818">
                  <c:v>54.987-54.994</c:v>
                </c:pt>
                <c:pt idx="7819">
                  <c:v>54.994-55.001</c:v>
                </c:pt>
                <c:pt idx="7820">
                  <c:v>55.001-55.008</c:v>
                </c:pt>
                <c:pt idx="7821">
                  <c:v>55.008-55.015</c:v>
                </c:pt>
                <c:pt idx="7822">
                  <c:v>55.015-55.022</c:v>
                </c:pt>
                <c:pt idx="7823">
                  <c:v>55.022-55.029</c:v>
                </c:pt>
                <c:pt idx="7824">
                  <c:v>55.029-55.036</c:v>
                </c:pt>
                <c:pt idx="7825">
                  <c:v>55.036-55.043</c:v>
                </c:pt>
                <c:pt idx="7826">
                  <c:v>55.043-55.050</c:v>
                </c:pt>
                <c:pt idx="7827">
                  <c:v>55.050-55.057</c:v>
                </c:pt>
                <c:pt idx="7828">
                  <c:v>55.057-55.064</c:v>
                </c:pt>
                <c:pt idx="7829">
                  <c:v>55.064-55.071</c:v>
                </c:pt>
                <c:pt idx="7830">
                  <c:v>55.071-55.078</c:v>
                </c:pt>
                <c:pt idx="7831">
                  <c:v>55.078-55.085</c:v>
                </c:pt>
                <c:pt idx="7832">
                  <c:v>55.085-55.092</c:v>
                </c:pt>
                <c:pt idx="7833">
                  <c:v>55.092-55.099</c:v>
                </c:pt>
                <c:pt idx="7834">
                  <c:v>55.099-55.106</c:v>
                </c:pt>
                <c:pt idx="7835">
                  <c:v>55.106-55.113</c:v>
                </c:pt>
                <c:pt idx="7836">
                  <c:v>55.113-55.120</c:v>
                </c:pt>
                <c:pt idx="7837">
                  <c:v>55.120-55.127</c:v>
                </c:pt>
                <c:pt idx="7838">
                  <c:v>55.127-55.134</c:v>
                </c:pt>
                <c:pt idx="7839">
                  <c:v>55.134-55.141</c:v>
                </c:pt>
                <c:pt idx="7840">
                  <c:v>55.141-55.148</c:v>
                </c:pt>
                <c:pt idx="7841">
                  <c:v>55.148-55.156</c:v>
                </c:pt>
                <c:pt idx="7842">
                  <c:v>55.156-55.163</c:v>
                </c:pt>
                <c:pt idx="7843">
                  <c:v>55.163-55.170</c:v>
                </c:pt>
                <c:pt idx="7844">
                  <c:v>55.170-55.177</c:v>
                </c:pt>
                <c:pt idx="7845">
                  <c:v>55.177-55.184</c:v>
                </c:pt>
                <c:pt idx="7846">
                  <c:v>55.184-55.191</c:v>
                </c:pt>
                <c:pt idx="7847">
                  <c:v>55.191-55.198</c:v>
                </c:pt>
                <c:pt idx="7848">
                  <c:v>55.198-55.205</c:v>
                </c:pt>
                <c:pt idx="7849">
                  <c:v>55.205-55.212</c:v>
                </c:pt>
                <c:pt idx="7850">
                  <c:v>55.212-55.219</c:v>
                </c:pt>
                <c:pt idx="7851">
                  <c:v>55.219-55.226</c:v>
                </c:pt>
                <c:pt idx="7852">
                  <c:v>55.226-55.233</c:v>
                </c:pt>
                <c:pt idx="7853">
                  <c:v>55.233-55.240</c:v>
                </c:pt>
                <c:pt idx="7854">
                  <c:v>55.240-55.247</c:v>
                </c:pt>
                <c:pt idx="7855">
                  <c:v>55.247-55.254</c:v>
                </c:pt>
                <c:pt idx="7856">
                  <c:v>55.254-55.261</c:v>
                </c:pt>
                <c:pt idx="7857">
                  <c:v>55.261-55.268</c:v>
                </c:pt>
                <c:pt idx="7858">
                  <c:v>55.268-55.275</c:v>
                </c:pt>
                <c:pt idx="7859">
                  <c:v>55.275-55.282</c:v>
                </c:pt>
                <c:pt idx="7860">
                  <c:v>55.282-55.289</c:v>
                </c:pt>
                <c:pt idx="7861">
                  <c:v>55.289-55.296</c:v>
                </c:pt>
                <c:pt idx="7862">
                  <c:v>55.296-55.303</c:v>
                </c:pt>
                <c:pt idx="7863">
                  <c:v>55.303-55.310</c:v>
                </c:pt>
                <c:pt idx="7864">
                  <c:v>55.310-55.317</c:v>
                </c:pt>
                <c:pt idx="7865">
                  <c:v>55.317-55.324</c:v>
                </c:pt>
                <c:pt idx="7866">
                  <c:v>55.324-55.331</c:v>
                </c:pt>
                <c:pt idx="7867">
                  <c:v>55.331-55.338</c:v>
                </c:pt>
                <c:pt idx="7868">
                  <c:v>55.338-55.345</c:v>
                </c:pt>
                <c:pt idx="7869">
                  <c:v>55.345-55.352</c:v>
                </c:pt>
                <c:pt idx="7870">
                  <c:v>55.352-55.359</c:v>
                </c:pt>
                <c:pt idx="7871">
                  <c:v>55.359-55.366</c:v>
                </c:pt>
                <c:pt idx="7872">
                  <c:v>55.366-55.374</c:v>
                </c:pt>
                <c:pt idx="7873">
                  <c:v>55.374-55.381</c:v>
                </c:pt>
                <c:pt idx="7874">
                  <c:v>55.381-55.388</c:v>
                </c:pt>
                <c:pt idx="7875">
                  <c:v>55.388-55.395</c:v>
                </c:pt>
                <c:pt idx="7876">
                  <c:v>55.395-55.402</c:v>
                </c:pt>
                <c:pt idx="7877">
                  <c:v>55.402-55.409</c:v>
                </c:pt>
                <c:pt idx="7878">
                  <c:v>55.409-55.416</c:v>
                </c:pt>
                <c:pt idx="7879">
                  <c:v>55.416-55.423</c:v>
                </c:pt>
                <c:pt idx="7880">
                  <c:v>55.423-55.430</c:v>
                </c:pt>
                <c:pt idx="7881">
                  <c:v>55.430-55.437</c:v>
                </c:pt>
                <c:pt idx="7882">
                  <c:v>55.437-55.444</c:v>
                </c:pt>
                <c:pt idx="7883">
                  <c:v>55.444-55.451</c:v>
                </c:pt>
                <c:pt idx="7884">
                  <c:v>55.451-55.458</c:v>
                </c:pt>
                <c:pt idx="7885">
                  <c:v>55.458-55.465</c:v>
                </c:pt>
                <c:pt idx="7886">
                  <c:v>55.465-55.472</c:v>
                </c:pt>
                <c:pt idx="7887">
                  <c:v>55.472-55.479</c:v>
                </c:pt>
                <c:pt idx="7888">
                  <c:v>55.479-55.486</c:v>
                </c:pt>
                <c:pt idx="7889">
                  <c:v>55.486-55.493</c:v>
                </c:pt>
                <c:pt idx="7890">
                  <c:v>55.493-55.500</c:v>
                </c:pt>
                <c:pt idx="7891">
                  <c:v>55.500-55.507</c:v>
                </c:pt>
                <c:pt idx="7892">
                  <c:v>55.507-55.514</c:v>
                </c:pt>
                <c:pt idx="7893">
                  <c:v>55.514-55.521</c:v>
                </c:pt>
                <c:pt idx="7894">
                  <c:v>55.521-55.528</c:v>
                </c:pt>
                <c:pt idx="7895">
                  <c:v>55.528-55.535</c:v>
                </c:pt>
                <c:pt idx="7896">
                  <c:v>55.535-55.542</c:v>
                </c:pt>
                <c:pt idx="7897">
                  <c:v>55.542-55.549</c:v>
                </c:pt>
                <c:pt idx="7898">
                  <c:v>55.549-55.556</c:v>
                </c:pt>
                <c:pt idx="7899">
                  <c:v>55.556-55.563</c:v>
                </c:pt>
                <c:pt idx="7900">
                  <c:v>55.563-55.570</c:v>
                </c:pt>
                <c:pt idx="7901">
                  <c:v>55.570-55.577</c:v>
                </c:pt>
                <c:pt idx="7902">
                  <c:v>55.577-55.584</c:v>
                </c:pt>
                <c:pt idx="7903">
                  <c:v>55.584-55.592</c:v>
                </c:pt>
                <c:pt idx="7904">
                  <c:v>55.592-55.599</c:v>
                </c:pt>
                <c:pt idx="7905">
                  <c:v>55.599-55.606</c:v>
                </c:pt>
                <c:pt idx="7906">
                  <c:v>55.606-55.613</c:v>
                </c:pt>
                <c:pt idx="7907">
                  <c:v>55.613-55.620</c:v>
                </c:pt>
                <c:pt idx="7908">
                  <c:v>55.620-55.627</c:v>
                </c:pt>
                <c:pt idx="7909">
                  <c:v>55.627-55.634</c:v>
                </c:pt>
                <c:pt idx="7910">
                  <c:v>55.634-55.641</c:v>
                </c:pt>
                <c:pt idx="7911">
                  <c:v>55.641-55.648</c:v>
                </c:pt>
                <c:pt idx="7912">
                  <c:v>55.648-55.655</c:v>
                </c:pt>
                <c:pt idx="7913">
                  <c:v>55.655-55.662</c:v>
                </c:pt>
                <c:pt idx="7914">
                  <c:v>55.662-55.669</c:v>
                </c:pt>
                <c:pt idx="7915">
                  <c:v>55.669-55.676</c:v>
                </c:pt>
                <c:pt idx="7916">
                  <c:v>55.676-55.683</c:v>
                </c:pt>
                <c:pt idx="7917">
                  <c:v>55.683-55.690</c:v>
                </c:pt>
                <c:pt idx="7918">
                  <c:v>55.690-55.697</c:v>
                </c:pt>
                <c:pt idx="7919">
                  <c:v>55.697-55.704</c:v>
                </c:pt>
                <c:pt idx="7920">
                  <c:v>55.704-55.711</c:v>
                </c:pt>
                <c:pt idx="7921">
                  <c:v>55.711-55.718</c:v>
                </c:pt>
                <c:pt idx="7922">
                  <c:v>55.718-55.725</c:v>
                </c:pt>
                <c:pt idx="7923">
                  <c:v>55.725-55.732</c:v>
                </c:pt>
                <c:pt idx="7924">
                  <c:v>55.732-55.739</c:v>
                </c:pt>
                <c:pt idx="7925">
                  <c:v>55.739-55.746</c:v>
                </c:pt>
                <c:pt idx="7926">
                  <c:v>55.746-55.753</c:v>
                </c:pt>
                <c:pt idx="7927">
                  <c:v>55.753-55.760</c:v>
                </c:pt>
                <c:pt idx="7928">
                  <c:v>55.760-55.767</c:v>
                </c:pt>
                <c:pt idx="7929">
                  <c:v>55.767-55.774</c:v>
                </c:pt>
                <c:pt idx="7930">
                  <c:v>55.774-55.781</c:v>
                </c:pt>
                <c:pt idx="7931">
                  <c:v>55.781-55.788</c:v>
                </c:pt>
                <c:pt idx="7932">
                  <c:v>55.788-55.795</c:v>
                </c:pt>
                <c:pt idx="7933">
                  <c:v>55.795-55.802</c:v>
                </c:pt>
                <c:pt idx="7934">
                  <c:v>55.802-55.810</c:v>
                </c:pt>
                <c:pt idx="7935">
                  <c:v>55.810-55.817</c:v>
                </c:pt>
                <c:pt idx="7936">
                  <c:v>55.817-55.824</c:v>
                </c:pt>
                <c:pt idx="7937">
                  <c:v>55.824-55.831</c:v>
                </c:pt>
                <c:pt idx="7938">
                  <c:v>55.831-55.838</c:v>
                </c:pt>
                <c:pt idx="7939">
                  <c:v>55.838-55.845</c:v>
                </c:pt>
                <c:pt idx="7940">
                  <c:v>55.845-55.852</c:v>
                </c:pt>
                <c:pt idx="7941">
                  <c:v>55.852-55.859</c:v>
                </c:pt>
                <c:pt idx="7942">
                  <c:v>55.859-55.866</c:v>
                </c:pt>
                <c:pt idx="7943">
                  <c:v>55.866-55.873</c:v>
                </c:pt>
                <c:pt idx="7944">
                  <c:v>55.873-55.880</c:v>
                </c:pt>
                <c:pt idx="7945">
                  <c:v>55.880-55.887</c:v>
                </c:pt>
                <c:pt idx="7946">
                  <c:v>55.887-55.894</c:v>
                </c:pt>
                <c:pt idx="7947">
                  <c:v>55.894-55.901</c:v>
                </c:pt>
                <c:pt idx="7948">
                  <c:v>55.901-55.908</c:v>
                </c:pt>
                <c:pt idx="7949">
                  <c:v>55.908-55.915</c:v>
                </c:pt>
                <c:pt idx="7950">
                  <c:v>55.915-55.922</c:v>
                </c:pt>
                <c:pt idx="7951">
                  <c:v>55.922-55.929</c:v>
                </c:pt>
                <c:pt idx="7952">
                  <c:v>55.929-55.936</c:v>
                </c:pt>
                <c:pt idx="7953">
                  <c:v>55.936-55.943</c:v>
                </c:pt>
                <c:pt idx="7954">
                  <c:v>55.943-55.950</c:v>
                </c:pt>
                <c:pt idx="7955">
                  <c:v>55.950-55.957</c:v>
                </c:pt>
                <c:pt idx="7956">
                  <c:v>55.957-55.964</c:v>
                </c:pt>
                <c:pt idx="7957">
                  <c:v>55.964-55.971</c:v>
                </c:pt>
                <c:pt idx="7958">
                  <c:v>55.971-55.978</c:v>
                </c:pt>
                <c:pt idx="7959">
                  <c:v>55.978-55.985</c:v>
                </c:pt>
                <c:pt idx="7960">
                  <c:v>55.985-55.992</c:v>
                </c:pt>
                <c:pt idx="7961">
                  <c:v>55.992-55.999</c:v>
                </c:pt>
                <c:pt idx="7962">
                  <c:v>55.999-56.006</c:v>
                </c:pt>
                <c:pt idx="7963">
                  <c:v>56.006-56.013</c:v>
                </c:pt>
                <c:pt idx="7964">
                  <c:v>56.013-56.020</c:v>
                </c:pt>
                <c:pt idx="7965">
                  <c:v>56.020-56.028</c:v>
                </c:pt>
                <c:pt idx="7966">
                  <c:v>56.028-56.035</c:v>
                </c:pt>
                <c:pt idx="7967">
                  <c:v>56.035-56.042</c:v>
                </c:pt>
                <c:pt idx="7968">
                  <c:v>56.042-56.049</c:v>
                </c:pt>
                <c:pt idx="7969">
                  <c:v>56.049-56.056</c:v>
                </c:pt>
                <c:pt idx="7970">
                  <c:v>56.056-56.063</c:v>
                </c:pt>
                <c:pt idx="7971">
                  <c:v>56.063-56.070</c:v>
                </c:pt>
                <c:pt idx="7972">
                  <c:v>56.070-56.077</c:v>
                </c:pt>
                <c:pt idx="7973">
                  <c:v>56.077-56.084</c:v>
                </c:pt>
                <c:pt idx="7974">
                  <c:v>56.084-56.091</c:v>
                </c:pt>
                <c:pt idx="7975">
                  <c:v>56.091-56.098</c:v>
                </c:pt>
                <c:pt idx="7976">
                  <c:v>56.098-56.105</c:v>
                </c:pt>
                <c:pt idx="7977">
                  <c:v>56.105-56.112</c:v>
                </c:pt>
                <c:pt idx="7978">
                  <c:v>56.112-56.119</c:v>
                </c:pt>
                <c:pt idx="7979">
                  <c:v>56.119-56.126</c:v>
                </c:pt>
                <c:pt idx="7980">
                  <c:v>56.126-56.133</c:v>
                </c:pt>
                <c:pt idx="7981">
                  <c:v>56.133-56.140</c:v>
                </c:pt>
                <c:pt idx="7982">
                  <c:v>56.140-56.147</c:v>
                </c:pt>
                <c:pt idx="7983">
                  <c:v>56.147-56.154</c:v>
                </c:pt>
                <c:pt idx="7984">
                  <c:v>56.154-56.161</c:v>
                </c:pt>
                <c:pt idx="7985">
                  <c:v>56.161-56.168</c:v>
                </c:pt>
                <c:pt idx="7986">
                  <c:v>56.168-56.175</c:v>
                </c:pt>
                <c:pt idx="7987">
                  <c:v>56.175-56.182</c:v>
                </c:pt>
                <c:pt idx="7988">
                  <c:v>56.182-56.189</c:v>
                </c:pt>
                <c:pt idx="7989">
                  <c:v>56.189-56.196</c:v>
                </c:pt>
                <c:pt idx="7990">
                  <c:v>56.196-56.203</c:v>
                </c:pt>
                <c:pt idx="7991">
                  <c:v>56.203-56.210</c:v>
                </c:pt>
                <c:pt idx="7992">
                  <c:v>56.210-56.217</c:v>
                </c:pt>
                <c:pt idx="7993">
                  <c:v>56.217-56.224</c:v>
                </c:pt>
                <c:pt idx="7994">
                  <c:v>56.224-56.231</c:v>
                </c:pt>
                <c:pt idx="7995">
                  <c:v>56.231-56.238</c:v>
                </c:pt>
                <c:pt idx="7996">
                  <c:v>56.238-56.246</c:v>
                </c:pt>
                <c:pt idx="7997">
                  <c:v>56.246-56.253</c:v>
                </c:pt>
                <c:pt idx="7998">
                  <c:v>56.253-56.260</c:v>
                </c:pt>
                <c:pt idx="7999">
                  <c:v>56.260-56.267</c:v>
                </c:pt>
                <c:pt idx="8000">
                  <c:v>56.267-56.274</c:v>
                </c:pt>
                <c:pt idx="8001">
                  <c:v>56.274-56.281</c:v>
                </c:pt>
                <c:pt idx="8002">
                  <c:v>56.281-56.288</c:v>
                </c:pt>
                <c:pt idx="8003">
                  <c:v>56.288-56.295</c:v>
                </c:pt>
                <c:pt idx="8004">
                  <c:v>56.295-56.302</c:v>
                </c:pt>
                <c:pt idx="8005">
                  <c:v>56.302-56.309</c:v>
                </c:pt>
                <c:pt idx="8006">
                  <c:v>56.309-56.316</c:v>
                </c:pt>
                <c:pt idx="8007">
                  <c:v>56.316-56.323</c:v>
                </c:pt>
                <c:pt idx="8008">
                  <c:v>56.323-56.330</c:v>
                </c:pt>
                <c:pt idx="8009">
                  <c:v>56.330-56.337</c:v>
                </c:pt>
                <c:pt idx="8010">
                  <c:v>56.337-56.344</c:v>
                </c:pt>
                <c:pt idx="8011">
                  <c:v>56.344-56.351</c:v>
                </c:pt>
                <c:pt idx="8012">
                  <c:v>56.351-56.358</c:v>
                </c:pt>
                <c:pt idx="8013">
                  <c:v>56.358-56.365</c:v>
                </c:pt>
                <c:pt idx="8014">
                  <c:v>56.365-56.372</c:v>
                </c:pt>
                <c:pt idx="8015">
                  <c:v>56.372-56.379</c:v>
                </c:pt>
                <c:pt idx="8016">
                  <c:v>56.379-56.386</c:v>
                </c:pt>
                <c:pt idx="8017">
                  <c:v>56.386-56.393</c:v>
                </c:pt>
                <c:pt idx="8018">
                  <c:v>56.393-56.400</c:v>
                </c:pt>
                <c:pt idx="8019">
                  <c:v>56.400-56.407</c:v>
                </c:pt>
                <c:pt idx="8020">
                  <c:v>56.407-56.414</c:v>
                </c:pt>
                <c:pt idx="8021">
                  <c:v>56.414-56.421</c:v>
                </c:pt>
                <c:pt idx="8022">
                  <c:v>56.421-56.428</c:v>
                </c:pt>
                <c:pt idx="8023">
                  <c:v>56.428-56.435</c:v>
                </c:pt>
                <c:pt idx="8024">
                  <c:v>56.435-56.442</c:v>
                </c:pt>
                <c:pt idx="8025">
                  <c:v>56.442-56.449</c:v>
                </c:pt>
                <c:pt idx="8026">
                  <c:v>56.449-56.456</c:v>
                </c:pt>
                <c:pt idx="8027">
                  <c:v>56.456-56.464</c:v>
                </c:pt>
                <c:pt idx="8028">
                  <c:v>56.464-56.471</c:v>
                </c:pt>
                <c:pt idx="8029">
                  <c:v>56.471-56.478</c:v>
                </c:pt>
                <c:pt idx="8030">
                  <c:v>56.478-56.485</c:v>
                </c:pt>
                <c:pt idx="8031">
                  <c:v>56.485-56.492</c:v>
                </c:pt>
                <c:pt idx="8032">
                  <c:v>56.492-56.499</c:v>
                </c:pt>
                <c:pt idx="8033">
                  <c:v>56.499-56.506</c:v>
                </c:pt>
                <c:pt idx="8034">
                  <c:v>56.506-56.513</c:v>
                </c:pt>
                <c:pt idx="8035">
                  <c:v>56.513-56.520</c:v>
                </c:pt>
                <c:pt idx="8036">
                  <c:v>56.520-56.527</c:v>
                </c:pt>
                <c:pt idx="8037">
                  <c:v>56.527-56.534</c:v>
                </c:pt>
                <c:pt idx="8038">
                  <c:v>56.534-56.541</c:v>
                </c:pt>
                <c:pt idx="8039">
                  <c:v>56.541-56.548</c:v>
                </c:pt>
                <c:pt idx="8040">
                  <c:v>56.548-56.555</c:v>
                </c:pt>
                <c:pt idx="8041">
                  <c:v>56.555-56.562</c:v>
                </c:pt>
                <c:pt idx="8042">
                  <c:v>56.562-56.569</c:v>
                </c:pt>
                <c:pt idx="8043">
                  <c:v>56.569-56.576</c:v>
                </c:pt>
                <c:pt idx="8044">
                  <c:v>56.576-56.583</c:v>
                </c:pt>
                <c:pt idx="8045">
                  <c:v>56.583-56.590</c:v>
                </c:pt>
                <c:pt idx="8046">
                  <c:v>56.590-56.597</c:v>
                </c:pt>
                <c:pt idx="8047">
                  <c:v>56.597-56.604</c:v>
                </c:pt>
                <c:pt idx="8048">
                  <c:v>56.604-56.611</c:v>
                </c:pt>
                <c:pt idx="8049">
                  <c:v>56.611-56.618</c:v>
                </c:pt>
                <c:pt idx="8050">
                  <c:v>56.618-56.625</c:v>
                </c:pt>
                <c:pt idx="8051">
                  <c:v>56.625-56.632</c:v>
                </c:pt>
                <c:pt idx="8052">
                  <c:v>56.632-56.639</c:v>
                </c:pt>
                <c:pt idx="8053">
                  <c:v>56.639-56.646</c:v>
                </c:pt>
                <c:pt idx="8054">
                  <c:v>56.646-56.653</c:v>
                </c:pt>
                <c:pt idx="8055">
                  <c:v>56.653-56.660</c:v>
                </c:pt>
                <c:pt idx="8056">
                  <c:v>56.660-56.667</c:v>
                </c:pt>
                <c:pt idx="8057">
                  <c:v>56.667-56.674</c:v>
                </c:pt>
                <c:pt idx="8058">
                  <c:v>56.674-56.681</c:v>
                </c:pt>
                <c:pt idx="8059">
                  <c:v>56.681-56.689</c:v>
                </c:pt>
                <c:pt idx="8060">
                  <c:v>56.689-56.696</c:v>
                </c:pt>
                <c:pt idx="8061">
                  <c:v>56.696-56.703</c:v>
                </c:pt>
                <c:pt idx="8062">
                  <c:v>56.703-56.710</c:v>
                </c:pt>
                <c:pt idx="8063">
                  <c:v>56.710-56.717</c:v>
                </c:pt>
                <c:pt idx="8064">
                  <c:v>56.717-56.724</c:v>
                </c:pt>
                <c:pt idx="8065">
                  <c:v>56.724-56.731</c:v>
                </c:pt>
                <c:pt idx="8066">
                  <c:v>56.731-56.738</c:v>
                </c:pt>
                <c:pt idx="8067">
                  <c:v>56.738-56.745</c:v>
                </c:pt>
                <c:pt idx="8068">
                  <c:v>56.745-56.752</c:v>
                </c:pt>
                <c:pt idx="8069">
                  <c:v>56.752-56.759</c:v>
                </c:pt>
                <c:pt idx="8070">
                  <c:v>56.759-56.766</c:v>
                </c:pt>
                <c:pt idx="8071">
                  <c:v>56.766-56.773</c:v>
                </c:pt>
                <c:pt idx="8072">
                  <c:v>56.773-56.780</c:v>
                </c:pt>
                <c:pt idx="8073">
                  <c:v>56.780-56.787</c:v>
                </c:pt>
                <c:pt idx="8074">
                  <c:v>56.787-56.794</c:v>
                </c:pt>
                <c:pt idx="8075">
                  <c:v>56.794-56.801</c:v>
                </c:pt>
                <c:pt idx="8076">
                  <c:v>56.801-56.808</c:v>
                </c:pt>
                <c:pt idx="8077">
                  <c:v>56.808-56.815</c:v>
                </c:pt>
                <c:pt idx="8078">
                  <c:v>56.815-56.822</c:v>
                </c:pt>
                <c:pt idx="8079">
                  <c:v>56.822-56.829</c:v>
                </c:pt>
                <c:pt idx="8080">
                  <c:v>56.829-56.836</c:v>
                </c:pt>
                <c:pt idx="8081">
                  <c:v>56.836-56.843</c:v>
                </c:pt>
                <c:pt idx="8082">
                  <c:v>56.843-56.850</c:v>
                </c:pt>
                <c:pt idx="8083">
                  <c:v>56.850-56.857</c:v>
                </c:pt>
                <c:pt idx="8084">
                  <c:v>56.857-56.864</c:v>
                </c:pt>
                <c:pt idx="8085">
                  <c:v>56.864-56.871</c:v>
                </c:pt>
                <c:pt idx="8086">
                  <c:v>56.871-56.878</c:v>
                </c:pt>
                <c:pt idx="8087">
                  <c:v>56.878-56.885</c:v>
                </c:pt>
                <c:pt idx="8088">
                  <c:v>56.885-56.892</c:v>
                </c:pt>
                <c:pt idx="8089">
                  <c:v>56.892-56.899</c:v>
                </c:pt>
                <c:pt idx="8090">
                  <c:v>56.899-56.907</c:v>
                </c:pt>
                <c:pt idx="8091">
                  <c:v>56.907-56.914</c:v>
                </c:pt>
                <c:pt idx="8092">
                  <c:v>56.914-56.921</c:v>
                </c:pt>
                <c:pt idx="8093">
                  <c:v>56.921-56.928</c:v>
                </c:pt>
                <c:pt idx="8094">
                  <c:v>56.928-56.935</c:v>
                </c:pt>
                <c:pt idx="8095">
                  <c:v>56.935-56.942</c:v>
                </c:pt>
                <c:pt idx="8096">
                  <c:v>56.942-56.949</c:v>
                </c:pt>
                <c:pt idx="8097">
                  <c:v>56.949-56.956</c:v>
                </c:pt>
                <c:pt idx="8098">
                  <c:v>56.956-56.963</c:v>
                </c:pt>
                <c:pt idx="8099">
                  <c:v>56.963-56.970</c:v>
                </c:pt>
                <c:pt idx="8100">
                  <c:v>56.970-56.977</c:v>
                </c:pt>
                <c:pt idx="8101">
                  <c:v>56.977-56.984</c:v>
                </c:pt>
                <c:pt idx="8102">
                  <c:v>56.984-56.991</c:v>
                </c:pt>
                <c:pt idx="8103">
                  <c:v>56.991-56.998</c:v>
                </c:pt>
                <c:pt idx="8104">
                  <c:v>56.998-57.005</c:v>
                </c:pt>
                <c:pt idx="8105">
                  <c:v>57.005-57.012</c:v>
                </c:pt>
                <c:pt idx="8106">
                  <c:v>57.012-57.019</c:v>
                </c:pt>
                <c:pt idx="8107">
                  <c:v>57.019-57.026</c:v>
                </c:pt>
                <c:pt idx="8108">
                  <c:v>57.026-57.033</c:v>
                </c:pt>
                <c:pt idx="8109">
                  <c:v>57.033-57.040</c:v>
                </c:pt>
                <c:pt idx="8110">
                  <c:v>57.040-57.047</c:v>
                </c:pt>
                <c:pt idx="8111">
                  <c:v>57.047-57.054</c:v>
                </c:pt>
                <c:pt idx="8112">
                  <c:v>57.054-57.061</c:v>
                </c:pt>
                <c:pt idx="8113">
                  <c:v>57.061-57.068</c:v>
                </c:pt>
                <c:pt idx="8114">
                  <c:v>57.068-57.075</c:v>
                </c:pt>
                <c:pt idx="8115">
                  <c:v>57.075-57.082</c:v>
                </c:pt>
                <c:pt idx="8116">
                  <c:v>57.082-57.089</c:v>
                </c:pt>
                <c:pt idx="8117">
                  <c:v>57.089-57.096</c:v>
                </c:pt>
                <c:pt idx="8118">
                  <c:v>57.096-57.103</c:v>
                </c:pt>
                <c:pt idx="8119">
                  <c:v>57.103-57.110</c:v>
                </c:pt>
                <c:pt idx="8120">
                  <c:v>57.110-57.117</c:v>
                </c:pt>
                <c:pt idx="8121">
                  <c:v>57.117-57.125</c:v>
                </c:pt>
                <c:pt idx="8122">
                  <c:v>57.125-57.132</c:v>
                </c:pt>
                <c:pt idx="8123">
                  <c:v>57.132-57.139</c:v>
                </c:pt>
                <c:pt idx="8124">
                  <c:v>57.139-57.146</c:v>
                </c:pt>
                <c:pt idx="8125">
                  <c:v>57.146-57.153</c:v>
                </c:pt>
                <c:pt idx="8126">
                  <c:v>57.153-57.160</c:v>
                </c:pt>
                <c:pt idx="8127">
                  <c:v>57.160-57.167</c:v>
                </c:pt>
                <c:pt idx="8128">
                  <c:v>57.167-57.174</c:v>
                </c:pt>
                <c:pt idx="8129">
                  <c:v>57.174-57.181</c:v>
                </c:pt>
                <c:pt idx="8130">
                  <c:v>57.181-57.188</c:v>
                </c:pt>
                <c:pt idx="8131">
                  <c:v>57.188-57.195</c:v>
                </c:pt>
                <c:pt idx="8132">
                  <c:v>57.195-57.202</c:v>
                </c:pt>
                <c:pt idx="8133">
                  <c:v>57.202-57.209</c:v>
                </c:pt>
                <c:pt idx="8134">
                  <c:v>57.209-57.216</c:v>
                </c:pt>
                <c:pt idx="8135">
                  <c:v>57.216-57.223</c:v>
                </c:pt>
                <c:pt idx="8136">
                  <c:v>57.223-57.230</c:v>
                </c:pt>
                <c:pt idx="8137">
                  <c:v>57.230-57.237</c:v>
                </c:pt>
                <c:pt idx="8138">
                  <c:v>57.237-57.244</c:v>
                </c:pt>
                <c:pt idx="8139">
                  <c:v>57.244-57.251</c:v>
                </c:pt>
                <c:pt idx="8140">
                  <c:v>57.251-57.258</c:v>
                </c:pt>
                <c:pt idx="8141">
                  <c:v>57.258-57.265</c:v>
                </c:pt>
                <c:pt idx="8142">
                  <c:v>57.265-57.272</c:v>
                </c:pt>
                <c:pt idx="8143">
                  <c:v>57.272-57.279</c:v>
                </c:pt>
                <c:pt idx="8144">
                  <c:v>57.279-57.286</c:v>
                </c:pt>
                <c:pt idx="8145">
                  <c:v>57.286-57.293</c:v>
                </c:pt>
                <c:pt idx="8146">
                  <c:v>57.293-57.300</c:v>
                </c:pt>
                <c:pt idx="8147">
                  <c:v>57.300-57.307</c:v>
                </c:pt>
                <c:pt idx="8148">
                  <c:v>57.307-57.314</c:v>
                </c:pt>
                <c:pt idx="8149">
                  <c:v>57.314-57.321</c:v>
                </c:pt>
                <c:pt idx="8150">
                  <c:v>57.321-57.328</c:v>
                </c:pt>
                <c:pt idx="8151">
                  <c:v>57.328-57.335</c:v>
                </c:pt>
                <c:pt idx="8152">
                  <c:v>57.335-57.343</c:v>
                </c:pt>
                <c:pt idx="8153">
                  <c:v>57.343-57.350</c:v>
                </c:pt>
                <c:pt idx="8154">
                  <c:v>57.350-57.357</c:v>
                </c:pt>
                <c:pt idx="8155">
                  <c:v>57.357-57.364</c:v>
                </c:pt>
                <c:pt idx="8156">
                  <c:v>57.364-57.371</c:v>
                </c:pt>
                <c:pt idx="8157">
                  <c:v>57.371-57.378</c:v>
                </c:pt>
                <c:pt idx="8158">
                  <c:v>57.378-57.385</c:v>
                </c:pt>
                <c:pt idx="8159">
                  <c:v>57.385-57.392</c:v>
                </c:pt>
                <c:pt idx="8160">
                  <c:v>57.392-57.399</c:v>
                </c:pt>
                <c:pt idx="8161">
                  <c:v>57.399-57.406</c:v>
                </c:pt>
                <c:pt idx="8162">
                  <c:v>57.406-57.413</c:v>
                </c:pt>
                <c:pt idx="8163">
                  <c:v>57.413-57.420</c:v>
                </c:pt>
                <c:pt idx="8164">
                  <c:v>57.420-57.427</c:v>
                </c:pt>
                <c:pt idx="8165">
                  <c:v>57.427-57.434</c:v>
                </c:pt>
                <c:pt idx="8166">
                  <c:v>57.434-57.441</c:v>
                </c:pt>
                <c:pt idx="8167">
                  <c:v>57.441-57.448</c:v>
                </c:pt>
                <c:pt idx="8168">
                  <c:v>57.448-57.455</c:v>
                </c:pt>
                <c:pt idx="8169">
                  <c:v>57.455-57.462</c:v>
                </c:pt>
                <c:pt idx="8170">
                  <c:v>57.462-57.469</c:v>
                </c:pt>
                <c:pt idx="8171">
                  <c:v>57.469-57.476</c:v>
                </c:pt>
                <c:pt idx="8172">
                  <c:v>57.476-57.483</c:v>
                </c:pt>
                <c:pt idx="8173">
                  <c:v>57.483-57.490</c:v>
                </c:pt>
                <c:pt idx="8174">
                  <c:v>57.490-57.497</c:v>
                </c:pt>
                <c:pt idx="8175">
                  <c:v>57.497-57.504</c:v>
                </c:pt>
                <c:pt idx="8176">
                  <c:v>57.504-57.511</c:v>
                </c:pt>
                <c:pt idx="8177">
                  <c:v>57.511-57.518</c:v>
                </c:pt>
                <c:pt idx="8178">
                  <c:v>57.518-57.525</c:v>
                </c:pt>
                <c:pt idx="8179">
                  <c:v>57.525-57.532</c:v>
                </c:pt>
                <c:pt idx="8180">
                  <c:v>57.532-57.539</c:v>
                </c:pt>
                <c:pt idx="8181">
                  <c:v>57.539-57.546</c:v>
                </c:pt>
                <c:pt idx="8182">
                  <c:v>57.546-57.553</c:v>
                </c:pt>
                <c:pt idx="8183">
                  <c:v>57.553-57.561</c:v>
                </c:pt>
                <c:pt idx="8184">
                  <c:v>57.561-57.568</c:v>
                </c:pt>
                <c:pt idx="8185">
                  <c:v>57.568-57.575</c:v>
                </c:pt>
                <c:pt idx="8186">
                  <c:v>57.575-57.582</c:v>
                </c:pt>
                <c:pt idx="8187">
                  <c:v>57.582-57.589</c:v>
                </c:pt>
                <c:pt idx="8188">
                  <c:v>57.589-57.596</c:v>
                </c:pt>
                <c:pt idx="8189">
                  <c:v>57.596-57.603</c:v>
                </c:pt>
                <c:pt idx="8190">
                  <c:v>57.603-57.610</c:v>
                </c:pt>
                <c:pt idx="8191">
                  <c:v>57.610-57.617</c:v>
                </c:pt>
                <c:pt idx="8192">
                  <c:v>57.617-57.624</c:v>
                </c:pt>
                <c:pt idx="8193">
                  <c:v>57.624-57.631</c:v>
                </c:pt>
                <c:pt idx="8194">
                  <c:v>57.631-57.638</c:v>
                </c:pt>
                <c:pt idx="8195">
                  <c:v>57.638-57.645</c:v>
                </c:pt>
                <c:pt idx="8196">
                  <c:v>57.645-57.652</c:v>
                </c:pt>
                <c:pt idx="8197">
                  <c:v>57.652-57.659</c:v>
                </c:pt>
                <c:pt idx="8198">
                  <c:v>57.659-57.666</c:v>
                </c:pt>
                <c:pt idx="8199">
                  <c:v>57.666-57.673</c:v>
                </c:pt>
                <c:pt idx="8200">
                  <c:v>57.673-57.680</c:v>
                </c:pt>
                <c:pt idx="8201">
                  <c:v>57.680-57.687</c:v>
                </c:pt>
                <c:pt idx="8202">
                  <c:v>57.687-57.694</c:v>
                </c:pt>
                <c:pt idx="8203">
                  <c:v>57.694-57.701</c:v>
                </c:pt>
                <c:pt idx="8204">
                  <c:v>57.701-57.708</c:v>
                </c:pt>
                <c:pt idx="8205">
                  <c:v>57.708-57.715</c:v>
                </c:pt>
                <c:pt idx="8206">
                  <c:v>57.715-57.722</c:v>
                </c:pt>
                <c:pt idx="8207">
                  <c:v>57.722-57.729</c:v>
                </c:pt>
                <c:pt idx="8208">
                  <c:v>57.729-57.736</c:v>
                </c:pt>
                <c:pt idx="8209">
                  <c:v>57.736-57.743</c:v>
                </c:pt>
                <c:pt idx="8210">
                  <c:v>57.743-57.750</c:v>
                </c:pt>
                <c:pt idx="8211">
                  <c:v>57.750-57.757</c:v>
                </c:pt>
                <c:pt idx="8212">
                  <c:v>57.757-57.764</c:v>
                </c:pt>
                <c:pt idx="8213">
                  <c:v>57.764-57.771</c:v>
                </c:pt>
                <c:pt idx="8214">
                  <c:v>57.771-57.779</c:v>
                </c:pt>
                <c:pt idx="8215">
                  <c:v>57.779-57.786</c:v>
                </c:pt>
                <c:pt idx="8216">
                  <c:v>57.786-57.793</c:v>
                </c:pt>
                <c:pt idx="8217">
                  <c:v>57.793-57.800</c:v>
                </c:pt>
                <c:pt idx="8218">
                  <c:v>57.800-57.807</c:v>
                </c:pt>
                <c:pt idx="8219">
                  <c:v>57.807-57.814</c:v>
                </c:pt>
                <c:pt idx="8220">
                  <c:v>57.814-57.821</c:v>
                </c:pt>
                <c:pt idx="8221">
                  <c:v>57.821-57.828</c:v>
                </c:pt>
                <c:pt idx="8222">
                  <c:v>57.828-57.835</c:v>
                </c:pt>
                <c:pt idx="8223">
                  <c:v>57.835-57.842</c:v>
                </c:pt>
                <c:pt idx="8224">
                  <c:v>57.842-57.849</c:v>
                </c:pt>
                <c:pt idx="8225">
                  <c:v>57.849-57.856</c:v>
                </c:pt>
                <c:pt idx="8226">
                  <c:v>57.856-57.863</c:v>
                </c:pt>
                <c:pt idx="8227">
                  <c:v>57.863-57.870</c:v>
                </c:pt>
                <c:pt idx="8228">
                  <c:v>57.870-57.877</c:v>
                </c:pt>
                <c:pt idx="8229">
                  <c:v>57.877-57.884</c:v>
                </c:pt>
                <c:pt idx="8230">
                  <c:v>57.884-57.891</c:v>
                </c:pt>
                <c:pt idx="8231">
                  <c:v>57.891-57.898</c:v>
                </c:pt>
                <c:pt idx="8232">
                  <c:v>57.898-57.905</c:v>
                </c:pt>
                <c:pt idx="8233">
                  <c:v>57.905-57.912</c:v>
                </c:pt>
                <c:pt idx="8234">
                  <c:v>57.912-57.919</c:v>
                </c:pt>
                <c:pt idx="8235">
                  <c:v>57.919-57.926</c:v>
                </c:pt>
                <c:pt idx="8236">
                  <c:v>57.926-57.933</c:v>
                </c:pt>
                <c:pt idx="8237">
                  <c:v>57.933-57.940</c:v>
                </c:pt>
                <c:pt idx="8238">
                  <c:v>57.940-57.947</c:v>
                </c:pt>
                <c:pt idx="8239">
                  <c:v>57.947-57.954</c:v>
                </c:pt>
                <c:pt idx="8240">
                  <c:v>57.954-57.961</c:v>
                </c:pt>
                <c:pt idx="8241">
                  <c:v>57.961-57.968</c:v>
                </c:pt>
                <c:pt idx="8242">
                  <c:v>57.968-57.975</c:v>
                </c:pt>
                <c:pt idx="8243">
                  <c:v>57.975-57.982</c:v>
                </c:pt>
                <c:pt idx="8244">
                  <c:v>57.982-57.989</c:v>
                </c:pt>
                <c:pt idx="8245">
                  <c:v>57.989-57.997</c:v>
                </c:pt>
                <c:pt idx="8246">
                  <c:v>57.997-58.004</c:v>
                </c:pt>
                <c:pt idx="8247">
                  <c:v>58.004-58.011</c:v>
                </c:pt>
                <c:pt idx="8248">
                  <c:v>58.011-58.018</c:v>
                </c:pt>
                <c:pt idx="8249">
                  <c:v>58.018-58.025</c:v>
                </c:pt>
                <c:pt idx="8250">
                  <c:v>58.025-58.032</c:v>
                </c:pt>
                <c:pt idx="8251">
                  <c:v>58.032-58.039</c:v>
                </c:pt>
                <c:pt idx="8252">
                  <c:v>58.039-58.046</c:v>
                </c:pt>
                <c:pt idx="8253">
                  <c:v>58.046-58.053</c:v>
                </c:pt>
                <c:pt idx="8254">
                  <c:v>58.053-58.060</c:v>
                </c:pt>
                <c:pt idx="8255">
                  <c:v>58.060-58.067</c:v>
                </c:pt>
                <c:pt idx="8256">
                  <c:v>58.067-58.074</c:v>
                </c:pt>
                <c:pt idx="8257">
                  <c:v>58.074-58.081</c:v>
                </c:pt>
                <c:pt idx="8258">
                  <c:v>58.081-58.088</c:v>
                </c:pt>
                <c:pt idx="8259">
                  <c:v>58.088-58.095</c:v>
                </c:pt>
                <c:pt idx="8260">
                  <c:v>58.095-58.102</c:v>
                </c:pt>
                <c:pt idx="8261">
                  <c:v>58.102-58.109</c:v>
                </c:pt>
                <c:pt idx="8262">
                  <c:v>58.109-58.116</c:v>
                </c:pt>
                <c:pt idx="8263">
                  <c:v>58.116-58.123</c:v>
                </c:pt>
                <c:pt idx="8264">
                  <c:v>58.123-58.130</c:v>
                </c:pt>
                <c:pt idx="8265">
                  <c:v>58.130-58.137</c:v>
                </c:pt>
                <c:pt idx="8266">
                  <c:v>58.137-58.144</c:v>
                </c:pt>
                <c:pt idx="8267">
                  <c:v>58.144-58.151</c:v>
                </c:pt>
                <c:pt idx="8268">
                  <c:v>58.151-58.158</c:v>
                </c:pt>
                <c:pt idx="8269">
                  <c:v>58.158-58.165</c:v>
                </c:pt>
                <c:pt idx="8270">
                  <c:v>58.165-58.172</c:v>
                </c:pt>
                <c:pt idx="8271">
                  <c:v>58.172-58.179</c:v>
                </c:pt>
                <c:pt idx="8272">
                  <c:v>58.179-58.186</c:v>
                </c:pt>
                <c:pt idx="8273">
                  <c:v>58.186-58.193</c:v>
                </c:pt>
                <c:pt idx="8274">
                  <c:v>58.193-58.200</c:v>
                </c:pt>
                <c:pt idx="8275">
                  <c:v>58.200-58.207</c:v>
                </c:pt>
                <c:pt idx="8276">
                  <c:v>58.207-58.215</c:v>
                </c:pt>
                <c:pt idx="8277">
                  <c:v>58.215-58.222</c:v>
                </c:pt>
                <c:pt idx="8278">
                  <c:v>58.222-58.229</c:v>
                </c:pt>
                <c:pt idx="8279">
                  <c:v>58.229-58.236</c:v>
                </c:pt>
                <c:pt idx="8280">
                  <c:v>58.236-58.243</c:v>
                </c:pt>
                <c:pt idx="8281">
                  <c:v>58.243-58.250</c:v>
                </c:pt>
                <c:pt idx="8282">
                  <c:v>58.250-58.257</c:v>
                </c:pt>
                <c:pt idx="8283">
                  <c:v>58.257-58.264</c:v>
                </c:pt>
                <c:pt idx="8284">
                  <c:v>58.264-58.271</c:v>
                </c:pt>
                <c:pt idx="8285">
                  <c:v>58.271-58.278</c:v>
                </c:pt>
                <c:pt idx="8286">
                  <c:v>58.278-58.285</c:v>
                </c:pt>
                <c:pt idx="8287">
                  <c:v>58.285-58.292</c:v>
                </c:pt>
                <c:pt idx="8288">
                  <c:v>58.292-58.299</c:v>
                </c:pt>
                <c:pt idx="8289">
                  <c:v>58.299-58.306</c:v>
                </c:pt>
                <c:pt idx="8290">
                  <c:v>58.306-58.313</c:v>
                </c:pt>
                <c:pt idx="8291">
                  <c:v>58.313-58.320</c:v>
                </c:pt>
                <c:pt idx="8292">
                  <c:v>58.320-58.327</c:v>
                </c:pt>
                <c:pt idx="8293">
                  <c:v>58.327-58.334</c:v>
                </c:pt>
                <c:pt idx="8294">
                  <c:v>58.334-58.341</c:v>
                </c:pt>
                <c:pt idx="8295">
                  <c:v>58.341-58.348</c:v>
                </c:pt>
                <c:pt idx="8296">
                  <c:v>58.348-58.355</c:v>
                </c:pt>
                <c:pt idx="8297">
                  <c:v>58.355-58.362</c:v>
                </c:pt>
                <c:pt idx="8298">
                  <c:v>58.362-58.369</c:v>
                </c:pt>
                <c:pt idx="8299">
                  <c:v>58.369-58.376</c:v>
                </c:pt>
                <c:pt idx="8300">
                  <c:v>58.376-58.383</c:v>
                </c:pt>
                <c:pt idx="8301">
                  <c:v>58.383-58.390</c:v>
                </c:pt>
                <c:pt idx="8302">
                  <c:v>58.390-58.397</c:v>
                </c:pt>
                <c:pt idx="8303">
                  <c:v>58.397-58.404</c:v>
                </c:pt>
                <c:pt idx="8304">
                  <c:v>58.404-58.411</c:v>
                </c:pt>
                <c:pt idx="8305">
                  <c:v>58.411-58.418</c:v>
                </c:pt>
                <c:pt idx="8306">
                  <c:v>58.418-58.425</c:v>
                </c:pt>
                <c:pt idx="8307">
                  <c:v>58.425-58.433</c:v>
                </c:pt>
                <c:pt idx="8308">
                  <c:v>58.433-58.440</c:v>
                </c:pt>
                <c:pt idx="8309">
                  <c:v>58.440-58.447</c:v>
                </c:pt>
                <c:pt idx="8310">
                  <c:v>58.447-58.454</c:v>
                </c:pt>
                <c:pt idx="8311">
                  <c:v>58.454-58.461</c:v>
                </c:pt>
                <c:pt idx="8312">
                  <c:v>58.461-58.468</c:v>
                </c:pt>
                <c:pt idx="8313">
                  <c:v>58.468-58.475</c:v>
                </c:pt>
                <c:pt idx="8314">
                  <c:v>58.475-58.482</c:v>
                </c:pt>
                <c:pt idx="8315">
                  <c:v>58.482-58.489</c:v>
                </c:pt>
                <c:pt idx="8316">
                  <c:v>58.489-58.496</c:v>
                </c:pt>
                <c:pt idx="8317">
                  <c:v>58.496-58.503</c:v>
                </c:pt>
                <c:pt idx="8318">
                  <c:v>58.503-58.510</c:v>
                </c:pt>
                <c:pt idx="8319">
                  <c:v>58.510-58.517</c:v>
                </c:pt>
                <c:pt idx="8320">
                  <c:v>58.517-58.524</c:v>
                </c:pt>
                <c:pt idx="8321">
                  <c:v>58.524-58.531</c:v>
                </c:pt>
                <c:pt idx="8322">
                  <c:v>58.531-58.538</c:v>
                </c:pt>
                <c:pt idx="8323">
                  <c:v>58.538-58.545</c:v>
                </c:pt>
                <c:pt idx="8324">
                  <c:v>58.545-58.552</c:v>
                </c:pt>
                <c:pt idx="8325">
                  <c:v>58.552-58.559</c:v>
                </c:pt>
                <c:pt idx="8326">
                  <c:v>58.559-58.566</c:v>
                </c:pt>
                <c:pt idx="8327">
                  <c:v>58.566-58.573</c:v>
                </c:pt>
                <c:pt idx="8328">
                  <c:v>58.573-58.580</c:v>
                </c:pt>
                <c:pt idx="8329">
                  <c:v>58.580-58.587</c:v>
                </c:pt>
                <c:pt idx="8330">
                  <c:v>58.587-58.594</c:v>
                </c:pt>
                <c:pt idx="8331">
                  <c:v>58.594-58.601</c:v>
                </c:pt>
                <c:pt idx="8332">
                  <c:v>58.601-58.608</c:v>
                </c:pt>
                <c:pt idx="8333">
                  <c:v>58.608-58.615</c:v>
                </c:pt>
                <c:pt idx="8334">
                  <c:v>58.615-58.622</c:v>
                </c:pt>
                <c:pt idx="8335">
                  <c:v>58.622-58.629</c:v>
                </c:pt>
                <c:pt idx="8336">
                  <c:v>58.629-58.636</c:v>
                </c:pt>
                <c:pt idx="8337">
                  <c:v>58.636-58.643</c:v>
                </c:pt>
                <c:pt idx="8338">
                  <c:v>58.643-58.651</c:v>
                </c:pt>
                <c:pt idx="8339">
                  <c:v>58.651-58.658</c:v>
                </c:pt>
                <c:pt idx="8340">
                  <c:v>58.658-58.665</c:v>
                </c:pt>
                <c:pt idx="8341">
                  <c:v>58.665-58.672</c:v>
                </c:pt>
                <c:pt idx="8342">
                  <c:v>58.672-58.679</c:v>
                </c:pt>
                <c:pt idx="8343">
                  <c:v>58.679-58.686</c:v>
                </c:pt>
                <c:pt idx="8344">
                  <c:v>58.686-58.693</c:v>
                </c:pt>
                <c:pt idx="8345">
                  <c:v>58.693-58.700</c:v>
                </c:pt>
                <c:pt idx="8346">
                  <c:v>58.700-58.707</c:v>
                </c:pt>
                <c:pt idx="8347">
                  <c:v>58.707-58.714</c:v>
                </c:pt>
                <c:pt idx="8348">
                  <c:v>58.714-58.721</c:v>
                </c:pt>
                <c:pt idx="8349">
                  <c:v>58.721-58.728</c:v>
                </c:pt>
                <c:pt idx="8350">
                  <c:v>58.728-58.735</c:v>
                </c:pt>
                <c:pt idx="8351">
                  <c:v>58.735-58.742</c:v>
                </c:pt>
                <c:pt idx="8352">
                  <c:v>58.742-58.749</c:v>
                </c:pt>
                <c:pt idx="8353">
                  <c:v>58.749-58.756</c:v>
                </c:pt>
                <c:pt idx="8354">
                  <c:v>58.756-58.763</c:v>
                </c:pt>
                <c:pt idx="8355">
                  <c:v>58.763-58.770</c:v>
                </c:pt>
                <c:pt idx="8356">
                  <c:v>58.770-58.777</c:v>
                </c:pt>
                <c:pt idx="8357">
                  <c:v>58.777-58.784</c:v>
                </c:pt>
                <c:pt idx="8358">
                  <c:v>58.784-58.791</c:v>
                </c:pt>
                <c:pt idx="8359">
                  <c:v>58.791-58.798</c:v>
                </c:pt>
                <c:pt idx="8360">
                  <c:v>58.798-58.805</c:v>
                </c:pt>
                <c:pt idx="8361">
                  <c:v>58.805-58.812</c:v>
                </c:pt>
                <c:pt idx="8362">
                  <c:v>58.812-58.819</c:v>
                </c:pt>
                <c:pt idx="8363">
                  <c:v>58.819-58.826</c:v>
                </c:pt>
                <c:pt idx="8364">
                  <c:v>58.826-58.833</c:v>
                </c:pt>
                <c:pt idx="8365">
                  <c:v>58.833-58.840</c:v>
                </c:pt>
                <c:pt idx="8366">
                  <c:v>58.840-58.847</c:v>
                </c:pt>
                <c:pt idx="8367">
                  <c:v>58.847-58.854</c:v>
                </c:pt>
                <c:pt idx="8368">
                  <c:v>58.854-58.861</c:v>
                </c:pt>
                <c:pt idx="8369">
                  <c:v>58.861-58.869</c:v>
                </c:pt>
                <c:pt idx="8370">
                  <c:v>58.869-58.876</c:v>
                </c:pt>
                <c:pt idx="8371">
                  <c:v>58.876-58.883</c:v>
                </c:pt>
                <c:pt idx="8372">
                  <c:v>58.883-58.890</c:v>
                </c:pt>
                <c:pt idx="8373">
                  <c:v>58.890-58.897</c:v>
                </c:pt>
                <c:pt idx="8374">
                  <c:v>58.897-58.904</c:v>
                </c:pt>
                <c:pt idx="8375">
                  <c:v>58.904-58.911</c:v>
                </c:pt>
                <c:pt idx="8376">
                  <c:v>58.911-58.918</c:v>
                </c:pt>
                <c:pt idx="8377">
                  <c:v>58.918-58.925</c:v>
                </c:pt>
                <c:pt idx="8378">
                  <c:v>58.925-58.932</c:v>
                </c:pt>
                <c:pt idx="8379">
                  <c:v>58.932-58.939</c:v>
                </c:pt>
                <c:pt idx="8380">
                  <c:v>58.939-58.946</c:v>
                </c:pt>
                <c:pt idx="8381">
                  <c:v>58.946-58.953</c:v>
                </c:pt>
                <c:pt idx="8382">
                  <c:v>58.953-58.960</c:v>
                </c:pt>
                <c:pt idx="8383">
                  <c:v>58.960-58.967</c:v>
                </c:pt>
                <c:pt idx="8384">
                  <c:v>58.967-58.974</c:v>
                </c:pt>
                <c:pt idx="8385">
                  <c:v>58.974-58.981</c:v>
                </c:pt>
                <c:pt idx="8386">
                  <c:v>58.981-58.988</c:v>
                </c:pt>
                <c:pt idx="8387">
                  <c:v>58.988-58.995</c:v>
                </c:pt>
                <c:pt idx="8388">
                  <c:v>58.995-59.002</c:v>
                </c:pt>
                <c:pt idx="8389">
                  <c:v>59.002-59.009</c:v>
                </c:pt>
                <c:pt idx="8390">
                  <c:v>59.009-59.016</c:v>
                </c:pt>
                <c:pt idx="8391">
                  <c:v>59.016-59.023</c:v>
                </c:pt>
                <c:pt idx="8392">
                  <c:v>59.023-59.030</c:v>
                </c:pt>
                <c:pt idx="8393">
                  <c:v>59.030-59.037</c:v>
                </c:pt>
                <c:pt idx="8394">
                  <c:v>59.037-59.044</c:v>
                </c:pt>
                <c:pt idx="8395">
                  <c:v>59.044-59.051</c:v>
                </c:pt>
                <c:pt idx="8396">
                  <c:v>59.051-59.058</c:v>
                </c:pt>
                <c:pt idx="8397">
                  <c:v>59.058-59.065</c:v>
                </c:pt>
                <c:pt idx="8398">
                  <c:v>59.065-59.072</c:v>
                </c:pt>
                <c:pt idx="8399">
                  <c:v>59.072-59.079</c:v>
                </c:pt>
                <c:pt idx="8400">
                  <c:v>59.079-59.087</c:v>
                </c:pt>
                <c:pt idx="8401">
                  <c:v>59.087-59.094</c:v>
                </c:pt>
                <c:pt idx="8402">
                  <c:v>59.094-59.101</c:v>
                </c:pt>
                <c:pt idx="8403">
                  <c:v>59.101-59.108</c:v>
                </c:pt>
                <c:pt idx="8404">
                  <c:v>59.108-59.115</c:v>
                </c:pt>
                <c:pt idx="8405">
                  <c:v>59.115-59.122</c:v>
                </c:pt>
                <c:pt idx="8406">
                  <c:v>59.122-59.129</c:v>
                </c:pt>
                <c:pt idx="8407">
                  <c:v>59.129-59.136</c:v>
                </c:pt>
                <c:pt idx="8408">
                  <c:v>59.136-59.143</c:v>
                </c:pt>
                <c:pt idx="8409">
                  <c:v>59.143-59.150</c:v>
                </c:pt>
                <c:pt idx="8410">
                  <c:v>59.150-59.157</c:v>
                </c:pt>
                <c:pt idx="8411">
                  <c:v>59.157-59.164</c:v>
                </c:pt>
                <c:pt idx="8412">
                  <c:v>59.164-59.171</c:v>
                </c:pt>
                <c:pt idx="8413">
                  <c:v>59.171-59.178</c:v>
                </c:pt>
                <c:pt idx="8414">
                  <c:v>59.178-59.185</c:v>
                </c:pt>
                <c:pt idx="8415">
                  <c:v>59.185-59.192</c:v>
                </c:pt>
                <c:pt idx="8416">
                  <c:v>59.192-59.199</c:v>
                </c:pt>
                <c:pt idx="8417">
                  <c:v>59.199-59.206</c:v>
                </c:pt>
                <c:pt idx="8418">
                  <c:v>59.206-59.213</c:v>
                </c:pt>
                <c:pt idx="8419">
                  <c:v>59.213-59.220</c:v>
                </c:pt>
                <c:pt idx="8420">
                  <c:v>59.220-59.227</c:v>
                </c:pt>
                <c:pt idx="8421">
                  <c:v>59.227-59.234</c:v>
                </c:pt>
                <c:pt idx="8422">
                  <c:v>59.234-59.241</c:v>
                </c:pt>
                <c:pt idx="8423">
                  <c:v>59.241-59.248</c:v>
                </c:pt>
                <c:pt idx="8424">
                  <c:v>59.248-59.255</c:v>
                </c:pt>
                <c:pt idx="8425">
                  <c:v>59.255-59.262</c:v>
                </c:pt>
                <c:pt idx="8426">
                  <c:v>59.262-59.269</c:v>
                </c:pt>
                <c:pt idx="8427">
                  <c:v>59.269-59.276</c:v>
                </c:pt>
                <c:pt idx="8428">
                  <c:v>59.276-59.283</c:v>
                </c:pt>
                <c:pt idx="8429">
                  <c:v>59.283-59.290</c:v>
                </c:pt>
                <c:pt idx="8430">
                  <c:v>59.290-59.297</c:v>
                </c:pt>
                <c:pt idx="8431">
                  <c:v>59.297-59.305</c:v>
                </c:pt>
                <c:pt idx="8432">
                  <c:v>59.305-59.312</c:v>
                </c:pt>
                <c:pt idx="8433">
                  <c:v>59.312-59.319</c:v>
                </c:pt>
                <c:pt idx="8434">
                  <c:v>59.319-59.326</c:v>
                </c:pt>
                <c:pt idx="8435">
                  <c:v>59.326-59.333</c:v>
                </c:pt>
                <c:pt idx="8436">
                  <c:v>59.333-59.340</c:v>
                </c:pt>
                <c:pt idx="8437">
                  <c:v>59.340-59.347</c:v>
                </c:pt>
                <c:pt idx="8438">
                  <c:v>59.347-59.354</c:v>
                </c:pt>
                <c:pt idx="8439">
                  <c:v>59.354-59.361</c:v>
                </c:pt>
                <c:pt idx="8440">
                  <c:v>59.361-59.368</c:v>
                </c:pt>
                <c:pt idx="8441">
                  <c:v>59.368-59.375</c:v>
                </c:pt>
                <c:pt idx="8442">
                  <c:v>59.375-59.382</c:v>
                </c:pt>
                <c:pt idx="8443">
                  <c:v>59.382-59.389</c:v>
                </c:pt>
                <c:pt idx="8444">
                  <c:v>59.389-59.396</c:v>
                </c:pt>
                <c:pt idx="8445">
                  <c:v>59.396-59.403</c:v>
                </c:pt>
                <c:pt idx="8446">
                  <c:v>59.403-59.410</c:v>
                </c:pt>
                <c:pt idx="8447">
                  <c:v>59.410-59.417</c:v>
                </c:pt>
                <c:pt idx="8448">
                  <c:v>59.417-59.424</c:v>
                </c:pt>
                <c:pt idx="8449">
                  <c:v>59.424-59.431</c:v>
                </c:pt>
                <c:pt idx="8450">
                  <c:v>59.431-59.438</c:v>
                </c:pt>
                <c:pt idx="8451">
                  <c:v>59.438-59.445</c:v>
                </c:pt>
                <c:pt idx="8452">
                  <c:v>59.445-59.452</c:v>
                </c:pt>
                <c:pt idx="8453">
                  <c:v>59.452-59.459</c:v>
                </c:pt>
                <c:pt idx="8454">
                  <c:v>59.459-59.466</c:v>
                </c:pt>
                <c:pt idx="8455">
                  <c:v>59.466-59.473</c:v>
                </c:pt>
                <c:pt idx="8456">
                  <c:v>59.473-59.480</c:v>
                </c:pt>
                <c:pt idx="8457">
                  <c:v>59.480-59.487</c:v>
                </c:pt>
                <c:pt idx="8458">
                  <c:v>59.487-59.494</c:v>
                </c:pt>
                <c:pt idx="8459">
                  <c:v>59.494-59.501</c:v>
                </c:pt>
                <c:pt idx="8460">
                  <c:v>59.501-59.508</c:v>
                </c:pt>
                <c:pt idx="8461">
                  <c:v>59.508-59.515</c:v>
                </c:pt>
                <c:pt idx="8462">
                  <c:v>59.515-59.523</c:v>
                </c:pt>
                <c:pt idx="8463">
                  <c:v>59.523-59.530</c:v>
                </c:pt>
                <c:pt idx="8464">
                  <c:v>59.530-59.537</c:v>
                </c:pt>
                <c:pt idx="8465">
                  <c:v>59.537-59.544</c:v>
                </c:pt>
                <c:pt idx="8466">
                  <c:v>59.544-59.551</c:v>
                </c:pt>
                <c:pt idx="8467">
                  <c:v>59.551-59.558</c:v>
                </c:pt>
                <c:pt idx="8468">
                  <c:v>59.558-59.565</c:v>
                </c:pt>
                <c:pt idx="8469">
                  <c:v>59.565-59.572</c:v>
                </c:pt>
                <c:pt idx="8470">
                  <c:v>59.572-59.579</c:v>
                </c:pt>
                <c:pt idx="8471">
                  <c:v>59.579-59.586</c:v>
                </c:pt>
                <c:pt idx="8472">
                  <c:v>59.586-59.593</c:v>
                </c:pt>
                <c:pt idx="8473">
                  <c:v>59.593-59.600</c:v>
                </c:pt>
                <c:pt idx="8474">
                  <c:v>59.600-59.607</c:v>
                </c:pt>
                <c:pt idx="8475">
                  <c:v>59.607-59.614</c:v>
                </c:pt>
                <c:pt idx="8476">
                  <c:v>59.614-59.621</c:v>
                </c:pt>
                <c:pt idx="8477">
                  <c:v>59.621-59.628</c:v>
                </c:pt>
                <c:pt idx="8478">
                  <c:v>59.628-59.635</c:v>
                </c:pt>
                <c:pt idx="8479">
                  <c:v>59.635-59.642</c:v>
                </c:pt>
                <c:pt idx="8480">
                  <c:v>59.642-59.649</c:v>
                </c:pt>
                <c:pt idx="8481">
                  <c:v>59.649-59.656</c:v>
                </c:pt>
                <c:pt idx="8482">
                  <c:v>59.656-59.663</c:v>
                </c:pt>
                <c:pt idx="8483">
                  <c:v>59.663-59.670</c:v>
                </c:pt>
                <c:pt idx="8484">
                  <c:v>59.670-59.677</c:v>
                </c:pt>
                <c:pt idx="8485">
                  <c:v>59.677-59.684</c:v>
                </c:pt>
                <c:pt idx="8486">
                  <c:v>59.684-59.691</c:v>
                </c:pt>
                <c:pt idx="8487">
                  <c:v>59.691-59.698</c:v>
                </c:pt>
                <c:pt idx="8488">
                  <c:v>59.698-59.705</c:v>
                </c:pt>
                <c:pt idx="8489">
                  <c:v>59.705-59.712</c:v>
                </c:pt>
                <c:pt idx="8490">
                  <c:v>59.712-59.719</c:v>
                </c:pt>
                <c:pt idx="8491">
                  <c:v>59.719-59.726</c:v>
                </c:pt>
                <c:pt idx="8492">
                  <c:v>59.726-59.733</c:v>
                </c:pt>
                <c:pt idx="8493">
                  <c:v>59.733-59.741</c:v>
                </c:pt>
                <c:pt idx="8494">
                  <c:v>59.741-59.748</c:v>
                </c:pt>
                <c:pt idx="8495">
                  <c:v>59.748-59.755</c:v>
                </c:pt>
                <c:pt idx="8496">
                  <c:v>59.755-59.762</c:v>
                </c:pt>
                <c:pt idx="8497">
                  <c:v>59.762-59.769</c:v>
                </c:pt>
                <c:pt idx="8498">
                  <c:v>59.769-59.776</c:v>
                </c:pt>
                <c:pt idx="8499">
                  <c:v>59.776-59.783</c:v>
                </c:pt>
                <c:pt idx="8500">
                  <c:v>59.783-59.790</c:v>
                </c:pt>
                <c:pt idx="8501">
                  <c:v>59.790-59.797</c:v>
                </c:pt>
                <c:pt idx="8502">
                  <c:v>59.797-59.804</c:v>
                </c:pt>
                <c:pt idx="8503">
                  <c:v>59.804-59.811</c:v>
                </c:pt>
                <c:pt idx="8504">
                  <c:v>59.811-59.818</c:v>
                </c:pt>
                <c:pt idx="8505">
                  <c:v>59.818-59.825</c:v>
                </c:pt>
                <c:pt idx="8506">
                  <c:v>59.825-59.832</c:v>
                </c:pt>
                <c:pt idx="8507">
                  <c:v>59.832-59.839</c:v>
                </c:pt>
                <c:pt idx="8508">
                  <c:v>59.839-59.846</c:v>
                </c:pt>
                <c:pt idx="8509">
                  <c:v>59.846-59.853</c:v>
                </c:pt>
                <c:pt idx="8510">
                  <c:v>59.853-59.860</c:v>
                </c:pt>
                <c:pt idx="8511">
                  <c:v>59.860-59.867</c:v>
                </c:pt>
                <c:pt idx="8512">
                  <c:v>59.867-59.874</c:v>
                </c:pt>
                <c:pt idx="8513">
                  <c:v>59.874-59.881</c:v>
                </c:pt>
                <c:pt idx="8514">
                  <c:v>59.881-59.888</c:v>
                </c:pt>
                <c:pt idx="8515">
                  <c:v>59.888-59.895</c:v>
                </c:pt>
                <c:pt idx="8516">
                  <c:v>59.895-59.902</c:v>
                </c:pt>
                <c:pt idx="8517">
                  <c:v>59.902-59.909</c:v>
                </c:pt>
                <c:pt idx="8518">
                  <c:v>59.909-59.916</c:v>
                </c:pt>
                <c:pt idx="8519">
                  <c:v>59.916-59.923</c:v>
                </c:pt>
                <c:pt idx="8520">
                  <c:v>59.923-59.930</c:v>
                </c:pt>
                <c:pt idx="8521">
                  <c:v>59.930-59.937</c:v>
                </c:pt>
                <c:pt idx="8522">
                  <c:v>59.937-59.944</c:v>
                </c:pt>
                <c:pt idx="8523">
                  <c:v>59.944-59.951</c:v>
                </c:pt>
                <c:pt idx="8524">
                  <c:v>59.951-59.959</c:v>
                </c:pt>
                <c:pt idx="8525">
                  <c:v>59.959-59.966</c:v>
                </c:pt>
                <c:pt idx="8526">
                  <c:v>59.966-59.973</c:v>
                </c:pt>
                <c:pt idx="8527">
                  <c:v>59.973-59.980</c:v>
                </c:pt>
                <c:pt idx="8528">
                  <c:v>59.980-59.987</c:v>
                </c:pt>
                <c:pt idx="8529">
                  <c:v>59.987-59.994</c:v>
                </c:pt>
                <c:pt idx="8530">
                  <c:v>59.994-60.001</c:v>
                </c:pt>
                <c:pt idx="8531">
                  <c:v>60.001-60.008</c:v>
                </c:pt>
                <c:pt idx="8532">
                  <c:v>60.008-60.015</c:v>
                </c:pt>
                <c:pt idx="8533">
                  <c:v>60.015-60.022</c:v>
                </c:pt>
                <c:pt idx="8534">
                  <c:v>60.022-60.029</c:v>
                </c:pt>
                <c:pt idx="8535">
                  <c:v>60.029-60.036</c:v>
                </c:pt>
                <c:pt idx="8536">
                  <c:v>60.036-60.043</c:v>
                </c:pt>
                <c:pt idx="8537">
                  <c:v>60.043-60.050</c:v>
                </c:pt>
                <c:pt idx="8538">
                  <c:v>60.050-60.057</c:v>
                </c:pt>
                <c:pt idx="8539">
                  <c:v>60.057-60.064</c:v>
                </c:pt>
                <c:pt idx="8540">
                  <c:v>60.064-60.071</c:v>
                </c:pt>
                <c:pt idx="8541">
                  <c:v>60.071-60.078</c:v>
                </c:pt>
                <c:pt idx="8542">
                  <c:v>60.078-60.085</c:v>
                </c:pt>
                <c:pt idx="8543">
                  <c:v>60.085-60.092</c:v>
                </c:pt>
                <c:pt idx="8544">
                  <c:v>60.092-60.099</c:v>
                </c:pt>
                <c:pt idx="8545">
                  <c:v>60.099-60.106</c:v>
                </c:pt>
                <c:pt idx="8546">
                  <c:v>60.106-60.113</c:v>
                </c:pt>
                <c:pt idx="8547">
                  <c:v>60.113-60.120</c:v>
                </c:pt>
                <c:pt idx="8548">
                  <c:v>60.120-60.127</c:v>
                </c:pt>
                <c:pt idx="8549">
                  <c:v>60.127-60.134</c:v>
                </c:pt>
                <c:pt idx="8550">
                  <c:v>60.134-60.141</c:v>
                </c:pt>
                <c:pt idx="8551">
                  <c:v>60.141-60.148</c:v>
                </c:pt>
                <c:pt idx="8552">
                  <c:v>60.148-60.155</c:v>
                </c:pt>
                <c:pt idx="8553">
                  <c:v>60.155-60.162</c:v>
                </c:pt>
                <c:pt idx="8554">
                  <c:v>60.162-60.169</c:v>
                </c:pt>
                <c:pt idx="8555">
                  <c:v>60.169-60.177</c:v>
                </c:pt>
                <c:pt idx="8556">
                  <c:v>60.177-60.184</c:v>
                </c:pt>
                <c:pt idx="8557">
                  <c:v>60.184-60.191</c:v>
                </c:pt>
                <c:pt idx="8558">
                  <c:v>60.191-60.198</c:v>
                </c:pt>
                <c:pt idx="8559">
                  <c:v>60.198-60.205</c:v>
                </c:pt>
                <c:pt idx="8560">
                  <c:v>60.205-60.212</c:v>
                </c:pt>
                <c:pt idx="8561">
                  <c:v>60.212-60.219</c:v>
                </c:pt>
                <c:pt idx="8562">
                  <c:v>60.219-60.226</c:v>
                </c:pt>
                <c:pt idx="8563">
                  <c:v>60.226-60.233</c:v>
                </c:pt>
                <c:pt idx="8564">
                  <c:v>60.233-60.240</c:v>
                </c:pt>
                <c:pt idx="8565">
                  <c:v>60.240-60.247</c:v>
                </c:pt>
                <c:pt idx="8566">
                  <c:v>60.247-60.254</c:v>
                </c:pt>
                <c:pt idx="8567">
                  <c:v>60.254-60.261</c:v>
                </c:pt>
                <c:pt idx="8568">
                  <c:v>60.261-60.268</c:v>
                </c:pt>
                <c:pt idx="8569">
                  <c:v>60.268-60.275</c:v>
                </c:pt>
                <c:pt idx="8570">
                  <c:v>60.275-60.282</c:v>
                </c:pt>
                <c:pt idx="8571">
                  <c:v>60.282-60.289</c:v>
                </c:pt>
                <c:pt idx="8572">
                  <c:v>60.289-60.296</c:v>
                </c:pt>
                <c:pt idx="8573">
                  <c:v>60.296-60.303</c:v>
                </c:pt>
                <c:pt idx="8574">
                  <c:v>60.303-60.310</c:v>
                </c:pt>
                <c:pt idx="8575">
                  <c:v>60.310-60.317</c:v>
                </c:pt>
                <c:pt idx="8576">
                  <c:v>60.317-60.324</c:v>
                </c:pt>
                <c:pt idx="8577">
                  <c:v>60.324-60.331</c:v>
                </c:pt>
                <c:pt idx="8578">
                  <c:v>60.331-60.338</c:v>
                </c:pt>
                <c:pt idx="8579">
                  <c:v>60.338-60.345</c:v>
                </c:pt>
                <c:pt idx="8580">
                  <c:v>60.345-60.352</c:v>
                </c:pt>
                <c:pt idx="8581">
                  <c:v>60.352-60.359</c:v>
                </c:pt>
                <c:pt idx="8582">
                  <c:v>60.359-60.366</c:v>
                </c:pt>
                <c:pt idx="8583">
                  <c:v>60.366-60.373</c:v>
                </c:pt>
                <c:pt idx="8584">
                  <c:v>60.373-60.380</c:v>
                </c:pt>
                <c:pt idx="8585">
                  <c:v>60.380-60.387</c:v>
                </c:pt>
                <c:pt idx="8586">
                  <c:v>60.387-60.395</c:v>
                </c:pt>
                <c:pt idx="8587">
                  <c:v>60.395-60.402</c:v>
                </c:pt>
                <c:pt idx="8588">
                  <c:v>60.402-60.409</c:v>
                </c:pt>
                <c:pt idx="8589">
                  <c:v>60.409-60.416</c:v>
                </c:pt>
                <c:pt idx="8590">
                  <c:v>60.416-60.423</c:v>
                </c:pt>
                <c:pt idx="8591">
                  <c:v>60.423-60.430</c:v>
                </c:pt>
                <c:pt idx="8592">
                  <c:v>60.430-60.437</c:v>
                </c:pt>
                <c:pt idx="8593">
                  <c:v>60.437-60.444</c:v>
                </c:pt>
                <c:pt idx="8594">
                  <c:v>60.444-60.451</c:v>
                </c:pt>
                <c:pt idx="8595">
                  <c:v>60.451-60.458</c:v>
                </c:pt>
                <c:pt idx="8596">
                  <c:v>60.458-60.465</c:v>
                </c:pt>
                <c:pt idx="8597">
                  <c:v>60.465-60.472</c:v>
                </c:pt>
                <c:pt idx="8598">
                  <c:v>60.472-60.479</c:v>
                </c:pt>
                <c:pt idx="8599">
                  <c:v>60.479-60.486</c:v>
                </c:pt>
                <c:pt idx="8600">
                  <c:v>60.486-60.493</c:v>
                </c:pt>
                <c:pt idx="8601">
                  <c:v>60.493-60.500</c:v>
                </c:pt>
                <c:pt idx="8602">
                  <c:v>60.500-60.507</c:v>
                </c:pt>
                <c:pt idx="8603">
                  <c:v>60.507-60.514</c:v>
                </c:pt>
                <c:pt idx="8604">
                  <c:v>60.514-60.521</c:v>
                </c:pt>
                <c:pt idx="8605">
                  <c:v>60.521-60.528</c:v>
                </c:pt>
                <c:pt idx="8606">
                  <c:v>60.528-60.535</c:v>
                </c:pt>
                <c:pt idx="8607">
                  <c:v>60.535-60.542</c:v>
                </c:pt>
                <c:pt idx="8608">
                  <c:v>60.542-60.549</c:v>
                </c:pt>
                <c:pt idx="8609">
                  <c:v>60.549-60.556</c:v>
                </c:pt>
                <c:pt idx="8610">
                  <c:v>60.556-60.563</c:v>
                </c:pt>
                <c:pt idx="8611">
                  <c:v>60.563-60.570</c:v>
                </c:pt>
                <c:pt idx="8612">
                  <c:v>60.570-60.577</c:v>
                </c:pt>
                <c:pt idx="8613">
                  <c:v>60.577-60.584</c:v>
                </c:pt>
                <c:pt idx="8614">
                  <c:v>60.584-60.591</c:v>
                </c:pt>
                <c:pt idx="8615">
                  <c:v>60.591-60.598</c:v>
                </c:pt>
                <c:pt idx="8616">
                  <c:v>60.598-60.605</c:v>
                </c:pt>
                <c:pt idx="8617">
                  <c:v>60.605-60.612</c:v>
                </c:pt>
                <c:pt idx="8618">
                  <c:v>60.612-60.620</c:v>
                </c:pt>
                <c:pt idx="8619">
                  <c:v>60.620-60.627</c:v>
                </c:pt>
                <c:pt idx="8620">
                  <c:v>60.627-60.634</c:v>
                </c:pt>
                <c:pt idx="8621">
                  <c:v>60.634-60.641</c:v>
                </c:pt>
                <c:pt idx="8622">
                  <c:v>60.641-60.648</c:v>
                </c:pt>
                <c:pt idx="8623">
                  <c:v>60.648-60.655</c:v>
                </c:pt>
                <c:pt idx="8624">
                  <c:v>60.655-60.662</c:v>
                </c:pt>
                <c:pt idx="8625">
                  <c:v>60.662-60.669</c:v>
                </c:pt>
                <c:pt idx="8626">
                  <c:v>60.669-60.676</c:v>
                </c:pt>
                <c:pt idx="8627">
                  <c:v>60.676-60.683</c:v>
                </c:pt>
                <c:pt idx="8628">
                  <c:v>60.683-60.690</c:v>
                </c:pt>
                <c:pt idx="8629">
                  <c:v>60.690-60.697</c:v>
                </c:pt>
                <c:pt idx="8630">
                  <c:v>60.697-60.704</c:v>
                </c:pt>
                <c:pt idx="8631">
                  <c:v>60.704-60.711</c:v>
                </c:pt>
                <c:pt idx="8632">
                  <c:v>60.711-60.718</c:v>
                </c:pt>
                <c:pt idx="8633">
                  <c:v>60.718-60.725</c:v>
                </c:pt>
                <c:pt idx="8634">
                  <c:v>60.725-60.732</c:v>
                </c:pt>
                <c:pt idx="8635">
                  <c:v>60.732-60.739</c:v>
                </c:pt>
                <c:pt idx="8636">
                  <c:v>60.739-60.746</c:v>
                </c:pt>
                <c:pt idx="8637">
                  <c:v>60.746-60.753</c:v>
                </c:pt>
                <c:pt idx="8638">
                  <c:v>60.753-60.760</c:v>
                </c:pt>
                <c:pt idx="8639">
                  <c:v>60.760-60.767</c:v>
                </c:pt>
                <c:pt idx="8640">
                  <c:v>60.767-60.774</c:v>
                </c:pt>
                <c:pt idx="8641">
                  <c:v>60.774-60.781</c:v>
                </c:pt>
                <c:pt idx="8642">
                  <c:v>60.781-60.788</c:v>
                </c:pt>
                <c:pt idx="8643">
                  <c:v>60.788-60.795</c:v>
                </c:pt>
                <c:pt idx="8644">
                  <c:v>60.795-60.802</c:v>
                </c:pt>
                <c:pt idx="8645">
                  <c:v>60.802-60.809</c:v>
                </c:pt>
                <c:pt idx="8646">
                  <c:v>60.809-60.816</c:v>
                </c:pt>
                <c:pt idx="8647">
                  <c:v>60.816-60.823</c:v>
                </c:pt>
                <c:pt idx="8648">
                  <c:v>60.823-60.830</c:v>
                </c:pt>
                <c:pt idx="8649">
                  <c:v>60.830-60.838</c:v>
                </c:pt>
                <c:pt idx="8650">
                  <c:v>60.838-60.845</c:v>
                </c:pt>
                <c:pt idx="8651">
                  <c:v>60.845-60.852</c:v>
                </c:pt>
                <c:pt idx="8652">
                  <c:v>60.852-60.859</c:v>
                </c:pt>
                <c:pt idx="8653">
                  <c:v>60.859-60.866</c:v>
                </c:pt>
                <c:pt idx="8654">
                  <c:v>60.866-60.873</c:v>
                </c:pt>
                <c:pt idx="8655">
                  <c:v>60.873-60.880</c:v>
                </c:pt>
                <c:pt idx="8656">
                  <c:v>60.880-60.887</c:v>
                </c:pt>
                <c:pt idx="8657">
                  <c:v>60.887-60.894</c:v>
                </c:pt>
                <c:pt idx="8658">
                  <c:v>60.894-60.901</c:v>
                </c:pt>
                <c:pt idx="8659">
                  <c:v>60.901-60.908</c:v>
                </c:pt>
                <c:pt idx="8660">
                  <c:v>60.908-60.915</c:v>
                </c:pt>
                <c:pt idx="8661">
                  <c:v>60.915-60.922</c:v>
                </c:pt>
                <c:pt idx="8662">
                  <c:v>60.922-60.929</c:v>
                </c:pt>
                <c:pt idx="8663">
                  <c:v>60.929-60.936</c:v>
                </c:pt>
                <c:pt idx="8664">
                  <c:v>60.936-60.943</c:v>
                </c:pt>
                <c:pt idx="8665">
                  <c:v>60.943-60.950</c:v>
                </c:pt>
                <c:pt idx="8666">
                  <c:v>60.950-60.957</c:v>
                </c:pt>
                <c:pt idx="8667">
                  <c:v>60.957-60.964</c:v>
                </c:pt>
                <c:pt idx="8668">
                  <c:v>60.964-60.971</c:v>
                </c:pt>
                <c:pt idx="8669">
                  <c:v>60.971-60.978</c:v>
                </c:pt>
                <c:pt idx="8670">
                  <c:v>60.978-60.985</c:v>
                </c:pt>
                <c:pt idx="8671">
                  <c:v>60.985-60.992</c:v>
                </c:pt>
                <c:pt idx="8672">
                  <c:v>60.992-60.999</c:v>
                </c:pt>
                <c:pt idx="8673">
                  <c:v>60.999-61.006</c:v>
                </c:pt>
                <c:pt idx="8674">
                  <c:v>61.006-61.013</c:v>
                </c:pt>
                <c:pt idx="8675">
                  <c:v>61.013-61.020</c:v>
                </c:pt>
                <c:pt idx="8676">
                  <c:v>61.020-61.027</c:v>
                </c:pt>
                <c:pt idx="8677">
                  <c:v>61.027-61.034</c:v>
                </c:pt>
                <c:pt idx="8678">
                  <c:v>61.034-61.041</c:v>
                </c:pt>
                <c:pt idx="8679">
                  <c:v>61.041-61.048</c:v>
                </c:pt>
                <c:pt idx="8680">
                  <c:v>61.048-61.056</c:v>
                </c:pt>
                <c:pt idx="8681">
                  <c:v>61.056-61.063</c:v>
                </c:pt>
                <c:pt idx="8682">
                  <c:v>61.063-61.070</c:v>
                </c:pt>
                <c:pt idx="8683">
                  <c:v>61.070-61.077</c:v>
                </c:pt>
                <c:pt idx="8684">
                  <c:v>61.077-61.084</c:v>
                </c:pt>
                <c:pt idx="8685">
                  <c:v>61.084-61.091</c:v>
                </c:pt>
                <c:pt idx="8686">
                  <c:v>61.091-61.098</c:v>
                </c:pt>
                <c:pt idx="8687">
                  <c:v>61.098-61.105</c:v>
                </c:pt>
                <c:pt idx="8688">
                  <c:v>61.105-61.112</c:v>
                </c:pt>
                <c:pt idx="8689">
                  <c:v>61.112-61.119</c:v>
                </c:pt>
                <c:pt idx="8690">
                  <c:v>61.119-61.126</c:v>
                </c:pt>
                <c:pt idx="8691">
                  <c:v>61.126-61.133</c:v>
                </c:pt>
                <c:pt idx="8692">
                  <c:v>61.133-61.140</c:v>
                </c:pt>
                <c:pt idx="8693">
                  <c:v>61.140-61.147</c:v>
                </c:pt>
                <c:pt idx="8694">
                  <c:v>61.147-61.154</c:v>
                </c:pt>
                <c:pt idx="8695">
                  <c:v>61.154-61.161</c:v>
                </c:pt>
                <c:pt idx="8696">
                  <c:v>61.161-61.168</c:v>
                </c:pt>
                <c:pt idx="8697">
                  <c:v>61.168-61.175</c:v>
                </c:pt>
                <c:pt idx="8698">
                  <c:v>61.175-61.182</c:v>
                </c:pt>
                <c:pt idx="8699">
                  <c:v>61.182-61.189</c:v>
                </c:pt>
                <c:pt idx="8700">
                  <c:v>61.189-61.196</c:v>
                </c:pt>
                <c:pt idx="8701">
                  <c:v>61.196-61.203</c:v>
                </c:pt>
                <c:pt idx="8702">
                  <c:v>61.203-61.210</c:v>
                </c:pt>
                <c:pt idx="8703">
                  <c:v>61.210-61.217</c:v>
                </c:pt>
                <c:pt idx="8704">
                  <c:v>61.217-61.224</c:v>
                </c:pt>
                <c:pt idx="8705">
                  <c:v>61.224-61.231</c:v>
                </c:pt>
                <c:pt idx="8706">
                  <c:v>61.231-61.238</c:v>
                </c:pt>
                <c:pt idx="8707">
                  <c:v>61.238-61.245</c:v>
                </c:pt>
                <c:pt idx="8708">
                  <c:v>61.245-61.252</c:v>
                </c:pt>
                <c:pt idx="8709">
                  <c:v>61.252-61.259</c:v>
                </c:pt>
                <c:pt idx="8710">
                  <c:v>61.259-61.266</c:v>
                </c:pt>
                <c:pt idx="8711">
                  <c:v>61.266-61.274</c:v>
                </c:pt>
                <c:pt idx="8712">
                  <c:v>61.274-61.281</c:v>
                </c:pt>
                <c:pt idx="8713">
                  <c:v>61.281-61.288</c:v>
                </c:pt>
                <c:pt idx="8714">
                  <c:v>61.288-61.295</c:v>
                </c:pt>
                <c:pt idx="8715">
                  <c:v>61.295-61.302</c:v>
                </c:pt>
                <c:pt idx="8716">
                  <c:v>61.302-61.309</c:v>
                </c:pt>
                <c:pt idx="8717">
                  <c:v>61.309-61.316</c:v>
                </c:pt>
                <c:pt idx="8718">
                  <c:v>61.316-61.323</c:v>
                </c:pt>
                <c:pt idx="8719">
                  <c:v>61.323-61.330</c:v>
                </c:pt>
                <c:pt idx="8720">
                  <c:v>61.330-61.337</c:v>
                </c:pt>
                <c:pt idx="8721">
                  <c:v>61.337-61.344</c:v>
                </c:pt>
                <c:pt idx="8722">
                  <c:v>61.344-61.351</c:v>
                </c:pt>
                <c:pt idx="8723">
                  <c:v>61.351-61.358</c:v>
                </c:pt>
                <c:pt idx="8724">
                  <c:v>61.358-61.365</c:v>
                </c:pt>
                <c:pt idx="8725">
                  <c:v>61.365-61.372</c:v>
                </c:pt>
                <c:pt idx="8726">
                  <c:v>61.372-61.379</c:v>
                </c:pt>
                <c:pt idx="8727">
                  <c:v>61.379-61.386</c:v>
                </c:pt>
                <c:pt idx="8728">
                  <c:v>61.386-61.393</c:v>
                </c:pt>
                <c:pt idx="8729">
                  <c:v>61.393-61.400</c:v>
                </c:pt>
                <c:pt idx="8730">
                  <c:v>61.400-61.407</c:v>
                </c:pt>
                <c:pt idx="8731">
                  <c:v>61.407-61.414</c:v>
                </c:pt>
                <c:pt idx="8732">
                  <c:v>61.414-61.421</c:v>
                </c:pt>
                <c:pt idx="8733">
                  <c:v>61.421-61.428</c:v>
                </c:pt>
                <c:pt idx="8734">
                  <c:v>61.428-61.435</c:v>
                </c:pt>
                <c:pt idx="8735">
                  <c:v>61.435-61.442</c:v>
                </c:pt>
                <c:pt idx="8736">
                  <c:v>61.442-61.449</c:v>
                </c:pt>
                <c:pt idx="8737">
                  <c:v>61.449-61.456</c:v>
                </c:pt>
                <c:pt idx="8738">
                  <c:v>61.456-61.463</c:v>
                </c:pt>
                <c:pt idx="8739">
                  <c:v>61.463-61.470</c:v>
                </c:pt>
                <c:pt idx="8740">
                  <c:v>61.470-61.477</c:v>
                </c:pt>
                <c:pt idx="8741">
                  <c:v>61.477-61.484</c:v>
                </c:pt>
                <c:pt idx="8742">
                  <c:v>61.484-61.492</c:v>
                </c:pt>
                <c:pt idx="8743">
                  <c:v>61.492-61.499</c:v>
                </c:pt>
                <c:pt idx="8744">
                  <c:v>61.499-61.506</c:v>
                </c:pt>
                <c:pt idx="8745">
                  <c:v>61.506-61.513</c:v>
                </c:pt>
                <c:pt idx="8746">
                  <c:v>61.513-61.520</c:v>
                </c:pt>
                <c:pt idx="8747">
                  <c:v>61.520-61.527</c:v>
                </c:pt>
                <c:pt idx="8748">
                  <c:v>61.527-61.534</c:v>
                </c:pt>
                <c:pt idx="8749">
                  <c:v>61.534-61.541</c:v>
                </c:pt>
                <c:pt idx="8750">
                  <c:v>61.541-61.548</c:v>
                </c:pt>
                <c:pt idx="8751">
                  <c:v>61.548-61.555</c:v>
                </c:pt>
                <c:pt idx="8752">
                  <c:v>61.555-61.562</c:v>
                </c:pt>
                <c:pt idx="8753">
                  <c:v>61.562-61.569</c:v>
                </c:pt>
                <c:pt idx="8754">
                  <c:v>61.569-61.576</c:v>
                </c:pt>
                <c:pt idx="8755">
                  <c:v>61.576-61.583</c:v>
                </c:pt>
                <c:pt idx="8756">
                  <c:v>61.583-61.590</c:v>
                </c:pt>
                <c:pt idx="8757">
                  <c:v>61.590-61.597</c:v>
                </c:pt>
                <c:pt idx="8758">
                  <c:v>61.597-61.604</c:v>
                </c:pt>
                <c:pt idx="8759">
                  <c:v>61.604-61.611</c:v>
                </c:pt>
                <c:pt idx="8760">
                  <c:v>61.611-61.618</c:v>
                </c:pt>
                <c:pt idx="8761">
                  <c:v>61.618-61.625</c:v>
                </c:pt>
                <c:pt idx="8762">
                  <c:v>61.625-61.632</c:v>
                </c:pt>
                <c:pt idx="8763">
                  <c:v>61.632-61.639</c:v>
                </c:pt>
                <c:pt idx="8764">
                  <c:v>61.639-61.646</c:v>
                </c:pt>
                <c:pt idx="8765">
                  <c:v>61.646-61.653</c:v>
                </c:pt>
                <c:pt idx="8766">
                  <c:v>61.653-61.660</c:v>
                </c:pt>
                <c:pt idx="8767">
                  <c:v>61.660-61.667</c:v>
                </c:pt>
                <c:pt idx="8768">
                  <c:v>61.667-61.674</c:v>
                </c:pt>
                <c:pt idx="8769">
                  <c:v>61.674-61.681</c:v>
                </c:pt>
                <c:pt idx="8770">
                  <c:v>61.681-61.688</c:v>
                </c:pt>
                <c:pt idx="8771">
                  <c:v>61.688-61.695</c:v>
                </c:pt>
                <c:pt idx="8772">
                  <c:v>61.695-61.702</c:v>
                </c:pt>
                <c:pt idx="8773">
                  <c:v>61.702-61.710</c:v>
                </c:pt>
                <c:pt idx="8774">
                  <c:v>61.710-61.717</c:v>
                </c:pt>
                <c:pt idx="8775">
                  <c:v>61.717-61.724</c:v>
                </c:pt>
                <c:pt idx="8776">
                  <c:v>61.724-61.731</c:v>
                </c:pt>
                <c:pt idx="8777">
                  <c:v>61.731-61.738</c:v>
                </c:pt>
                <c:pt idx="8778">
                  <c:v>61.738-61.745</c:v>
                </c:pt>
                <c:pt idx="8779">
                  <c:v>61.745-61.752</c:v>
                </c:pt>
                <c:pt idx="8780">
                  <c:v>61.752-61.759</c:v>
                </c:pt>
                <c:pt idx="8781">
                  <c:v>61.759-61.766</c:v>
                </c:pt>
                <c:pt idx="8782">
                  <c:v>61.766-61.773</c:v>
                </c:pt>
                <c:pt idx="8783">
                  <c:v>61.773-61.780</c:v>
                </c:pt>
                <c:pt idx="8784">
                  <c:v>61.780-61.787</c:v>
                </c:pt>
                <c:pt idx="8785">
                  <c:v>61.787-61.794</c:v>
                </c:pt>
                <c:pt idx="8786">
                  <c:v>61.794-61.801</c:v>
                </c:pt>
                <c:pt idx="8787">
                  <c:v>61.801-61.808</c:v>
                </c:pt>
                <c:pt idx="8788">
                  <c:v>61.808-61.815</c:v>
                </c:pt>
                <c:pt idx="8789">
                  <c:v>61.815-61.822</c:v>
                </c:pt>
                <c:pt idx="8790">
                  <c:v>61.822-61.829</c:v>
                </c:pt>
                <c:pt idx="8791">
                  <c:v>61.829-61.836</c:v>
                </c:pt>
                <c:pt idx="8792">
                  <c:v>61.836-61.843</c:v>
                </c:pt>
                <c:pt idx="8793">
                  <c:v>61.843-61.850</c:v>
                </c:pt>
                <c:pt idx="8794">
                  <c:v>61.850-61.857</c:v>
                </c:pt>
                <c:pt idx="8795">
                  <c:v>61.857-61.864</c:v>
                </c:pt>
                <c:pt idx="8796">
                  <c:v>61.864-61.871</c:v>
                </c:pt>
                <c:pt idx="8797">
                  <c:v>61.871-61.878</c:v>
                </c:pt>
                <c:pt idx="8798">
                  <c:v>61.878-61.885</c:v>
                </c:pt>
                <c:pt idx="8799">
                  <c:v>61.885-61.892</c:v>
                </c:pt>
                <c:pt idx="8800">
                  <c:v>61.892-61.899</c:v>
                </c:pt>
                <c:pt idx="8801">
                  <c:v>61.899-61.906</c:v>
                </c:pt>
                <c:pt idx="8802">
                  <c:v>61.906-61.913</c:v>
                </c:pt>
                <c:pt idx="8803">
                  <c:v>61.913-61.920</c:v>
                </c:pt>
                <c:pt idx="8804">
                  <c:v>61.920-61.928</c:v>
                </c:pt>
                <c:pt idx="8805">
                  <c:v>61.928-61.935</c:v>
                </c:pt>
                <c:pt idx="8806">
                  <c:v>61.935-61.942</c:v>
                </c:pt>
                <c:pt idx="8807">
                  <c:v>61.942-61.949</c:v>
                </c:pt>
                <c:pt idx="8808">
                  <c:v>61.949-61.956</c:v>
                </c:pt>
                <c:pt idx="8809">
                  <c:v>61.956-61.963</c:v>
                </c:pt>
                <c:pt idx="8810">
                  <c:v>61.963-61.970</c:v>
                </c:pt>
                <c:pt idx="8811">
                  <c:v>61.970-61.977</c:v>
                </c:pt>
                <c:pt idx="8812">
                  <c:v>61.977-61.984</c:v>
                </c:pt>
                <c:pt idx="8813">
                  <c:v>61.984-61.991</c:v>
                </c:pt>
                <c:pt idx="8814">
                  <c:v>61.991-61.998</c:v>
                </c:pt>
                <c:pt idx="8815">
                  <c:v>61.998-62.005</c:v>
                </c:pt>
                <c:pt idx="8816">
                  <c:v>62.005-62.012</c:v>
                </c:pt>
                <c:pt idx="8817">
                  <c:v>62.012-62.019</c:v>
                </c:pt>
                <c:pt idx="8818">
                  <c:v>62.019-62.026</c:v>
                </c:pt>
                <c:pt idx="8819">
                  <c:v>62.026-62.033</c:v>
                </c:pt>
                <c:pt idx="8820">
                  <c:v>62.033-62.040</c:v>
                </c:pt>
                <c:pt idx="8821">
                  <c:v>62.040-62.047</c:v>
                </c:pt>
                <c:pt idx="8822">
                  <c:v>62.047-62.054</c:v>
                </c:pt>
                <c:pt idx="8823">
                  <c:v>62.054-62.061</c:v>
                </c:pt>
                <c:pt idx="8824">
                  <c:v>62.061-62.068</c:v>
                </c:pt>
                <c:pt idx="8825">
                  <c:v>62.068-62.075</c:v>
                </c:pt>
                <c:pt idx="8826">
                  <c:v>62.075-62.082</c:v>
                </c:pt>
                <c:pt idx="8827">
                  <c:v>62.082-62.089</c:v>
                </c:pt>
                <c:pt idx="8828">
                  <c:v>62.089-62.096</c:v>
                </c:pt>
                <c:pt idx="8829">
                  <c:v>62.096-62.103</c:v>
                </c:pt>
                <c:pt idx="8830">
                  <c:v>62.103-62.110</c:v>
                </c:pt>
                <c:pt idx="8831">
                  <c:v>62.110-62.117</c:v>
                </c:pt>
                <c:pt idx="8832">
                  <c:v>62.117-62.124</c:v>
                </c:pt>
                <c:pt idx="8833">
                  <c:v>62.124-62.131</c:v>
                </c:pt>
                <c:pt idx="8834">
                  <c:v>62.131-62.138</c:v>
                </c:pt>
                <c:pt idx="8835">
                  <c:v>62.138-62.146</c:v>
                </c:pt>
                <c:pt idx="8836">
                  <c:v>62.146-62.153</c:v>
                </c:pt>
                <c:pt idx="8837">
                  <c:v>62.153-62.160</c:v>
                </c:pt>
                <c:pt idx="8838">
                  <c:v>62.160-62.167</c:v>
                </c:pt>
                <c:pt idx="8839">
                  <c:v>62.167-62.174</c:v>
                </c:pt>
                <c:pt idx="8840">
                  <c:v>62.174-62.181</c:v>
                </c:pt>
                <c:pt idx="8841">
                  <c:v>62.181-62.188</c:v>
                </c:pt>
                <c:pt idx="8842">
                  <c:v>62.188-62.195</c:v>
                </c:pt>
                <c:pt idx="8843">
                  <c:v>62.195-62.202</c:v>
                </c:pt>
                <c:pt idx="8844">
                  <c:v>62.202-62.209</c:v>
                </c:pt>
                <c:pt idx="8845">
                  <c:v>62.209-62.216</c:v>
                </c:pt>
                <c:pt idx="8846">
                  <c:v>62.216-62.223</c:v>
                </c:pt>
                <c:pt idx="8847">
                  <c:v>62.223-62.230</c:v>
                </c:pt>
                <c:pt idx="8848">
                  <c:v>62.230-62.237</c:v>
                </c:pt>
                <c:pt idx="8849">
                  <c:v>62.237-62.244</c:v>
                </c:pt>
                <c:pt idx="8850">
                  <c:v>62.244-62.251</c:v>
                </c:pt>
                <c:pt idx="8851">
                  <c:v>62.251-62.258</c:v>
                </c:pt>
                <c:pt idx="8852">
                  <c:v>62.258-62.265</c:v>
                </c:pt>
                <c:pt idx="8853">
                  <c:v>62.265-62.272</c:v>
                </c:pt>
                <c:pt idx="8854">
                  <c:v>62.272-62.279</c:v>
                </c:pt>
                <c:pt idx="8855">
                  <c:v>62.279-62.286</c:v>
                </c:pt>
                <c:pt idx="8856">
                  <c:v>62.286-62.293</c:v>
                </c:pt>
                <c:pt idx="8857">
                  <c:v>62.293-62.300</c:v>
                </c:pt>
                <c:pt idx="8858">
                  <c:v>62.300-62.307</c:v>
                </c:pt>
                <c:pt idx="8859">
                  <c:v>62.307-62.314</c:v>
                </c:pt>
                <c:pt idx="8860">
                  <c:v>62.314-62.321</c:v>
                </c:pt>
                <c:pt idx="8861">
                  <c:v>62.321-62.328</c:v>
                </c:pt>
                <c:pt idx="8862">
                  <c:v>62.328-62.335</c:v>
                </c:pt>
                <c:pt idx="8863">
                  <c:v>62.335-62.342</c:v>
                </c:pt>
                <c:pt idx="8864">
                  <c:v>62.342-62.349</c:v>
                </c:pt>
                <c:pt idx="8865">
                  <c:v>62.349-62.356</c:v>
                </c:pt>
                <c:pt idx="8866">
                  <c:v>62.356-62.364</c:v>
                </c:pt>
                <c:pt idx="8867">
                  <c:v>62.364-62.371</c:v>
                </c:pt>
                <c:pt idx="8868">
                  <c:v>62.371-62.378</c:v>
                </c:pt>
                <c:pt idx="8869">
                  <c:v>62.378-62.385</c:v>
                </c:pt>
                <c:pt idx="8870">
                  <c:v>62.385-62.392</c:v>
                </c:pt>
                <c:pt idx="8871">
                  <c:v>62.392-62.399</c:v>
                </c:pt>
                <c:pt idx="8872">
                  <c:v>62.399-62.406</c:v>
                </c:pt>
                <c:pt idx="8873">
                  <c:v>62.406-62.413</c:v>
                </c:pt>
                <c:pt idx="8874">
                  <c:v>62.413-62.420</c:v>
                </c:pt>
                <c:pt idx="8875">
                  <c:v>62.420-62.427</c:v>
                </c:pt>
                <c:pt idx="8876">
                  <c:v>62.427-62.434</c:v>
                </c:pt>
                <c:pt idx="8877">
                  <c:v>62.434-62.441</c:v>
                </c:pt>
                <c:pt idx="8878">
                  <c:v>62.441-62.448</c:v>
                </c:pt>
                <c:pt idx="8879">
                  <c:v>62.448-62.455</c:v>
                </c:pt>
                <c:pt idx="8880">
                  <c:v>62.455-62.462</c:v>
                </c:pt>
                <c:pt idx="8881">
                  <c:v>62.462-62.469</c:v>
                </c:pt>
                <c:pt idx="8882">
                  <c:v>62.469-62.476</c:v>
                </c:pt>
                <c:pt idx="8883">
                  <c:v>62.476-62.483</c:v>
                </c:pt>
                <c:pt idx="8884">
                  <c:v>62.483-62.490</c:v>
                </c:pt>
                <c:pt idx="8885">
                  <c:v>62.490-62.497</c:v>
                </c:pt>
                <c:pt idx="8886">
                  <c:v>62.497-62.504</c:v>
                </c:pt>
                <c:pt idx="8887">
                  <c:v>62.504-62.511</c:v>
                </c:pt>
                <c:pt idx="8888">
                  <c:v>62.511-62.518</c:v>
                </c:pt>
                <c:pt idx="8889">
                  <c:v>62.518-62.525</c:v>
                </c:pt>
                <c:pt idx="8890">
                  <c:v>62.525-62.532</c:v>
                </c:pt>
                <c:pt idx="8891">
                  <c:v>62.532-62.539</c:v>
                </c:pt>
                <c:pt idx="8892">
                  <c:v>62.539-62.546</c:v>
                </c:pt>
                <c:pt idx="8893">
                  <c:v>62.546-62.553</c:v>
                </c:pt>
                <c:pt idx="8894">
                  <c:v>62.553-62.560</c:v>
                </c:pt>
                <c:pt idx="8895">
                  <c:v>62.560-62.567</c:v>
                </c:pt>
                <c:pt idx="8896">
                  <c:v>62.567-62.574</c:v>
                </c:pt>
                <c:pt idx="8897">
                  <c:v>62.574-62.582</c:v>
                </c:pt>
                <c:pt idx="8898">
                  <c:v>62.582-62.589</c:v>
                </c:pt>
                <c:pt idx="8899">
                  <c:v>62.589-62.596</c:v>
                </c:pt>
                <c:pt idx="8900">
                  <c:v>62.596-62.603</c:v>
                </c:pt>
                <c:pt idx="8901">
                  <c:v>62.603-62.610</c:v>
                </c:pt>
                <c:pt idx="8902">
                  <c:v>62.610-62.617</c:v>
                </c:pt>
                <c:pt idx="8903">
                  <c:v>62.617-62.624</c:v>
                </c:pt>
                <c:pt idx="8904">
                  <c:v>62.624-62.631</c:v>
                </c:pt>
                <c:pt idx="8905">
                  <c:v>62.631-62.638</c:v>
                </c:pt>
                <c:pt idx="8906">
                  <c:v>62.638-62.645</c:v>
                </c:pt>
                <c:pt idx="8907">
                  <c:v>62.645-62.652</c:v>
                </c:pt>
                <c:pt idx="8908">
                  <c:v>62.652-62.659</c:v>
                </c:pt>
                <c:pt idx="8909">
                  <c:v>62.659-62.666</c:v>
                </c:pt>
                <c:pt idx="8910">
                  <c:v>62.666-62.673</c:v>
                </c:pt>
                <c:pt idx="8911">
                  <c:v>62.673-62.680</c:v>
                </c:pt>
                <c:pt idx="8912">
                  <c:v>62.680-62.687</c:v>
                </c:pt>
                <c:pt idx="8913">
                  <c:v>62.687-62.694</c:v>
                </c:pt>
                <c:pt idx="8914">
                  <c:v>62.694-62.701</c:v>
                </c:pt>
                <c:pt idx="8915">
                  <c:v>62.701-62.708</c:v>
                </c:pt>
                <c:pt idx="8916">
                  <c:v>62.708-62.715</c:v>
                </c:pt>
                <c:pt idx="8917">
                  <c:v>62.715-62.722</c:v>
                </c:pt>
                <c:pt idx="8918">
                  <c:v>62.722-62.729</c:v>
                </c:pt>
                <c:pt idx="8919">
                  <c:v>62.729-62.736</c:v>
                </c:pt>
                <c:pt idx="8920">
                  <c:v>62.736-62.743</c:v>
                </c:pt>
                <c:pt idx="8921">
                  <c:v>62.743-62.750</c:v>
                </c:pt>
                <c:pt idx="8922">
                  <c:v>62.750-62.757</c:v>
                </c:pt>
                <c:pt idx="8923">
                  <c:v>62.757-62.764</c:v>
                </c:pt>
                <c:pt idx="8924">
                  <c:v>62.764-62.771</c:v>
                </c:pt>
                <c:pt idx="8925">
                  <c:v>62.771-62.778</c:v>
                </c:pt>
                <c:pt idx="8926">
                  <c:v>62.778-62.785</c:v>
                </c:pt>
                <c:pt idx="8927">
                  <c:v>62.785-62.792</c:v>
                </c:pt>
                <c:pt idx="8928">
                  <c:v>62.792-62.800</c:v>
                </c:pt>
                <c:pt idx="8929">
                  <c:v>62.800-62.807</c:v>
                </c:pt>
                <c:pt idx="8930">
                  <c:v>62.807-62.814</c:v>
                </c:pt>
                <c:pt idx="8931">
                  <c:v>62.814-62.821</c:v>
                </c:pt>
                <c:pt idx="8932">
                  <c:v>62.821-62.828</c:v>
                </c:pt>
                <c:pt idx="8933">
                  <c:v>62.828-62.835</c:v>
                </c:pt>
                <c:pt idx="8934">
                  <c:v>62.835-62.842</c:v>
                </c:pt>
                <c:pt idx="8935">
                  <c:v>62.842-62.849</c:v>
                </c:pt>
                <c:pt idx="8936">
                  <c:v>62.849-62.856</c:v>
                </c:pt>
                <c:pt idx="8937">
                  <c:v>62.856-62.863</c:v>
                </c:pt>
                <c:pt idx="8938">
                  <c:v>62.863-62.870</c:v>
                </c:pt>
                <c:pt idx="8939">
                  <c:v>62.870-62.877</c:v>
                </c:pt>
                <c:pt idx="8940">
                  <c:v>62.877-62.884</c:v>
                </c:pt>
                <c:pt idx="8941">
                  <c:v>62.884-62.891</c:v>
                </c:pt>
                <c:pt idx="8942">
                  <c:v>62.891-62.898</c:v>
                </c:pt>
                <c:pt idx="8943">
                  <c:v>62.898-62.905</c:v>
                </c:pt>
                <c:pt idx="8944">
                  <c:v>62.905-62.912</c:v>
                </c:pt>
                <c:pt idx="8945">
                  <c:v>62.912-62.919</c:v>
                </c:pt>
                <c:pt idx="8946">
                  <c:v>62.919-62.926</c:v>
                </c:pt>
                <c:pt idx="8947">
                  <c:v>62.926-62.933</c:v>
                </c:pt>
                <c:pt idx="8948">
                  <c:v>62.933-62.940</c:v>
                </c:pt>
                <c:pt idx="8949">
                  <c:v>62.940-62.947</c:v>
                </c:pt>
                <c:pt idx="8950">
                  <c:v>62.947-62.954</c:v>
                </c:pt>
                <c:pt idx="8951">
                  <c:v>62.954-62.961</c:v>
                </c:pt>
                <c:pt idx="8952">
                  <c:v>62.961-62.968</c:v>
                </c:pt>
                <c:pt idx="8953">
                  <c:v>62.968-62.975</c:v>
                </c:pt>
                <c:pt idx="8954">
                  <c:v>62.975-62.982</c:v>
                </c:pt>
                <c:pt idx="8955">
                  <c:v>62.982-62.989</c:v>
                </c:pt>
                <c:pt idx="8956">
                  <c:v>62.989-62.996</c:v>
                </c:pt>
                <c:pt idx="8957">
                  <c:v>62.996-63.003</c:v>
                </c:pt>
                <c:pt idx="8958">
                  <c:v>63.003-63.010</c:v>
                </c:pt>
                <c:pt idx="8959">
                  <c:v>63.010-63.018</c:v>
                </c:pt>
                <c:pt idx="8960">
                  <c:v>63.018-63.025</c:v>
                </c:pt>
                <c:pt idx="8961">
                  <c:v>63.025-63.032</c:v>
                </c:pt>
                <c:pt idx="8962">
                  <c:v>63.032-63.039</c:v>
                </c:pt>
                <c:pt idx="8963">
                  <c:v>63.039-63.046</c:v>
                </c:pt>
                <c:pt idx="8964">
                  <c:v>63.046-63.053</c:v>
                </c:pt>
                <c:pt idx="8965">
                  <c:v>63.053-63.060</c:v>
                </c:pt>
                <c:pt idx="8966">
                  <c:v>63.060-63.067</c:v>
                </c:pt>
                <c:pt idx="8967">
                  <c:v>63.067-63.074</c:v>
                </c:pt>
                <c:pt idx="8968">
                  <c:v>63.074-63.081</c:v>
                </c:pt>
                <c:pt idx="8969">
                  <c:v>63.081-63.088</c:v>
                </c:pt>
                <c:pt idx="8970">
                  <c:v>63.088-63.095</c:v>
                </c:pt>
                <c:pt idx="8971">
                  <c:v>63.095-63.102</c:v>
                </c:pt>
                <c:pt idx="8972">
                  <c:v>63.102-63.109</c:v>
                </c:pt>
                <c:pt idx="8973">
                  <c:v>63.109-63.116</c:v>
                </c:pt>
                <c:pt idx="8974">
                  <c:v>63.116-63.123</c:v>
                </c:pt>
                <c:pt idx="8975">
                  <c:v>63.123-63.130</c:v>
                </c:pt>
                <c:pt idx="8976">
                  <c:v>63.130-63.137</c:v>
                </c:pt>
                <c:pt idx="8977">
                  <c:v>63.137-63.144</c:v>
                </c:pt>
                <c:pt idx="8978">
                  <c:v>63.144-63.151</c:v>
                </c:pt>
                <c:pt idx="8979">
                  <c:v>63.151-63.158</c:v>
                </c:pt>
                <c:pt idx="8980">
                  <c:v>63.158-63.165</c:v>
                </c:pt>
                <c:pt idx="8981">
                  <c:v>63.165-63.172</c:v>
                </c:pt>
                <c:pt idx="8982">
                  <c:v>63.172-63.179</c:v>
                </c:pt>
                <c:pt idx="8983">
                  <c:v>63.179-63.186</c:v>
                </c:pt>
                <c:pt idx="8984">
                  <c:v>63.186-63.193</c:v>
                </c:pt>
                <c:pt idx="8985">
                  <c:v>63.193-63.200</c:v>
                </c:pt>
                <c:pt idx="8986">
                  <c:v>63.200-63.207</c:v>
                </c:pt>
                <c:pt idx="8987">
                  <c:v>63.207-63.214</c:v>
                </c:pt>
                <c:pt idx="8988">
                  <c:v>63.214-63.221</c:v>
                </c:pt>
                <c:pt idx="8989">
                  <c:v>63.221-63.228</c:v>
                </c:pt>
                <c:pt idx="8990">
                  <c:v>63.228-63.236</c:v>
                </c:pt>
                <c:pt idx="8991">
                  <c:v>63.236-63.243</c:v>
                </c:pt>
                <c:pt idx="8992">
                  <c:v>63.243-63.250</c:v>
                </c:pt>
                <c:pt idx="8993">
                  <c:v>63.250-63.257</c:v>
                </c:pt>
                <c:pt idx="8994">
                  <c:v>63.257-63.264</c:v>
                </c:pt>
                <c:pt idx="8995">
                  <c:v>63.264-63.271</c:v>
                </c:pt>
                <c:pt idx="8996">
                  <c:v>63.271-63.278</c:v>
                </c:pt>
                <c:pt idx="8997">
                  <c:v>63.278-63.285</c:v>
                </c:pt>
                <c:pt idx="8998">
                  <c:v>63.285-63.292</c:v>
                </c:pt>
                <c:pt idx="8999">
                  <c:v>63.292-63.299</c:v>
                </c:pt>
                <c:pt idx="9000">
                  <c:v>63.299-63.306</c:v>
                </c:pt>
                <c:pt idx="9001">
                  <c:v>63.306-63.313</c:v>
                </c:pt>
                <c:pt idx="9002">
                  <c:v>63.313-63.320</c:v>
                </c:pt>
                <c:pt idx="9003">
                  <c:v>63.320-63.327</c:v>
                </c:pt>
                <c:pt idx="9004">
                  <c:v>63.327-63.334</c:v>
                </c:pt>
                <c:pt idx="9005">
                  <c:v>63.334-63.341</c:v>
                </c:pt>
                <c:pt idx="9006">
                  <c:v>63.341-63.348</c:v>
                </c:pt>
                <c:pt idx="9007">
                  <c:v>63.348-63.355</c:v>
                </c:pt>
                <c:pt idx="9008">
                  <c:v>63.355-63.362</c:v>
                </c:pt>
                <c:pt idx="9009">
                  <c:v>63.362-63.369</c:v>
                </c:pt>
                <c:pt idx="9010">
                  <c:v>63.369-63.376</c:v>
                </c:pt>
                <c:pt idx="9011">
                  <c:v>63.376-63.383</c:v>
                </c:pt>
                <c:pt idx="9012">
                  <c:v>63.383-63.390</c:v>
                </c:pt>
                <c:pt idx="9013">
                  <c:v>63.390-63.397</c:v>
                </c:pt>
                <c:pt idx="9014">
                  <c:v>63.397-63.404</c:v>
                </c:pt>
                <c:pt idx="9015">
                  <c:v>63.404-63.411</c:v>
                </c:pt>
                <c:pt idx="9016">
                  <c:v>63.411-63.418</c:v>
                </c:pt>
                <c:pt idx="9017">
                  <c:v>63.418-63.425</c:v>
                </c:pt>
                <c:pt idx="9018">
                  <c:v>63.425-63.432</c:v>
                </c:pt>
                <c:pt idx="9019">
                  <c:v>63.432-63.439</c:v>
                </c:pt>
                <c:pt idx="9020">
                  <c:v>63.439-63.446</c:v>
                </c:pt>
                <c:pt idx="9021">
                  <c:v>63.446-63.454</c:v>
                </c:pt>
                <c:pt idx="9022">
                  <c:v>63.454-63.461</c:v>
                </c:pt>
                <c:pt idx="9023">
                  <c:v>63.461-63.468</c:v>
                </c:pt>
                <c:pt idx="9024">
                  <c:v>63.468-63.475</c:v>
                </c:pt>
                <c:pt idx="9025">
                  <c:v>63.475-63.482</c:v>
                </c:pt>
                <c:pt idx="9026">
                  <c:v>63.482-63.489</c:v>
                </c:pt>
                <c:pt idx="9027">
                  <c:v>63.489-63.496</c:v>
                </c:pt>
                <c:pt idx="9028">
                  <c:v>63.496-63.503</c:v>
                </c:pt>
                <c:pt idx="9029">
                  <c:v>63.503-63.510</c:v>
                </c:pt>
                <c:pt idx="9030">
                  <c:v>63.510-63.517</c:v>
                </c:pt>
                <c:pt idx="9031">
                  <c:v>63.517-63.524</c:v>
                </c:pt>
                <c:pt idx="9032">
                  <c:v>63.524-63.531</c:v>
                </c:pt>
                <c:pt idx="9033">
                  <c:v>63.531-63.538</c:v>
                </c:pt>
                <c:pt idx="9034">
                  <c:v>63.538-63.545</c:v>
                </c:pt>
                <c:pt idx="9035">
                  <c:v>63.545-63.552</c:v>
                </c:pt>
                <c:pt idx="9036">
                  <c:v>63.552-63.559</c:v>
                </c:pt>
                <c:pt idx="9037">
                  <c:v>63.559-63.566</c:v>
                </c:pt>
                <c:pt idx="9038">
                  <c:v>63.566-63.573</c:v>
                </c:pt>
                <c:pt idx="9039">
                  <c:v>63.573-63.580</c:v>
                </c:pt>
                <c:pt idx="9040">
                  <c:v>63.580-63.587</c:v>
                </c:pt>
                <c:pt idx="9041">
                  <c:v>63.587-63.594</c:v>
                </c:pt>
                <c:pt idx="9042">
                  <c:v>63.594-63.601</c:v>
                </c:pt>
                <c:pt idx="9043">
                  <c:v>63.601-63.608</c:v>
                </c:pt>
                <c:pt idx="9044">
                  <c:v>63.608-63.615</c:v>
                </c:pt>
                <c:pt idx="9045">
                  <c:v>63.615-63.622</c:v>
                </c:pt>
                <c:pt idx="9046">
                  <c:v>63.622-63.629</c:v>
                </c:pt>
                <c:pt idx="9047">
                  <c:v>63.629-63.636</c:v>
                </c:pt>
                <c:pt idx="9048">
                  <c:v>63.636-63.643</c:v>
                </c:pt>
                <c:pt idx="9049">
                  <c:v>63.643-63.650</c:v>
                </c:pt>
                <c:pt idx="9050">
                  <c:v>63.650-63.657</c:v>
                </c:pt>
                <c:pt idx="9051">
                  <c:v>63.657-63.664</c:v>
                </c:pt>
                <c:pt idx="9052">
                  <c:v>63.664-63.672</c:v>
                </c:pt>
                <c:pt idx="9053">
                  <c:v>63.672-63.679</c:v>
                </c:pt>
                <c:pt idx="9054">
                  <c:v>63.679-63.686</c:v>
                </c:pt>
                <c:pt idx="9055">
                  <c:v>63.686-63.693</c:v>
                </c:pt>
                <c:pt idx="9056">
                  <c:v>63.693-63.700</c:v>
                </c:pt>
                <c:pt idx="9057">
                  <c:v>63.700-63.707</c:v>
                </c:pt>
                <c:pt idx="9058">
                  <c:v>63.707-63.714</c:v>
                </c:pt>
                <c:pt idx="9059">
                  <c:v>63.714-63.721</c:v>
                </c:pt>
                <c:pt idx="9060">
                  <c:v>63.721-63.728</c:v>
                </c:pt>
                <c:pt idx="9061">
                  <c:v>63.728-63.735</c:v>
                </c:pt>
                <c:pt idx="9062">
                  <c:v>63.735-63.742</c:v>
                </c:pt>
                <c:pt idx="9063">
                  <c:v>63.742-63.749</c:v>
                </c:pt>
                <c:pt idx="9064">
                  <c:v>63.749-63.756</c:v>
                </c:pt>
                <c:pt idx="9065">
                  <c:v>63.756-63.763</c:v>
                </c:pt>
                <c:pt idx="9066">
                  <c:v>63.763-63.770</c:v>
                </c:pt>
                <c:pt idx="9067">
                  <c:v>63.770-63.777</c:v>
                </c:pt>
                <c:pt idx="9068">
                  <c:v>63.777-63.784</c:v>
                </c:pt>
                <c:pt idx="9069">
                  <c:v>63.784-63.791</c:v>
                </c:pt>
                <c:pt idx="9070">
                  <c:v>63.791-63.798</c:v>
                </c:pt>
                <c:pt idx="9071">
                  <c:v>63.798-63.805</c:v>
                </c:pt>
                <c:pt idx="9072">
                  <c:v>63.805-63.812</c:v>
                </c:pt>
                <c:pt idx="9073">
                  <c:v>63.812-63.819</c:v>
                </c:pt>
                <c:pt idx="9074">
                  <c:v>63.819-63.826</c:v>
                </c:pt>
                <c:pt idx="9075">
                  <c:v>63.826-63.833</c:v>
                </c:pt>
                <c:pt idx="9076">
                  <c:v>63.833-63.840</c:v>
                </c:pt>
                <c:pt idx="9077">
                  <c:v>63.840-63.847</c:v>
                </c:pt>
                <c:pt idx="9078">
                  <c:v>63.847-63.854</c:v>
                </c:pt>
                <c:pt idx="9079">
                  <c:v>63.854-63.861</c:v>
                </c:pt>
                <c:pt idx="9080">
                  <c:v>63.861-63.868</c:v>
                </c:pt>
                <c:pt idx="9081">
                  <c:v>63.868-63.875</c:v>
                </c:pt>
                <c:pt idx="9082">
                  <c:v>63.875-63.882</c:v>
                </c:pt>
                <c:pt idx="9083">
                  <c:v>63.882-63.890</c:v>
                </c:pt>
                <c:pt idx="9084">
                  <c:v>63.890-63.897</c:v>
                </c:pt>
                <c:pt idx="9085">
                  <c:v>63.897-63.904</c:v>
                </c:pt>
                <c:pt idx="9086">
                  <c:v>63.904-63.911</c:v>
                </c:pt>
                <c:pt idx="9087">
                  <c:v>63.911-63.918</c:v>
                </c:pt>
                <c:pt idx="9088">
                  <c:v>63.918-63.925</c:v>
                </c:pt>
                <c:pt idx="9089">
                  <c:v>63.925-63.932</c:v>
                </c:pt>
                <c:pt idx="9090">
                  <c:v>63.932-63.939</c:v>
                </c:pt>
                <c:pt idx="9091">
                  <c:v>63.939-63.946</c:v>
                </c:pt>
                <c:pt idx="9092">
                  <c:v>63.946-63.953</c:v>
                </c:pt>
                <c:pt idx="9093">
                  <c:v>63.953-63.960</c:v>
                </c:pt>
                <c:pt idx="9094">
                  <c:v>63.960-63.967</c:v>
                </c:pt>
                <c:pt idx="9095">
                  <c:v>63.967-63.974</c:v>
                </c:pt>
                <c:pt idx="9096">
                  <c:v>63.974-63.981</c:v>
                </c:pt>
                <c:pt idx="9097">
                  <c:v>63.981-63.988</c:v>
                </c:pt>
                <c:pt idx="9098">
                  <c:v>63.988-63.995</c:v>
                </c:pt>
                <c:pt idx="9099">
                  <c:v>63.995-64.002</c:v>
                </c:pt>
                <c:pt idx="9100">
                  <c:v>64.002-64.009</c:v>
                </c:pt>
                <c:pt idx="9101">
                  <c:v>64.009-64.016</c:v>
                </c:pt>
                <c:pt idx="9102">
                  <c:v>64.016-64.023</c:v>
                </c:pt>
                <c:pt idx="9103">
                  <c:v>64.023-64.030</c:v>
                </c:pt>
                <c:pt idx="9104">
                  <c:v>64.030-64.037</c:v>
                </c:pt>
                <c:pt idx="9105">
                  <c:v>64.037-64.044</c:v>
                </c:pt>
                <c:pt idx="9106">
                  <c:v>64.044-64.051</c:v>
                </c:pt>
                <c:pt idx="9107">
                  <c:v>64.051-64.058</c:v>
                </c:pt>
                <c:pt idx="9108">
                  <c:v>64.058-64.065</c:v>
                </c:pt>
                <c:pt idx="9109">
                  <c:v>64.065-64.072</c:v>
                </c:pt>
                <c:pt idx="9110">
                  <c:v>64.072-64.079</c:v>
                </c:pt>
                <c:pt idx="9111">
                  <c:v>64.079-64.086</c:v>
                </c:pt>
                <c:pt idx="9112">
                  <c:v>64.086-64.093</c:v>
                </c:pt>
                <c:pt idx="9113">
                  <c:v>64.093-64.100</c:v>
                </c:pt>
                <c:pt idx="9114">
                  <c:v>64.100-64.108</c:v>
                </c:pt>
                <c:pt idx="9115">
                  <c:v>64.108-64.115</c:v>
                </c:pt>
                <c:pt idx="9116">
                  <c:v>64.115-64.122</c:v>
                </c:pt>
                <c:pt idx="9117">
                  <c:v>64.122-64.129</c:v>
                </c:pt>
                <c:pt idx="9118">
                  <c:v>64.129-64.136</c:v>
                </c:pt>
                <c:pt idx="9119">
                  <c:v>64.136-64.143</c:v>
                </c:pt>
                <c:pt idx="9120">
                  <c:v>64.143-64.150</c:v>
                </c:pt>
                <c:pt idx="9121">
                  <c:v>64.150-64.157</c:v>
                </c:pt>
                <c:pt idx="9122">
                  <c:v>64.157-64.164</c:v>
                </c:pt>
                <c:pt idx="9123">
                  <c:v>64.164-64.171</c:v>
                </c:pt>
                <c:pt idx="9124">
                  <c:v>64.171-64.178</c:v>
                </c:pt>
                <c:pt idx="9125">
                  <c:v>64.178-64.185</c:v>
                </c:pt>
                <c:pt idx="9126">
                  <c:v>64.185-64.192</c:v>
                </c:pt>
                <c:pt idx="9127">
                  <c:v>64.192-64.199</c:v>
                </c:pt>
                <c:pt idx="9128">
                  <c:v>64.199-64.206</c:v>
                </c:pt>
                <c:pt idx="9129">
                  <c:v>64.206-64.213</c:v>
                </c:pt>
                <c:pt idx="9130">
                  <c:v>64.213-64.220</c:v>
                </c:pt>
                <c:pt idx="9131">
                  <c:v>64.220-64.227</c:v>
                </c:pt>
                <c:pt idx="9132">
                  <c:v>64.227-64.234</c:v>
                </c:pt>
                <c:pt idx="9133">
                  <c:v>64.234-64.241</c:v>
                </c:pt>
                <c:pt idx="9134">
                  <c:v>64.241-64.248</c:v>
                </c:pt>
                <c:pt idx="9135">
                  <c:v>64.248-64.255</c:v>
                </c:pt>
                <c:pt idx="9136">
                  <c:v>64.255-64.262</c:v>
                </c:pt>
                <c:pt idx="9137">
                  <c:v>64.262-64.269</c:v>
                </c:pt>
                <c:pt idx="9138">
                  <c:v>64.269-64.276</c:v>
                </c:pt>
                <c:pt idx="9139">
                  <c:v>64.276-64.283</c:v>
                </c:pt>
                <c:pt idx="9140">
                  <c:v>64.283-64.290</c:v>
                </c:pt>
                <c:pt idx="9141">
                  <c:v>64.290-64.297</c:v>
                </c:pt>
                <c:pt idx="9142">
                  <c:v>64.297-64.304</c:v>
                </c:pt>
                <c:pt idx="9143">
                  <c:v>64.304-64.311</c:v>
                </c:pt>
                <c:pt idx="9144">
                  <c:v>64.311-64.318</c:v>
                </c:pt>
                <c:pt idx="9145">
                  <c:v>64.318-64.326</c:v>
                </c:pt>
                <c:pt idx="9146">
                  <c:v>64.326-64.333</c:v>
                </c:pt>
                <c:pt idx="9147">
                  <c:v>64.333-64.340</c:v>
                </c:pt>
                <c:pt idx="9148">
                  <c:v>64.340-64.347</c:v>
                </c:pt>
                <c:pt idx="9149">
                  <c:v>64.347-64.354</c:v>
                </c:pt>
                <c:pt idx="9150">
                  <c:v>64.354-64.361</c:v>
                </c:pt>
                <c:pt idx="9151">
                  <c:v>64.361-64.368</c:v>
                </c:pt>
                <c:pt idx="9152">
                  <c:v>64.368-64.375</c:v>
                </c:pt>
                <c:pt idx="9153">
                  <c:v>64.375-64.382</c:v>
                </c:pt>
                <c:pt idx="9154">
                  <c:v>64.382-64.389</c:v>
                </c:pt>
                <c:pt idx="9155">
                  <c:v>64.389-64.396</c:v>
                </c:pt>
                <c:pt idx="9156">
                  <c:v>64.396-64.403</c:v>
                </c:pt>
                <c:pt idx="9157">
                  <c:v>64.403-64.410</c:v>
                </c:pt>
                <c:pt idx="9158">
                  <c:v>64.410-64.417</c:v>
                </c:pt>
                <c:pt idx="9159">
                  <c:v>64.417-64.424</c:v>
                </c:pt>
                <c:pt idx="9160">
                  <c:v>64.424-64.431</c:v>
                </c:pt>
                <c:pt idx="9161">
                  <c:v>64.431-64.438</c:v>
                </c:pt>
                <c:pt idx="9162">
                  <c:v>64.438-64.445</c:v>
                </c:pt>
                <c:pt idx="9163">
                  <c:v>64.445-64.452</c:v>
                </c:pt>
                <c:pt idx="9164">
                  <c:v>64.452-64.459</c:v>
                </c:pt>
                <c:pt idx="9165">
                  <c:v>64.459-64.466</c:v>
                </c:pt>
                <c:pt idx="9166">
                  <c:v>64.466-64.473</c:v>
                </c:pt>
                <c:pt idx="9167">
                  <c:v>64.473-64.480</c:v>
                </c:pt>
                <c:pt idx="9168">
                  <c:v>64.480-64.487</c:v>
                </c:pt>
                <c:pt idx="9169">
                  <c:v>64.487-64.494</c:v>
                </c:pt>
                <c:pt idx="9170">
                  <c:v>64.494-64.501</c:v>
                </c:pt>
                <c:pt idx="9171">
                  <c:v>64.501-64.508</c:v>
                </c:pt>
                <c:pt idx="9172">
                  <c:v>64.508-64.515</c:v>
                </c:pt>
                <c:pt idx="9173">
                  <c:v>64.515-64.522</c:v>
                </c:pt>
                <c:pt idx="9174">
                  <c:v>64.522-64.529</c:v>
                </c:pt>
                <c:pt idx="9175">
                  <c:v>64.529-64.536</c:v>
                </c:pt>
                <c:pt idx="9176">
                  <c:v>64.536-64.543</c:v>
                </c:pt>
                <c:pt idx="9177">
                  <c:v>64.543-64.551</c:v>
                </c:pt>
                <c:pt idx="9178">
                  <c:v>64.551-64.558</c:v>
                </c:pt>
                <c:pt idx="9179">
                  <c:v>64.558-64.565</c:v>
                </c:pt>
                <c:pt idx="9180">
                  <c:v>64.565-64.572</c:v>
                </c:pt>
                <c:pt idx="9181">
                  <c:v>64.572-64.579</c:v>
                </c:pt>
                <c:pt idx="9182">
                  <c:v>64.579-64.586</c:v>
                </c:pt>
                <c:pt idx="9183">
                  <c:v>64.586-64.593</c:v>
                </c:pt>
                <c:pt idx="9184">
                  <c:v>64.593-64.600</c:v>
                </c:pt>
                <c:pt idx="9185">
                  <c:v>64.600-64.607</c:v>
                </c:pt>
                <c:pt idx="9186">
                  <c:v>64.607-64.614</c:v>
                </c:pt>
                <c:pt idx="9187">
                  <c:v>64.614-64.621</c:v>
                </c:pt>
                <c:pt idx="9188">
                  <c:v>64.621-64.628</c:v>
                </c:pt>
                <c:pt idx="9189">
                  <c:v>64.628-64.635</c:v>
                </c:pt>
                <c:pt idx="9190">
                  <c:v>64.635-64.642</c:v>
                </c:pt>
                <c:pt idx="9191">
                  <c:v>64.642-64.649</c:v>
                </c:pt>
                <c:pt idx="9192">
                  <c:v>64.649-64.656</c:v>
                </c:pt>
                <c:pt idx="9193">
                  <c:v>64.656-64.663</c:v>
                </c:pt>
                <c:pt idx="9194">
                  <c:v>64.663-64.670</c:v>
                </c:pt>
                <c:pt idx="9195">
                  <c:v>64.670-64.677</c:v>
                </c:pt>
                <c:pt idx="9196">
                  <c:v>64.677-64.684</c:v>
                </c:pt>
                <c:pt idx="9197">
                  <c:v>64.684-64.691</c:v>
                </c:pt>
                <c:pt idx="9198">
                  <c:v>64.691-64.698</c:v>
                </c:pt>
                <c:pt idx="9199">
                  <c:v>64.698-64.705</c:v>
                </c:pt>
                <c:pt idx="9200">
                  <c:v>64.705-64.712</c:v>
                </c:pt>
                <c:pt idx="9201">
                  <c:v>64.712-64.719</c:v>
                </c:pt>
                <c:pt idx="9202">
                  <c:v>64.719-64.726</c:v>
                </c:pt>
                <c:pt idx="9203">
                  <c:v>64.726-64.733</c:v>
                </c:pt>
                <c:pt idx="9204">
                  <c:v>64.733-64.740</c:v>
                </c:pt>
                <c:pt idx="9205">
                  <c:v>64.740-64.747</c:v>
                </c:pt>
                <c:pt idx="9206">
                  <c:v>64.747-64.754</c:v>
                </c:pt>
                <c:pt idx="9207">
                  <c:v>64.754-64.761</c:v>
                </c:pt>
                <c:pt idx="9208">
                  <c:v>64.761-64.769</c:v>
                </c:pt>
                <c:pt idx="9209">
                  <c:v>64.769-64.776</c:v>
                </c:pt>
                <c:pt idx="9210">
                  <c:v>64.776-64.783</c:v>
                </c:pt>
                <c:pt idx="9211">
                  <c:v>64.783-64.790</c:v>
                </c:pt>
                <c:pt idx="9212">
                  <c:v>64.790-64.797</c:v>
                </c:pt>
                <c:pt idx="9213">
                  <c:v>64.797-64.804</c:v>
                </c:pt>
                <c:pt idx="9214">
                  <c:v>64.804-64.811</c:v>
                </c:pt>
                <c:pt idx="9215">
                  <c:v>64.811-64.818</c:v>
                </c:pt>
                <c:pt idx="9216">
                  <c:v>64.818-64.825</c:v>
                </c:pt>
                <c:pt idx="9217">
                  <c:v>64.825-64.832</c:v>
                </c:pt>
                <c:pt idx="9218">
                  <c:v>64.832-64.839</c:v>
                </c:pt>
                <c:pt idx="9219">
                  <c:v>64.839-64.846</c:v>
                </c:pt>
                <c:pt idx="9220">
                  <c:v>64.846-64.853</c:v>
                </c:pt>
                <c:pt idx="9221">
                  <c:v>64.853-64.860</c:v>
                </c:pt>
                <c:pt idx="9222">
                  <c:v>64.860-64.867</c:v>
                </c:pt>
                <c:pt idx="9223">
                  <c:v>64.867-64.874</c:v>
                </c:pt>
                <c:pt idx="9224">
                  <c:v>64.874-64.881</c:v>
                </c:pt>
                <c:pt idx="9225">
                  <c:v>64.881-64.888</c:v>
                </c:pt>
                <c:pt idx="9226">
                  <c:v>64.888-64.895</c:v>
                </c:pt>
                <c:pt idx="9227">
                  <c:v>64.895-64.902</c:v>
                </c:pt>
                <c:pt idx="9228">
                  <c:v>64.902-64.909</c:v>
                </c:pt>
                <c:pt idx="9229">
                  <c:v>64.909-64.916</c:v>
                </c:pt>
                <c:pt idx="9230">
                  <c:v>64.916-64.923</c:v>
                </c:pt>
                <c:pt idx="9231">
                  <c:v>64.923-64.930</c:v>
                </c:pt>
                <c:pt idx="9232">
                  <c:v>64.930-64.937</c:v>
                </c:pt>
                <c:pt idx="9233">
                  <c:v>64.937-64.944</c:v>
                </c:pt>
                <c:pt idx="9234">
                  <c:v>64.944-64.951</c:v>
                </c:pt>
                <c:pt idx="9235">
                  <c:v>64.951-64.958</c:v>
                </c:pt>
                <c:pt idx="9236">
                  <c:v>64.958-64.965</c:v>
                </c:pt>
                <c:pt idx="9237">
                  <c:v>64.965-64.972</c:v>
                </c:pt>
                <c:pt idx="9238">
                  <c:v>64.972-64.979</c:v>
                </c:pt>
                <c:pt idx="9239">
                  <c:v>64.979-64.987</c:v>
                </c:pt>
                <c:pt idx="9240">
                  <c:v>64.987-64.994</c:v>
                </c:pt>
                <c:pt idx="9241">
                  <c:v>64.994-65.001</c:v>
                </c:pt>
                <c:pt idx="9242">
                  <c:v>65.001-65.008</c:v>
                </c:pt>
                <c:pt idx="9243">
                  <c:v>65.008-65.015</c:v>
                </c:pt>
                <c:pt idx="9244">
                  <c:v>65.015-65.022</c:v>
                </c:pt>
                <c:pt idx="9245">
                  <c:v>65.022-65.029</c:v>
                </c:pt>
                <c:pt idx="9246">
                  <c:v>65.029-65.036</c:v>
                </c:pt>
                <c:pt idx="9247">
                  <c:v>65.036-65.043</c:v>
                </c:pt>
                <c:pt idx="9248">
                  <c:v>65.043-65.050</c:v>
                </c:pt>
                <c:pt idx="9249">
                  <c:v>65.050-65.057</c:v>
                </c:pt>
                <c:pt idx="9250">
                  <c:v>65.057-65.064</c:v>
                </c:pt>
                <c:pt idx="9251">
                  <c:v>65.064-65.071</c:v>
                </c:pt>
                <c:pt idx="9252">
                  <c:v>65.071-65.078</c:v>
                </c:pt>
                <c:pt idx="9253">
                  <c:v>65.078-65.085</c:v>
                </c:pt>
                <c:pt idx="9254">
                  <c:v>65.085-65.092</c:v>
                </c:pt>
                <c:pt idx="9255">
                  <c:v>65.092-65.099</c:v>
                </c:pt>
                <c:pt idx="9256">
                  <c:v>65.099-65.106</c:v>
                </c:pt>
                <c:pt idx="9257">
                  <c:v>65.106-65.113</c:v>
                </c:pt>
                <c:pt idx="9258">
                  <c:v>65.113-65.120</c:v>
                </c:pt>
                <c:pt idx="9259">
                  <c:v>65.120-65.127</c:v>
                </c:pt>
                <c:pt idx="9260">
                  <c:v>65.127-65.134</c:v>
                </c:pt>
                <c:pt idx="9261">
                  <c:v>65.134-65.141</c:v>
                </c:pt>
                <c:pt idx="9262">
                  <c:v>65.141-65.148</c:v>
                </c:pt>
                <c:pt idx="9263">
                  <c:v>65.148-65.155</c:v>
                </c:pt>
                <c:pt idx="9264">
                  <c:v>65.155-65.162</c:v>
                </c:pt>
                <c:pt idx="9265">
                  <c:v>65.162-65.169</c:v>
                </c:pt>
                <c:pt idx="9266">
                  <c:v>65.169-65.176</c:v>
                </c:pt>
                <c:pt idx="9267">
                  <c:v>65.176-65.183</c:v>
                </c:pt>
                <c:pt idx="9268">
                  <c:v>65.183-65.190</c:v>
                </c:pt>
                <c:pt idx="9269">
                  <c:v>65.190-65.197</c:v>
                </c:pt>
                <c:pt idx="9270">
                  <c:v>65.197-65.205</c:v>
                </c:pt>
                <c:pt idx="9271">
                  <c:v>65.205-65.212</c:v>
                </c:pt>
                <c:pt idx="9272">
                  <c:v>65.212-65.219</c:v>
                </c:pt>
                <c:pt idx="9273">
                  <c:v>65.219-65.226</c:v>
                </c:pt>
                <c:pt idx="9274">
                  <c:v>65.226-65.233</c:v>
                </c:pt>
                <c:pt idx="9275">
                  <c:v>65.233-65.240</c:v>
                </c:pt>
                <c:pt idx="9276">
                  <c:v>65.240-65.247</c:v>
                </c:pt>
                <c:pt idx="9277">
                  <c:v>65.247-65.254</c:v>
                </c:pt>
                <c:pt idx="9278">
                  <c:v>65.254-65.261</c:v>
                </c:pt>
                <c:pt idx="9279">
                  <c:v>65.261-65.268</c:v>
                </c:pt>
                <c:pt idx="9280">
                  <c:v>65.268-65.275</c:v>
                </c:pt>
                <c:pt idx="9281">
                  <c:v>65.275-65.282</c:v>
                </c:pt>
                <c:pt idx="9282">
                  <c:v>65.282-65.289</c:v>
                </c:pt>
                <c:pt idx="9283">
                  <c:v>65.289-65.296</c:v>
                </c:pt>
                <c:pt idx="9284">
                  <c:v>65.296-65.303</c:v>
                </c:pt>
                <c:pt idx="9285">
                  <c:v>65.303-65.310</c:v>
                </c:pt>
                <c:pt idx="9286">
                  <c:v>65.310-65.317</c:v>
                </c:pt>
                <c:pt idx="9287">
                  <c:v>65.317-65.324</c:v>
                </c:pt>
                <c:pt idx="9288">
                  <c:v>65.324-65.331</c:v>
                </c:pt>
                <c:pt idx="9289">
                  <c:v>65.331-65.338</c:v>
                </c:pt>
                <c:pt idx="9290">
                  <c:v>65.338-65.345</c:v>
                </c:pt>
                <c:pt idx="9291">
                  <c:v>65.345-65.352</c:v>
                </c:pt>
                <c:pt idx="9292">
                  <c:v>65.352-65.359</c:v>
                </c:pt>
                <c:pt idx="9293">
                  <c:v>65.359-65.366</c:v>
                </c:pt>
                <c:pt idx="9294">
                  <c:v>65.366-65.373</c:v>
                </c:pt>
                <c:pt idx="9295">
                  <c:v>65.373-65.380</c:v>
                </c:pt>
                <c:pt idx="9296">
                  <c:v>65.380-65.387</c:v>
                </c:pt>
                <c:pt idx="9297">
                  <c:v>65.387-65.394</c:v>
                </c:pt>
                <c:pt idx="9298">
                  <c:v>65.394-65.401</c:v>
                </c:pt>
                <c:pt idx="9299">
                  <c:v>65.401-65.408</c:v>
                </c:pt>
                <c:pt idx="9300">
                  <c:v>65.408-65.415</c:v>
                </c:pt>
                <c:pt idx="9301">
                  <c:v>65.415-65.423</c:v>
                </c:pt>
                <c:pt idx="9302">
                  <c:v>65.423-65.430</c:v>
                </c:pt>
                <c:pt idx="9303">
                  <c:v>65.430-65.437</c:v>
                </c:pt>
                <c:pt idx="9304">
                  <c:v>65.437-65.444</c:v>
                </c:pt>
                <c:pt idx="9305">
                  <c:v>65.444-65.451</c:v>
                </c:pt>
                <c:pt idx="9306">
                  <c:v>65.451-65.458</c:v>
                </c:pt>
                <c:pt idx="9307">
                  <c:v>65.458-65.465</c:v>
                </c:pt>
                <c:pt idx="9308">
                  <c:v>65.465-65.472</c:v>
                </c:pt>
                <c:pt idx="9309">
                  <c:v>65.472-65.479</c:v>
                </c:pt>
                <c:pt idx="9310">
                  <c:v>65.479-65.486</c:v>
                </c:pt>
                <c:pt idx="9311">
                  <c:v>65.486-65.493</c:v>
                </c:pt>
                <c:pt idx="9312">
                  <c:v>65.493-65.500</c:v>
                </c:pt>
                <c:pt idx="9313">
                  <c:v>65.500-65.507</c:v>
                </c:pt>
                <c:pt idx="9314">
                  <c:v>65.507-65.514</c:v>
                </c:pt>
                <c:pt idx="9315">
                  <c:v>65.514-65.521</c:v>
                </c:pt>
                <c:pt idx="9316">
                  <c:v>65.521-65.528</c:v>
                </c:pt>
                <c:pt idx="9317">
                  <c:v>65.528-65.535</c:v>
                </c:pt>
                <c:pt idx="9318">
                  <c:v>65.535-65.542</c:v>
                </c:pt>
                <c:pt idx="9319">
                  <c:v>65.542-65.549</c:v>
                </c:pt>
                <c:pt idx="9320">
                  <c:v>65.549-65.556</c:v>
                </c:pt>
                <c:pt idx="9321">
                  <c:v>65.556-65.563</c:v>
                </c:pt>
                <c:pt idx="9322">
                  <c:v>65.563-65.570</c:v>
                </c:pt>
                <c:pt idx="9323">
                  <c:v>65.570-65.577</c:v>
                </c:pt>
                <c:pt idx="9324">
                  <c:v>65.577-65.584</c:v>
                </c:pt>
                <c:pt idx="9325">
                  <c:v>65.584-65.591</c:v>
                </c:pt>
                <c:pt idx="9326">
                  <c:v>65.591-65.598</c:v>
                </c:pt>
                <c:pt idx="9327">
                  <c:v>65.598-65.605</c:v>
                </c:pt>
                <c:pt idx="9328">
                  <c:v>65.605-65.612</c:v>
                </c:pt>
                <c:pt idx="9329">
                  <c:v>65.612-65.619</c:v>
                </c:pt>
                <c:pt idx="9330">
                  <c:v>65.619-65.626</c:v>
                </c:pt>
                <c:pt idx="9331">
                  <c:v>65.626-65.633</c:v>
                </c:pt>
                <c:pt idx="9332">
                  <c:v>65.633-65.641</c:v>
                </c:pt>
                <c:pt idx="9333">
                  <c:v>65.641-65.648</c:v>
                </c:pt>
                <c:pt idx="9334">
                  <c:v>65.648-65.655</c:v>
                </c:pt>
                <c:pt idx="9335">
                  <c:v>65.655-65.662</c:v>
                </c:pt>
                <c:pt idx="9336">
                  <c:v>65.662-65.669</c:v>
                </c:pt>
                <c:pt idx="9337">
                  <c:v>65.669-65.676</c:v>
                </c:pt>
                <c:pt idx="9338">
                  <c:v>65.676-65.683</c:v>
                </c:pt>
                <c:pt idx="9339">
                  <c:v>65.683-65.690</c:v>
                </c:pt>
                <c:pt idx="9340">
                  <c:v>65.690-65.697</c:v>
                </c:pt>
                <c:pt idx="9341">
                  <c:v>65.697-65.704</c:v>
                </c:pt>
                <c:pt idx="9342">
                  <c:v>65.704-65.711</c:v>
                </c:pt>
                <c:pt idx="9343">
                  <c:v>65.711-65.718</c:v>
                </c:pt>
                <c:pt idx="9344">
                  <c:v>65.718-65.725</c:v>
                </c:pt>
                <c:pt idx="9345">
                  <c:v>65.725-65.732</c:v>
                </c:pt>
                <c:pt idx="9346">
                  <c:v>65.732-65.739</c:v>
                </c:pt>
                <c:pt idx="9347">
                  <c:v>65.739-65.746</c:v>
                </c:pt>
                <c:pt idx="9348">
                  <c:v>65.746-65.753</c:v>
                </c:pt>
                <c:pt idx="9349">
                  <c:v>65.753-65.760</c:v>
                </c:pt>
                <c:pt idx="9350">
                  <c:v>65.760-65.767</c:v>
                </c:pt>
                <c:pt idx="9351">
                  <c:v>65.767-65.774</c:v>
                </c:pt>
                <c:pt idx="9352">
                  <c:v>65.774-65.781</c:v>
                </c:pt>
                <c:pt idx="9353">
                  <c:v>65.781-65.788</c:v>
                </c:pt>
                <c:pt idx="9354">
                  <c:v>65.788-65.795</c:v>
                </c:pt>
                <c:pt idx="9355">
                  <c:v>65.795-65.802</c:v>
                </c:pt>
                <c:pt idx="9356">
                  <c:v>65.802-65.809</c:v>
                </c:pt>
                <c:pt idx="9357">
                  <c:v>65.809-65.816</c:v>
                </c:pt>
                <c:pt idx="9358">
                  <c:v>65.816-65.823</c:v>
                </c:pt>
                <c:pt idx="9359">
                  <c:v>65.823-65.830</c:v>
                </c:pt>
                <c:pt idx="9360">
                  <c:v>65.830-65.837</c:v>
                </c:pt>
                <c:pt idx="9361">
                  <c:v>65.837-65.844</c:v>
                </c:pt>
                <c:pt idx="9362">
                  <c:v>65.844-65.851</c:v>
                </c:pt>
                <c:pt idx="9363">
                  <c:v>65.851-65.859</c:v>
                </c:pt>
                <c:pt idx="9364">
                  <c:v>65.859-65.866</c:v>
                </c:pt>
                <c:pt idx="9365">
                  <c:v>65.866-65.873</c:v>
                </c:pt>
                <c:pt idx="9366">
                  <c:v>65.873-65.880</c:v>
                </c:pt>
                <c:pt idx="9367">
                  <c:v>65.880-65.887</c:v>
                </c:pt>
                <c:pt idx="9368">
                  <c:v>65.887-65.894</c:v>
                </c:pt>
                <c:pt idx="9369">
                  <c:v>65.894-65.901</c:v>
                </c:pt>
                <c:pt idx="9370">
                  <c:v>65.901-65.908</c:v>
                </c:pt>
                <c:pt idx="9371">
                  <c:v>65.908-65.915</c:v>
                </c:pt>
                <c:pt idx="9372">
                  <c:v>65.915-65.922</c:v>
                </c:pt>
                <c:pt idx="9373">
                  <c:v>65.922-65.929</c:v>
                </c:pt>
                <c:pt idx="9374">
                  <c:v>65.929-65.936</c:v>
                </c:pt>
                <c:pt idx="9375">
                  <c:v>65.936-65.943</c:v>
                </c:pt>
                <c:pt idx="9376">
                  <c:v>65.943-65.950</c:v>
                </c:pt>
                <c:pt idx="9377">
                  <c:v>65.950-65.957</c:v>
                </c:pt>
                <c:pt idx="9378">
                  <c:v>65.957-65.964</c:v>
                </c:pt>
                <c:pt idx="9379">
                  <c:v>65.964-65.971</c:v>
                </c:pt>
                <c:pt idx="9380">
                  <c:v>65.971-65.978</c:v>
                </c:pt>
                <c:pt idx="9381">
                  <c:v>65.978-65.985</c:v>
                </c:pt>
                <c:pt idx="9382">
                  <c:v>65.985-65.992</c:v>
                </c:pt>
                <c:pt idx="9383">
                  <c:v>65.992-65.999</c:v>
                </c:pt>
                <c:pt idx="9384">
                  <c:v>65.999-66.006</c:v>
                </c:pt>
                <c:pt idx="9385">
                  <c:v>66.006-66.013</c:v>
                </c:pt>
                <c:pt idx="9386">
                  <c:v>66.013-66.020</c:v>
                </c:pt>
                <c:pt idx="9387">
                  <c:v>66.020-66.027</c:v>
                </c:pt>
                <c:pt idx="9388">
                  <c:v>66.027-66.034</c:v>
                </c:pt>
                <c:pt idx="9389">
                  <c:v>66.034-66.041</c:v>
                </c:pt>
                <c:pt idx="9390">
                  <c:v>66.041-66.048</c:v>
                </c:pt>
                <c:pt idx="9391">
                  <c:v>66.048-66.055</c:v>
                </c:pt>
                <c:pt idx="9392">
                  <c:v>66.055-66.062</c:v>
                </c:pt>
                <c:pt idx="9393">
                  <c:v>66.062-66.069</c:v>
                </c:pt>
                <c:pt idx="9394">
                  <c:v>66.069-66.077</c:v>
                </c:pt>
                <c:pt idx="9395">
                  <c:v>66.077-66.084</c:v>
                </c:pt>
                <c:pt idx="9396">
                  <c:v>66.084-66.091</c:v>
                </c:pt>
                <c:pt idx="9397">
                  <c:v>66.091-66.098</c:v>
                </c:pt>
                <c:pt idx="9398">
                  <c:v>66.098-66.105</c:v>
                </c:pt>
                <c:pt idx="9399">
                  <c:v>66.105-66.112</c:v>
                </c:pt>
                <c:pt idx="9400">
                  <c:v>66.112-66.119</c:v>
                </c:pt>
                <c:pt idx="9401">
                  <c:v>66.119-66.126</c:v>
                </c:pt>
                <c:pt idx="9402">
                  <c:v>66.126-66.133</c:v>
                </c:pt>
                <c:pt idx="9403">
                  <c:v>66.133-66.140</c:v>
                </c:pt>
                <c:pt idx="9404">
                  <c:v>66.140-66.147</c:v>
                </c:pt>
                <c:pt idx="9405">
                  <c:v>66.147-66.154</c:v>
                </c:pt>
                <c:pt idx="9406">
                  <c:v>66.154-66.161</c:v>
                </c:pt>
                <c:pt idx="9407">
                  <c:v>66.161-66.168</c:v>
                </c:pt>
                <c:pt idx="9408">
                  <c:v>66.168-66.175</c:v>
                </c:pt>
                <c:pt idx="9409">
                  <c:v>66.175-66.182</c:v>
                </c:pt>
                <c:pt idx="9410">
                  <c:v>66.182-66.189</c:v>
                </c:pt>
                <c:pt idx="9411">
                  <c:v>66.189-66.196</c:v>
                </c:pt>
                <c:pt idx="9412">
                  <c:v>66.196-66.203</c:v>
                </c:pt>
                <c:pt idx="9413">
                  <c:v>66.203-66.210</c:v>
                </c:pt>
                <c:pt idx="9414">
                  <c:v>66.210-66.217</c:v>
                </c:pt>
                <c:pt idx="9415">
                  <c:v>66.217-66.224</c:v>
                </c:pt>
                <c:pt idx="9416">
                  <c:v>66.224-66.231</c:v>
                </c:pt>
                <c:pt idx="9417">
                  <c:v>66.231-66.238</c:v>
                </c:pt>
                <c:pt idx="9418">
                  <c:v>66.238-66.245</c:v>
                </c:pt>
                <c:pt idx="9419">
                  <c:v>66.245-66.252</c:v>
                </c:pt>
                <c:pt idx="9420">
                  <c:v>66.252-66.259</c:v>
                </c:pt>
                <c:pt idx="9421">
                  <c:v>66.259-66.266</c:v>
                </c:pt>
                <c:pt idx="9422">
                  <c:v>66.266-66.273</c:v>
                </c:pt>
                <c:pt idx="9423">
                  <c:v>66.273-66.280</c:v>
                </c:pt>
                <c:pt idx="9424">
                  <c:v>66.280-66.287</c:v>
                </c:pt>
                <c:pt idx="9425">
                  <c:v>66.287-66.295</c:v>
                </c:pt>
                <c:pt idx="9426">
                  <c:v>66.295-66.302</c:v>
                </c:pt>
                <c:pt idx="9427">
                  <c:v>66.302-66.309</c:v>
                </c:pt>
                <c:pt idx="9428">
                  <c:v>66.309-66.316</c:v>
                </c:pt>
                <c:pt idx="9429">
                  <c:v>66.316-66.323</c:v>
                </c:pt>
                <c:pt idx="9430">
                  <c:v>66.323-66.330</c:v>
                </c:pt>
                <c:pt idx="9431">
                  <c:v>66.330-66.337</c:v>
                </c:pt>
                <c:pt idx="9432">
                  <c:v>66.337-66.344</c:v>
                </c:pt>
                <c:pt idx="9433">
                  <c:v>66.344-66.351</c:v>
                </c:pt>
                <c:pt idx="9434">
                  <c:v>66.351-66.358</c:v>
                </c:pt>
                <c:pt idx="9435">
                  <c:v>66.358-66.365</c:v>
                </c:pt>
                <c:pt idx="9436">
                  <c:v>66.365-66.372</c:v>
                </c:pt>
                <c:pt idx="9437">
                  <c:v>66.372-66.379</c:v>
                </c:pt>
                <c:pt idx="9438">
                  <c:v>66.379-66.386</c:v>
                </c:pt>
                <c:pt idx="9439">
                  <c:v>66.386-66.393</c:v>
                </c:pt>
                <c:pt idx="9440">
                  <c:v>66.393-66.400</c:v>
                </c:pt>
                <c:pt idx="9441">
                  <c:v>66.400-66.407</c:v>
                </c:pt>
                <c:pt idx="9442">
                  <c:v>66.407-66.414</c:v>
                </c:pt>
                <c:pt idx="9443">
                  <c:v>66.414-66.421</c:v>
                </c:pt>
                <c:pt idx="9444">
                  <c:v>66.421-66.428</c:v>
                </c:pt>
                <c:pt idx="9445">
                  <c:v>66.428-66.435</c:v>
                </c:pt>
                <c:pt idx="9446">
                  <c:v>66.435-66.442</c:v>
                </c:pt>
                <c:pt idx="9447">
                  <c:v>66.442-66.449</c:v>
                </c:pt>
                <c:pt idx="9448">
                  <c:v>66.449-66.456</c:v>
                </c:pt>
                <c:pt idx="9449">
                  <c:v>66.456-66.463</c:v>
                </c:pt>
                <c:pt idx="9450">
                  <c:v>66.463-66.470</c:v>
                </c:pt>
                <c:pt idx="9451">
                  <c:v>66.470-66.477</c:v>
                </c:pt>
                <c:pt idx="9452">
                  <c:v>66.477-66.484</c:v>
                </c:pt>
                <c:pt idx="9453">
                  <c:v>66.484-66.491</c:v>
                </c:pt>
                <c:pt idx="9454">
                  <c:v>66.491-66.498</c:v>
                </c:pt>
                <c:pt idx="9455">
                  <c:v>66.498-66.505</c:v>
                </c:pt>
                <c:pt idx="9456">
                  <c:v>66.505-66.513</c:v>
                </c:pt>
                <c:pt idx="9457">
                  <c:v>66.513-66.520</c:v>
                </c:pt>
                <c:pt idx="9458">
                  <c:v>66.520-66.527</c:v>
                </c:pt>
                <c:pt idx="9459">
                  <c:v>66.527-66.534</c:v>
                </c:pt>
                <c:pt idx="9460">
                  <c:v>66.534-66.541</c:v>
                </c:pt>
                <c:pt idx="9461">
                  <c:v>66.541-66.548</c:v>
                </c:pt>
                <c:pt idx="9462">
                  <c:v>66.548-66.555</c:v>
                </c:pt>
                <c:pt idx="9463">
                  <c:v>66.555-66.562</c:v>
                </c:pt>
                <c:pt idx="9464">
                  <c:v>66.562-66.569</c:v>
                </c:pt>
                <c:pt idx="9465">
                  <c:v>66.569-66.576</c:v>
                </c:pt>
                <c:pt idx="9466">
                  <c:v>66.576-66.583</c:v>
                </c:pt>
                <c:pt idx="9467">
                  <c:v>66.583-66.590</c:v>
                </c:pt>
                <c:pt idx="9468">
                  <c:v>66.590-66.597</c:v>
                </c:pt>
                <c:pt idx="9469">
                  <c:v>66.597-66.604</c:v>
                </c:pt>
                <c:pt idx="9470">
                  <c:v>66.604-66.611</c:v>
                </c:pt>
                <c:pt idx="9471">
                  <c:v>66.611-66.618</c:v>
                </c:pt>
                <c:pt idx="9472">
                  <c:v>66.618-66.625</c:v>
                </c:pt>
                <c:pt idx="9473">
                  <c:v>66.625-66.632</c:v>
                </c:pt>
                <c:pt idx="9474">
                  <c:v>66.632-66.639</c:v>
                </c:pt>
                <c:pt idx="9475">
                  <c:v>66.639-66.646</c:v>
                </c:pt>
                <c:pt idx="9476">
                  <c:v>66.646-66.653</c:v>
                </c:pt>
                <c:pt idx="9477">
                  <c:v>66.653-66.660</c:v>
                </c:pt>
                <c:pt idx="9478">
                  <c:v>66.660-66.667</c:v>
                </c:pt>
                <c:pt idx="9479">
                  <c:v>66.667-66.674</c:v>
                </c:pt>
                <c:pt idx="9480">
                  <c:v>66.674-66.681</c:v>
                </c:pt>
                <c:pt idx="9481">
                  <c:v>66.681-66.688</c:v>
                </c:pt>
                <c:pt idx="9482">
                  <c:v>66.688-66.695</c:v>
                </c:pt>
                <c:pt idx="9483">
                  <c:v>66.695-66.702</c:v>
                </c:pt>
                <c:pt idx="9484">
                  <c:v>66.702-66.709</c:v>
                </c:pt>
                <c:pt idx="9485">
                  <c:v>66.709-66.716</c:v>
                </c:pt>
                <c:pt idx="9486">
                  <c:v>66.716-66.723</c:v>
                </c:pt>
                <c:pt idx="9487">
                  <c:v>66.723-66.731</c:v>
                </c:pt>
                <c:pt idx="9488">
                  <c:v>66.731-66.738</c:v>
                </c:pt>
                <c:pt idx="9489">
                  <c:v>66.738-66.745</c:v>
                </c:pt>
                <c:pt idx="9490">
                  <c:v>66.745-66.752</c:v>
                </c:pt>
                <c:pt idx="9491">
                  <c:v>66.752-66.759</c:v>
                </c:pt>
                <c:pt idx="9492">
                  <c:v>66.759-66.766</c:v>
                </c:pt>
                <c:pt idx="9493">
                  <c:v>66.766-66.773</c:v>
                </c:pt>
                <c:pt idx="9494">
                  <c:v>66.773-66.780</c:v>
                </c:pt>
                <c:pt idx="9495">
                  <c:v>66.780-66.787</c:v>
                </c:pt>
                <c:pt idx="9496">
                  <c:v>66.787-66.794</c:v>
                </c:pt>
                <c:pt idx="9497">
                  <c:v>66.794-66.801</c:v>
                </c:pt>
                <c:pt idx="9498">
                  <c:v>66.801-66.808</c:v>
                </c:pt>
                <c:pt idx="9499">
                  <c:v>66.808-66.815</c:v>
                </c:pt>
                <c:pt idx="9500">
                  <c:v>66.815-66.822</c:v>
                </c:pt>
                <c:pt idx="9501">
                  <c:v>66.822-66.829</c:v>
                </c:pt>
                <c:pt idx="9502">
                  <c:v>66.829-66.836</c:v>
                </c:pt>
                <c:pt idx="9503">
                  <c:v>66.836-66.843</c:v>
                </c:pt>
                <c:pt idx="9504">
                  <c:v>66.843-66.850</c:v>
                </c:pt>
                <c:pt idx="9505">
                  <c:v>66.850-66.857</c:v>
                </c:pt>
                <c:pt idx="9506">
                  <c:v>66.857-66.864</c:v>
                </c:pt>
                <c:pt idx="9507">
                  <c:v>66.864-66.871</c:v>
                </c:pt>
                <c:pt idx="9508">
                  <c:v>66.871-66.878</c:v>
                </c:pt>
                <c:pt idx="9509">
                  <c:v>66.878-66.885</c:v>
                </c:pt>
                <c:pt idx="9510">
                  <c:v>66.885-66.892</c:v>
                </c:pt>
                <c:pt idx="9511">
                  <c:v>66.892-66.899</c:v>
                </c:pt>
                <c:pt idx="9512">
                  <c:v>66.899-66.906</c:v>
                </c:pt>
                <c:pt idx="9513">
                  <c:v>66.906-66.913</c:v>
                </c:pt>
                <c:pt idx="9514">
                  <c:v>66.913-66.920</c:v>
                </c:pt>
                <c:pt idx="9515">
                  <c:v>66.920-66.927</c:v>
                </c:pt>
                <c:pt idx="9516">
                  <c:v>66.927-66.934</c:v>
                </c:pt>
                <c:pt idx="9517">
                  <c:v>66.934-66.941</c:v>
                </c:pt>
                <c:pt idx="9518">
                  <c:v>66.941-66.949</c:v>
                </c:pt>
                <c:pt idx="9519">
                  <c:v>66.949-66.956</c:v>
                </c:pt>
                <c:pt idx="9520">
                  <c:v>66.956-66.963</c:v>
                </c:pt>
                <c:pt idx="9521">
                  <c:v>66.963-66.970</c:v>
                </c:pt>
                <c:pt idx="9522">
                  <c:v>66.970-66.977</c:v>
                </c:pt>
                <c:pt idx="9523">
                  <c:v>66.977-66.984</c:v>
                </c:pt>
                <c:pt idx="9524">
                  <c:v>66.984-66.991</c:v>
                </c:pt>
                <c:pt idx="9525">
                  <c:v>66.991-66.998</c:v>
                </c:pt>
                <c:pt idx="9526">
                  <c:v>66.998-67.005</c:v>
                </c:pt>
                <c:pt idx="9527">
                  <c:v>67.005-67.012</c:v>
                </c:pt>
                <c:pt idx="9528">
                  <c:v>67.012-67.019</c:v>
                </c:pt>
                <c:pt idx="9529">
                  <c:v>67.019-67.026</c:v>
                </c:pt>
                <c:pt idx="9530">
                  <c:v>67.026-67.033</c:v>
                </c:pt>
                <c:pt idx="9531">
                  <c:v>67.033-67.040</c:v>
                </c:pt>
                <c:pt idx="9532">
                  <c:v>67.040-67.047</c:v>
                </c:pt>
                <c:pt idx="9533">
                  <c:v>67.047-67.054</c:v>
                </c:pt>
                <c:pt idx="9534">
                  <c:v>67.054-67.061</c:v>
                </c:pt>
                <c:pt idx="9535">
                  <c:v>67.061-67.068</c:v>
                </c:pt>
                <c:pt idx="9536">
                  <c:v>67.068-67.075</c:v>
                </c:pt>
                <c:pt idx="9537">
                  <c:v>67.075-67.082</c:v>
                </c:pt>
                <c:pt idx="9538">
                  <c:v>67.082-67.089</c:v>
                </c:pt>
                <c:pt idx="9539">
                  <c:v>67.089-67.096</c:v>
                </c:pt>
                <c:pt idx="9540">
                  <c:v>67.096-67.103</c:v>
                </c:pt>
                <c:pt idx="9541">
                  <c:v>67.103-67.110</c:v>
                </c:pt>
                <c:pt idx="9542">
                  <c:v>67.110-67.117</c:v>
                </c:pt>
                <c:pt idx="9543">
                  <c:v>67.117-67.124</c:v>
                </c:pt>
                <c:pt idx="9544">
                  <c:v>67.124-67.131</c:v>
                </c:pt>
                <c:pt idx="9545">
                  <c:v>67.131-67.138</c:v>
                </c:pt>
                <c:pt idx="9546">
                  <c:v>67.138-67.145</c:v>
                </c:pt>
                <c:pt idx="9547">
                  <c:v>67.145-67.152</c:v>
                </c:pt>
                <c:pt idx="9548">
                  <c:v>67.152-67.159</c:v>
                </c:pt>
                <c:pt idx="9549">
                  <c:v>67.159-67.167</c:v>
                </c:pt>
                <c:pt idx="9550">
                  <c:v>67.167-67.174</c:v>
                </c:pt>
                <c:pt idx="9551">
                  <c:v>67.174-67.181</c:v>
                </c:pt>
                <c:pt idx="9552">
                  <c:v>67.181-67.188</c:v>
                </c:pt>
                <c:pt idx="9553">
                  <c:v>67.188-67.195</c:v>
                </c:pt>
                <c:pt idx="9554">
                  <c:v>67.195-67.202</c:v>
                </c:pt>
                <c:pt idx="9555">
                  <c:v>67.202-67.209</c:v>
                </c:pt>
                <c:pt idx="9556">
                  <c:v>67.209-67.216</c:v>
                </c:pt>
                <c:pt idx="9557">
                  <c:v>67.216-67.223</c:v>
                </c:pt>
                <c:pt idx="9558">
                  <c:v>67.223-67.230</c:v>
                </c:pt>
                <c:pt idx="9559">
                  <c:v>67.230-67.237</c:v>
                </c:pt>
                <c:pt idx="9560">
                  <c:v>67.237-67.244</c:v>
                </c:pt>
                <c:pt idx="9561">
                  <c:v>67.244-67.251</c:v>
                </c:pt>
                <c:pt idx="9562">
                  <c:v>67.251-67.258</c:v>
                </c:pt>
                <c:pt idx="9563">
                  <c:v>67.258-67.265</c:v>
                </c:pt>
                <c:pt idx="9564">
                  <c:v>67.265-67.272</c:v>
                </c:pt>
                <c:pt idx="9565">
                  <c:v>67.272-67.279</c:v>
                </c:pt>
                <c:pt idx="9566">
                  <c:v>67.279-67.286</c:v>
                </c:pt>
                <c:pt idx="9567">
                  <c:v>67.286-67.293</c:v>
                </c:pt>
                <c:pt idx="9568">
                  <c:v>67.293-67.300</c:v>
                </c:pt>
                <c:pt idx="9569">
                  <c:v>67.300-67.307</c:v>
                </c:pt>
                <c:pt idx="9570">
                  <c:v>67.307-67.314</c:v>
                </c:pt>
                <c:pt idx="9571">
                  <c:v>67.314-67.321</c:v>
                </c:pt>
                <c:pt idx="9572">
                  <c:v>67.321-67.328</c:v>
                </c:pt>
                <c:pt idx="9573">
                  <c:v>67.328-67.335</c:v>
                </c:pt>
                <c:pt idx="9574">
                  <c:v>67.335-67.342</c:v>
                </c:pt>
                <c:pt idx="9575">
                  <c:v>67.342-67.349</c:v>
                </c:pt>
                <c:pt idx="9576">
                  <c:v>67.349-67.356</c:v>
                </c:pt>
                <c:pt idx="9577">
                  <c:v>67.356-67.363</c:v>
                </c:pt>
                <c:pt idx="9578">
                  <c:v>67.363-67.370</c:v>
                </c:pt>
                <c:pt idx="9579">
                  <c:v>67.370-67.377</c:v>
                </c:pt>
                <c:pt idx="9580">
                  <c:v>67.377-67.385</c:v>
                </c:pt>
                <c:pt idx="9581">
                  <c:v>67.385-67.392</c:v>
                </c:pt>
                <c:pt idx="9582">
                  <c:v>67.392-67.399</c:v>
                </c:pt>
                <c:pt idx="9583">
                  <c:v>67.399-67.406</c:v>
                </c:pt>
                <c:pt idx="9584">
                  <c:v>67.406-67.413</c:v>
                </c:pt>
                <c:pt idx="9585">
                  <c:v>67.413-67.420</c:v>
                </c:pt>
                <c:pt idx="9586">
                  <c:v>67.420-67.427</c:v>
                </c:pt>
                <c:pt idx="9587">
                  <c:v>67.427-67.434</c:v>
                </c:pt>
                <c:pt idx="9588">
                  <c:v>67.434-67.441</c:v>
                </c:pt>
                <c:pt idx="9589">
                  <c:v>67.441-67.448</c:v>
                </c:pt>
                <c:pt idx="9590">
                  <c:v>67.448-67.455</c:v>
                </c:pt>
                <c:pt idx="9591">
                  <c:v>67.455-67.462</c:v>
                </c:pt>
                <c:pt idx="9592">
                  <c:v>67.462-67.469</c:v>
                </c:pt>
                <c:pt idx="9593">
                  <c:v>67.469-67.476</c:v>
                </c:pt>
                <c:pt idx="9594">
                  <c:v>67.476-67.483</c:v>
                </c:pt>
                <c:pt idx="9595">
                  <c:v>67.483-67.490</c:v>
                </c:pt>
                <c:pt idx="9596">
                  <c:v>67.490-67.497</c:v>
                </c:pt>
                <c:pt idx="9597">
                  <c:v>67.497-67.504</c:v>
                </c:pt>
                <c:pt idx="9598">
                  <c:v>67.504-67.511</c:v>
                </c:pt>
                <c:pt idx="9599">
                  <c:v>67.511-67.518</c:v>
                </c:pt>
                <c:pt idx="9600">
                  <c:v>67.518-67.525</c:v>
                </c:pt>
                <c:pt idx="9601">
                  <c:v>67.525-67.532</c:v>
                </c:pt>
                <c:pt idx="9602">
                  <c:v>67.532-67.539</c:v>
                </c:pt>
                <c:pt idx="9603">
                  <c:v>67.539-67.546</c:v>
                </c:pt>
                <c:pt idx="9604">
                  <c:v>67.546-67.553</c:v>
                </c:pt>
                <c:pt idx="9605">
                  <c:v>67.553-67.560</c:v>
                </c:pt>
                <c:pt idx="9606">
                  <c:v>67.560-67.567</c:v>
                </c:pt>
                <c:pt idx="9607">
                  <c:v>67.567-67.574</c:v>
                </c:pt>
                <c:pt idx="9608">
                  <c:v>67.574-67.581</c:v>
                </c:pt>
                <c:pt idx="9609">
                  <c:v>67.581-67.588</c:v>
                </c:pt>
                <c:pt idx="9610">
                  <c:v>67.588-67.595</c:v>
                </c:pt>
                <c:pt idx="9611">
                  <c:v>67.595-67.603</c:v>
                </c:pt>
                <c:pt idx="9612">
                  <c:v>67.603-67.610</c:v>
                </c:pt>
                <c:pt idx="9613">
                  <c:v>67.610-67.617</c:v>
                </c:pt>
                <c:pt idx="9614">
                  <c:v>67.617-67.624</c:v>
                </c:pt>
                <c:pt idx="9615">
                  <c:v>67.624-67.631</c:v>
                </c:pt>
                <c:pt idx="9616">
                  <c:v>67.631-67.638</c:v>
                </c:pt>
                <c:pt idx="9617">
                  <c:v>67.638-67.645</c:v>
                </c:pt>
                <c:pt idx="9618">
                  <c:v>67.645-67.652</c:v>
                </c:pt>
                <c:pt idx="9619">
                  <c:v>67.652-67.659</c:v>
                </c:pt>
                <c:pt idx="9620">
                  <c:v>67.659-67.666</c:v>
                </c:pt>
                <c:pt idx="9621">
                  <c:v>67.666-67.673</c:v>
                </c:pt>
                <c:pt idx="9622">
                  <c:v>67.673-67.680</c:v>
                </c:pt>
                <c:pt idx="9623">
                  <c:v>67.680-67.687</c:v>
                </c:pt>
                <c:pt idx="9624">
                  <c:v>67.687-67.694</c:v>
                </c:pt>
                <c:pt idx="9625">
                  <c:v>67.694-67.701</c:v>
                </c:pt>
                <c:pt idx="9626">
                  <c:v>67.701-67.708</c:v>
                </c:pt>
                <c:pt idx="9627">
                  <c:v>67.708-67.715</c:v>
                </c:pt>
                <c:pt idx="9628">
                  <c:v>67.715-67.722</c:v>
                </c:pt>
                <c:pt idx="9629">
                  <c:v>67.722-67.729</c:v>
                </c:pt>
                <c:pt idx="9630">
                  <c:v>67.729-67.736</c:v>
                </c:pt>
                <c:pt idx="9631">
                  <c:v>67.736-67.743</c:v>
                </c:pt>
                <c:pt idx="9632">
                  <c:v>67.743-67.750</c:v>
                </c:pt>
                <c:pt idx="9633">
                  <c:v>67.750-67.757</c:v>
                </c:pt>
                <c:pt idx="9634">
                  <c:v>67.757-67.764</c:v>
                </c:pt>
                <c:pt idx="9635">
                  <c:v>67.764-67.771</c:v>
                </c:pt>
                <c:pt idx="9636">
                  <c:v>67.771-67.778</c:v>
                </c:pt>
                <c:pt idx="9637">
                  <c:v>67.778-67.785</c:v>
                </c:pt>
                <c:pt idx="9638">
                  <c:v>67.785-67.792</c:v>
                </c:pt>
                <c:pt idx="9639">
                  <c:v>67.792-67.799</c:v>
                </c:pt>
                <c:pt idx="9640">
                  <c:v>67.799-67.806</c:v>
                </c:pt>
                <c:pt idx="9641">
                  <c:v>67.806-67.813</c:v>
                </c:pt>
                <c:pt idx="9642">
                  <c:v>67.813-67.821</c:v>
                </c:pt>
                <c:pt idx="9643">
                  <c:v>67.821-67.828</c:v>
                </c:pt>
                <c:pt idx="9644">
                  <c:v>67.828-67.835</c:v>
                </c:pt>
                <c:pt idx="9645">
                  <c:v>67.835-67.842</c:v>
                </c:pt>
                <c:pt idx="9646">
                  <c:v>67.842-67.849</c:v>
                </c:pt>
                <c:pt idx="9647">
                  <c:v>67.849-67.856</c:v>
                </c:pt>
                <c:pt idx="9648">
                  <c:v>67.856-67.863</c:v>
                </c:pt>
                <c:pt idx="9649">
                  <c:v>67.863-67.870</c:v>
                </c:pt>
                <c:pt idx="9650">
                  <c:v>67.870-67.877</c:v>
                </c:pt>
                <c:pt idx="9651">
                  <c:v>67.877-67.884</c:v>
                </c:pt>
                <c:pt idx="9652">
                  <c:v>67.884-67.891</c:v>
                </c:pt>
                <c:pt idx="9653">
                  <c:v>67.891-67.898</c:v>
                </c:pt>
                <c:pt idx="9654">
                  <c:v>67.898-67.905</c:v>
                </c:pt>
                <c:pt idx="9655">
                  <c:v>67.905-67.912</c:v>
                </c:pt>
                <c:pt idx="9656">
                  <c:v>67.912-67.919</c:v>
                </c:pt>
                <c:pt idx="9657">
                  <c:v>67.919-67.926</c:v>
                </c:pt>
                <c:pt idx="9658">
                  <c:v>67.926-67.933</c:v>
                </c:pt>
                <c:pt idx="9659">
                  <c:v>67.933-67.940</c:v>
                </c:pt>
                <c:pt idx="9660">
                  <c:v>67.940-67.947</c:v>
                </c:pt>
                <c:pt idx="9661">
                  <c:v>67.947-67.954</c:v>
                </c:pt>
                <c:pt idx="9662">
                  <c:v>67.954-67.961</c:v>
                </c:pt>
                <c:pt idx="9663">
                  <c:v>67.961-67.968</c:v>
                </c:pt>
                <c:pt idx="9664">
                  <c:v>67.968-67.975</c:v>
                </c:pt>
                <c:pt idx="9665">
                  <c:v>67.975-67.982</c:v>
                </c:pt>
                <c:pt idx="9666">
                  <c:v>67.982-67.989</c:v>
                </c:pt>
                <c:pt idx="9667">
                  <c:v>67.989-67.996</c:v>
                </c:pt>
                <c:pt idx="9668">
                  <c:v>67.996-68.003</c:v>
                </c:pt>
                <c:pt idx="9669">
                  <c:v>68.003-68.010</c:v>
                </c:pt>
                <c:pt idx="9670">
                  <c:v>68.010-68.017</c:v>
                </c:pt>
                <c:pt idx="9671">
                  <c:v>68.017-68.024</c:v>
                </c:pt>
                <c:pt idx="9672">
                  <c:v>68.024-68.031</c:v>
                </c:pt>
                <c:pt idx="9673">
                  <c:v>68.031-68.039</c:v>
                </c:pt>
                <c:pt idx="9674">
                  <c:v>68.039-68.046</c:v>
                </c:pt>
                <c:pt idx="9675">
                  <c:v>68.046-68.053</c:v>
                </c:pt>
                <c:pt idx="9676">
                  <c:v>68.053-68.060</c:v>
                </c:pt>
                <c:pt idx="9677">
                  <c:v>68.060-68.067</c:v>
                </c:pt>
                <c:pt idx="9678">
                  <c:v>68.067-68.074</c:v>
                </c:pt>
                <c:pt idx="9679">
                  <c:v>68.074-68.081</c:v>
                </c:pt>
                <c:pt idx="9680">
                  <c:v>68.081-68.088</c:v>
                </c:pt>
                <c:pt idx="9681">
                  <c:v>68.088-68.095</c:v>
                </c:pt>
                <c:pt idx="9682">
                  <c:v>68.095-68.102</c:v>
                </c:pt>
                <c:pt idx="9683">
                  <c:v>68.102-68.109</c:v>
                </c:pt>
                <c:pt idx="9684">
                  <c:v>68.109-68.116</c:v>
                </c:pt>
                <c:pt idx="9685">
                  <c:v>68.116-68.123</c:v>
                </c:pt>
                <c:pt idx="9686">
                  <c:v>68.123-68.130</c:v>
                </c:pt>
                <c:pt idx="9687">
                  <c:v>68.130-68.137</c:v>
                </c:pt>
                <c:pt idx="9688">
                  <c:v>68.137-68.144</c:v>
                </c:pt>
                <c:pt idx="9689">
                  <c:v>68.144-68.151</c:v>
                </c:pt>
                <c:pt idx="9690">
                  <c:v>68.151-68.158</c:v>
                </c:pt>
                <c:pt idx="9691">
                  <c:v>68.158-68.165</c:v>
                </c:pt>
                <c:pt idx="9692">
                  <c:v>68.165-68.172</c:v>
                </c:pt>
                <c:pt idx="9693">
                  <c:v>68.172-68.179</c:v>
                </c:pt>
                <c:pt idx="9694">
                  <c:v>68.179-68.186</c:v>
                </c:pt>
                <c:pt idx="9695">
                  <c:v>68.186-68.193</c:v>
                </c:pt>
                <c:pt idx="9696">
                  <c:v>68.193-68.200</c:v>
                </c:pt>
                <c:pt idx="9697">
                  <c:v>68.200-68.207</c:v>
                </c:pt>
                <c:pt idx="9698">
                  <c:v>68.207-68.214</c:v>
                </c:pt>
                <c:pt idx="9699">
                  <c:v>68.214-68.221</c:v>
                </c:pt>
                <c:pt idx="9700">
                  <c:v>68.221-68.228</c:v>
                </c:pt>
                <c:pt idx="9701">
                  <c:v>68.228-68.235</c:v>
                </c:pt>
                <c:pt idx="9702">
                  <c:v>68.235-68.242</c:v>
                </c:pt>
                <c:pt idx="9703">
                  <c:v>68.242-68.249</c:v>
                </c:pt>
                <c:pt idx="9704">
                  <c:v>68.249-68.257</c:v>
                </c:pt>
                <c:pt idx="9705">
                  <c:v>68.257-68.264</c:v>
                </c:pt>
                <c:pt idx="9706">
                  <c:v>68.264-68.271</c:v>
                </c:pt>
                <c:pt idx="9707">
                  <c:v>68.271-68.278</c:v>
                </c:pt>
                <c:pt idx="9708">
                  <c:v>68.278-68.285</c:v>
                </c:pt>
                <c:pt idx="9709">
                  <c:v>68.285-68.292</c:v>
                </c:pt>
                <c:pt idx="9710">
                  <c:v>68.292-68.299</c:v>
                </c:pt>
                <c:pt idx="9711">
                  <c:v>68.299-68.306</c:v>
                </c:pt>
                <c:pt idx="9712">
                  <c:v>68.306-68.313</c:v>
                </c:pt>
                <c:pt idx="9713">
                  <c:v>68.313-68.320</c:v>
                </c:pt>
                <c:pt idx="9714">
                  <c:v>68.320-68.327</c:v>
                </c:pt>
                <c:pt idx="9715">
                  <c:v>68.327-68.334</c:v>
                </c:pt>
                <c:pt idx="9716">
                  <c:v>68.334-68.341</c:v>
                </c:pt>
                <c:pt idx="9717">
                  <c:v>68.341-68.348</c:v>
                </c:pt>
                <c:pt idx="9718">
                  <c:v>68.348-68.355</c:v>
                </c:pt>
                <c:pt idx="9719">
                  <c:v>68.355-68.362</c:v>
                </c:pt>
                <c:pt idx="9720">
                  <c:v>68.362-68.369</c:v>
                </c:pt>
                <c:pt idx="9721">
                  <c:v>68.369-68.376</c:v>
                </c:pt>
                <c:pt idx="9722">
                  <c:v>68.376-68.383</c:v>
                </c:pt>
                <c:pt idx="9723">
                  <c:v>68.383-68.390</c:v>
                </c:pt>
                <c:pt idx="9724">
                  <c:v>68.390-68.397</c:v>
                </c:pt>
                <c:pt idx="9725">
                  <c:v>68.397-68.404</c:v>
                </c:pt>
                <c:pt idx="9726">
                  <c:v>68.404-68.411</c:v>
                </c:pt>
                <c:pt idx="9727">
                  <c:v>68.411-68.418</c:v>
                </c:pt>
                <c:pt idx="9728">
                  <c:v>68.418-68.425</c:v>
                </c:pt>
                <c:pt idx="9729">
                  <c:v>68.425-68.432</c:v>
                </c:pt>
                <c:pt idx="9730">
                  <c:v>68.432-68.439</c:v>
                </c:pt>
                <c:pt idx="9731">
                  <c:v>68.439-68.446</c:v>
                </c:pt>
                <c:pt idx="9732">
                  <c:v>68.446-68.453</c:v>
                </c:pt>
                <c:pt idx="9733">
                  <c:v>68.453-68.460</c:v>
                </c:pt>
                <c:pt idx="9734">
                  <c:v>68.460-68.467</c:v>
                </c:pt>
                <c:pt idx="9735">
                  <c:v>68.467-68.474</c:v>
                </c:pt>
                <c:pt idx="9736">
                  <c:v>68.474-68.482</c:v>
                </c:pt>
                <c:pt idx="9737">
                  <c:v>68.482-68.489</c:v>
                </c:pt>
                <c:pt idx="9738">
                  <c:v>68.489-68.496</c:v>
                </c:pt>
                <c:pt idx="9739">
                  <c:v>68.496-68.503</c:v>
                </c:pt>
                <c:pt idx="9740">
                  <c:v>68.503-68.510</c:v>
                </c:pt>
                <c:pt idx="9741">
                  <c:v>68.510-68.517</c:v>
                </c:pt>
                <c:pt idx="9742">
                  <c:v>68.517-68.524</c:v>
                </c:pt>
                <c:pt idx="9743">
                  <c:v>68.524-68.531</c:v>
                </c:pt>
                <c:pt idx="9744">
                  <c:v>68.531-68.538</c:v>
                </c:pt>
                <c:pt idx="9745">
                  <c:v>68.538-68.545</c:v>
                </c:pt>
                <c:pt idx="9746">
                  <c:v>68.545-68.552</c:v>
                </c:pt>
                <c:pt idx="9747">
                  <c:v>68.552-68.559</c:v>
                </c:pt>
                <c:pt idx="9748">
                  <c:v>68.559-68.566</c:v>
                </c:pt>
                <c:pt idx="9749">
                  <c:v>68.566-68.573</c:v>
                </c:pt>
                <c:pt idx="9750">
                  <c:v>68.573-68.580</c:v>
                </c:pt>
                <c:pt idx="9751">
                  <c:v>68.580-68.587</c:v>
                </c:pt>
                <c:pt idx="9752">
                  <c:v>68.587-68.594</c:v>
                </c:pt>
                <c:pt idx="9753">
                  <c:v>68.594-68.601</c:v>
                </c:pt>
                <c:pt idx="9754">
                  <c:v>68.601-68.608</c:v>
                </c:pt>
                <c:pt idx="9755">
                  <c:v>68.608-68.615</c:v>
                </c:pt>
                <c:pt idx="9756">
                  <c:v>68.615-68.622</c:v>
                </c:pt>
                <c:pt idx="9757">
                  <c:v>68.622-68.629</c:v>
                </c:pt>
                <c:pt idx="9758">
                  <c:v>68.629-68.636</c:v>
                </c:pt>
                <c:pt idx="9759">
                  <c:v>68.636-68.643</c:v>
                </c:pt>
                <c:pt idx="9760">
                  <c:v>68.643-68.650</c:v>
                </c:pt>
                <c:pt idx="9761">
                  <c:v>68.650-68.657</c:v>
                </c:pt>
                <c:pt idx="9762">
                  <c:v>68.657-68.664</c:v>
                </c:pt>
                <c:pt idx="9763">
                  <c:v>68.664-68.671</c:v>
                </c:pt>
                <c:pt idx="9764">
                  <c:v>68.671-68.678</c:v>
                </c:pt>
                <c:pt idx="9765">
                  <c:v>68.678-68.685</c:v>
                </c:pt>
                <c:pt idx="9766">
                  <c:v>68.685-68.692</c:v>
                </c:pt>
                <c:pt idx="9767">
                  <c:v>68.692-68.700</c:v>
                </c:pt>
                <c:pt idx="9768">
                  <c:v>68.700-68.707</c:v>
                </c:pt>
                <c:pt idx="9769">
                  <c:v>68.707-68.714</c:v>
                </c:pt>
                <c:pt idx="9770">
                  <c:v>68.714-68.721</c:v>
                </c:pt>
                <c:pt idx="9771">
                  <c:v>68.721-68.728</c:v>
                </c:pt>
                <c:pt idx="9772">
                  <c:v>68.728-68.735</c:v>
                </c:pt>
                <c:pt idx="9773">
                  <c:v>68.735-68.742</c:v>
                </c:pt>
                <c:pt idx="9774">
                  <c:v>68.742-68.749</c:v>
                </c:pt>
                <c:pt idx="9775">
                  <c:v>68.749-68.756</c:v>
                </c:pt>
                <c:pt idx="9776">
                  <c:v>68.756-68.763</c:v>
                </c:pt>
                <c:pt idx="9777">
                  <c:v>68.763-68.770</c:v>
                </c:pt>
                <c:pt idx="9778">
                  <c:v>68.770-68.777</c:v>
                </c:pt>
                <c:pt idx="9779">
                  <c:v>68.777-68.784</c:v>
                </c:pt>
                <c:pt idx="9780">
                  <c:v>68.784-68.791</c:v>
                </c:pt>
                <c:pt idx="9781">
                  <c:v>68.791-68.798</c:v>
                </c:pt>
                <c:pt idx="9782">
                  <c:v>68.798-68.805</c:v>
                </c:pt>
                <c:pt idx="9783">
                  <c:v>68.805-68.812</c:v>
                </c:pt>
                <c:pt idx="9784">
                  <c:v>68.812-68.819</c:v>
                </c:pt>
                <c:pt idx="9785">
                  <c:v>68.819-68.826</c:v>
                </c:pt>
                <c:pt idx="9786">
                  <c:v>68.826-68.833</c:v>
                </c:pt>
                <c:pt idx="9787">
                  <c:v>68.833-68.840</c:v>
                </c:pt>
                <c:pt idx="9788">
                  <c:v>68.840-68.847</c:v>
                </c:pt>
                <c:pt idx="9789">
                  <c:v>68.847-68.854</c:v>
                </c:pt>
                <c:pt idx="9790">
                  <c:v>68.854-68.861</c:v>
                </c:pt>
                <c:pt idx="9791">
                  <c:v>68.861-68.868</c:v>
                </c:pt>
                <c:pt idx="9792">
                  <c:v>68.868-68.875</c:v>
                </c:pt>
                <c:pt idx="9793">
                  <c:v>68.875-68.882</c:v>
                </c:pt>
                <c:pt idx="9794">
                  <c:v>68.882-68.889</c:v>
                </c:pt>
                <c:pt idx="9795">
                  <c:v>68.889-68.896</c:v>
                </c:pt>
                <c:pt idx="9796">
                  <c:v>68.896-68.903</c:v>
                </c:pt>
                <c:pt idx="9797">
                  <c:v>68.903-68.910</c:v>
                </c:pt>
                <c:pt idx="9798">
                  <c:v>68.910-68.918</c:v>
                </c:pt>
                <c:pt idx="9799">
                  <c:v>68.918-68.925</c:v>
                </c:pt>
                <c:pt idx="9800">
                  <c:v>68.925-68.932</c:v>
                </c:pt>
                <c:pt idx="9801">
                  <c:v>68.932-68.939</c:v>
                </c:pt>
                <c:pt idx="9802">
                  <c:v>68.939-68.946</c:v>
                </c:pt>
                <c:pt idx="9803">
                  <c:v>68.946-68.953</c:v>
                </c:pt>
                <c:pt idx="9804">
                  <c:v>68.953-68.960</c:v>
                </c:pt>
                <c:pt idx="9805">
                  <c:v>68.960-68.967</c:v>
                </c:pt>
                <c:pt idx="9806">
                  <c:v>68.967-68.974</c:v>
                </c:pt>
                <c:pt idx="9807">
                  <c:v>68.974-68.981</c:v>
                </c:pt>
                <c:pt idx="9808">
                  <c:v>68.981-68.988</c:v>
                </c:pt>
                <c:pt idx="9809">
                  <c:v>68.988-68.995</c:v>
                </c:pt>
                <c:pt idx="9810">
                  <c:v>68.995-69.002</c:v>
                </c:pt>
                <c:pt idx="9811">
                  <c:v>69.002-69.009</c:v>
                </c:pt>
                <c:pt idx="9812">
                  <c:v>69.009-69.016</c:v>
                </c:pt>
                <c:pt idx="9813">
                  <c:v>69.016-69.023</c:v>
                </c:pt>
                <c:pt idx="9814">
                  <c:v>69.023-69.030</c:v>
                </c:pt>
                <c:pt idx="9815">
                  <c:v>69.030-69.037</c:v>
                </c:pt>
                <c:pt idx="9816">
                  <c:v>69.037-69.044</c:v>
                </c:pt>
                <c:pt idx="9817">
                  <c:v>69.044-69.051</c:v>
                </c:pt>
                <c:pt idx="9818">
                  <c:v>69.051-69.058</c:v>
                </c:pt>
                <c:pt idx="9819">
                  <c:v>69.058-69.065</c:v>
                </c:pt>
                <c:pt idx="9820">
                  <c:v>69.065-69.072</c:v>
                </c:pt>
                <c:pt idx="9821">
                  <c:v>69.072-69.079</c:v>
                </c:pt>
                <c:pt idx="9822">
                  <c:v>69.079-69.086</c:v>
                </c:pt>
                <c:pt idx="9823">
                  <c:v>69.086-69.093</c:v>
                </c:pt>
                <c:pt idx="9824">
                  <c:v>69.093-69.100</c:v>
                </c:pt>
                <c:pt idx="9825">
                  <c:v>69.100-69.107</c:v>
                </c:pt>
                <c:pt idx="9826">
                  <c:v>69.107-69.114</c:v>
                </c:pt>
                <c:pt idx="9827">
                  <c:v>69.114-69.121</c:v>
                </c:pt>
                <c:pt idx="9828">
                  <c:v>69.121-69.128</c:v>
                </c:pt>
                <c:pt idx="9829">
                  <c:v>69.128-69.136</c:v>
                </c:pt>
                <c:pt idx="9830">
                  <c:v>69.136-69.143</c:v>
                </c:pt>
                <c:pt idx="9831">
                  <c:v>69.143-69.150</c:v>
                </c:pt>
                <c:pt idx="9832">
                  <c:v>69.150-69.157</c:v>
                </c:pt>
                <c:pt idx="9833">
                  <c:v>69.157-69.164</c:v>
                </c:pt>
                <c:pt idx="9834">
                  <c:v>69.164-69.171</c:v>
                </c:pt>
                <c:pt idx="9835">
                  <c:v>69.171-69.178</c:v>
                </c:pt>
                <c:pt idx="9836">
                  <c:v>69.178-69.185</c:v>
                </c:pt>
                <c:pt idx="9837">
                  <c:v>69.185-69.192</c:v>
                </c:pt>
                <c:pt idx="9838">
                  <c:v>69.192-69.199</c:v>
                </c:pt>
                <c:pt idx="9839">
                  <c:v>69.199-69.206</c:v>
                </c:pt>
                <c:pt idx="9840">
                  <c:v>69.206-69.213</c:v>
                </c:pt>
                <c:pt idx="9841">
                  <c:v>69.213-69.220</c:v>
                </c:pt>
                <c:pt idx="9842">
                  <c:v>69.220-69.227</c:v>
                </c:pt>
                <c:pt idx="9843">
                  <c:v>69.227-69.234</c:v>
                </c:pt>
                <c:pt idx="9844">
                  <c:v>69.234-69.241</c:v>
                </c:pt>
                <c:pt idx="9845">
                  <c:v>69.241-69.248</c:v>
                </c:pt>
                <c:pt idx="9846">
                  <c:v>69.248-69.255</c:v>
                </c:pt>
                <c:pt idx="9847">
                  <c:v>69.255-69.262</c:v>
                </c:pt>
                <c:pt idx="9848">
                  <c:v>69.262-69.269</c:v>
                </c:pt>
                <c:pt idx="9849">
                  <c:v>69.269-69.276</c:v>
                </c:pt>
                <c:pt idx="9850">
                  <c:v>69.276-69.283</c:v>
                </c:pt>
                <c:pt idx="9851">
                  <c:v>69.283-69.290</c:v>
                </c:pt>
                <c:pt idx="9852">
                  <c:v>69.290-69.297</c:v>
                </c:pt>
                <c:pt idx="9853">
                  <c:v>69.297-69.304</c:v>
                </c:pt>
                <c:pt idx="9854">
                  <c:v>69.304-69.311</c:v>
                </c:pt>
                <c:pt idx="9855">
                  <c:v>69.311-69.318</c:v>
                </c:pt>
                <c:pt idx="9856">
                  <c:v>69.318-69.325</c:v>
                </c:pt>
                <c:pt idx="9857">
                  <c:v>69.325-69.332</c:v>
                </c:pt>
                <c:pt idx="9858">
                  <c:v>69.332-69.339</c:v>
                </c:pt>
                <c:pt idx="9859">
                  <c:v>69.339-69.346</c:v>
                </c:pt>
                <c:pt idx="9860">
                  <c:v>69.346-69.354</c:v>
                </c:pt>
                <c:pt idx="9861">
                  <c:v>69.354-69.361</c:v>
                </c:pt>
                <c:pt idx="9862">
                  <c:v>69.361-69.368</c:v>
                </c:pt>
                <c:pt idx="9863">
                  <c:v>69.368-69.375</c:v>
                </c:pt>
                <c:pt idx="9864">
                  <c:v>69.375-69.382</c:v>
                </c:pt>
                <c:pt idx="9865">
                  <c:v>69.382-69.389</c:v>
                </c:pt>
                <c:pt idx="9866">
                  <c:v>69.389-69.396</c:v>
                </c:pt>
                <c:pt idx="9867">
                  <c:v>69.396-69.403</c:v>
                </c:pt>
                <c:pt idx="9868">
                  <c:v>69.403-69.410</c:v>
                </c:pt>
                <c:pt idx="9869">
                  <c:v>69.410-69.417</c:v>
                </c:pt>
                <c:pt idx="9870">
                  <c:v>69.417-69.424</c:v>
                </c:pt>
                <c:pt idx="9871">
                  <c:v>69.424-69.431</c:v>
                </c:pt>
                <c:pt idx="9872">
                  <c:v>69.431-69.438</c:v>
                </c:pt>
                <c:pt idx="9873">
                  <c:v>69.438-69.445</c:v>
                </c:pt>
                <c:pt idx="9874">
                  <c:v>69.445-69.452</c:v>
                </c:pt>
                <c:pt idx="9875">
                  <c:v>69.452-69.459</c:v>
                </c:pt>
                <c:pt idx="9876">
                  <c:v>69.459-69.466</c:v>
                </c:pt>
                <c:pt idx="9877">
                  <c:v>69.466-69.473</c:v>
                </c:pt>
                <c:pt idx="9878">
                  <c:v>69.473-69.480</c:v>
                </c:pt>
                <c:pt idx="9879">
                  <c:v>69.480-69.487</c:v>
                </c:pt>
                <c:pt idx="9880">
                  <c:v>69.487-69.494</c:v>
                </c:pt>
                <c:pt idx="9881">
                  <c:v>69.494-69.501</c:v>
                </c:pt>
                <c:pt idx="9882">
                  <c:v>69.501-69.508</c:v>
                </c:pt>
                <c:pt idx="9883">
                  <c:v>69.508-69.515</c:v>
                </c:pt>
                <c:pt idx="9884">
                  <c:v>69.515-69.522</c:v>
                </c:pt>
                <c:pt idx="9885">
                  <c:v>69.522-69.529</c:v>
                </c:pt>
                <c:pt idx="9886">
                  <c:v>69.529-69.536</c:v>
                </c:pt>
                <c:pt idx="9887">
                  <c:v>69.536-69.543</c:v>
                </c:pt>
                <c:pt idx="9888">
                  <c:v>69.543-69.550</c:v>
                </c:pt>
                <c:pt idx="9889">
                  <c:v>69.550-69.557</c:v>
                </c:pt>
                <c:pt idx="9890">
                  <c:v>69.557-69.564</c:v>
                </c:pt>
                <c:pt idx="9891">
                  <c:v>69.564-69.572</c:v>
                </c:pt>
                <c:pt idx="9892">
                  <c:v>69.572-69.579</c:v>
                </c:pt>
                <c:pt idx="9893">
                  <c:v>69.579-69.586</c:v>
                </c:pt>
                <c:pt idx="9894">
                  <c:v>69.586-69.593</c:v>
                </c:pt>
                <c:pt idx="9895">
                  <c:v>69.593-69.600</c:v>
                </c:pt>
                <c:pt idx="9896">
                  <c:v>69.600-69.607</c:v>
                </c:pt>
                <c:pt idx="9897">
                  <c:v>69.607-69.614</c:v>
                </c:pt>
                <c:pt idx="9898">
                  <c:v>69.614-69.621</c:v>
                </c:pt>
                <c:pt idx="9899">
                  <c:v>69.621-69.628</c:v>
                </c:pt>
                <c:pt idx="9900">
                  <c:v>69.628-69.635</c:v>
                </c:pt>
                <c:pt idx="9901">
                  <c:v>69.635-69.642</c:v>
                </c:pt>
                <c:pt idx="9902">
                  <c:v>69.642-69.649</c:v>
                </c:pt>
                <c:pt idx="9903">
                  <c:v>69.649-69.656</c:v>
                </c:pt>
                <c:pt idx="9904">
                  <c:v>69.656-69.663</c:v>
                </c:pt>
                <c:pt idx="9905">
                  <c:v>69.663-69.670</c:v>
                </c:pt>
                <c:pt idx="9906">
                  <c:v>69.670-69.677</c:v>
                </c:pt>
                <c:pt idx="9907">
                  <c:v>69.677-69.684</c:v>
                </c:pt>
                <c:pt idx="9908">
                  <c:v>69.684-69.691</c:v>
                </c:pt>
                <c:pt idx="9909">
                  <c:v>69.691-69.698</c:v>
                </c:pt>
                <c:pt idx="9910">
                  <c:v>69.698-69.705</c:v>
                </c:pt>
                <c:pt idx="9911">
                  <c:v>69.705-69.712</c:v>
                </c:pt>
                <c:pt idx="9912">
                  <c:v>69.712-69.719</c:v>
                </c:pt>
                <c:pt idx="9913">
                  <c:v>69.719-69.726</c:v>
                </c:pt>
                <c:pt idx="9914">
                  <c:v>69.726-69.733</c:v>
                </c:pt>
                <c:pt idx="9915">
                  <c:v>69.733-69.740</c:v>
                </c:pt>
                <c:pt idx="9916">
                  <c:v>69.740-69.747</c:v>
                </c:pt>
                <c:pt idx="9917">
                  <c:v>69.747-69.754</c:v>
                </c:pt>
                <c:pt idx="9918">
                  <c:v>69.754-69.761</c:v>
                </c:pt>
                <c:pt idx="9919">
                  <c:v>69.761-69.768</c:v>
                </c:pt>
                <c:pt idx="9920">
                  <c:v>69.768-69.775</c:v>
                </c:pt>
                <c:pt idx="9921">
                  <c:v>69.775-69.782</c:v>
                </c:pt>
                <c:pt idx="9922">
                  <c:v>69.782-69.790</c:v>
                </c:pt>
                <c:pt idx="9923">
                  <c:v>69.790-69.797</c:v>
                </c:pt>
                <c:pt idx="9924">
                  <c:v>69.797-69.804</c:v>
                </c:pt>
                <c:pt idx="9925">
                  <c:v>69.804-69.811</c:v>
                </c:pt>
                <c:pt idx="9926">
                  <c:v>69.811-69.818</c:v>
                </c:pt>
                <c:pt idx="9927">
                  <c:v>69.818-69.825</c:v>
                </c:pt>
                <c:pt idx="9928">
                  <c:v>69.825-69.832</c:v>
                </c:pt>
                <c:pt idx="9929">
                  <c:v>69.832-69.839</c:v>
                </c:pt>
                <c:pt idx="9930">
                  <c:v>69.839-69.846</c:v>
                </c:pt>
                <c:pt idx="9931">
                  <c:v>69.846-69.853</c:v>
                </c:pt>
                <c:pt idx="9932">
                  <c:v>69.853-69.860</c:v>
                </c:pt>
                <c:pt idx="9933">
                  <c:v>69.860-69.867</c:v>
                </c:pt>
                <c:pt idx="9934">
                  <c:v>69.867-69.874</c:v>
                </c:pt>
                <c:pt idx="9935">
                  <c:v>69.874-69.881</c:v>
                </c:pt>
                <c:pt idx="9936">
                  <c:v>69.881-69.888</c:v>
                </c:pt>
                <c:pt idx="9937">
                  <c:v>69.888-69.895</c:v>
                </c:pt>
                <c:pt idx="9938">
                  <c:v>69.895-69.902</c:v>
                </c:pt>
                <c:pt idx="9939">
                  <c:v>69.902-69.909</c:v>
                </c:pt>
                <c:pt idx="9940">
                  <c:v>69.909-69.916</c:v>
                </c:pt>
                <c:pt idx="9941">
                  <c:v>69.916-69.923</c:v>
                </c:pt>
                <c:pt idx="9942">
                  <c:v>69.923-69.930</c:v>
                </c:pt>
                <c:pt idx="9943">
                  <c:v>69.930-69.937</c:v>
                </c:pt>
                <c:pt idx="9944">
                  <c:v>69.937-69.944</c:v>
                </c:pt>
                <c:pt idx="9945">
                  <c:v>69.944-69.951</c:v>
                </c:pt>
                <c:pt idx="9946">
                  <c:v>69.951-69.958</c:v>
                </c:pt>
                <c:pt idx="9947">
                  <c:v>69.958-69.965</c:v>
                </c:pt>
                <c:pt idx="9948">
                  <c:v>69.965-69.972</c:v>
                </c:pt>
                <c:pt idx="9949">
                  <c:v>69.972-69.979</c:v>
                </c:pt>
                <c:pt idx="9950">
                  <c:v>69.979-69.986</c:v>
                </c:pt>
                <c:pt idx="9951">
                  <c:v>69.986-69.993</c:v>
                </c:pt>
                <c:pt idx="9952">
                  <c:v>69.993-70.000</c:v>
                </c:pt>
                <c:pt idx="9953">
                  <c:v>70.000-70.008</c:v>
                </c:pt>
                <c:pt idx="9954">
                  <c:v>70.008-70.015</c:v>
                </c:pt>
                <c:pt idx="9955">
                  <c:v>70.015-70.022</c:v>
                </c:pt>
                <c:pt idx="9956">
                  <c:v>70.022-70.029</c:v>
                </c:pt>
                <c:pt idx="9957">
                  <c:v>70.029-70.036</c:v>
                </c:pt>
                <c:pt idx="9958">
                  <c:v>70.036-70.043</c:v>
                </c:pt>
                <c:pt idx="9959">
                  <c:v>70.043-70.050</c:v>
                </c:pt>
                <c:pt idx="9960">
                  <c:v>70.050-70.057</c:v>
                </c:pt>
                <c:pt idx="9961">
                  <c:v>70.057-70.064</c:v>
                </c:pt>
                <c:pt idx="9962">
                  <c:v>70.064-70.071</c:v>
                </c:pt>
                <c:pt idx="9963">
                  <c:v>70.071-70.078</c:v>
                </c:pt>
                <c:pt idx="9964">
                  <c:v>70.078-70.085</c:v>
                </c:pt>
                <c:pt idx="9965">
                  <c:v>70.085-70.092</c:v>
                </c:pt>
                <c:pt idx="9966">
                  <c:v>70.092-70.099</c:v>
                </c:pt>
                <c:pt idx="9967">
                  <c:v>70.099-70.106</c:v>
                </c:pt>
                <c:pt idx="9968">
                  <c:v>70.106-70.113</c:v>
                </c:pt>
                <c:pt idx="9969">
                  <c:v>70.113-70.120</c:v>
                </c:pt>
                <c:pt idx="9970">
                  <c:v>70.120-70.127</c:v>
                </c:pt>
                <c:pt idx="9971">
                  <c:v>70.127-70.134</c:v>
                </c:pt>
                <c:pt idx="9972">
                  <c:v>70.134-70.141</c:v>
                </c:pt>
                <c:pt idx="9973">
                  <c:v>70.141-70.148</c:v>
                </c:pt>
                <c:pt idx="9974">
                  <c:v>70.148-70.155</c:v>
                </c:pt>
                <c:pt idx="9975">
                  <c:v>70.155-70.162</c:v>
                </c:pt>
                <c:pt idx="9976">
                  <c:v>70.162-70.169</c:v>
                </c:pt>
                <c:pt idx="9977">
                  <c:v>70.169-70.176</c:v>
                </c:pt>
                <c:pt idx="9978">
                  <c:v>70.176-70.183</c:v>
                </c:pt>
                <c:pt idx="9979">
                  <c:v>70.183-70.190</c:v>
                </c:pt>
                <c:pt idx="9980">
                  <c:v>70.190-70.197</c:v>
                </c:pt>
                <c:pt idx="9981">
                  <c:v>70.197-70.204</c:v>
                </c:pt>
                <c:pt idx="9982">
                  <c:v>70.204-70.211</c:v>
                </c:pt>
                <c:pt idx="9983">
                  <c:v>70.211-70.218</c:v>
                </c:pt>
                <c:pt idx="9984">
                  <c:v>70.218-70.226</c:v>
                </c:pt>
                <c:pt idx="9985">
                  <c:v>70.226-70.233</c:v>
                </c:pt>
                <c:pt idx="9986">
                  <c:v>70.233-70.240</c:v>
                </c:pt>
                <c:pt idx="9987">
                  <c:v>70.240-70.247</c:v>
                </c:pt>
                <c:pt idx="9988">
                  <c:v>70.247-70.254</c:v>
                </c:pt>
                <c:pt idx="9989">
                  <c:v>70.254-70.261</c:v>
                </c:pt>
                <c:pt idx="9990">
                  <c:v>70.261-70.268</c:v>
                </c:pt>
                <c:pt idx="9991">
                  <c:v>70.268-70.275</c:v>
                </c:pt>
                <c:pt idx="9992">
                  <c:v>70.275-70.282</c:v>
                </c:pt>
                <c:pt idx="9993">
                  <c:v>70.282-70.289</c:v>
                </c:pt>
                <c:pt idx="9994">
                  <c:v>70.289-70.296</c:v>
                </c:pt>
                <c:pt idx="9995">
                  <c:v>70.296-70.303</c:v>
                </c:pt>
                <c:pt idx="9996">
                  <c:v>70.303-70.310</c:v>
                </c:pt>
                <c:pt idx="9997">
                  <c:v>70.310-70.317</c:v>
                </c:pt>
                <c:pt idx="9998">
                  <c:v>70.317-70.324</c:v>
                </c:pt>
                <c:pt idx="9999">
                  <c:v>70.324-70.331</c:v>
                </c:pt>
              </c:strCache>
            </c:strRef>
          </c:cat>
          <c:val>
            <c:numRef>
              <c:f>Data!$B$3:$B$10002</c:f>
              <c:numCache>
                <c:formatCode>General</c:formatCode>
                <c:ptCount val="10000"/>
                <c:pt idx="0">
                  <c:v>0.18371699999999999</c:v>
                </c:pt>
                <c:pt idx="1">
                  <c:v>-9.3682599999999998E-3</c:v>
                </c:pt>
                <c:pt idx="2">
                  <c:v>-0.194608</c:v>
                </c:pt>
                <c:pt idx="3">
                  <c:v>-2.5986200000000001E-2</c:v>
                </c:pt>
                <c:pt idx="4">
                  <c:v>#N/A</c:v>
                </c:pt>
                <c:pt idx="5">
                  <c:v>0.30124499999999999</c:v>
                </c:pt>
                <c:pt idx="6">
                  <c:v>0.18396799999999999</c:v>
                </c:pt>
                <c:pt idx="7">
                  <c:v>-2.1918199999999999E-2</c:v>
                </c:pt>
                <c:pt idx="8">
                  <c:v>#N/A</c:v>
                </c:pt>
                <c:pt idx="9">
                  <c:v>-0.208846</c:v>
                </c:pt>
                <c:pt idx="10">
                  <c:v>-0.91425800000000002</c:v>
                </c:pt>
                <c:pt idx="11">
                  <c:v>-0.62682000000000004</c:v>
                </c:pt>
                <c:pt idx="12">
                  <c:v>-0.826627</c:v>
                </c:pt>
                <c:pt idx="13">
                  <c:v>#N/A</c:v>
                </c:pt>
                <c:pt idx="14">
                  <c:v>-2.5023200000000001</c:v>
                </c:pt>
                <c:pt idx="15">
                  <c:v>-4.8432700000000004</c:v>
                </c:pt>
                <c:pt idx="16">
                  <c:v>-6.8368000000000002</c:v>
                </c:pt>
                <c:pt idx="17">
                  <c:v>#N/A</c:v>
                </c:pt>
                <c:pt idx="18">
                  <c:v>-8.9267000000000003</c:v>
                </c:pt>
                <c:pt idx="19">
                  <c:v>-11.6477</c:v>
                </c:pt>
                <c:pt idx="20">
                  <c:v>-13.3659</c:v>
                </c:pt>
                <c:pt idx="21">
                  <c:v>#N/A</c:v>
                </c:pt>
                <c:pt idx="22">
                  <c:v>-15.7311</c:v>
                </c:pt>
                <c:pt idx="23">
                  <c:v>-18.1313</c:v>
                </c:pt>
                <c:pt idx="24">
                  <c:v>-19.347999999999999</c:v>
                </c:pt>
                <c:pt idx="25">
                  <c:v>#N/A</c:v>
                </c:pt>
                <c:pt idx="26">
                  <c:v>-21.979700000000001</c:v>
                </c:pt>
                <c:pt idx="27">
                  <c:v>-21.866700000000002</c:v>
                </c:pt>
                <c:pt idx="28">
                  <c:v>#N/A</c:v>
                </c:pt>
                <c:pt idx="29">
                  <c:v>-23.3657</c:v>
                </c:pt>
                <c:pt idx="30">
                  <c:v>-22.0746</c:v>
                </c:pt>
                <c:pt idx="31">
                  <c:v>-23.339400000000001</c:v>
                </c:pt>
                <c:pt idx="32">
                  <c:v>#N/A</c:v>
                </c:pt>
                <c:pt idx="33">
                  <c:v>-22.242799999999999</c:v>
                </c:pt>
                <c:pt idx="34">
                  <c:v>-21.577000000000002</c:v>
                </c:pt>
                <c:pt idx="35">
                  <c:v>-21.419499999999999</c:v>
                </c:pt>
                <c:pt idx="36">
                  <c:v>-20.7653</c:v>
                </c:pt>
                <c:pt idx="37">
                  <c:v>#N/A</c:v>
                </c:pt>
                <c:pt idx="38">
                  <c:v>-19.766300000000001</c:v>
                </c:pt>
                <c:pt idx="39">
                  <c:v>-19.5185</c:v>
                </c:pt>
                <c:pt idx="40">
                  <c:v>-18.360700000000001</c:v>
                </c:pt>
                <c:pt idx="41">
                  <c:v>#N/A</c:v>
                </c:pt>
                <c:pt idx="42">
                  <c:v>-17.1236</c:v>
                </c:pt>
                <c:pt idx="43">
                  <c:v>-14.665800000000001</c:v>
                </c:pt>
                <c:pt idx="44">
                  <c:v>-11.1096</c:v>
                </c:pt>
                <c:pt idx="45">
                  <c:v>#N/A</c:v>
                </c:pt>
                <c:pt idx="46">
                  <c:v>-9.9107900000000004</c:v>
                </c:pt>
                <c:pt idx="47">
                  <c:v>-7.6780200000000001</c:v>
                </c:pt>
                <c:pt idx="48">
                  <c:v>-6.1657299999999999</c:v>
                </c:pt>
                <c:pt idx="49">
                  <c:v>-4.6415899999999999</c:v>
                </c:pt>
                <c:pt idx="50">
                  <c:v>#N/A</c:v>
                </c:pt>
                <c:pt idx="51">
                  <c:v>-3.5757599999999998</c:v>
                </c:pt>
                <c:pt idx="52">
                  <c:v>-2.38341</c:v>
                </c:pt>
                <c:pt idx="53">
                  <c:v>-1.36033</c:v>
                </c:pt>
                <c:pt idx="54">
                  <c:v>#N/A</c:v>
                </c:pt>
                <c:pt idx="55">
                  <c:v>-1.1517500000000001</c:v>
                </c:pt>
                <c:pt idx="56">
                  <c:v>-0.56781300000000001</c:v>
                </c:pt>
                <c:pt idx="57">
                  <c:v>-1.28684</c:v>
                </c:pt>
                <c:pt idx="58">
                  <c:v>#N/A</c:v>
                </c:pt>
                <c:pt idx="59">
                  <c:v>-1.24871</c:v>
                </c:pt>
                <c:pt idx="60">
                  <c:v>-1.19496</c:v>
                </c:pt>
                <c:pt idx="61">
                  <c:v>-1.75362</c:v>
                </c:pt>
                <c:pt idx="62">
                  <c:v>-1.99007</c:v>
                </c:pt>
                <c:pt idx="63">
                  <c:v>#N/A</c:v>
                </c:pt>
                <c:pt idx="64">
                  <c:v>-2.1709700000000001</c:v>
                </c:pt>
                <c:pt idx="65">
                  <c:v>-1.9059299999999999</c:v>
                </c:pt>
                <c:pt idx="66">
                  <c:v>-2.38367</c:v>
                </c:pt>
                <c:pt idx="67">
                  <c:v>#N/A</c:v>
                </c:pt>
                <c:pt idx="68">
                  <c:v>-3.1558000000000002</c:v>
                </c:pt>
                <c:pt idx="69">
                  <c:v>-2.8099599999999998</c:v>
                </c:pt>
                <c:pt idx="70">
                  <c:v>-3.54549</c:v>
                </c:pt>
                <c:pt idx="71">
                  <c:v>-3.6334300000000002</c:v>
                </c:pt>
                <c:pt idx="72">
                  <c:v>#N/A</c:v>
                </c:pt>
                <c:pt idx="73">
                  <c:v>-3.2316600000000002</c:v>
                </c:pt>
                <c:pt idx="74">
                  <c:v>-3.3774099999999998</c:v>
                </c:pt>
                <c:pt idx="75">
                  <c:v>-3.1239499999999998</c:v>
                </c:pt>
                <c:pt idx="76">
                  <c:v>#N/A</c:v>
                </c:pt>
                <c:pt idx="77">
                  <c:v>-2.8182200000000002</c:v>
                </c:pt>
                <c:pt idx="78">
                  <c:v>-2.67841</c:v>
                </c:pt>
                <c:pt idx="79">
                  <c:v>-2.0364</c:v>
                </c:pt>
                <c:pt idx="80">
                  <c:v>#N/A</c:v>
                </c:pt>
                <c:pt idx="81">
                  <c:v>-2.2124600000000001</c:v>
                </c:pt>
                <c:pt idx="82">
                  <c:v>-2.3682500000000002</c:v>
                </c:pt>
                <c:pt idx="83">
                  <c:v>-1.8830899999999999</c:v>
                </c:pt>
                <c:pt idx="84">
                  <c:v>#N/A</c:v>
                </c:pt>
                <c:pt idx="85">
                  <c:v>-2.3298899999999998</c:v>
                </c:pt>
                <c:pt idx="86">
                  <c:v>-2.2215699999999998</c:v>
                </c:pt>
                <c:pt idx="87">
                  <c:v>-1.83839</c:v>
                </c:pt>
                <c:pt idx="88">
                  <c:v>#N/A</c:v>
                </c:pt>
                <c:pt idx="89">
                  <c:v>-1.7908999999999999</c:v>
                </c:pt>
                <c:pt idx="90">
                  <c:v>-2.21597</c:v>
                </c:pt>
                <c:pt idx="91">
                  <c:v>-2.6846199999999998</c:v>
                </c:pt>
                <c:pt idx="92">
                  <c:v>-2.7277800000000001</c:v>
                </c:pt>
                <c:pt idx="93">
                  <c:v>#N/A</c:v>
                </c:pt>
                <c:pt idx="94">
                  <c:v>-2.4864600000000001</c:v>
                </c:pt>
                <c:pt idx="95">
                  <c:v>-2.8507099999999999</c:v>
                </c:pt>
                <c:pt idx="96">
                  <c:v>#N/A</c:v>
                </c:pt>
                <c:pt idx="97">
                  <c:v>-2.6602100000000002</c:v>
                </c:pt>
                <c:pt idx="98">
                  <c:v>-3.0885699999999998</c:v>
                </c:pt>
                <c:pt idx="99">
                  <c:v>#N/A</c:v>
                </c:pt>
                <c:pt idx="100">
                  <c:v>-3.0177200000000002</c:v>
                </c:pt>
                <c:pt idx="101">
                  <c:v>-1.80457</c:v>
                </c:pt>
                <c:pt idx="102">
                  <c:v>#N/A</c:v>
                </c:pt>
                <c:pt idx="103">
                  <c:v>-2.3974600000000001</c:v>
                </c:pt>
                <c:pt idx="104">
                  <c:v>-2.0232899999999998</c:v>
                </c:pt>
                <c:pt idx="105">
                  <c:v>-2.3589099999999998</c:v>
                </c:pt>
                <c:pt idx="106">
                  <c:v>-2.3201100000000001</c:v>
                </c:pt>
                <c:pt idx="107">
                  <c:v>#N/A</c:v>
                </c:pt>
                <c:pt idx="108">
                  <c:v>-2.6393</c:v>
                </c:pt>
                <c:pt idx="109">
                  <c:v>-3.2088100000000002</c:v>
                </c:pt>
                <c:pt idx="110">
                  <c:v>-3.0791400000000002</c:v>
                </c:pt>
                <c:pt idx="111">
                  <c:v>#N/A</c:v>
                </c:pt>
                <c:pt idx="112">
                  <c:v>-2.9380199999999999</c:v>
                </c:pt>
                <c:pt idx="113">
                  <c:v>-2.5284399999999998</c:v>
                </c:pt>
                <c:pt idx="114">
                  <c:v>-2.5264099999999998</c:v>
                </c:pt>
                <c:pt idx="115">
                  <c:v>-3.0432399999999999</c:v>
                </c:pt>
                <c:pt idx="116">
                  <c:v>#N/A</c:v>
                </c:pt>
                <c:pt idx="117">
                  <c:v>-3.1932499999999999</c:v>
                </c:pt>
                <c:pt idx="118">
                  <c:v>-3.30484</c:v>
                </c:pt>
                <c:pt idx="119">
                  <c:v>-3.4372400000000001</c:v>
                </c:pt>
                <c:pt idx="120">
                  <c:v>#N/A</c:v>
                </c:pt>
                <c:pt idx="121">
                  <c:v>-2.7912499999999998</c:v>
                </c:pt>
                <c:pt idx="122">
                  <c:v>-2.9475199999999999</c:v>
                </c:pt>
                <c:pt idx="123">
                  <c:v>-2.0070299999999999</c:v>
                </c:pt>
                <c:pt idx="124">
                  <c:v>-2.1956099999999998</c:v>
                </c:pt>
                <c:pt idx="125">
                  <c:v>#N/A</c:v>
                </c:pt>
                <c:pt idx="126">
                  <c:v>-2.3136700000000001</c:v>
                </c:pt>
                <c:pt idx="127">
                  <c:v>-2.6214900000000001</c:v>
                </c:pt>
                <c:pt idx="128">
                  <c:v>-2.7241399999999998</c:v>
                </c:pt>
                <c:pt idx="129">
                  <c:v>-2.9976500000000001</c:v>
                </c:pt>
                <c:pt idx="130">
                  <c:v>#N/A</c:v>
                </c:pt>
                <c:pt idx="131">
                  <c:v>-3.1407600000000002</c:v>
                </c:pt>
                <c:pt idx="132">
                  <c:v>-2.6044499999999999</c:v>
                </c:pt>
                <c:pt idx="133">
                  <c:v>-2.5642900000000002</c:v>
                </c:pt>
                <c:pt idx="134">
                  <c:v>#N/A</c:v>
                </c:pt>
                <c:pt idx="135">
                  <c:v>-2.6963699999999999</c:v>
                </c:pt>
                <c:pt idx="136">
                  <c:v>-2.9410799999999999</c:v>
                </c:pt>
                <c:pt idx="137">
                  <c:v>-3.1156600000000001</c:v>
                </c:pt>
                <c:pt idx="138">
                  <c:v>#N/A</c:v>
                </c:pt>
                <c:pt idx="139">
                  <c:v>-2.9628999999999999</c:v>
                </c:pt>
                <c:pt idx="140">
                  <c:v>-2.6333299999999999</c:v>
                </c:pt>
                <c:pt idx="141">
                  <c:v>-1.84135</c:v>
                </c:pt>
                <c:pt idx="142">
                  <c:v>-2.4055900000000001</c:v>
                </c:pt>
                <c:pt idx="143">
                  <c:v>#N/A</c:v>
                </c:pt>
                <c:pt idx="144">
                  <c:v>-2.4770400000000001</c:v>
                </c:pt>
                <c:pt idx="145">
                  <c:v>-2.4129900000000002</c:v>
                </c:pt>
                <c:pt idx="146">
                  <c:v>-2.4997400000000001</c:v>
                </c:pt>
                <c:pt idx="147">
                  <c:v>#N/A</c:v>
                </c:pt>
                <c:pt idx="148">
                  <c:v>-2.3750599999999999</c:v>
                </c:pt>
                <c:pt idx="149">
                  <c:v>-2.5498500000000002</c:v>
                </c:pt>
                <c:pt idx="150">
                  <c:v>-2.6785899999999998</c:v>
                </c:pt>
                <c:pt idx="151">
                  <c:v>-2.7325900000000001</c:v>
                </c:pt>
                <c:pt idx="152">
                  <c:v>#N/A</c:v>
                </c:pt>
                <c:pt idx="153">
                  <c:v>-2.6444700000000001</c:v>
                </c:pt>
                <c:pt idx="154">
                  <c:v>-2.6987800000000002</c:v>
                </c:pt>
                <c:pt idx="155">
                  <c:v>-3.2789100000000002</c:v>
                </c:pt>
                <c:pt idx="156">
                  <c:v>-3.1101000000000001</c:v>
                </c:pt>
                <c:pt idx="157">
                  <c:v>#N/A</c:v>
                </c:pt>
                <c:pt idx="158">
                  <c:v>-3.35005</c:v>
                </c:pt>
                <c:pt idx="159">
                  <c:v>-2.9828100000000002</c:v>
                </c:pt>
                <c:pt idx="160">
                  <c:v>-2.4724400000000002</c:v>
                </c:pt>
                <c:pt idx="161">
                  <c:v>#N/A</c:v>
                </c:pt>
                <c:pt idx="162">
                  <c:v>-2.70452</c:v>
                </c:pt>
                <c:pt idx="163">
                  <c:v>-2.5235400000000001</c:v>
                </c:pt>
                <c:pt idx="164">
                  <c:v>-2.33189</c:v>
                </c:pt>
                <c:pt idx="165">
                  <c:v>-2.4966200000000001</c:v>
                </c:pt>
                <c:pt idx="166">
                  <c:v>#N/A</c:v>
                </c:pt>
                <c:pt idx="167">
                  <c:v>-3.7161300000000002</c:v>
                </c:pt>
                <c:pt idx="168">
                  <c:v>#N/A</c:v>
                </c:pt>
                <c:pt idx="169">
                  <c:v>-2.7546400000000002</c:v>
                </c:pt>
                <c:pt idx="170">
                  <c:v>-3.06081</c:v>
                </c:pt>
                <c:pt idx="171">
                  <c:v>#N/A</c:v>
                </c:pt>
                <c:pt idx="172">
                  <c:v>-2.7568100000000002</c:v>
                </c:pt>
                <c:pt idx="173">
                  <c:v>-2.8704999999999998</c:v>
                </c:pt>
                <c:pt idx="174">
                  <c:v>-2.3934899999999999</c:v>
                </c:pt>
                <c:pt idx="175">
                  <c:v>#N/A</c:v>
                </c:pt>
                <c:pt idx="176">
                  <c:v>-2.8367399999999998</c:v>
                </c:pt>
                <c:pt idx="177">
                  <c:v>-3.0976599999999999</c:v>
                </c:pt>
                <c:pt idx="178">
                  <c:v>-3.7375699999999998</c:v>
                </c:pt>
                <c:pt idx="179">
                  <c:v>-2.8297599999999998</c:v>
                </c:pt>
                <c:pt idx="180">
                  <c:v>#N/A</c:v>
                </c:pt>
                <c:pt idx="181">
                  <c:v>-2.5622699999999998</c:v>
                </c:pt>
                <c:pt idx="182">
                  <c:v>-2.5084599999999999</c:v>
                </c:pt>
                <c:pt idx="183">
                  <c:v>-2.2355399999999999</c:v>
                </c:pt>
                <c:pt idx="184">
                  <c:v>#N/A</c:v>
                </c:pt>
                <c:pt idx="185">
                  <c:v>-2.3428800000000001</c:v>
                </c:pt>
                <c:pt idx="186">
                  <c:v>-2.75387</c:v>
                </c:pt>
                <c:pt idx="187">
                  <c:v>-3.2086100000000002</c:v>
                </c:pt>
                <c:pt idx="188">
                  <c:v>-2.7276899999999999</c:v>
                </c:pt>
                <c:pt idx="189">
                  <c:v>#N/A</c:v>
                </c:pt>
                <c:pt idx="190">
                  <c:v>-2.8218700000000001</c:v>
                </c:pt>
                <c:pt idx="191">
                  <c:v>-3.3551099999999998</c:v>
                </c:pt>
                <c:pt idx="192">
                  <c:v>-2.9276300000000002</c:v>
                </c:pt>
                <c:pt idx="193">
                  <c:v>-3.0958399999999999</c:v>
                </c:pt>
                <c:pt idx="194">
                  <c:v>#N/A</c:v>
                </c:pt>
                <c:pt idx="195">
                  <c:v>-3.1463399999999999</c:v>
                </c:pt>
                <c:pt idx="196">
                  <c:v>-2.8446099999999999</c:v>
                </c:pt>
                <c:pt idx="197">
                  <c:v>-2.7055799999999999</c:v>
                </c:pt>
                <c:pt idx="198">
                  <c:v>#N/A</c:v>
                </c:pt>
                <c:pt idx="199">
                  <c:v>-3.2251099999999999</c:v>
                </c:pt>
                <c:pt idx="200">
                  <c:v>-3.2037499999999999</c:v>
                </c:pt>
                <c:pt idx="201">
                  <c:v>-2.84816</c:v>
                </c:pt>
                <c:pt idx="202">
                  <c:v>-2.3233100000000002</c:v>
                </c:pt>
                <c:pt idx="203">
                  <c:v>#N/A</c:v>
                </c:pt>
                <c:pt idx="204">
                  <c:v>-2.5013200000000002</c:v>
                </c:pt>
                <c:pt idx="205">
                  <c:v>-3.04068</c:v>
                </c:pt>
                <c:pt idx="206">
                  <c:v>-2.7211400000000001</c:v>
                </c:pt>
                <c:pt idx="207">
                  <c:v>#N/A</c:v>
                </c:pt>
                <c:pt idx="208">
                  <c:v>-3.04047</c:v>
                </c:pt>
                <c:pt idx="209">
                  <c:v>-3.3266399999999998</c:v>
                </c:pt>
                <c:pt idx="210">
                  <c:v>-2.8355299999999999</c:v>
                </c:pt>
                <c:pt idx="211">
                  <c:v>#N/A</c:v>
                </c:pt>
                <c:pt idx="212">
                  <c:v>-2.9020000000000001</c:v>
                </c:pt>
                <c:pt idx="213">
                  <c:v>-2.9796200000000002</c:v>
                </c:pt>
                <c:pt idx="214">
                  <c:v>-3.0873499999999998</c:v>
                </c:pt>
                <c:pt idx="215">
                  <c:v>-3.4917600000000002</c:v>
                </c:pt>
                <c:pt idx="216">
                  <c:v>#N/A</c:v>
                </c:pt>
                <c:pt idx="217">
                  <c:v>-3.5925699999999998</c:v>
                </c:pt>
                <c:pt idx="218">
                  <c:v>-3.4614099999999999</c:v>
                </c:pt>
                <c:pt idx="219">
                  <c:v>-3.1079300000000001</c:v>
                </c:pt>
                <c:pt idx="220">
                  <c:v>-2.7988300000000002</c:v>
                </c:pt>
                <c:pt idx="221">
                  <c:v>#N/A</c:v>
                </c:pt>
                <c:pt idx="222">
                  <c:v>-3.3797999999999999</c:v>
                </c:pt>
                <c:pt idx="223">
                  <c:v>-2.5446800000000001</c:v>
                </c:pt>
                <c:pt idx="224">
                  <c:v>-3.3207800000000001</c:v>
                </c:pt>
                <c:pt idx="225">
                  <c:v>#N/A</c:v>
                </c:pt>
                <c:pt idx="226">
                  <c:v>-2.9969100000000002</c:v>
                </c:pt>
                <c:pt idx="227">
                  <c:v>-3.2972899999999998</c:v>
                </c:pt>
                <c:pt idx="228">
                  <c:v>-2.8830100000000001</c:v>
                </c:pt>
                <c:pt idx="229">
                  <c:v>-2.5841699999999999</c:v>
                </c:pt>
                <c:pt idx="230">
                  <c:v>#N/A</c:v>
                </c:pt>
                <c:pt idx="231">
                  <c:v>-2.68337</c:v>
                </c:pt>
                <c:pt idx="232">
                  <c:v>-2.6778599999999999</c:v>
                </c:pt>
                <c:pt idx="233">
                  <c:v>-2.7963399999999998</c:v>
                </c:pt>
                <c:pt idx="234">
                  <c:v>#N/A</c:v>
                </c:pt>
                <c:pt idx="235">
                  <c:v>-3.2783199999999999</c:v>
                </c:pt>
                <c:pt idx="236">
                  <c:v>-3.6038299999999999</c:v>
                </c:pt>
                <c:pt idx="237">
                  <c:v>-3.92638</c:v>
                </c:pt>
                <c:pt idx="238">
                  <c:v>#N/A</c:v>
                </c:pt>
                <c:pt idx="239">
                  <c:v>-3.7204199999999998</c:v>
                </c:pt>
                <c:pt idx="240">
                  <c:v>-2.5655399999999999</c:v>
                </c:pt>
                <c:pt idx="241">
                  <c:v>#N/A</c:v>
                </c:pt>
                <c:pt idx="242">
                  <c:v>-2.50197</c:v>
                </c:pt>
                <c:pt idx="243">
                  <c:v>-2.8136999999999999</c:v>
                </c:pt>
                <c:pt idx="244">
                  <c:v>#N/A</c:v>
                </c:pt>
                <c:pt idx="245">
                  <c:v>-2.8893399999999998</c:v>
                </c:pt>
                <c:pt idx="246">
                  <c:v>-2.47377</c:v>
                </c:pt>
                <c:pt idx="247">
                  <c:v>-2.2162799999999998</c:v>
                </c:pt>
                <c:pt idx="248">
                  <c:v>-2.42401</c:v>
                </c:pt>
                <c:pt idx="249">
                  <c:v>#N/A</c:v>
                </c:pt>
                <c:pt idx="250">
                  <c:v>-2.2660900000000002</c:v>
                </c:pt>
                <c:pt idx="251">
                  <c:v>-2.1664500000000002</c:v>
                </c:pt>
                <c:pt idx="252">
                  <c:v>-2.2807200000000001</c:v>
                </c:pt>
                <c:pt idx="253">
                  <c:v>#N/A</c:v>
                </c:pt>
                <c:pt idx="254">
                  <c:v>-2.4213499999999999</c:v>
                </c:pt>
                <c:pt idx="255">
                  <c:v>-2.98217</c:v>
                </c:pt>
                <c:pt idx="256">
                  <c:v>-2.96496</c:v>
                </c:pt>
                <c:pt idx="257">
                  <c:v>#N/A</c:v>
                </c:pt>
                <c:pt idx="258">
                  <c:v>-3.0430799999999998</c:v>
                </c:pt>
                <c:pt idx="259">
                  <c:v>-2.7151800000000001</c:v>
                </c:pt>
                <c:pt idx="260">
                  <c:v>-2.9373900000000002</c:v>
                </c:pt>
                <c:pt idx="261">
                  <c:v>-2.80505</c:v>
                </c:pt>
                <c:pt idx="262">
                  <c:v>#N/A</c:v>
                </c:pt>
                <c:pt idx="263">
                  <c:v>-2.4641000000000002</c:v>
                </c:pt>
                <c:pt idx="264">
                  <c:v>-2.3090099999999998</c:v>
                </c:pt>
                <c:pt idx="265">
                  <c:v>-3.0738799999999999</c:v>
                </c:pt>
                <c:pt idx="266">
                  <c:v>#N/A</c:v>
                </c:pt>
                <c:pt idx="267">
                  <c:v>-2.4341599999999999</c:v>
                </c:pt>
                <c:pt idx="268">
                  <c:v>-2.47397</c:v>
                </c:pt>
                <c:pt idx="269">
                  <c:v>-2.2112400000000001</c:v>
                </c:pt>
                <c:pt idx="270">
                  <c:v>-2.7071700000000001</c:v>
                </c:pt>
                <c:pt idx="271">
                  <c:v>#N/A</c:v>
                </c:pt>
                <c:pt idx="272">
                  <c:v>-2.6438100000000002</c:v>
                </c:pt>
                <c:pt idx="273">
                  <c:v>-2.2840699999999998</c:v>
                </c:pt>
                <c:pt idx="274">
                  <c:v>-2.4673799999999999</c:v>
                </c:pt>
                <c:pt idx="275">
                  <c:v>#N/A</c:v>
                </c:pt>
                <c:pt idx="276">
                  <c:v>-2.3077100000000002</c:v>
                </c:pt>
                <c:pt idx="277">
                  <c:v>-2.5634299999999999</c:v>
                </c:pt>
                <c:pt idx="278">
                  <c:v>-2.8353100000000002</c:v>
                </c:pt>
                <c:pt idx="279">
                  <c:v>-2.8256399999999999</c:v>
                </c:pt>
                <c:pt idx="280">
                  <c:v>#N/A</c:v>
                </c:pt>
                <c:pt idx="281">
                  <c:v>-2.23482</c:v>
                </c:pt>
                <c:pt idx="282">
                  <c:v>-2.2834400000000001</c:v>
                </c:pt>
                <c:pt idx="283">
                  <c:v>-2.23549</c:v>
                </c:pt>
                <c:pt idx="284">
                  <c:v>-2.1432199999999999</c:v>
                </c:pt>
                <c:pt idx="285">
                  <c:v>#N/A</c:v>
                </c:pt>
                <c:pt idx="286">
                  <c:v>-2.2168800000000002</c:v>
                </c:pt>
                <c:pt idx="287">
                  <c:v>-2.8150200000000001</c:v>
                </c:pt>
                <c:pt idx="288">
                  <c:v>-2.2304900000000001</c:v>
                </c:pt>
                <c:pt idx="289">
                  <c:v>#N/A</c:v>
                </c:pt>
                <c:pt idx="290">
                  <c:v>-2.9849700000000001</c:v>
                </c:pt>
                <c:pt idx="291">
                  <c:v>-2.4308700000000001</c:v>
                </c:pt>
                <c:pt idx="292">
                  <c:v>-2.68269</c:v>
                </c:pt>
                <c:pt idx="293">
                  <c:v>-2.7164199999999998</c:v>
                </c:pt>
                <c:pt idx="294">
                  <c:v>#N/A</c:v>
                </c:pt>
                <c:pt idx="295">
                  <c:v>-2.8187899999999999</c:v>
                </c:pt>
                <c:pt idx="296">
                  <c:v>-2.9056700000000002</c:v>
                </c:pt>
                <c:pt idx="297">
                  <c:v>-2.5529099999999998</c:v>
                </c:pt>
                <c:pt idx="298">
                  <c:v>#N/A</c:v>
                </c:pt>
                <c:pt idx="299">
                  <c:v>-3.1554899999999999</c:v>
                </c:pt>
                <c:pt idx="300">
                  <c:v>-2.8776000000000002</c:v>
                </c:pt>
                <c:pt idx="301">
                  <c:v>-3.3545699999999998</c:v>
                </c:pt>
                <c:pt idx="302">
                  <c:v>-1.51328</c:v>
                </c:pt>
                <c:pt idx="303">
                  <c:v>#N/A</c:v>
                </c:pt>
                <c:pt idx="304">
                  <c:v>-1.96214</c:v>
                </c:pt>
                <c:pt idx="305">
                  <c:v>-2.46061</c:v>
                </c:pt>
                <c:pt idx="306">
                  <c:v>-2.15916</c:v>
                </c:pt>
                <c:pt idx="307">
                  <c:v>#N/A</c:v>
                </c:pt>
                <c:pt idx="308">
                  <c:v>-2.4623900000000001</c:v>
                </c:pt>
                <c:pt idx="309">
                  <c:v>-2.4160699999999999</c:v>
                </c:pt>
                <c:pt idx="310">
                  <c:v>-2.4366099999999999</c:v>
                </c:pt>
                <c:pt idx="311">
                  <c:v>#N/A</c:v>
                </c:pt>
                <c:pt idx="312">
                  <c:v>-2.1975799999999999</c:v>
                </c:pt>
                <c:pt idx="313">
                  <c:v>-2.1239699999999999</c:v>
                </c:pt>
                <c:pt idx="314">
                  <c:v>#N/A</c:v>
                </c:pt>
                <c:pt idx="315">
                  <c:v>-2.4205700000000001</c:v>
                </c:pt>
                <c:pt idx="316">
                  <c:v>-2.9651299999999998</c:v>
                </c:pt>
                <c:pt idx="317">
                  <c:v>-2.9907300000000001</c:v>
                </c:pt>
                <c:pt idx="318">
                  <c:v>#N/A</c:v>
                </c:pt>
                <c:pt idx="319">
                  <c:v>-3.0486900000000001</c:v>
                </c:pt>
                <c:pt idx="320">
                  <c:v>-3.2203900000000001</c:v>
                </c:pt>
                <c:pt idx="321">
                  <c:v>-2.7886000000000002</c:v>
                </c:pt>
                <c:pt idx="322">
                  <c:v>-2.2148400000000001</c:v>
                </c:pt>
                <c:pt idx="323">
                  <c:v>#N/A</c:v>
                </c:pt>
                <c:pt idx="324">
                  <c:v>-2.4614199999999999</c:v>
                </c:pt>
                <c:pt idx="325">
                  <c:v>-2.9894099999999999</c:v>
                </c:pt>
                <c:pt idx="326">
                  <c:v>-2.8685200000000002</c:v>
                </c:pt>
                <c:pt idx="327">
                  <c:v>#N/A</c:v>
                </c:pt>
                <c:pt idx="328">
                  <c:v>-2.5033500000000002</c:v>
                </c:pt>
                <c:pt idx="329">
                  <c:v>-2.7903799999999999</c:v>
                </c:pt>
                <c:pt idx="330">
                  <c:v>-2.5789</c:v>
                </c:pt>
                <c:pt idx="331">
                  <c:v>-2.6003799999999999</c:v>
                </c:pt>
                <c:pt idx="332">
                  <c:v>#N/A</c:v>
                </c:pt>
                <c:pt idx="333">
                  <c:v>-2.51301</c:v>
                </c:pt>
                <c:pt idx="334">
                  <c:v>-3.024</c:v>
                </c:pt>
                <c:pt idx="335">
                  <c:v>-2.72214</c:v>
                </c:pt>
                <c:pt idx="336">
                  <c:v>#N/A</c:v>
                </c:pt>
                <c:pt idx="337">
                  <c:v>-2.8700100000000002</c:v>
                </c:pt>
                <c:pt idx="338">
                  <c:v>-2.7071200000000002</c:v>
                </c:pt>
                <c:pt idx="339">
                  <c:v>-2.4829500000000002</c:v>
                </c:pt>
                <c:pt idx="340">
                  <c:v>#N/A</c:v>
                </c:pt>
                <c:pt idx="341">
                  <c:v>-2.6421700000000001</c:v>
                </c:pt>
                <c:pt idx="342">
                  <c:v>-2.5636100000000002</c:v>
                </c:pt>
                <c:pt idx="343">
                  <c:v>-2.49614</c:v>
                </c:pt>
                <c:pt idx="344">
                  <c:v>-2.0970300000000002</c:v>
                </c:pt>
                <c:pt idx="345">
                  <c:v>#N/A</c:v>
                </c:pt>
                <c:pt idx="346">
                  <c:v>-2.2719399999999998</c:v>
                </c:pt>
                <c:pt idx="347">
                  <c:v>-2.9089999999999998</c:v>
                </c:pt>
                <c:pt idx="348">
                  <c:v>-2.6768999999999998</c:v>
                </c:pt>
                <c:pt idx="349">
                  <c:v>-2.8232200000000001</c:v>
                </c:pt>
                <c:pt idx="350">
                  <c:v>#N/A</c:v>
                </c:pt>
                <c:pt idx="351">
                  <c:v>-2.7687900000000001</c:v>
                </c:pt>
                <c:pt idx="352">
                  <c:v>-2.54278</c:v>
                </c:pt>
                <c:pt idx="353">
                  <c:v>-2.8267000000000002</c:v>
                </c:pt>
                <c:pt idx="354">
                  <c:v>#N/A</c:v>
                </c:pt>
                <c:pt idx="355">
                  <c:v>-2.8923899999999998</c:v>
                </c:pt>
                <c:pt idx="356">
                  <c:v>-3.3294899999999998</c:v>
                </c:pt>
                <c:pt idx="357">
                  <c:v>-3.0095900000000002</c:v>
                </c:pt>
                <c:pt idx="358">
                  <c:v>#N/A</c:v>
                </c:pt>
                <c:pt idx="359">
                  <c:v>-2.7795800000000002</c:v>
                </c:pt>
                <c:pt idx="360">
                  <c:v>-2.9035600000000001</c:v>
                </c:pt>
                <c:pt idx="361">
                  <c:v>-2.5157799999999999</c:v>
                </c:pt>
                <c:pt idx="362">
                  <c:v>#N/A</c:v>
                </c:pt>
                <c:pt idx="363">
                  <c:v>-2.3805999999999998</c:v>
                </c:pt>
                <c:pt idx="364">
                  <c:v>-2.0626500000000001</c:v>
                </c:pt>
                <c:pt idx="365">
                  <c:v>-2.26824</c:v>
                </c:pt>
                <c:pt idx="366">
                  <c:v>#N/A</c:v>
                </c:pt>
                <c:pt idx="367">
                  <c:v>-2.5188999999999999</c:v>
                </c:pt>
                <c:pt idx="368">
                  <c:v>-2.3708999999999998</c:v>
                </c:pt>
                <c:pt idx="369">
                  <c:v>-2.30403</c:v>
                </c:pt>
                <c:pt idx="370">
                  <c:v>-2.6978399999999998</c:v>
                </c:pt>
                <c:pt idx="371">
                  <c:v>#N/A</c:v>
                </c:pt>
                <c:pt idx="372">
                  <c:v>-2.6978200000000001</c:v>
                </c:pt>
                <c:pt idx="373">
                  <c:v>-2.5571299999999999</c:v>
                </c:pt>
                <c:pt idx="374">
                  <c:v>-2.9818500000000001</c:v>
                </c:pt>
                <c:pt idx="375">
                  <c:v>#N/A</c:v>
                </c:pt>
                <c:pt idx="376">
                  <c:v>#N/A</c:v>
                </c:pt>
                <c:pt idx="377">
                  <c:v>-2.62601</c:v>
                </c:pt>
                <c:pt idx="378">
                  <c:v>-2.7338499999999999</c:v>
                </c:pt>
                <c:pt idx="379">
                  <c:v>#N/A</c:v>
                </c:pt>
                <c:pt idx="380">
                  <c:v>-2.9245100000000002</c:v>
                </c:pt>
                <c:pt idx="381">
                  <c:v>-2.83283</c:v>
                </c:pt>
                <c:pt idx="382">
                  <c:v>#N/A</c:v>
                </c:pt>
                <c:pt idx="383">
                  <c:v>-2.1712099999999999</c:v>
                </c:pt>
                <c:pt idx="384">
                  <c:v>-2.3744399999999999</c:v>
                </c:pt>
                <c:pt idx="385">
                  <c:v>#N/A</c:v>
                </c:pt>
                <c:pt idx="386">
                  <c:v>-2.1378599999999999</c:v>
                </c:pt>
                <c:pt idx="387">
                  <c:v>-2.5573299999999999</c:v>
                </c:pt>
                <c:pt idx="388">
                  <c:v>#N/A</c:v>
                </c:pt>
                <c:pt idx="389">
                  <c:v>-2.9946000000000002</c:v>
                </c:pt>
                <c:pt idx="390">
                  <c:v>-2.9091399999999998</c:v>
                </c:pt>
                <c:pt idx="391">
                  <c:v>-2.5727500000000001</c:v>
                </c:pt>
                <c:pt idx="392">
                  <c:v>-2.3723200000000002</c:v>
                </c:pt>
                <c:pt idx="393">
                  <c:v>#N/A</c:v>
                </c:pt>
                <c:pt idx="394">
                  <c:v>-2.63944</c:v>
                </c:pt>
                <c:pt idx="395">
                  <c:v>-2.9416799999999999</c:v>
                </c:pt>
                <c:pt idx="396">
                  <c:v>-3.0402200000000001</c:v>
                </c:pt>
                <c:pt idx="397">
                  <c:v>#N/A</c:v>
                </c:pt>
                <c:pt idx="398">
                  <c:v>-3.17021</c:v>
                </c:pt>
                <c:pt idx="399">
                  <c:v>-2.7522199999999999</c:v>
                </c:pt>
                <c:pt idx="400">
                  <c:v>-2.6001099999999999</c:v>
                </c:pt>
                <c:pt idx="401">
                  <c:v>#N/A</c:v>
                </c:pt>
                <c:pt idx="402">
                  <c:v>-2.3168199999999999</c:v>
                </c:pt>
                <c:pt idx="403">
                  <c:v>-2.36022</c:v>
                </c:pt>
                <c:pt idx="404">
                  <c:v>-2.1959399999999998</c:v>
                </c:pt>
                <c:pt idx="405">
                  <c:v>-2.4553699999999998</c:v>
                </c:pt>
                <c:pt idx="406">
                  <c:v>#N/A</c:v>
                </c:pt>
                <c:pt idx="407">
                  <c:v>-2.7406600000000001</c:v>
                </c:pt>
                <c:pt idx="408">
                  <c:v>-2.7529499999999998</c:v>
                </c:pt>
                <c:pt idx="409">
                  <c:v>-2.3361299999999998</c:v>
                </c:pt>
                <c:pt idx="410">
                  <c:v>-2.7366799999999998</c:v>
                </c:pt>
                <c:pt idx="411">
                  <c:v>#N/A</c:v>
                </c:pt>
                <c:pt idx="412">
                  <c:v>-2.4730400000000001</c:v>
                </c:pt>
                <c:pt idx="413">
                  <c:v>-2.42971</c:v>
                </c:pt>
                <c:pt idx="414">
                  <c:v>-2.94265</c:v>
                </c:pt>
                <c:pt idx="415">
                  <c:v>#N/A</c:v>
                </c:pt>
                <c:pt idx="416">
                  <c:v>-3.0297399999999999</c:v>
                </c:pt>
                <c:pt idx="417">
                  <c:v>-2.6928399999999999</c:v>
                </c:pt>
                <c:pt idx="418">
                  <c:v>-2.8161700000000001</c:v>
                </c:pt>
                <c:pt idx="419">
                  <c:v>#N/A</c:v>
                </c:pt>
                <c:pt idx="420">
                  <c:v>-2.7277900000000002</c:v>
                </c:pt>
                <c:pt idx="421">
                  <c:v>-2.0744699999999998</c:v>
                </c:pt>
                <c:pt idx="422">
                  <c:v>-1.85392</c:v>
                </c:pt>
                <c:pt idx="423">
                  <c:v>-2.14242</c:v>
                </c:pt>
                <c:pt idx="424">
                  <c:v>#N/A</c:v>
                </c:pt>
                <c:pt idx="425">
                  <c:v>-2.61937</c:v>
                </c:pt>
                <c:pt idx="426">
                  <c:v>-2.8901400000000002</c:v>
                </c:pt>
                <c:pt idx="427">
                  <c:v>-2.5929700000000002</c:v>
                </c:pt>
                <c:pt idx="428">
                  <c:v>#N/A</c:v>
                </c:pt>
                <c:pt idx="429">
                  <c:v>-2.8711600000000002</c:v>
                </c:pt>
                <c:pt idx="430">
                  <c:v>-2.5229599999999999</c:v>
                </c:pt>
                <c:pt idx="431">
                  <c:v>-2.4680499999999999</c:v>
                </c:pt>
                <c:pt idx="432">
                  <c:v>#N/A</c:v>
                </c:pt>
                <c:pt idx="433">
                  <c:v>-2.6574</c:v>
                </c:pt>
                <c:pt idx="434">
                  <c:v>-3.1677200000000001</c:v>
                </c:pt>
                <c:pt idx="435">
                  <c:v>-3.12155</c:v>
                </c:pt>
                <c:pt idx="436">
                  <c:v>-3.0144099999999998</c:v>
                </c:pt>
                <c:pt idx="437">
                  <c:v>#N/A</c:v>
                </c:pt>
                <c:pt idx="438">
                  <c:v>-2.9357700000000002</c:v>
                </c:pt>
                <c:pt idx="439">
                  <c:v>-2.5697000000000001</c:v>
                </c:pt>
                <c:pt idx="440">
                  <c:v>-2.5949</c:v>
                </c:pt>
                <c:pt idx="441">
                  <c:v>-2.7592400000000001</c:v>
                </c:pt>
                <c:pt idx="442">
                  <c:v>#N/A</c:v>
                </c:pt>
                <c:pt idx="443">
                  <c:v>-2.4632299999999998</c:v>
                </c:pt>
                <c:pt idx="444">
                  <c:v>-2.0154899999999998</c:v>
                </c:pt>
                <c:pt idx="445">
                  <c:v>-1.96855</c:v>
                </c:pt>
                <c:pt idx="446">
                  <c:v>#N/A</c:v>
                </c:pt>
                <c:pt idx="447">
                  <c:v>-2.2021000000000002</c:v>
                </c:pt>
                <c:pt idx="448">
                  <c:v>-2.7220599999999999</c:v>
                </c:pt>
                <c:pt idx="449">
                  <c:v>-2.7578299999999998</c:v>
                </c:pt>
                <c:pt idx="450">
                  <c:v>#N/A</c:v>
                </c:pt>
                <c:pt idx="451">
                  <c:v>-2.6547100000000001</c:v>
                </c:pt>
                <c:pt idx="452">
                  <c:v>-2.8459300000000001</c:v>
                </c:pt>
                <c:pt idx="453">
                  <c:v>-3.0535199999999998</c:v>
                </c:pt>
                <c:pt idx="454">
                  <c:v>#N/A</c:v>
                </c:pt>
                <c:pt idx="455">
                  <c:v>-2.6124100000000001</c:v>
                </c:pt>
                <c:pt idx="456">
                  <c:v>#N/A</c:v>
                </c:pt>
                <c:pt idx="457">
                  <c:v>-3.0825999999999998</c:v>
                </c:pt>
                <c:pt idx="458">
                  <c:v>-3.3422200000000002</c:v>
                </c:pt>
                <c:pt idx="459">
                  <c:v>#N/A</c:v>
                </c:pt>
                <c:pt idx="460">
                  <c:v>-3.0424099999999998</c:v>
                </c:pt>
                <c:pt idx="461">
                  <c:v>-2.3768500000000001</c:v>
                </c:pt>
                <c:pt idx="462">
                  <c:v>-2.2423199999999999</c:v>
                </c:pt>
                <c:pt idx="463">
                  <c:v>#N/A</c:v>
                </c:pt>
                <c:pt idx="464">
                  <c:v>-2.3969</c:v>
                </c:pt>
                <c:pt idx="465">
                  <c:v>-2.5242</c:v>
                </c:pt>
                <c:pt idx="466">
                  <c:v>-2.3589600000000002</c:v>
                </c:pt>
                <c:pt idx="467">
                  <c:v>-2.71509</c:v>
                </c:pt>
                <c:pt idx="468">
                  <c:v>#N/A</c:v>
                </c:pt>
                <c:pt idx="469">
                  <c:v>-2.9034</c:v>
                </c:pt>
                <c:pt idx="470">
                  <c:v>-2.6951200000000002</c:v>
                </c:pt>
                <c:pt idx="471">
                  <c:v>-2.8685200000000002</c:v>
                </c:pt>
                <c:pt idx="472">
                  <c:v>-2.9476200000000001</c:v>
                </c:pt>
                <c:pt idx="473">
                  <c:v>#N/A</c:v>
                </c:pt>
                <c:pt idx="474">
                  <c:v>-3.1449799999999999</c:v>
                </c:pt>
                <c:pt idx="475">
                  <c:v>-3.0341300000000002</c:v>
                </c:pt>
                <c:pt idx="476">
                  <c:v>-3.04847</c:v>
                </c:pt>
                <c:pt idx="477">
                  <c:v>#N/A</c:v>
                </c:pt>
                <c:pt idx="478">
                  <c:v>-3.2902100000000001</c:v>
                </c:pt>
                <c:pt idx="479">
                  <c:v>-2.7039</c:v>
                </c:pt>
                <c:pt idx="480">
                  <c:v>-2.2353700000000001</c:v>
                </c:pt>
                <c:pt idx="481">
                  <c:v>-2.52128</c:v>
                </c:pt>
                <c:pt idx="482">
                  <c:v>#N/A</c:v>
                </c:pt>
                <c:pt idx="483">
                  <c:v>-2.0132300000000001</c:v>
                </c:pt>
                <c:pt idx="484">
                  <c:v>-2.21956</c:v>
                </c:pt>
                <c:pt idx="485">
                  <c:v>-2.3252600000000001</c:v>
                </c:pt>
                <c:pt idx="486">
                  <c:v>#N/A</c:v>
                </c:pt>
                <c:pt idx="487">
                  <c:v>-2.7523300000000002</c:v>
                </c:pt>
                <c:pt idx="488">
                  <c:v>-2.8042600000000002</c:v>
                </c:pt>
                <c:pt idx="489">
                  <c:v>-2.9698799999999999</c:v>
                </c:pt>
                <c:pt idx="490">
                  <c:v>#N/A</c:v>
                </c:pt>
                <c:pt idx="491">
                  <c:v>-2.34504</c:v>
                </c:pt>
                <c:pt idx="492">
                  <c:v>-2.69617</c:v>
                </c:pt>
                <c:pt idx="493">
                  <c:v>-2.5969600000000002</c:v>
                </c:pt>
                <c:pt idx="494">
                  <c:v>-3.08927</c:v>
                </c:pt>
                <c:pt idx="495">
                  <c:v>#N/A</c:v>
                </c:pt>
                <c:pt idx="496">
                  <c:v>-3.2005300000000001</c:v>
                </c:pt>
                <c:pt idx="497">
                  <c:v>-2.9910199999999998</c:v>
                </c:pt>
                <c:pt idx="498">
                  <c:v>-2.6574399999999998</c:v>
                </c:pt>
                <c:pt idx="499">
                  <c:v>#N/A</c:v>
                </c:pt>
                <c:pt idx="500">
                  <c:v>-2.6324000000000001</c:v>
                </c:pt>
                <c:pt idx="501">
                  <c:v>-2.835</c:v>
                </c:pt>
                <c:pt idx="502">
                  <c:v>-2.6073200000000001</c:v>
                </c:pt>
                <c:pt idx="503">
                  <c:v>#N/A</c:v>
                </c:pt>
                <c:pt idx="504">
                  <c:v>-2.4374199999999999</c:v>
                </c:pt>
                <c:pt idx="505">
                  <c:v>-2.7623799999999998</c:v>
                </c:pt>
                <c:pt idx="506">
                  <c:v>-2.4555500000000001</c:v>
                </c:pt>
                <c:pt idx="507">
                  <c:v>-2.4921000000000002</c:v>
                </c:pt>
                <c:pt idx="508">
                  <c:v>#N/A</c:v>
                </c:pt>
                <c:pt idx="509">
                  <c:v>-2.3252799999999998</c:v>
                </c:pt>
                <c:pt idx="510">
                  <c:v>-2.5688300000000002</c:v>
                </c:pt>
                <c:pt idx="511">
                  <c:v>-2.64554</c:v>
                </c:pt>
                <c:pt idx="512">
                  <c:v>#N/A</c:v>
                </c:pt>
                <c:pt idx="513">
                  <c:v>-2.1387</c:v>
                </c:pt>
                <c:pt idx="514">
                  <c:v>-2.7558199999999999</c:v>
                </c:pt>
                <c:pt idx="515">
                  <c:v>-2.6164999999999998</c:v>
                </c:pt>
                <c:pt idx="516">
                  <c:v>-2.9536699999999998</c:v>
                </c:pt>
                <c:pt idx="517">
                  <c:v>#N/A</c:v>
                </c:pt>
                <c:pt idx="518">
                  <c:v>-3.1704300000000001</c:v>
                </c:pt>
                <c:pt idx="519">
                  <c:v>-3.05518</c:v>
                </c:pt>
                <c:pt idx="520">
                  <c:v>-2.17781</c:v>
                </c:pt>
                <c:pt idx="521">
                  <c:v>#N/A</c:v>
                </c:pt>
                <c:pt idx="522">
                  <c:v>-2.44252</c:v>
                </c:pt>
                <c:pt idx="523">
                  <c:v>-2.4146999999999998</c:v>
                </c:pt>
                <c:pt idx="524">
                  <c:v>-2.9084300000000001</c:v>
                </c:pt>
                <c:pt idx="525">
                  <c:v>-3.0244399999999998</c:v>
                </c:pt>
                <c:pt idx="526">
                  <c:v>#N/A</c:v>
                </c:pt>
                <c:pt idx="527">
                  <c:v>-3.1898</c:v>
                </c:pt>
                <c:pt idx="528">
                  <c:v>#N/A</c:v>
                </c:pt>
                <c:pt idx="529">
                  <c:v>-2.8105799999999999</c:v>
                </c:pt>
                <c:pt idx="530">
                  <c:v>-2.9441299999999999</c:v>
                </c:pt>
                <c:pt idx="531">
                  <c:v>#N/A</c:v>
                </c:pt>
                <c:pt idx="532">
                  <c:v>-2.9977299999999998</c:v>
                </c:pt>
                <c:pt idx="533">
                  <c:v>-3.0927199999999999</c:v>
                </c:pt>
                <c:pt idx="534">
                  <c:v>-3.0979299999999999</c:v>
                </c:pt>
                <c:pt idx="535">
                  <c:v>#N/A</c:v>
                </c:pt>
                <c:pt idx="536">
                  <c:v>-3.09294</c:v>
                </c:pt>
                <c:pt idx="537">
                  <c:v>-3.0305300000000002</c:v>
                </c:pt>
                <c:pt idx="538">
                  <c:v>-3.01824</c:v>
                </c:pt>
                <c:pt idx="539">
                  <c:v>#N/A</c:v>
                </c:pt>
                <c:pt idx="540">
                  <c:v>-2.9279999999999999</c:v>
                </c:pt>
                <c:pt idx="541">
                  <c:v>-3.1795100000000001</c:v>
                </c:pt>
                <c:pt idx="542">
                  <c:v>-2.4255300000000002</c:v>
                </c:pt>
                <c:pt idx="543">
                  <c:v>-2.36198</c:v>
                </c:pt>
                <c:pt idx="544">
                  <c:v>#N/A</c:v>
                </c:pt>
                <c:pt idx="545">
                  <c:v>-1.9558</c:v>
                </c:pt>
                <c:pt idx="546">
                  <c:v>-2.6516500000000001</c:v>
                </c:pt>
                <c:pt idx="547">
                  <c:v>-2.6651899999999999</c:v>
                </c:pt>
                <c:pt idx="548">
                  <c:v>#N/A</c:v>
                </c:pt>
                <c:pt idx="549">
                  <c:v>-2.71753</c:v>
                </c:pt>
                <c:pt idx="550">
                  <c:v>-3.0809899999999999</c:v>
                </c:pt>
                <c:pt idx="551">
                  <c:v>-2.5291100000000002</c:v>
                </c:pt>
                <c:pt idx="552">
                  <c:v>#N/A</c:v>
                </c:pt>
                <c:pt idx="553">
                  <c:v>-2.53844</c:v>
                </c:pt>
                <c:pt idx="554">
                  <c:v>-2.63415</c:v>
                </c:pt>
                <c:pt idx="555">
                  <c:v>-2.7046399999999999</c:v>
                </c:pt>
                <c:pt idx="556">
                  <c:v>-3.0872299999999999</c:v>
                </c:pt>
                <c:pt idx="557">
                  <c:v>#N/A</c:v>
                </c:pt>
                <c:pt idx="558">
                  <c:v>-2.9822600000000001</c:v>
                </c:pt>
                <c:pt idx="559">
                  <c:v>-2.7070799999999999</c:v>
                </c:pt>
                <c:pt idx="560">
                  <c:v>-2.4781599999999999</c:v>
                </c:pt>
                <c:pt idx="561">
                  <c:v>-2.3692500000000001</c:v>
                </c:pt>
                <c:pt idx="562">
                  <c:v>#N/A</c:v>
                </c:pt>
                <c:pt idx="563">
                  <c:v>-2.5860099999999999</c:v>
                </c:pt>
                <c:pt idx="564">
                  <c:v>-2.36639</c:v>
                </c:pt>
                <c:pt idx="565">
                  <c:v>-2.3206000000000002</c:v>
                </c:pt>
                <c:pt idx="566">
                  <c:v>#N/A</c:v>
                </c:pt>
                <c:pt idx="567">
                  <c:v>-2.4643700000000002</c:v>
                </c:pt>
                <c:pt idx="568">
                  <c:v>-2.9244599999999998</c:v>
                </c:pt>
                <c:pt idx="569">
                  <c:v>-2.7153399999999999</c:v>
                </c:pt>
                <c:pt idx="570">
                  <c:v>#N/A</c:v>
                </c:pt>
                <c:pt idx="571">
                  <c:v>-2.4707499999999998</c:v>
                </c:pt>
                <c:pt idx="572">
                  <c:v>-2.5259</c:v>
                </c:pt>
                <c:pt idx="573">
                  <c:v>-2.5965099999999999</c:v>
                </c:pt>
                <c:pt idx="574">
                  <c:v>-2.9872700000000001</c:v>
                </c:pt>
                <c:pt idx="575">
                  <c:v>#N/A</c:v>
                </c:pt>
                <c:pt idx="576">
                  <c:v>-2.9529399999999999</c:v>
                </c:pt>
                <c:pt idx="577">
                  <c:v>-2.9854799999999999</c:v>
                </c:pt>
                <c:pt idx="578">
                  <c:v>-2.78945</c:v>
                </c:pt>
                <c:pt idx="579">
                  <c:v>#N/A</c:v>
                </c:pt>
                <c:pt idx="580">
                  <c:v>-2.6353</c:v>
                </c:pt>
                <c:pt idx="581">
                  <c:v>-2.66065</c:v>
                </c:pt>
                <c:pt idx="582">
                  <c:v>-2.2347999999999999</c:v>
                </c:pt>
                <c:pt idx="583">
                  <c:v>#N/A</c:v>
                </c:pt>
                <c:pt idx="584">
                  <c:v>-2.39134</c:v>
                </c:pt>
                <c:pt idx="585">
                  <c:v>-2.819</c:v>
                </c:pt>
                <c:pt idx="586">
                  <c:v>-3.1331500000000001</c:v>
                </c:pt>
                <c:pt idx="587">
                  <c:v>-2.8075399999999999</c:v>
                </c:pt>
                <c:pt idx="588">
                  <c:v>#N/A</c:v>
                </c:pt>
                <c:pt idx="589">
                  <c:v>-2.5004900000000001</c:v>
                </c:pt>
                <c:pt idx="590">
                  <c:v>-2.1128900000000002</c:v>
                </c:pt>
                <c:pt idx="591">
                  <c:v>-2.31955</c:v>
                </c:pt>
                <c:pt idx="592">
                  <c:v>-2.5998600000000001</c:v>
                </c:pt>
                <c:pt idx="593">
                  <c:v>#N/A</c:v>
                </c:pt>
                <c:pt idx="594">
                  <c:v>-2.62127</c:v>
                </c:pt>
                <c:pt idx="595">
                  <c:v>-2.6121500000000002</c:v>
                </c:pt>
                <c:pt idx="596">
                  <c:v>-2.4663499999999998</c:v>
                </c:pt>
                <c:pt idx="597">
                  <c:v>#N/A</c:v>
                </c:pt>
                <c:pt idx="598">
                  <c:v>-2.5649600000000001</c:v>
                </c:pt>
                <c:pt idx="599">
                  <c:v>-2.5349699999999999</c:v>
                </c:pt>
                <c:pt idx="600">
                  <c:v>-2.04121</c:v>
                </c:pt>
                <c:pt idx="601">
                  <c:v>#N/A</c:v>
                </c:pt>
                <c:pt idx="602">
                  <c:v>-1.80823</c:v>
                </c:pt>
                <c:pt idx="603">
                  <c:v>-2.2827899999999999</c:v>
                </c:pt>
                <c:pt idx="604">
                  <c:v>-2.3955600000000001</c:v>
                </c:pt>
                <c:pt idx="605">
                  <c:v>-2.3072300000000001</c:v>
                </c:pt>
                <c:pt idx="606">
                  <c:v>#N/A</c:v>
                </c:pt>
                <c:pt idx="607">
                  <c:v>-2.8483000000000001</c:v>
                </c:pt>
                <c:pt idx="608">
                  <c:v>-2.9380999999999999</c:v>
                </c:pt>
                <c:pt idx="609">
                  <c:v>-3.01816</c:v>
                </c:pt>
                <c:pt idx="610">
                  <c:v>#N/A</c:v>
                </c:pt>
                <c:pt idx="611">
                  <c:v>-2.5381399999999998</c:v>
                </c:pt>
                <c:pt idx="612">
                  <c:v>-2.71421</c:v>
                </c:pt>
                <c:pt idx="613">
                  <c:v>-2.4146100000000001</c:v>
                </c:pt>
                <c:pt idx="614">
                  <c:v>-2.57606</c:v>
                </c:pt>
                <c:pt idx="615">
                  <c:v>#N/A</c:v>
                </c:pt>
                <c:pt idx="616">
                  <c:v>-2.8268399999999998</c:v>
                </c:pt>
                <c:pt idx="617">
                  <c:v>-2.2453699999999999</c:v>
                </c:pt>
                <c:pt idx="618">
                  <c:v>-2.3273999999999999</c:v>
                </c:pt>
                <c:pt idx="619">
                  <c:v>#N/A</c:v>
                </c:pt>
                <c:pt idx="620">
                  <c:v>-2.55362</c:v>
                </c:pt>
                <c:pt idx="621">
                  <c:v>-2.7218599999999999</c:v>
                </c:pt>
                <c:pt idx="622">
                  <c:v>-1.6953</c:v>
                </c:pt>
                <c:pt idx="623">
                  <c:v>-2.1498900000000001</c:v>
                </c:pt>
                <c:pt idx="624">
                  <c:v>#N/A</c:v>
                </c:pt>
                <c:pt idx="625">
                  <c:v>-2.2028500000000002</c:v>
                </c:pt>
                <c:pt idx="626">
                  <c:v>-2.6353599999999999</c:v>
                </c:pt>
                <c:pt idx="627">
                  <c:v>-2.6202999999999999</c:v>
                </c:pt>
                <c:pt idx="628">
                  <c:v>#N/A</c:v>
                </c:pt>
                <c:pt idx="629">
                  <c:v>-2.6353200000000001</c:v>
                </c:pt>
                <c:pt idx="630">
                  <c:v>-2.5210699999999999</c:v>
                </c:pt>
                <c:pt idx="631">
                  <c:v>-2.8426900000000002</c:v>
                </c:pt>
                <c:pt idx="632">
                  <c:v>#N/A</c:v>
                </c:pt>
                <c:pt idx="633">
                  <c:v>-2.62365</c:v>
                </c:pt>
                <c:pt idx="634">
                  <c:v>-2.6531199999999999</c:v>
                </c:pt>
                <c:pt idx="635">
                  <c:v>-2.8964300000000001</c:v>
                </c:pt>
                <c:pt idx="636">
                  <c:v>-2.8997700000000002</c:v>
                </c:pt>
                <c:pt idx="637">
                  <c:v>#N/A</c:v>
                </c:pt>
                <c:pt idx="638">
                  <c:v>-2.9675099999999999</c:v>
                </c:pt>
                <c:pt idx="639">
                  <c:v>-3.2888199999999999</c:v>
                </c:pt>
                <c:pt idx="640">
                  <c:v>-2.6278700000000002</c:v>
                </c:pt>
                <c:pt idx="641">
                  <c:v>#N/A</c:v>
                </c:pt>
                <c:pt idx="642">
                  <c:v>-2.6003699999999998</c:v>
                </c:pt>
                <c:pt idx="643">
                  <c:v>-2.35669</c:v>
                </c:pt>
                <c:pt idx="644">
                  <c:v>-2.4295499999999999</c:v>
                </c:pt>
                <c:pt idx="645">
                  <c:v>#N/A</c:v>
                </c:pt>
                <c:pt idx="646">
                  <c:v>-2.5817000000000001</c:v>
                </c:pt>
                <c:pt idx="647">
                  <c:v>-2.9847000000000001</c:v>
                </c:pt>
                <c:pt idx="648">
                  <c:v>-2.78409</c:v>
                </c:pt>
                <c:pt idx="649">
                  <c:v>-2.7489400000000002</c:v>
                </c:pt>
                <c:pt idx="650">
                  <c:v>#N/A</c:v>
                </c:pt>
                <c:pt idx="651">
                  <c:v>-2.4059599999999999</c:v>
                </c:pt>
                <c:pt idx="652">
                  <c:v>-2.5004599999999999</c:v>
                </c:pt>
                <c:pt idx="653">
                  <c:v>-2.0747499999999999</c:v>
                </c:pt>
                <c:pt idx="654">
                  <c:v>-2.3422900000000002</c:v>
                </c:pt>
                <c:pt idx="655">
                  <c:v>#N/A</c:v>
                </c:pt>
                <c:pt idx="656">
                  <c:v>-2.7876599999999998</c:v>
                </c:pt>
                <c:pt idx="657">
                  <c:v>-2.3814899999999999</c:v>
                </c:pt>
                <c:pt idx="658">
                  <c:v>-2.5104500000000001</c:v>
                </c:pt>
                <c:pt idx="659">
                  <c:v>#N/A</c:v>
                </c:pt>
                <c:pt idx="660">
                  <c:v>-2.4644300000000001</c:v>
                </c:pt>
                <c:pt idx="661">
                  <c:v>-2.6179600000000001</c:v>
                </c:pt>
                <c:pt idx="662">
                  <c:v>-2.2682799999999999</c:v>
                </c:pt>
                <c:pt idx="663">
                  <c:v>-2.3737499999999998</c:v>
                </c:pt>
                <c:pt idx="664">
                  <c:v>#N/A</c:v>
                </c:pt>
                <c:pt idx="665">
                  <c:v>-2.8155299999999999</c:v>
                </c:pt>
                <c:pt idx="666">
                  <c:v>-2.8902000000000001</c:v>
                </c:pt>
                <c:pt idx="667">
                  <c:v>-2.6066799999999999</c:v>
                </c:pt>
                <c:pt idx="668">
                  <c:v>#N/A</c:v>
                </c:pt>
                <c:pt idx="669">
                  <c:v>-2.62629</c:v>
                </c:pt>
                <c:pt idx="670">
                  <c:v>#N/A</c:v>
                </c:pt>
                <c:pt idx="671">
                  <c:v>-2.6743899999999998</c:v>
                </c:pt>
                <c:pt idx="672">
                  <c:v>-2.5281799999999999</c:v>
                </c:pt>
                <c:pt idx="673">
                  <c:v>#N/A</c:v>
                </c:pt>
                <c:pt idx="674">
                  <c:v>-2.64371</c:v>
                </c:pt>
                <c:pt idx="675">
                  <c:v>-2.7957200000000002</c:v>
                </c:pt>
                <c:pt idx="676">
                  <c:v>-2.31454</c:v>
                </c:pt>
                <c:pt idx="677">
                  <c:v>#N/A</c:v>
                </c:pt>
                <c:pt idx="678">
                  <c:v>-2.5295399999999999</c:v>
                </c:pt>
                <c:pt idx="679">
                  <c:v>-2.5703200000000002</c:v>
                </c:pt>
                <c:pt idx="680">
                  <c:v>-2.3285999999999998</c:v>
                </c:pt>
                <c:pt idx="681">
                  <c:v>#N/A</c:v>
                </c:pt>
                <c:pt idx="682">
                  <c:v>-2.2289599999999998</c:v>
                </c:pt>
                <c:pt idx="683">
                  <c:v>-2.3411300000000002</c:v>
                </c:pt>
                <c:pt idx="684">
                  <c:v>-2.5580500000000002</c:v>
                </c:pt>
                <c:pt idx="685">
                  <c:v>#N/A</c:v>
                </c:pt>
                <c:pt idx="686">
                  <c:v>-2.5082599999999999</c:v>
                </c:pt>
                <c:pt idx="687">
                  <c:v>-2.0489600000000001</c:v>
                </c:pt>
                <c:pt idx="688">
                  <c:v>-2.35425</c:v>
                </c:pt>
                <c:pt idx="689">
                  <c:v>#N/A</c:v>
                </c:pt>
                <c:pt idx="690">
                  <c:v>-2.7573500000000002</c:v>
                </c:pt>
                <c:pt idx="691">
                  <c:v>-2.7710900000000001</c:v>
                </c:pt>
                <c:pt idx="692">
                  <c:v>-2.72776</c:v>
                </c:pt>
                <c:pt idx="693">
                  <c:v>#N/A</c:v>
                </c:pt>
                <c:pt idx="694">
                  <c:v>-2.65469</c:v>
                </c:pt>
                <c:pt idx="695">
                  <c:v>-2.2841499999999999</c:v>
                </c:pt>
                <c:pt idx="696">
                  <c:v>-2.4434200000000001</c:v>
                </c:pt>
                <c:pt idx="697">
                  <c:v>#N/A</c:v>
                </c:pt>
                <c:pt idx="698">
                  <c:v>-2.53877</c:v>
                </c:pt>
                <c:pt idx="699">
                  <c:v>-2.6768399999999999</c:v>
                </c:pt>
                <c:pt idx="700">
                  <c:v>-2.5407500000000001</c:v>
                </c:pt>
                <c:pt idx="701">
                  <c:v>-2.1709299999999998</c:v>
                </c:pt>
                <c:pt idx="702">
                  <c:v>#N/A</c:v>
                </c:pt>
                <c:pt idx="703">
                  <c:v>-2.62507</c:v>
                </c:pt>
                <c:pt idx="704">
                  <c:v>-2.6106400000000001</c:v>
                </c:pt>
                <c:pt idx="705">
                  <c:v>-2.50102</c:v>
                </c:pt>
                <c:pt idx="706">
                  <c:v>#N/A</c:v>
                </c:pt>
                <c:pt idx="707">
                  <c:v>-2.43859</c:v>
                </c:pt>
                <c:pt idx="708">
                  <c:v>-2.7567400000000002</c:v>
                </c:pt>
                <c:pt idx="709">
                  <c:v>-2.61151</c:v>
                </c:pt>
                <c:pt idx="710">
                  <c:v>-2.2304300000000001</c:v>
                </c:pt>
                <c:pt idx="711">
                  <c:v>#N/A</c:v>
                </c:pt>
                <c:pt idx="712">
                  <c:v>-2.2296800000000001</c:v>
                </c:pt>
                <c:pt idx="713">
                  <c:v>-2.5476000000000001</c:v>
                </c:pt>
                <c:pt idx="714">
                  <c:v>-2.3835099999999998</c:v>
                </c:pt>
                <c:pt idx="715">
                  <c:v>-2.3440699999999999</c:v>
                </c:pt>
                <c:pt idx="716">
                  <c:v>#N/A</c:v>
                </c:pt>
                <c:pt idx="717">
                  <c:v>-2.7269000000000001</c:v>
                </c:pt>
                <c:pt idx="718">
                  <c:v>-2.3167599999999999</c:v>
                </c:pt>
                <c:pt idx="719">
                  <c:v>-2.46244</c:v>
                </c:pt>
                <c:pt idx="720">
                  <c:v>#N/A</c:v>
                </c:pt>
                <c:pt idx="721">
                  <c:v>-1.9797499999999999</c:v>
                </c:pt>
                <c:pt idx="722">
                  <c:v>-2.2904599999999999</c:v>
                </c:pt>
                <c:pt idx="723">
                  <c:v>-1.8398000000000001</c:v>
                </c:pt>
                <c:pt idx="724">
                  <c:v>#N/A</c:v>
                </c:pt>
                <c:pt idx="725">
                  <c:v>-2.1990799999999999</c:v>
                </c:pt>
                <c:pt idx="726">
                  <c:v>-2.5074100000000001</c:v>
                </c:pt>
                <c:pt idx="727">
                  <c:v>-2.3386100000000001</c:v>
                </c:pt>
                <c:pt idx="728">
                  <c:v>-2.1728100000000001</c:v>
                </c:pt>
                <c:pt idx="729">
                  <c:v>#N/A</c:v>
                </c:pt>
                <c:pt idx="730">
                  <c:v>-2.5108799999999998</c:v>
                </c:pt>
                <c:pt idx="731">
                  <c:v>-2.1206800000000001</c:v>
                </c:pt>
                <c:pt idx="732">
                  <c:v>-2.0095900000000002</c:v>
                </c:pt>
                <c:pt idx="733">
                  <c:v>#N/A</c:v>
                </c:pt>
                <c:pt idx="734">
                  <c:v>-2.9222399999999999</c:v>
                </c:pt>
                <c:pt idx="735">
                  <c:v>-2.7110400000000001</c:v>
                </c:pt>
                <c:pt idx="736">
                  <c:v>-2.62751</c:v>
                </c:pt>
                <c:pt idx="737">
                  <c:v>-3.0153799999999999</c:v>
                </c:pt>
                <c:pt idx="738">
                  <c:v>#N/A</c:v>
                </c:pt>
                <c:pt idx="739">
                  <c:v>-3.1329699999999998</c:v>
                </c:pt>
                <c:pt idx="740">
                  <c:v>#N/A</c:v>
                </c:pt>
                <c:pt idx="741">
                  <c:v>-2.8296399999999999</c:v>
                </c:pt>
                <c:pt idx="742">
                  <c:v>-2.7473700000000001</c:v>
                </c:pt>
                <c:pt idx="743">
                  <c:v>#N/A</c:v>
                </c:pt>
                <c:pt idx="744">
                  <c:v>-2.8938999999999999</c:v>
                </c:pt>
                <c:pt idx="745">
                  <c:v>-2.9258500000000001</c:v>
                </c:pt>
                <c:pt idx="746">
                  <c:v>-3.0472399999999999</c:v>
                </c:pt>
                <c:pt idx="747">
                  <c:v>#N/A</c:v>
                </c:pt>
                <c:pt idx="748">
                  <c:v>-2.7806999999999999</c:v>
                </c:pt>
                <c:pt idx="749">
                  <c:v>-2.62731</c:v>
                </c:pt>
                <c:pt idx="750">
                  <c:v>-2.7875800000000002</c:v>
                </c:pt>
                <c:pt idx="751">
                  <c:v>#N/A</c:v>
                </c:pt>
                <c:pt idx="752">
                  <c:v>-2.8127200000000001</c:v>
                </c:pt>
                <c:pt idx="753">
                  <c:v>-2.6351599999999999</c:v>
                </c:pt>
                <c:pt idx="754">
                  <c:v>-2.9777100000000001</c:v>
                </c:pt>
                <c:pt idx="755">
                  <c:v>-3.0248699999999999</c:v>
                </c:pt>
                <c:pt idx="756">
                  <c:v>#N/A</c:v>
                </c:pt>
                <c:pt idx="757">
                  <c:v>-2.7046000000000001</c:v>
                </c:pt>
                <c:pt idx="758">
                  <c:v>-2.99295</c:v>
                </c:pt>
                <c:pt idx="759">
                  <c:v>-2.3338399999999999</c:v>
                </c:pt>
                <c:pt idx="760">
                  <c:v>#N/A</c:v>
                </c:pt>
                <c:pt idx="761">
                  <c:v>-2.47431</c:v>
                </c:pt>
                <c:pt idx="762">
                  <c:v>-2.5625300000000002</c:v>
                </c:pt>
                <c:pt idx="763">
                  <c:v>-2.32599</c:v>
                </c:pt>
                <c:pt idx="764">
                  <c:v>#N/A</c:v>
                </c:pt>
                <c:pt idx="765">
                  <c:v>-3.0591400000000002</c:v>
                </c:pt>
                <c:pt idx="766">
                  <c:v>-3.27522</c:v>
                </c:pt>
                <c:pt idx="767">
                  <c:v>-2.7147199999999998</c:v>
                </c:pt>
                <c:pt idx="768">
                  <c:v>-2.6174499999999998</c:v>
                </c:pt>
                <c:pt idx="769">
                  <c:v>#N/A</c:v>
                </c:pt>
                <c:pt idx="770">
                  <c:v>-2.4605600000000001</c:v>
                </c:pt>
                <c:pt idx="771">
                  <c:v>-2.4685600000000001</c:v>
                </c:pt>
                <c:pt idx="772">
                  <c:v>-2.2177600000000002</c:v>
                </c:pt>
                <c:pt idx="773">
                  <c:v>#N/A</c:v>
                </c:pt>
                <c:pt idx="774">
                  <c:v>-2.5144199999999999</c:v>
                </c:pt>
                <c:pt idx="775">
                  <c:v>-2.8757000000000001</c:v>
                </c:pt>
                <c:pt idx="776">
                  <c:v>-2.90185</c:v>
                </c:pt>
                <c:pt idx="777">
                  <c:v>-2.6389499999999999</c:v>
                </c:pt>
                <c:pt idx="778">
                  <c:v>#N/A</c:v>
                </c:pt>
                <c:pt idx="779">
                  <c:v>-2.87758</c:v>
                </c:pt>
                <c:pt idx="780">
                  <c:v>-2.6140599999999998</c:v>
                </c:pt>
                <c:pt idx="781">
                  <c:v>-2.4509400000000001</c:v>
                </c:pt>
                <c:pt idx="782">
                  <c:v>#N/A</c:v>
                </c:pt>
                <c:pt idx="783">
                  <c:v>-2.6364299999999998</c:v>
                </c:pt>
                <c:pt idx="784">
                  <c:v>-2.6642800000000002</c:v>
                </c:pt>
                <c:pt idx="785">
                  <c:v>-2.6225800000000001</c:v>
                </c:pt>
                <c:pt idx="786">
                  <c:v>-2.4222299999999999</c:v>
                </c:pt>
                <c:pt idx="787">
                  <c:v>#N/A</c:v>
                </c:pt>
                <c:pt idx="788">
                  <c:v>-2.7503199999999999</c:v>
                </c:pt>
                <c:pt idx="789">
                  <c:v>-2.6984400000000002</c:v>
                </c:pt>
                <c:pt idx="790">
                  <c:v>-2.52617</c:v>
                </c:pt>
                <c:pt idx="791">
                  <c:v>#N/A</c:v>
                </c:pt>
                <c:pt idx="792">
                  <c:v>-2.45512</c:v>
                </c:pt>
                <c:pt idx="793">
                  <c:v>-2.3186300000000002</c:v>
                </c:pt>
                <c:pt idx="794">
                  <c:v>-2.7927499999999998</c:v>
                </c:pt>
                <c:pt idx="795">
                  <c:v>-2.7955999999999999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-3.0789200000000001</c:v>
                </c:pt>
                <c:pt idx="868">
                  <c:v>-2.8464399999999999</c:v>
                </c:pt>
                <c:pt idx="869">
                  <c:v>-2.59456</c:v>
                </c:pt>
                <c:pt idx="870">
                  <c:v>#N/A</c:v>
                </c:pt>
                <c:pt idx="871">
                  <c:v>-2.7459500000000001</c:v>
                </c:pt>
                <c:pt idx="872">
                  <c:v>-2.9657800000000001</c:v>
                </c:pt>
                <c:pt idx="873">
                  <c:v>-3.0792899999999999</c:v>
                </c:pt>
                <c:pt idx="874">
                  <c:v>#N/A</c:v>
                </c:pt>
                <c:pt idx="875">
                  <c:v>-3.1586699999999999</c:v>
                </c:pt>
                <c:pt idx="876">
                  <c:v>-3.1927500000000002</c:v>
                </c:pt>
                <c:pt idx="877">
                  <c:v>-2.8227500000000001</c:v>
                </c:pt>
                <c:pt idx="878">
                  <c:v>#N/A</c:v>
                </c:pt>
                <c:pt idx="879">
                  <c:v>-2.89818</c:v>
                </c:pt>
                <c:pt idx="880">
                  <c:v>-2.6751100000000001</c:v>
                </c:pt>
                <c:pt idx="881">
                  <c:v>-2.3487800000000001</c:v>
                </c:pt>
                <c:pt idx="882">
                  <c:v>-2.65673</c:v>
                </c:pt>
                <c:pt idx="883">
                  <c:v>#N/A</c:v>
                </c:pt>
                <c:pt idx="884">
                  <c:v>-2.4796999999999998</c:v>
                </c:pt>
                <c:pt idx="885">
                  <c:v>#N/A</c:v>
                </c:pt>
                <c:pt idx="886">
                  <c:v>-3.0463100000000001</c:v>
                </c:pt>
                <c:pt idx="887">
                  <c:v>-2.30199</c:v>
                </c:pt>
                <c:pt idx="888">
                  <c:v>-2.2167300000000001</c:v>
                </c:pt>
                <c:pt idx="889">
                  <c:v>#N/A</c:v>
                </c:pt>
                <c:pt idx="890">
                  <c:v>-2.4424399999999999</c:v>
                </c:pt>
                <c:pt idx="891">
                  <c:v>-2.4155199999999999</c:v>
                </c:pt>
                <c:pt idx="892">
                  <c:v>-2.5478000000000001</c:v>
                </c:pt>
                <c:pt idx="893">
                  <c:v>-3.06989</c:v>
                </c:pt>
                <c:pt idx="894">
                  <c:v>#N/A</c:v>
                </c:pt>
                <c:pt idx="895">
                  <c:v>-3.0405199999999999</c:v>
                </c:pt>
                <c:pt idx="896">
                  <c:v>-2.4973700000000001</c:v>
                </c:pt>
                <c:pt idx="897">
                  <c:v>-3.0006200000000001</c:v>
                </c:pt>
                <c:pt idx="898">
                  <c:v>#N/A</c:v>
                </c:pt>
                <c:pt idx="899">
                  <c:v>-2.55661</c:v>
                </c:pt>
                <c:pt idx="900">
                  <c:v>-2.5211199999999998</c:v>
                </c:pt>
                <c:pt idx="901">
                  <c:v>-2.0879799999999999</c:v>
                </c:pt>
                <c:pt idx="902">
                  <c:v>-2.41642</c:v>
                </c:pt>
                <c:pt idx="903">
                  <c:v>#N/A</c:v>
                </c:pt>
                <c:pt idx="904">
                  <c:v>-2.6798799999999998</c:v>
                </c:pt>
                <c:pt idx="905">
                  <c:v>-2.6858599999999999</c:v>
                </c:pt>
                <c:pt idx="906">
                  <c:v>-2.3339400000000001</c:v>
                </c:pt>
                <c:pt idx="907">
                  <c:v>#N/A</c:v>
                </c:pt>
                <c:pt idx="908">
                  <c:v>-2.5557699999999999</c:v>
                </c:pt>
                <c:pt idx="909">
                  <c:v>-2.7299799999999999</c:v>
                </c:pt>
                <c:pt idx="910">
                  <c:v>-2.5154200000000002</c:v>
                </c:pt>
                <c:pt idx="911">
                  <c:v>#N/A</c:v>
                </c:pt>
                <c:pt idx="912">
                  <c:v>-2.3664399999999999</c:v>
                </c:pt>
                <c:pt idx="913">
                  <c:v>-2.8399200000000002</c:v>
                </c:pt>
                <c:pt idx="914">
                  <c:v>-2.8160799999999999</c:v>
                </c:pt>
                <c:pt idx="915">
                  <c:v>-3.01579</c:v>
                </c:pt>
                <c:pt idx="916">
                  <c:v>#N/A</c:v>
                </c:pt>
                <c:pt idx="917">
                  <c:v>-3.2504400000000002</c:v>
                </c:pt>
                <c:pt idx="918">
                  <c:v>-3.0617100000000002</c:v>
                </c:pt>
                <c:pt idx="919">
                  <c:v>-2.4851700000000001</c:v>
                </c:pt>
                <c:pt idx="920">
                  <c:v>#N/A</c:v>
                </c:pt>
                <c:pt idx="921">
                  <c:v>-2.17788</c:v>
                </c:pt>
                <c:pt idx="922">
                  <c:v>-2.26431</c:v>
                </c:pt>
                <c:pt idx="923">
                  <c:v>-2.41269</c:v>
                </c:pt>
                <c:pt idx="924">
                  <c:v>#N/A</c:v>
                </c:pt>
                <c:pt idx="925">
                  <c:v>-2.4697800000000001</c:v>
                </c:pt>
                <c:pt idx="926">
                  <c:v>-3.3139799999999999</c:v>
                </c:pt>
                <c:pt idx="927">
                  <c:v>-3.1505200000000002</c:v>
                </c:pt>
                <c:pt idx="928">
                  <c:v>-3.1602899999999998</c:v>
                </c:pt>
                <c:pt idx="929">
                  <c:v>#N/A</c:v>
                </c:pt>
                <c:pt idx="930">
                  <c:v>-2.6524100000000002</c:v>
                </c:pt>
                <c:pt idx="931">
                  <c:v>-2.21733</c:v>
                </c:pt>
                <c:pt idx="932">
                  <c:v>-2.9050600000000002</c:v>
                </c:pt>
                <c:pt idx="933">
                  <c:v>#N/A</c:v>
                </c:pt>
                <c:pt idx="934">
                  <c:v>-2.79956</c:v>
                </c:pt>
                <c:pt idx="935">
                  <c:v>-3.3682699999999999</c:v>
                </c:pt>
                <c:pt idx="936">
                  <c:v>-3.4041100000000002</c:v>
                </c:pt>
                <c:pt idx="937">
                  <c:v>-2.8186499999999999</c:v>
                </c:pt>
                <c:pt idx="938">
                  <c:v>#N/A</c:v>
                </c:pt>
                <c:pt idx="939">
                  <c:v>-2.62846</c:v>
                </c:pt>
                <c:pt idx="940">
                  <c:v>-2.8465600000000002</c:v>
                </c:pt>
                <c:pt idx="941">
                  <c:v>-2.2063199999999998</c:v>
                </c:pt>
                <c:pt idx="942">
                  <c:v>#N/A</c:v>
                </c:pt>
                <c:pt idx="943">
                  <c:v>-2.5112800000000002</c:v>
                </c:pt>
                <c:pt idx="944">
                  <c:v>-2.62635</c:v>
                </c:pt>
                <c:pt idx="945">
                  <c:v>-2.4925299999999999</c:v>
                </c:pt>
                <c:pt idx="946">
                  <c:v>-2.52535</c:v>
                </c:pt>
                <c:pt idx="947">
                  <c:v>#N/A</c:v>
                </c:pt>
                <c:pt idx="948">
                  <c:v>-2.0417800000000002</c:v>
                </c:pt>
                <c:pt idx="949">
                  <c:v>-2.8266900000000001</c:v>
                </c:pt>
                <c:pt idx="950">
                  <c:v>-2.3372899999999999</c:v>
                </c:pt>
                <c:pt idx="951">
                  <c:v>#N/A</c:v>
                </c:pt>
                <c:pt idx="952">
                  <c:v>-2.5754000000000001</c:v>
                </c:pt>
                <c:pt idx="953">
                  <c:v>-2.7998799999999999</c:v>
                </c:pt>
                <c:pt idx="954">
                  <c:v>-3.14575</c:v>
                </c:pt>
                <c:pt idx="955">
                  <c:v>#N/A</c:v>
                </c:pt>
                <c:pt idx="956">
                  <c:v>-3.2086100000000002</c:v>
                </c:pt>
                <c:pt idx="957">
                  <c:v>-2.98109</c:v>
                </c:pt>
                <c:pt idx="958">
                  <c:v>-2.8602400000000001</c:v>
                </c:pt>
                <c:pt idx="959">
                  <c:v>-2.9519799999999998</c:v>
                </c:pt>
                <c:pt idx="960">
                  <c:v>#N/A</c:v>
                </c:pt>
                <c:pt idx="961">
                  <c:v>-2.71835</c:v>
                </c:pt>
                <c:pt idx="962">
                  <c:v>-2.9192499999999999</c:v>
                </c:pt>
                <c:pt idx="963">
                  <c:v>-2.6251799999999998</c:v>
                </c:pt>
                <c:pt idx="964">
                  <c:v>-2.6093700000000002</c:v>
                </c:pt>
                <c:pt idx="965">
                  <c:v>#N/A</c:v>
                </c:pt>
                <c:pt idx="966">
                  <c:v>-2.6694499999999999</c:v>
                </c:pt>
                <c:pt idx="967">
                  <c:v>-2.7928000000000002</c:v>
                </c:pt>
                <c:pt idx="968">
                  <c:v>-2.4301400000000002</c:v>
                </c:pt>
                <c:pt idx="969">
                  <c:v>#N/A</c:v>
                </c:pt>
                <c:pt idx="970">
                  <c:v>-2.64432</c:v>
                </c:pt>
                <c:pt idx="971">
                  <c:v>-2.86354</c:v>
                </c:pt>
                <c:pt idx="972">
                  <c:v>-2.3417699999999999</c:v>
                </c:pt>
                <c:pt idx="973">
                  <c:v>-2.7568199999999998</c:v>
                </c:pt>
                <c:pt idx="974">
                  <c:v>#N/A</c:v>
                </c:pt>
                <c:pt idx="975">
                  <c:v>-3.2794599999999998</c:v>
                </c:pt>
                <c:pt idx="976">
                  <c:v>-2.9555500000000001</c:v>
                </c:pt>
                <c:pt idx="977">
                  <c:v>-2.72553</c:v>
                </c:pt>
                <c:pt idx="978">
                  <c:v>#N/A</c:v>
                </c:pt>
                <c:pt idx="979">
                  <c:v>-2.5123199999999999</c:v>
                </c:pt>
                <c:pt idx="980">
                  <c:v>-2.6213899999999999</c:v>
                </c:pt>
                <c:pt idx="981">
                  <c:v>-2.0803199999999999</c:v>
                </c:pt>
                <c:pt idx="982">
                  <c:v>#N/A</c:v>
                </c:pt>
                <c:pt idx="983">
                  <c:v>-2.1341100000000002</c:v>
                </c:pt>
                <c:pt idx="984">
                  <c:v>-2.6947000000000001</c:v>
                </c:pt>
                <c:pt idx="985">
                  <c:v>-3.0041899999999999</c:v>
                </c:pt>
                <c:pt idx="986">
                  <c:v>#N/A</c:v>
                </c:pt>
                <c:pt idx="987">
                  <c:v>-3.3922400000000001</c:v>
                </c:pt>
                <c:pt idx="988">
                  <c:v>-2.8516300000000001</c:v>
                </c:pt>
                <c:pt idx="989">
                  <c:v>-2.9014000000000002</c:v>
                </c:pt>
                <c:pt idx="990">
                  <c:v>-2.8756900000000001</c:v>
                </c:pt>
                <c:pt idx="991">
                  <c:v>#N/A</c:v>
                </c:pt>
                <c:pt idx="992">
                  <c:v>-2.51668</c:v>
                </c:pt>
                <c:pt idx="993">
                  <c:v>-2.68648</c:v>
                </c:pt>
                <c:pt idx="994">
                  <c:v>-3.05897</c:v>
                </c:pt>
                <c:pt idx="995">
                  <c:v>-2.8925299999999998</c:v>
                </c:pt>
                <c:pt idx="996">
                  <c:v>#N/A</c:v>
                </c:pt>
                <c:pt idx="997">
                  <c:v>-2.9348100000000001</c:v>
                </c:pt>
                <c:pt idx="998">
                  <c:v>-2.9615300000000002</c:v>
                </c:pt>
                <c:pt idx="999">
                  <c:v>-2.2164700000000002</c:v>
                </c:pt>
                <c:pt idx="1000">
                  <c:v>#N/A</c:v>
                </c:pt>
                <c:pt idx="1001">
                  <c:v>-2.0471400000000002</c:v>
                </c:pt>
                <c:pt idx="1002">
                  <c:v>-2.3878300000000001</c:v>
                </c:pt>
                <c:pt idx="1003">
                  <c:v>-2.2216300000000002</c:v>
                </c:pt>
                <c:pt idx="1004">
                  <c:v>#N/A</c:v>
                </c:pt>
                <c:pt idx="1005">
                  <c:v>-2.4780099999999998</c:v>
                </c:pt>
                <c:pt idx="1006">
                  <c:v>-2.76166</c:v>
                </c:pt>
                <c:pt idx="1007">
                  <c:v>-3.5285500000000001</c:v>
                </c:pt>
                <c:pt idx="1008">
                  <c:v>-3.0277799999999999</c:v>
                </c:pt>
                <c:pt idx="1009">
                  <c:v>#N/A</c:v>
                </c:pt>
                <c:pt idx="1010">
                  <c:v>-2.4061699999999999</c:v>
                </c:pt>
                <c:pt idx="1011">
                  <c:v>-2.4147099999999999</c:v>
                </c:pt>
                <c:pt idx="1012">
                  <c:v>-2.7494499999999999</c:v>
                </c:pt>
                <c:pt idx="1013">
                  <c:v>#N/A</c:v>
                </c:pt>
                <c:pt idx="1014">
                  <c:v>-2.6242399999999999</c:v>
                </c:pt>
                <c:pt idx="1015">
                  <c:v>-3.1062500000000002</c:v>
                </c:pt>
                <c:pt idx="1016">
                  <c:v>-3.0733999999999999</c:v>
                </c:pt>
                <c:pt idx="1017">
                  <c:v>-2.6914600000000002</c:v>
                </c:pt>
                <c:pt idx="1018">
                  <c:v>#N/A</c:v>
                </c:pt>
                <c:pt idx="1019">
                  <c:v>-2.09429</c:v>
                </c:pt>
                <c:pt idx="1020">
                  <c:v>-1.98543</c:v>
                </c:pt>
                <c:pt idx="1021">
                  <c:v>-2.4283000000000001</c:v>
                </c:pt>
                <c:pt idx="1022">
                  <c:v>#N/A</c:v>
                </c:pt>
                <c:pt idx="1023">
                  <c:v>-2.2604600000000001</c:v>
                </c:pt>
                <c:pt idx="1024">
                  <c:v>-2.2003699999999999</c:v>
                </c:pt>
                <c:pt idx="1025">
                  <c:v>-2.80132</c:v>
                </c:pt>
                <c:pt idx="1026">
                  <c:v>#N/A</c:v>
                </c:pt>
                <c:pt idx="1027">
                  <c:v>-3.0359099999999999</c:v>
                </c:pt>
                <c:pt idx="1028">
                  <c:v>-2.7227899999999998</c:v>
                </c:pt>
                <c:pt idx="1029">
                  <c:v>#N/A</c:v>
                </c:pt>
                <c:pt idx="1030">
                  <c:v>-2.7696999999999998</c:v>
                </c:pt>
                <c:pt idx="1031">
                  <c:v>-2.3739300000000001</c:v>
                </c:pt>
                <c:pt idx="1032">
                  <c:v>-2.8041800000000001</c:v>
                </c:pt>
                <c:pt idx="1033">
                  <c:v>#N/A</c:v>
                </c:pt>
                <c:pt idx="1034">
                  <c:v>-2.8544800000000001</c:v>
                </c:pt>
                <c:pt idx="1035">
                  <c:v>-3.28172</c:v>
                </c:pt>
                <c:pt idx="1036">
                  <c:v>-3.2557299999999998</c:v>
                </c:pt>
                <c:pt idx="1037">
                  <c:v>#N/A</c:v>
                </c:pt>
                <c:pt idx="1038">
                  <c:v>-2.8603999999999998</c:v>
                </c:pt>
                <c:pt idx="1039">
                  <c:v>-2.1410100000000001</c:v>
                </c:pt>
                <c:pt idx="1040">
                  <c:v>-2.3770899999999999</c:v>
                </c:pt>
                <c:pt idx="1041">
                  <c:v>#N/A</c:v>
                </c:pt>
                <c:pt idx="1042">
                  <c:v>-2.0860799999999999</c:v>
                </c:pt>
                <c:pt idx="1043">
                  <c:v>-2.8048999999999999</c:v>
                </c:pt>
                <c:pt idx="1044">
                  <c:v>-2.64995</c:v>
                </c:pt>
                <c:pt idx="1045">
                  <c:v>#N/A</c:v>
                </c:pt>
                <c:pt idx="1046">
                  <c:v>-2.4898699999999998</c:v>
                </c:pt>
                <c:pt idx="1047">
                  <c:v>-2.6360800000000002</c:v>
                </c:pt>
                <c:pt idx="1048">
                  <c:v>-2.5318800000000001</c:v>
                </c:pt>
                <c:pt idx="1049">
                  <c:v>#N/A</c:v>
                </c:pt>
                <c:pt idx="1050">
                  <c:v>-2.48143</c:v>
                </c:pt>
                <c:pt idx="1051">
                  <c:v>-2.6410999999999998</c:v>
                </c:pt>
                <c:pt idx="1052">
                  <c:v>-2.99397</c:v>
                </c:pt>
                <c:pt idx="1053">
                  <c:v>#N/A</c:v>
                </c:pt>
                <c:pt idx="1054">
                  <c:v>-3.2277</c:v>
                </c:pt>
                <c:pt idx="1055">
                  <c:v>-3.3128099999999998</c:v>
                </c:pt>
                <c:pt idx="1056">
                  <c:v>-3.1488499999999999</c:v>
                </c:pt>
                <c:pt idx="1057">
                  <c:v>-2.4963600000000001</c:v>
                </c:pt>
                <c:pt idx="1058">
                  <c:v>#N/A</c:v>
                </c:pt>
                <c:pt idx="1059">
                  <c:v>-3.0001899999999999</c:v>
                </c:pt>
                <c:pt idx="1060">
                  <c:v>-2.4468000000000001</c:v>
                </c:pt>
                <c:pt idx="1061">
                  <c:v>-2.4389099999999999</c:v>
                </c:pt>
                <c:pt idx="1062">
                  <c:v>#N/A</c:v>
                </c:pt>
                <c:pt idx="1063">
                  <c:v>-2.14459</c:v>
                </c:pt>
                <c:pt idx="1064">
                  <c:v>-2.5692699999999999</c:v>
                </c:pt>
                <c:pt idx="1065">
                  <c:v>-2.6794899999999999</c:v>
                </c:pt>
                <c:pt idx="1066">
                  <c:v>-2.80905</c:v>
                </c:pt>
                <c:pt idx="1067">
                  <c:v>#N/A</c:v>
                </c:pt>
                <c:pt idx="1068">
                  <c:v>-2.94658</c:v>
                </c:pt>
                <c:pt idx="1069">
                  <c:v>-3.1675399999999998</c:v>
                </c:pt>
                <c:pt idx="1070">
                  <c:v>-3.0531199999999998</c:v>
                </c:pt>
                <c:pt idx="1071">
                  <c:v>#N/A</c:v>
                </c:pt>
                <c:pt idx="1072">
                  <c:v>-3.0176699999999999</c:v>
                </c:pt>
                <c:pt idx="1073">
                  <c:v>-2.84823</c:v>
                </c:pt>
                <c:pt idx="1074">
                  <c:v>-3.0264799999999998</c:v>
                </c:pt>
                <c:pt idx="1075">
                  <c:v>-3.4298999999999999</c:v>
                </c:pt>
                <c:pt idx="1076">
                  <c:v>#N/A</c:v>
                </c:pt>
                <c:pt idx="1077">
                  <c:v>-3.42293</c:v>
                </c:pt>
                <c:pt idx="1078">
                  <c:v>-3.2836699999999999</c:v>
                </c:pt>
                <c:pt idx="1079">
                  <c:v>-2.8080799999999999</c:v>
                </c:pt>
                <c:pt idx="1080">
                  <c:v>#N/A</c:v>
                </c:pt>
                <c:pt idx="1081">
                  <c:v>-2.7213799999999999</c:v>
                </c:pt>
                <c:pt idx="1082">
                  <c:v>-2.5407099999999998</c:v>
                </c:pt>
                <c:pt idx="1083">
                  <c:v>-3.3000400000000001</c:v>
                </c:pt>
                <c:pt idx="1084">
                  <c:v>-3.1019700000000001</c:v>
                </c:pt>
                <c:pt idx="1085">
                  <c:v>#N/A</c:v>
                </c:pt>
                <c:pt idx="1086">
                  <c:v>-2.5683400000000001</c:v>
                </c:pt>
                <c:pt idx="1087">
                  <c:v>-3.3345400000000001</c:v>
                </c:pt>
                <c:pt idx="1088">
                  <c:v>-3.09416</c:v>
                </c:pt>
                <c:pt idx="1089">
                  <c:v>-3.39663</c:v>
                </c:pt>
                <c:pt idx="1090">
                  <c:v>#N/A</c:v>
                </c:pt>
                <c:pt idx="1091">
                  <c:v>-3.4800599999999999</c:v>
                </c:pt>
                <c:pt idx="1092">
                  <c:v>-3.2985799999999998</c:v>
                </c:pt>
                <c:pt idx="1093">
                  <c:v>-3.3406199999999999</c:v>
                </c:pt>
                <c:pt idx="1094">
                  <c:v>#N/A</c:v>
                </c:pt>
                <c:pt idx="1095">
                  <c:v>-3.1871900000000002</c:v>
                </c:pt>
                <c:pt idx="1096">
                  <c:v>-3.3631600000000001</c:v>
                </c:pt>
                <c:pt idx="1097">
                  <c:v>-3.2035100000000001</c:v>
                </c:pt>
                <c:pt idx="1098">
                  <c:v>#N/A</c:v>
                </c:pt>
                <c:pt idx="1099">
                  <c:v>-3.12296</c:v>
                </c:pt>
                <c:pt idx="1100">
                  <c:v>-2.9283600000000001</c:v>
                </c:pt>
                <c:pt idx="1101">
                  <c:v>-2.72058</c:v>
                </c:pt>
                <c:pt idx="1102">
                  <c:v>-2.8480099999999999</c:v>
                </c:pt>
                <c:pt idx="1103">
                  <c:v>#N/A</c:v>
                </c:pt>
                <c:pt idx="1104">
                  <c:v>-2.9125100000000002</c:v>
                </c:pt>
                <c:pt idx="1105">
                  <c:v>-3.5744099999999999</c:v>
                </c:pt>
                <c:pt idx="1106">
                  <c:v>-3.46367</c:v>
                </c:pt>
                <c:pt idx="1107">
                  <c:v>#N/A</c:v>
                </c:pt>
                <c:pt idx="1108">
                  <c:v>-3.6820400000000002</c:v>
                </c:pt>
                <c:pt idx="1109">
                  <c:v>-3.1357200000000001</c:v>
                </c:pt>
                <c:pt idx="1110">
                  <c:v>-3.04793</c:v>
                </c:pt>
                <c:pt idx="1111">
                  <c:v>-3.27379</c:v>
                </c:pt>
                <c:pt idx="1112">
                  <c:v>#N/A</c:v>
                </c:pt>
                <c:pt idx="1113">
                  <c:v>-3.3601700000000001</c:v>
                </c:pt>
                <c:pt idx="1114">
                  <c:v>-3.5737899999999998</c:v>
                </c:pt>
                <c:pt idx="1115">
                  <c:v>-3.3486699999999998</c:v>
                </c:pt>
                <c:pt idx="1116">
                  <c:v>#N/A</c:v>
                </c:pt>
                <c:pt idx="1117">
                  <c:v>-3.1963699999999999</c:v>
                </c:pt>
                <c:pt idx="1118">
                  <c:v>-2.9881600000000001</c:v>
                </c:pt>
                <c:pt idx="1119">
                  <c:v>-2.9287999999999998</c:v>
                </c:pt>
                <c:pt idx="1120">
                  <c:v>#N/A</c:v>
                </c:pt>
                <c:pt idx="1121">
                  <c:v>-2.76389</c:v>
                </c:pt>
                <c:pt idx="1122">
                  <c:v>-2.92</c:v>
                </c:pt>
                <c:pt idx="1123">
                  <c:v>-2.9782899999999999</c:v>
                </c:pt>
                <c:pt idx="1124">
                  <c:v>-2.6897500000000001</c:v>
                </c:pt>
                <c:pt idx="1125">
                  <c:v>#N/A</c:v>
                </c:pt>
                <c:pt idx="1126">
                  <c:v>-2.99085</c:v>
                </c:pt>
                <c:pt idx="1127">
                  <c:v>-3.2602899999999999</c:v>
                </c:pt>
                <c:pt idx="1128">
                  <c:v>-3.4799699999999998</c:v>
                </c:pt>
                <c:pt idx="1129">
                  <c:v>#N/A</c:v>
                </c:pt>
                <c:pt idx="1130">
                  <c:v>-3.7358600000000002</c:v>
                </c:pt>
                <c:pt idx="1131">
                  <c:v>-3.4474100000000001</c:v>
                </c:pt>
                <c:pt idx="1132">
                  <c:v>-3.5209299999999999</c:v>
                </c:pt>
                <c:pt idx="1133">
                  <c:v>#N/A</c:v>
                </c:pt>
                <c:pt idx="1134">
                  <c:v>-3.58711</c:v>
                </c:pt>
                <c:pt idx="1135">
                  <c:v>-3.4527299999999999</c:v>
                </c:pt>
                <c:pt idx="1136">
                  <c:v>-3.8431000000000002</c:v>
                </c:pt>
                <c:pt idx="1137">
                  <c:v>-3.8608799999999999</c:v>
                </c:pt>
                <c:pt idx="1138">
                  <c:v>#N/A</c:v>
                </c:pt>
                <c:pt idx="1139">
                  <c:v>-3.16378</c:v>
                </c:pt>
                <c:pt idx="1140">
                  <c:v>-2.9318300000000002</c:v>
                </c:pt>
                <c:pt idx="1141">
                  <c:v>-3.0637799999999999</c:v>
                </c:pt>
                <c:pt idx="1142">
                  <c:v>#N/A</c:v>
                </c:pt>
                <c:pt idx="1143">
                  <c:v>-3.0051700000000001</c:v>
                </c:pt>
                <c:pt idx="1144">
                  <c:v>-3.1862400000000002</c:v>
                </c:pt>
                <c:pt idx="1145">
                  <c:v>-3.2801300000000002</c:v>
                </c:pt>
                <c:pt idx="1146">
                  <c:v>-3.17333</c:v>
                </c:pt>
                <c:pt idx="1147">
                  <c:v>#N/A</c:v>
                </c:pt>
                <c:pt idx="1148">
                  <c:v>-3.5636899999999998</c:v>
                </c:pt>
                <c:pt idx="1149">
                  <c:v>-3.0314399999999999</c:v>
                </c:pt>
                <c:pt idx="1150">
                  <c:v>-3.45044</c:v>
                </c:pt>
                <c:pt idx="1151">
                  <c:v>#N/A</c:v>
                </c:pt>
                <c:pt idx="1152">
                  <c:v>-3.1795</c:v>
                </c:pt>
                <c:pt idx="1153">
                  <c:v>-3.2620800000000001</c:v>
                </c:pt>
                <c:pt idx="1154">
                  <c:v>-3.6823899999999998</c:v>
                </c:pt>
                <c:pt idx="1155">
                  <c:v>#N/A</c:v>
                </c:pt>
                <c:pt idx="1156">
                  <c:v>-2.8592</c:v>
                </c:pt>
                <c:pt idx="1157">
                  <c:v>-2.90632</c:v>
                </c:pt>
                <c:pt idx="1158">
                  <c:v>-3.1304099999999999</c:v>
                </c:pt>
                <c:pt idx="1159">
                  <c:v>-3.59971</c:v>
                </c:pt>
                <c:pt idx="1160">
                  <c:v>#N/A</c:v>
                </c:pt>
                <c:pt idx="1161">
                  <c:v>-2.6973799999999999</c:v>
                </c:pt>
                <c:pt idx="1162">
                  <c:v>-3.0635699999999999</c:v>
                </c:pt>
                <c:pt idx="1163">
                  <c:v>-2.9575200000000001</c:v>
                </c:pt>
                <c:pt idx="1164">
                  <c:v>#N/A</c:v>
                </c:pt>
                <c:pt idx="1165">
                  <c:v>-2.9609299999999998</c:v>
                </c:pt>
                <c:pt idx="1166">
                  <c:v>-3.5214300000000001</c:v>
                </c:pt>
                <c:pt idx="1167">
                  <c:v>-3.5596000000000001</c:v>
                </c:pt>
                <c:pt idx="1168">
                  <c:v>#N/A</c:v>
                </c:pt>
                <c:pt idx="1169">
                  <c:v>-3.4426299999999999</c:v>
                </c:pt>
                <c:pt idx="1170">
                  <c:v>-3.52691</c:v>
                </c:pt>
                <c:pt idx="1171">
                  <c:v>#N/A</c:v>
                </c:pt>
                <c:pt idx="1172">
                  <c:v>-3.27129</c:v>
                </c:pt>
                <c:pt idx="1173">
                  <c:v>-3.5992700000000002</c:v>
                </c:pt>
                <c:pt idx="1174">
                  <c:v>#N/A</c:v>
                </c:pt>
                <c:pt idx="1175">
                  <c:v>-3.7402700000000002</c:v>
                </c:pt>
                <c:pt idx="1176">
                  <c:v>-3.49796</c:v>
                </c:pt>
                <c:pt idx="1177">
                  <c:v>-3.05471</c:v>
                </c:pt>
                <c:pt idx="1178">
                  <c:v>#N/A</c:v>
                </c:pt>
                <c:pt idx="1179">
                  <c:v>-2.4897</c:v>
                </c:pt>
                <c:pt idx="1180">
                  <c:v>-2.80003</c:v>
                </c:pt>
                <c:pt idx="1181">
                  <c:v>-2.8258800000000002</c:v>
                </c:pt>
                <c:pt idx="1182">
                  <c:v>-2.7176</c:v>
                </c:pt>
                <c:pt idx="1183">
                  <c:v>#N/A</c:v>
                </c:pt>
                <c:pt idx="1184">
                  <c:v>-2.7105299999999999</c:v>
                </c:pt>
                <c:pt idx="1185">
                  <c:v>-3.3034300000000001</c:v>
                </c:pt>
                <c:pt idx="1186">
                  <c:v>-3.2568100000000002</c:v>
                </c:pt>
                <c:pt idx="1187">
                  <c:v>#N/A</c:v>
                </c:pt>
                <c:pt idx="1188">
                  <c:v>-3.2265899999999998</c:v>
                </c:pt>
                <c:pt idx="1189">
                  <c:v>-3.1501999999999999</c:v>
                </c:pt>
                <c:pt idx="1190">
                  <c:v>-3.1263899999999998</c:v>
                </c:pt>
                <c:pt idx="1191">
                  <c:v>-3.08874</c:v>
                </c:pt>
                <c:pt idx="1192">
                  <c:v>#N/A</c:v>
                </c:pt>
                <c:pt idx="1193">
                  <c:v>-3.4477899999999999</c:v>
                </c:pt>
                <c:pt idx="1194">
                  <c:v>-3.4561799999999998</c:v>
                </c:pt>
                <c:pt idx="1195">
                  <c:v>-3.3833000000000002</c:v>
                </c:pt>
                <c:pt idx="1196">
                  <c:v>#N/A</c:v>
                </c:pt>
                <c:pt idx="1197">
                  <c:v>-3.0981800000000002</c:v>
                </c:pt>
                <c:pt idx="1198">
                  <c:v>-3.10697</c:v>
                </c:pt>
                <c:pt idx="1199">
                  <c:v>-2.8383699999999998</c:v>
                </c:pt>
                <c:pt idx="1200">
                  <c:v>#N/A</c:v>
                </c:pt>
                <c:pt idx="1201">
                  <c:v>-2.5966499999999999</c:v>
                </c:pt>
                <c:pt idx="1202">
                  <c:v>-2.5032800000000002</c:v>
                </c:pt>
                <c:pt idx="1203">
                  <c:v>-3.1887699999999999</c:v>
                </c:pt>
                <c:pt idx="1204">
                  <c:v>-2.6951499999999999</c:v>
                </c:pt>
                <c:pt idx="1205">
                  <c:v>#N/A</c:v>
                </c:pt>
                <c:pt idx="1206">
                  <c:v>-3.1264400000000001</c:v>
                </c:pt>
                <c:pt idx="1207">
                  <c:v>-2.7835200000000002</c:v>
                </c:pt>
                <c:pt idx="1208">
                  <c:v>-3.2167599999999998</c:v>
                </c:pt>
                <c:pt idx="1209">
                  <c:v>#N/A</c:v>
                </c:pt>
                <c:pt idx="1210">
                  <c:v>-2.9947900000000001</c:v>
                </c:pt>
                <c:pt idx="1211">
                  <c:v>-2.9491800000000001</c:v>
                </c:pt>
                <c:pt idx="1212">
                  <c:v>-3.38429</c:v>
                </c:pt>
                <c:pt idx="1213">
                  <c:v>-3.1263800000000002</c:v>
                </c:pt>
                <c:pt idx="1214">
                  <c:v>#N/A</c:v>
                </c:pt>
                <c:pt idx="1215">
                  <c:v>-3.3978000000000002</c:v>
                </c:pt>
                <c:pt idx="1216">
                  <c:v>-3.30925</c:v>
                </c:pt>
                <c:pt idx="1217">
                  <c:v>-3.1148699999999998</c:v>
                </c:pt>
                <c:pt idx="1218">
                  <c:v>#N/A</c:v>
                </c:pt>
                <c:pt idx="1219">
                  <c:v>-2.96922</c:v>
                </c:pt>
                <c:pt idx="1220">
                  <c:v>-2.7826900000000001</c:v>
                </c:pt>
                <c:pt idx="1221">
                  <c:v>-2.7006399999999999</c:v>
                </c:pt>
                <c:pt idx="1222">
                  <c:v>-2.6618300000000001</c:v>
                </c:pt>
                <c:pt idx="1223">
                  <c:v>#N/A</c:v>
                </c:pt>
                <c:pt idx="1224">
                  <c:v>-2.8130500000000001</c:v>
                </c:pt>
                <c:pt idx="1225">
                  <c:v>-3.51078</c:v>
                </c:pt>
                <c:pt idx="1226">
                  <c:v>-3.6200899999999998</c:v>
                </c:pt>
                <c:pt idx="1227">
                  <c:v>#N/A</c:v>
                </c:pt>
                <c:pt idx="1228">
                  <c:v>-3.5256799999999999</c:v>
                </c:pt>
                <c:pt idx="1229">
                  <c:v>-3.1285699999999999</c:v>
                </c:pt>
                <c:pt idx="1230">
                  <c:v>-3.04752</c:v>
                </c:pt>
                <c:pt idx="1231">
                  <c:v>-2.9518499999999999</c:v>
                </c:pt>
                <c:pt idx="1232">
                  <c:v>#N/A</c:v>
                </c:pt>
                <c:pt idx="1233">
                  <c:v>-3.4315799999999999</c:v>
                </c:pt>
                <c:pt idx="1234">
                  <c:v>-2.9399500000000001</c:v>
                </c:pt>
                <c:pt idx="1235">
                  <c:v>-2.7593999999999999</c:v>
                </c:pt>
                <c:pt idx="1236">
                  <c:v>#N/A</c:v>
                </c:pt>
                <c:pt idx="1237">
                  <c:v>-2.9427500000000002</c:v>
                </c:pt>
                <c:pt idx="1238">
                  <c:v>-3.11591</c:v>
                </c:pt>
                <c:pt idx="1239">
                  <c:v>-2.82274</c:v>
                </c:pt>
                <c:pt idx="1240">
                  <c:v>#N/A</c:v>
                </c:pt>
                <c:pt idx="1241">
                  <c:v>-2.9065099999999999</c:v>
                </c:pt>
                <c:pt idx="1242">
                  <c:v>-2.3747400000000001</c:v>
                </c:pt>
                <c:pt idx="1243">
                  <c:v>-2.5055200000000002</c:v>
                </c:pt>
                <c:pt idx="1244">
                  <c:v>#N/A</c:v>
                </c:pt>
                <c:pt idx="1245">
                  <c:v>-3.3688799999999999</c:v>
                </c:pt>
                <c:pt idx="1246">
                  <c:v>-3.0383900000000001</c:v>
                </c:pt>
                <c:pt idx="1247">
                  <c:v>-2.93398</c:v>
                </c:pt>
                <c:pt idx="1248">
                  <c:v>#N/A</c:v>
                </c:pt>
                <c:pt idx="1249">
                  <c:v>-2.9315600000000002</c:v>
                </c:pt>
                <c:pt idx="1250">
                  <c:v>-2.9344000000000001</c:v>
                </c:pt>
                <c:pt idx="1251">
                  <c:v>-2.98773</c:v>
                </c:pt>
                <c:pt idx="1252">
                  <c:v>#N/A</c:v>
                </c:pt>
                <c:pt idx="1253">
                  <c:v>-2.8887499999999999</c:v>
                </c:pt>
                <c:pt idx="1254">
                  <c:v>-3.3553700000000002</c:v>
                </c:pt>
                <c:pt idx="1255">
                  <c:v>-2.96218</c:v>
                </c:pt>
                <c:pt idx="1256">
                  <c:v>-3.4783200000000001</c:v>
                </c:pt>
                <c:pt idx="1257">
                  <c:v>#N/A</c:v>
                </c:pt>
                <c:pt idx="1258">
                  <c:v>-3.6277400000000002</c:v>
                </c:pt>
                <c:pt idx="1259">
                  <c:v>-2.92245</c:v>
                </c:pt>
                <c:pt idx="1260">
                  <c:v>-2.4522499999999998</c:v>
                </c:pt>
                <c:pt idx="1261">
                  <c:v>#N/A</c:v>
                </c:pt>
                <c:pt idx="1262">
                  <c:v>-2.4736600000000002</c:v>
                </c:pt>
                <c:pt idx="1263">
                  <c:v>-2.5766</c:v>
                </c:pt>
                <c:pt idx="1264">
                  <c:v>-3.0694699999999999</c:v>
                </c:pt>
                <c:pt idx="1265">
                  <c:v>#N/A</c:v>
                </c:pt>
                <c:pt idx="1266">
                  <c:v>-2.9665499999999998</c:v>
                </c:pt>
                <c:pt idx="1267">
                  <c:v>-3.12913</c:v>
                </c:pt>
                <c:pt idx="1268">
                  <c:v>-3.29298</c:v>
                </c:pt>
                <c:pt idx="1269">
                  <c:v>-3.20214</c:v>
                </c:pt>
                <c:pt idx="1270">
                  <c:v>#N/A</c:v>
                </c:pt>
                <c:pt idx="1271">
                  <c:v>-2.8936299999999999</c:v>
                </c:pt>
                <c:pt idx="1272">
                  <c:v>-3.26675</c:v>
                </c:pt>
                <c:pt idx="1273">
                  <c:v>-2.9773999999999998</c:v>
                </c:pt>
                <c:pt idx="1274">
                  <c:v>-3.1191200000000001</c:v>
                </c:pt>
                <c:pt idx="1275">
                  <c:v>#N/A</c:v>
                </c:pt>
                <c:pt idx="1276">
                  <c:v>-3.9299400000000002</c:v>
                </c:pt>
                <c:pt idx="1277">
                  <c:v>-3.62947</c:v>
                </c:pt>
                <c:pt idx="1278">
                  <c:v>-3.3904700000000001</c:v>
                </c:pt>
                <c:pt idx="1279">
                  <c:v>#N/A</c:v>
                </c:pt>
                <c:pt idx="1280">
                  <c:v>-2.7973599999999998</c:v>
                </c:pt>
                <c:pt idx="1281">
                  <c:v>-3.0505800000000001</c:v>
                </c:pt>
                <c:pt idx="1282">
                  <c:v>-2.9253200000000001</c:v>
                </c:pt>
                <c:pt idx="1283">
                  <c:v>#N/A</c:v>
                </c:pt>
                <c:pt idx="1284">
                  <c:v>-3.2717700000000001</c:v>
                </c:pt>
                <c:pt idx="1285">
                  <c:v>-3.06318</c:v>
                </c:pt>
                <c:pt idx="1286">
                  <c:v>-3.40564</c:v>
                </c:pt>
                <c:pt idx="1287">
                  <c:v>-3.4592399999999999</c:v>
                </c:pt>
                <c:pt idx="1288">
                  <c:v>#N/A</c:v>
                </c:pt>
                <c:pt idx="1289">
                  <c:v>-2.93831</c:v>
                </c:pt>
                <c:pt idx="1290">
                  <c:v>-2.9156599999999999</c:v>
                </c:pt>
                <c:pt idx="1291">
                  <c:v>-2.9777900000000002</c:v>
                </c:pt>
                <c:pt idx="1292">
                  <c:v>#N/A</c:v>
                </c:pt>
                <c:pt idx="1293">
                  <c:v>-3.0546500000000001</c:v>
                </c:pt>
                <c:pt idx="1294">
                  <c:v>-3.0508999999999999</c:v>
                </c:pt>
                <c:pt idx="1295">
                  <c:v>-3.18018</c:v>
                </c:pt>
                <c:pt idx="1296">
                  <c:v>-3.0859999999999999</c:v>
                </c:pt>
                <c:pt idx="1297">
                  <c:v>#N/A</c:v>
                </c:pt>
                <c:pt idx="1298">
                  <c:v>-3.0457900000000002</c:v>
                </c:pt>
                <c:pt idx="1299">
                  <c:v>-2.9862299999999999</c:v>
                </c:pt>
                <c:pt idx="1300">
                  <c:v>-2.6190099999999998</c:v>
                </c:pt>
                <c:pt idx="1301">
                  <c:v>#N/A</c:v>
                </c:pt>
                <c:pt idx="1302">
                  <c:v>-2.6044700000000001</c:v>
                </c:pt>
                <c:pt idx="1303">
                  <c:v>-3.2812199999999998</c:v>
                </c:pt>
                <c:pt idx="1304">
                  <c:v>-3.6445799999999999</c:v>
                </c:pt>
                <c:pt idx="1305">
                  <c:v>-2.9210600000000002</c:v>
                </c:pt>
                <c:pt idx="1306">
                  <c:v>#N/A</c:v>
                </c:pt>
                <c:pt idx="1307">
                  <c:v>-3.0889000000000002</c:v>
                </c:pt>
                <c:pt idx="1308">
                  <c:v>-3.0459299999999998</c:v>
                </c:pt>
                <c:pt idx="1309">
                  <c:v>-3.1434299999999999</c:v>
                </c:pt>
                <c:pt idx="1310">
                  <c:v>#N/A</c:v>
                </c:pt>
                <c:pt idx="1311">
                  <c:v>-3.0381399999999998</c:v>
                </c:pt>
                <c:pt idx="1312">
                  <c:v>-3.0975600000000001</c:v>
                </c:pt>
                <c:pt idx="1313">
                  <c:v>#N/A</c:v>
                </c:pt>
                <c:pt idx="1314">
                  <c:v>-3.46557</c:v>
                </c:pt>
                <c:pt idx="1315">
                  <c:v>#N/A</c:v>
                </c:pt>
                <c:pt idx="1316">
                  <c:v>-3.4834399999999999</c:v>
                </c:pt>
                <c:pt idx="1317">
                  <c:v>-3.1811799999999999</c:v>
                </c:pt>
                <c:pt idx="1318">
                  <c:v>-2.6177299999999999</c:v>
                </c:pt>
                <c:pt idx="1319">
                  <c:v>-3.0198999999999998</c:v>
                </c:pt>
                <c:pt idx="1320">
                  <c:v>#N/A</c:v>
                </c:pt>
                <c:pt idx="1321">
                  <c:v>-2.5700799999999999</c:v>
                </c:pt>
                <c:pt idx="1322">
                  <c:v>-2.7781600000000002</c:v>
                </c:pt>
                <c:pt idx="1323">
                  <c:v>-2.9600499999999998</c:v>
                </c:pt>
                <c:pt idx="1324">
                  <c:v>#N/A</c:v>
                </c:pt>
                <c:pt idx="1325">
                  <c:v>-3.2764899999999999</c:v>
                </c:pt>
                <c:pt idx="1326">
                  <c:v>-2.9171900000000002</c:v>
                </c:pt>
                <c:pt idx="1327">
                  <c:v>-3.3113600000000001</c:v>
                </c:pt>
                <c:pt idx="1328">
                  <c:v>#N/A</c:v>
                </c:pt>
                <c:pt idx="1329">
                  <c:v>-3.1842000000000001</c:v>
                </c:pt>
                <c:pt idx="1330">
                  <c:v>-3.1455000000000002</c:v>
                </c:pt>
                <c:pt idx="1331">
                  <c:v>-3.1663899999999998</c:v>
                </c:pt>
                <c:pt idx="1332">
                  <c:v>-3.4348299999999998</c:v>
                </c:pt>
                <c:pt idx="1333">
                  <c:v>#N/A</c:v>
                </c:pt>
                <c:pt idx="1334">
                  <c:v>-3.6452200000000001</c:v>
                </c:pt>
                <c:pt idx="1335">
                  <c:v>-3.9302000000000001</c:v>
                </c:pt>
                <c:pt idx="1336">
                  <c:v>-3.45777</c:v>
                </c:pt>
                <c:pt idx="1337">
                  <c:v>#N/A</c:v>
                </c:pt>
                <c:pt idx="1338">
                  <c:v>-3.7670300000000001</c:v>
                </c:pt>
                <c:pt idx="1339">
                  <c:v>-3.6183299999999998</c:v>
                </c:pt>
                <c:pt idx="1340">
                  <c:v>-3.3417599999999998</c:v>
                </c:pt>
                <c:pt idx="1341">
                  <c:v>#N/A</c:v>
                </c:pt>
                <c:pt idx="1342">
                  <c:v>-3.3075199999999998</c:v>
                </c:pt>
                <c:pt idx="1343">
                  <c:v>-3.43479</c:v>
                </c:pt>
                <c:pt idx="1344">
                  <c:v>-3.42761</c:v>
                </c:pt>
                <c:pt idx="1345">
                  <c:v>#N/A</c:v>
                </c:pt>
                <c:pt idx="1346">
                  <c:v>-3.4678300000000002</c:v>
                </c:pt>
                <c:pt idx="1347">
                  <c:v>-3.2659799999999999</c:v>
                </c:pt>
                <c:pt idx="1348">
                  <c:v>-3.2549000000000001</c:v>
                </c:pt>
                <c:pt idx="1349">
                  <c:v>-3.1856900000000001</c:v>
                </c:pt>
                <c:pt idx="1350">
                  <c:v>#N/A</c:v>
                </c:pt>
                <c:pt idx="1351">
                  <c:v>-3.0999099999999999</c:v>
                </c:pt>
                <c:pt idx="1352">
                  <c:v>-3.3092000000000001</c:v>
                </c:pt>
                <c:pt idx="1353">
                  <c:v>-3.40707</c:v>
                </c:pt>
                <c:pt idx="1354">
                  <c:v>#N/A</c:v>
                </c:pt>
                <c:pt idx="1355">
                  <c:v>-3.85832</c:v>
                </c:pt>
                <c:pt idx="1356">
                  <c:v>-3.5256599999999998</c:v>
                </c:pt>
                <c:pt idx="1357">
                  <c:v>-3.79331</c:v>
                </c:pt>
                <c:pt idx="1358">
                  <c:v>-2.7692899999999998</c:v>
                </c:pt>
                <c:pt idx="1359">
                  <c:v>#N/A</c:v>
                </c:pt>
                <c:pt idx="1360">
                  <c:v>-3.0039600000000002</c:v>
                </c:pt>
                <c:pt idx="1361">
                  <c:v>-2.7686199999999999</c:v>
                </c:pt>
                <c:pt idx="1362">
                  <c:v>-3.75434</c:v>
                </c:pt>
                <c:pt idx="1363">
                  <c:v>#N/A</c:v>
                </c:pt>
                <c:pt idx="1364">
                  <c:v>-2.8570700000000002</c:v>
                </c:pt>
                <c:pt idx="1365">
                  <c:v>-3.3220100000000001</c:v>
                </c:pt>
                <c:pt idx="1366">
                  <c:v>-3.0194899999999998</c:v>
                </c:pt>
                <c:pt idx="1367">
                  <c:v>-3.30552</c:v>
                </c:pt>
                <c:pt idx="1368">
                  <c:v>#N/A</c:v>
                </c:pt>
                <c:pt idx="1369">
                  <c:v>-3.0587300000000002</c:v>
                </c:pt>
                <c:pt idx="1370">
                  <c:v>-3.0653199999999998</c:v>
                </c:pt>
                <c:pt idx="1371">
                  <c:v>-3.2354799999999999</c:v>
                </c:pt>
                <c:pt idx="1372">
                  <c:v>#N/A</c:v>
                </c:pt>
                <c:pt idx="1373">
                  <c:v>-3.2103600000000001</c:v>
                </c:pt>
                <c:pt idx="1374">
                  <c:v>-3.8634400000000002</c:v>
                </c:pt>
                <c:pt idx="1375">
                  <c:v>-3.4527399999999999</c:v>
                </c:pt>
                <c:pt idx="1376">
                  <c:v>-3.1191499999999999</c:v>
                </c:pt>
                <c:pt idx="1377">
                  <c:v>#N/A</c:v>
                </c:pt>
                <c:pt idx="1378">
                  <c:v>-2.8988499999999999</c:v>
                </c:pt>
                <c:pt idx="1379">
                  <c:v>-3.00373</c:v>
                </c:pt>
                <c:pt idx="1380">
                  <c:v>-2.4764499999999998</c:v>
                </c:pt>
                <c:pt idx="1381">
                  <c:v>#N/A</c:v>
                </c:pt>
                <c:pt idx="1382">
                  <c:v>-2.5905399999999998</c:v>
                </c:pt>
                <c:pt idx="1383">
                  <c:v>-3.0622500000000001</c:v>
                </c:pt>
                <c:pt idx="1384">
                  <c:v>-2.7875700000000001</c:v>
                </c:pt>
                <c:pt idx="1385">
                  <c:v>#N/A</c:v>
                </c:pt>
                <c:pt idx="1386">
                  <c:v>-2.9320599999999999</c:v>
                </c:pt>
                <c:pt idx="1387">
                  <c:v>#N/A</c:v>
                </c:pt>
                <c:pt idx="1388">
                  <c:v>-2.7284199999999998</c:v>
                </c:pt>
                <c:pt idx="1389">
                  <c:v>-2.7628900000000001</c:v>
                </c:pt>
                <c:pt idx="1390">
                  <c:v>-2.8568500000000001</c:v>
                </c:pt>
                <c:pt idx="1391">
                  <c:v>#N/A</c:v>
                </c:pt>
                <c:pt idx="1392">
                  <c:v>-3.0207799999999998</c:v>
                </c:pt>
                <c:pt idx="1393">
                  <c:v>-3.2485599999999999</c:v>
                </c:pt>
                <c:pt idx="1394">
                  <c:v>-4.1031899999999997</c:v>
                </c:pt>
                <c:pt idx="1395">
                  <c:v>#N/A</c:v>
                </c:pt>
                <c:pt idx="1396">
                  <c:v>-3.1817199999999999</c:v>
                </c:pt>
                <c:pt idx="1397">
                  <c:v>-3.2575799999999999</c:v>
                </c:pt>
                <c:pt idx="1398">
                  <c:v>-2.7006899999999998</c:v>
                </c:pt>
                <c:pt idx="1399">
                  <c:v>-2.5929000000000002</c:v>
                </c:pt>
                <c:pt idx="1400">
                  <c:v>#N/A</c:v>
                </c:pt>
                <c:pt idx="1401">
                  <c:v>-2.7734700000000001</c:v>
                </c:pt>
                <c:pt idx="1402">
                  <c:v>-2.79297</c:v>
                </c:pt>
                <c:pt idx="1403">
                  <c:v>-2.4915400000000001</c:v>
                </c:pt>
                <c:pt idx="1404">
                  <c:v>-3.2684500000000001</c:v>
                </c:pt>
                <c:pt idx="1405">
                  <c:v>#N/A</c:v>
                </c:pt>
                <c:pt idx="1406">
                  <c:v>-2.92306</c:v>
                </c:pt>
                <c:pt idx="1407">
                  <c:v>-3.14236</c:v>
                </c:pt>
                <c:pt idx="1408">
                  <c:v>-1.9190499999999999</c:v>
                </c:pt>
                <c:pt idx="1409">
                  <c:v>#N/A</c:v>
                </c:pt>
                <c:pt idx="1410">
                  <c:v>-2.3176800000000002</c:v>
                </c:pt>
                <c:pt idx="1411">
                  <c:v>-2.4110100000000001</c:v>
                </c:pt>
                <c:pt idx="1412">
                  <c:v>-2.6907800000000002</c:v>
                </c:pt>
                <c:pt idx="1413">
                  <c:v>-2.8182700000000001</c:v>
                </c:pt>
                <c:pt idx="1414">
                  <c:v>#N/A</c:v>
                </c:pt>
                <c:pt idx="1415">
                  <c:v>-2.8945500000000002</c:v>
                </c:pt>
                <c:pt idx="1416">
                  <c:v>-3.2669899999999998</c:v>
                </c:pt>
                <c:pt idx="1417">
                  <c:v>-2.86666</c:v>
                </c:pt>
                <c:pt idx="1418">
                  <c:v>#N/A</c:v>
                </c:pt>
                <c:pt idx="1419">
                  <c:v>-2.79914</c:v>
                </c:pt>
                <c:pt idx="1420">
                  <c:v>-2.0869399999999998</c:v>
                </c:pt>
                <c:pt idx="1421">
                  <c:v>-1.9111</c:v>
                </c:pt>
                <c:pt idx="1422">
                  <c:v>#N/A</c:v>
                </c:pt>
                <c:pt idx="1423">
                  <c:v>-2.0740400000000001</c:v>
                </c:pt>
                <c:pt idx="1424">
                  <c:v>-1.90689</c:v>
                </c:pt>
                <c:pt idx="1425">
                  <c:v>-2.07741</c:v>
                </c:pt>
                <c:pt idx="1426">
                  <c:v>-2.25116</c:v>
                </c:pt>
                <c:pt idx="1427">
                  <c:v>#N/A</c:v>
                </c:pt>
                <c:pt idx="1428">
                  <c:v>-2.0742699999999998</c:v>
                </c:pt>
                <c:pt idx="1429">
                  <c:v>-2.1134300000000001</c:v>
                </c:pt>
                <c:pt idx="1430">
                  <c:v>-1.83501</c:v>
                </c:pt>
                <c:pt idx="1431">
                  <c:v>-1.7935300000000001</c:v>
                </c:pt>
                <c:pt idx="1432">
                  <c:v>#N/A</c:v>
                </c:pt>
                <c:pt idx="1433">
                  <c:v>-1.92248</c:v>
                </c:pt>
                <c:pt idx="1434">
                  <c:v>-2.4409399999999999</c:v>
                </c:pt>
                <c:pt idx="1435">
                  <c:v>-2.8048000000000002</c:v>
                </c:pt>
                <c:pt idx="1436">
                  <c:v>#N/A</c:v>
                </c:pt>
                <c:pt idx="1437">
                  <c:v>-2.1376400000000002</c:v>
                </c:pt>
                <c:pt idx="1438">
                  <c:v>-1.8991400000000001</c:v>
                </c:pt>
                <c:pt idx="1439">
                  <c:v>-1.9296199999999999</c:v>
                </c:pt>
                <c:pt idx="1440">
                  <c:v>#N/A</c:v>
                </c:pt>
                <c:pt idx="1441">
                  <c:v>-1.9641500000000001</c:v>
                </c:pt>
                <c:pt idx="1442">
                  <c:v>-2.1041300000000001</c:v>
                </c:pt>
                <c:pt idx="1443">
                  <c:v>-1.77322</c:v>
                </c:pt>
                <c:pt idx="1444">
                  <c:v>#N/A</c:v>
                </c:pt>
                <c:pt idx="1445">
                  <c:v>-2.3699599999999998</c:v>
                </c:pt>
                <c:pt idx="1446">
                  <c:v>-2.81142</c:v>
                </c:pt>
                <c:pt idx="1447">
                  <c:v>-1.93615</c:v>
                </c:pt>
                <c:pt idx="1448">
                  <c:v>-2.2010999999999998</c:v>
                </c:pt>
                <c:pt idx="1449">
                  <c:v>#N/A</c:v>
                </c:pt>
                <c:pt idx="1450">
                  <c:v>-2.12513</c:v>
                </c:pt>
                <c:pt idx="1451">
                  <c:v>-2.1380400000000002</c:v>
                </c:pt>
                <c:pt idx="1452">
                  <c:v>-2.2632300000000001</c:v>
                </c:pt>
                <c:pt idx="1453">
                  <c:v>#N/A</c:v>
                </c:pt>
                <c:pt idx="1454">
                  <c:v>-2.80661</c:v>
                </c:pt>
                <c:pt idx="1455">
                  <c:v>-2.2970899999999999</c:v>
                </c:pt>
                <c:pt idx="1456">
                  <c:v>-2.4578600000000002</c:v>
                </c:pt>
                <c:pt idx="1457">
                  <c:v>-1.89638</c:v>
                </c:pt>
                <c:pt idx="1458">
                  <c:v>#N/A</c:v>
                </c:pt>
                <c:pt idx="1459">
                  <c:v>-2.4475600000000002</c:v>
                </c:pt>
                <c:pt idx="1460">
                  <c:v>-1.4427099999999999</c:v>
                </c:pt>
                <c:pt idx="1461">
                  <c:v>-1.6037600000000001</c:v>
                </c:pt>
                <c:pt idx="1462">
                  <c:v>-2.1316299999999999</c:v>
                </c:pt>
                <c:pt idx="1463">
                  <c:v>#N/A</c:v>
                </c:pt>
                <c:pt idx="1464">
                  <c:v>-2.4488400000000001</c:v>
                </c:pt>
                <c:pt idx="1465">
                  <c:v>-2.23509</c:v>
                </c:pt>
                <c:pt idx="1466">
                  <c:v>-2.2105700000000001</c:v>
                </c:pt>
                <c:pt idx="1467">
                  <c:v>#N/A</c:v>
                </c:pt>
                <c:pt idx="1468">
                  <c:v>-2.02596</c:v>
                </c:pt>
                <c:pt idx="1469">
                  <c:v>-1.9110799999999999</c:v>
                </c:pt>
                <c:pt idx="1470">
                  <c:v>-1.57115</c:v>
                </c:pt>
                <c:pt idx="1471">
                  <c:v>-2.18343</c:v>
                </c:pt>
                <c:pt idx="1472">
                  <c:v>#N/A</c:v>
                </c:pt>
                <c:pt idx="1473">
                  <c:v>-2.4952299999999998</c:v>
                </c:pt>
                <c:pt idx="1474">
                  <c:v>-2.4479799999999998</c:v>
                </c:pt>
                <c:pt idx="1475">
                  <c:v>-2.7178</c:v>
                </c:pt>
                <c:pt idx="1476">
                  <c:v>#N/A</c:v>
                </c:pt>
                <c:pt idx="1477">
                  <c:v>-1.9216299999999999</c:v>
                </c:pt>
                <c:pt idx="1478">
                  <c:v>-2.0345800000000001</c:v>
                </c:pt>
                <c:pt idx="1479">
                  <c:v>-2.0426799999999998</c:v>
                </c:pt>
                <c:pt idx="1480">
                  <c:v>#N/A</c:v>
                </c:pt>
                <c:pt idx="1481">
                  <c:v>-1.87923</c:v>
                </c:pt>
                <c:pt idx="1482">
                  <c:v>-1.81731</c:v>
                </c:pt>
                <c:pt idx="1483">
                  <c:v>-1.9381699999999999</c:v>
                </c:pt>
                <c:pt idx="1484">
                  <c:v>-1.9536100000000001</c:v>
                </c:pt>
                <c:pt idx="1485">
                  <c:v>#N/A</c:v>
                </c:pt>
                <c:pt idx="1486">
                  <c:v>-2.3789899999999999</c:v>
                </c:pt>
                <c:pt idx="1487">
                  <c:v>-2.1796199999999999</c:v>
                </c:pt>
                <c:pt idx="1488">
                  <c:v>-1.9098999999999999</c:v>
                </c:pt>
                <c:pt idx="1489">
                  <c:v>#N/A</c:v>
                </c:pt>
                <c:pt idx="1490">
                  <c:v>-2.2391899999999998</c:v>
                </c:pt>
                <c:pt idx="1491">
                  <c:v>-2.11538</c:v>
                </c:pt>
                <c:pt idx="1492">
                  <c:v>-2.3803800000000002</c:v>
                </c:pt>
                <c:pt idx="1493">
                  <c:v>-2.3467199999999999</c:v>
                </c:pt>
                <c:pt idx="1494">
                  <c:v>#N/A</c:v>
                </c:pt>
                <c:pt idx="1495">
                  <c:v>-2.2674400000000001</c:v>
                </c:pt>
                <c:pt idx="1496">
                  <c:v>-2.3968099999999999</c:v>
                </c:pt>
                <c:pt idx="1497">
                  <c:v>-2.32552</c:v>
                </c:pt>
                <c:pt idx="1498">
                  <c:v>#N/A</c:v>
                </c:pt>
                <c:pt idx="1499">
                  <c:v>-2.3755099999999998</c:v>
                </c:pt>
                <c:pt idx="1500">
                  <c:v>-1.9679800000000001</c:v>
                </c:pt>
                <c:pt idx="1501">
                  <c:v>-1.67378</c:v>
                </c:pt>
                <c:pt idx="1502">
                  <c:v>-2.4107699999999999</c:v>
                </c:pt>
                <c:pt idx="1503">
                  <c:v>#N/A</c:v>
                </c:pt>
                <c:pt idx="1504">
                  <c:v>-1.80596</c:v>
                </c:pt>
                <c:pt idx="1505">
                  <c:v>-2.15612</c:v>
                </c:pt>
                <c:pt idx="1506">
                  <c:v>-2.0712299999999999</c:v>
                </c:pt>
                <c:pt idx="1507">
                  <c:v>#N/A</c:v>
                </c:pt>
                <c:pt idx="1508">
                  <c:v>-2.65171</c:v>
                </c:pt>
                <c:pt idx="1509">
                  <c:v>-2.3114599999999998</c:v>
                </c:pt>
                <c:pt idx="1510">
                  <c:v>-2.0157400000000001</c:v>
                </c:pt>
                <c:pt idx="1511">
                  <c:v>#N/A</c:v>
                </c:pt>
                <c:pt idx="1512">
                  <c:v>-2.47858</c:v>
                </c:pt>
                <c:pt idx="1513">
                  <c:v>-2.4700199999999999</c:v>
                </c:pt>
                <c:pt idx="1514">
                  <c:v>-2.3229600000000001</c:v>
                </c:pt>
                <c:pt idx="1515">
                  <c:v>#N/A</c:v>
                </c:pt>
                <c:pt idx="1516">
                  <c:v>-2.3093699999999999</c:v>
                </c:pt>
                <c:pt idx="1517">
                  <c:v>-2.6730999999999998</c:v>
                </c:pt>
                <c:pt idx="1518">
                  <c:v>-2.3917799999999998</c:v>
                </c:pt>
                <c:pt idx="1519">
                  <c:v>#N/A</c:v>
                </c:pt>
                <c:pt idx="1520">
                  <c:v>-1.81233</c:v>
                </c:pt>
                <c:pt idx="1521">
                  <c:v>-2.0346000000000002</c:v>
                </c:pt>
                <c:pt idx="1522">
                  <c:v>-1.69679</c:v>
                </c:pt>
                <c:pt idx="1523">
                  <c:v>-1.79382</c:v>
                </c:pt>
                <c:pt idx="1524">
                  <c:v>#N/A</c:v>
                </c:pt>
                <c:pt idx="1525">
                  <c:v>-1.75989</c:v>
                </c:pt>
                <c:pt idx="1526">
                  <c:v>-1.99081</c:v>
                </c:pt>
                <c:pt idx="1527">
                  <c:v>-2.0115099999999999</c:v>
                </c:pt>
                <c:pt idx="1528">
                  <c:v>#N/A</c:v>
                </c:pt>
                <c:pt idx="1529">
                  <c:v>-1.81013</c:v>
                </c:pt>
                <c:pt idx="1530">
                  <c:v>#N/A</c:v>
                </c:pt>
                <c:pt idx="1531">
                  <c:v>-1.64602</c:v>
                </c:pt>
                <c:pt idx="1532">
                  <c:v>-2.0968200000000001</c:v>
                </c:pt>
                <c:pt idx="1533">
                  <c:v>-2.2170999999999998</c:v>
                </c:pt>
                <c:pt idx="1534">
                  <c:v>#N/A</c:v>
                </c:pt>
                <c:pt idx="1535">
                  <c:v>-2.4474300000000002</c:v>
                </c:pt>
                <c:pt idx="1536">
                  <c:v>-1.82847</c:v>
                </c:pt>
                <c:pt idx="1537">
                  <c:v>-2.3306200000000001</c:v>
                </c:pt>
                <c:pt idx="1538">
                  <c:v>#N/A</c:v>
                </c:pt>
                <c:pt idx="1539">
                  <c:v>-1.99316</c:v>
                </c:pt>
                <c:pt idx="1540">
                  <c:v>-1.5896300000000001</c:v>
                </c:pt>
                <c:pt idx="1541">
                  <c:v>-1.72567</c:v>
                </c:pt>
                <c:pt idx="1542">
                  <c:v>-1.8607199999999999</c:v>
                </c:pt>
                <c:pt idx="1543">
                  <c:v>#N/A</c:v>
                </c:pt>
                <c:pt idx="1544">
                  <c:v>-2.0123600000000001</c:v>
                </c:pt>
                <c:pt idx="1545">
                  <c:v>-1.92367</c:v>
                </c:pt>
                <c:pt idx="1546">
                  <c:v>-1.80847</c:v>
                </c:pt>
                <c:pt idx="1547">
                  <c:v>#N/A</c:v>
                </c:pt>
                <c:pt idx="1548">
                  <c:v>-2.1050200000000001</c:v>
                </c:pt>
                <c:pt idx="1549">
                  <c:v>-1.8255699999999999</c:v>
                </c:pt>
                <c:pt idx="1550">
                  <c:v>-1.8567499999999999</c:v>
                </c:pt>
                <c:pt idx="1551">
                  <c:v>#N/A</c:v>
                </c:pt>
                <c:pt idx="1552">
                  <c:v>-2.2312400000000001</c:v>
                </c:pt>
                <c:pt idx="1553">
                  <c:v>-2.3162400000000001</c:v>
                </c:pt>
                <c:pt idx="1554">
                  <c:v>-2.4428299999999998</c:v>
                </c:pt>
                <c:pt idx="1555">
                  <c:v>-2.7719100000000001</c:v>
                </c:pt>
                <c:pt idx="1556">
                  <c:v>#N/A</c:v>
                </c:pt>
                <c:pt idx="1557">
                  <c:v>-2.3891200000000001</c:v>
                </c:pt>
                <c:pt idx="1558">
                  <c:v>-1.6989300000000001</c:v>
                </c:pt>
                <c:pt idx="1559">
                  <c:v>-1.7157800000000001</c:v>
                </c:pt>
                <c:pt idx="1560">
                  <c:v>-1.9293499999999999</c:v>
                </c:pt>
                <c:pt idx="1561">
                  <c:v>#N/A</c:v>
                </c:pt>
                <c:pt idx="1562">
                  <c:v>-2.20485</c:v>
                </c:pt>
                <c:pt idx="1563">
                  <c:v>-1.76278</c:v>
                </c:pt>
                <c:pt idx="1564">
                  <c:v>-2.1671900000000002</c:v>
                </c:pt>
                <c:pt idx="1565">
                  <c:v>#N/A</c:v>
                </c:pt>
                <c:pt idx="1566">
                  <c:v>-2.02528</c:v>
                </c:pt>
                <c:pt idx="1567">
                  <c:v>-2.0172599999999998</c:v>
                </c:pt>
                <c:pt idx="1568">
                  <c:v>-1.7773699999999999</c:v>
                </c:pt>
                <c:pt idx="1569">
                  <c:v>#N/A</c:v>
                </c:pt>
                <c:pt idx="1570">
                  <c:v>-2.1458400000000002</c:v>
                </c:pt>
                <c:pt idx="1571">
                  <c:v>-2.1354199999999999</c:v>
                </c:pt>
                <c:pt idx="1572">
                  <c:v>-2.2631899999999998</c:v>
                </c:pt>
                <c:pt idx="1573">
                  <c:v>#N/A</c:v>
                </c:pt>
                <c:pt idx="1574">
                  <c:v>-2.2427000000000001</c:v>
                </c:pt>
                <c:pt idx="1575">
                  <c:v>-1.8289200000000001</c:v>
                </c:pt>
                <c:pt idx="1576">
                  <c:v>-1.6479900000000001</c:v>
                </c:pt>
                <c:pt idx="1577">
                  <c:v>-1.9659199999999999</c:v>
                </c:pt>
                <c:pt idx="1578">
                  <c:v>#N/A</c:v>
                </c:pt>
                <c:pt idx="1579">
                  <c:v>-2.1615099999999998</c:v>
                </c:pt>
                <c:pt idx="1580">
                  <c:v>-1.7149799999999999</c:v>
                </c:pt>
                <c:pt idx="1581">
                  <c:v>-1.59311</c:v>
                </c:pt>
                <c:pt idx="1582">
                  <c:v>#N/A</c:v>
                </c:pt>
                <c:pt idx="1583">
                  <c:v>-1.8066199999999999</c:v>
                </c:pt>
                <c:pt idx="1584">
                  <c:v>-2.2225199999999998</c:v>
                </c:pt>
                <c:pt idx="1585">
                  <c:v>-2.2367699999999999</c:v>
                </c:pt>
                <c:pt idx="1586">
                  <c:v>-2.3218999999999999</c:v>
                </c:pt>
                <c:pt idx="1587">
                  <c:v>#N/A</c:v>
                </c:pt>
                <c:pt idx="1588">
                  <c:v>-2.2848999999999999</c:v>
                </c:pt>
                <c:pt idx="1589">
                  <c:v>-2.0893099999999998</c:v>
                </c:pt>
                <c:pt idx="1590">
                  <c:v>-2.4046599999999998</c:v>
                </c:pt>
                <c:pt idx="1591">
                  <c:v>-2.18336</c:v>
                </c:pt>
                <c:pt idx="1592">
                  <c:v>#N/A</c:v>
                </c:pt>
                <c:pt idx="1593">
                  <c:v>-2.5468099999999998</c:v>
                </c:pt>
                <c:pt idx="1594">
                  <c:v>-2.8664000000000001</c:v>
                </c:pt>
                <c:pt idx="1595">
                  <c:v>-2.7128399999999999</c:v>
                </c:pt>
                <c:pt idx="1596">
                  <c:v>#N/A</c:v>
                </c:pt>
                <c:pt idx="1597">
                  <c:v>-1.8621799999999999</c:v>
                </c:pt>
                <c:pt idx="1598">
                  <c:v>-1.8933800000000001</c:v>
                </c:pt>
                <c:pt idx="1599">
                  <c:v>#N/A</c:v>
                </c:pt>
                <c:pt idx="1600">
                  <c:v>-1.6163099999999999</c:v>
                </c:pt>
                <c:pt idx="1601">
                  <c:v>-1.8559699999999999</c:v>
                </c:pt>
                <c:pt idx="1602">
                  <c:v>#N/A</c:v>
                </c:pt>
                <c:pt idx="1603">
                  <c:v>-1.9203699999999999</c:v>
                </c:pt>
                <c:pt idx="1604">
                  <c:v>-1.8616699999999999</c:v>
                </c:pt>
                <c:pt idx="1605">
                  <c:v>#N/A</c:v>
                </c:pt>
                <c:pt idx="1606">
                  <c:v>-2.2343600000000001</c:v>
                </c:pt>
                <c:pt idx="1607">
                  <c:v>-2.2123499999999998</c:v>
                </c:pt>
                <c:pt idx="1608">
                  <c:v>-2.1849699999999999</c:v>
                </c:pt>
                <c:pt idx="1609">
                  <c:v>#N/A</c:v>
                </c:pt>
                <c:pt idx="1610">
                  <c:v>-1.9632799999999999</c:v>
                </c:pt>
                <c:pt idx="1611">
                  <c:v>-1.8715200000000001</c:v>
                </c:pt>
                <c:pt idx="1612">
                  <c:v>-2.4674499999999999</c:v>
                </c:pt>
                <c:pt idx="1613">
                  <c:v>-2.4938099999999999</c:v>
                </c:pt>
                <c:pt idx="1614">
                  <c:v>#N/A</c:v>
                </c:pt>
                <c:pt idx="1615">
                  <c:v>-2.7945700000000002</c:v>
                </c:pt>
                <c:pt idx="1616">
                  <c:v>-2.3524500000000002</c:v>
                </c:pt>
                <c:pt idx="1617">
                  <c:v>-2.3480699999999999</c:v>
                </c:pt>
                <c:pt idx="1618">
                  <c:v>-2.2039200000000001</c:v>
                </c:pt>
                <c:pt idx="1619">
                  <c:v>#N/A</c:v>
                </c:pt>
                <c:pt idx="1620">
                  <c:v>-1.6182700000000001</c:v>
                </c:pt>
                <c:pt idx="1621">
                  <c:v>-1.5471200000000001</c:v>
                </c:pt>
                <c:pt idx="1622">
                  <c:v>-1.7748900000000001</c:v>
                </c:pt>
                <c:pt idx="1623">
                  <c:v>#N/A</c:v>
                </c:pt>
                <c:pt idx="1624">
                  <c:v>-2.4597099999999998</c:v>
                </c:pt>
                <c:pt idx="1625">
                  <c:v>-2.26085</c:v>
                </c:pt>
                <c:pt idx="1626">
                  <c:v>-2.2294200000000002</c:v>
                </c:pt>
                <c:pt idx="1627">
                  <c:v>#N/A</c:v>
                </c:pt>
                <c:pt idx="1628">
                  <c:v>-2.0067300000000001</c:v>
                </c:pt>
                <c:pt idx="1629">
                  <c:v>-2.0913599999999999</c:v>
                </c:pt>
                <c:pt idx="1630">
                  <c:v>-2.1005400000000001</c:v>
                </c:pt>
                <c:pt idx="1631">
                  <c:v>#N/A</c:v>
                </c:pt>
                <c:pt idx="1632">
                  <c:v>-2.2866399999999998</c:v>
                </c:pt>
                <c:pt idx="1633">
                  <c:v>-2.5699900000000002</c:v>
                </c:pt>
                <c:pt idx="1634">
                  <c:v>-1.8152699999999999</c:v>
                </c:pt>
                <c:pt idx="1635">
                  <c:v>-2.42313</c:v>
                </c:pt>
                <c:pt idx="1636">
                  <c:v>#N/A</c:v>
                </c:pt>
                <c:pt idx="1637">
                  <c:v>-2.4455399999999998</c:v>
                </c:pt>
                <c:pt idx="1638">
                  <c:v>-2.21577</c:v>
                </c:pt>
                <c:pt idx="1639">
                  <c:v>-1.7067000000000001</c:v>
                </c:pt>
                <c:pt idx="1640">
                  <c:v>#N/A</c:v>
                </c:pt>
                <c:pt idx="1641">
                  <c:v>-1.42879</c:v>
                </c:pt>
                <c:pt idx="1642">
                  <c:v>-1.78447</c:v>
                </c:pt>
                <c:pt idx="1643">
                  <c:v>-1.85466</c:v>
                </c:pt>
                <c:pt idx="1644">
                  <c:v>-1.78234</c:v>
                </c:pt>
                <c:pt idx="1645">
                  <c:v>#N/A</c:v>
                </c:pt>
                <c:pt idx="1646">
                  <c:v>-2.2504200000000001</c:v>
                </c:pt>
                <c:pt idx="1647">
                  <c:v>-2.1758999999999999</c:v>
                </c:pt>
                <c:pt idx="1648">
                  <c:v>-2.1878700000000002</c:v>
                </c:pt>
                <c:pt idx="1649">
                  <c:v>#N/A</c:v>
                </c:pt>
                <c:pt idx="1650">
                  <c:v>-1.6843399999999999</c:v>
                </c:pt>
                <c:pt idx="1651">
                  <c:v>-1.9487300000000001</c:v>
                </c:pt>
                <c:pt idx="1652">
                  <c:v>-2.1967400000000001</c:v>
                </c:pt>
                <c:pt idx="1653">
                  <c:v>-2.4785699999999999</c:v>
                </c:pt>
                <c:pt idx="1654">
                  <c:v>#N/A</c:v>
                </c:pt>
                <c:pt idx="1655">
                  <c:v>-2.5888</c:v>
                </c:pt>
                <c:pt idx="1656">
                  <c:v>-1.70486</c:v>
                </c:pt>
                <c:pt idx="1657">
                  <c:v>-2.1294</c:v>
                </c:pt>
                <c:pt idx="1658">
                  <c:v>#N/A</c:v>
                </c:pt>
                <c:pt idx="1659">
                  <c:v>-1.82416</c:v>
                </c:pt>
                <c:pt idx="1660">
                  <c:v>-1.9522600000000001</c:v>
                </c:pt>
                <c:pt idx="1661">
                  <c:v>-2.01322</c:v>
                </c:pt>
                <c:pt idx="1662">
                  <c:v>-2.11774</c:v>
                </c:pt>
                <c:pt idx="1663">
                  <c:v>#N/A</c:v>
                </c:pt>
                <c:pt idx="1664">
                  <c:v>-2.20594</c:v>
                </c:pt>
                <c:pt idx="1665">
                  <c:v>-2.12371</c:v>
                </c:pt>
                <c:pt idx="1666">
                  <c:v>-1.5882499999999999</c:v>
                </c:pt>
                <c:pt idx="1667">
                  <c:v>#N/A</c:v>
                </c:pt>
                <c:pt idx="1668">
                  <c:v>-1.97603</c:v>
                </c:pt>
                <c:pt idx="1669">
                  <c:v>-1.9049100000000001</c:v>
                </c:pt>
                <c:pt idx="1670">
                  <c:v>-2.1213799999999998</c:v>
                </c:pt>
                <c:pt idx="1671">
                  <c:v>#N/A</c:v>
                </c:pt>
                <c:pt idx="1672">
                  <c:v>-2.1385100000000001</c:v>
                </c:pt>
                <c:pt idx="1673">
                  <c:v>#N/A</c:v>
                </c:pt>
                <c:pt idx="1674">
                  <c:v>-2.0405099999999998</c:v>
                </c:pt>
                <c:pt idx="1675">
                  <c:v>-2.5500500000000001</c:v>
                </c:pt>
                <c:pt idx="1676">
                  <c:v>-2.4908700000000001</c:v>
                </c:pt>
                <c:pt idx="1677">
                  <c:v>#N/A</c:v>
                </c:pt>
                <c:pt idx="1678">
                  <c:v>-1.78878</c:v>
                </c:pt>
                <c:pt idx="1679">
                  <c:v>-1.97098</c:v>
                </c:pt>
                <c:pt idx="1680">
                  <c:v>-1.9356800000000001</c:v>
                </c:pt>
                <c:pt idx="1681">
                  <c:v>-2.2638699999999998</c:v>
                </c:pt>
                <c:pt idx="1682">
                  <c:v>#N/A</c:v>
                </c:pt>
                <c:pt idx="1683">
                  <c:v>-1.7791600000000001</c:v>
                </c:pt>
                <c:pt idx="1684">
                  <c:v>-2.3338700000000001</c:v>
                </c:pt>
                <c:pt idx="1685">
                  <c:v>-1.9970600000000001</c:v>
                </c:pt>
                <c:pt idx="1686">
                  <c:v>#N/A</c:v>
                </c:pt>
                <c:pt idx="1687">
                  <c:v>-2.4185099999999999</c:v>
                </c:pt>
                <c:pt idx="1688">
                  <c:v>-2.2609900000000001</c:v>
                </c:pt>
                <c:pt idx="1689">
                  <c:v>-2.1611600000000002</c:v>
                </c:pt>
                <c:pt idx="1690">
                  <c:v>#N/A</c:v>
                </c:pt>
                <c:pt idx="1691">
                  <c:v>-2.2526899999999999</c:v>
                </c:pt>
                <c:pt idx="1692">
                  <c:v>-2.1064400000000001</c:v>
                </c:pt>
                <c:pt idx="1693">
                  <c:v>-2.6145700000000001</c:v>
                </c:pt>
                <c:pt idx="1694">
                  <c:v>-2.5946099999999999</c:v>
                </c:pt>
                <c:pt idx="1695">
                  <c:v>#N/A</c:v>
                </c:pt>
                <c:pt idx="1696">
                  <c:v>-2.65293</c:v>
                </c:pt>
                <c:pt idx="1697">
                  <c:v>-2.3000500000000001</c:v>
                </c:pt>
                <c:pt idx="1698">
                  <c:v>-2.4130699999999998</c:v>
                </c:pt>
                <c:pt idx="1699">
                  <c:v>#N/A</c:v>
                </c:pt>
                <c:pt idx="1700">
                  <c:v>-1.75424</c:v>
                </c:pt>
                <c:pt idx="1701">
                  <c:v>-1.6720699999999999</c:v>
                </c:pt>
                <c:pt idx="1702">
                  <c:v>-2.20628</c:v>
                </c:pt>
                <c:pt idx="1703">
                  <c:v>-2.5230800000000002</c:v>
                </c:pt>
                <c:pt idx="1704">
                  <c:v>#N/A</c:v>
                </c:pt>
                <c:pt idx="1705">
                  <c:v>-2.3666100000000001</c:v>
                </c:pt>
                <c:pt idx="1706">
                  <c:v>-2.24525</c:v>
                </c:pt>
                <c:pt idx="1707">
                  <c:v>-2.12609</c:v>
                </c:pt>
                <c:pt idx="1708">
                  <c:v>-2.07857</c:v>
                </c:pt>
                <c:pt idx="1709">
                  <c:v>#N/A</c:v>
                </c:pt>
                <c:pt idx="1710">
                  <c:v>-1.94879</c:v>
                </c:pt>
                <c:pt idx="1711">
                  <c:v>-2.1969699999999999</c:v>
                </c:pt>
                <c:pt idx="1712">
                  <c:v>-2.07138</c:v>
                </c:pt>
                <c:pt idx="1713">
                  <c:v>#N/A</c:v>
                </c:pt>
                <c:pt idx="1714">
                  <c:v>-2.3658000000000001</c:v>
                </c:pt>
                <c:pt idx="1715">
                  <c:v>-2.2995100000000002</c:v>
                </c:pt>
                <c:pt idx="1716">
                  <c:v>-2.2243599999999999</c:v>
                </c:pt>
                <c:pt idx="1717">
                  <c:v>#N/A</c:v>
                </c:pt>
                <c:pt idx="1718">
                  <c:v>-1.9539599999999999</c:v>
                </c:pt>
                <c:pt idx="1719">
                  <c:v>-1.64791</c:v>
                </c:pt>
                <c:pt idx="1720">
                  <c:v>-1.95356</c:v>
                </c:pt>
                <c:pt idx="1721">
                  <c:v>-1.76383</c:v>
                </c:pt>
                <c:pt idx="1722">
                  <c:v>#N/A</c:v>
                </c:pt>
                <c:pt idx="1723">
                  <c:v>-1.9277200000000001</c:v>
                </c:pt>
                <c:pt idx="1724">
                  <c:v>-2.1175000000000002</c:v>
                </c:pt>
                <c:pt idx="1725">
                  <c:v>-2.60202</c:v>
                </c:pt>
                <c:pt idx="1726">
                  <c:v>#N/A</c:v>
                </c:pt>
                <c:pt idx="1727">
                  <c:v>-2.4665699999999999</c:v>
                </c:pt>
                <c:pt idx="1728">
                  <c:v>-1.9846600000000001</c:v>
                </c:pt>
                <c:pt idx="1729">
                  <c:v>-2.0571700000000002</c:v>
                </c:pt>
                <c:pt idx="1730">
                  <c:v>-1.9356500000000001</c:v>
                </c:pt>
                <c:pt idx="1731">
                  <c:v>#N/A</c:v>
                </c:pt>
                <c:pt idx="1732">
                  <c:v>-2.1111599999999999</c:v>
                </c:pt>
                <c:pt idx="1733">
                  <c:v>-2.4308900000000002</c:v>
                </c:pt>
                <c:pt idx="1734">
                  <c:v>-2.5038999999999998</c:v>
                </c:pt>
                <c:pt idx="1735">
                  <c:v>#N/A</c:v>
                </c:pt>
                <c:pt idx="1736">
                  <c:v>-1.9125799999999999</c:v>
                </c:pt>
                <c:pt idx="1737">
                  <c:v>-1.91658</c:v>
                </c:pt>
                <c:pt idx="1738">
                  <c:v>-1.8835200000000001</c:v>
                </c:pt>
                <c:pt idx="1739">
                  <c:v>-1.8782700000000001</c:v>
                </c:pt>
                <c:pt idx="1740">
                  <c:v>#N/A</c:v>
                </c:pt>
                <c:pt idx="1741">
                  <c:v>-1.9540900000000001</c:v>
                </c:pt>
                <c:pt idx="1742">
                  <c:v>-2.12426</c:v>
                </c:pt>
                <c:pt idx="1743">
                  <c:v>-2.3511199999999999</c:v>
                </c:pt>
                <c:pt idx="1744">
                  <c:v>#N/A</c:v>
                </c:pt>
                <c:pt idx="1745">
                  <c:v>-1.6316299999999999</c:v>
                </c:pt>
                <c:pt idx="1746">
                  <c:v>-1.79623</c:v>
                </c:pt>
                <c:pt idx="1747">
                  <c:v>-1.9112</c:v>
                </c:pt>
                <c:pt idx="1748">
                  <c:v>#N/A</c:v>
                </c:pt>
                <c:pt idx="1749">
                  <c:v>-2.1783700000000001</c:v>
                </c:pt>
                <c:pt idx="1750">
                  <c:v>-2.19068</c:v>
                </c:pt>
                <c:pt idx="1751">
                  <c:v>-2.3197199999999998</c:v>
                </c:pt>
                <c:pt idx="1752">
                  <c:v>#N/A</c:v>
                </c:pt>
                <c:pt idx="1753">
                  <c:v>-2.5749399999999998</c:v>
                </c:pt>
                <c:pt idx="1754">
                  <c:v>-1.99292</c:v>
                </c:pt>
                <c:pt idx="1755">
                  <c:v>-2.13558</c:v>
                </c:pt>
                <c:pt idx="1756">
                  <c:v>#N/A</c:v>
                </c:pt>
                <c:pt idx="1757">
                  <c:v>-1.6528499999999999</c:v>
                </c:pt>
                <c:pt idx="1758">
                  <c:v>-2.27346</c:v>
                </c:pt>
                <c:pt idx="1759">
                  <c:v>-1.32575</c:v>
                </c:pt>
                <c:pt idx="1760">
                  <c:v>#N/A</c:v>
                </c:pt>
                <c:pt idx="1761">
                  <c:v>-1.4957</c:v>
                </c:pt>
                <c:pt idx="1762">
                  <c:v>-1.9126799999999999</c:v>
                </c:pt>
                <c:pt idx="1763">
                  <c:v>-1.7795000000000001</c:v>
                </c:pt>
                <c:pt idx="1764">
                  <c:v>-2.01017</c:v>
                </c:pt>
                <c:pt idx="1765">
                  <c:v>#N/A</c:v>
                </c:pt>
                <c:pt idx="1766">
                  <c:v>-2.03945</c:v>
                </c:pt>
                <c:pt idx="1767">
                  <c:v>-1.9725900000000001</c:v>
                </c:pt>
                <c:pt idx="1768">
                  <c:v>-1.88937</c:v>
                </c:pt>
                <c:pt idx="1769">
                  <c:v>#N/A</c:v>
                </c:pt>
                <c:pt idx="1770">
                  <c:v>-1.8726100000000001</c:v>
                </c:pt>
                <c:pt idx="1771">
                  <c:v>-2.1736</c:v>
                </c:pt>
                <c:pt idx="1772">
                  <c:v>-1.9467699999999999</c:v>
                </c:pt>
                <c:pt idx="1773">
                  <c:v>-2.18283</c:v>
                </c:pt>
                <c:pt idx="1774">
                  <c:v>#N/A</c:v>
                </c:pt>
                <c:pt idx="1775">
                  <c:v>-1.9211800000000001</c:v>
                </c:pt>
                <c:pt idx="1776">
                  <c:v>-1.6295500000000001</c:v>
                </c:pt>
                <c:pt idx="1777">
                  <c:v>-1.49339</c:v>
                </c:pt>
                <c:pt idx="1778">
                  <c:v>#N/A</c:v>
                </c:pt>
                <c:pt idx="1779">
                  <c:v>-1.75542</c:v>
                </c:pt>
                <c:pt idx="1780">
                  <c:v>-1.51014</c:v>
                </c:pt>
                <c:pt idx="1781">
                  <c:v>-1.36998</c:v>
                </c:pt>
                <c:pt idx="1782">
                  <c:v>-1.42641</c:v>
                </c:pt>
                <c:pt idx="1783">
                  <c:v>#N/A</c:v>
                </c:pt>
                <c:pt idx="1784">
                  <c:v>-1.7848200000000001</c:v>
                </c:pt>
                <c:pt idx="1785">
                  <c:v>-1.98448</c:v>
                </c:pt>
                <c:pt idx="1786">
                  <c:v>-1.81511</c:v>
                </c:pt>
                <c:pt idx="1787">
                  <c:v>#N/A</c:v>
                </c:pt>
                <c:pt idx="1788">
                  <c:v>-1.86036</c:v>
                </c:pt>
                <c:pt idx="1789">
                  <c:v>-2.00102</c:v>
                </c:pt>
                <c:pt idx="1790">
                  <c:v>-1.4315100000000001</c:v>
                </c:pt>
                <c:pt idx="1791">
                  <c:v>#N/A</c:v>
                </c:pt>
                <c:pt idx="1792">
                  <c:v>-1.81989</c:v>
                </c:pt>
                <c:pt idx="1793">
                  <c:v>-2.2692999999999999</c:v>
                </c:pt>
                <c:pt idx="1794">
                  <c:v>-2.1197599999999999</c:v>
                </c:pt>
                <c:pt idx="1795">
                  <c:v>-2.5672600000000001</c:v>
                </c:pt>
                <c:pt idx="1796">
                  <c:v>#N/A</c:v>
                </c:pt>
                <c:pt idx="1797">
                  <c:v>-2.66581</c:v>
                </c:pt>
                <c:pt idx="1798">
                  <c:v>-2.02684</c:v>
                </c:pt>
                <c:pt idx="1799">
                  <c:v>-1.8955299999999999</c:v>
                </c:pt>
                <c:pt idx="1800">
                  <c:v>#N/A</c:v>
                </c:pt>
                <c:pt idx="1801">
                  <c:v>-1.57151</c:v>
                </c:pt>
                <c:pt idx="1802">
                  <c:v>#N/A</c:v>
                </c:pt>
                <c:pt idx="1803">
                  <c:v>-2.0681799999999999</c:v>
                </c:pt>
                <c:pt idx="1804">
                  <c:v>-1.83063</c:v>
                </c:pt>
                <c:pt idx="1805">
                  <c:v>-2.0462699999999998</c:v>
                </c:pt>
                <c:pt idx="1806">
                  <c:v>-2.0643500000000001</c:v>
                </c:pt>
                <c:pt idx="1807">
                  <c:v>#N/A</c:v>
                </c:pt>
                <c:pt idx="1808">
                  <c:v>-2.43357</c:v>
                </c:pt>
                <c:pt idx="1809">
                  <c:v>-2.3256700000000001</c:v>
                </c:pt>
                <c:pt idx="1810">
                  <c:v>-1.8368</c:v>
                </c:pt>
                <c:pt idx="1811">
                  <c:v>#N/A</c:v>
                </c:pt>
                <c:pt idx="1812">
                  <c:v>-2.14425</c:v>
                </c:pt>
                <c:pt idx="1813">
                  <c:v>-2.3614199999999999</c:v>
                </c:pt>
                <c:pt idx="1814">
                  <c:v>#N/A</c:v>
                </c:pt>
                <c:pt idx="1815">
                  <c:v>-1.6919999999999999</c:v>
                </c:pt>
                <c:pt idx="1816">
                  <c:v>-2.1352699999999998</c:v>
                </c:pt>
                <c:pt idx="1817">
                  <c:v>#N/A</c:v>
                </c:pt>
                <c:pt idx="1818">
                  <c:v>-1.80043</c:v>
                </c:pt>
                <c:pt idx="1819">
                  <c:v>-1.4420299999999999</c:v>
                </c:pt>
                <c:pt idx="1820">
                  <c:v>#N/A</c:v>
                </c:pt>
                <c:pt idx="1821">
                  <c:v>-1.3843399999999999</c:v>
                </c:pt>
                <c:pt idx="1822">
                  <c:v>-2.0964900000000002</c:v>
                </c:pt>
                <c:pt idx="1823">
                  <c:v>-2.0345800000000001</c:v>
                </c:pt>
                <c:pt idx="1824">
                  <c:v>#N/A</c:v>
                </c:pt>
                <c:pt idx="1825">
                  <c:v>-1.56802</c:v>
                </c:pt>
                <c:pt idx="1826">
                  <c:v>-1.92378</c:v>
                </c:pt>
                <c:pt idx="1827">
                  <c:v>-1.87845</c:v>
                </c:pt>
                <c:pt idx="1828">
                  <c:v>-1.68588</c:v>
                </c:pt>
                <c:pt idx="1829">
                  <c:v>#N/A</c:v>
                </c:pt>
                <c:pt idx="1830">
                  <c:v>-1.6168100000000001</c:v>
                </c:pt>
                <c:pt idx="1831">
                  <c:v>-2.2401800000000001</c:v>
                </c:pt>
                <c:pt idx="1832">
                  <c:v>-2.4235600000000002</c:v>
                </c:pt>
                <c:pt idx="1833">
                  <c:v>#N/A</c:v>
                </c:pt>
                <c:pt idx="1834">
                  <c:v>-1.91683</c:v>
                </c:pt>
                <c:pt idx="1835">
                  <c:v>-1.92923</c:v>
                </c:pt>
                <c:pt idx="1836">
                  <c:v>-1.9146700000000001</c:v>
                </c:pt>
                <c:pt idx="1837">
                  <c:v>#N/A</c:v>
                </c:pt>
                <c:pt idx="1838">
                  <c:v>-1.52786</c:v>
                </c:pt>
                <c:pt idx="1839">
                  <c:v>-1.5507299999999999</c:v>
                </c:pt>
                <c:pt idx="1840">
                  <c:v>-1.8287</c:v>
                </c:pt>
                <c:pt idx="1841">
                  <c:v>-2.2349299999999999</c:v>
                </c:pt>
                <c:pt idx="1842">
                  <c:v>#N/A</c:v>
                </c:pt>
                <c:pt idx="1843">
                  <c:v>-1.8434699999999999</c:v>
                </c:pt>
                <c:pt idx="1844">
                  <c:v>-1.6069899999999999</c:v>
                </c:pt>
                <c:pt idx="1845">
                  <c:v>-2.02</c:v>
                </c:pt>
                <c:pt idx="1846">
                  <c:v>#N/A</c:v>
                </c:pt>
                <c:pt idx="1847">
                  <c:v>-1.6638200000000001</c:v>
                </c:pt>
                <c:pt idx="1848">
                  <c:v>-1.9923599999999999</c:v>
                </c:pt>
                <c:pt idx="1849">
                  <c:v>-1.7573000000000001</c:v>
                </c:pt>
                <c:pt idx="1850">
                  <c:v>#N/A</c:v>
                </c:pt>
                <c:pt idx="1851">
                  <c:v>-1.82314</c:v>
                </c:pt>
                <c:pt idx="1852">
                  <c:v>-1.69896</c:v>
                </c:pt>
                <c:pt idx="1853">
                  <c:v>-2.2626400000000002</c:v>
                </c:pt>
                <c:pt idx="1854">
                  <c:v>-2.11029</c:v>
                </c:pt>
                <c:pt idx="1855">
                  <c:v>#N/A</c:v>
                </c:pt>
                <c:pt idx="1856">
                  <c:v>-2.3072699999999999</c:v>
                </c:pt>
                <c:pt idx="1857">
                  <c:v>-1.62744</c:v>
                </c:pt>
                <c:pt idx="1858">
                  <c:v>-1.80636</c:v>
                </c:pt>
                <c:pt idx="1859">
                  <c:v>#N/A</c:v>
                </c:pt>
                <c:pt idx="1860">
                  <c:v>-1.62687</c:v>
                </c:pt>
                <c:pt idx="1861">
                  <c:v>-1.53691</c:v>
                </c:pt>
                <c:pt idx="1862">
                  <c:v>-1.93845</c:v>
                </c:pt>
                <c:pt idx="1863">
                  <c:v>-2.1469900000000002</c:v>
                </c:pt>
                <c:pt idx="1864">
                  <c:v>#N/A</c:v>
                </c:pt>
                <c:pt idx="1865">
                  <c:v>-1.9911000000000001</c:v>
                </c:pt>
                <c:pt idx="1866">
                  <c:v>-2.2143099999999998</c:v>
                </c:pt>
                <c:pt idx="1867">
                  <c:v>-2.2169500000000002</c:v>
                </c:pt>
                <c:pt idx="1868">
                  <c:v>#N/A</c:v>
                </c:pt>
                <c:pt idx="1869">
                  <c:v>-2.0061399999999998</c:v>
                </c:pt>
                <c:pt idx="1870">
                  <c:v>-1.9845900000000001</c:v>
                </c:pt>
                <c:pt idx="1871">
                  <c:v>-1.99482</c:v>
                </c:pt>
                <c:pt idx="1872">
                  <c:v>-2.4005299999999998</c:v>
                </c:pt>
                <c:pt idx="1873">
                  <c:v>#N/A</c:v>
                </c:pt>
                <c:pt idx="1874">
                  <c:v>-1.9558199999999999</c:v>
                </c:pt>
                <c:pt idx="1875">
                  <c:v>-1.94032</c:v>
                </c:pt>
                <c:pt idx="1876">
                  <c:v>-2.2377899999999999</c:v>
                </c:pt>
                <c:pt idx="1877">
                  <c:v>#N/A</c:v>
                </c:pt>
                <c:pt idx="1878">
                  <c:v>-2.2402700000000002</c:v>
                </c:pt>
                <c:pt idx="1879">
                  <c:v>-1.32843</c:v>
                </c:pt>
                <c:pt idx="1880">
                  <c:v>-1.5794600000000001</c:v>
                </c:pt>
                <c:pt idx="1881">
                  <c:v>-1.4964999999999999</c:v>
                </c:pt>
                <c:pt idx="1882">
                  <c:v>#N/A</c:v>
                </c:pt>
                <c:pt idx="1883">
                  <c:v>-1.6835199999999999</c:v>
                </c:pt>
                <c:pt idx="1884">
                  <c:v>-1.8225899999999999</c:v>
                </c:pt>
                <c:pt idx="1885">
                  <c:v>#N/A</c:v>
                </c:pt>
                <c:pt idx="1886">
                  <c:v>-1.91299</c:v>
                </c:pt>
                <c:pt idx="1887">
                  <c:v>-1.6005499999999999</c:v>
                </c:pt>
                <c:pt idx="1888">
                  <c:v>#N/A</c:v>
                </c:pt>
                <c:pt idx="1889">
                  <c:v>-1.6991499999999999</c:v>
                </c:pt>
                <c:pt idx="1890">
                  <c:v>-2.0996100000000002</c:v>
                </c:pt>
                <c:pt idx="1891">
                  <c:v>#N/A</c:v>
                </c:pt>
                <c:pt idx="1892">
                  <c:v>-1.8154999999999999</c:v>
                </c:pt>
                <c:pt idx="1893">
                  <c:v>-2.0956399999999999</c:v>
                </c:pt>
                <c:pt idx="1894">
                  <c:v>-1.79294</c:v>
                </c:pt>
                <c:pt idx="1895">
                  <c:v>-1.8036300000000001</c:v>
                </c:pt>
                <c:pt idx="1896">
                  <c:v>#N/A</c:v>
                </c:pt>
                <c:pt idx="1897">
                  <c:v>-1.7223200000000001</c:v>
                </c:pt>
                <c:pt idx="1898">
                  <c:v>-2.34728</c:v>
                </c:pt>
                <c:pt idx="1899">
                  <c:v>-1.26972</c:v>
                </c:pt>
                <c:pt idx="1900">
                  <c:v>#N/A</c:v>
                </c:pt>
                <c:pt idx="1901">
                  <c:v>-1.6995199999999999</c:v>
                </c:pt>
                <c:pt idx="1902">
                  <c:v>-1.8612599999999999</c:v>
                </c:pt>
                <c:pt idx="1903">
                  <c:v>-2.4129499999999999</c:v>
                </c:pt>
                <c:pt idx="1904">
                  <c:v>-2.3146200000000001</c:v>
                </c:pt>
                <c:pt idx="1905">
                  <c:v>#N/A</c:v>
                </c:pt>
                <c:pt idx="1906">
                  <c:v>-1.94906</c:v>
                </c:pt>
                <c:pt idx="1907">
                  <c:v>-2.2008700000000001</c:v>
                </c:pt>
                <c:pt idx="1908">
                  <c:v>-1.8471</c:v>
                </c:pt>
                <c:pt idx="1909">
                  <c:v>#N/A</c:v>
                </c:pt>
                <c:pt idx="1910">
                  <c:v>-1.81891</c:v>
                </c:pt>
                <c:pt idx="1911">
                  <c:v>-2.2021899999999999</c:v>
                </c:pt>
                <c:pt idx="1912">
                  <c:v>-2.1586699999999999</c:v>
                </c:pt>
                <c:pt idx="1913">
                  <c:v>-2.4742899999999999</c:v>
                </c:pt>
                <c:pt idx="1914">
                  <c:v>#N/A</c:v>
                </c:pt>
                <c:pt idx="1915">
                  <c:v>-2.4352100000000001</c:v>
                </c:pt>
                <c:pt idx="1916">
                  <c:v>-2.0120800000000001</c:v>
                </c:pt>
                <c:pt idx="1917">
                  <c:v>-1.6213900000000001</c:v>
                </c:pt>
                <c:pt idx="1918">
                  <c:v>#N/A</c:v>
                </c:pt>
                <c:pt idx="1919">
                  <c:v>-1.7500500000000001</c:v>
                </c:pt>
                <c:pt idx="1920">
                  <c:v>-2.0652400000000002</c:v>
                </c:pt>
                <c:pt idx="1921">
                  <c:v>-1.68899</c:v>
                </c:pt>
                <c:pt idx="1922">
                  <c:v>-1.9677899999999999</c:v>
                </c:pt>
                <c:pt idx="1923">
                  <c:v>#N/A</c:v>
                </c:pt>
                <c:pt idx="1924">
                  <c:v>-2.1288</c:v>
                </c:pt>
                <c:pt idx="1925">
                  <c:v>-2.5581399999999999</c:v>
                </c:pt>
                <c:pt idx="1926">
                  <c:v>-2.1194600000000001</c:v>
                </c:pt>
                <c:pt idx="1927">
                  <c:v>-2.0823800000000001</c:v>
                </c:pt>
                <c:pt idx="1928">
                  <c:v>#N/A</c:v>
                </c:pt>
                <c:pt idx="1929">
                  <c:v>-1.96566</c:v>
                </c:pt>
                <c:pt idx="1930">
                  <c:v>-2.0026700000000002</c:v>
                </c:pt>
                <c:pt idx="1931">
                  <c:v>-1.9557199999999999</c:v>
                </c:pt>
                <c:pt idx="1932">
                  <c:v>#N/A</c:v>
                </c:pt>
                <c:pt idx="1933">
                  <c:v>-1.98908</c:v>
                </c:pt>
                <c:pt idx="1934">
                  <c:v>-2.35711</c:v>
                </c:pt>
                <c:pt idx="1935">
                  <c:v>-1.95269</c:v>
                </c:pt>
                <c:pt idx="1936">
                  <c:v>#N/A</c:v>
                </c:pt>
                <c:pt idx="1937">
                  <c:v>-1.76007</c:v>
                </c:pt>
                <c:pt idx="1938">
                  <c:v>-1.89669</c:v>
                </c:pt>
                <c:pt idx="1939">
                  <c:v>-1.5283199999999999</c:v>
                </c:pt>
                <c:pt idx="1940">
                  <c:v>-1.3589800000000001</c:v>
                </c:pt>
                <c:pt idx="1941">
                  <c:v>#N/A</c:v>
                </c:pt>
                <c:pt idx="1942">
                  <c:v>-2.0282300000000002</c:v>
                </c:pt>
                <c:pt idx="1943">
                  <c:v>-2.3839999999999999</c:v>
                </c:pt>
                <c:pt idx="1944">
                  <c:v>-2.0340199999999999</c:v>
                </c:pt>
                <c:pt idx="1945">
                  <c:v>#N/A</c:v>
                </c:pt>
                <c:pt idx="1946">
                  <c:v>-1.65787</c:v>
                </c:pt>
                <c:pt idx="1947">
                  <c:v>-2.1848200000000002</c:v>
                </c:pt>
                <c:pt idx="1948">
                  <c:v>-2.1583999999999999</c:v>
                </c:pt>
                <c:pt idx="1949">
                  <c:v>-2.1334300000000002</c:v>
                </c:pt>
                <c:pt idx="1950">
                  <c:v>#N/A</c:v>
                </c:pt>
                <c:pt idx="1951">
                  <c:v>-2.2269199999999998</c:v>
                </c:pt>
                <c:pt idx="1952">
                  <c:v>-1.76633</c:v>
                </c:pt>
                <c:pt idx="1953">
                  <c:v>-1.79433</c:v>
                </c:pt>
                <c:pt idx="1954">
                  <c:v>#N/A</c:v>
                </c:pt>
                <c:pt idx="1955">
                  <c:v>-2.1368499999999999</c:v>
                </c:pt>
                <c:pt idx="1956">
                  <c:v>-1.6232200000000001</c:v>
                </c:pt>
                <c:pt idx="1957">
                  <c:v>#N/A</c:v>
                </c:pt>
                <c:pt idx="1958">
                  <c:v>-1.64018</c:v>
                </c:pt>
                <c:pt idx="1959">
                  <c:v>#N/A</c:v>
                </c:pt>
                <c:pt idx="1960">
                  <c:v>-1.4658</c:v>
                </c:pt>
                <c:pt idx="1961">
                  <c:v>-2.1337000000000002</c:v>
                </c:pt>
                <c:pt idx="1962">
                  <c:v>-1.7683</c:v>
                </c:pt>
                <c:pt idx="1963">
                  <c:v>#N/A</c:v>
                </c:pt>
                <c:pt idx="1964">
                  <c:v>-2.1708099999999999</c:v>
                </c:pt>
                <c:pt idx="1965">
                  <c:v>-2.41927</c:v>
                </c:pt>
                <c:pt idx="1966">
                  <c:v>-2.4642200000000001</c:v>
                </c:pt>
                <c:pt idx="1967">
                  <c:v>-1.59927</c:v>
                </c:pt>
                <c:pt idx="1968">
                  <c:v>#N/A</c:v>
                </c:pt>
                <c:pt idx="1969">
                  <c:v>-1.89147</c:v>
                </c:pt>
                <c:pt idx="1970">
                  <c:v>-1.7741199999999999</c:v>
                </c:pt>
                <c:pt idx="1971">
                  <c:v>-2.65618</c:v>
                </c:pt>
                <c:pt idx="1972">
                  <c:v>#N/A</c:v>
                </c:pt>
                <c:pt idx="1973">
                  <c:v>-2.5989</c:v>
                </c:pt>
                <c:pt idx="1974">
                  <c:v>-2.4133499999999999</c:v>
                </c:pt>
                <c:pt idx="1975">
                  <c:v>-2.29216</c:v>
                </c:pt>
                <c:pt idx="1976">
                  <c:v>-2.3093599999999999</c:v>
                </c:pt>
                <c:pt idx="1977">
                  <c:v>#N/A</c:v>
                </c:pt>
                <c:pt idx="1978">
                  <c:v>-2.82436</c:v>
                </c:pt>
                <c:pt idx="1979">
                  <c:v>-2.7044700000000002</c:v>
                </c:pt>
                <c:pt idx="1980">
                  <c:v>-2.2787000000000002</c:v>
                </c:pt>
                <c:pt idx="1981">
                  <c:v>#N/A</c:v>
                </c:pt>
                <c:pt idx="1982">
                  <c:v>-2.3663599999999998</c:v>
                </c:pt>
                <c:pt idx="1983">
                  <c:v>-2.4110299999999998</c:v>
                </c:pt>
                <c:pt idx="1984">
                  <c:v>-2.1620400000000002</c:v>
                </c:pt>
                <c:pt idx="1985">
                  <c:v>#N/A</c:v>
                </c:pt>
                <c:pt idx="1986">
                  <c:v>-1.7201299999999999</c:v>
                </c:pt>
                <c:pt idx="1987">
                  <c:v>-2.0991200000000001</c:v>
                </c:pt>
                <c:pt idx="1988">
                  <c:v>-1.39385</c:v>
                </c:pt>
                <c:pt idx="1989">
                  <c:v>-1.8523700000000001</c:v>
                </c:pt>
                <c:pt idx="1990">
                  <c:v>#N/A</c:v>
                </c:pt>
                <c:pt idx="1991">
                  <c:v>-1.5100100000000001</c:v>
                </c:pt>
                <c:pt idx="1992">
                  <c:v>-1.5468</c:v>
                </c:pt>
                <c:pt idx="1993">
                  <c:v>-1.6908000000000001</c:v>
                </c:pt>
                <c:pt idx="1994">
                  <c:v>#N/A</c:v>
                </c:pt>
                <c:pt idx="1995">
                  <c:v>-1.8348599999999999</c:v>
                </c:pt>
                <c:pt idx="1996">
                  <c:v>-2.5091000000000001</c:v>
                </c:pt>
                <c:pt idx="1997">
                  <c:v>-1.7381500000000001</c:v>
                </c:pt>
                <c:pt idx="1998">
                  <c:v>#N/A</c:v>
                </c:pt>
                <c:pt idx="1999">
                  <c:v>-1.4512</c:v>
                </c:pt>
                <c:pt idx="2000">
                  <c:v>-1.8709800000000001</c:v>
                </c:pt>
                <c:pt idx="2001">
                  <c:v>-2.3726600000000002</c:v>
                </c:pt>
                <c:pt idx="2002">
                  <c:v>#N/A</c:v>
                </c:pt>
                <c:pt idx="2003">
                  <c:v>-2.3627799999999999</c:v>
                </c:pt>
                <c:pt idx="2004">
                  <c:v>-2.4906999999999999</c:v>
                </c:pt>
                <c:pt idx="2005">
                  <c:v>-2.2069399999999999</c:v>
                </c:pt>
                <c:pt idx="2006">
                  <c:v>#N/A</c:v>
                </c:pt>
                <c:pt idx="2007">
                  <c:v>-2.27033</c:v>
                </c:pt>
                <c:pt idx="2008">
                  <c:v>-2.2700200000000001</c:v>
                </c:pt>
                <c:pt idx="2009">
                  <c:v>-2.1326800000000001</c:v>
                </c:pt>
                <c:pt idx="2010">
                  <c:v>#N/A</c:v>
                </c:pt>
                <c:pt idx="2011">
                  <c:v>-2.5876199999999998</c:v>
                </c:pt>
                <c:pt idx="2012">
                  <c:v>-2.6369400000000001</c:v>
                </c:pt>
                <c:pt idx="2013">
                  <c:v>-2.4980799999999999</c:v>
                </c:pt>
                <c:pt idx="2014">
                  <c:v>#N/A</c:v>
                </c:pt>
                <c:pt idx="2015">
                  <c:v>-2.5648300000000002</c:v>
                </c:pt>
                <c:pt idx="2016">
                  <c:v>-2.7009400000000001</c:v>
                </c:pt>
                <c:pt idx="2017">
                  <c:v>-1.9108799999999999</c:v>
                </c:pt>
                <c:pt idx="2018">
                  <c:v>-1.9696499999999999</c:v>
                </c:pt>
                <c:pt idx="2019">
                  <c:v>#N/A</c:v>
                </c:pt>
                <c:pt idx="2020">
                  <c:v>-1.93428</c:v>
                </c:pt>
                <c:pt idx="2021">
                  <c:v>-2.3732500000000001</c:v>
                </c:pt>
                <c:pt idx="2022">
                  <c:v>-2.1749000000000001</c:v>
                </c:pt>
                <c:pt idx="2023">
                  <c:v>#N/A</c:v>
                </c:pt>
                <c:pt idx="2024">
                  <c:v>-1.8720000000000001</c:v>
                </c:pt>
                <c:pt idx="2025">
                  <c:v>-2.1506699999999999</c:v>
                </c:pt>
                <c:pt idx="2026">
                  <c:v>-2.3718400000000002</c:v>
                </c:pt>
                <c:pt idx="2027">
                  <c:v>-2.1183299999999998</c:v>
                </c:pt>
                <c:pt idx="2028">
                  <c:v>#N/A</c:v>
                </c:pt>
                <c:pt idx="2029">
                  <c:v>-2.1221299999999998</c:v>
                </c:pt>
                <c:pt idx="2030">
                  <c:v>#N/A</c:v>
                </c:pt>
                <c:pt idx="2031">
                  <c:v>-2.5312399999999999</c:v>
                </c:pt>
                <c:pt idx="2032">
                  <c:v>-2.3826900000000002</c:v>
                </c:pt>
                <c:pt idx="2033">
                  <c:v>-2.5310299999999999</c:v>
                </c:pt>
                <c:pt idx="2034">
                  <c:v>#N/A</c:v>
                </c:pt>
                <c:pt idx="2035">
                  <c:v>-2.4922900000000001</c:v>
                </c:pt>
                <c:pt idx="2036">
                  <c:v>-2.1777600000000001</c:v>
                </c:pt>
                <c:pt idx="2037">
                  <c:v>-2.0723400000000001</c:v>
                </c:pt>
                <c:pt idx="2038">
                  <c:v>#N/A</c:v>
                </c:pt>
                <c:pt idx="2039">
                  <c:v>-1.93621</c:v>
                </c:pt>
                <c:pt idx="2040">
                  <c:v>-2.0468899999999999</c:v>
                </c:pt>
                <c:pt idx="2041">
                  <c:v>-2.4900699999999998</c:v>
                </c:pt>
                <c:pt idx="2042">
                  <c:v>-2.1206900000000002</c:v>
                </c:pt>
                <c:pt idx="2043">
                  <c:v>#N/A</c:v>
                </c:pt>
                <c:pt idx="2044">
                  <c:v>-1.5652699999999999</c:v>
                </c:pt>
                <c:pt idx="2045">
                  <c:v>-2.3205</c:v>
                </c:pt>
                <c:pt idx="2046">
                  <c:v>-1.86053</c:v>
                </c:pt>
                <c:pt idx="2047">
                  <c:v>#N/A</c:v>
                </c:pt>
                <c:pt idx="2048">
                  <c:v>-2.1461199999999998</c:v>
                </c:pt>
                <c:pt idx="2049">
                  <c:v>-1.7873300000000001</c:v>
                </c:pt>
                <c:pt idx="2050">
                  <c:v>-2.14967</c:v>
                </c:pt>
                <c:pt idx="2051">
                  <c:v>-1.74847</c:v>
                </c:pt>
                <c:pt idx="2052">
                  <c:v>#N/A</c:v>
                </c:pt>
                <c:pt idx="2053">
                  <c:v>-2.2570800000000002</c:v>
                </c:pt>
                <c:pt idx="2054">
                  <c:v>-2.50373</c:v>
                </c:pt>
                <c:pt idx="2055">
                  <c:v>-2.5870600000000001</c:v>
                </c:pt>
                <c:pt idx="2056">
                  <c:v>#N/A</c:v>
                </c:pt>
                <c:pt idx="2057">
                  <c:v>-1.6538200000000001</c:v>
                </c:pt>
                <c:pt idx="2058">
                  <c:v>-2.15341</c:v>
                </c:pt>
                <c:pt idx="2059">
                  <c:v>-1.80751</c:v>
                </c:pt>
                <c:pt idx="2060">
                  <c:v>-1.4165300000000001</c:v>
                </c:pt>
                <c:pt idx="2061">
                  <c:v>#N/A</c:v>
                </c:pt>
                <c:pt idx="2062">
                  <c:v>-1.76067</c:v>
                </c:pt>
                <c:pt idx="2063">
                  <c:v>-2.5597300000000001</c:v>
                </c:pt>
                <c:pt idx="2064">
                  <c:v>-1.87782</c:v>
                </c:pt>
                <c:pt idx="2065">
                  <c:v>#N/A</c:v>
                </c:pt>
                <c:pt idx="2066">
                  <c:v>-1.97403</c:v>
                </c:pt>
                <c:pt idx="2067">
                  <c:v>-1.4207399999999999</c:v>
                </c:pt>
                <c:pt idx="2068">
                  <c:v>-1.9810700000000001</c:v>
                </c:pt>
                <c:pt idx="2069">
                  <c:v>#N/A</c:v>
                </c:pt>
                <c:pt idx="2070">
                  <c:v>-2.0509400000000002</c:v>
                </c:pt>
                <c:pt idx="2071">
                  <c:v>-2.1636299999999999</c:v>
                </c:pt>
                <c:pt idx="2072">
                  <c:v>-2.3577499999999998</c:v>
                </c:pt>
                <c:pt idx="2073">
                  <c:v>-2.22648</c:v>
                </c:pt>
                <c:pt idx="2074">
                  <c:v>#N/A</c:v>
                </c:pt>
                <c:pt idx="2075">
                  <c:v>-2.3006899999999999</c:v>
                </c:pt>
                <c:pt idx="2076">
                  <c:v>-2.3463699999999998</c:v>
                </c:pt>
                <c:pt idx="2077">
                  <c:v>-2.12717</c:v>
                </c:pt>
                <c:pt idx="2078">
                  <c:v>#N/A</c:v>
                </c:pt>
                <c:pt idx="2079">
                  <c:v>-1.5101</c:v>
                </c:pt>
                <c:pt idx="2080">
                  <c:v>-1.5432999999999999</c:v>
                </c:pt>
                <c:pt idx="2081">
                  <c:v>-2.10798</c:v>
                </c:pt>
                <c:pt idx="2082">
                  <c:v>-2.21637</c:v>
                </c:pt>
                <c:pt idx="2083">
                  <c:v>#N/A</c:v>
                </c:pt>
                <c:pt idx="2084">
                  <c:v>-2.1788599999999998</c:v>
                </c:pt>
                <c:pt idx="2085">
                  <c:v>-2.1325500000000002</c:v>
                </c:pt>
                <c:pt idx="2086">
                  <c:v>-2.07124</c:v>
                </c:pt>
                <c:pt idx="2087">
                  <c:v>-1.8978200000000001</c:v>
                </c:pt>
                <c:pt idx="2088">
                  <c:v>#N/A</c:v>
                </c:pt>
                <c:pt idx="2089">
                  <c:v>-2.2756500000000002</c:v>
                </c:pt>
                <c:pt idx="2090">
                  <c:v>-2.2210899999999998</c:v>
                </c:pt>
                <c:pt idx="2091">
                  <c:v>-2.2192400000000001</c:v>
                </c:pt>
                <c:pt idx="2092">
                  <c:v>#N/A</c:v>
                </c:pt>
                <c:pt idx="2093">
                  <c:v>-2.5250900000000001</c:v>
                </c:pt>
                <c:pt idx="2094">
                  <c:v>-2.3272200000000001</c:v>
                </c:pt>
                <c:pt idx="2095">
                  <c:v>-1.80288</c:v>
                </c:pt>
                <c:pt idx="2096">
                  <c:v>#N/A</c:v>
                </c:pt>
                <c:pt idx="2097">
                  <c:v>-2.0133200000000002</c:v>
                </c:pt>
                <c:pt idx="2098">
                  <c:v>-1.4706900000000001</c:v>
                </c:pt>
                <c:pt idx="2099">
                  <c:v>-2.2008200000000002</c:v>
                </c:pt>
                <c:pt idx="2100">
                  <c:v>#N/A</c:v>
                </c:pt>
                <c:pt idx="2101">
                  <c:v>-2.0850300000000002</c:v>
                </c:pt>
                <c:pt idx="2102">
                  <c:v>-1.92903</c:v>
                </c:pt>
                <c:pt idx="2103">
                  <c:v>#N/A</c:v>
                </c:pt>
                <c:pt idx="2104">
                  <c:v>-2.0777299999999999</c:v>
                </c:pt>
                <c:pt idx="2105">
                  <c:v>-2.0928599999999999</c:v>
                </c:pt>
                <c:pt idx="2106">
                  <c:v>#N/A</c:v>
                </c:pt>
                <c:pt idx="2107">
                  <c:v>-1.93991</c:v>
                </c:pt>
                <c:pt idx="2108">
                  <c:v>-1.68289</c:v>
                </c:pt>
                <c:pt idx="2109">
                  <c:v>-1.94235</c:v>
                </c:pt>
                <c:pt idx="2110">
                  <c:v>-1.9601900000000001</c:v>
                </c:pt>
                <c:pt idx="2111">
                  <c:v>#N/A</c:v>
                </c:pt>
                <c:pt idx="2112">
                  <c:v>-2.2090200000000002</c:v>
                </c:pt>
                <c:pt idx="2113">
                  <c:v>-2.4189500000000002</c:v>
                </c:pt>
                <c:pt idx="2114">
                  <c:v>-2.1576</c:v>
                </c:pt>
                <c:pt idx="2115">
                  <c:v>#N/A</c:v>
                </c:pt>
                <c:pt idx="2116">
                  <c:v>-2.42042</c:v>
                </c:pt>
                <c:pt idx="2117">
                  <c:v>-1.83117</c:v>
                </c:pt>
                <c:pt idx="2118">
                  <c:v>-1.88687</c:v>
                </c:pt>
                <c:pt idx="2119">
                  <c:v>-2.0875499999999998</c:v>
                </c:pt>
                <c:pt idx="2120">
                  <c:v>#N/A</c:v>
                </c:pt>
                <c:pt idx="2121">
                  <c:v>-2.1539999999999999</c:v>
                </c:pt>
                <c:pt idx="2122">
                  <c:v>-1.90551</c:v>
                </c:pt>
                <c:pt idx="2123">
                  <c:v>-1.8619600000000001</c:v>
                </c:pt>
                <c:pt idx="2124">
                  <c:v>#N/A</c:v>
                </c:pt>
                <c:pt idx="2125">
                  <c:v>-2.3101400000000001</c:v>
                </c:pt>
                <c:pt idx="2126">
                  <c:v>-2.14981</c:v>
                </c:pt>
                <c:pt idx="2127">
                  <c:v>-2.0841599999999998</c:v>
                </c:pt>
                <c:pt idx="2128">
                  <c:v>-1.90744</c:v>
                </c:pt>
                <c:pt idx="2129">
                  <c:v>#N/A</c:v>
                </c:pt>
                <c:pt idx="2130">
                  <c:v>-2.0108100000000002</c:v>
                </c:pt>
                <c:pt idx="2131">
                  <c:v>-2.05966</c:v>
                </c:pt>
                <c:pt idx="2132">
                  <c:v>-2.15882</c:v>
                </c:pt>
                <c:pt idx="2133">
                  <c:v>#N/A</c:v>
                </c:pt>
                <c:pt idx="2134">
                  <c:v>-2.4048600000000002</c:v>
                </c:pt>
                <c:pt idx="2135">
                  <c:v>-2.3192300000000001</c:v>
                </c:pt>
                <c:pt idx="2136">
                  <c:v>-1.66675</c:v>
                </c:pt>
                <c:pt idx="2137">
                  <c:v>#N/A</c:v>
                </c:pt>
                <c:pt idx="2138">
                  <c:v>-1.8957999999999999</c:v>
                </c:pt>
                <c:pt idx="2139">
                  <c:v>-1.49665</c:v>
                </c:pt>
                <c:pt idx="2140">
                  <c:v>-1.6938599999999999</c:v>
                </c:pt>
                <c:pt idx="2141">
                  <c:v>-1.8762399999999999</c:v>
                </c:pt>
                <c:pt idx="2142">
                  <c:v>#N/A</c:v>
                </c:pt>
                <c:pt idx="2143">
                  <c:v>-2.3789199999999999</c:v>
                </c:pt>
                <c:pt idx="2144">
                  <c:v>-2.1070099999999998</c:v>
                </c:pt>
                <c:pt idx="2145">
                  <c:v>-1.7175199999999999</c:v>
                </c:pt>
                <c:pt idx="2146">
                  <c:v>-2.0357099999999999</c:v>
                </c:pt>
                <c:pt idx="2147">
                  <c:v>#N/A</c:v>
                </c:pt>
                <c:pt idx="2148">
                  <c:v>-1.8274900000000001</c:v>
                </c:pt>
                <c:pt idx="2149">
                  <c:v>-2.0049800000000002</c:v>
                </c:pt>
                <c:pt idx="2150">
                  <c:v>-1.93933</c:v>
                </c:pt>
                <c:pt idx="2151">
                  <c:v>#N/A</c:v>
                </c:pt>
                <c:pt idx="2152">
                  <c:v>-2.3273299999999999</c:v>
                </c:pt>
                <c:pt idx="2153">
                  <c:v>-1.63107</c:v>
                </c:pt>
                <c:pt idx="2154">
                  <c:v>-2.2138599999999999</c:v>
                </c:pt>
                <c:pt idx="2155">
                  <c:v>#N/A</c:v>
                </c:pt>
                <c:pt idx="2156">
                  <c:v>-2.6008800000000001</c:v>
                </c:pt>
                <c:pt idx="2157">
                  <c:v>-1.899</c:v>
                </c:pt>
                <c:pt idx="2158">
                  <c:v>-1.4346000000000001</c:v>
                </c:pt>
                <c:pt idx="2159">
                  <c:v>-1.5328900000000001</c:v>
                </c:pt>
                <c:pt idx="2160">
                  <c:v>#N/A</c:v>
                </c:pt>
                <c:pt idx="2161">
                  <c:v>-1.45764</c:v>
                </c:pt>
                <c:pt idx="2162">
                  <c:v>-1.7952600000000001</c:v>
                </c:pt>
                <c:pt idx="2163">
                  <c:v>-1.7964899999999999</c:v>
                </c:pt>
                <c:pt idx="2164">
                  <c:v>#N/A</c:v>
                </c:pt>
                <c:pt idx="2165">
                  <c:v>-1.94299</c:v>
                </c:pt>
                <c:pt idx="2166">
                  <c:v>-1.6660699999999999</c:v>
                </c:pt>
                <c:pt idx="2167">
                  <c:v>-1.8006</c:v>
                </c:pt>
                <c:pt idx="2168">
                  <c:v>-1.3852899999999999</c:v>
                </c:pt>
                <c:pt idx="2169">
                  <c:v>#N/A</c:v>
                </c:pt>
                <c:pt idx="2170">
                  <c:v>-1.58162</c:v>
                </c:pt>
                <c:pt idx="2171">
                  <c:v>-1.9412</c:v>
                </c:pt>
                <c:pt idx="2172">
                  <c:v>-2.3345699999999998</c:v>
                </c:pt>
                <c:pt idx="2173">
                  <c:v>-2.2490199999999998</c:v>
                </c:pt>
                <c:pt idx="2174">
                  <c:v>#N/A</c:v>
                </c:pt>
                <c:pt idx="2175">
                  <c:v>-1.7390399999999999</c:v>
                </c:pt>
                <c:pt idx="2176">
                  <c:v>-1.9848600000000001</c:v>
                </c:pt>
                <c:pt idx="2177">
                  <c:v>-1.63723</c:v>
                </c:pt>
                <c:pt idx="2178">
                  <c:v>#N/A</c:v>
                </c:pt>
                <c:pt idx="2179">
                  <c:v>-1.81098</c:v>
                </c:pt>
                <c:pt idx="2180">
                  <c:v>-1.4641900000000001</c:v>
                </c:pt>
                <c:pt idx="2181">
                  <c:v>-2.1152600000000001</c:v>
                </c:pt>
                <c:pt idx="2182">
                  <c:v>-2.0661399999999999</c:v>
                </c:pt>
                <c:pt idx="2183">
                  <c:v>#N/A</c:v>
                </c:pt>
                <c:pt idx="2184">
                  <c:v>-1.70923</c:v>
                </c:pt>
                <c:pt idx="2185">
                  <c:v>-1.4735199999999999</c:v>
                </c:pt>
                <c:pt idx="2186">
                  <c:v>-2.1750099999999999</c:v>
                </c:pt>
                <c:pt idx="2187">
                  <c:v>#N/A</c:v>
                </c:pt>
                <c:pt idx="2188">
                  <c:v>-1.8659699999999999</c:v>
                </c:pt>
                <c:pt idx="2189">
                  <c:v>-2.1268500000000001</c:v>
                </c:pt>
                <c:pt idx="2190">
                  <c:v>-2.08535</c:v>
                </c:pt>
                <c:pt idx="2191">
                  <c:v>-2.0309599999999999</c:v>
                </c:pt>
                <c:pt idx="2192">
                  <c:v>#N/A</c:v>
                </c:pt>
                <c:pt idx="2193">
                  <c:v>-2.0954700000000002</c:v>
                </c:pt>
                <c:pt idx="2194">
                  <c:v>-1.95587</c:v>
                </c:pt>
                <c:pt idx="2195">
                  <c:v>-2.0514800000000002</c:v>
                </c:pt>
                <c:pt idx="2196">
                  <c:v>#N/A</c:v>
                </c:pt>
                <c:pt idx="2197">
                  <c:v>-1.7246699999999999</c:v>
                </c:pt>
                <c:pt idx="2198">
                  <c:v>-1.8426400000000001</c:v>
                </c:pt>
                <c:pt idx="2199">
                  <c:v>-1.9699500000000001</c:v>
                </c:pt>
                <c:pt idx="2200">
                  <c:v>-1.6022400000000001</c:v>
                </c:pt>
                <c:pt idx="2201">
                  <c:v>#N/A</c:v>
                </c:pt>
                <c:pt idx="2202">
                  <c:v>-1.2624500000000001</c:v>
                </c:pt>
                <c:pt idx="2203">
                  <c:v>-1.7042200000000001</c:v>
                </c:pt>
                <c:pt idx="2204">
                  <c:v>-1.88829</c:v>
                </c:pt>
                <c:pt idx="2205">
                  <c:v>#N/A</c:v>
                </c:pt>
                <c:pt idx="2206">
                  <c:v>-1.7199800000000001</c:v>
                </c:pt>
                <c:pt idx="2207">
                  <c:v>-1.6390100000000001</c:v>
                </c:pt>
                <c:pt idx="2208">
                  <c:v>-1.52979</c:v>
                </c:pt>
                <c:pt idx="2209">
                  <c:v>#N/A</c:v>
                </c:pt>
                <c:pt idx="2210">
                  <c:v>-1.68269</c:v>
                </c:pt>
                <c:pt idx="2211">
                  <c:v>-1.76912</c:v>
                </c:pt>
                <c:pt idx="2212">
                  <c:v>-1.9663900000000001</c:v>
                </c:pt>
                <c:pt idx="2213">
                  <c:v>#N/A</c:v>
                </c:pt>
                <c:pt idx="2214">
                  <c:v>-2.3571800000000001</c:v>
                </c:pt>
                <c:pt idx="2215">
                  <c:v>-2.16032</c:v>
                </c:pt>
                <c:pt idx="2216">
                  <c:v>-2.07416</c:v>
                </c:pt>
                <c:pt idx="2217">
                  <c:v>-2.1169199999999999</c:v>
                </c:pt>
                <c:pt idx="2218">
                  <c:v>#N/A</c:v>
                </c:pt>
                <c:pt idx="2219">
                  <c:v>-1.6015699999999999</c:v>
                </c:pt>
                <c:pt idx="2220">
                  <c:v>-1.00484</c:v>
                </c:pt>
                <c:pt idx="2221">
                  <c:v>-1.5315700000000001</c:v>
                </c:pt>
                <c:pt idx="2222">
                  <c:v>#N/A</c:v>
                </c:pt>
                <c:pt idx="2223">
                  <c:v>-1.75888</c:v>
                </c:pt>
                <c:pt idx="2224">
                  <c:v>-1.68008</c:v>
                </c:pt>
                <c:pt idx="2225">
                  <c:v>-1.73769</c:v>
                </c:pt>
                <c:pt idx="2226">
                  <c:v>-2.05722</c:v>
                </c:pt>
                <c:pt idx="2227">
                  <c:v>#N/A</c:v>
                </c:pt>
                <c:pt idx="2228">
                  <c:v>-1.7706200000000001</c:v>
                </c:pt>
                <c:pt idx="2229">
                  <c:v>-1.4900899999999999</c:v>
                </c:pt>
                <c:pt idx="2230">
                  <c:v>-1.89534</c:v>
                </c:pt>
                <c:pt idx="2231">
                  <c:v>#N/A</c:v>
                </c:pt>
                <c:pt idx="2232">
                  <c:v>-2.1744699999999999</c:v>
                </c:pt>
                <c:pt idx="2233">
                  <c:v>-2.3474699999999999</c:v>
                </c:pt>
                <c:pt idx="2234">
                  <c:v>-2.53363</c:v>
                </c:pt>
                <c:pt idx="2235">
                  <c:v>#N/A</c:v>
                </c:pt>
                <c:pt idx="2236">
                  <c:v>-1.96607</c:v>
                </c:pt>
                <c:pt idx="2237">
                  <c:v>-1.7275499999999999</c:v>
                </c:pt>
                <c:pt idx="2238">
                  <c:v>-1.25335</c:v>
                </c:pt>
                <c:pt idx="2239">
                  <c:v>-1.40448</c:v>
                </c:pt>
                <c:pt idx="2240">
                  <c:v>#N/A</c:v>
                </c:pt>
                <c:pt idx="2241">
                  <c:v>-1.9031499999999999</c:v>
                </c:pt>
                <c:pt idx="2242">
                  <c:v>-1.39303</c:v>
                </c:pt>
                <c:pt idx="2243">
                  <c:v>-1.9366300000000001</c:v>
                </c:pt>
                <c:pt idx="2244">
                  <c:v>#N/A</c:v>
                </c:pt>
                <c:pt idx="2245">
                  <c:v>-1.82796</c:v>
                </c:pt>
                <c:pt idx="2246">
                  <c:v>-1.6432199999999999</c:v>
                </c:pt>
                <c:pt idx="2247">
                  <c:v>-1.7381500000000001</c:v>
                </c:pt>
                <c:pt idx="2248">
                  <c:v>#N/A</c:v>
                </c:pt>
                <c:pt idx="2249">
                  <c:v>-1.9251100000000001</c:v>
                </c:pt>
                <c:pt idx="2250">
                  <c:v>-2.18947</c:v>
                </c:pt>
                <c:pt idx="2251">
                  <c:v>-1.84894</c:v>
                </c:pt>
                <c:pt idx="2252">
                  <c:v>-2.0778300000000001</c:v>
                </c:pt>
                <c:pt idx="2253">
                  <c:v>#N/A</c:v>
                </c:pt>
                <c:pt idx="2254">
                  <c:v>-1.96241</c:v>
                </c:pt>
                <c:pt idx="2255">
                  <c:v>-1.99275</c:v>
                </c:pt>
                <c:pt idx="2256">
                  <c:v>-1.70123</c:v>
                </c:pt>
                <c:pt idx="2257">
                  <c:v>#N/A</c:v>
                </c:pt>
                <c:pt idx="2258">
                  <c:v>-1.86168</c:v>
                </c:pt>
                <c:pt idx="2259">
                  <c:v>-1.8012300000000001</c:v>
                </c:pt>
                <c:pt idx="2260">
                  <c:v>-1.53522</c:v>
                </c:pt>
                <c:pt idx="2261">
                  <c:v>#N/A</c:v>
                </c:pt>
                <c:pt idx="2262">
                  <c:v>-1.5144299999999999</c:v>
                </c:pt>
                <c:pt idx="2263">
                  <c:v>-1.8351</c:v>
                </c:pt>
                <c:pt idx="2264">
                  <c:v>-1.77433</c:v>
                </c:pt>
                <c:pt idx="2265">
                  <c:v>-1.9443699999999999</c:v>
                </c:pt>
                <c:pt idx="2266">
                  <c:v>#N/A</c:v>
                </c:pt>
                <c:pt idx="2267">
                  <c:v>-1.6992700000000001</c:v>
                </c:pt>
                <c:pt idx="2268">
                  <c:v>-1.81603</c:v>
                </c:pt>
                <c:pt idx="2269">
                  <c:v>-1.86117</c:v>
                </c:pt>
                <c:pt idx="2270">
                  <c:v>-1.91686</c:v>
                </c:pt>
                <c:pt idx="2271">
                  <c:v>#N/A</c:v>
                </c:pt>
                <c:pt idx="2272">
                  <c:v>-2.1744300000000001</c:v>
                </c:pt>
                <c:pt idx="2273">
                  <c:v>-1.6201700000000001</c:v>
                </c:pt>
                <c:pt idx="2274">
                  <c:v>-1.6068</c:v>
                </c:pt>
                <c:pt idx="2275">
                  <c:v>#N/A</c:v>
                </c:pt>
                <c:pt idx="2276">
                  <c:v>-1.66692</c:v>
                </c:pt>
                <c:pt idx="2277">
                  <c:v>-1.75078</c:v>
                </c:pt>
                <c:pt idx="2278">
                  <c:v>-1.0265599999999999</c:v>
                </c:pt>
                <c:pt idx="2279">
                  <c:v>-1.25353</c:v>
                </c:pt>
                <c:pt idx="2280">
                  <c:v>#N/A</c:v>
                </c:pt>
                <c:pt idx="2281">
                  <c:v>-1.5348299999999999</c:v>
                </c:pt>
                <c:pt idx="2282">
                  <c:v>-1.45665</c:v>
                </c:pt>
                <c:pt idx="2283">
                  <c:v>-1.49326</c:v>
                </c:pt>
                <c:pt idx="2284">
                  <c:v>#N/A</c:v>
                </c:pt>
                <c:pt idx="2285">
                  <c:v>-1.71011</c:v>
                </c:pt>
                <c:pt idx="2286">
                  <c:v>-2.0939899999999998</c:v>
                </c:pt>
                <c:pt idx="2287">
                  <c:v>-1.6462300000000001</c:v>
                </c:pt>
                <c:pt idx="2288">
                  <c:v>#N/A</c:v>
                </c:pt>
                <c:pt idx="2289">
                  <c:v>-1.7902100000000001</c:v>
                </c:pt>
                <c:pt idx="2290">
                  <c:v>-2.0991900000000001</c:v>
                </c:pt>
                <c:pt idx="2291">
                  <c:v>-2.2779500000000001</c:v>
                </c:pt>
                <c:pt idx="2292">
                  <c:v>#N/A</c:v>
                </c:pt>
                <c:pt idx="2293">
                  <c:v>-2.43527</c:v>
                </c:pt>
                <c:pt idx="2294">
                  <c:v>-2.1887799999999999</c:v>
                </c:pt>
                <c:pt idx="2295">
                  <c:v>-2.1997200000000001</c:v>
                </c:pt>
                <c:pt idx="2296">
                  <c:v>-1.4916700000000001</c:v>
                </c:pt>
                <c:pt idx="2297">
                  <c:v>#N/A</c:v>
                </c:pt>
                <c:pt idx="2298">
                  <c:v>-1.6952400000000001</c:v>
                </c:pt>
                <c:pt idx="2299">
                  <c:v>-1.31924</c:v>
                </c:pt>
                <c:pt idx="2300">
                  <c:v>-1.92567</c:v>
                </c:pt>
                <c:pt idx="2301">
                  <c:v>-1.4151100000000001</c:v>
                </c:pt>
                <c:pt idx="2302">
                  <c:v>#N/A</c:v>
                </c:pt>
                <c:pt idx="2303">
                  <c:v>-1.9512400000000001</c:v>
                </c:pt>
                <c:pt idx="2304">
                  <c:v>-2.1384300000000001</c:v>
                </c:pt>
                <c:pt idx="2305">
                  <c:v>-1.82765</c:v>
                </c:pt>
                <c:pt idx="2306">
                  <c:v>#N/A</c:v>
                </c:pt>
                <c:pt idx="2307">
                  <c:v>-2.0318700000000001</c:v>
                </c:pt>
                <c:pt idx="2308">
                  <c:v>-1.6563099999999999</c:v>
                </c:pt>
                <c:pt idx="2309">
                  <c:v>-1.7552000000000001</c:v>
                </c:pt>
                <c:pt idx="2310">
                  <c:v>#N/A</c:v>
                </c:pt>
                <c:pt idx="2311">
                  <c:v>-1.7622100000000001</c:v>
                </c:pt>
                <c:pt idx="2312">
                  <c:v>-1.9286399999999999</c:v>
                </c:pt>
                <c:pt idx="2313">
                  <c:v>-2.2437999999999998</c:v>
                </c:pt>
                <c:pt idx="2314">
                  <c:v>#N/A</c:v>
                </c:pt>
                <c:pt idx="2315">
                  <c:v>-2.6601499999999998</c:v>
                </c:pt>
                <c:pt idx="2316">
                  <c:v>-1.32178</c:v>
                </c:pt>
                <c:pt idx="2317">
                  <c:v>#N/A</c:v>
                </c:pt>
                <c:pt idx="2318">
                  <c:v>-1.43188</c:v>
                </c:pt>
                <c:pt idx="2319">
                  <c:v>-1.496</c:v>
                </c:pt>
                <c:pt idx="2320">
                  <c:v>#N/A</c:v>
                </c:pt>
                <c:pt idx="2321">
                  <c:v>-1.8067899999999999</c:v>
                </c:pt>
                <c:pt idx="2322">
                  <c:v>-2.37174</c:v>
                </c:pt>
                <c:pt idx="2323">
                  <c:v>-1.9628000000000001</c:v>
                </c:pt>
                <c:pt idx="2324">
                  <c:v>#N/A</c:v>
                </c:pt>
                <c:pt idx="2325">
                  <c:v>-2.0971899999999999</c:v>
                </c:pt>
                <c:pt idx="2326">
                  <c:v>-1.99993</c:v>
                </c:pt>
                <c:pt idx="2327">
                  <c:v>-1.70947</c:v>
                </c:pt>
                <c:pt idx="2328">
                  <c:v>-1.9026400000000001</c:v>
                </c:pt>
                <c:pt idx="2329">
                  <c:v>#N/A</c:v>
                </c:pt>
                <c:pt idx="2330">
                  <c:v>-2.2509299999999999</c:v>
                </c:pt>
                <c:pt idx="2331">
                  <c:v>-2.5316000000000001</c:v>
                </c:pt>
                <c:pt idx="2332">
                  <c:v>-2.4662799999999998</c:v>
                </c:pt>
                <c:pt idx="2333">
                  <c:v>-2.4130099999999999</c:v>
                </c:pt>
                <c:pt idx="2334">
                  <c:v>#N/A</c:v>
                </c:pt>
                <c:pt idx="2335">
                  <c:v>-2.0815399999999999</c:v>
                </c:pt>
                <c:pt idx="2336">
                  <c:v>-1.6787000000000001</c:v>
                </c:pt>
                <c:pt idx="2337">
                  <c:v>-1.19943</c:v>
                </c:pt>
                <c:pt idx="2338">
                  <c:v>#N/A</c:v>
                </c:pt>
                <c:pt idx="2339">
                  <c:v>-1.9231499999999999</c:v>
                </c:pt>
                <c:pt idx="2340">
                  <c:v>-1.3232200000000001</c:v>
                </c:pt>
                <c:pt idx="2341">
                  <c:v>-1.37866</c:v>
                </c:pt>
                <c:pt idx="2342">
                  <c:v>-1.58779</c:v>
                </c:pt>
                <c:pt idx="2343">
                  <c:v>#N/A</c:v>
                </c:pt>
                <c:pt idx="2344">
                  <c:v>-1.94712</c:v>
                </c:pt>
                <c:pt idx="2345">
                  <c:v>-1.89988</c:v>
                </c:pt>
                <c:pt idx="2346">
                  <c:v>-1.4796400000000001</c:v>
                </c:pt>
                <c:pt idx="2347">
                  <c:v>#N/A</c:v>
                </c:pt>
                <c:pt idx="2348">
                  <c:v>-1.89079</c:v>
                </c:pt>
                <c:pt idx="2349">
                  <c:v>-1.75701</c:v>
                </c:pt>
                <c:pt idx="2350">
                  <c:v>-2.3325399999999998</c:v>
                </c:pt>
                <c:pt idx="2351">
                  <c:v>-2.10154</c:v>
                </c:pt>
                <c:pt idx="2352">
                  <c:v>#N/A</c:v>
                </c:pt>
                <c:pt idx="2353">
                  <c:v>-2.30071</c:v>
                </c:pt>
                <c:pt idx="2354">
                  <c:v>-2.1867999999999999</c:v>
                </c:pt>
                <c:pt idx="2355">
                  <c:v>-1.9233199999999999</c:v>
                </c:pt>
                <c:pt idx="2356">
                  <c:v>#N/A</c:v>
                </c:pt>
                <c:pt idx="2357">
                  <c:v>-1.64157</c:v>
                </c:pt>
                <c:pt idx="2358">
                  <c:v>-1.232</c:v>
                </c:pt>
                <c:pt idx="2359">
                  <c:v>-1.3935200000000001</c:v>
                </c:pt>
                <c:pt idx="2360">
                  <c:v>-2.1511800000000001</c:v>
                </c:pt>
                <c:pt idx="2361">
                  <c:v>#N/A</c:v>
                </c:pt>
                <c:pt idx="2362">
                  <c:v>-1.4362200000000001</c:v>
                </c:pt>
                <c:pt idx="2363">
                  <c:v>-1.4635899999999999</c:v>
                </c:pt>
                <c:pt idx="2364">
                  <c:v>-1.6444000000000001</c:v>
                </c:pt>
                <c:pt idx="2365">
                  <c:v>#N/A</c:v>
                </c:pt>
                <c:pt idx="2366">
                  <c:v>-1.9956400000000001</c:v>
                </c:pt>
                <c:pt idx="2367">
                  <c:v>-1.8882099999999999</c:v>
                </c:pt>
                <c:pt idx="2368">
                  <c:v>-1.8880300000000001</c:v>
                </c:pt>
                <c:pt idx="2369">
                  <c:v>-2.0802100000000001</c:v>
                </c:pt>
                <c:pt idx="2370">
                  <c:v>#N/A</c:v>
                </c:pt>
                <c:pt idx="2371">
                  <c:v>-2.12595</c:v>
                </c:pt>
                <c:pt idx="2372">
                  <c:v>-1.94943</c:v>
                </c:pt>
                <c:pt idx="2373">
                  <c:v>-2.66107</c:v>
                </c:pt>
                <c:pt idx="2374">
                  <c:v>#N/A</c:v>
                </c:pt>
                <c:pt idx="2375">
                  <c:v>-2.6804100000000002</c:v>
                </c:pt>
                <c:pt idx="2376">
                  <c:v>-2.0360100000000001</c:v>
                </c:pt>
                <c:pt idx="2377">
                  <c:v>-1.8897699999999999</c:v>
                </c:pt>
                <c:pt idx="2378">
                  <c:v>-1.603</c:v>
                </c:pt>
                <c:pt idx="2379">
                  <c:v>#N/A</c:v>
                </c:pt>
                <c:pt idx="2380">
                  <c:v>-1.4884299999999999</c:v>
                </c:pt>
                <c:pt idx="2381">
                  <c:v>-1.8948100000000001</c:v>
                </c:pt>
                <c:pt idx="2382">
                  <c:v>-1.89577</c:v>
                </c:pt>
                <c:pt idx="2383">
                  <c:v>#N/A</c:v>
                </c:pt>
                <c:pt idx="2384">
                  <c:v>-1.92252</c:v>
                </c:pt>
                <c:pt idx="2385">
                  <c:v>-1.8420099999999999</c:v>
                </c:pt>
                <c:pt idx="2386">
                  <c:v>-2.4129</c:v>
                </c:pt>
                <c:pt idx="2387">
                  <c:v>#N/A</c:v>
                </c:pt>
                <c:pt idx="2388">
                  <c:v>-1.9202300000000001</c:v>
                </c:pt>
                <c:pt idx="2389">
                  <c:v>#N/A</c:v>
                </c:pt>
                <c:pt idx="2390">
                  <c:v>-2.11361</c:v>
                </c:pt>
                <c:pt idx="2391">
                  <c:v>-1.9148099999999999</c:v>
                </c:pt>
                <c:pt idx="2392">
                  <c:v>-1.8449599999999999</c:v>
                </c:pt>
                <c:pt idx="2393">
                  <c:v>#N/A</c:v>
                </c:pt>
                <c:pt idx="2394">
                  <c:v>-2.2746599999999999</c:v>
                </c:pt>
                <c:pt idx="2395">
                  <c:v>-2.41065</c:v>
                </c:pt>
                <c:pt idx="2396">
                  <c:v>-1.60185</c:v>
                </c:pt>
                <c:pt idx="2397">
                  <c:v>-1.4521299999999999</c:v>
                </c:pt>
                <c:pt idx="2398">
                  <c:v>#N/A</c:v>
                </c:pt>
                <c:pt idx="2399">
                  <c:v>-1.7994300000000001</c:v>
                </c:pt>
                <c:pt idx="2400">
                  <c:v>-1.77095</c:v>
                </c:pt>
                <c:pt idx="2401">
                  <c:v>-1.5882400000000001</c:v>
                </c:pt>
                <c:pt idx="2402">
                  <c:v>#N/A</c:v>
                </c:pt>
                <c:pt idx="2403">
                  <c:v>-2.0410400000000002</c:v>
                </c:pt>
                <c:pt idx="2404">
                  <c:v>-2.3732099999999998</c:v>
                </c:pt>
                <c:pt idx="2405">
                  <c:v>-2.1283099999999999</c:v>
                </c:pt>
                <c:pt idx="2406">
                  <c:v>#N/A</c:v>
                </c:pt>
                <c:pt idx="2407">
                  <c:v>-1.8287</c:v>
                </c:pt>
                <c:pt idx="2408">
                  <c:v>-1.84284</c:v>
                </c:pt>
                <c:pt idx="2409">
                  <c:v>-1.8976200000000001</c:v>
                </c:pt>
                <c:pt idx="2410">
                  <c:v>-2.1573799999999999</c:v>
                </c:pt>
                <c:pt idx="2411">
                  <c:v>#N/A</c:v>
                </c:pt>
                <c:pt idx="2412">
                  <c:v>-1.8917600000000001</c:v>
                </c:pt>
                <c:pt idx="2413">
                  <c:v>-2.20194</c:v>
                </c:pt>
                <c:pt idx="2414">
                  <c:v>-2.03382</c:v>
                </c:pt>
                <c:pt idx="2415">
                  <c:v>#N/A</c:v>
                </c:pt>
                <c:pt idx="2416">
                  <c:v>-1.6335200000000001</c:v>
                </c:pt>
                <c:pt idx="2417">
                  <c:v>-1.8370500000000001</c:v>
                </c:pt>
                <c:pt idx="2418">
                  <c:v>-1.5362499999999999</c:v>
                </c:pt>
                <c:pt idx="2419">
                  <c:v>-1.58789</c:v>
                </c:pt>
                <c:pt idx="2420">
                  <c:v>#N/A</c:v>
                </c:pt>
                <c:pt idx="2421">
                  <c:v>-1.6998200000000001</c:v>
                </c:pt>
                <c:pt idx="2422">
                  <c:v>-2.2410700000000001</c:v>
                </c:pt>
                <c:pt idx="2423">
                  <c:v>-1.9488799999999999</c:v>
                </c:pt>
                <c:pt idx="2424">
                  <c:v>#N/A</c:v>
                </c:pt>
                <c:pt idx="2425">
                  <c:v>-2.2643300000000002</c:v>
                </c:pt>
                <c:pt idx="2426">
                  <c:v>-2.0175399999999999</c:v>
                </c:pt>
                <c:pt idx="2427">
                  <c:v>-1.7846900000000001</c:v>
                </c:pt>
                <c:pt idx="2428">
                  <c:v>-1.8364499999999999</c:v>
                </c:pt>
                <c:pt idx="2429">
                  <c:v>#N/A</c:v>
                </c:pt>
                <c:pt idx="2430">
                  <c:v>-2.3734000000000002</c:v>
                </c:pt>
                <c:pt idx="2431">
                  <c:v>-2.7458900000000002</c:v>
                </c:pt>
                <c:pt idx="2432">
                  <c:v>-2.5548199999999999</c:v>
                </c:pt>
                <c:pt idx="2433">
                  <c:v>#N/A</c:v>
                </c:pt>
                <c:pt idx="2434">
                  <c:v>-2.5182500000000001</c:v>
                </c:pt>
                <c:pt idx="2435">
                  <c:v>-2.59904</c:v>
                </c:pt>
                <c:pt idx="2436">
                  <c:v>-2.1044900000000002</c:v>
                </c:pt>
                <c:pt idx="2437">
                  <c:v>-2.04542</c:v>
                </c:pt>
                <c:pt idx="2438">
                  <c:v>#N/A</c:v>
                </c:pt>
                <c:pt idx="2439">
                  <c:v>-1.8993500000000001</c:v>
                </c:pt>
                <c:pt idx="2440">
                  <c:v>-2.1684000000000001</c:v>
                </c:pt>
                <c:pt idx="2441">
                  <c:v>-1.8526</c:v>
                </c:pt>
                <c:pt idx="2442">
                  <c:v>#N/A</c:v>
                </c:pt>
                <c:pt idx="2443">
                  <c:v>-1.6473800000000001</c:v>
                </c:pt>
                <c:pt idx="2444">
                  <c:v>-2.62127</c:v>
                </c:pt>
                <c:pt idx="2445">
                  <c:v>-2.0385300000000002</c:v>
                </c:pt>
                <c:pt idx="2446">
                  <c:v>#N/A</c:v>
                </c:pt>
                <c:pt idx="2447">
                  <c:v>-2.2611500000000002</c:v>
                </c:pt>
                <c:pt idx="2448">
                  <c:v>-2.1598600000000001</c:v>
                </c:pt>
                <c:pt idx="2449">
                  <c:v>-2.3912399999999998</c:v>
                </c:pt>
                <c:pt idx="2450">
                  <c:v>#N/A</c:v>
                </c:pt>
                <c:pt idx="2451">
                  <c:v>-2.4129100000000001</c:v>
                </c:pt>
                <c:pt idx="2452">
                  <c:v>-2.3113800000000002</c:v>
                </c:pt>
                <c:pt idx="2453">
                  <c:v>-1.92011</c:v>
                </c:pt>
                <c:pt idx="2454">
                  <c:v>-2.3515999999999999</c:v>
                </c:pt>
                <c:pt idx="2455">
                  <c:v>#N/A</c:v>
                </c:pt>
                <c:pt idx="2456">
                  <c:v>-1.4461900000000001</c:v>
                </c:pt>
                <c:pt idx="2457">
                  <c:v>-1.8535200000000001</c:v>
                </c:pt>
                <c:pt idx="2458">
                  <c:v>-1.9815</c:v>
                </c:pt>
                <c:pt idx="2459">
                  <c:v>#N/A</c:v>
                </c:pt>
                <c:pt idx="2460">
                  <c:v>-2.0221</c:v>
                </c:pt>
                <c:pt idx="2461">
                  <c:v>#N/A</c:v>
                </c:pt>
                <c:pt idx="2462">
                  <c:v>-2.1716299999999999</c:v>
                </c:pt>
                <c:pt idx="2463">
                  <c:v>-1.7594000000000001</c:v>
                </c:pt>
                <c:pt idx="2464">
                  <c:v>-1.7505200000000001</c:v>
                </c:pt>
                <c:pt idx="2465">
                  <c:v>-2.2293500000000002</c:v>
                </c:pt>
                <c:pt idx="2466">
                  <c:v>#N/A</c:v>
                </c:pt>
                <c:pt idx="2467">
                  <c:v>-1.8593299999999999</c:v>
                </c:pt>
                <c:pt idx="2468">
                  <c:v>-2.2784900000000001</c:v>
                </c:pt>
                <c:pt idx="2469">
                  <c:v>-2.3860600000000001</c:v>
                </c:pt>
                <c:pt idx="2470">
                  <c:v>#N/A</c:v>
                </c:pt>
                <c:pt idx="2471">
                  <c:v>-1.7868599999999999</c:v>
                </c:pt>
                <c:pt idx="2472">
                  <c:v>-2.04094</c:v>
                </c:pt>
                <c:pt idx="2473">
                  <c:v>-2.2674599999999998</c:v>
                </c:pt>
                <c:pt idx="2474">
                  <c:v>-2.39527</c:v>
                </c:pt>
                <c:pt idx="2475">
                  <c:v>#N/A</c:v>
                </c:pt>
                <c:pt idx="2476">
                  <c:v>-1.81212</c:v>
                </c:pt>
                <c:pt idx="2477">
                  <c:v>-1.7847900000000001</c:v>
                </c:pt>
                <c:pt idx="2478">
                  <c:v>-1.72295</c:v>
                </c:pt>
                <c:pt idx="2479">
                  <c:v>#N/A</c:v>
                </c:pt>
                <c:pt idx="2480">
                  <c:v>-1.6172299999999999</c:v>
                </c:pt>
                <c:pt idx="2481">
                  <c:v>-1.8554999999999999</c:v>
                </c:pt>
                <c:pt idx="2482">
                  <c:v>-2.1793499999999999</c:v>
                </c:pt>
                <c:pt idx="2483">
                  <c:v>-1.86802</c:v>
                </c:pt>
                <c:pt idx="2484">
                  <c:v>#N/A</c:v>
                </c:pt>
                <c:pt idx="2485">
                  <c:v>-2.1517200000000001</c:v>
                </c:pt>
                <c:pt idx="2486">
                  <c:v>-1.7301599999999999</c:v>
                </c:pt>
                <c:pt idx="2487">
                  <c:v>-2.3202500000000001</c:v>
                </c:pt>
                <c:pt idx="2488">
                  <c:v>-2.0735700000000001</c:v>
                </c:pt>
                <c:pt idx="2489">
                  <c:v>#N/A</c:v>
                </c:pt>
                <c:pt idx="2490">
                  <c:v>-2.2198500000000001</c:v>
                </c:pt>
                <c:pt idx="2491">
                  <c:v>-2.1584699999999999</c:v>
                </c:pt>
                <c:pt idx="2492">
                  <c:v>-2.1153400000000002</c:v>
                </c:pt>
                <c:pt idx="2493">
                  <c:v>#N/A</c:v>
                </c:pt>
                <c:pt idx="2494">
                  <c:v>-2.0099900000000002</c:v>
                </c:pt>
                <c:pt idx="2495">
                  <c:v>-2.38062</c:v>
                </c:pt>
                <c:pt idx="2496">
                  <c:v>-2.1581800000000002</c:v>
                </c:pt>
                <c:pt idx="2497">
                  <c:v>#N/A</c:v>
                </c:pt>
                <c:pt idx="2498">
                  <c:v>-1.8484400000000001</c:v>
                </c:pt>
                <c:pt idx="2499">
                  <c:v>-1.73905</c:v>
                </c:pt>
                <c:pt idx="2500">
                  <c:v>-2.2919700000000001</c:v>
                </c:pt>
                <c:pt idx="2501">
                  <c:v>-2.41432</c:v>
                </c:pt>
                <c:pt idx="2502">
                  <c:v>#N/A</c:v>
                </c:pt>
                <c:pt idx="2503">
                  <c:v>-2.4785200000000001</c:v>
                </c:pt>
                <c:pt idx="2504">
                  <c:v>-2.6097399999999999</c:v>
                </c:pt>
                <c:pt idx="2505">
                  <c:v>-2.8445100000000001</c:v>
                </c:pt>
                <c:pt idx="2506">
                  <c:v>#N/A</c:v>
                </c:pt>
                <c:pt idx="2507">
                  <c:v>-2.0254500000000002</c:v>
                </c:pt>
                <c:pt idx="2508">
                  <c:v>-2.11511</c:v>
                </c:pt>
                <c:pt idx="2509">
                  <c:v>-1.9585300000000001</c:v>
                </c:pt>
                <c:pt idx="2510">
                  <c:v>-1.8664700000000001</c:v>
                </c:pt>
                <c:pt idx="2511">
                  <c:v>#N/A</c:v>
                </c:pt>
                <c:pt idx="2512">
                  <c:v>-2.3880499999999998</c:v>
                </c:pt>
                <c:pt idx="2513">
                  <c:v>#N/A</c:v>
                </c:pt>
                <c:pt idx="2514">
                  <c:v>-2.0002</c:v>
                </c:pt>
                <c:pt idx="2515">
                  <c:v>-1.6526000000000001</c:v>
                </c:pt>
                <c:pt idx="2516">
                  <c:v>#N/A</c:v>
                </c:pt>
                <c:pt idx="2517">
                  <c:v>-1.9690000000000001</c:v>
                </c:pt>
                <c:pt idx="2518">
                  <c:v>-1.65917</c:v>
                </c:pt>
                <c:pt idx="2519">
                  <c:v>-1.52837</c:v>
                </c:pt>
                <c:pt idx="2520">
                  <c:v>-1.8655200000000001</c:v>
                </c:pt>
                <c:pt idx="2521">
                  <c:v>#N/A</c:v>
                </c:pt>
                <c:pt idx="2522">
                  <c:v>-2.2011799999999999</c:v>
                </c:pt>
                <c:pt idx="2523">
                  <c:v>-2.0486900000000001</c:v>
                </c:pt>
                <c:pt idx="2524">
                  <c:v>-2.1409400000000001</c:v>
                </c:pt>
                <c:pt idx="2525">
                  <c:v>#N/A</c:v>
                </c:pt>
                <c:pt idx="2526">
                  <c:v>-1.94604</c:v>
                </c:pt>
                <c:pt idx="2527">
                  <c:v>-1.5572299999999999</c:v>
                </c:pt>
                <c:pt idx="2528">
                  <c:v>-1.9337</c:v>
                </c:pt>
                <c:pt idx="2529">
                  <c:v>-2.4136099999999998</c:v>
                </c:pt>
                <c:pt idx="2530">
                  <c:v>#N/A</c:v>
                </c:pt>
                <c:pt idx="2531">
                  <c:v>-2.3476300000000001</c:v>
                </c:pt>
                <c:pt idx="2532">
                  <c:v>#N/A</c:v>
                </c:pt>
                <c:pt idx="2533">
                  <c:v>-2.2650600000000001</c:v>
                </c:pt>
                <c:pt idx="2534">
                  <c:v>-2.3778999999999999</c:v>
                </c:pt>
                <c:pt idx="2535">
                  <c:v>#N/A</c:v>
                </c:pt>
                <c:pt idx="2536">
                  <c:v>-1.9374400000000001</c:v>
                </c:pt>
                <c:pt idx="2537">
                  <c:v>-1.94713</c:v>
                </c:pt>
                <c:pt idx="2538">
                  <c:v>-2.2340100000000001</c:v>
                </c:pt>
                <c:pt idx="2539">
                  <c:v>#N/A</c:v>
                </c:pt>
                <c:pt idx="2540">
                  <c:v>-1.9413199999999999</c:v>
                </c:pt>
                <c:pt idx="2541">
                  <c:v>-1.90781</c:v>
                </c:pt>
                <c:pt idx="2542">
                  <c:v>-1.4699199999999999</c:v>
                </c:pt>
                <c:pt idx="2543">
                  <c:v>-2.1196199999999998</c:v>
                </c:pt>
                <c:pt idx="2544">
                  <c:v>#N/A</c:v>
                </c:pt>
                <c:pt idx="2545">
                  <c:v>-1.84876</c:v>
                </c:pt>
                <c:pt idx="2546">
                  <c:v>-2.1429900000000002</c:v>
                </c:pt>
                <c:pt idx="2547">
                  <c:v>-2.0297399999999999</c:v>
                </c:pt>
                <c:pt idx="2548">
                  <c:v>#N/A</c:v>
                </c:pt>
                <c:pt idx="2549">
                  <c:v>-2.3665799999999999</c:v>
                </c:pt>
                <c:pt idx="2550">
                  <c:v>-2.0120800000000001</c:v>
                </c:pt>
                <c:pt idx="2551">
                  <c:v>-2.1881400000000002</c:v>
                </c:pt>
                <c:pt idx="2552">
                  <c:v>#N/A</c:v>
                </c:pt>
                <c:pt idx="2553">
                  <c:v>-2.4152</c:v>
                </c:pt>
                <c:pt idx="2554">
                  <c:v>-1.9635</c:v>
                </c:pt>
                <c:pt idx="2555">
                  <c:v>-2.0554299999999999</c:v>
                </c:pt>
                <c:pt idx="2556">
                  <c:v>#N/A</c:v>
                </c:pt>
                <c:pt idx="2557">
                  <c:v>-2.2113200000000002</c:v>
                </c:pt>
                <c:pt idx="2558">
                  <c:v>-2.61022</c:v>
                </c:pt>
                <c:pt idx="2559">
                  <c:v>-2.5205099999999998</c:v>
                </c:pt>
                <c:pt idx="2560">
                  <c:v>-2.0789300000000002</c:v>
                </c:pt>
                <c:pt idx="2561">
                  <c:v>#N/A</c:v>
                </c:pt>
                <c:pt idx="2562">
                  <c:v>-2.9802200000000001</c:v>
                </c:pt>
                <c:pt idx="2563">
                  <c:v>-2.6250499999999999</c:v>
                </c:pt>
                <c:pt idx="2564">
                  <c:v>-2.6711399999999998</c:v>
                </c:pt>
                <c:pt idx="2565">
                  <c:v>#N/A</c:v>
                </c:pt>
                <c:pt idx="2566">
                  <c:v>-2.0365500000000001</c:v>
                </c:pt>
                <c:pt idx="2567">
                  <c:v>-2.2312599999999998</c:v>
                </c:pt>
                <c:pt idx="2568">
                  <c:v>-1.4894099999999999</c:v>
                </c:pt>
                <c:pt idx="2569">
                  <c:v>#N/A</c:v>
                </c:pt>
                <c:pt idx="2570">
                  <c:v>-1.52115</c:v>
                </c:pt>
                <c:pt idx="2571">
                  <c:v>-1.4376800000000001</c:v>
                </c:pt>
                <c:pt idx="2572">
                  <c:v>-1.0323800000000001</c:v>
                </c:pt>
                <c:pt idx="2573">
                  <c:v>#N/A</c:v>
                </c:pt>
                <c:pt idx="2574">
                  <c:v>-1.16557</c:v>
                </c:pt>
                <c:pt idx="2575">
                  <c:v>-1.3382700000000001</c:v>
                </c:pt>
                <c:pt idx="2576">
                  <c:v>-1.6343300000000001</c:v>
                </c:pt>
                <c:pt idx="2577">
                  <c:v>-1.1948799999999999</c:v>
                </c:pt>
                <c:pt idx="2578">
                  <c:v>#N/A</c:v>
                </c:pt>
                <c:pt idx="2579">
                  <c:v>-1.57969</c:v>
                </c:pt>
                <c:pt idx="2580">
                  <c:v>-2.1056599999999999</c:v>
                </c:pt>
                <c:pt idx="2581">
                  <c:v>-1.8678399999999999</c:v>
                </c:pt>
                <c:pt idx="2582">
                  <c:v>-2.1561300000000001</c:v>
                </c:pt>
                <c:pt idx="2583">
                  <c:v>#N/A</c:v>
                </c:pt>
                <c:pt idx="2584">
                  <c:v>-2.59449</c:v>
                </c:pt>
                <c:pt idx="2585">
                  <c:v>-2.6862400000000002</c:v>
                </c:pt>
                <c:pt idx="2586">
                  <c:v>-2.3106900000000001</c:v>
                </c:pt>
                <c:pt idx="2587">
                  <c:v>#N/A</c:v>
                </c:pt>
                <c:pt idx="2588">
                  <c:v>-2.0009600000000001</c:v>
                </c:pt>
                <c:pt idx="2589">
                  <c:v>-2.13842</c:v>
                </c:pt>
                <c:pt idx="2590">
                  <c:v>-2.1826300000000001</c:v>
                </c:pt>
                <c:pt idx="2591">
                  <c:v>-2.5788899999999999</c:v>
                </c:pt>
                <c:pt idx="2592">
                  <c:v>#N/A</c:v>
                </c:pt>
                <c:pt idx="2593">
                  <c:v>-2.5476000000000001</c:v>
                </c:pt>
                <c:pt idx="2594">
                  <c:v>-2.0091800000000002</c:v>
                </c:pt>
                <c:pt idx="2595">
                  <c:v>-1.4269499999999999</c:v>
                </c:pt>
                <c:pt idx="2596">
                  <c:v>#N/A</c:v>
                </c:pt>
                <c:pt idx="2597">
                  <c:v>-1.15218</c:v>
                </c:pt>
                <c:pt idx="2598">
                  <c:v>-1.50742</c:v>
                </c:pt>
                <c:pt idx="2599">
                  <c:v>-1.2684200000000001</c:v>
                </c:pt>
                <c:pt idx="2600">
                  <c:v>-1.72719</c:v>
                </c:pt>
                <c:pt idx="2601">
                  <c:v>#N/A</c:v>
                </c:pt>
                <c:pt idx="2602">
                  <c:v>-1.9528300000000001</c:v>
                </c:pt>
                <c:pt idx="2603">
                  <c:v>-2.2156400000000001</c:v>
                </c:pt>
                <c:pt idx="2604">
                  <c:v>#N/A</c:v>
                </c:pt>
                <c:pt idx="2605">
                  <c:v>-2.54942</c:v>
                </c:pt>
                <c:pt idx="2606">
                  <c:v>-2.1827800000000002</c:v>
                </c:pt>
                <c:pt idx="2607">
                  <c:v>#N/A</c:v>
                </c:pt>
                <c:pt idx="2608">
                  <c:v>-2.43702</c:v>
                </c:pt>
                <c:pt idx="2609">
                  <c:v>-2.24566</c:v>
                </c:pt>
                <c:pt idx="2610">
                  <c:v>-2.2228400000000001</c:v>
                </c:pt>
                <c:pt idx="2611">
                  <c:v>#N/A</c:v>
                </c:pt>
                <c:pt idx="2612">
                  <c:v>-2.5425599999999999</c:v>
                </c:pt>
                <c:pt idx="2613">
                  <c:v>-2.43364</c:v>
                </c:pt>
                <c:pt idx="2614">
                  <c:v>-2.6739600000000001</c:v>
                </c:pt>
                <c:pt idx="2615">
                  <c:v>-1.4475199999999999</c:v>
                </c:pt>
                <c:pt idx="2616">
                  <c:v>#N/A</c:v>
                </c:pt>
                <c:pt idx="2617">
                  <c:v>-1.60791</c:v>
                </c:pt>
                <c:pt idx="2618">
                  <c:v>-1.4482900000000001</c:v>
                </c:pt>
                <c:pt idx="2619">
                  <c:v>-1.8769</c:v>
                </c:pt>
                <c:pt idx="2620">
                  <c:v>#N/A</c:v>
                </c:pt>
                <c:pt idx="2621">
                  <c:v>-1.7718100000000001</c:v>
                </c:pt>
                <c:pt idx="2622">
                  <c:v>-1.76441</c:v>
                </c:pt>
                <c:pt idx="2623">
                  <c:v>-1.7861499999999999</c:v>
                </c:pt>
                <c:pt idx="2624">
                  <c:v>-1.66069</c:v>
                </c:pt>
                <c:pt idx="2625">
                  <c:v>#N/A</c:v>
                </c:pt>
                <c:pt idx="2626">
                  <c:v>-2.0691899999999999</c:v>
                </c:pt>
                <c:pt idx="2627">
                  <c:v>-2.02352</c:v>
                </c:pt>
                <c:pt idx="2628">
                  <c:v>-2.05301</c:v>
                </c:pt>
                <c:pt idx="2629">
                  <c:v>#N/A</c:v>
                </c:pt>
                <c:pt idx="2630">
                  <c:v>-2.2694999999999999</c:v>
                </c:pt>
                <c:pt idx="2631">
                  <c:v>-2.3483499999999999</c:v>
                </c:pt>
                <c:pt idx="2632">
                  <c:v>-1.966</c:v>
                </c:pt>
                <c:pt idx="2633">
                  <c:v>#N/A</c:v>
                </c:pt>
                <c:pt idx="2634">
                  <c:v>-2.11836</c:v>
                </c:pt>
                <c:pt idx="2635">
                  <c:v>-2.0814900000000001</c:v>
                </c:pt>
                <c:pt idx="2636">
                  <c:v>-2.2870400000000002</c:v>
                </c:pt>
                <c:pt idx="2637">
                  <c:v>#N/A</c:v>
                </c:pt>
                <c:pt idx="2638">
                  <c:v>-1.83772</c:v>
                </c:pt>
                <c:pt idx="2639">
                  <c:v>-2.03714</c:v>
                </c:pt>
                <c:pt idx="2640">
                  <c:v>-1.71417</c:v>
                </c:pt>
                <c:pt idx="2641">
                  <c:v>-2.2522899999999999</c:v>
                </c:pt>
                <c:pt idx="2642">
                  <c:v>#N/A</c:v>
                </c:pt>
                <c:pt idx="2643">
                  <c:v>-2.1033599999999999</c:v>
                </c:pt>
                <c:pt idx="2644">
                  <c:v>-1.89828</c:v>
                </c:pt>
                <c:pt idx="2645">
                  <c:v>-2.3371400000000002</c:v>
                </c:pt>
                <c:pt idx="2646">
                  <c:v>-2.11558</c:v>
                </c:pt>
                <c:pt idx="2647">
                  <c:v>#N/A</c:v>
                </c:pt>
                <c:pt idx="2648">
                  <c:v>-2.0194000000000001</c:v>
                </c:pt>
                <c:pt idx="2649">
                  <c:v>-2.1008</c:v>
                </c:pt>
                <c:pt idx="2650">
                  <c:v>-2.3001499999999999</c:v>
                </c:pt>
                <c:pt idx="2651">
                  <c:v>#N/A</c:v>
                </c:pt>
                <c:pt idx="2652">
                  <c:v>-2.3383500000000002</c:v>
                </c:pt>
                <c:pt idx="2653">
                  <c:v>-2.2765599999999999</c:v>
                </c:pt>
                <c:pt idx="2654">
                  <c:v>-2.4471099999999999</c:v>
                </c:pt>
                <c:pt idx="2655">
                  <c:v>-1.8652899999999999</c:v>
                </c:pt>
                <c:pt idx="2656">
                  <c:v>#N/A</c:v>
                </c:pt>
                <c:pt idx="2657">
                  <c:v>-1.96132</c:v>
                </c:pt>
                <c:pt idx="2658">
                  <c:v>-1.8876599999999999</c:v>
                </c:pt>
                <c:pt idx="2659">
                  <c:v>-1.4937499999999999</c:v>
                </c:pt>
                <c:pt idx="2660">
                  <c:v>#N/A</c:v>
                </c:pt>
                <c:pt idx="2661">
                  <c:v>-1.7901800000000001</c:v>
                </c:pt>
                <c:pt idx="2662">
                  <c:v>-1.90822</c:v>
                </c:pt>
                <c:pt idx="2663">
                  <c:v>-2.4238499999999998</c:v>
                </c:pt>
                <c:pt idx="2664">
                  <c:v>-2.3903099999999999</c:v>
                </c:pt>
                <c:pt idx="2665">
                  <c:v>#N/A</c:v>
                </c:pt>
                <c:pt idx="2666">
                  <c:v>-2.4097300000000001</c:v>
                </c:pt>
                <c:pt idx="2667">
                  <c:v>-2.0375100000000002</c:v>
                </c:pt>
                <c:pt idx="2668">
                  <c:v>-1.9649399999999999</c:v>
                </c:pt>
                <c:pt idx="2669">
                  <c:v>#N/A</c:v>
                </c:pt>
                <c:pt idx="2670">
                  <c:v>-2.0070000000000001</c:v>
                </c:pt>
                <c:pt idx="2671">
                  <c:v>-2.3384900000000002</c:v>
                </c:pt>
                <c:pt idx="2672">
                  <c:v>-2.38483</c:v>
                </c:pt>
                <c:pt idx="2673">
                  <c:v>#N/A</c:v>
                </c:pt>
                <c:pt idx="2674">
                  <c:v>-2.0296400000000001</c:v>
                </c:pt>
                <c:pt idx="2675">
                  <c:v>-1.43729</c:v>
                </c:pt>
                <c:pt idx="2676">
                  <c:v>#N/A</c:v>
                </c:pt>
                <c:pt idx="2677">
                  <c:v>-1.5936300000000001</c:v>
                </c:pt>
                <c:pt idx="2678">
                  <c:v>-1.4050400000000001</c:v>
                </c:pt>
                <c:pt idx="2679">
                  <c:v>#N/A</c:v>
                </c:pt>
                <c:pt idx="2680">
                  <c:v>-2.1055700000000002</c:v>
                </c:pt>
                <c:pt idx="2681">
                  <c:v>-1.85284</c:v>
                </c:pt>
                <c:pt idx="2682">
                  <c:v>-1.8335600000000001</c:v>
                </c:pt>
                <c:pt idx="2683">
                  <c:v>#N/A</c:v>
                </c:pt>
                <c:pt idx="2684">
                  <c:v>-2.0900099999999999</c:v>
                </c:pt>
                <c:pt idx="2685">
                  <c:v>-2.2910499999999998</c:v>
                </c:pt>
                <c:pt idx="2686">
                  <c:v>-2.09789</c:v>
                </c:pt>
                <c:pt idx="2687">
                  <c:v>-1.72614</c:v>
                </c:pt>
                <c:pt idx="2688">
                  <c:v>#N/A</c:v>
                </c:pt>
                <c:pt idx="2689">
                  <c:v>-2.0851600000000001</c:v>
                </c:pt>
                <c:pt idx="2690">
                  <c:v>-1.9778800000000001</c:v>
                </c:pt>
                <c:pt idx="2691">
                  <c:v>-2.1855600000000002</c:v>
                </c:pt>
                <c:pt idx="2692">
                  <c:v>#N/A</c:v>
                </c:pt>
                <c:pt idx="2693">
                  <c:v>-2.3456100000000002</c:v>
                </c:pt>
                <c:pt idx="2694">
                  <c:v>-2.5312399999999999</c:v>
                </c:pt>
                <c:pt idx="2695">
                  <c:v>-1.37168</c:v>
                </c:pt>
                <c:pt idx="2696">
                  <c:v>-1.73716</c:v>
                </c:pt>
                <c:pt idx="2697">
                  <c:v>#N/A</c:v>
                </c:pt>
                <c:pt idx="2698">
                  <c:v>-1.75465</c:v>
                </c:pt>
                <c:pt idx="2699">
                  <c:v>-1.7494499999999999</c:v>
                </c:pt>
                <c:pt idx="2700">
                  <c:v>-1.88307</c:v>
                </c:pt>
                <c:pt idx="2701">
                  <c:v>-2.44415</c:v>
                </c:pt>
                <c:pt idx="2702">
                  <c:v>#N/A</c:v>
                </c:pt>
                <c:pt idx="2703">
                  <c:v>-1.57803</c:v>
                </c:pt>
                <c:pt idx="2704">
                  <c:v>-1.6622399999999999</c:v>
                </c:pt>
                <c:pt idx="2705">
                  <c:v>-1.7621500000000001</c:v>
                </c:pt>
                <c:pt idx="2706">
                  <c:v>#N/A</c:v>
                </c:pt>
                <c:pt idx="2707">
                  <c:v>-1.82646</c:v>
                </c:pt>
                <c:pt idx="2708">
                  <c:v>-2.0519099999999999</c:v>
                </c:pt>
                <c:pt idx="2709">
                  <c:v>-2.26471</c:v>
                </c:pt>
                <c:pt idx="2710">
                  <c:v>-2.3963800000000002</c:v>
                </c:pt>
                <c:pt idx="2711">
                  <c:v>#N/A</c:v>
                </c:pt>
                <c:pt idx="2712">
                  <c:v>-2.2427800000000002</c:v>
                </c:pt>
                <c:pt idx="2713">
                  <c:v>-2.1083099999999999</c:v>
                </c:pt>
                <c:pt idx="2714">
                  <c:v>-2.3342999999999998</c:v>
                </c:pt>
                <c:pt idx="2715">
                  <c:v>#N/A</c:v>
                </c:pt>
                <c:pt idx="2716">
                  <c:v>-1.8955500000000001</c:v>
                </c:pt>
                <c:pt idx="2717">
                  <c:v>-1.6415</c:v>
                </c:pt>
                <c:pt idx="2718">
                  <c:v>-1.7458</c:v>
                </c:pt>
                <c:pt idx="2719">
                  <c:v>-2.1344099999999999</c:v>
                </c:pt>
                <c:pt idx="2720">
                  <c:v>#N/A</c:v>
                </c:pt>
                <c:pt idx="2721">
                  <c:v>-1.77169</c:v>
                </c:pt>
                <c:pt idx="2722">
                  <c:v>-2.23508</c:v>
                </c:pt>
                <c:pt idx="2723">
                  <c:v>-2.4031899999999999</c:v>
                </c:pt>
                <c:pt idx="2724">
                  <c:v>#N/A</c:v>
                </c:pt>
                <c:pt idx="2725">
                  <c:v>-2.1208399999999998</c:v>
                </c:pt>
                <c:pt idx="2726">
                  <c:v>-2.0067699999999999</c:v>
                </c:pt>
                <c:pt idx="2727">
                  <c:v>-1.5648299999999999</c:v>
                </c:pt>
                <c:pt idx="2728">
                  <c:v>#N/A</c:v>
                </c:pt>
                <c:pt idx="2729">
                  <c:v>-1.8901600000000001</c:v>
                </c:pt>
                <c:pt idx="2730">
                  <c:v>-1.7305900000000001</c:v>
                </c:pt>
                <c:pt idx="2731">
                  <c:v>-2.1844700000000001</c:v>
                </c:pt>
                <c:pt idx="2732">
                  <c:v>-2.27671</c:v>
                </c:pt>
                <c:pt idx="2733">
                  <c:v>#N/A</c:v>
                </c:pt>
                <c:pt idx="2734">
                  <c:v>-1.5641</c:v>
                </c:pt>
                <c:pt idx="2735">
                  <c:v>-2.1080700000000001</c:v>
                </c:pt>
                <c:pt idx="2736">
                  <c:v>-2.2014399999999998</c:v>
                </c:pt>
                <c:pt idx="2737">
                  <c:v>-1.6911099999999999</c:v>
                </c:pt>
                <c:pt idx="2738">
                  <c:v>#N/A</c:v>
                </c:pt>
                <c:pt idx="2739">
                  <c:v>-1.5813900000000001</c:v>
                </c:pt>
                <c:pt idx="2740">
                  <c:v>-1.9753099999999999</c:v>
                </c:pt>
                <c:pt idx="2741">
                  <c:v>-2.2251599999999998</c:v>
                </c:pt>
                <c:pt idx="2742">
                  <c:v>#N/A</c:v>
                </c:pt>
                <c:pt idx="2743">
                  <c:v>-2.3722099999999999</c:v>
                </c:pt>
                <c:pt idx="2744">
                  <c:v>-2.1672099999999999</c:v>
                </c:pt>
                <c:pt idx="2745">
                  <c:v>-2.26329</c:v>
                </c:pt>
                <c:pt idx="2746">
                  <c:v>#N/A</c:v>
                </c:pt>
                <c:pt idx="2747">
                  <c:v>-2.0930399999999998</c:v>
                </c:pt>
                <c:pt idx="2748">
                  <c:v>-1.93082</c:v>
                </c:pt>
                <c:pt idx="2749">
                  <c:v>#N/A</c:v>
                </c:pt>
                <c:pt idx="2750">
                  <c:v>-2.0882499999999999</c:v>
                </c:pt>
                <c:pt idx="2751">
                  <c:v>-2.1458699999999999</c:v>
                </c:pt>
                <c:pt idx="2752">
                  <c:v>-2.1204000000000001</c:v>
                </c:pt>
                <c:pt idx="2753">
                  <c:v>#N/A</c:v>
                </c:pt>
                <c:pt idx="2754">
                  <c:v>-2.5316299999999998</c:v>
                </c:pt>
                <c:pt idx="2755">
                  <c:v>-2.1337700000000002</c:v>
                </c:pt>
                <c:pt idx="2756">
                  <c:v>-2.1015299999999999</c:v>
                </c:pt>
                <c:pt idx="2757">
                  <c:v>#N/A</c:v>
                </c:pt>
                <c:pt idx="2758">
                  <c:v>-1.7978000000000001</c:v>
                </c:pt>
                <c:pt idx="2759">
                  <c:v>-1.48115</c:v>
                </c:pt>
                <c:pt idx="2760">
                  <c:v>-1.9382200000000001</c:v>
                </c:pt>
                <c:pt idx="2761">
                  <c:v>-2.4427400000000001</c:v>
                </c:pt>
                <c:pt idx="2762">
                  <c:v>#N/A</c:v>
                </c:pt>
                <c:pt idx="2763">
                  <c:v>-2.1036000000000001</c:v>
                </c:pt>
                <c:pt idx="2764">
                  <c:v>-2.2102900000000001</c:v>
                </c:pt>
                <c:pt idx="2765">
                  <c:v>-1.5541100000000001</c:v>
                </c:pt>
                <c:pt idx="2766">
                  <c:v>-1.9916700000000001</c:v>
                </c:pt>
                <c:pt idx="2767">
                  <c:v>#N/A</c:v>
                </c:pt>
                <c:pt idx="2768">
                  <c:v>-1.7444200000000001</c:v>
                </c:pt>
                <c:pt idx="2769">
                  <c:v>-2.2054399999999998</c:v>
                </c:pt>
                <c:pt idx="2770">
                  <c:v>-2.5834100000000002</c:v>
                </c:pt>
                <c:pt idx="2771">
                  <c:v>#N/A</c:v>
                </c:pt>
                <c:pt idx="2772">
                  <c:v>-2.4821900000000001</c:v>
                </c:pt>
                <c:pt idx="2773">
                  <c:v>-2.1611799999999999</c:v>
                </c:pt>
                <c:pt idx="2774">
                  <c:v>-1.8596699999999999</c:v>
                </c:pt>
                <c:pt idx="2775">
                  <c:v>-1.9465399999999999</c:v>
                </c:pt>
                <c:pt idx="2776">
                  <c:v>#N/A</c:v>
                </c:pt>
                <c:pt idx="2777">
                  <c:v>-1.60084</c:v>
                </c:pt>
                <c:pt idx="2778">
                  <c:v>-1.9216200000000001</c:v>
                </c:pt>
                <c:pt idx="2779">
                  <c:v>-2.31731</c:v>
                </c:pt>
                <c:pt idx="2780">
                  <c:v>#N/A</c:v>
                </c:pt>
                <c:pt idx="2781">
                  <c:v>-1.99953</c:v>
                </c:pt>
                <c:pt idx="2782">
                  <c:v>-2.2046600000000001</c:v>
                </c:pt>
                <c:pt idx="2783">
                  <c:v>-1.8256699999999999</c:v>
                </c:pt>
                <c:pt idx="2784">
                  <c:v>#N/A</c:v>
                </c:pt>
                <c:pt idx="2785">
                  <c:v>-2.16276</c:v>
                </c:pt>
                <c:pt idx="2786">
                  <c:v>-1.71577</c:v>
                </c:pt>
                <c:pt idx="2787">
                  <c:v>-1.69678</c:v>
                </c:pt>
                <c:pt idx="2788">
                  <c:v>-1.68666</c:v>
                </c:pt>
                <c:pt idx="2789">
                  <c:v>#N/A</c:v>
                </c:pt>
                <c:pt idx="2790">
                  <c:v>-1.8544700000000001</c:v>
                </c:pt>
                <c:pt idx="2791">
                  <c:v>-2.2643200000000001</c:v>
                </c:pt>
                <c:pt idx="2792">
                  <c:v>-2.16709</c:v>
                </c:pt>
                <c:pt idx="2793">
                  <c:v>#N/A</c:v>
                </c:pt>
                <c:pt idx="2794">
                  <c:v>-2.1316000000000002</c:v>
                </c:pt>
                <c:pt idx="2795">
                  <c:v>-1.37323</c:v>
                </c:pt>
                <c:pt idx="2796">
                  <c:v>-1.7045999999999999</c:v>
                </c:pt>
                <c:pt idx="2797">
                  <c:v>#N/A</c:v>
                </c:pt>
                <c:pt idx="2798">
                  <c:v>-1.65361</c:v>
                </c:pt>
                <c:pt idx="2799">
                  <c:v>-1.7637799999999999</c:v>
                </c:pt>
                <c:pt idx="2800">
                  <c:v>-1.5617099999999999</c:v>
                </c:pt>
                <c:pt idx="2801">
                  <c:v>-2.31412</c:v>
                </c:pt>
                <c:pt idx="2802">
                  <c:v>#N/A</c:v>
                </c:pt>
                <c:pt idx="2803">
                  <c:v>-1.8591</c:v>
                </c:pt>
                <c:pt idx="2804">
                  <c:v>-1.89432</c:v>
                </c:pt>
                <c:pt idx="2805">
                  <c:v>-1.63032</c:v>
                </c:pt>
                <c:pt idx="2806">
                  <c:v>#N/A</c:v>
                </c:pt>
                <c:pt idx="2807">
                  <c:v>-2.0264199999999999</c:v>
                </c:pt>
                <c:pt idx="2808">
                  <c:v>-1.80718</c:v>
                </c:pt>
                <c:pt idx="2809">
                  <c:v>-1.7596400000000001</c:v>
                </c:pt>
                <c:pt idx="2810">
                  <c:v>-2.1388099999999999</c:v>
                </c:pt>
                <c:pt idx="2811">
                  <c:v>#N/A</c:v>
                </c:pt>
                <c:pt idx="2812">
                  <c:v>-2.0299200000000002</c:v>
                </c:pt>
                <c:pt idx="2813">
                  <c:v>-2.3967200000000002</c:v>
                </c:pt>
                <c:pt idx="2814">
                  <c:v>-1.84219</c:v>
                </c:pt>
                <c:pt idx="2815">
                  <c:v>#N/A</c:v>
                </c:pt>
                <c:pt idx="2816">
                  <c:v>-2.1104699999999998</c:v>
                </c:pt>
                <c:pt idx="2817">
                  <c:v>-2.0754299999999999</c:v>
                </c:pt>
                <c:pt idx="2818">
                  <c:v>#N/A</c:v>
                </c:pt>
                <c:pt idx="2819">
                  <c:v>-2.02902</c:v>
                </c:pt>
                <c:pt idx="2820">
                  <c:v>-1.65219</c:v>
                </c:pt>
                <c:pt idx="2821">
                  <c:v>#N/A</c:v>
                </c:pt>
                <c:pt idx="2822">
                  <c:v>-1.8550800000000001</c:v>
                </c:pt>
                <c:pt idx="2823">
                  <c:v>-1.5976399999999999</c:v>
                </c:pt>
                <c:pt idx="2824">
                  <c:v>-1.8786700000000001</c:v>
                </c:pt>
                <c:pt idx="2825">
                  <c:v>#N/A</c:v>
                </c:pt>
                <c:pt idx="2826">
                  <c:v>-1.9975400000000001</c:v>
                </c:pt>
                <c:pt idx="2827">
                  <c:v>-1.8715299999999999</c:v>
                </c:pt>
                <c:pt idx="2828">
                  <c:v>-2.2122099999999998</c:v>
                </c:pt>
                <c:pt idx="2829">
                  <c:v>-1.85711</c:v>
                </c:pt>
                <c:pt idx="2830">
                  <c:v>#N/A</c:v>
                </c:pt>
                <c:pt idx="2831">
                  <c:v>-2.4359899999999999</c:v>
                </c:pt>
                <c:pt idx="2832">
                  <c:v>-2.3043399999999998</c:v>
                </c:pt>
                <c:pt idx="2833">
                  <c:v>-2.24363</c:v>
                </c:pt>
                <c:pt idx="2834">
                  <c:v>-2.2621099999999998</c:v>
                </c:pt>
                <c:pt idx="2835">
                  <c:v>#N/A</c:v>
                </c:pt>
                <c:pt idx="2836">
                  <c:v>-1.9892099999999999</c:v>
                </c:pt>
                <c:pt idx="2837">
                  <c:v>-1.53623</c:v>
                </c:pt>
                <c:pt idx="2838">
                  <c:v>-1.78525</c:v>
                </c:pt>
                <c:pt idx="2839">
                  <c:v>#N/A</c:v>
                </c:pt>
                <c:pt idx="2840">
                  <c:v>-1.9020900000000001</c:v>
                </c:pt>
                <c:pt idx="2841">
                  <c:v>-2.6040199999999998</c:v>
                </c:pt>
                <c:pt idx="2842">
                  <c:v>-2.2731499999999998</c:v>
                </c:pt>
                <c:pt idx="2843">
                  <c:v>-2.2267100000000002</c:v>
                </c:pt>
                <c:pt idx="2844">
                  <c:v>#N/A</c:v>
                </c:pt>
                <c:pt idx="2845">
                  <c:v>-2.30362</c:v>
                </c:pt>
                <c:pt idx="2846">
                  <c:v>-1.5796699999999999</c:v>
                </c:pt>
                <c:pt idx="2847">
                  <c:v>-1.8645099999999999</c:v>
                </c:pt>
                <c:pt idx="2848">
                  <c:v>#N/A</c:v>
                </c:pt>
                <c:pt idx="2849">
                  <c:v>-2.3269799999999998</c:v>
                </c:pt>
                <c:pt idx="2850">
                  <c:v>-2.2614399999999999</c:v>
                </c:pt>
                <c:pt idx="2851">
                  <c:v>-2.3471700000000002</c:v>
                </c:pt>
                <c:pt idx="2852">
                  <c:v>#N/A</c:v>
                </c:pt>
                <c:pt idx="2853">
                  <c:v>-2.5193400000000001</c:v>
                </c:pt>
                <c:pt idx="2854">
                  <c:v>-2.2779199999999999</c:v>
                </c:pt>
                <c:pt idx="2855">
                  <c:v>-1.99132</c:v>
                </c:pt>
                <c:pt idx="2856">
                  <c:v>#N/A</c:v>
                </c:pt>
                <c:pt idx="2857">
                  <c:v>-1.6611400000000001</c:v>
                </c:pt>
                <c:pt idx="2858">
                  <c:v>-1.6023499999999999</c:v>
                </c:pt>
                <c:pt idx="2859">
                  <c:v>-2.18127</c:v>
                </c:pt>
                <c:pt idx="2860">
                  <c:v>-2.0797500000000002</c:v>
                </c:pt>
                <c:pt idx="2861">
                  <c:v>#N/A</c:v>
                </c:pt>
                <c:pt idx="2862">
                  <c:v>-1.94543</c:v>
                </c:pt>
                <c:pt idx="2863">
                  <c:v>-2.1953800000000001</c:v>
                </c:pt>
                <c:pt idx="2864">
                  <c:v>-2.0283099999999998</c:v>
                </c:pt>
                <c:pt idx="2865">
                  <c:v>#N/A</c:v>
                </c:pt>
                <c:pt idx="2866">
                  <c:v>-2.0574699999999999</c:v>
                </c:pt>
                <c:pt idx="2867">
                  <c:v>-1.74041</c:v>
                </c:pt>
                <c:pt idx="2868">
                  <c:v>-2.3336899999999998</c:v>
                </c:pt>
                <c:pt idx="2869">
                  <c:v>-2.1748500000000002</c:v>
                </c:pt>
                <c:pt idx="2870">
                  <c:v>#N/A</c:v>
                </c:pt>
                <c:pt idx="2871">
                  <c:v>-2.6988300000000001</c:v>
                </c:pt>
                <c:pt idx="2872">
                  <c:v>-2.5001000000000002</c:v>
                </c:pt>
                <c:pt idx="2873">
                  <c:v>-2.3052600000000001</c:v>
                </c:pt>
                <c:pt idx="2874">
                  <c:v>#N/A</c:v>
                </c:pt>
                <c:pt idx="2875">
                  <c:v>-1.77078</c:v>
                </c:pt>
                <c:pt idx="2876">
                  <c:v>-1.91872</c:v>
                </c:pt>
                <c:pt idx="2877">
                  <c:v>#N/A</c:v>
                </c:pt>
                <c:pt idx="2878">
                  <c:v>-2.1395400000000002</c:v>
                </c:pt>
                <c:pt idx="2879">
                  <c:v>-1.9657500000000001</c:v>
                </c:pt>
                <c:pt idx="2880">
                  <c:v>-1.81917</c:v>
                </c:pt>
                <c:pt idx="2881">
                  <c:v>-1.80596</c:v>
                </c:pt>
                <c:pt idx="2882">
                  <c:v>#N/A</c:v>
                </c:pt>
                <c:pt idx="2883">
                  <c:v>-2.51396</c:v>
                </c:pt>
                <c:pt idx="2884">
                  <c:v>-2.2129099999999999</c:v>
                </c:pt>
                <c:pt idx="2885">
                  <c:v>-1.68363</c:v>
                </c:pt>
                <c:pt idx="2886">
                  <c:v>#N/A</c:v>
                </c:pt>
                <c:pt idx="2887">
                  <c:v>-2.2065899999999998</c:v>
                </c:pt>
                <c:pt idx="2888">
                  <c:v>-2.09457</c:v>
                </c:pt>
                <c:pt idx="2889">
                  <c:v>-2.0929700000000002</c:v>
                </c:pt>
                <c:pt idx="2890">
                  <c:v>#N/A</c:v>
                </c:pt>
                <c:pt idx="2891">
                  <c:v>-2.5445700000000002</c:v>
                </c:pt>
                <c:pt idx="2892">
                  <c:v>-2.12174</c:v>
                </c:pt>
                <c:pt idx="2893">
                  <c:v>#N/A</c:v>
                </c:pt>
                <c:pt idx="2894">
                  <c:v>-2.3415900000000001</c:v>
                </c:pt>
                <c:pt idx="2895">
                  <c:v>-1.99149</c:v>
                </c:pt>
                <c:pt idx="2896">
                  <c:v>-1.7397199999999999</c:v>
                </c:pt>
                <c:pt idx="2897">
                  <c:v>-1.8905000000000001</c:v>
                </c:pt>
                <c:pt idx="2898">
                  <c:v>#N/A</c:v>
                </c:pt>
                <c:pt idx="2899">
                  <c:v>-1.83355</c:v>
                </c:pt>
                <c:pt idx="2900">
                  <c:v>-1.7132499999999999</c:v>
                </c:pt>
                <c:pt idx="2901">
                  <c:v>-2.0061499999999999</c:v>
                </c:pt>
                <c:pt idx="2902">
                  <c:v>#N/A</c:v>
                </c:pt>
                <c:pt idx="2903">
                  <c:v>-2.1801400000000002</c:v>
                </c:pt>
                <c:pt idx="2904">
                  <c:v>-1.5271699999999999</c:v>
                </c:pt>
                <c:pt idx="2905">
                  <c:v>-1.8564700000000001</c:v>
                </c:pt>
                <c:pt idx="2906">
                  <c:v>#N/A</c:v>
                </c:pt>
                <c:pt idx="2907">
                  <c:v>-1.76597</c:v>
                </c:pt>
                <c:pt idx="2908">
                  <c:v>-1.69435</c:v>
                </c:pt>
                <c:pt idx="2909">
                  <c:v>-1.9024300000000001</c:v>
                </c:pt>
                <c:pt idx="2910">
                  <c:v>#N/A</c:v>
                </c:pt>
                <c:pt idx="2911">
                  <c:v>-2.3759600000000001</c:v>
                </c:pt>
                <c:pt idx="2912">
                  <c:v>-2.3490700000000002</c:v>
                </c:pt>
                <c:pt idx="2913">
                  <c:v>-1.7596099999999999</c:v>
                </c:pt>
                <c:pt idx="2914">
                  <c:v>-1.90201</c:v>
                </c:pt>
                <c:pt idx="2915">
                  <c:v>#N/A</c:v>
                </c:pt>
                <c:pt idx="2916">
                  <c:v>-2.1201400000000001</c:v>
                </c:pt>
                <c:pt idx="2917">
                  <c:v>-1.7359</c:v>
                </c:pt>
                <c:pt idx="2918">
                  <c:v>-1.6316200000000001</c:v>
                </c:pt>
                <c:pt idx="2919">
                  <c:v>#N/A</c:v>
                </c:pt>
                <c:pt idx="2920">
                  <c:v>-1.63548</c:v>
                </c:pt>
                <c:pt idx="2921">
                  <c:v>-1.8565499999999999</c:v>
                </c:pt>
                <c:pt idx="2922">
                  <c:v>-1.90391</c:v>
                </c:pt>
                <c:pt idx="2923">
                  <c:v>#N/A</c:v>
                </c:pt>
                <c:pt idx="2924">
                  <c:v>-2.1696499999999999</c:v>
                </c:pt>
                <c:pt idx="2925">
                  <c:v>-1.93635</c:v>
                </c:pt>
                <c:pt idx="2926">
                  <c:v>-1.87812</c:v>
                </c:pt>
                <c:pt idx="2927">
                  <c:v>-1.7137</c:v>
                </c:pt>
                <c:pt idx="2928">
                  <c:v>#N/A</c:v>
                </c:pt>
                <c:pt idx="2929">
                  <c:v>-2.0861100000000001</c:v>
                </c:pt>
                <c:pt idx="2930">
                  <c:v>-1.94489</c:v>
                </c:pt>
                <c:pt idx="2931">
                  <c:v>-2.35846</c:v>
                </c:pt>
                <c:pt idx="2932">
                  <c:v>#N/A</c:v>
                </c:pt>
                <c:pt idx="2933">
                  <c:v>-2.9991599999999998</c:v>
                </c:pt>
                <c:pt idx="2934">
                  <c:v>-2.6232500000000001</c:v>
                </c:pt>
                <c:pt idx="2935">
                  <c:v>-1.97156</c:v>
                </c:pt>
                <c:pt idx="2936">
                  <c:v>-1.4560900000000001</c:v>
                </c:pt>
                <c:pt idx="2937">
                  <c:v>#N/A</c:v>
                </c:pt>
                <c:pt idx="2938">
                  <c:v>-1.34192</c:v>
                </c:pt>
                <c:pt idx="2939">
                  <c:v>-1.80687</c:v>
                </c:pt>
                <c:pt idx="2940">
                  <c:v>-2.2031200000000002</c:v>
                </c:pt>
                <c:pt idx="2941">
                  <c:v>#N/A</c:v>
                </c:pt>
                <c:pt idx="2942">
                  <c:v>-2.1177000000000001</c:v>
                </c:pt>
                <c:pt idx="2943">
                  <c:v>-2.1263200000000002</c:v>
                </c:pt>
                <c:pt idx="2944">
                  <c:v>-1.9449399999999999</c:v>
                </c:pt>
                <c:pt idx="2945">
                  <c:v>-1.76501</c:v>
                </c:pt>
                <c:pt idx="2946">
                  <c:v>#N/A</c:v>
                </c:pt>
                <c:pt idx="2947">
                  <c:v>-2.1609699999999998</c:v>
                </c:pt>
                <c:pt idx="2948">
                  <c:v>-2.5942599999999998</c:v>
                </c:pt>
                <c:pt idx="2949">
                  <c:v>-2.4601500000000001</c:v>
                </c:pt>
                <c:pt idx="2950">
                  <c:v>-2.6307299999999998</c:v>
                </c:pt>
                <c:pt idx="2951">
                  <c:v>#N/A</c:v>
                </c:pt>
                <c:pt idx="2952">
                  <c:v>-2.53403</c:v>
                </c:pt>
                <c:pt idx="2953">
                  <c:v>-2.22892</c:v>
                </c:pt>
                <c:pt idx="2954">
                  <c:v>-2.25989</c:v>
                </c:pt>
                <c:pt idx="2955">
                  <c:v>#N/A</c:v>
                </c:pt>
                <c:pt idx="2956">
                  <c:v>-2.3328899999999999</c:v>
                </c:pt>
                <c:pt idx="2957">
                  <c:v>-2.12344</c:v>
                </c:pt>
                <c:pt idx="2958">
                  <c:v>-2.4764300000000001</c:v>
                </c:pt>
                <c:pt idx="2959">
                  <c:v>#N/A</c:v>
                </c:pt>
                <c:pt idx="2960">
                  <c:v>-1.8172299999999999</c:v>
                </c:pt>
                <c:pt idx="2961">
                  <c:v>-2.3062800000000001</c:v>
                </c:pt>
                <c:pt idx="2962">
                  <c:v>#N/A</c:v>
                </c:pt>
                <c:pt idx="2963">
                  <c:v>-2.0956299999999999</c:v>
                </c:pt>
                <c:pt idx="2964">
                  <c:v>-2.1087500000000001</c:v>
                </c:pt>
                <c:pt idx="2965">
                  <c:v>#N/A</c:v>
                </c:pt>
                <c:pt idx="2966">
                  <c:v>#N/A</c:v>
                </c:pt>
                <c:pt idx="2967">
                  <c:v>#N/A</c:v>
                </c:pt>
                <c:pt idx="2968">
                  <c:v>#N/A</c:v>
                </c:pt>
                <c:pt idx="2969">
                  <c:v>#N/A</c:v>
                </c:pt>
                <c:pt idx="2970">
                  <c:v>#N/A</c:v>
                </c:pt>
                <c:pt idx="2971">
                  <c:v>#N/A</c:v>
                </c:pt>
                <c:pt idx="2972">
                  <c:v>#N/A</c:v>
                </c:pt>
                <c:pt idx="2973">
                  <c:v>#N/A</c:v>
                </c:pt>
                <c:pt idx="2974">
                  <c:v>#N/A</c:v>
                </c:pt>
                <c:pt idx="2975">
                  <c:v>#N/A</c:v>
                </c:pt>
                <c:pt idx="2976">
                  <c:v>#N/A</c:v>
                </c:pt>
                <c:pt idx="2977">
                  <c:v>#N/A</c:v>
                </c:pt>
                <c:pt idx="2978">
                  <c:v>#N/A</c:v>
                </c:pt>
                <c:pt idx="2979">
                  <c:v>#N/A</c:v>
                </c:pt>
                <c:pt idx="2980">
                  <c:v>#N/A</c:v>
                </c:pt>
                <c:pt idx="2981">
                  <c:v>#N/A</c:v>
                </c:pt>
                <c:pt idx="2982">
                  <c:v>#N/A</c:v>
                </c:pt>
                <c:pt idx="2983">
                  <c:v>#N/A</c:v>
                </c:pt>
                <c:pt idx="2984">
                  <c:v>#N/A</c:v>
                </c:pt>
                <c:pt idx="2985">
                  <c:v>#N/A</c:v>
                </c:pt>
                <c:pt idx="2986">
                  <c:v>#N/A</c:v>
                </c:pt>
                <c:pt idx="2987">
                  <c:v>-2.4236200000000001</c:v>
                </c:pt>
                <c:pt idx="2988">
                  <c:v>-2.4018099999999998</c:v>
                </c:pt>
                <c:pt idx="2989">
                  <c:v>#N/A</c:v>
                </c:pt>
                <c:pt idx="2990">
                  <c:v>-1.85253</c:v>
                </c:pt>
                <c:pt idx="2991">
                  <c:v>-2.0068000000000001</c:v>
                </c:pt>
                <c:pt idx="2992">
                  <c:v>-2.7898100000000001</c:v>
                </c:pt>
                <c:pt idx="2993">
                  <c:v>#N/A</c:v>
                </c:pt>
                <c:pt idx="2994">
                  <c:v>-2.4047800000000001</c:v>
                </c:pt>
                <c:pt idx="2995">
                  <c:v>-2.37513</c:v>
                </c:pt>
                <c:pt idx="2996">
                  <c:v>-1.5830599999999999</c:v>
                </c:pt>
                <c:pt idx="2997">
                  <c:v>#N/A</c:v>
                </c:pt>
                <c:pt idx="2998">
                  <c:v>-1.5676099999999999</c:v>
                </c:pt>
                <c:pt idx="2999">
                  <c:v>-1.7608900000000001</c:v>
                </c:pt>
                <c:pt idx="3000">
                  <c:v>-2.1302300000000001</c:v>
                </c:pt>
                <c:pt idx="3001">
                  <c:v>-2.15896</c:v>
                </c:pt>
                <c:pt idx="3002">
                  <c:v>#N/A</c:v>
                </c:pt>
                <c:pt idx="3003">
                  <c:v>-2.2625899999999999</c:v>
                </c:pt>
                <c:pt idx="3004">
                  <c:v>-2.4964300000000001</c:v>
                </c:pt>
                <c:pt idx="3005">
                  <c:v>-2.2412000000000001</c:v>
                </c:pt>
                <c:pt idx="3006">
                  <c:v>#N/A</c:v>
                </c:pt>
                <c:pt idx="3007">
                  <c:v>-2.2133400000000001</c:v>
                </c:pt>
                <c:pt idx="3008">
                  <c:v>-2.33447</c:v>
                </c:pt>
                <c:pt idx="3009">
                  <c:v>-2.4069699999999998</c:v>
                </c:pt>
                <c:pt idx="3010">
                  <c:v>-2.492</c:v>
                </c:pt>
                <c:pt idx="3011">
                  <c:v>#N/A</c:v>
                </c:pt>
                <c:pt idx="3012">
                  <c:v>-2.8517199999999998</c:v>
                </c:pt>
                <c:pt idx="3013">
                  <c:v>-2.0623800000000001</c:v>
                </c:pt>
                <c:pt idx="3014">
                  <c:v>-1.8231999999999999</c:v>
                </c:pt>
                <c:pt idx="3015">
                  <c:v>#N/A</c:v>
                </c:pt>
                <c:pt idx="3016">
                  <c:v>-1.7781199999999999</c:v>
                </c:pt>
                <c:pt idx="3017">
                  <c:v>-1.93228</c:v>
                </c:pt>
                <c:pt idx="3018">
                  <c:v>-1.4685600000000001</c:v>
                </c:pt>
                <c:pt idx="3019">
                  <c:v>-1.7949299999999999</c:v>
                </c:pt>
                <c:pt idx="3020">
                  <c:v>#N/A</c:v>
                </c:pt>
                <c:pt idx="3021">
                  <c:v>-2.1688200000000002</c:v>
                </c:pt>
                <c:pt idx="3022">
                  <c:v>-1.59443</c:v>
                </c:pt>
                <c:pt idx="3023">
                  <c:v>-1.8922099999999999</c:v>
                </c:pt>
                <c:pt idx="3024">
                  <c:v>#N/A</c:v>
                </c:pt>
                <c:pt idx="3025">
                  <c:v>-1.8079499999999999</c:v>
                </c:pt>
                <c:pt idx="3026">
                  <c:v>-2.0273400000000001</c:v>
                </c:pt>
                <c:pt idx="3027">
                  <c:v>-2.1267999999999998</c:v>
                </c:pt>
                <c:pt idx="3028">
                  <c:v>-2.1669399999999999</c:v>
                </c:pt>
                <c:pt idx="3029">
                  <c:v>#N/A</c:v>
                </c:pt>
                <c:pt idx="3030">
                  <c:v>-2.1720299999999999</c:v>
                </c:pt>
                <c:pt idx="3031">
                  <c:v>-2.2842500000000001</c:v>
                </c:pt>
                <c:pt idx="3032">
                  <c:v>-2.40509</c:v>
                </c:pt>
                <c:pt idx="3033">
                  <c:v>#N/A</c:v>
                </c:pt>
                <c:pt idx="3034">
                  <c:v>#N/A</c:v>
                </c:pt>
                <c:pt idx="3035">
                  <c:v>-1.5673299999999999</c:v>
                </c:pt>
                <c:pt idx="3036">
                  <c:v>-1.6925699999999999</c:v>
                </c:pt>
                <c:pt idx="3037">
                  <c:v>#N/A</c:v>
                </c:pt>
                <c:pt idx="3038">
                  <c:v>-1.27969</c:v>
                </c:pt>
                <c:pt idx="3039">
                  <c:v>-2.3385799999999999</c:v>
                </c:pt>
                <c:pt idx="3040">
                  <c:v>-2.2517399999999999</c:v>
                </c:pt>
                <c:pt idx="3041">
                  <c:v>-2.18282</c:v>
                </c:pt>
                <c:pt idx="3042">
                  <c:v>#N/A</c:v>
                </c:pt>
                <c:pt idx="3043">
                  <c:v>-2.2035900000000002</c:v>
                </c:pt>
                <c:pt idx="3044">
                  <c:v>-1.9736</c:v>
                </c:pt>
                <c:pt idx="3045">
                  <c:v>-1.8585199999999999</c:v>
                </c:pt>
                <c:pt idx="3046">
                  <c:v>#N/A</c:v>
                </c:pt>
                <c:pt idx="3047">
                  <c:v>-1.7917099999999999</c:v>
                </c:pt>
                <c:pt idx="3048">
                  <c:v>-2.3917799999999998</c:v>
                </c:pt>
                <c:pt idx="3049">
                  <c:v>-2.6468799999999999</c:v>
                </c:pt>
                <c:pt idx="3050">
                  <c:v>-2.9018099999999998</c:v>
                </c:pt>
                <c:pt idx="3051">
                  <c:v>#N/A</c:v>
                </c:pt>
                <c:pt idx="3052">
                  <c:v>-3.04874</c:v>
                </c:pt>
                <c:pt idx="3053">
                  <c:v>-2.5291600000000001</c:v>
                </c:pt>
                <c:pt idx="3054">
                  <c:v>-2.4835400000000001</c:v>
                </c:pt>
                <c:pt idx="3055">
                  <c:v>#N/A</c:v>
                </c:pt>
                <c:pt idx="3056">
                  <c:v>-2.5354299999999999</c:v>
                </c:pt>
                <c:pt idx="3057">
                  <c:v>-2.5188999999999999</c:v>
                </c:pt>
                <c:pt idx="3058">
                  <c:v>-2.06907</c:v>
                </c:pt>
                <c:pt idx="3059">
                  <c:v>-1.9335599999999999</c:v>
                </c:pt>
                <c:pt idx="3060">
                  <c:v>#N/A</c:v>
                </c:pt>
                <c:pt idx="3061">
                  <c:v>-2.64113</c:v>
                </c:pt>
                <c:pt idx="3062">
                  <c:v>-2.3419500000000002</c:v>
                </c:pt>
                <c:pt idx="3063">
                  <c:v>-2.5480800000000001</c:v>
                </c:pt>
                <c:pt idx="3064">
                  <c:v>#N/A</c:v>
                </c:pt>
                <c:pt idx="3065">
                  <c:v>-2.40238</c:v>
                </c:pt>
                <c:pt idx="3066">
                  <c:v>-2.2689400000000002</c:v>
                </c:pt>
                <c:pt idx="3067">
                  <c:v>-2.2379199999999999</c:v>
                </c:pt>
                <c:pt idx="3068">
                  <c:v>#N/A</c:v>
                </c:pt>
                <c:pt idx="3069">
                  <c:v>-2.77935</c:v>
                </c:pt>
                <c:pt idx="3070">
                  <c:v>-2.8214100000000002</c:v>
                </c:pt>
                <c:pt idx="3071">
                  <c:v>-2.7677499999999999</c:v>
                </c:pt>
                <c:pt idx="3072">
                  <c:v>-2.5058600000000002</c:v>
                </c:pt>
                <c:pt idx="3073">
                  <c:v>#N/A</c:v>
                </c:pt>
                <c:pt idx="3074">
                  <c:v>-2.3464200000000002</c:v>
                </c:pt>
                <c:pt idx="3075">
                  <c:v>-2.2948499999999998</c:v>
                </c:pt>
                <c:pt idx="3076">
                  <c:v>-1.84823</c:v>
                </c:pt>
                <c:pt idx="3077">
                  <c:v>-1.7751600000000001</c:v>
                </c:pt>
                <c:pt idx="3078">
                  <c:v>#N/A</c:v>
                </c:pt>
                <c:pt idx="3079">
                  <c:v>-2.3352300000000001</c:v>
                </c:pt>
                <c:pt idx="3080">
                  <c:v>-1.9581</c:v>
                </c:pt>
                <c:pt idx="3081">
                  <c:v>-1.83141</c:v>
                </c:pt>
                <c:pt idx="3082">
                  <c:v>#N/A</c:v>
                </c:pt>
                <c:pt idx="3083">
                  <c:v>-1.9502600000000001</c:v>
                </c:pt>
                <c:pt idx="3084">
                  <c:v>-2.3425600000000002</c:v>
                </c:pt>
                <c:pt idx="3085">
                  <c:v>-2.2162999999999999</c:v>
                </c:pt>
                <c:pt idx="3086">
                  <c:v>#N/A</c:v>
                </c:pt>
                <c:pt idx="3087">
                  <c:v>-2.5742099999999999</c:v>
                </c:pt>
                <c:pt idx="3088">
                  <c:v>-2.4177399999999998</c:v>
                </c:pt>
                <c:pt idx="3089">
                  <c:v>-2.2140200000000001</c:v>
                </c:pt>
                <c:pt idx="3090">
                  <c:v>-2.5380799999999999</c:v>
                </c:pt>
                <c:pt idx="3091">
                  <c:v>#N/A</c:v>
                </c:pt>
                <c:pt idx="3092">
                  <c:v>-2.8795500000000001</c:v>
                </c:pt>
                <c:pt idx="3093">
                  <c:v>-2.64852</c:v>
                </c:pt>
                <c:pt idx="3094">
                  <c:v>-2.1788500000000002</c:v>
                </c:pt>
                <c:pt idx="3095">
                  <c:v>#N/A</c:v>
                </c:pt>
                <c:pt idx="3096">
                  <c:v>-1.99075</c:v>
                </c:pt>
                <c:pt idx="3097">
                  <c:v>-1.8467</c:v>
                </c:pt>
                <c:pt idx="3098">
                  <c:v>-1.74553</c:v>
                </c:pt>
                <c:pt idx="3099">
                  <c:v>-2.0284200000000001</c:v>
                </c:pt>
                <c:pt idx="3100">
                  <c:v>#N/A</c:v>
                </c:pt>
                <c:pt idx="3101">
                  <c:v>-2.48373</c:v>
                </c:pt>
                <c:pt idx="3102">
                  <c:v>-2.0689700000000002</c:v>
                </c:pt>
                <c:pt idx="3103">
                  <c:v>-2.3823599999999998</c:v>
                </c:pt>
                <c:pt idx="3104">
                  <c:v>#N/A</c:v>
                </c:pt>
                <c:pt idx="3105">
                  <c:v>-1.8912899999999999</c:v>
                </c:pt>
                <c:pt idx="3106">
                  <c:v>-2.0088300000000001</c:v>
                </c:pt>
                <c:pt idx="3107">
                  <c:v>#N/A</c:v>
                </c:pt>
                <c:pt idx="3108">
                  <c:v>-2.2933699999999999</c:v>
                </c:pt>
                <c:pt idx="3109">
                  <c:v>-2.0106000000000002</c:v>
                </c:pt>
                <c:pt idx="3110">
                  <c:v>#N/A</c:v>
                </c:pt>
                <c:pt idx="3111">
                  <c:v>-2.76797</c:v>
                </c:pt>
                <c:pt idx="3112">
                  <c:v>-2.63917</c:v>
                </c:pt>
                <c:pt idx="3113">
                  <c:v>-2.26241</c:v>
                </c:pt>
                <c:pt idx="3114">
                  <c:v>-1.42439</c:v>
                </c:pt>
                <c:pt idx="3115">
                  <c:v>#N/A</c:v>
                </c:pt>
                <c:pt idx="3116">
                  <c:v>-1.63635</c:v>
                </c:pt>
                <c:pt idx="3117">
                  <c:v>-1.38093</c:v>
                </c:pt>
                <c:pt idx="3118">
                  <c:v>-2.11592</c:v>
                </c:pt>
                <c:pt idx="3119">
                  <c:v>#N/A</c:v>
                </c:pt>
                <c:pt idx="3120">
                  <c:v>-1.93797</c:v>
                </c:pt>
                <c:pt idx="3121">
                  <c:v>-2.4144600000000001</c:v>
                </c:pt>
                <c:pt idx="3122">
                  <c:v>-2.2571699999999999</c:v>
                </c:pt>
                <c:pt idx="3123">
                  <c:v>#N/A</c:v>
                </c:pt>
                <c:pt idx="3124">
                  <c:v>-2.3686400000000001</c:v>
                </c:pt>
                <c:pt idx="3125">
                  <c:v>-2.0891299999999999</c:v>
                </c:pt>
                <c:pt idx="3126">
                  <c:v>-2.2101099999999998</c:v>
                </c:pt>
                <c:pt idx="3127">
                  <c:v>-2.2648000000000001</c:v>
                </c:pt>
                <c:pt idx="3128">
                  <c:v>#N/A</c:v>
                </c:pt>
                <c:pt idx="3129">
                  <c:v>-2.4947300000000001</c:v>
                </c:pt>
                <c:pt idx="3130">
                  <c:v>-2.48062</c:v>
                </c:pt>
                <c:pt idx="3131">
                  <c:v>-2.2573300000000001</c:v>
                </c:pt>
                <c:pt idx="3132">
                  <c:v>#N/A</c:v>
                </c:pt>
                <c:pt idx="3133">
                  <c:v>-2.2498800000000001</c:v>
                </c:pt>
                <c:pt idx="3134">
                  <c:v>-2.0034999999999998</c:v>
                </c:pt>
                <c:pt idx="3135">
                  <c:v>-2.2916599999999998</c:v>
                </c:pt>
                <c:pt idx="3136">
                  <c:v>-2.6497199999999999</c:v>
                </c:pt>
                <c:pt idx="3137">
                  <c:v>#N/A</c:v>
                </c:pt>
                <c:pt idx="3138">
                  <c:v>-3.76437</c:v>
                </c:pt>
                <c:pt idx="3139">
                  <c:v>-3.30185</c:v>
                </c:pt>
                <c:pt idx="3140">
                  <c:v>-3.4811999999999999</c:v>
                </c:pt>
                <c:pt idx="3141">
                  <c:v>-2.9514399999999998</c:v>
                </c:pt>
                <c:pt idx="3142">
                  <c:v>#N/A</c:v>
                </c:pt>
                <c:pt idx="3143">
                  <c:v>-2.5971000000000002</c:v>
                </c:pt>
                <c:pt idx="3144">
                  <c:v>-2.5792000000000002</c:v>
                </c:pt>
                <c:pt idx="3145">
                  <c:v>-2.1922999999999999</c:v>
                </c:pt>
                <c:pt idx="3146">
                  <c:v>#N/A</c:v>
                </c:pt>
                <c:pt idx="3147">
                  <c:v>-2.1835900000000001</c:v>
                </c:pt>
                <c:pt idx="3148">
                  <c:v>-1.63788</c:v>
                </c:pt>
                <c:pt idx="3149">
                  <c:v>-1.34921</c:v>
                </c:pt>
                <c:pt idx="3150">
                  <c:v>#N/A</c:v>
                </c:pt>
                <c:pt idx="3151">
                  <c:v>-0.79232899999999995</c:v>
                </c:pt>
                <c:pt idx="3152">
                  <c:v>-0.89367099999999999</c:v>
                </c:pt>
                <c:pt idx="3153">
                  <c:v>-0.83768900000000002</c:v>
                </c:pt>
                <c:pt idx="3154">
                  <c:v>#N/A</c:v>
                </c:pt>
                <c:pt idx="3155">
                  <c:v>-0.91049500000000005</c:v>
                </c:pt>
                <c:pt idx="3156">
                  <c:v>-0.91896100000000003</c:v>
                </c:pt>
                <c:pt idx="3157">
                  <c:v>-1.6595899999999999</c:v>
                </c:pt>
                <c:pt idx="3158">
                  <c:v>-2.30498</c:v>
                </c:pt>
                <c:pt idx="3159">
                  <c:v>#N/A</c:v>
                </c:pt>
                <c:pt idx="3160">
                  <c:v>-2.0736300000000001</c:v>
                </c:pt>
                <c:pt idx="3161">
                  <c:v>-2.25379</c:v>
                </c:pt>
                <c:pt idx="3162">
                  <c:v>-2.32152</c:v>
                </c:pt>
                <c:pt idx="3163">
                  <c:v>#N/A</c:v>
                </c:pt>
                <c:pt idx="3164">
                  <c:v>-3.1577099999999998</c:v>
                </c:pt>
                <c:pt idx="3165">
                  <c:v>-2.9059200000000001</c:v>
                </c:pt>
                <c:pt idx="3166">
                  <c:v>-2.73509</c:v>
                </c:pt>
                <c:pt idx="3167">
                  <c:v>-2.3351500000000001</c:v>
                </c:pt>
                <c:pt idx="3168">
                  <c:v>#N/A</c:v>
                </c:pt>
                <c:pt idx="3169">
                  <c:v>-2.2274500000000002</c:v>
                </c:pt>
                <c:pt idx="3170">
                  <c:v>-2.64737</c:v>
                </c:pt>
                <c:pt idx="3171">
                  <c:v>-2.0307300000000001</c:v>
                </c:pt>
                <c:pt idx="3172">
                  <c:v>-1.9741899999999999</c:v>
                </c:pt>
                <c:pt idx="3173">
                  <c:v>#N/A</c:v>
                </c:pt>
                <c:pt idx="3174">
                  <c:v>-1.6531899999999999</c:v>
                </c:pt>
                <c:pt idx="3175">
                  <c:v>-1.5057400000000001</c:v>
                </c:pt>
                <c:pt idx="3176">
                  <c:v>-1.3089900000000001</c:v>
                </c:pt>
                <c:pt idx="3177">
                  <c:v>#N/A</c:v>
                </c:pt>
                <c:pt idx="3178">
                  <c:v>-1.85711</c:v>
                </c:pt>
                <c:pt idx="3179">
                  <c:v>#N/A</c:v>
                </c:pt>
                <c:pt idx="3180">
                  <c:v>-1.4251799999999999</c:v>
                </c:pt>
                <c:pt idx="3181">
                  <c:v>-1.4529099999999999</c:v>
                </c:pt>
                <c:pt idx="3182">
                  <c:v>-2.4580899999999999</c:v>
                </c:pt>
                <c:pt idx="3183">
                  <c:v>#N/A</c:v>
                </c:pt>
                <c:pt idx="3184">
                  <c:v>-2.2511199999999998</c:v>
                </c:pt>
                <c:pt idx="3185">
                  <c:v>-2.2486000000000002</c:v>
                </c:pt>
                <c:pt idx="3186">
                  <c:v>-1.88046</c:v>
                </c:pt>
                <c:pt idx="3187">
                  <c:v>-2.2605</c:v>
                </c:pt>
                <c:pt idx="3188">
                  <c:v>#N/A</c:v>
                </c:pt>
                <c:pt idx="3189">
                  <c:v>-2.23732</c:v>
                </c:pt>
                <c:pt idx="3190">
                  <c:v>-2.6594099999999998</c:v>
                </c:pt>
                <c:pt idx="3191">
                  <c:v>-2.7720500000000001</c:v>
                </c:pt>
                <c:pt idx="3192">
                  <c:v>#N/A</c:v>
                </c:pt>
                <c:pt idx="3193">
                  <c:v>-2.7996500000000002</c:v>
                </c:pt>
                <c:pt idx="3194">
                  <c:v>-2.01084</c:v>
                </c:pt>
                <c:pt idx="3195">
                  <c:v>-2.1570200000000002</c:v>
                </c:pt>
                <c:pt idx="3196">
                  <c:v>#N/A</c:v>
                </c:pt>
                <c:pt idx="3197">
                  <c:v>-1.6395500000000001</c:v>
                </c:pt>
                <c:pt idx="3198">
                  <c:v>-1.22679</c:v>
                </c:pt>
                <c:pt idx="3199">
                  <c:v>-1.58863</c:v>
                </c:pt>
                <c:pt idx="3200">
                  <c:v>-2.5124900000000001</c:v>
                </c:pt>
                <c:pt idx="3201">
                  <c:v>#N/A</c:v>
                </c:pt>
                <c:pt idx="3202">
                  <c:v>-2.06528</c:v>
                </c:pt>
                <c:pt idx="3203">
                  <c:v>-2.51031</c:v>
                </c:pt>
                <c:pt idx="3204">
                  <c:v>-1.7326999999999999</c:v>
                </c:pt>
                <c:pt idx="3205">
                  <c:v>#N/A</c:v>
                </c:pt>
                <c:pt idx="3206">
                  <c:v>-1.8387500000000001</c:v>
                </c:pt>
                <c:pt idx="3207">
                  <c:v>-1.75461</c:v>
                </c:pt>
                <c:pt idx="3208">
                  <c:v>-2.0598299999999998</c:v>
                </c:pt>
                <c:pt idx="3209">
                  <c:v>-2.2621199999999999</c:v>
                </c:pt>
                <c:pt idx="3210">
                  <c:v>#N/A</c:v>
                </c:pt>
                <c:pt idx="3211">
                  <c:v>-2.25543</c:v>
                </c:pt>
                <c:pt idx="3212">
                  <c:v>-2.3330099999999998</c:v>
                </c:pt>
                <c:pt idx="3213">
                  <c:v>-1.90249</c:v>
                </c:pt>
                <c:pt idx="3214">
                  <c:v>#N/A</c:v>
                </c:pt>
                <c:pt idx="3215">
                  <c:v>-2.0019399999999998</c:v>
                </c:pt>
                <c:pt idx="3216">
                  <c:v>-1.3395600000000001</c:v>
                </c:pt>
                <c:pt idx="3217">
                  <c:v>-1.4703900000000001</c:v>
                </c:pt>
                <c:pt idx="3218">
                  <c:v>-2.0009899999999998</c:v>
                </c:pt>
                <c:pt idx="3219">
                  <c:v>#N/A</c:v>
                </c:pt>
                <c:pt idx="3220">
                  <c:v>-1.91927</c:v>
                </c:pt>
                <c:pt idx="3221">
                  <c:v>-1.6583699999999999</c:v>
                </c:pt>
                <c:pt idx="3222">
                  <c:v>-1.8833599999999999</c:v>
                </c:pt>
                <c:pt idx="3223">
                  <c:v>#N/A</c:v>
                </c:pt>
                <c:pt idx="3224">
                  <c:v>-1.98603</c:v>
                </c:pt>
                <c:pt idx="3225">
                  <c:v>-1.6102000000000001</c:v>
                </c:pt>
                <c:pt idx="3226">
                  <c:v>-1.6446400000000001</c:v>
                </c:pt>
                <c:pt idx="3227">
                  <c:v>#N/A</c:v>
                </c:pt>
                <c:pt idx="3228">
                  <c:v>-1.87713</c:v>
                </c:pt>
                <c:pt idx="3229">
                  <c:v>-1.80508</c:v>
                </c:pt>
                <c:pt idx="3230">
                  <c:v>-1.9956100000000001</c:v>
                </c:pt>
                <c:pt idx="3231">
                  <c:v>-2.4100100000000002</c:v>
                </c:pt>
                <c:pt idx="3232">
                  <c:v>#N/A</c:v>
                </c:pt>
                <c:pt idx="3233">
                  <c:v>-1.55298</c:v>
                </c:pt>
                <c:pt idx="3234">
                  <c:v>-1.5366</c:v>
                </c:pt>
                <c:pt idx="3235">
                  <c:v>-1.7282900000000001</c:v>
                </c:pt>
                <c:pt idx="3236">
                  <c:v>#N/A</c:v>
                </c:pt>
                <c:pt idx="3237">
                  <c:v>-1.8596600000000001</c:v>
                </c:pt>
                <c:pt idx="3238">
                  <c:v>-1.7012700000000001</c:v>
                </c:pt>
                <c:pt idx="3239">
                  <c:v>-1.7860199999999999</c:v>
                </c:pt>
                <c:pt idx="3240">
                  <c:v>-1.7782899999999999</c:v>
                </c:pt>
                <c:pt idx="3241">
                  <c:v>#N/A</c:v>
                </c:pt>
                <c:pt idx="3242">
                  <c:v>-1.93926</c:v>
                </c:pt>
                <c:pt idx="3243">
                  <c:v>-2.0020799999999999</c:v>
                </c:pt>
                <c:pt idx="3244">
                  <c:v>-1.8371599999999999</c:v>
                </c:pt>
                <c:pt idx="3245">
                  <c:v>#N/A</c:v>
                </c:pt>
                <c:pt idx="3246">
                  <c:v>-1.82799</c:v>
                </c:pt>
                <c:pt idx="3247">
                  <c:v>-1.5836699999999999</c:v>
                </c:pt>
                <c:pt idx="3248">
                  <c:v>-1.65869</c:v>
                </c:pt>
                <c:pt idx="3249">
                  <c:v>#N/A</c:v>
                </c:pt>
                <c:pt idx="3250">
                  <c:v>-2.0996000000000001</c:v>
                </c:pt>
                <c:pt idx="3251">
                  <c:v>-2.3843299999999998</c:v>
                </c:pt>
                <c:pt idx="3252">
                  <c:v>-1.95556</c:v>
                </c:pt>
                <c:pt idx="3253">
                  <c:v>#N/A</c:v>
                </c:pt>
                <c:pt idx="3254">
                  <c:v>-1.72946</c:v>
                </c:pt>
                <c:pt idx="3255">
                  <c:v>-2.0636800000000002</c:v>
                </c:pt>
                <c:pt idx="3256">
                  <c:v>-1.2982199999999999</c:v>
                </c:pt>
                <c:pt idx="3257">
                  <c:v>#N/A</c:v>
                </c:pt>
                <c:pt idx="3258">
                  <c:v>-1.67764</c:v>
                </c:pt>
                <c:pt idx="3259">
                  <c:v>-1.38412</c:v>
                </c:pt>
                <c:pt idx="3260">
                  <c:v>-1.85168</c:v>
                </c:pt>
                <c:pt idx="3261">
                  <c:v>-2.1555200000000001</c:v>
                </c:pt>
                <c:pt idx="3262">
                  <c:v>#N/A</c:v>
                </c:pt>
                <c:pt idx="3263">
                  <c:v>-1.98231</c:v>
                </c:pt>
                <c:pt idx="3264">
                  <c:v>-1.7568699999999999</c:v>
                </c:pt>
                <c:pt idx="3265">
                  <c:v>-1.47149</c:v>
                </c:pt>
                <c:pt idx="3266">
                  <c:v>-1.70794</c:v>
                </c:pt>
                <c:pt idx="3267">
                  <c:v>#N/A</c:v>
                </c:pt>
                <c:pt idx="3268">
                  <c:v>-1.8577300000000001</c:v>
                </c:pt>
                <c:pt idx="3269">
                  <c:v>-2.32578</c:v>
                </c:pt>
                <c:pt idx="3270">
                  <c:v>-2.3183600000000002</c:v>
                </c:pt>
                <c:pt idx="3271">
                  <c:v>#N/A</c:v>
                </c:pt>
                <c:pt idx="3272">
                  <c:v>-2.6241699999999999</c:v>
                </c:pt>
                <c:pt idx="3273">
                  <c:v>-2.02013</c:v>
                </c:pt>
                <c:pt idx="3274">
                  <c:v>-2.0595300000000001</c:v>
                </c:pt>
                <c:pt idx="3275">
                  <c:v>-1.5445599999999999</c:v>
                </c:pt>
                <c:pt idx="3276">
                  <c:v>#N/A</c:v>
                </c:pt>
                <c:pt idx="3277">
                  <c:v>-1.7413099999999999</c:v>
                </c:pt>
                <c:pt idx="3278">
                  <c:v>-1.73492</c:v>
                </c:pt>
                <c:pt idx="3279">
                  <c:v>-1.7020999999999999</c:v>
                </c:pt>
                <c:pt idx="3280">
                  <c:v>#N/A</c:v>
                </c:pt>
                <c:pt idx="3281">
                  <c:v>-1.7473799999999999</c:v>
                </c:pt>
                <c:pt idx="3282">
                  <c:v>-2.5472100000000002</c:v>
                </c:pt>
                <c:pt idx="3283">
                  <c:v>-2.1810100000000001</c:v>
                </c:pt>
                <c:pt idx="3284">
                  <c:v>#N/A</c:v>
                </c:pt>
                <c:pt idx="3285">
                  <c:v>-1.4222600000000001</c:v>
                </c:pt>
                <c:pt idx="3286">
                  <c:v>-1.44875</c:v>
                </c:pt>
                <c:pt idx="3287">
                  <c:v>-1.51729</c:v>
                </c:pt>
                <c:pt idx="3288">
                  <c:v>-2.10066</c:v>
                </c:pt>
                <c:pt idx="3289">
                  <c:v>#N/A</c:v>
                </c:pt>
                <c:pt idx="3290">
                  <c:v>-2.2997399999999999</c:v>
                </c:pt>
                <c:pt idx="3291">
                  <c:v>-2.25299</c:v>
                </c:pt>
                <c:pt idx="3292">
                  <c:v>-2.0910199999999999</c:v>
                </c:pt>
                <c:pt idx="3293">
                  <c:v>-1.6633</c:v>
                </c:pt>
                <c:pt idx="3294">
                  <c:v>#N/A</c:v>
                </c:pt>
                <c:pt idx="3295">
                  <c:v>-1.78098</c:v>
                </c:pt>
                <c:pt idx="3296">
                  <c:v>-1.7272700000000001</c:v>
                </c:pt>
                <c:pt idx="3297">
                  <c:v>-1.40269</c:v>
                </c:pt>
                <c:pt idx="3298">
                  <c:v>#N/A</c:v>
                </c:pt>
                <c:pt idx="3299">
                  <c:v>-1.8555600000000001</c:v>
                </c:pt>
                <c:pt idx="3300">
                  <c:v>-2.0361600000000002</c:v>
                </c:pt>
                <c:pt idx="3301">
                  <c:v>-1.8748400000000001</c:v>
                </c:pt>
                <c:pt idx="3302">
                  <c:v>#N/A</c:v>
                </c:pt>
                <c:pt idx="3303">
                  <c:v>-1.53308</c:v>
                </c:pt>
                <c:pt idx="3304">
                  <c:v>-1.66117</c:v>
                </c:pt>
                <c:pt idx="3305">
                  <c:v>-1.93679</c:v>
                </c:pt>
                <c:pt idx="3306">
                  <c:v>#N/A</c:v>
                </c:pt>
                <c:pt idx="3307">
                  <c:v>-1.81786</c:v>
                </c:pt>
                <c:pt idx="3308">
                  <c:v>-1.7535499999999999</c:v>
                </c:pt>
                <c:pt idx="3309">
                  <c:v>-2.4418500000000001</c:v>
                </c:pt>
                <c:pt idx="3310">
                  <c:v>-1.8227100000000001</c:v>
                </c:pt>
                <c:pt idx="3311">
                  <c:v>#N/A</c:v>
                </c:pt>
                <c:pt idx="3312">
                  <c:v>-2.18764</c:v>
                </c:pt>
                <c:pt idx="3313">
                  <c:v>-2.0009000000000001</c:v>
                </c:pt>
                <c:pt idx="3314">
                  <c:v>-1.8666</c:v>
                </c:pt>
                <c:pt idx="3315">
                  <c:v>#N/A</c:v>
                </c:pt>
                <c:pt idx="3316">
                  <c:v>-1.72522</c:v>
                </c:pt>
                <c:pt idx="3317">
                  <c:v>-1.79375</c:v>
                </c:pt>
                <c:pt idx="3318">
                  <c:v>-2.22417</c:v>
                </c:pt>
                <c:pt idx="3319">
                  <c:v>-1.9640299999999999</c:v>
                </c:pt>
                <c:pt idx="3320">
                  <c:v>#N/A</c:v>
                </c:pt>
                <c:pt idx="3321">
                  <c:v>-1.4718100000000001</c:v>
                </c:pt>
                <c:pt idx="3322">
                  <c:v>#N/A</c:v>
                </c:pt>
                <c:pt idx="3323">
                  <c:v>-1.44943</c:v>
                </c:pt>
                <c:pt idx="3324">
                  <c:v>-1.51851</c:v>
                </c:pt>
                <c:pt idx="3325">
                  <c:v>-1.84276</c:v>
                </c:pt>
                <c:pt idx="3326">
                  <c:v>#N/A</c:v>
                </c:pt>
                <c:pt idx="3327">
                  <c:v>-1.9001600000000001</c:v>
                </c:pt>
                <c:pt idx="3328">
                  <c:v>-1.79003</c:v>
                </c:pt>
                <c:pt idx="3329">
                  <c:v>-2.3412700000000002</c:v>
                </c:pt>
                <c:pt idx="3330">
                  <c:v>-1.68486</c:v>
                </c:pt>
                <c:pt idx="3331">
                  <c:v>#N/A</c:v>
                </c:pt>
                <c:pt idx="3332">
                  <c:v>-2.0442800000000001</c:v>
                </c:pt>
                <c:pt idx="3333">
                  <c:v>-2.28064</c:v>
                </c:pt>
                <c:pt idx="3334">
                  <c:v>-2.2138499999999999</c:v>
                </c:pt>
                <c:pt idx="3335">
                  <c:v>#N/A</c:v>
                </c:pt>
                <c:pt idx="3336">
                  <c:v>-1.4733799999999999</c:v>
                </c:pt>
                <c:pt idx="3337">
                  <c:v>-1.38978</c:v>
                </c:pt>
                <c:pt idx="3338">
                  <c:v>-1.6521699999999999</c:v>
                </c:pt>
                <c:pt idx="3339">
                  <c:v>-1.60816</c:v>
                </c:pt>
                <c:pt idx="3340">
                  <c:v>#N/A</c:v>
                </c:pt>
                <c:pt idx="3341">
                  <c:v>-1.5757699999999999</c:v>
                </c:pt>
                <c:pt idx="3342">
                  <c:v>-1.84762</c:v>
                </c:pt>
                <c:pt idx="3343">
                  <c:v>-1.79362</c:v>
                </c:pt>
                <c:pt idx="3344">
                  <c:v>#N/A</c:v>
                </c:pt>
                <c:pt idx="3345">
                  <c:v>-1.59443</c:v>
                </c:pt>
                <c:pt idx="3346">
                  <c:v>-1.4933000000000001</c:v>
                </c:pt>
                <c:pt idx="3347">
                  <c:v>-2.1489199999999999</c:v>
                </c:pt>
                <c:pt idx="3348">
                  <c:v>#N/A</c:v>
                </c:pt>
                <c:pt idx="3349">
                  <c:v>-1.9004300000000001</c:v>
                </c:pt>
                <c:pt idx="3350">
                  <c:v>-2.3608500000000001</c:v>
                </c:pt>
                <c:pt idx="3351">
                  <c:v>-1.9419200000000001</c:v>
                </c:pt>
                <c:pt idx="3352">
                  <c:v>-1.9501599999999999</c:v>
                </c:pt>
                <c:pt idx="3353">
                  <c:v>#N/A</c:v>
                </c:pt>
                <c:pt idx="3354">
                  <c:v>-2.0879599999999998</c:v>
                </c:pt>
                <c:pt idx="3355">
                  <c:v>-1.6923999999999999</c:v>
                </c:pt>
                <c:pt idx="3356">
                  <c:v>-1.7611600000000001</c:v>
                </c:pt>
                <c:pt idx="3357">
                  <c:v>-1.4477599999999999</c:v>
                </c:pt>
                <c:pt idx="3358">
                  <c:v>#N/A</c:v>
                </c:pt>
                <c:pt idx="3359">
                  <c:v>-1.5845</c:v>
                </c:pt>
                <c:pt idx="3360">
                  <c:v>-2.4018199999999998</c:v>
                </c:pt>
                <c:pt idx="3361">
                  <c:v>-2.12174</c:v>
                </c:pt>
                <c:pt idx="3362">
                  <c:v>#N/A</c:v>
                </c:pt>
                <c:pt idx="3363">
                  <c:v>-2.0502099999999999</c:v>
                </c:pt>
                <c:pt idx="3364">
                  <c:v>-2.1263200000000002</c:v>
                </c:pt>
                <c:pt idx="3365">
                  <c:v>-2.0670000000000002</c:v>
                </c:pt>
                <c:pt idx="3366">
                  <c:v>-1.93896</c:v>
                </c:pt>
                <c:pt idx="3367">
                  <c:v>#N/A</c:v>
                </c:pt>
                <c:pt idx="3368">
                  <c:v>-2.0780599999999998</c:v>
                </c:pt>
                <c:pt idx="3369">
                  <c:v>-2.2632099999999999</c:v>
                </c:pt>
                <c:pt idx="3370">
                  <c:v>-2.4809199999999998</c:v>
                </c:pt>
                <c:pt idx="3371">
                  <c:v>#N/A</c:v>
                </c:pt>
                <c:pt idx="3372">
                  <c:v>-2.3390300000000002</c:v>
                </c:pt>
                <c:pt idx="3373">
                  <c:v>-2.3242699999999998</c:v>
                </c:pt>
                <c:pt idx="3374">
                  <c:v>-2.1178499999999998</c:v>
                </c:pt>
                <c:pt idx="3375">
                  <c:v>#N/A</c:v>
                </c:pt>
                <c:pt idx="3376">
                  <c:v>-1.7782199999999999</c:v>
                </c:pt>
                <c:pt idx="3377">
                  <c:v>-1.8709499999999999</c:v>
                </c:pt>
                <c:pt idx="3378">
                  <c:v>-2.2405499999999998</c:v>
                </c:pt>
                <c:pt idx="3379">
                  <c:v>-2.00508</c:v>
                </c:pt>
                <c:pt idx="3380">
                  <c:v>#N/A</c:v>
                </c:pt>
                <c:pt idx="3381">
                  <c:v>-1.9157</c:v>
                </c:pt>
                <c:pt idx="3382">
                  <c:v>-1.8379700000000001</c:v>
                </c:pt>
                <c:pt idx="3383">
                  <c:v>-1.6718500000000001</c:v>
                </c:pt>
                <c:pt idx="3384">
                  <c:v>#N/A</c:v>
                </c:pt>
                <c:pt idx="3385">
                  <c:v>-1.87032</c:v>
                </c:pt>
                <c:pt idx="3386">
                  <c:v>-2.1338400000000002</c:v>
                </c:pt>
                <c:pt idx="3387">
                  <c:v>-2.26451</c:v>
                </c:pt>
                <c:pt idx="3388">
                  <c:v>-2.2352300000000001</c:v>
                </c:pt>
                <c:pt idx="3389">
                  <c:v>#N/A</c:v>
                </c:pt>
                <c:pt idx="3390">
                  <c:v>-2.2284899999999999</c:v>
                </c:pt>
                <c:pt idx="3391">
                  <c:v>-2.0639400000000001</c:v>
                </c:pt>
                <c:pt idx="3392">
                  <c:v>#N/A</c:v>
                </c:pt>
                <c:pt idx="3393">
                  <c:v>-1.8983399999999999</c:v>
                </c:pt>
                <c:pt idx="3394">
                  <c:v>#N/A</c:v>
                </c:pt>
                <c:pt idx="3395">
                  <c:v>-1.9469700000000001</c:v>
                </c:pt>
                <c:pt idx="3396">
                  <c:v>-1.78722</c:v>
                </c:pt>
                <c:pt idx="3397">
                  <c:v>-1.53118</c:v>
                </c:pt>
                <c:pt idx="3398">
                  <c:v>-2.2251500000000002</c:v>
                </c:pt>
                <c:pt idx="3399">
                  <c:v>#N/A</c:v>
                </c:pt>
                <c:pt idx="3400">
                  <c:v>-2.1450200000000001</c:v>
                </c:pt>
                <c:pt idx="3401">
                  <c:v>-1.8888799999999999</c:v>
                </c:pt>
                <c:pt idx="3402">
                  <c:v>-1.5594300000000001</c:v>
                </c:pt>
                <c:pt idx="3403">
                  <c:v>#N/A</c:v>
                </c:pt>
                <c:pt idx="3404">
                  <c:v>-1.7617499999999999</c:v>
                </c:pt>
                <c:pt idx="3405">
                  <c:v>-2.1047099999999999</c:v>
                </c:pt>
                <c:pt idx="3406">
                  <c:v>-2.11286</c:v>
                </c:pt>
                <c:pt idx="3407">
                  <c:v>-2.1702900000000001</c:v>
                </c:pt>
                <c:pt idx="3408">
                  <c:v>#N/A</c:v>
                </c:pt>
                <c:pt idx="3409">
                  <c:v>-2.1737799999999998</c:v>
                </c:pt>
                <c:pt idx="3410">
                  <c:v>-2.5053899999999998</c:v>
                </c:pt>
                <c:pt idx="3411">
                  <c:v>-2.1104500000000002</c:v>
                </c:pt>
                <c:pt idx="3412">
                  <c:v>#N/A</c:v>
                </c:pt>
                <c:pt idx="3413">
                  <c:v>-2.7911100000000002</c:v>
                </c:pt>
                <c:pt idx="3414">
                  <c:v>-1.81108</c:v>
                </c:pt>
                <c:pt idx="3415">
                  <c:v>-1.5353699999999999</c:v>
                </c:pt>
                <c:pt idx="3416">
                  <c:v>-1.8314699999999999</c:v>
                </c:pt>
                <c:pt idx="3417">
                  <c:v>#N/A</c:v>
                </c:pt>
                <c:pt idx="3418">
                  <c:v>-2.0045600000000001</c:v>
                </c:pt>
                <c:pt idx="3419">
                  <c:v>-1.6603699999999999</c:v>
                </c:pt>
                <c:pt idx="3420">
                  <c:v>-2.4496000000000002</c:v>
                </c:pt>
                <c:pt idx="3421">
                  <c:v>-2.2891699999999999</c:v>
                </c:pt>
                <c:pt idx="3422">
                  <c:v>#N/A</c:v>
                </c:pt>
                <c:pt idx="3423">
                  <c:v>-2.1939199999999999</c:v>
                </c:pt>
                <c:pt idx="3424">
                  <c:v>-1.6023400000000001</c:v>
                </c:pt>
                <c:pt idx="3425">
                  <c:v>-2.2524500000000001</c:v>
                </c:pt>
                <c:pt idx="3426">
                  <c:v>#N/A</c:v>
                </c:pt>
                <c:pt idx="3427">
                  <c:v>-2.0706600000000002</c:v>
                </c:pt>
                <c:pt idx="3428">
                  <c:v>-1.9840800000000001</c:v>
                </c:pt>
                <c:pt idx="3429">
                  <c:v>-2.4547400000000001</c:v>
                </c:pt>
                <c:pt idx="3430">
                  <c:v>#N/A</c:v>
                </c:pt>
                <c:pt idx="3431">
                  <c:v>-2.1465700000000001</c:v>
                </c:pt>
                <c:pt idx="3432">
                  <c:v>-1.9362900000000001</c:v>
                </c:pt>
                <c:pt idx="3433">
                  <c:v>-1.98878</c:v>
                </c:pt>
                <c:pt idx="3434">
                  <c:v>-2.2776100000000001</c:v>
                </c:pt>
                <c:pt idx="3435">
                  <c:v>#N/A</c:v>
                </c:pt>
                <c:pt idx="3436">
                  <c:v>-2.2041200000000001</c:v>
                </c:pt>
                <c:pt idx="3437">
                  <c:v>-1.57847</c:v>
                </c:pt>
                <c:pt idx="3438">
                  <c:v>-1.81179</c:v>
                </c:pt>
                <c:pt idx="3439">
                  <c:v>#N/A</c:v>
                </c:pt>
                <c:pt idx="3440">
                  <c:v>-1.5722100000000001</c:v>
                </c:pt>
                <c:pt idx="3441">
                  <c:v>-1.9914400000000001</c:v>
                </c:pt>
                <c:pt idx="3442">
                  <c:v>-1.7597</c:v>
                </c:pt>
                <c:pt idx="3443">
                  <c:v>#N/A</c:v>
                </c:pt>
                <c:pt idx="3444">
                  <c:v>-2.2262</c:v>
                </c:pt>
                <c:pt idx="3445">
                  <c:v>-1.99522</c:v>
                </c:pt>
                <c:pt idx="3446">
                  <c:v>-1.9367000000000001</c:v>
                </c:pt>
                <c:pt idx="3447">
                  <c:v>-1.6949399999999999</c:v>
                </c:pt>
                <c:pt idx="3448">
                  <c:v>#N/A</c:v>
                </c:pt>
                <c:pt idx="3449">
                  <c:v>-2.0017900000000002</c:v>
                </c:pt>
                <c:pt idx="3450">
                  <c:v>-2.0354399999999999</c:v>
                </c:pt>
                <c:pt idx="3451">
                  <c:v>-2.36368</c:v>
                </c:pt>
                <c:pt idx="3452">
                  <c:v>#N/A</c:v>
                </c:pt>
                <c:pt idx="3453">
                  <c:v>-2.4956</c:v>
                </c:pt>
                <c:pt idx="3454">
                  <c:v>-1.50447</c:v>
                </c:pt>
                <c:pt idx="3455">
                  <c:v>-1.3207199999999999</c:v>
                </c:pt>
                <c:pt idx="3456">
                  <c:v>-1.512</c:v>
                </c:pt>
                <c:pt idx="3457">
                  <c:v>#N/A</c:v>
                </c:pt>
                <c:pt idx="3458">
                  <c:v>-1.9912700000000001</c:v>
                </c:pt>
                <c:pt idx="3459">
                  <c:v>-1.98847</c:v>
                </c:pt>
                <c:pt idx="3460">
                  <c:v>-2.0812200000000001</c:v>
                </c:pt>
                <c:pt idx="3461">
                  <c:v>#N/A</c:v>
                </c:pt>
                <c:pt idx="3462">
                  <c:v>-1.90455</c:v>
                </c:pt>
                <c:pt idx="3463">
                  <c:v>-1.9589099999999999</c:v>
                </c:pt>
                <c:pt idx="3464">
                  <c:v>#N/A</c:v>
                </c:pt>
                <c:pt idx="3465">
                  <c:v>-1.8838999999999999</c:v>
                </c:pt>
                <c:pt idx="3466">
                  <c:v>-1.70875</c:v>
                </c:pt>
                <c:pt idx="3467">
                  <c:v>#N/A</c:v>
                </c:pt>
                <c:pt idx="3468">
                  <c:v>-2.0101300000000002</c:v>
                </c:pt>
                <c:pt idx="3469">
                  <c:v>-2.56168</c:v>
                </c:pt>
                <c:pt idx="3470">
                  <c:v>#N/A</c:v>
                </c:pt>
                <c:pt idx="3471">
                  <c:v>-2.45783</c:v>
                </c:pt>
                <c:pt idx="3472">
                  <c:v>-2.1031200000000001</c:v>
                </c:pt>
                <c:pt idx="3473">
                  <c:v>-1.91821</c:v>
                </c:pt>
                <c:pt idx="3474">
                  <c:v>-1.99729</c:v>
                </c:pt>
                <c:pt idx="3475">
                  <c:v>#N/A</c:v>
                </c:pt>
                <c:pt idx="3476">
                  <c:v>-1.5721099999999999</c:v>
                </c:pt>
                <c:pt idx="3477">
                  <c:v>-1.32968</c:v>
                </c:pt>
                <c:pt idx="3478">
                  <c:v>-1.71618</c:v>
                </c:pt>
                <c:pt idx="3479">
                  <c:v>#N/A</c:v>
                </c:pt>
                <c:pt idx="3480">
                  <c:v>-2.2198699999999998</c:v>
                </c:pt>
                <c:pt idx="3481">
                  <c:v>-2.0921099999999999</c:v>
                </c:pt>
                <c:pt idx="3482">
                  <c:v>-2.1311599999999999</c:v>
                </c:pt>
                <c:pt idx="3483">
                  <c:v>-1.7269300000000001</c:v>
                </c:pt>
                <c:pt idx="3484">
                  <c:v>#N/A</c:v>
                </c:pt>
                <c:pt idx="3485">
                  <c:v>-1.7540100000000001</c:v>
                </c:pt>
                <c:pt idx="3486">
                  <c:v>-1.5803499999999999</c:v>
                </c:pt>
                <c:pt idx="3487">
                  <c:v>-1.9779</c:v>
                </c:pt>
                <c:pt idx="3488">
                  <c:v>#N/A</c:v>
                </c:pt>
                <c:pt idx="3489">
                  <c:v>-2.4064899999999998</c:v>
                </c:pt>
                <c:pt idx="3490">
                  <c:v>-2.7513100000000001</c:v>
                </c:pt>
                <c:pt idx="3491">
                  <c:v>-2.1943800000000002</c:v>
                </c:pt>
                <c:pt idx="3492">
                  <c:v>-2.2472300000000001</c:v>
                </c:pt>
                <c:pt idx="3493">
                  <c:v>#N/A</c:v>
                </c:pt>
                <c:pt idx="3494">
                  <c:v>-1.8319399999999999</c:v>
                </c:pt>
                <c:pt idx="3495">
                  <c:v>-1.7510699999999999</c:v>
                </c:pt>
                <c:pt idx="3496">
                  <c:v>-1.53718</c:v>
                </c:pt>
                <c:pt idx="3497">
                  <c:v>#N/A</c:v>
                </c:pt>
                <c:pt idx="3498">
                  <c:v>-1.7313000000000001</c:v>
                </c:pt>
                <c:pt idx="3499">
                  <c:v>-1.6369400000000001</c:v>
                </c:pt>
                <c:pt idx="3500">
                  <c:v>-1.6442699999999999</c:v>
                </c:pt>
                <c:pt idx="3501">
                  <c:v>#N/A</c:v>
                </c:pt>
                <c:pt idx="3502">
                  <c:v>-1.89439</c:v>
                </c:pt>
                <c:pt idx="3503">
                  <c:v>-1.9705900000000001</c:v>
                </c:pt>
                <c:pt idx="3504">
                  <c:v>-2.1863999999999999</c:v>
                </c:pt>
                <c:pt idx="3505">
                  <c:v>#N/A</c:v>
                </c:pt>
                <c:pt idx="3506">
                  <c:v>-1.65774</c:v>
                </c:pt>
                <c:pt idx="3507">
                  <c:v>-2.3081399999999999</c:v>
                </c:pt>
                <c:pt idx="3508">
                  <c:v>-1.8778300000000001</c:v>
                </c:pt>
                <c:pt idx="3509">
                  <c:v>-2.0298799999999999</c:v>
                </c:pt>
                <c:pt idx="3510">
                  <c:v>#N/A</c:v>
                </c:pt>
                <c:pt idx="3511">
                  <c:v>-2.5329299999999999</c:v>
                </c:pt>
                <c:pt idx="3512">
                  <c:v>-2.2749199999999998</c:v>
                </c:pt>
                <c:pt idx="3513">
                  <c:v>-1.32073</c:v>
                </c:pt>
                <c:pt idx="3514">
                  <c:v>-1.8589500000000001</c:v>
                </c:pt>
                <c:pt idx="3515">
                  <c:v>#N/A</c:v>
                </c:pt>
                <c:pt idx="3516">
                  <c:v>-1.3077099999999999</c:v>
                </c:pt>
                <c:pt idx="3517">
                  <c:v>-1.7496799999999999</c:v>
                </c:pt>
                <c:pt idx="3518">
                  <c:v>-1.75105</c:v>
                </c:pt>
                <c:pt idx="3519">
                  <c:v>#N/A</c:v>
                </c:pt>
                <c:pt idx="3520">
                  <c:v>-2.1911700000000001</c:v>
                </c:pt>
                <c:pt idx="3521">
                  <c:v>-1.7777700000000001</c:v>
                </c:pt>
                <c:pt idx="3522">
                  <c:v>-1.6317600000000001</c:v>
                </c:pt>
                <c:pt idx="3523">
                  <c:v>#N/A</c:v>
                </c:pt>
                <c:pt idx="3524">
                  <c:v>-1.55619</c:v>
                </c:pt>
                <c:pt idx="3525">
                  <c:v>-1.9783999999999999</c:v>
                </c:pt>
                <c:pt idx="3526">
                  <c:v>-1.6458699999999999</c:v>
                </c:pt>
                <c:pt idx="3527">
                  <c:v>-2.3258899999999998</c:v>
                </c:pt>
                <c:pt idx="3528">
                  <c:v>#N/A</c:v>
                </c:pt>
                <c:pt idx="3529">
                  <c:v>-2.2907600000000001</c:v>
                </c:pt>
                <c:pt idx="3530">
                  <c:v>-1.43103</c:v>
                </c:pt>
                <c:pt idx="3531">
                  <c:v>-1.9254800000000001</c:v>
                </c:pt>
                <c:pt idx="3532">
                  <c:v>#N/A</c:v>
                </c:pt>
                <c:pt idx="3533">
                  <c:v>-1.5255000000000001</c:v>
                </c:pt>
                <c:pt idx="3534">
                  <c:v>-1.96275</c:v>
                </c:pt>
                <c:pt idx="3535">
                  <c:v>-1.45095</c:v>
                </c:pt>
                <c:pt idx="3536">
                  <c:v>#N/A</c:v>
                </c:pt>
                <c:pt idx="3537">
                  <c:v>-1.76979</c:v>
                </c:pt>
                <c:pt idx="3538">
                  <c:v>-1.6967099999999999</c:v>
                </c:pt>
                <c:pt idx="3539">
                  <c:v>-2.0904500000000001</c:v>
                </c:pt>
                <c:pt idx="3540">
                  <c:v>#N/A</c:v>
                </c:pt>
                <c:pt idx="3541">
                  <c:v>-1.5475300000000001</c:v>
                </c:pt>
                <c:pt idx="3542">
                  <c:v>-2.0691899999999999</c:v>
                </c:pt>
                <c:pt idx="3543">
                  <c:v>-2.0741399999999999</c:v>
                </c:pt>
                <c:pt idx="3544">
                  <c:v>-1.6918800000000001</c:v>
                </c:pt>
                <c:pt idx="3545">
                  <c:v>#N/A</c:v>
                </c:pt>
                <c:pt idx="3546">
                  <c:v>-2.1394799999999998</c:v>
                </c:pt>
                <c:pt idx="3547">
                  <c:v>-2.4249700000000001</c:v>
                </c:pt>
                <c:pt idx="3548">
                  <c:v>-2.2987700000000002</c:v>
                </c:pt>
                <c:pt idx="3549">
                  <c:v>#N/A</c:v>
                </c:pt>
                <c:pt idx="3550">
                  <c:v>-2.3143699999999998</c:v>
                </c:pt>
                <c:pt idx="3551">
                  <c:v>-2.2276600000000002</c:v>
                </c:pt>
                <c:pt idx="3552">
                  <c:v>-2.6191399999999998</c:v>
                </c:pt>
                <c:pt idx="3553">
                  <c:v>#N/A</c:v>
                </c:pt>
                <c:pt idx="3554">
                  <c:v>-1.5157700000000001</c:v>
                </c:pt>
                <c:pt idx="3555">
                  <c:v>-1.3675600000000001</c:v>
                </c:pt>
                <c:pt idx="3556">
                  <c:v>-1.04878</c:v>
                </c:pt>
                <c:pt idx="3557">
                  <c:v>-1.6360600000000001</c:v>
                </c:pt>
                <c:pt idx="3558">
                  <c:v>#N/A</c:v>
                </c:pt>
                <c:pt idx="3559">
                  <c:v>-1.3894</c:v>
                </c:pt>
                <c:pt idx="3560">
                  <c:v>-1.7084900000000001</c:v>
                </c:pt>
                <c:pt idx="3561">
                  <c:v>-2.1204999999999998</c:v>
                </c:pt>
                <c:pt idx="3562">
                  <c:v>#N/A</c:v>
                </c:pt>
                <c:pt idx="3563">
                  <c:v>-1.4126399999999999</c:v>
                </c:pt>
                <c:pt idx="3564">
                  <c:v>-1.73055</c:v>
                </c:pt>
                <c:pt idx="3565">
                  <c:v>-1.6115999999999999</c:v>
                </c:pt>
                <c:pt idx="3566">
                  <c:v>-1.9468700000000001</c:v>
                </c:pt>
                <c:pt idx="3567">
                  <c:v>#N/A</c:v>
                </c:pt>
                <c:pt idx="3568">
                  <c:v>-1.58213</c:v>
                </c:pt>
                <c:pt idx="3569">
                  <c:v>-2.3442799999999999</c:v>
                </c:pt>
                <c:pt idx="3570">
                  <c:v>-2.1747200000000002</c:v>
                </c:pt>
                <c:pt idx="3571">
                  <c:v>-1.8592200000000001</c:v>
                </c:pt>
                <c:pt idx="3572">
                  <c:v>#N/A</c:v>
                </c:pt>
                <c:pt idx="3573">
                  <c:v>-1.6801999999999999</c:v>
                </c:pt>
                <c:pt idx="3574">
                  <c:v>-1.8652299999999999</c:v>
                </c:pt>
                <c:pt idx="3575">
                  <c:v>-1.25353</c:v>
                </c:pt>
                <c:pt idx="3576">
                  <c:v>#N/A</c:v>
                </c:pt>
                <c:pt idx="3577">
                  <c:v>-1.32514</c:v>
                </c:pt>
                <c:pt idx="3578">
                  <c:v>-1.7351700000000001</c:v>
                </c:pt>
                <c:pt idx="3579">
                  <c:v>-2.4521500000000001</c:v>
                </c:pt>
                <c:pt idx="3580">
                  <c:v>-1.88304</c:v>
                </c:pt>
                <c:pt idx="3581">
                  <c:v>#N/A</c:v>
                </c:pt>
                <c:pt idx="3582">
                  <c:v>-1.8322700000000001</c:v>
                </c:pt>
                <c:pt idx="3583">
                  <c:v>-2.19807</c:v>
                </c:pt>
                <c:pt idx="3584">
                  <c:v>-1.7825899999999999</c:v>
                </c:pt>
                <c:pt idx="3585">
                  <c:v>#N/A</c:v>
                </c:pt>
                <c:pt idx="3586">
                  <c:v>-2.12521</c:v>
                </c:pt>
                <c:pt idx="3587">
                  <c:v>-2.5301300000000002</c:v>
                </c:pt>
                <c:pt idx="3588">
                  <c:v>-2.4580099999999998</c:v>
                </c:pt>
                <c:pt idx="3589">
                  <c:v>#N/A</c:v>
                </c:pt>
                <c:pt idx="3590">
                  <c:v>-2.3624000000000001</c:v>
                </c:pt>
                <c:pt idx="3591">
                  <c:v>-2.3447200000000001</c:v>
                </c:pt>
                <c:pt idx="3592">
                  <c:v>-1.9456199999999999</c:v>
                </c:pt>
                <c:pt idx="3593">
                  <c:v>#N/A</c:v>
                </c:pt>
                <c:pt idx="3594">
                  <c:v>-1.97689</c:v>
                </c:pt>
                <c:pt idx="3595">
                  <c:v>-1.7070700000000001</c:v>
                </c:pt>
                <c:pt idx="3596">
                  <c:v>-1.8003100000000001</c:v>
                </c:pt>
                <c:pt idx="3597">
                  <c:v>-2.0646599999999999</c:v>
                </c:pt>
                <c:pt idx="3598">
                  <c:v>#N/A</c:v>
                </c:pt>
                <c:pt idx="3599">
                  <c:v>-1.71526</c:v>
                </c:pt>
                <c:pt idx="3600">
                  <c:v>-1.69841</c:v>
                </c:pt>
                <c:pt idx="3601">
                  <c:v>-2.08189</c:v>
                </c:pt>
                <c:pt idx="3602">
                  <c:v>-2.0438200000000002</c:v>
                </c:pt>
                <c:pt idx="3603">
                  <c:v>#N/A</c:v>
                </c:pt>
                <c:pt idx="3604">
                  <c:v>-2.2291699999999999</c:v>
                </c:pt>
                <c:pt idx="3605">
                  <c:v>-2.3361399999999999</c:v>
                </c:pt>
                <c:pt idx="3606">
                  <c:v>-2.0372599999999998</c:v>
                </c:pt>
                <c:pt idx="3607">
                  <c:v>#N/A</c:v>
                </c:pt>
                <c:pt idx="3608">
                  <c:v>-1.95722</c:v>
                </c:pt>
                <c:pt idx="3609">
                  <c:v>-2.0816599999999998</c:v>
                </c:pt>
                <c:pt idx="3610">
                  <c:v>#N/A</c:v>
                </c:pt>
                <c:pt idx="3611">
                  <c:v>-2.06148</c:v>
                </c:pt>
                <c:pt idx="3612">
                  <c:v>-2.0437799999999999</c:v>
                </c:pt>
                <c:pt idx="3613">
                  <c:v>#N/A</c:v>
                </c:pt>
                <c:pt idx="3614">
                  <c:v>-1.94712</c:v>
                </c:pt>
                <c:pt idx="3615">
                  <c:v>-1.4521299999999999</c:v>
                </c:pt>
                <c:pt idx="3616">
                  <c:v>-1.4440599999999999</c:v>
                </c:pt>
                <c:pt idx="3617">
                  <c:v>-1.78003</c:v>
                </c:pt>
                <c:pt idx="3618">
                  <c:v>#N/A</c:v>
                </c:pt>
                <c:pt idx="3619">
                  <c:v>-1.4034</c:v>
                </c:pt>
                <c:pt idx="3620">
                  <c:v>-1.9388799999999999</c:v>
                </c:pt>
                <c:pt idx="3621">
                  <c:v>-1.9340299999999999</c:v>
                </c:pt>
                <c:pt idx="3622">
                  <c:v>#N/A</c:v>
                </c:pt>
                <c:pt idx="3623">
                  <c:v>-1.8028</c:v>
                </c:pt>
                <c:pt idx="3624">
                  <c:v>-1.8894500000000001</c:v>
                </c:pt>
                <c:pt idx="3625">
                  <c:v>-1.9570399999999999</c:v>
                </c:pt>
                <c:pt idx="3626">
                  <c:v>#N/A</c:v>
                </c:pt>
                <c:pt idx="3627">
                  <c:v>-2.01288</c:v>
                </c:pt>
                <c:pt idx="3628">
                  <c:v>-2.3275800000000002</c:v>
                </c:pt>
                <c:pt idx="3629">
                  <c:v>-2.4435199999999999</c:v>
                </c:pt>
                <c:pt idx="3630">
                  <c:v>#N/A</c:v>
                </c:pt>
                <c:pt idx="3631">
                  <c:v>-2.3600300000000001</c:v>
                </c:pt>
                <c:pt idx="3632">
                  <c:v>-2.2068500000000002</c:v>
                </c:pt>
                <c:pt idx="3633">
                  <c:v>-1.37009</c:v>
                </c:pt>
                <c:pt idx="3634">
                  <c:v>-1.5162199999999999</c:v>
                </c:pt>
                <c:pt idx="3635">
                  <c:v>#N/A</c:v>
                </c:pt>
                <c:pt idx="3636">
                  <c:v>-1.6428499999999999</c:v>
                </c:pt>
                <c:pt idx="3637">
                  <c:v>-2.0836199999999998</c:v>
                </c:pt>
                <c:pt idx="3638">
                  <c:v>-1.73316</c:v>
                </c:pt>
                <c:pt idx="3639">
                  <c:v>#N/A</c:v>
                </c:pt>
                <c:pt idx="3640">
                  <c:v>-2.16682</c:v>
                </c:pt>
                <c:pt idx="3641">
                  <c:v>-2.2314600000000002</c:v>
                </c:pt>
                <c:pt idx="3642">
                  <c:v>-1.42885</c:v>
                </c:pt>
                <c:pt idx="3643">
                  <c:v>-1.7791300000000001</c:v>
                </c:pt>
                <c:pt idx="3644">
                  <c:v>#N/A</c:v>
                </c:pt>
                <c:pt idx="3645">
                  <c:v>-2.1305200000000002</c:v>
                </c:pt>
                <c:pt idx="3646">
                  <c:v>-2.0670000000000002</c:v>
                </c:pt>
                <c:pt idx="3647">
                  <c:v>-2.1930800000000001</c:v>
                </c:pt>
                <c:pt idx="3648">
                  <c:v>#N/A</c:v>
                </c:pt>
                <c:pt idx="3649">
                  <c:v>-2.5601799999999999</c:v>
                </c:pt>
                <c:pt idx="3650">
                  <c:v>-2.07247</c:v>
                </c:pt>
                <c:pt idx="3651">
                  <c:v>-1.9094599999999999</c:v>
                </c:pt>
                <c:pt idx="3652">
                  <c:v>-2.14134</c:v>
                </c:pt>
                <c:pt idx="3653">
                  <c:v>#N/A</c:v>
                </c:pt>
                <c:pt idx="3654">
                  <c:v>-2.2077200000000001</c:v>
                </c:pt>
                <c:pt idx="3655">
                  <c:v>-1.4688699999999999</c:v>
                </c:pt>
                <c:pt idx="3656">
                  <c:v>-1.2957099999999999</c:v>
                </c:pt>
                <c:pt idx="3657">
                  <c:v>#N/A</c:v>
                </c:pt>
                <c:pt idx="3658">
                  <c:v>-1.6717200000000001</c:v>
                </c:pt>
                <c:pt idx="3659">
                  <c:v>-1.8961699999999999</c:v>
                </c:pt>
                <c:pt idx="3660">
                  <c:v>-2.0603500000000001</c:v>
                </c:pt>
                <c:pt idx="3661">
                  <c:v>#N/A</c:v>
                </c:pt>
                <c:pt idx="3662">
                  <c:v>-2.1775600000000002</c:v>
                </c:pt>
                <c:pt idx="3663">
                  <c:v>-2.25407</c:v>
                </c:pt>
                <c:pt idx="3664">
                  <c:v>-2.1005600000000002</c:v>
                </c:pt>
                <c:pt idx="3665">
                  <c:v>-1.9373899999999999</c:v>
                </c:pt>
                <c:pt idx="3666">
                  <c:v>#N/A</c:v>
                </c:pt>
                <c:pt idx="3667">
                  <c:v>-2.2156899999999999</c:v>
                </c:pt>
                <c:pt idx="3668">
                  <c:v>-2.2078899999999999</c:v>
                </c:pt>
                <c:pt idx="3669">
                  <c:v>-2.3732899999999999</c:v>
                </c:pt>
                <c:pt idx="3670">
                  <c:v>-1.9864900000000001</c:v>
                </c:pt>
                <c:pt idx="3671">
                  <c:v>#N/A</c:v>
                </c:pt>
                <c:pt idx="3672">
                  <c:v>-2.3555299999999999</c:v>
                </c:pt>
                <c:pt idx="3673">
                  <c:v>-1.3100799999999999</c:v>
                </c:pt>
                <c:pt idx="3674">
                  <c:v>-1.4392199999999999</c:v>
                </c:pt>
                <c:pt idx="3675">
                  <c:v>#N/A</c:v>
                </c:pt>
                <c:pt idx="3676">
                  <c:v>-1.6429800000000001</c:v>
                </c:pt>
                <c:pt idx="3677">
                  <c:v>-1.6476500000000001</c:v>
                </c:pt>
                <c:pt idx="3678">
                  <c:v>-1.37954</c:v>
                </c:pt>
                <c:pt idx="3679">
                  <c:v>-1.7705599999999999</c:v>
                </c:pt>
                <c:pt idx="3680">
                  <c:v>#N/A</c:v>
                </c:pt>
                <c:pt idx="3681">
                  <c:v>-1.89418</c:v>
                </c:pt>
                <c:pt idx="3682">
                  <c:v>#N/A</c:v>
                </c:pt>
                <c:pt idx="3683">
                  <c:v>-2.3330899999999999</c:v>
                </c:pt>
                <c:pt idx="3684">
                  <c:v>-2.20364</c:v>
                </c:pt>
                <c:pt idx="3685">
                  <c:v>-2.2392699999999999</c:v>
                </c:pt>
                <c:pt idx="3686">
                  <c:v>#N/A</c:v>
                </c:pt>
                <c:pt idx="3687">
                  <c:v>-2.3762300000000001</c:v>
                </c:pt>
                <c:pt idx="3688">
                  <c:v>-2.44347</c:v>
                </c:pt>
                <c:pt idx="3689">
                  <c:v>-2.4077700000000002</c:v>
                </c:pt>
                <c:pt idx="3690">
                  <c:v>#N/A</c:v>
                </c:pt>
                <c:pt idx="3691">
                  <c:v>-2.4591699999999999</c:v>
                </c:pt>
                <c:pt idx="3692">
                  <c:v>-1.94123</c:v>
                </c:pt>
                <c:pt idx="3693">
                  <c:v>-1.6382399999999999</c:v>
                </c:pt>
                <c:pt idx="3694">
                  <c:v>-1.8561799999999999</c:v>
                </c:pt>
                <c:pt idx="3695">
                  <c:v>#N/A</c:v>
                </c:pt>
                <c:pt idx="3696">
                  <c:v>-1.8356600000000001</c:v>
                </c:pt>
                <c:pt idx="3697">
                  <c:v>-1.7887599999999999</c:v>
                </c:pt>
                <c:pt idx="3698">
                  <c:v>-1.77183</c:v>
                </c:pt>
                <c:pt idx="3699">
                  <c:v>-1.6250599999999999</c:v>
                </c:pt>
                <c:pt idx="3700">
                  <c:v>#N/A</c:v>
                </c:pt>
                <c:pt idx="3701">
                  <c:v>-1.9609399999999999</c:v>
                </c:pt>
                <c:pt idx="3702">
                  <c:v>-2.13191</c:v>
                </c:pt>
                <c:pt idx="3703">
                  <c:v>-2.00644</c:v>
                </c:pt>
                <c:pt idx="3704">
                  <c:v>#N/A</c:v>
                </c:pt>
                <c:pt idx="3705">
                  <c:v>-2.1900599999999999</c:v>
                </c:pt>
                <c:pt idx="3706">
                  <c:v>-1.9131800000000001</c:v>
                </c:pt>
                <c:pt idx="3707">
                  <c:v>-2.2686299999999999</c:v>
                </c:pt>
                <c:pt idx="3708">
                  <c:v>#N/A</c:v>
                </c:pt>
                <c:pt idx="3709">
                  <c:v>-2.1970800000000001</c:v>
                </c:pt>
                <c:pt idx="3710">
                  <c:v>-2.57355</c:v>
                </c:pt>
                <c:pt idx="3711">
                  <c:v>-2.10562</c:v>
                </c:pt>
                <c:pt idx="3712">
                  <c:v>-2.1981099999999998</c:v>
                </c:pt>
                <c:pt idx="3713">
                  <c:v>#N/A</c:v>
                </c:pt>
                <c:pt idx="3714">
                  <c:v>-2.02549</c:v>
                </c:pt>
                <c:pt idx="3715">
                  <c:v>-1.46671</c:v>
                </c:pt>
                <c:pt idx="3716">
                  <c:v>-1.4219999999999999</c:v>
                </c:pt>
                <c:pt idx="3717">
                  <c:v>#N/A</c:v>
                </c:pt>
                <c:pt idx="3718">
                  <c:v>-2.44259</c:v>
                </c:pt>
                <c:pt idx="3719">
                  <c:v>-3.0899100000000002</c:v>
                </c:pt>
                <c:pt idx="3720">
                  <c:v>-2.80003</c:v>
                </c:pt>
                <c:pt idx="3721">
                  <c:v>#N/A</c:v>
                </c:pt>
                <c:pt idx="3722">
                  <c:v>-2.2715299999999998</c:v>
                </c:pt>
                <c:pt idx="3723">
                  <c:v>-1.7179</c:v>
                </c:pt>
                <c:pt idx="3724">
                  <c:v>-2.2665600000000001</c:v>
                </c:pt>
                <c:pt idx="3725">
                  <c:v>#N/A</c:v>
                </c:pt>
                <c:pt idx="3726">
                  <c:v>-1.57561</c:v>
                </c:pt>
                <c:pt idx="3727">
                  <c:v>-2.0589300000000001</c:v>
                </c:pt>
                <c:pt idx="3728">
                  <c:v>-1.7872399999999999</c:v>
                </c:pt>
                <c:pt idx="3729">
                  <c:v>-1.5072300000000001</c:v>
                </c:pt>
                <c:pt idx="3730">
                  <c:v>#N/A</c:v>
                </c:pt>
                <c:pt idx="3731">
                  <c:v>-1.80522</c:v>
                </c:pt>
                <c:pt idx="3732">
                  <c:v>-1.2418400000000001</c:v>
                </c:pt>
                <c:pt idx="3733">
                  <c:v>-1.3017000000000001</c:v>
                </c:pt>
                <c:pt idx="3734">
                  <c:v>#N/A</c:v>
                </c:pt>
                <c:pt idx="3735">
                  <c:v>-0.61445799999999995</c:v>
                </c:pt>
                <c:pt idx="3736">
                  <c:v>-1.00684</c:v>
                </c:pt>
                <c:pt idx="3737">
                  <c:v>-1.7298100000000001</c:v>
                </c:pt>
                <c:pt idx="3738">
                  <c:v>-1.60762</c:v>
                </c:pt>
                <c:pt idx="3739">
                  <c:v>#N/A</c:v>
                </c:pt>
                <c:pt idx="3740">
                  <c:v>-1.96991</c:v>
                </c:pt>
                <c:pt idx="3741">
                  <c:v>-2.45181</c:v>
                </c:pt>
                <c:pt idx="3742">
                  <c:v>-2.0297100000000001</c:v>
                </c:pt>
                <c:pt idx="3743">
                  <c:v>#N/A</c:v>
                </c:pt>
                <c:pt idx="3744">
                  <c:v>-2.2258399999999998</c:v>
                </c:pt>
                <c:pt idx="3745">
                  <c:v>-2.18499</c:v>
                </c:pt>
                <c:pt idx="3746">
                  <c:v>-2.0763099999999999</c:v>
                </c:pt>
                <c:pt idx="3747">
                  <c:v>#N/A</c:v>
                </c:pt>
                <c:pt idx="3748">
                  <c:v>-2.4085299999999998</c:v>
                </c:pt>
                <c:pt idx="3749">
                  <c:v>-2.2420800000000001</c:v>
                </c:pt>
                <c:pt idx="3750">
                  <c:v>-1.9713099999999999</c:v>
                </c:pt>
                <c:pt idx="3751">
                  <c:v>-2.2334200000000002</c:v>
                </c:pt>
                <c:pt idx="3752">
                  <c:v>#N/A</c:v>
                </c:pt>
                <c:pt idx="3753">
                  <c:v>-1.7339800000000001</c:v>
                </c:pt>
                <c:pt idx="3754">
                  <c:v>-1.15039</c:v>
                </c:pt>
                <c:pt idx="3755">
                  <c:v>#N/A</c:v>
                </c:pt>
                <c:pt idx="3756">
                  <c:v>-1.22841</c:v>
                </c:pt>
                <c:pt idx="3757">
                  <c:v>-1.65137</c:v>
                </c:pt>
                <c:pt idx="3758">
                  <c:v>-1.3491</c:v>
                </c:pt>
                <c:pt idx="3759">
                  <c:v>#N/A</c:v>
                </c:pt>
                <c:pt idx="3760">
                  <c:v>-1.6888700000000001</c:v>
                </c:pt>
                <c:pt idx="3761">
                  <c:v>-1.98478</c:v>
                </c:pt>
                <c:pt idx="3762">
                  <c:v>-1.5994999999999999</c:v>
                </c:pt>
                <c:pt idx="3763">
                  <c:v>-1.9529799999999999</c:v>
                </c:pt>
                <c:pt idx="3764">
                  <c:v>#N/A</c:v>
                </c:pt>
                <c:pt idx="3765">
                  <c:v>-1.9428700000000001</c:v>
                </c:pt>
                <c:pt idx="3766">
                  <c:v>-2.4594800000000001</c:v>
                </c:pt>
                <c:pt idx="3767">
                  <c:v>-2.4462299999999999</c:v>
                </c:pt>
                <c:pt idx="3768">
                  <c:v>#N/A</c:v>
                </c:pt>
                <c:pt idx="3769">
                  <c:v>-2.6549299999999998</c:v>
                </c:pt>
                <c:pt idx="3770">
                  <c:v>-2.2769200000000001</c:v>
                </c:pt>
                <c:pt idx="3771">
                  <c:v>-1.84572</c:v>
                </c:pt>
                <c:pt idx="3772">
                  <c:v>#N/A</c:v>
                </c:pt>
                <c:pt idx="3773">
                  <c:v>-1.8255999999999999</c:v>
                </c:pt>
                <c:pt idx="3774">
                  <c:v>-1.77328</c:v>
                </c:pt>
                <c:pt idx="3775">
                  <c:v>-1.6056999999999999</c:v>
                </c:pt>
                <c:pt idx="3776">
                  <c:v>-1.64696</c:v>
                </c:pt>
                <c:pt idx="3777">
                  <c:v>#N/A</c:v>
                </c:pt>
                <c:pt idx="3778">
                  <c:v>-1.4753700000000001</c:v>
                </c:pt>
                <c:pt idx="3779">
                  <c:v>-1.2515400000000001</c:v>
                </c:pt>
                <c:pt idx="3780">
                  <c:v>-1.41693</c:v>
                </c:pt>
                <c:pt idx="3781">
                  <c:v>#N/A</c:v>
                </c:pt>
                <c:pt idx="3782">
                  <c:v>-1.8341000000000001</c:v>
                </c:pt>
                <c:pt idx="3783">
                  <c:v>-2.0767500000000001</c:v>
                </c:pt>
                <c:pt idx="3784">
                  <c:v>-1.6117300000000001</c:v>
                </c:pt>
                <c:pt idx="3785">
                  <c:v>-1.80657</c:v>
                </c:pt>
                <c:pt idx="3786">
                  <c:v>#N/A</c:v>
                </c:pt>
                <c:pt idx="3787">
                  <c:v>-2.0453399999999999</c:v>
                </c:pt>
                <c:pt idx="3788">
                  <c:v>-2.5223900000000001</c:v>
                </c:pt>
                <c:pt idx="3789">
                  <c:v>-2.532</c:v>
                </c:pt>
                <c:pt idx="3790">
                  <c:v>-2.0300600000000002</c:v>
                </c:pt>
                <c:pt idx="3791">
                  <c:v>#N/A</c:v>
                </c:pt>
                <c:pt idx="3792">
                  <c:v>-2.2489599999999998</c:v>
                </c:pt>
                <c:pt idx="3793">
                  <c:v>-1.99441</c:v>
                </c:pt>
                <c:pt idx="3794">
                  <c:v>-1.60314</c:v>
                </c:pt>
                <c:pt idx="3795">
                  <c:v>#N/A</c:v>
                </c:pt>
                <c:pt idx="3796">
                  <c:v>-1.6435999999999999</c:v>
                </c:pt>
                <c:pt idx="3797">
                  <c:v>-1.80524</c:v>
                </c:pt>
                <c:pt idx="3798">
                  <c:v>-2.11429</c:v>
                </c:pt>
                <c:pt idx="3799">
                  <c:v>#N/A</c:v>
                </c:pt>
                <c:pt idx="3800">
                  <c:v>-1.83602</c:v>
                </c:pt>
                <c:pt idx="3801">
                  <c:v>-1.7435499999999999</c:v>
                </c:pt>
                <c:pt idx="3802">
                  <c:v>-2.0225399999999998</c:v>
                </c:pt>
                <c:pt idx="3803">
                  <c:v>-1.4969600000000001</c:v>
                </c:pt>
                <c:pt idx="3804">
                  <c:v>#N/A</c:v>
                </c:pt>
                <c:pt idx="3805">
                  <c:v>-1.7596700000000001</c:v>
                </c:pt>
                <c:pt idx="3806">
                  <c:v>-2.63279</c:v>
                </c:pt>
                <c:pt idx="3807">
                  <c:v>-2.2414299999999998</c:v>
                </c:pt>
                <c:pt idx="3808">
                  <c:v>#N/A</c:v>
                </c:pt>
                <c:pt idx="3809">
                  <c:v>-2.5271699999999999</c:v>
                </c:pt>
                <c:pt idx="3810">
                  <c:v>-2.69625</c:v>
                </c:pt>
                <c:pt idx="3811">
                  <c:v>-2.7997000000000001</c:v>
                </c:pt>
                <c:pt idx="3812">
                  <c:v>-1.83266</c:v>
                </c:pt>
                <c:pt idx="3813">
                  <c:v>#N/A</c:v>
                </c:pt>
                <c:pt idx="3814">
                  <c:v>-2.0982699999999999</c:v>
                </c:pt>
                <c:pt idx="3815">
                  <c:v>-1.57978</c:v>
                </c:pt>
                <c:pt idx="3816">
                  <c:v>-1.5732600000000001</c:v>
                </c:pt>
                <c:pt idx="3817">
                  <c:v>#N/A</c:v>
                </c:pt>
                <c:pt idx="3818">
                  <c:v>-1.9368799999999999</c:v>
                </c:pt>
                <c:pt idx="3819">
                  <c:v>-2.43066</c:v>
                </c:pt>
                <c:pt idx="3820">
                  <c:v>-1.88445</c:v>
                </c:pt>
                <c:pt idx="3821">
                  <c:v>-2.36911</c:v>
                </c:pt>
                <c:pt idx="3822">
                  <c:v>#N/A</c:v>
                </c:pt>
                <c:pt idx="3823">
                  <c:v>-1.67309</c:v>
                </c:pt>
                <c:pt idx="3824">
                  <c:v>#N/A</c:v>
                </c:pt>
                <c:pt idx="3825">
                  <c:v>-1.9734700000000001</c:v>
                </c:pt>
                <c:pt idx="3826">
                  <c:v>#N/A</c:v>
                </c:pt>
                <c:pt idx="3827">
                  <c:v>-2.1930999999999998</c:v>
                </c:pt>
                <c:pt idx="3828">
                  <c:v>-2.6207600000000002</c:v>
                </c:pt>
                <c:pt idx="3829">
                  <c:v>-2.1928999999999998</c:v>
                </c:pt>
                <c:pt idx="3830">
                  <c:v>-2.2253799999999999</c:v>
                </c:pt>
                <c:pt idx="3831">
                  <c:v>#N/A</c:v>
                </c:pt>
                <c:pt idx="3832">
                  <c:v>-1.8582700000000001</c:v>
                </c:pt>
                <c:pt idx="3833">
                  <c:v>-2.0358900000000002</c:v>
                </c:pt>
                <c:pt idx="3834">
                  <c:v>-1.3252600000000001</c:v>
                </c:pt>
                <c:pt idx="3835">
                  <c:v>#N/A</c:v>
                </c:pt>
                <c:pt idx="3836">
                  <c:v>-1.6499200000000001</c:v>
                </c:pt>
                <c:pt idx="3837">
                  <c:v>-2.2060900000000001</c:v>
                </c:pt>
                <c:pt idx="3838">
                  <c:v>-1.95085</c:v>
                </c:pt>
                <c:pt idx="3839">
                  <c:v>#N/A</c:v>
                </c:pt>
                <c:pt idx="3840">
                  <c:v>-1.98227</c:v>
                </c:pt>
                <c:pt idx="3841">
                  <c:v>-2.1794699999999998</c:v>
                </c:pt>
                <c:pt idx="3842">
                  <c:v>-2.3501300000000001</c:v>
                </c:pt>
                <c:pt idx="3843">
                  <c:v>-1.77041</c:v>
                </c:pt>
                <c:pt idx="3844">
                  <c:v>#N/A</c:v>
                </c:pt>
                <c:pt idx="3845">
                  <c:v>-1.9848300000000001</c:v>
                </c:pt>
                <c:pt idx="3846">
                  <c:v>-2.5543300000000002</c:v>
                </c:pt>
                <c:pt idx="3847">
                  <c:v>-2.2346900000000001</c:v>
                </c:pt>
                <c:pt idx="3848">
                  <c:v>#N/A</c:v>
                </c:pt>
                <c:pt idx="3849">
                  <c:v>-2.4434200000000001</c:v>
                </c:pt>
                <c:pt idx="3850">
                  <c:v>-2.35527</c:v>
                </c:pt>
                <c:pt idx="3851">
                  <c:v>-2.3449300000000002</c:v>
                </c:pt>
                <c:pt idx="3852">
                  <c:v>#N/A</c:v>
                </c:pt>
                <c:pt idx="3853">
                  <c:v>-1.5704800000000001</c:v>
                </c:pt>
                <c:pt idx="3854">
                  <c:v>-1.49166</c:v>
                </c:pt>
                <c:pt idx="3855">
                  <c:v>-1.7307900000000001</c:v>
                </c:pt>
                <c:pt idx="3856">
                  <c:v>-1.9266799999999999</c:v>
                </c:pt>
                <c:pt idx="3857">
                  <c:v>#N/A</c:v>
                </c:pt>
                <c:pt idx="3858">
                  <c:v>-1.7569300000000001</c:v>
                </c:pt>
                <c:pt idx="3859">
                  <c:v>-2.2458499999999999</c:v>
                </c:pt>
                <c:pt idx="3860">
                  <c:v>-2.1074999999999999</c:v>
                </c:pt>
                <c:pt idx="3861">
                  <c:v>#N/A</c:v>
                </c:pt>
                <c:pt idx="3862">
                  <c:v>-2.1901199999999998</c:v>
                </c:pt>
                <c:pt idx="3863">
                  <c:v>-2.3036400000000001</c:v>
                </c:pt>
                <c:pt idx="3864">
                  <c:v>-2.5569199999999999</c:v>
                </c:pt>
                <c:pt idx="3865">
                  <c:v>-2.0235599999999998</c:v>
                </c:pt>
                <c:pt idx="3866">
                  <c:v>#N/A</c:v>
                </c:pt>
                <c:pt idx="3867">
                  <c:v>-2.3631500000000001</c:v>
                </c:pt>
                <c:pt idx="3868">
                  <c:v>-2.55558</c:v>
                </c:pt>
                <c:pt idx="3869">
                  <c:v>-2.4244400000000002</c:v>
                </c:pt>
                <c:pt idx="3870">
                  <c:v>#N/A</c:v>
                </c:pt>
                <c:pt idx="3871">
                  <c:v>-2.38015</c:v>
                </c:pt>
                <c:pt idx="3872">
                  <c:v>-1.7060999999999999</c:v>
                </c:pt>
                <c:pt idx="3873">
                  <c:v>-1.9875400000000001</c:v>
                </c:pt>
                <c:pt idx="3874">
                  <c:v>#N/A</c:v>
                </c:pt>
                <c:pt idx="3875">
                  <c:v>-1.2724500000000001</c:v>
                </c:pt>
                <c:pt idx="3876">
                  <c:v>-1.6987699999999999</c:v>
                </c:pt>
                <c:pt idx="3877">
                  <c:v>-1.98912</c:v>
                </c:pt>
                <c:pt idx="3878">
                  <c:v>#N/A</c:v>
                </c:pt>
                <c:pt idx="3879">
                  <c:v>-2.3752499999999999</c:v>
                </c:pt>
                <c:pt idx="3880">
                  <c:v>-1.78556</c:v>
                </c:pt>
                <c:pt idx="3881">
                  <c:v>-2.0385200000000001</c:v>
                </c:pt>
                <c:pt idx="3882">
                  <c:v>-2.2099099999999998</c:v>
                </c:pt>
                <c:pt idx="3883">
                  <c:v>#N/A</c:v>
                </c:pt>
                <c:pt idx="3884">
                  <c:v>-1.95034</c:v>
                </c:pt>
                <c:pt idx="3885">
                  <c:v>-2.3609599999999999</c:v>
                </c:pt>
                <c:pt idx="3886">
                  <c:v>-2.6808900000000002</c:v>
                </c:pt>
                <c:pt idx="3887">
                  <c:v>#N/A</c:v>
                </c:pt>
                <c:pt idx="3888">
                  <c:v>-2.6865399999999999</c:v>
                </c:pt>
                <c:pt idx="3889">
                  <c:v>-2.4727800000000002</c:v>
                </c:pt>
                <c:pt idx="3890">
                  <c:v>-2.4163000000000001</c:v>
                </c:pt>
                <c:pt idx="3891">
                  <c:v>-2.5635300000000001</c:v>
                </c:pt>
                <c:pt idx="3892">
                  <c:v>#N/A</c:v>
                </c:pt>
                <c:pt idx="3893">
                  <c:v>-1.5255300000000001</c:v>
                </c:pt>
                <c:pt idx="3894">
                  <c:v>-1.8233600000000001</c:v>
                </c:pt>
                <c:pt idx="3895">
                  <c:v>-1.79271</c:v>
                </c:pt>
                <c:pt idx="3896">
                  <c:v>#N/A</c:v>
                </c:pt>
                <c:pt idx="3897">
                  <c:v>-1.5567500000000001</c:v>
                </c:pt>
                <c:pt idx="3898">
                  <c:v>-2.3814500000000001</c:v>
                </c:pt>
                <c:pt idx="3899">
                  <c:v>#N/A</c:v>
                </c:pt>
                <c:pt idx="3900">
                  <c:v>-2.2170200000000002</c:v>
                </c:pt>
                <c:pt idx="3901">
                  <c:v>-2.0319500000000001</c:v>
                </c:pt>
                <c:pt idx="3902">
                  <c:v>-1.8887799999999999</c:v>
                </c:pt>
                <c:pt idx="3903">
                  <c:v>#N/A</c:v>
                </c:pt>
                <c:pt idx="3904">
                  <c:v>-2.1351800000000001</c:v>
                </c:pt>
                <c:pt idx="3905">
                  <c:v>-2.0926800000000001</c:v>
                </c:pt>
                <c:pt idx="3906">
                  <c:v>-2.4216299999999999</c:v>
                </c:pt>
                <c:pt idx="3907">
                  <c:v>-2.8029700000000002</c:v>
                </c:pt>
                <c:pt idx="3908">
                  <c:v>#N/A</c:v>
                </c:pt>
                <c:pt idx="3909">
                  <c:v>-2.5302099999999998</c:v>
                </c:pt>
                <c:pt idx="3910">
                  <c:v>-2.41927</c:v>
                </c:pt>
                <c:pt idx="3911">
                  <c:v>-2.2433399999999999</c:v>
                </c:pt>
                <c:pt idx="3912">
                  <c:v>#N/A</c:v>
                </c:pt>
                <c:pt idx="3913">
                  <c:v>-2.07497</c:v>
                </c:pt>
                <c:pt idx="3914">
                  <c:v>-1.7443</c:v>
                </c:pt>
                <c:pt idx="3915">
                  <c:v>-2.0131600000000001</c:v>
                </c:pt>
                <c:pt idx="3916">
                  <c:v>#N/A</c:v>
                </c:pt>
                <c:pt idx="3917">
                  <c:v>-2.1380400000000002</c:v>
                </c:pt>
                <c:pt idx="3918">
                  <c:v>-1.9072199999999999</c:v>
                </c:pt>
                <c:pt idx="3919">
                  <c:v>-1.87914</c:v>
                </c:pt>
                <c:pt idx="3920">
                  <c:v>-2.2536900000000002</c:v>
                </c:pt>
                <c:pt idx="3921">
                  <c:v>#N/A</c:v>
                </c:pt>
                <c:pt idx="3922">
                  <c:v>-2.2750300000000001</c:v>
                </c:pt>
                <c:pt idx="3923">
                  <c:v>-2.0600399999999999</c:v>
                </c:pt>
                <c:pt idx="3924">
                  <c:v>-1.9457500000000001</c:v>
                </c:pt>
                <c:pt idx="3925">
                  <c:v>#N/A</c:v>
                </c:pt>
                <c:pt idx="3926">
                  <c:v>-1.7946200000000001</c:v>
                </c:pt>
                <c:pt idx="3927">
                  <c:v>-2.1090599999999999</c:v>
                </c:pt>
                <c:pt idx="3928">
                  <c:v>-2.7303999999999999</c:v>
                </c:pt>
                <c:pt idx="3929">
                  <c:v>-2.6786400000000001</c:v>
                </c:pt>
                <c:pt idx="3930">
                  <c:v>#N/A</c:v>
                </c:pt>
                <c:pt idx="3931">
                  <c:v>-2.3258399999999999</c:v>
                </c:pt>
                <c:pt idx="3932">
                  <c:v>-2.16818</c:v>
                </c:pt>
                <c:pt idx="3933">
                  <c:v>-1.9210499999999999</c:v>
                </c:pt>
                <c:pt idx="3934">
                  <c:v>#N/A</c:v>
                </c:pt>
                <c:pt idx="3935">
                  <c:v>-2.0161699999999998</c:v>
                </c:pt>
                <c:pt idx="3936">
                  <c:v>-2.0291199999999998</c:v>
                </c:pt>
                <c:pt idx="3937">
                  <c:v>#N/A</c:v>
                </c:pt>
                <c:pt idx="3938">
                  <c:v>-1.8684700000000001</c:v>
                </c:pt>
                <c:pt idx="3939">
                  <c:v>-2.29569</c:v>
                </c:pt>
                <c:pt idx="3940">
                  <c:v>#N/A</c:v>
                </c:pt>
                <c:pt idx="3941">
                  <c:v>-2.0939800000000002</c:v>
                </c:pt>
                <c:pt idx="3942">
                  <c:v>-1.8768400000000001</c:v>
                </c:pt>
                <c:pt idx="3943">
                  <c:v>-2.2029700000000001</c:v>
                </c:pt>
                <c:pt idx="3944">
                  <c:v>-2.3321700000000001</c:v>
                </c:pt>
                <c:pt idx="3945">
                  <c:v>#N/A</c:v>
                </c:pt>
                <c:pt idx="3946">
                  <c:v>-2.8094999999999999</c:v>
                </c:pt>
                <c:pt idx="3947">
                  <c:v>-2.45296</c:v>
                </c:pt>
                <c:pt idx="3948">
                  <c:v>-2.40937</c:v>
                </c:pt>
                <c:pt idx="3949">
                  <c:v>#N/A</c:v>
                </c:pt>
                <c:pt idx="3950">
                  <c:v>-2.63489</c:v>
                </c:pt>
                <c:pt idx="3951">
                  <c:v>-1.38626</c:v>
                </c:pt>
                <c:pt idx="3952">
                  <c:v>-1.4760500000000001</c:v>
                </c:pt>
                <c:pt idx="3953">
                  <c:v>#N/A</c:v>
                </c:pt>
                <c:pt idx="3954">
                  <c:v>-1.7259199999999999</c:v>
                </c:pt>
                <c:pt idx="3955">
                  <c:v>-1.67035</c:v>
                </c:pt>
                <c:pt idx="3956">
                  <c:v>-2.0658500000000002</c:v>
                </c:pt>
                <c:pt idx="3957">
                  <c:v>#N/A</c:v>
                </c:pt>
                <c:pt idx="3958">
                  <c:v>-1.61883</c:v>
                </c:pt>
                <c:pt idx="3959">
                  <c:v>-1.8133900000000001</c:v>
                </c:pt>
                <c:pt idx="3960">
                  <c:v>-1.8615999999999999</c:v>
                </c:pt>
                <c:pt idx="3961">
                  <c:v>-1.7849699999999999</c:v>
                </c:pt>
                <c:pt idx="3962">
                  <c:v>#N/A</c:v>
                </c:pt>
                <c:pt idx="3963">
                  <c:v>-2.07151</c:v>
                </c:pt>
                <c:pt idx="3964">
                  <c:v>-2.1939000000000002</c:v>
                </c:pt>
                <c:pt idx="3965">
                  <c:v>-1.75424</c:v>
                </c:pt>
                <c:pt idx="3966">
                  <c:v>#N/A</c:v>
                </c:pt>
                <c:pt idx="3967">
                  <c:v>-2.4343599999999999</c:v>
                </c:pt>
                <c:pt idx="3968">
                  <c:v>#N/A</c:v>
                </c:pt>
                <c:pt idx="3969">
                  <c:v>-2.2794099999999999</c:v>
                </c:pt>
                <c:pt idx="3970">
                  <c:v>-2.33081</c:v>
                </c:pt>
                <c:pt idx="3971">
                  <c:v>#N/A</c:v>
                </c:pt>
                <c:pt idx="3972">
                  <c:v>-2.4574699999999998</c:v>
                </c:pt>
                <c:pt idx="3973">
                  <c:v>-2.23427</c:v>
                </c:pt>
                <c:pt idx="3974">
                  <c:v>-1.1655800000000001</c:v>
                </c:pt>
                <c:pt idx="3975">
                  <c:v>-1.46052</c:v>
                </c:pt>
                <c:pt idx="3976">
                  <c:v>#N/A</c:v>
                </c:pt>
                <c:pt idx="3977">
                  <c:v>-1.63083</c:v>
                </c:pt>
                <c:pt idx="3978">
                  <c:v>-2.0336400000000001</c:v>
                </c:pt>
                <c:pt idx="3979">
                  <c:v>-2.1721400000000002</c:v>
                </c:pt>
                <c:pt idx="3980">
                  <c:v>#N/A</c:v>
                </c:pt>
                <c:pt idx="3981">
                  <c:v>-2.2552099999999999</c:v>
                </c:pt>
                <c:pt idx="3982">
                  <c:v>-1.85484</c:v>
                </c:pt>
                <c:pt idx="3983">
                  <c:v>-2.0622799999999999</c:v>
                </c:pt>
                <c:pt idx="3984">
                  <c:v>#N/A</c:v>
                </c:pt>
                <c:pt idx="3985">
                  <c:v>-2.1283799999999999</c:v>
                </c:pt>
                <c:pt idx="3986">
                  <c:v>-2.5146700000000002</c:v>
                </c:pt>
                <c:pt idx="3987">
                  <c:v>-2.3313999999999999</c:v>
                </c:pt>
                <c:pt idx="3988">
                  <c:v>-2.1036899999999998</c:v>
                </c:pt>
                <c:pt idx="3989">
                  <c:v>#N/A</c:v>
                </c:pt>
                <c:pt idx="3990">
                  <c:v>-2.30538</c:v>
                </c:pt>
                <c:pt idx="3991">
                  <c:v>-2.0922000000000001</c:v>
                </c:pt>
                <c:pt idx="3992">
                  <c:v>-2.1746400000000001</c:v>
                </c:pt>
                <c:pt idx="3993">
                  <c:v>#N/A</c:v>
                </c:pt>
                <c:pt idx="3994">
                  <c:v>-2.16662</c:v>
                </c:pt>
                <c:pt idx="3995">
                  <c:v>-2.1173500000000001</c:v>
                </c:pt>
                <c:pt idx="3996">
                  <c:v>-1.7553700000000001</c:v>
                </c:pt>
                <c:pt idx="3997">
                  <c:v>-2.01267</c:v>
                </c:pt>
                <c:pt idx="3998">
                  <c:v>#N/A</c:v>
                </c:pt>
                <c:pt idx="3999">
                  <c:v>-1.99987</c:v>
                </c:pt>
                <c:pt idx="4000">
                  <c:v>-2.5096500000000002</c:v>
                </c:pt>
                <c:pt idx="4001">
                  <c:v>-2.3199299999999998</c:v>
                </c:pt>
                <c:pt idx="4002">
                  <c:v>#N/A</c:v>
                </c:pt>
                <c:pt idx="4003">
                  <c:v>-2.3877000000000002</c:v>
                </c:pt>
                <c:pt idx="4004">
                  <c:v>-3.0236999999999998</c:v>
                </c:pt>
                <c:pt idx="4005">
                  <c:v>-2.3880699999999999</c:v>
                </c:pt>
                <c:pt idx="4006">
                  <c:v>-2.6222699999999999</c:v>
                </c:pt>
                <c:pt idx="4007">
                  <c:v>#N/A</c:v>
                </c:pt>
                <c:pt idx="4008">
                  <c:v>-2.68533</c:v>
                </c:pt>
                <c:pt idx="4009">
                  <c:v>-2.7927399999999998</c:v>
                </c:pt>
                <c:pt idx="4010">
                  <c:v>-2.2240099999999998</c:v>
                </c:pt>
                <c:pt idx="4011">
                  <c:v>-1.9489300000000001</c:v>
                </c:pt>
                <c:pt idx="4012">
                  <c:v>#N/A</c:v>
                </c:pt>
                <c:pt idx="4013">
                  <c:v>-1.9043300000000001</c:v>
                </c:pt>
                <c:pt idx="4014">
                  <c:v>-1.8923099999999999</c:v>
                </c:pt>
                <c:pt idx="4015">
                  <c:v>-2.2718500000000001</c:v>
                </c:pt>
                <c:pt idx="4016">
                  <c:v>#N/A</c:v>
                </c:pt>
                <c:pt idx="4017">
                  <c:v>-2.6752400000000001</c:v>
                </c:pt>
                <c:pt idx="4018">
                  <c:v>-2.2434699999999999</c:v>
                </c:pt>
                <c:pt idx="4019">
                  <c:v>-1.9441600000000001</c:v>
                </c:pt>
                <c:pt idx="4020">
                  <c:v>#N/A</c:v>
                </c:pt>
                <c:pt idx="4021">
                  <c:v>-2.1777799999999998</c:v>
                </c:pt>
                <c:pt idx="4022">
                  <c:v>-2.3821699999999999</c:v>
                </c:pt>
                <c:pt idx="4023">
                  <c:v>-2.46801</c:v>
                </c:pt>
                <c:pt idx="4024">
                  <c:v>-2.69868</c:v>
                </c:pt>
                <c:pt idx="4025">
                  <c:v>#N/A</c:v>
                </c:pt>
                <c:pt idx="4026">
                  <c:v>-2.8462999999999998</c:v>
                </c:pt>
                <c:pt idx="4027">
                  <c:v>-2.93519</c:v>
                </c:pt>
                <c:pt idx="4028">
                  <c:v>-3.3878699999999999</c:v>
                </c:pt>
                <c:pt idx="4029">
                  <c:v>#N/A</c:v>
                </c:pt>
                <c:pt idx="4030">
                  <c:v>-2.6913999999999998</c:v>
                </c:pt>
                <c:pt idx="4031">
                  <c:v>-3.1985000000000001</c:v>
                </c:pt>
                <c:pt idx="4032">
                  <c:v>-2.0824400000000001</c:v>
                </c:pt>
                <c:pt idx="4033">
                  <c:v>-1.88001</c:v>
                </c:pt>
                <c:pt idx="4034">
                  <c:v>#N/A</c:v>
                </c:pt>
                <c:pt idx="4035">
                  <c:v>-1.65879</c:v>
                </c:pt>
                <c:pt idx="4036">
                  <c:v>-1.6043499999999999</c:v>
                </c:pt>
                <c:pt idx="4037">
                  <c:v>-1.9074599999999999</c:v>
                </c:pt>
                <c:pt idx="4038">
                  <c:v>#N/A</c:v>
                </c:pt>
                <c:pt idx="4039">
                  <c:v>-1.8855200000000001</c:v>
                </c:pt>
                <c:pt idx="4040">
                  <c:v>-1.7321500000000001</c:v>
                </c:pt>
                <c:pt idx="4041">
                  <c:v>#N/A</c:v>
                </c:pt>
                <c:pt idx="4042">
                  <c:v>-2.0848300000000002</c:v>
                </c:pt>
                <c:pt idx="4043">
                  <c:v>-2.1008200000000001</c:v>
                </c:pt>
                <c:pt idx="4044">
                  <c:v>#N/A</c:v>
                </c:pt>
                <c:pt idx="4045">
                  <c:v>-2.2390500000000002</c:v>
                </c:pt>
                <c:pt idx="4046">
                  <c:v>-2.51532</c:v>
                </c:pt>
                <c:pt idx="4047">
                  <c:v>-2.43283</c:v>
                </c:pt>
                <c:pt idx="4048">
                  <c:v>-2.3986000000000001</c:v>
                </c:pt>
                <c:pt idx="4049">
                  <c:v>#N/A</c:v>
                </c:pt>
                <c:pt idx="4050">
                  <c:v>-2.8055099999999999</c:v>
                </c:pt>
                <c:pt idx="4051">
                  <c:v>-2.7503000000000002</c:v>
                </c:pt>
                <c:pt idx="4052">
                  <c:v>-2.2676599999999998</c:v>
                </c:pt>
                <c:pt idx="4053">
                  <c:v>#N/A</c:v>
                </c:pt>
                <c:pt idx="4054">
                  <c:v>-1.96261</c:v>
                </c:pt>
                <c:pt idx="4055">
                  <c:v>-2.0115500000000002</c:v>
                </c:pt>
                <c:pt idx="4056">
                  <c:v>-2.1517599999999999</c:v>
                </c:pt>
                <c:pt idx="4057">
                  <c:v>#N/A</c:v>
                </c:pt>
                <c:pt idx="4058">
                  <c:v>-1.9104000000000001</c:v>
                </c:pt>
                <c:pt idx="4059">
                  <c:v>-2.1148799999999999</c:v>
                </c:pt>
                <c:pt idx="4060">
                  <c:v>-2.65341</c:v>
                </c:pt>
                <c:pt idx="4061">
                  <c:v>#N/A</c:v>
                </c:pt>
                <c:pt idx="4062">
                  <c:v>-2.1622699999999999</c:v>
                </c:pt>
                <c:pt idx="4063">
                  <c:v>-2.1941299999999999</c:v>
                </c:pt>
                <c:pt idx="4064">
                  <c:v>-1.97966</c:v>
                </c:pt>
                <c:pt idx="4065">
                  <c:v>-2.06366</c:v>
                </c:pt>
                <c:pt idx="4066">
                  <c:v>#N/A</c:v>
                </c:pt>
                <c:pt idx="4067">
                  <c:v>-2.0747800000000001</c:v>
                </c:pt>
                <c:pt idx="4068">
                  <c:v>-2.3819300000000001</c:v>
                </c:pt>
                <c:pt idx="4069">
                  <c:v>-2.4884300000000001</c:v>
                </c:pt>
                <c:pt idx="4070">
                  <c:v>-2.31968</c:v>
                </c:pt>
                <c:pt idx="4071">
                  <c:v>#N/A</c:v>
                </c:pt>
                <c:pt idx="4072">
                  <c:v>-2.0552700000000002</c:v>
                </c:pt>
                <c:pt idx="4073">
                  <c:v>-2.56908</c:v>
                </c:pt>
                <c:pt idx="4074">
                  <c:v>-1.9559599999999999</c:v>
                </c:pt>
                <c:pt idx="4075">
                  <c:v>#N/A</c:v>
                </c:pt>
                <c:pt idx="4076">
                  <c:v>-1.8536900000000001</c:v>
                </c:pt>
                <c:pt idx="4077">
                  <c:v>-1.9070800000000001</c:v>
                </c:pt>
                <c:pt idx="4078">
                  <c:v>-2.1373000000000002</c:v>
                </c:pt>
                <c:pt idx="4079">
                  <c:v>-2.3146599999999999</c:v>
                </c:pt>
                <c:pt idx="4080">
                  <c:v>#N/A</c:v>
                </c:pt>
                <c:pt idx="4081">
                  <c:v>-1.9385300000000001</c:v>
                </c:pt>
                <c:pt idx="4082">
                  <c:v>-2.1111900000000001</c:v>
                </c:pt>
                <c:pt idx="4083">
                  <c:v>-2.2854000000000001</c:v>
                </c:pt>
                <c:pt idx="4084">
                  <c:v>#N/A</c:v>
                </c:pt>
                <c:pt idx="4085">
                  <c:v>-2.0069499999999998</c:v>
                </c:pt>
                <c:pt idx="4086">
                  <c:v>-2.0866099999999999</c:v>
                </c:pt>
                <c:pt idx="4087">
                  <c:v>-2.1176300000000001</c:v>
                </c:pt>
                <c:pt idx="4088">
                  <c:v>#N/A</c:v>
                </c:pt>
                <c:pt idx="4089">
                  <c:v>-2.3624100000000001</c:v>
                </c:pt>
                <c:pt idx="4090">
                  <c:v>-2.20383</c:v>
                </c:pt>
                <c:pt idx="4091">
                  <c:v>-2.6394799999999998</c:v>
                </c:pt>
                <c:pt idx="4092">
                  <c:v>#N/A</c:v>
                </c:pt>
                <c:pt idx="4093">
                  <c:v>-2.1947000000000001</c:v>
                </c:pt>
                <c:pt idx="4094">
                  <c:v>-1.8780699999999999</c:v>
                </c:pt>
                <c:pt idx="4095">
                  <c:v>-1.7030400000000001</c:v>
                </c:pt>
                <c:pt idx="4096">
                  <c:v>-2.2668300000000001</c:v>
                </c:pt>
                <c:pt idx="4097">
                  <c:v>#N/A</c:v>
                </c:pt>
                <c:pt idx="4098">
                  <c:v>-1.6869000000000001</c:v>
                </c:pt>
                <c:pt idx="4099">
                  <c:v>-1.93136</c:v>
                </c:pt>
                <c:pt idx="4100">
                  <c:v>-2.2680899999999999</c:v>
                </c:pt>
                <c:pt idx="4101">
                  <c:v>-2.0831499999999998</c:v>
                </c:pt>
                <c:pt idx="4102">
                  <c:v>#N/A</c:v>
                </c:pt>
                <c:pt idx="4103">
                  <c:v>-2.2543899999999999</c:v>
                </c:pt>
                <c:pt idx="4104">
                  <c:v>-1.88469</c:v>
                </c:pt>
                <c:pt idx="4105">
                  <c:v>-2.4439500000000001</c:v>
                </c:pt>
                <c:pt idx="4106">
                  <c:v>#N/A</c:v>
                </c:pt>
                <c:pt idx="4107">
                  <c:v>-2.2178900000000001</c:v>
                </c:pt>
                <c:pt idx="4108">
                  <c:v>-2.7463700000000002</c:v>
                </c:pt>
                <c:pt idx="4109">
                  <c:v>-2.4867300000000001</c:v>
                </c:pt>
                <c:pt idx="4110">
                  <c:v>-1.98804</c:v>
                </c:pt>
                <c:pt idx="4111">
                  <c:v>#N/A</c:v>
                </c:pt>
                <c:pt idx="4112">
                  <c:v>-1.70678</c:v>
                </c:pt>
                <c:pt idx="4113">
                  <c:v>#N/A</c:v>
                </c:pt>
                <c:pt idx="4114">
                  <c:v>-1.71197</c:v>
                </c:pt>
                <c:pt idx="4115">
                  <c:v>-1.78138</c:v>
                </c:pt>
                <c:pt idx="4116">
                  <c:v>-2.5499700000000001</c:v>
                </c:pt>
                <c:pt idx="4117">
                  <c:v>#N/A</c:v>
                </c:pt>
                <c:pt idx="4118">
                  <c:v>-2.1080199999999998</c:v>
                </c:pt>
                <c:pt idx="4119">
                  <c:v>-2.2209699999999999</c:v>
                </c:pt>
                <c:pt idx="4120">
                  <c:v>-2.0694400000000002</c:v>
                </c:pt>
                <c:pt idx="4121">
                  <c:v>#N/A</c:v>
                </c:pt>
                <c:pt idx="4122">
                  <c:v>-1.9509000000000001</c:v>
                </c:pt>
                <c:pt idx="4123">
                  <c:v>-2.1981799999999998</c:v>
                </c:pt>
                <c:pt idx="4124">
                  <c:v>-2.1781999999999999</c:v>
                </c:pt>
                <c:pt idx="4125">
                  <c:v>-2.22499</c:v>
                </c:pt>
                <c:pt idx="4126">
                  <c:v>#N/A</c:v>
                </c:pt>
                <c:pt idx="4127">
                  <c:v>-1.8518699999999999</c:v>
                </c:pt>
                <c:pt idx="4128">
                  <c:v>-2.2475800000000001</c:v>
                </c:pt>
                <c:pt idx="4129">
                  <c:v>-2.3077200000000002</c:v>
                </c:pt>
                <c:pt idx="4130">
                  <c:v>#N/A</c:v>
                </c:pt>
                <c:pt idx="4131">
                  <c:v>-2.6754600000000002</c:v>
                </c:pt>
                <c:pt idx="4132">
                  <c:v>-2.0657999999999999</c:v>
                </c:pt>
                <c:pt idx="4133">
                  <c:v>-2.0537299999999998</c:v>
                </c:pt>
                <c:pt idx="4134">
                  <c:v>-1.7636700000000001</c:v>
                </c:pt>
                <c:pt idx="4135">
                  <c:v>#N/A</c:v>
                </c:pt>
                <c:pt idx="4136">
                  <c:v>-1.33185</c:v>
                </c:pt>
                <c:pt idx="4137">
                  <c:v>-1.8246100000000001</c:v>
                </c:pt>
                <c:pt idx="4138">
                  <c:v>-2.5449700000000002</c:v>
                </c:pt>
                <c:pt idx="4139">
                  <c:v>#N/A</c:v>
                </c:pt>
                <c:pt idx="4140">
                  <c:v>-1.6997199999999999</c:v>
                </c:pt>
                <c:pt idx="4141">
                  <c:v>-2.3181799999999999</c:v>
                </c:pt>
                <c:pt idx="4142">
                  <c:v>-1.69797</c:v>
                </c:pt>
                <c:pt idx="4143">
                  <c:v>-1.7918499999999999</c:v>
                </c:pt>
                <c:pt idx="4144">
                  <c:v>#N/A</c:v>
                </c:pt>
                <c:pt idx="4145">
                  <c:v>-1.7336800000000001</c:v>
                </c:pt>
                <c:pt idx="4146">
                  <c:v>-1.7524500000000001</c:v>
                </c:pt>
                <c:pt idx="4147">
                  <c:v>-2.4600399999999998</c:v>
                </c:pt>
                <c:pt idx="4148">
                  <c:v>#N/A</c:v>
                </c:pt>
                <c:pt idx="4149">
                  <c:v>-1.9159900000000001</c:v>
                </c:pt>
                <c:pt idx="4150">
                  <c:v>-1.69374</c:v>
                </c:pt>
                <c:pt idx="4151">
                  <c:v>-1.9137500000000001</c:v>
                </c:pt>
                <c:pt idx="4152">
                  <c:v>#N/A</c:v>
                </c:pt>
                <c:pt idx="4153">
                  <c:v>-1.95044</c:v>
                </c:pt>
                <c:pt idx="4154">
                  <c:v>-1.5865100000000001</c:v>
                </c:pt>
                <c:pt idx="4155">
                  <c:v>-1.9474400000000001</c:v>
                </c:pt>
                <c:pt idx="4156">
                  <c:v>-1.93634</c:v>
                </c:pt>
                <c:pt idx="4157">
                  <c:v>#N/A</c:v>
                </c:pt>
                <c:pt idx="4158">
                  <c:v>-1.7120299999999999</c:v>
                </c:pt>
                <c:pt idx="4159">
                  <c:v>-2.2476400000000001</c:v>
                </c:pt>
                <c:pt idx="4160">
                  <c:v>-2.3238400000000001</c:v>
                </c:pt>
                <c:pt idx="4161">
                  <c:v>-1.63205</c:v>
                </c:pt>
                <c:pt idx="4162">
                  <c:v>#N/A</c:v>
                </c:pt>
                <c:pt idx="4163">
                  <c:v>-1.9789300000000001</c:v>
                </c:pt>
                <c:pt idx="4164">
                  <c:v>-1.7020999999999999</c:v>
                </c:pt>
                <c:pt idx="4165">
                  <c:v>-2.0113099999999999</c:v>
                </c:pt>
                <c:pt idx="4166">
                  <c:v>#N/A</c:v>
                </c:pt>
                <c:pt idx="4167">
                  <c:v>-1.9978400000000001</c:v>
                </c:pt>
                <c:pt idx="4168">
                  <c:v>-2.41432</c:v>
                </c:pt>
                <c:pt idx="4169">
                  <c:v>-2.3389600000000002</c:v>
                </c:pt>
                <c:pt idx="4170">
                  <c:v>#N/A</c:v>
                </c:pt>
                <c:pt idx="4171">
                  <c:v>-2.3197700000000001</c:v>
                </c:pt>
                <c:pt idx="4172">
                  <c:v>-1.4119299999999999</c:v>
                </c:pt>
                <c:pt idx="4173">
                  <c:v>-1.7253700000000001</c:v>
                </c:pt>
                <c:pt idx="4174">
                  <c:v>#N/A</c:v>
                </c:pt>
                <c:pt idx="4175">
                  <c:v>-1.65086</c:v>
                </c:pt>
                <c:pt idx="4176">
                  <c:v>-1.8769499999999999</c:v>
                </c:pt>
                <c:pt idx="4177">
                  <c:v>-1.9958</c:v>
                </c:pt>
                <c:pt idx="4178">
                  <c:v>-2.26938</c:v>
                </c:pt>
                <c:pt idx="4179">
                  <c:v>#N/A</c:v>
                </c:pt>
                <c:pt idx="4180">
                  <c:v>-1.7373099999999999</c:v>
                </c:pt>
                <c:pt idx="4181">
                  <c:v>-1.56928</c:v>
                </c:pt>
                <c:pt idx="4182">
                  <c:v>-1.5293699999999999</c:v>
                </c:pt>
                <c:pt idx="4183">
                  <c:v>#N/A</c:v>
                </c:pt>
                <c:pt idx="4184">
                  <c:v>-1.3575900000000001</c:v>
                </c:pt>
                <c:pt idx="4185">
                  <c:v>#N/A</c:v>
                </c:pt>
                <c:pt idx="4186">
                  <c:v>-1.85192</c:v>
                </c:pt>
                <c:pt idx="4187">
                  <c:v>-2.12323</c:v>
                </c:pt>
                <c:pt idx="4188">
                  <c:v>-2.56717</c:v>
                </c:pt>
                <c:pt idx="4189">
                  <c:v>#N/A</c:v>
                </c:pt>
                <c:pt idx="4190">
                  <c:v>-2.2054999999999998</c:v>
                </c:pt>
                <c:pt idx="4191">
                  <c:v>-2.5514000000000001</c:v>
                </c:pt>
                <c:pt idx="4192">
                  <c:v>-1.47309</c:v>
                </c:pt>
                <c:pt idx="4193">
                  <c:v>-1.5863700000000001</c:v>
                </c:pt>
                <c:pt idx="4194">
                  <c:v>#N/A</c:v>
                </c:pt>
                <c:pt idx="4195">
                  <c:v>-2.10154</c:v>
                </c:pt>
                <c:pt idx="4196">
                  <c:v>-1.8574900000000001</c:v>
                </c:pt>
                <c:pt idx="4197">
                  <c:v>-1.8678699999999999</c:v>
                </c:pt>
                <c:pt idx="4198">
                  <c:v>#N/A</c:v>
                </c:pt>
                <c:pt idx="4199">
                  <c:v>-1.72505</c:v>
                </c:pt>
                <c:pt idx="4200">
                  <c:v>-1.7430699999999999</c:v>
                </c:pt>
                <c:pt idx="4201">
                  <c:v>-1.7394000000000001</c:v>
                </c:pt>
                <c:pt idx="4202">
                  <c:v>-2.0644200000000001</c:v>
                </c:pt>
                <c:pt idx="4203">
                  <c:v>#N/A</c:v>
                </c:pt>
                <c:pt idx="4204">
                  <c:v>-1.92862</c:v>
                </c:pt>
                <c:pt idx="4205">
                  <c:v>-2.1685699999999999</c:v>
                </c:pt>
                <c:pt idx="4206">
                  <c:v>-2.1001500000000002</c:v>
                </c:pt>
                <c:pt idx="4207">
                  <c:v>#N/A</c:v>
                </c:pt>
                <c:pt idx="4208">
                  <c:v>-2.4502100000000002</c:v>
                </c:pt>
                <c:pt idx="4209">
                  <c:v>-2.12479</c:v>
                </c:pt>
                <c:pt idx="4210">
                  <c:v>-2.4086799999999999</c:v>
                </c:pt>
                <c:pt idx="4211">
                  <c:v>-1.9840100000000001</c:v>
                </c:pt>
                <c:pt idx="4212">
                  <c:v>#N/A</c:v>
                </c:pt>
                <c:pt idx="4213">
                  <c:v>-2.2403200000000001</c:v>
                </c:pt>
                <c:pt idx="4214">
                  <c:v>-1.5918399999999999</c:v>
                </c:pt>
                <c:pt idx="4215">
                  <c:v>-1.8685099999999999</c:v>
                </c:pt>
                <c:pt idx="4216">
                  <c:v>#N/A</c:v>
                </c:pt>
                <c:pt idx="4217">
                  <c:v>-2.1791100000000001</c:v>
                </c:pt>
                <c:pt idx="4218">
                  <c:v>-2.2874099999999999</c:v>
                </c:pt>
                <c:pt idx="4219">
                  <c:v>-2.0818699999999999</c:v>
                </c:pt>
                <c:pt idx="4220">
                  <c:v>#N/A</c:v>
                </c:pt>
                <c:pt idx="4221">
                  <c:v>-2.1958700000000002</c:v>
                </c:pt>
                <c:pt idx="4222">
                  <c:v>-2.1844800000000002</c:v>
                </c:pt>
                <c:pt idx="4223">
                  <c:v>-2.16893</c:v>
                </c:pt>
                <c:pt idx="4224">
                  <c:v>-2.3784200000000002</c:v>
                </c:pt>
                <c:pt idx="4225">
                  <c:v>#N/A</c:v>
                </c:pt>
                <c:pt idx="4226">
                  <c:v>-2.1050300000000002</c:v>
                </c:pt>
                <c:pt idx="4227">
                  <c:v>-2.4357500000000001</c:v>
                </c:pt>
                <c:pt idx="4228">
                  <c:v>-2.1397599999999999</c:v>
                </c:pt>
                <c:pt idx="4229">
                  <c:v>#N/A</c:v>
                </c:pt>
                <c:pt idx="4230">
                  <c:v>-2.21563</c:v>
                </c:pt>
                <c:pt idx="4231">
                  <c:v>-2.02162</c:v>
                </c:pt>
                <c:pt idx="4232">
                  <c:v>-2.5356399999999999</c:v>
                </c:pt>
                <c:pt idx="4233">
                  <c:v>-1.9520200000000001</c:v>
                </c:pt>
                <c:pt idx="4234">
                  <c:v>#N/A</c:v>
                </c:pt>
                <c:pt idx="4235">
                  <c:v>-1.98319</c:v>
                </c:pt>
                <c:pt idx="4236">
                  <c:v>-2.1563300000000001</c:v>
                </c:pt>
                <c:pt idx="4237">
                  <c:v>-1.95566</c:v>
                </c:pt>
                <c:pt idx="4238">
                  <c:v>#N/A</c:v>
                </c:pt>
                <c:pt idx="4239">
                  <c:v>-1.93001</c:v>
                </c:pt>
                <c:pt idx="4240">
                  <c:v>-2.33</c:v>
                </c:pt>
                <c:pt idx="4241">
                  <c:v>-2.2226900000000001</c:v>
                </c:pt>
                <c:pt idx="4242">
                  <c:v>-2.0246300000000002</c:v>
                </c:pt>
                <c:pt idx="4243">
                  <c:v>#N/A</c:v>
                </c:pt>
                <c:pt idx="4244">
                  <c:v>-2.0580599999999998</c:v>
                </c:pt>
                <c:pt idx="4245">
                  <c:v>-2.1070600000000002</c:v>
                </c:pt>
                <c:pt idx="4246">
                  <c:v>-2.2984499999999999</c:v>
                </c:pt>
                <c:pt idx="4247">
                  <c:v>#N/A</c:v>
                </c:pt>
                <c:pt idx="4248">
                  <c:v>-2.4871699999999999</c:v>
                </c:pt>
                <c:pt idx="4249">
                  <c:v>-2.50603</c:v>
                </c:pt>
                <c:pt idx="4250">
                  <c:v>-2.1065399999999999</c:v>
                </c:pt>
                <c:pt idx="4251">
                  <c:v>#N/A</c:v>
                </c:pt>
                <c:pt idx="4252">
                  <c:v>-1.6869799999999999</c:v>
                </c:pt>
                <c:pt idx="4253">
                  <c:v>-2.2269600000000001</c:v>
                </c:pt>
                <c:pt idx="4254">
                  <c:v>-1.98603</c:v>
                </c:pt>
                <c:pt idx="4255">
                  <c:v>#N/A</c:v>
                </c:pt>
                <c:pt idx="4256">
                  <c:v>-1.9414100000000001</c:v>
                </c:pt>
                <c:pt idx="4257">
                  <c:v>#N/A</c:v>
                </c:pt>
                <c:pt idx="4258">
                  <c:v>-2.1784400000000002</c:v>
                </c:pt>
                <c:pt idx="4259">
                  <c:v>-2.00929</c:v>
                </c:pt>
                <c:pt idx="4260">
                  <c:v>-2.1267</c:v>
                </c:pt>
                <c:pt idx="4261">
                  <c:v>#N/A</c:v>
                </c:pt>
                <c:pt idx="4262">
                  <c:v>-2.1697500000000001</c:v>
                </c:pt>
                <c:pt idx="4263">
                  <c:v>-1.91029</c:v>
                </c:pt>
                <c:pt idx="4264">
                  <c:v>-2.1522600000000001</c:v>
                </c:pt>
                <c:pt idx="4265">
                  <c:v>-2.4023599999999998</c:v>
                </c:pt>
                <c:pt idx="4266">
                  <c:v>#N/A</c:v>
                </c:pt>
                <c:pt idx="4267">
                  <c:v>-2.2225999999999999</c:v>
                </c:pt>
                <c:pt idx="4268">
                  <c:v>-2.4856099999999999</c:v>
                </c:pt>
                <c:pt idx="4269">
                  <c:v>-2.4124599999999998</c:v>
                </c:pt>
                <c:pt idx="4270">
                  <c:v>#N/A</c:v>
                </c:pt>
                <c:pt idx="4271">
                  <c:v>-2.5291000000000001</c:v>
                </c:pt>
                <c:pt idx="4272">
                  <c:v>-1.7719100000000001</c:v>
                </c:pt>
                <c:pt idx="4273">
                  <c:v>-2.1488</c:v>
                </c:pt>
                <c:pt idx="4274">
                  <c:v>-1.8474299999999999</c:v>
                </c:pt>
                <c:pt idx="4275">
                  <c:v>#N/A</c:v>
                </c:pt>
                <c:pt idx="4276">
                  <c:v>-2.0179900000000002</c:v>
                </c:pt>
                <c:pt idx="4277">
                  <c:v>-2.0183399999999998</c:v>
                </c:pt>
                <c:pt idx="4278">
                  <c:v>-2.1876099999999998</c:v>
                </c:pt>
                <c:pt idx="4279">
                  <c:v>#N/A</c:v>
                </c:pt>
                <c:pt idx="4280">
                  <c:v>-2.3063600000000002</c:v>
                </c:pt>
                <c:pt idx="4281">
                  <c:v>-1.5148299999999999</c:v>
                </c:pt>
                <c:pt idx="4282">
                  <c:v>-1.8781300000000001</c:v>
                </c:pt>
                <c:pt idx="4283">
                  <c:v>#N/A</c:v>
                </c:pt>
                <c:pt idx="4284">
                  <c:v>-1.77057</c:v>
                </c:pt>
                <c:pt idx="4285">
                  <c:v>-2.28504</c:v>
                </c:pt>
                <c:pt idx="4286">
                  <c:v>-2.2292100000000001</c:v>
                </c:pt>
                <c:pt idx="4287">
                  <c:v>#N/A</c:v>
                </c:pt>
                <c:pt idx="4288">
                  <c:v>-2.4617200000000001</c:v>
                </c:pt>
                <c:pt idx="4289">
                  <c:v>-2.6460400000000002</c:v>
                </c:pt>
                <c:pt idx="4290">
                  <c:v>-2.2224400000000002</c:v>
                </c:pt>
                <c:pt idx="4291">
                  <c:v>#N/A</c:v>
                </c:pt>
                <c:pt idx="4292">
                  <c:v>-1.88622</c:v>
                </c:pt>
                <c:pt idx="4293">
                  <c:v>-2.3610699999999998</c:v>
                </c:pt>
                <c:pt idx="4294">
                  <c:v>-2.59395</c:v>
                </c:pt>
                <c:pt idx="4295">
                  <c:v>-2.0908899999999999</c:v>
                </c:pt>
                <c:pt idx="4296">
                  <c:v>#N/A</c:v>
                </c:pt>
                <c:pt idx="4297">
                  <c:v>-2.18587</c:v>
                </c:pt>
                <c:pt idx="4298">
                  <c:v>-2.1143700000000001</c:v>
                </c:pt>
                <c:pt idx="4299">
                  <c:v>-2.81101</c:v>
                </c:pt>
                <c:pt idx="4300">
                  <c:v>#N/A</c:v>
                </c:pt>
                <c:pt idx="4301">
                  <c:v>-2.8776799999999998</c:v>
                </c:pt>
                <c:pt idx="4302">
                  <c:v>-2.8948999999999998</c:v>
                </c:pt>
                <c:pt idx="4303">
                  <c:v>-2.5988099999999998</c:v>
                </c:pt>
                <c:pt idx="4304">
                  <c:v>-2.2470599999999998</c:v>
                </c:pt>
                <c:pt idx="4305">
                  <c:v>#N/A</c:v>
                </c:pt>
                <c:pt idx="4306">
                  <c:v>-1.7968</c:v>
                </c:pt>
                <c:pt idx="4307">
                  <c:v>-2.0829200000000001</c:v>
                </c:pt>
                <c:pt idx="4308">
                  <c:v>-1.7899499999999999</c:v>
                </c:pt>
                <c:pt idx="4309">
                  <c:v>#N/A</c:v>
                </c:pt>
                <c:pt idx="4310">
                  <c:v>-1.93818</c:v>
                </c:pt>
                <c:pt idx="4311">
                  <c:v>-2.0064600000000001</c:v>
                </c:pt>
                <c:pt idx="4312">
                  <c:v>-1.3063199999999999</c:v>
                </c:pt>
                <c:pt idx="4313">
                  <c:v>#N/A</c:v>
                </c:pt>
                <c:pt idx="4314">
                  <c:v>-0.81096900000000005</c:v>
                </c:pt>
                <c:pt idx="4315">
                  <c:v>-1.02929</c:v>
                </c:pt>
                <c:pt idx="4316">
                  <c:v>-1.41194</c:v>
                </c:pt>
                <c:pt idx="4317">
                  <c:v>-1.7313099999999999</c:v>
                </c:pt>
                <c:pt idx="4318">
                  <c:v>#N/A</c:v>
                </c:pt>
                <c:pt idx="4319">
                  <c:v>-2.0324599999999999</c:v>
                </c:pt>
                <c:pt idx="4320">
                  <c:v>-2.44936</c:v>
                </c:pt>
                <c:pt idx="4321">
                  <c:v>-2.6752600000000002</c:v>
                </c:pt>
                <c:pt idx="4322">
                  <c:v>-2.4984299999999999</c:v>
                </c:pt>
                <c:pt idx="4323">
                  <c:v>#N/A</c:v>
                </c:pt>
                <c:pt idx="4324">
                  <c:v>-2.4525000000000001</c:v>
                </c:pt>
                <c:pt idx="4325">
                  <c:v>-2.6644399999999999</c:v>
                </c:pt>
                <c:pt idx="4326">
                  <c:v>-2.8085599999999999</c:v>
                </c:pt>
                <c:pt idx="4327">
                  <c:v>#N/A</c:v>
                </c:pt>
                <c:pt idx="4328">
                  <c:v>-3.2071800000000001</c:v>
                </c:pt>
                <c:pt idx="4329">
                  <c:v>#N/A</c:v>
                </c:pt>
                <c:pt idx="4330">
                  <c:v>-2.7638699999999998</c:v>
                </c:pt>
                <c:pt idx="4331">
                  <c:v>-2.5658699999999999</c:v>
                </c:pt>
                <c:pt idx="4332">
                  <c:v>-2.1345800000000001</c:v>
                </c:pt>
                <c:pt idx="4333">
                  <c:v>#N/A</c:v>
                </c:pt>
                <c:pt idx="4334">
                  <c:v>-1.5442400000000001</c:v>
                </c:pt>
                <c:pt idx="4335">
                  <c:v>-1.4924500000000001</c:v>
                </c:pt>
                <c:pt idx="4336">
                  <c:v>-1.7044999999999999</c:v>
                </c:pt>
                <c:pt idx="4337">
                  <c:v>-1.7656400000000001</c:v>
                </c:pt>
                <c:pt idx="4338">
                  <c:v>#N/A</c:v>
                </c:pt>
                <c:pt idx="4339">
                  <c:v>-2.0507300000000002</c:v>
                </c:pt>
                <c:pt idx="4340">
                  <c:v>-2.2835000000000001</c:v>
                </c:pt>
                <c:pt idx="4341">
                  <c:v>-2.0317799999999999</c:v>
                </c:pt>
                <c:pt idx="4342">
                  <c:v>#N/A</c:v>
                </c:pt>
                <c:pt idx="4343">
                  <c:v>-2.0938699999999999</c:v>
                </c:pt>
                <c:pt idx="4344">
                  <c:v>-1.8509599999999999</c:v>
                </c:pt>
                <c:pt idx="4345">
                  <c:v>-2.3355700000000001</c:v>
                </c:pt>
                <c:pt idx="4346">
                  <c:v>-2.17178</c:v>
                </c:pt>
                <c:pt idx="4347">
                  <c:v>#N/A</c:v>
                </c:pt>
                <c:pt idx="4348">
                  <c:v>-2.4558200000000001</c:v>
                </c:pt>
                <c:pt idx="4349">
                  <c:v>-2.9372600000000002</c:v>
                </c:pt>
                <c:pt idx="4350">
                  <c:v>-2.92726</c:v>
                </c:pt>
                <c:pt idx="4351">
                  <c:v>-1.8437300000000001</c:v>
                </c:pt>
                <c:pt idx="4352">
                  <c:v>#N/A</c:v>
                </c:pt>
                <c:pt idx="4353">
                  <c:v>-2.1382400000000001</c:v>
                </c:pt>
                <c:pt idx="4354">
                  <c:v>-1.7078599999999999</c:v>
                </c:pt>
                <c:pt idx="4355">
                  <c:v>-2.0579299999999998</c:v>
                </c:pt>
                <c:pt idx="4356">
                  <c:v>#N/A</c:v>
                </c:pt>
                <c:pt idx="4357">
                  <c:v>-1.8349200000000001</c:v>
                </c:pt>
                <c:pt idx="4358">
                  <c:v>-2.16066</c:v>
                </c:pt>
                <c:pt idx="4359">
                  <c:v>-1.5442499999999999</c:v>
                </c:pt>
                <c:pt idx="4360">
                  <c:v>-1.9434800000000001</c:v>
                </c:pt>
                <c:pt idx="4361">
                  <c:v>#N/A</c:v>
                </c:pt>
                <c:pt idx="4362">
                  <c:v>-1.9669700000000001</c:v>
                </c:pt>
                <c:pt idx="4363">
                  <c:v>-2.1431499999999999</c:v>
                </c:pt>
                <c:pt idx="4364">
                  <c:v>-2.0571299999999999</c:v>
                </c:pt>
                <c:pt idx="4365">
                  <c:v>#N/A</c:v>
                </c:pt>
                <c:pt idx="4366">
                  <c:v>-2.31027</c:v>
                </c:pt>
                <c:pt idx="4367">
                  <c:v>-1.9926299999999999</c:v>
                </c:pt>
                <c:pt idx="4368">
                  <c:v>-2.1798099999999998</c:v>
                </c:pt>
                <c:pt idx="4369">
                  <c:v>-2.1537199999999999</c:v>
                </c:pt>
                <c:pt idx="4370">
                  <c:v>#N/A</c:v>
                </c:pt>
                <c:pt idx="4371">
                  <c:v>-2.2427700000000002</c:v>
                </c:pt>
                <c:pt idx="4372">
                  <c:v>-2.0778099999999999</c:v>
                </c:pt>
                <c:pt idx="4373">
                  <c:v>-1.383</c:v>
                </c:pt>
                <c:pt idx="4374">
                  <c:v>#N/A</c:v>
                </c:pt>
                <c:pt idx="4375">
                  <c:v>-1.9649700000000001</c:v>
                </c:pt>
                <c:pt idx="4376">
                  <c:v>-1.89882</c:v>
                </c:pt>
                <c:pt idx="4377">
                  <c:v>-2.0032399999999999</c:v>
                </c:pt>
                <c:pt idx="4378">
                  <c:v>-2.0198399999999999</c:v>
                </c:pt>
                <c:pt idx="4379">
                  <c:v>#N/A</c:v>
                </c:pt>
                <c:pt idx="4380">
                  <c:v>-2.1446499999999999</c:v>
                </c:pt>
                <c:pt idx="4381">
                  <c:v>-2.3583099999999999</c:v>
                </c:pt>
                <c:pt idx="4382">
                  <c:v>-1.87354</c:v>
                </c:pt>
                <c:pt idx="4383">
                  <c:v>#N/A</c:v>
                </c:pt>
                <c:pt idx="4384">
                  <c:v>-1.94411</c:v>
                </c:pt>
                <c:pt idx="4385">
                  <c:v>-2.34178</c:v>
                </c:pt>
                <c:pt idx="4386">
                  <c:v>-2.1442999999999999</c:v>
                </c:pt>
                <c:pt idx="4387">
                  <c:v>-2.4976699999999998</c:v>
                </c:pt>
                <c:pt idx="4388">
                  <c:v>#N/A</c:v>
                </c:pt>
                <c:pt idx="4389">
                  <c:v>-2.3137400000000001</c:v>
                </c:pt>
                <c:pt idx="4390">
                  <c:v>-1.7832300000000001</c:v>
                </c:pt>
                <c:pt idx="4391">
                  <c:v>-1.9956499999999999</c:v>
                </c:pt>
                <c:pt idx="4392">
                  <c:v>#N/A</c:v>
                </c:pt>
                <c:pt idx="4393">
                  <c:v>-1.5902400000000001</c:v>
                </c:pt>
                <c:pt idx="4394">
                  <c:v>-1.6976599999999999</c:v>
                </c:pt>
                <c:pt idx="4395">
                  <c:v>-1.5832200000000001</c:v>
                </c:pt>
                <c:pt idx="4396">
                  <c:v>-1.52474</c:v>
                </c:pt>
                <c:pt idx="4397">
                  <c:v>#N/A</c:v>
                </c:pt>
                <c:pt idx="4398">
                  <c:v>-2.2393299999999998</c:v>
                </c:pt>
                <c:pt idx="4399">
                  <c:v>#N/A</c:v>
                </c:pt>
                <c:pt idx="4400">
                  <c:v>-2.10867</c:v>
                </c:pt>
                <c:pt idx="4401">
                  <c:v>-2.2388599999999999</c:v>
                </c:pt>
                <c:pt idx="4402">
                  <c:v>#N/A</c:v>
                </c:pt>
                <c:pt idx="4403">
                  <c:v>-2.1632500000000001</c:v>
                </c:pt>
                <c:pt idx="4404">
                  <c:v>-2.1202100000000002</c:v>
                </c:pt>
                <c:pt idx="4405">
                  <c:v>#N/A</c:v>
                </c:pt>
                <c:pt idx="4406">
                  <c:v>-1.9916499999999999</c:v>
                </c:pt>
                <c:pt idx="4407">
                  <c:v>-2.43187</c:v>
                </c:pt>
                <c:pt idx="4408">
                  <c:v>-2.8039399999999999</c:v>
                </c:pt>
                <c:pt idx="4409">
                  <c:v>-2.38835</c:v>
                </c:pt>
                <c:pt idx="4410">
                  <c:v>#N/A</c:v>
                </c:pt>
                <c:pt idx="4411">
                  <c:v>-2.4431500000000002</c:v>
                </c:pt>
                <c:pt idx="4412">
                  <c:v>-2.1543600000000001</c:v>
                </c:pt>
                <c:pt idx="4413">
                  <c:v>-1.2698400000000001</c:v>
                </c:pt>
                <c:pt idx="4414">
                  <c:v>#N/A</c:v>
                </c:pt>
                <c:pt idx="4415">
                  <c:v>-1.24397</c:v>
                </c:pt>
                <c:pt idx="4416">
                  <c:v>-1.5343500000000001</c:v>
                </c:pt>
                <c:pt idx="4417">
                  <c:v>-2.2336</c:v>
                </c:pt>
                <c:pt idx="4418">
                  <c:v>-1.54742</c:v>
                </c:pt>
                <c:pt idx="4419">
                  <c:v>#N/A</c:v>
                </c:pt>
                <c:pt idx="4420">
                  <c:v>-1.9805600000000001</c:v>
                </c:pt>
                <c:pt idx="4421">
                  <c:v>-2.0802800000000001</c:v>
                </c:pt>
                <c:pt idx="4422">
                  <c:v>-1.8906000000000001</c:v>
                </c:pt>
                <c:pt idx="4423">
                  <c:v>#N/A</c:v>
                </c:pt>
                <c:pt idx="4424">
                  <c:v>-1.7630600000000001</c:v>
                </c:pt>
                <c:pt idx="4425">
                  <c:v>-2.10507</c:v>
                </c:pt>
                <c:pt idx="4426">
                  <c:v>-2.0635599999999998</c:v>
                </c:pt>
                <c:pt idx="4427">
                  <c:v>-2.4138500000000001</c:v>
                </c:pt>
                <c:pt idx="4428">
                  <c:v>#N/A</c:v>
                </c:pt>
                <c:pt idx="4429">
                  <c:v>-2.5581399999999999</c:v>
                </c:pt>
                <c:pt idx="4430">
                  <c:v>-2.1355599999999999</c:v>
                </c:pt>
                <c:pt idx="4431">
                  <c:v>-1.9600299999999999</c:v>
                </c:pt>
                <c:pt idx="4432">
                  <c:v>#N/A</c:v>
                </c:pt>
                <c:pt idx="4433">
                  <c:v>-1.36564</c:v>
                </c:pt>
                <c:pt idx="4434">
                  <c:v>-1.9798199999999999</c:v>
                </c:pt>
                <c:pt idx="4435">
                  <c:v>-1.4384699999999999</c:v>
                </c:pt>
                <c:pt idx="4436">
                  <c:v>#N/A</c:v>
                </c:pt>
                <c:pt idx="4437">
                  <c:v>-1.51031</c:v>
                </c:pt>
                <c:pt idx="4438">
                  <c:v>-1.9426699999999999</c:v>
                </c:pt>
                <c:pt idx="4439">
                  <c:v>-2.3523999999999998</c:v>
                </c:pt>
                <c:pt idx="4440">
                  <c:v>-2.2492999999999999</c:v>
                </c:pt>
                <c:pt idx="4441">
                  <c:v>#N/A</c:v>
                </c:pt>
                <c:pt idx="4442">
                  <c:v>-1.9615400000000001</c:v>
                </c:pt>
                <c:pt idx="4443">
                  <c:v>-1.8520000000000001</c:v>
                </c:pt>
                <c:pt idx="4444">
                  <c:v>-2.0169999999999999</c:v>
                </c:pt>
                <c:pt idx="4445">
                  <c:v>-2.5457900000000002</c:v>
                </c:pt>
                <c:pt idx="4446">
                  <c:v>#N/A</c:v>
                </c:pt>
                <c:pt idx="4447">
                  <c:v>-2.4899100000000001</c:v>
                </c:pt>
                <c:pt idx="4448">
                  <c:v>-1.9486300000000001</c:v>
                </c:pt>
                <c:pt idx="4449">
                  <c:v>-1.9474</c:v>
                </c:pt>
                <c:pt idx="4450">
                  <c:v>#N/A</c:v>
                </c:pt>
                <c:pt idx="4451">
                  <c:v>-2.0172400000000001</c:v>
                </c:pt>
                <c:pt idx="4452">
                  <c:v>-1.76166</c:v>
                </c:pt>
                <c:pt idx="4453">
                  <c:v>-1.50956</c:v>
                </c:pt>
                <c:pt idx="4454">
                  <c:v>#N/A</c:v>
                </c:pt>
                <c:pt idx="4455">
                  <c:v>-1.67845</c:v>
                </c:pt>
                <c:pt idx="4456">
                  <c:v>-2.2854000000000001</c:v>
                </c:pt>
                <c:pt idx="4457">
                  <c:v>-2.1655000000000002</c:v>
                </c:pt>
                <c:pt idx="4458">
                  <c:v>-2.2018200000000001</c:v>
                </c:pt>
                <c:pt idx="4459">
                  <c:v>#N/A</c:v>
                </c:pt>
                <c:pt idx="4460">
                  <c:v>-1.7135100000000001</c:v>
                </c:pt>
                <c:pt idx="4461">
                  <c:v>-1.8401700000000001</c:v>
                </c:pt>
                <c:pt idx="4462">
                  <c:v>-1.47401</c:v>
                </c:pt>
                <c:pt idx="4463">
                  <c:v>#N/A</c:v>
                </c:pt>
                <c:pt idx="4464">
                  <c:v>-1.8804700000000001</c:v>
                </c:pt>
                <c:pt idx="4465">
                  <c:v>-2.65482</c:v>
                </c:pt>
                <c:pt idx="4466">
                  <c:v>-2.5338799999999999</c:v>
                </c:pt>
                <c:pt idx="4467">
                  <c:v>-2.5715499999999998</c:v>
                </c:pt>
                <c:pt idx="4468">
                  <c:v>#N/A</c:v>
                </c:pt>
                <c:pt idx="4469">
                  <c:v>-2.5703900000000002</c:v>
                </c:pt>
                <c:pt idx="4470">
                  <c:v>-2.1905999999999999</c:v>
                </c:pt>
                <c:pt idx="4471">
                  <c:v>#N/A</c:v>
                </c:pt>
                <c:pt idx="4472">
                  <c:v>-1.7445200000000001</c:v>
                </c:pt>
                <c:pt idx="4473">
                  <c:v>-1.40591</c:v>
                </c:pt>
                <c:pt idx="4474">
                  <c:v>-1.6283799999999999</c:v>
                </c:pt>
                <c:pt idx="4475">
                  <c:v>#N/A</c:v>
                </c:pt>
                <c:pt idx="4476">
                  <c:v>-1.9081999999999999</c:v>
                </c:pt>
                <c:pt idx="4477">
                  <c:v>-1.84232</c:v>
                </c:pt>
                <c:pt idx="4478">
                  <c:v>-1.7428600000000001</c:v>
                </c:pt>
                <c:pt idx="4479">
                  <c:v>#N/A</c:v>
                </c:pt>
                <c:pt idx="4480">
                  <c:v>-2.03335</c:v>
                </c:pt>
                <c:pt idx="4481">
                  <c:v>-1.91967</c:v>
                </c:pt>
                <c:pt idx="4482">
                  <c:v>-1.87842</c:v>
                </c:pt>
                <c:pt idx="4483">
                  <c:v>-1.5248699999999999</c:v>
                </c:pt>
                <c:pt idx="4484">
                  <c:v>#N/A</c:v>
                </c:pt>
                <c:pt idx="4485">
                  <c:v>-1.95841</c:v>
                </c:pt>
                <c:pt idx="4486">
                  <c:v>-1.9260299999999999</c:v>
                </c:pt>
                <c:pt idx="4487">
                  <c:v>-2.28139</c:v>
                </c:pt>
                <c:pt idx="4488">
                  <c:v>#N/A</c:v>
                </c:pt>
                <c:pt idx="4489">
                  <c:v>-2.3325200000000001</c:v>
                </c:pt>
                <c:pt idx="4490">
                  <c:v>-1.7387600000000001</c:v>
                </c:pt>
                <c:pt idx="4491">
                  <c:v>-1.825</c:v>
                </c:pt>
                <c:pt idx="4492">
                  <c:v>-1.6380600000000001</c:v>
                </c:pt>
                <c:pt idx="4493">
                  <c:v>#N/A</c:v>
                </c:pt>
                <c:pt idx="4494">
                  <c:v>-1.9291700000000001</c:v>
                </c:pt>
                <c:pt idx="4495">
                  <c:v>-1.5531299999999999</c:v>
                </c:pt>
                <c:pt idx="4496">
                  <c:v>-2.1506400000000001</c:v>
                </c:pt>
                <c:pt idx="4497">
                  <c:v>#N/A</c:v>
                </c:pt>
                <c:pt idx="4498">
                  <c:v>-1.889</c:v>
                </c:pt>
                <c:pt idx="4499">
                  <c:v>-2.34233</c:v>
                </c:pt>
                <c:pt idx="4500">
                  <c:v>-1.93567</c:v>
                </c:pt>
                <c:pt idx="4501">
                  <c:v>-2.0242200000000001</c:v>
                </c:pt>
                <c:pt idx="4502">
                  <c:v>#N/A</c:v>
                </c:pt>
                <c:pt idx="4503">
                  <c:v>-2.0978500000000002</c:v>
                </c:pt>
                <c:pt idx="4504">
                  <c:v>-2.0560399999999999</c:v>
                </c:pt>
                <c:pt idx="4505">
                  <c:v>-1.8854599999999999</c:v>
                </c:pt>
                <c:pt idx="4506">
                  <c:v>#N/A</c:v>
                </c:pt>
                <c:pt idx="4507">
                  <c:v>-2.51756</c:v>
                </c:pt>
                <c:pt idx="4508">
                  <c:v>-2.3535699999999999</c:v>
                </c:pt>
                <c:pt idx="4509">
                  <c:v>-2.2855400000000001</c:v>
                </c:pt>
                <c:pt idx="4510">
                  <c:v>-2.5706600000000002</c:v>
                </c:pt>
                <c:pt idx="4511">
                  <c:v>#N/A</c:v>
                </c:pt>
                <c:pt idx="4512">
                  <c:v>-1.76535</c:v>
                </c:pt>
                <c:pt idx="4513">
                  <c:v>-1.53173</c:v>
                </c:pt>
                <c:pt idx="4514">
                  <c:v>-1.55986</c:v>
                </c:pt>
                <c:pt idx="4515">
                  <c:v>#N/A</c:v>
                </c:pt>
                <c:pt idx="4516">
                  <c:v>-2.08324</c:v>
                </c:pt>
                <c:pt idx="4517">
                  <c:v>-2.0612300000000001</c:v>
                </c:pt>
                <c:pt idx="4518">
                  <c:v>-2.2749000000000001</c:v>
                </c:pt>
                <c:pt idx="4519">
                  <c:v>-2.0455199999999998</c:v>
                </c:pt>
                <c:pt idx="4520">
                  <c:v>#N/A</c:v>
                </c:pt>
                <c:pt idx="4521">
                  <c:v>-2.1524999999999999</c:v>
                </c:pt>
                <c:pt idx="4522">
                  <c:v>-2.0991499999999998</c:v>
                </c:pt>
                <c:pt idx="4523">
                  <c:v>-2.3599199999999998</c:v>
                </c:pt>
                <c:pt idx="4524">
                  <c:v>#N/A</c:v>
                </c:pt>
                <c:pt idx="4525">
                  <c:v>-2.3902100000000002</c:v>
                </c:pt>
                <c:pt idx="4526">
                  <c:v>-2.75604</c:v>
                </c:pt>
                <c:pt idx="4527">
                  <c:v>-2.61069</c:v>
                </c:pt>
                <c:pt idx="4528">
                  <c:v>#N/A</c:v>
                </c:pt>
                <c:pt idx="4529">
                  <c:v>-2.43737</c:v>
                </c:pt>
                <c:pt idx="4530">
                  <c:v>-2.3823699999999999</c:v>
                </c:pt>
                <c:pt idx="4531">
                  <c:v>-1.9671799999999999</c:v>
                </c:pt>
                <c:pt idx="4532">
                  <c:v>#N/A</c:v>
                </c:pt>
                <c:pt idx="4533">
                  <c:v>-1.4812399999999999</c:v>
                </c:pt>
                <c:pt idx="4534">
                  <c:v>-2.1029599999999999</c:v>
                </c:pt>
                <c:pt idx="4535">
                  <c:v>-2.0814900000000001</c:v>
                </c:pt>
                <c:pt idx="4536">
                  <c:v>-2.0780599999999998</c:v>
                </c:pt>
                <c:pt idx="4537">
                  <c:v>#N/A</c:v>
                </c:pt>
                <c:pt idx="4538">
                  <c:v>-1.96166</c:v>
                </c:pt>
                <c:pt idx="4539">
                  <c:v>-2.4169399999999999</c:v>
                </c:pt>
                <c:pt idx="4540">
                  <c:v>-2.34775</c:v>
                </c:pt>
                <c:pt idx="4541">
                  <c:v>#N/A</c:v>
                </c:pt>
                <c:pt idx="4542">
                  <c:v>-2.1791700000000001</c:v>
                </c:pt>
                <c:pt idx="4543">
                  <c:v>-2.27319</c:v>
                </c:pt>
                <c:pt idx="4544">
                  <c:v>-2.3828800000000001</c:v>
                </c:pt>
                <c:pt idx="4545">
                  <c:v>-2.6585899999999998</c:v>
                </c:pt>
                <c:pt idx="4546">
                  <c:v>#N/A</c:v>
                </c:pt>
                <c:pt idx="4547">
                  <c:v>-2.50745</c:v>
                </c:pt>
                <c:pt idx="4548">
                  <c:v>-2.6362199999999998</c:v>
                </c:pt>
                <c:pt idx="4549">
                  <c:v>-2.07674</c:v>
                </c:pt>
                <c:pt idx="4550">
                  <c:v>#N/A</c:v>
                </c:pt>
                <c:pt idx="4551">
                  <c:v>-2.2847499999999998</c:v>
                </c:pt>
                <c:pt idx="4552">
                  <c:v>-2.1951499999999999</c:v>
                </c:pt>
                <c:pt idx="4553">
                  <c:v>-1.9997799999999999</c:v>
                </c:pt>
                <c:pt idx="4554">
                  <c:v>#N/A</c:v>
                </c:pt>
                <c:pt idx="4555">
                  <c:v>-2.0590099999999998</c:v>
                </c:pt>
                <c:pt idx="4556">
                  <c:v>-2.3559199999999998</c:v>
                </c:pt>
                <c:pt idx="4557">
                  <c:v>-2.58846</c:v>
                </c:pt>
                <c:pt idx="4558">
                  <c:v>-2.0686399999999998</c:v>
                </c:pt>
                <c:pt idx="4559">
                  <c:v>#N/A</c:v>
                </c:pt>
                <c:pt idx="4560">
                  <c:v>-2.28294</c:v>
                </c:pt>
                <c:pt idx="4561">
                  <c:v>-2.7101600000000001</c:v>
                </c:pt>
                <c:pt idx="4562">
                  <c:v>-2.4872399999999999</c:v>
                </c:pt>
                <c:pt idx="4563">
                  <c:v>#N/A</c:v>
                </c:pt>
                <c:pt idx="4564">
                  <c:v>-2.3502100000000001</c:v>
                </c:pt>
                <c:pt idx="4565">
                  <c:v>-2.6941999999999999</c:v>
                </c:pt>
                <c:pt idx="4566">
                  <c:v>-2.49926</c:v>
                </c:pt>
                <c:pt idx="4567">
                  <c:v>-2.4930699999999999</c:v>
                </c:pt>
                <c:pt idx="4568">
                  <c:v>#N/A</c:v>
                </c:pt>
                <c:pt idx="4569">
                  <c:v>-2.3302100000000001</c:v>
                </c:pt>
                <c:pt idx="4570">
                  <c:v>-2.6981299999999999</c:v>
                </c:pt>
                <c:pt idx="4571">
                  <c:v>-2.0894300000000001</c:v>
                </c:pt>
                <c:pt idx="4572">
                  <c:v>-2.23793</c:v>
                </c:pt>
                <c:pt idx="4573">
                  <c:v>#N/A</c:v>
                </c:pt>
                <c:pt idx="4574">
                  <c:v>-2.27643</c:v>
                </c:pt>
                <c:pt idx="4575">
                  <c:v>-2.6006399999999998</c:v>
                </c:pt>
                <c:pt idx="4576">
                  <c:v>-1.98454</c:v>
                </c:pt>
                <c:pt idx="4577">
                  <c:v>#N/A</c:v>
                </c:pt>
                <c:pt idx="4578">
                  <c:v>-2.48278</c:v>
                </c:pt>
                <c:pt idx="4579">
                  <c:v>-2.4859599999999999</c:v>
                </c:pt>
                <c:pt idx="4580">
                  <c:v>-2.9123700000000001</c:v>
                </c:pt>
                <c:pt idx="4581">
                  <c:v>#N/A</c:v>
                </c:pt>
                <c:pt idx="4582">
                  <c:v>-2.65842</c:v>
                </c:pt>
                <c:pt idx="4583">
                  <c:v>-2.1652999999999998</c:v>
                </c:pt>
                <c:pt idx="4584">
                  <c:v>-2.7471199999999998</c:v>
                </c:pt>
                <c:pt idx="4585">
                  <c:v>-2.3613499999999998</c:v>
                </c:pt>
                <c:pt idx="4586">
                  <c:v>#N/A</c:v>
                </c:pt>
                <c:pt idx="4587">
                  <c:v>-2.63313</c:v>
                </c:pt>
                <c:pt idx="4588">
                  <c:v>-2.28877</c:v>
                </c:pt>
                <c:pt idx="4589">
                  <c:v>-2.2581000000000002</c:v>
                </c:pt>
                <c:pt idx="4590">
                  <c:v>#N/A</c:v>
                </c:pt>
                <c:pt idx="4591">
                  <c:v>-2.1754500000000001</c:v>
                </c:pt>
                <c:pt idx="4592">
                  <c:v>-2.3557600000000001</c:v>
                </c:pt>
                <c:pt idx="4593">
                  <c:v>-1.9319599999999999</c:v>
                </c:pt>
                <c:pt idx="4594">
                  <c:v>-2.02406</c:v>
                </c:pt>
                <c:pt idx="4595">
                  <c:v>#N/A</c:v>
                </c:pt>
                <c:pt idx="4596">
                  <c:v>-2.2703799999999998</c:v>
                </c:pt>
                <c:pt idx="4597">
                  <c:v>-2.4716900000000002</c:v>
                </c:pt>
                <c:pt idx="4598">
                  <c:v>-2.4262000000000001</c:v>
                </c:pt>
                <c:pt idx="4599">
                  <c:v>#N/A</c:v>
                </c:pt>
                <c:pt idx="4600">
                  <c:v>-2.5629200000000001</c:v>
                </c:pt>
                <c:pt idx="4601">
                  <c:v>-2.3739300000000001</c:v>
                </c:pt>
                <c:pt idx="4602">
                  <c:v>-2.2705799999999998</c:v>
                </c:pt>
                <c:pt idx="4603">
                  <c:v>-2.2366199999999998</c:v>
                </c:pt>
                <c:pt idx="4604">
                  <c:v>#N/A</c:v>
                </c:pt>
                <c:pt idx="4605">
                  <c:v>-2.22553</c:v>
                </c:pt>
                <c:pt idx="4606">
                  <c:v>-2.45566</c:v>
                </c:pt>
                <c:pt idx="4607">
                  <c:v>-3.24037</c:v>
                </c:pt>
                <c:pt idx="4608">
                  <c:v>#N/A</c:v>
                </c:pt>
                <c:pt idx="4609">
                  <c:v>-2.92353</c:v>
                </c:pt>
                <c:pt idx="4610">
                  <c:v>-2.78085</c:v>
                </c:pt>
                <c:pt idx="4611">
                  <c:v>-2.2816999999999998</c:v>
                </c:pt>
                <c:pt idx="4612">
                  <c:v>#N/A</c:v>
                </c:pt>
                <c:pt idx="4613">
                  <c:v>-2.01023</c:v>
                </c:pt>
                <c:pt idx="4614">
                  <c:v>#N/A</c:v>
                </c:pt>
                <c:pt idx="4615">
                  <c:v>-2.0609700000000002</c:v>
                </c:pt>
                <c:pt idx="4616">
                  <c:v>#N/A</c:v>
                </c:pt>
                <c:pt idx="4617">
                  <c:v>-2.6100099999999999</c:v>
                </c:pt>
                <c:pt idx="4618">
                  <c:v>-2.6111800000000001</c:v>
                </c:pt>
                <c:pt idx="4619">
                  <c:v>-2.24804</c:v>
                </c:pt>
                <c:pt idx="4620">
                  <c:v>-2.2772299999999999</c:v>
                </c:pt>
                <c:pt idx="4621">
                  <c:v>#N/A</c:v>
                </c:pt>
                <c:pt idx="4622">
                  <c:v>-2.23447</c:v>
                </c:pt>
                <c:pt idx="4623">
                  <c:v>-2.2926899999999999</c:v>
                </c:pt>
                <c:pt idx="4624">
                  <c:v>#N/A</c:v>
                </c:pt>
                <c:pt idx="4625">
                  <c:v>-2.6710400000000001</c:v>
                </c:pt>
                <c:pt idx="4626">
                  <c:v>-2.3001100000000001</c:v>
                </c:pt>
                <c:pt idx="4627">
                  <c:v>-2.8466100000000001</c:v>
                </c:pt>
                <c:pt idx="4628">
                  <c:v>-2.4749400000000001</c:v>
                </c:pt>
                <c:pt idx="4629">
                  <c:v>#N/A</c:v>
                </c:pt>
                <c:pt idx="4630">
                  <c:v>-2.6917599999999999</c:v>
                </c:pt>
                <c:pt idx="4631">
                  <c:v>-2.1142500000000002</c:v>
                </c:pt>
                <c:pt idx="4632">
                  <c:v>-2.0628899999999999</c:v>
                </c:pt>
                <c:pt idx="4633">
                  <c:v>-2.3855200000000001</c:v>
                </c:pt>
                <c:pt idx="4634">
                  <c:v>#N/A</c:v>
                </c:pt>
                <c:pt idx="4635">
                  <c:v>-2.23902</c:v>
                </c:pt>
                <c:pt idx="4636">
                  <c:v>-2.3656899999999998</c:v>
                </c:pt>
                <c:pt idx="4637">
                  <c:v>-2.5535299999999999</c:v>
                </c:pt>
                <c:pt idx="4638">
                  <c:v>#N/A</c:v>
                </c:pt>
                <c:pt idx="4639">
                  <c:v>-2.9117999999999999</c:v>
                </c:pt>
                <c:pt idx="4640">
                  <c:v>-2.94028</c:v>
                </c:pt>
                <c:pt idx="4641">
                  <c:v>-2.4786100000000002</c:v>
                </c:pt>
                <c:pt idx="4642">
                  <c:v>#N/A</c:v>
                </c:pt>
                <c:pt idx="4643">
                  <c:v>-2.5487799999999998</c:v>
                </c:pt>
                <c:pt idx="4644">
                  <c:v>-2.5139300000000002</c:v>
                </c:pt>
                <c:pt idx="4645">
                  <c:v>-2.7240700000000002</c:v>
                </c:pt>
                <c:pt idx="4646">
                  <c:v>-2.9683999999999999</c:v>
                </c:pt>
                <c:pt idx="4647">
                  <c:v>#N/A</c:v>
                </c:pt>
                <c:pt idx="4648">
                  <c:v>-3.2799399999999999</c:v>
                </c:pt>
                <c:pt idx="4649">
                  <c:v>-3.0924399999999999</c:v>
                </c:pt>
                <c:pt idx="4650">
                  <c:v>#N/A</c:v>
                </c:pt>
                <c:pt idx="4651">
                  <c:v>-2.1697099999999998</c:v>
                </c:pt>
                <c:pt idx="4652">
                  <c:v>-2.0879699999999999</c:v>
                </c:pt>
                <c:pt idx="4653">
                  <c:v>-2.0227900000000001</c:v>
                </c:pt>
                <c:pt idx="4654">
                  <c:v>#N/A</c:v>
                </c:pt>
                <c:pt idx="4655">
                  <c:v>-2.0965799999999999</c:v>
                </c:pt>
                <c:pt idx="4656">
                  <c:v>-2.1131500000000001</c:v>
                </c:pt>
                <c:pt idx="4657">
                  <c:v>-2.8431700000000002</c:v>
                </c:pt>
                <c:pt idx="4658">
                  <c:v>-3.04766</c:v>
                </c:pt>
                <c:pt idx="4659">
                  <c:v>#N/A</c:v>
                </c:pt>
                <c:pt idx="4660">
                  <c:v>-3.0812200000000001</c:v>
                </c:pt>
                <c:pt idx="4661">
                  <c:v>-2.4339900000000001</c:v>
                </c:pt>
                <c:pt idx="4662">
                  <c:v>-2.6492800000000001</c:v>
                </c:pt>
                <c:pt idx="4663">
                  <c:v>#N/A</c:v>
                </c:pt>
                <c:pt idx="4664">
                  <c:v>-2.5005099999999998</c:v>
                </c:pt>
                <c:pt idx="4665">
                  <c:v>-2.99437</c:v>
                </c:pt>
                <c:pt idx="4666">
                  <c:v>-2.9370699999999998</c:v>
                </c:pt>
                <c:pt idx="4667">
                  <c:v>#N/A</c:v>
                </c:pt>
                <c:pt idx="4668">
                  <c:v>-2.8017500000000002</c:v>
                </c:pt>
                <c:pt idx="4669">
                  <c:v>-2.4647000000000001</c:v>
                </c:pt>
                <c:pt idx="4670">
                  <c:v>-2.8682799999999999</c:v>
                </c:pt>
                <c:pt idx="4671">
                  <c:v>-2.83873</c:v>
                </c:pt>
                <c:pt idx="4672">
                  <c:v>#N/A</c:v>
                </c:pt>
                <c:pt idx="4673">
                  <c:v>-2.1210800000000001</c:v>
                </c:pt>
                <c:pt idx="4674">
                  <c:v>-2.3490500000000001</c:v>
                </c:pt>
                <c:pt idx="4675">
                  <c:v>-2.5166599999999999</c:v>
                </c:pt>
                <c:pt idx="4676">
                  <c:v>#N/A</c:v>
                </c:pt>
                <c:pt idx="4677">
                  <c:v>-2.80816</c:v>
                </c:pt>
                <c:pt idx="4678">
                  <c:v>-2.54366</c:v>
                </c:pt>
                <c:pt idx="4679">
                  <c:v>-2.7743500000000001</c:v>
                </c:pt>
                <c:pt idx="4680">
                  <c:v>-2.9966400000000002</c:v>
                </c:pt>
                <c:pt idx="4681">
                  <c:v>#N/A</c:v>
                </c:pt>
                <c:pt idx="4682">
                  <c:v>-2.6854900000000002</c:v>
                </c:pt>
                <c:pt idx="4683">
                  <c:v>-2.4186000000000001</c:v>
                </c:pt>
                <c:pt idx="4684">
                  <c:v>-2.5398900000000002</c:v>
                </c:pt>
                <c:pt idx="4685">
                  <c:v>#N/A</c:v>
                </c:pt>
                <c:pt idx="4686">
                  <c:v>-2.36205</c:v>
                </c:pt>
                <c:pt idx="4687">
                  <c:v>-2.6545700000000001</c:v>
                </c:pt>
                <c:pt idx="4688">
                  <c:v>#N/A</c:v>
                </c:pt>
                <c:pt idx="4689">
                  <c:v>-3.1813600000000002</c:v>
                </c:pt>
                <c:pt idx="4690">
                  <c:v>-2.7835399999999999</c:v>
                </c:pt>
                <c:pt idx="4691">
                  <c:v>-3.0064199999999999</c:v>
                </c:pt>
                <c:pt idx="4692">
                  <c:v>#N/A</c:v>
                </c:pt>
                <c:pt idx="4693">
                  <c:v>-2.2804099999999998</c:v>
                </c:pt>
                <c:pt idx="4694">
                  <c:v>-2.4487399999999999</c:v>
                </c:pt>
                <c:pt idx="4695">
                  <c:v>-2.35453</c:v>
                </c:pt>
                <c:pt idx="4696">
                  <c:v>#N/A</c:v>
                </c:pt>
                <c:pt idx="4697">
                  <c:v>-3.2719200000000002</c:v>
                </c:pt>
                <c:pt idx="4698">
                  <c:v>-3.2394400000000001</c:v>
                </c:pt>
                <c:pt idx="4699">
                  <c:v>-3.1498900000000001</c:v>
                </c:pt>
                <c:pt idx="4700">
                  <c:v>#N/A</c:v>
                </c:pt>
                <c:pt idx="4701">
                  <c:v>-2.8938700000000002</c:v>
                </c:pt>
                <c:pt idx="4702">
                  <c:v>-2.2445400000000002</c:v>
                </c:pt>
                <c:pt idx="4703">
                  <c:v>-2.5505900000000001</c:v>
                </c:pt>
                <c:pt idx="4704">
                  <c:v>#N/A</c:v>
                </c:pt>
                <c:pt idx="4705">
                  <c:v>-2.8072900000000001</c:v>
                </c:pt>
                <c:pt idx="4706">
                  <c:v>-2.84606</c:v>
                </c:pt>
                <c:pt idx="4707">
                  <c:v>-2.9308200000000002</c:v>
                </c:pt>
                <c:pt idx="4708">
                  <c:v>-2.88246</c:v>
                </c:pt>
                <c:pt idx="4709">
                  <c:v>#N/A</c:v>
                </c:pt>
                <c:pt idx="4710">
                  <c:v>-2.9614600000000002</c:v>
                </c:pt>
                <c:pt idx="4711">
                  <c:v>-2.0243199999999999</c:v>
                </c:pt>
                <c:pt idx="4712">
                  <c:v>-2.10202</c:v>
                </c:pt>
                <c:pt idx="4713">
                  <c:v>#N/A</c:v>
                </c:pt>
                <c:pt idx="4714">
                  <c:v>-2.3260200000000002</c:v>
                </c:pt>
                <c:pt idx="4715">
                  <c:v>-3.0080200000000001</c:v>
                </c:pt>
                <c:pt idx="4716">
                  <c:v>-2.6942599999999999</c:v>
                </c:pt>
                <c:pt idx="4717">
                  <c:v>-2.6895099999999998</c:v>
                </c:pt>
                <c:pt idx="4718">
                  <c:v>#N/A</c:v>
                </c:pt>
                <c:pt idx="4719">
                  <c:v>-2.8407200000000001</c:v>
                </c:pt>
                <c:pt idx="4720">
                  <c:v>-2.5162300000000002</c:v>
                </c:pt>
                <c:pt idx="4721">
                  <c:v>-2.8805499999999999</c:v>
                </c:pt>
                <c:pt idx="4722">
                  <c:v>-2.6265000000000001</c:v>
                </c:pt>
                <c:pt idx="4723">
                  <c:v>#N/A</c:v>
                </c:pt>
                <c:pt idx="4724">
                  <c:v>-2.5787599999999999</c:v>
                </c:pt>
                <c:pt idx="4725">
                  <c:v>-3.1875800000000001</c:v>
                </c:pt>
                <c:pt idx="4726">
                  <c:v>-3.0146099999999998</c:v>
                </c:pt>
                <c:pt idx="4727">
                  <c:v>#N/A</c:v>
                </c:pt>
                <c:pt idx="4728">
                  <c:v>-3.1136300000000001</c:v>
                </c:pt>
                <c:pt idx="4729">
                  <c:v>-2.8355800000000002</c:v>
                </c:pt>
                <c:pt idx="4730">
                  <c:v>-2.4725999999999999</c:v>
                </c:pt>
                <c:pt idx="4731">
                  <c:v>-2.8009400000000002</c:v>
                </c:pt>
                <c:pt idx="4732">
                  <c:v>#N/A</c:v>
                </c:pt>
                <c:pt idx="4733">
                  <c:v>-2.5894200000000001</c:v>
                </c:pt>
                <c:pt idx="4734">
                  <c:v>-2.3590800000000001</c:v>
                </c:pt>
                <c:pt idx="4735">
                  <c:v>-2.6805099999999999</c:v>
                </c:pt>
                <c:pt idx="4736">
                  <c:v>#N/A</c:v>
                </c:pt>
                <c:pt idx="4737">
                  <c:v>-2.7999000000000001</c:v>
                </c:pt>
                <c:pt idx="4738">
                  <c:v>-2.7557200000000002</c:v>
                </c:pt>
                <c:pt idx="4739">
                  <c:v>-2.8486199999999999</c:v>
                </c:pt>
                <c:pt idx="4740">
                  <c:v>#N/A</c:v>
                </c:pt>
                <c:pt idx="4741">
                  <c:v>-2.2756500000000002</c:v>
                </c:pt>
                <c:pt idx="4742">
                  <c:v>-2.8002199999999999</c:v>
                </c:pt>
                <c:pt idx="4743">
                  <c:v>-2.80037</c:v>
                </c:pt>
                <c:pt idx="4744">
                  <c:v>-2.91323</c:v>
                </c:pt>
                <c:pt idx="4745">
                  <c:v>#N/A</c:v>
                </c:pt>
                <c:pt idx="4746">
                  <c:v>-3.2836699999999999</c:v>
                </c:pt>
                <c:pt idx="4747">
                  <c:v>-3.2157499999999999</c:v>
                </c:pt>
                <c:pt idx="4748">
                  <c:v>-3.43479</c:v>
                </c:pt>
                <c:pt idx="4749">
                  <c:v>#N/A</c:v>
                </c:pt>
                <c:pt idx="4750">
                  <c:v>-3.5150299999999999</c:v>
                </c:pt>
                <c:pt idx="4751">
                  <c:v>-3.1172599999999999</c:v>
                </c:pt>
                <c:pt idx="4752">
                  <c:v>-2.4946899999999999</c:v>
                </c:pt>
                <c:pt idx="4753">
                  <c:v>-2.6396299999999999</c:v>
                </c:pt>
                <c:pt idx="4754">
                  <c:v>#N/A</c:v>
                </c:pt>
                <c:pt idx="4755">
                  <c:v>-2.75068</c:v>
                </c:pt>
                <c:pt idx="4756">
                  <c:v>-3.39323</c:v>
                </c:pt>
                <c:pt idx="4757">
                  <c:v>#N/A</c:v>
                </c:pt>
                <c:pt idx="4758">
                  <c:v>-3.3296000000000001</c:v>
                </c:pt>
                <c:pt idx="4759">
                  <c:v>#N/A</c:v>
                </c:pt>
                <c:pt idx="4760">
                  <c:v>-3.0448599999999999</c:v>
                </c:pt>
                <c:pt idx="4761">
                  <c:v>-2.6361500000000002</c:v>
                </c:pt>
                <c:pt idx="4762">
                  <c:v>#N/A</c:v>
                </c:pt>
                <c:pt idx="4763">
                  <c:v>-2.5114100000000001</c:v>
                </c:pt>
                <c:pt idx="4764">
                  <c:v>-2.794</c:v>
                </c:pt>
                <c:pt idx="4765">
                  <c:v>-2.7046399999999999</c:v>
                </c:pt>
                <c:pt idx="4766">
                  <c:v>-3.3397100000000002</c:v>
                </c:pt>
                <c:pt idx="4767">
                  <c:v>#N/A</c:v>
                </c:pt>
                <c:pt idx="4768">
                  <c:v>-3.2487499999999998</c:v>
                </c:pt>
                <c:pt idx="4769">
                  <c:v>-3.0010400000000002</c:v>
                </c:pt>
                <c:pt idx="4770">
                  <c:v>-2.7087300000000001</c:v>
                </c:pt>
                <c:pt idx="4771">
                  <c:v>#N/A</c:v>
                </c:pt>
                <c:pt idx="4772">
                  <c:v>-2.6774900000000001</c:v>
                </c:pt>
                <c:pt idx="4773">
                  <c:v>-2.71305</c:v>
                </c:pt>
                <c:pt idx="4774">
                  <c:v>-3.04819</c:v>
                </c:pt>
                <c:pt idx="4775">
                  <c:v>#N/A</c:v>
                </c:pt>
                <c:pt idx="4776">
                  <c:v>-2.5765699999999998</c:v>
                </c:pt>
                <c:pt idx="4777">
                  <c:v>-2.8930899999999999</c:v>
                </c:pt>
                <c:pt idx="4778">
                  <c:v>-2.9015599999999999</c:v>
                </c:pt>
                <c:pt idx="4779">
                  <c:v>-2.4577399999999998</c:v>
                </c:pt>
                <c:pt idx="4780">
                  <c:v>#N/A</c:v>
                </c:pt>
                <c:pt idx="4781">
                  <c:v>-2.84327</c:v>
                </c:pt>
                <c:pt idx="4782">
                  <c:v>-2.9232</c:v>
                </c:pt>
                <c:pt idx="4783">
                  <c:v>-2.96434</c:v>
                </c:pt>
                <c:pt idx="4784">
                  <c:v>#N/A</c:v>
                </c:pt>
                <c:pt idx="4785">
                  <c:v>-3.3220900000000002</c:v>
                </c:pt>
                <c:pt idx="4786">
                  <c:v>-3.5821900000000002</c:v>
                </c:pt>
                <c:pt idx="4787">
                  <c:v>-3.4239199999999999</c:v>
                </c:pt>
                <c:pt idx="4788">
                  <c:v>-3.0789200000000001</c:v>
                </c:pt>
                <c:pt idx="4789">
                  <c:v>#N/A</c:v>
                </c:pt>
                <c:pt idx="4790">
                  <c:v>-3.1497000000000002</c:v>
                </c:pt>
                <c:pt idx="4791">
                  <c:v>-2.6553200000000001</c:v>
                </c:pt>
                <c:pt idx="4792">
                  <c:v>-2.4544199999999998</c:v>
                </c:pt>
                <c:pt idx="4793">
                  <c:v>#N/A</c:v>
                </c:pt>
                <c:pt idx="4794">
                  <c:v>-2.9527700000000001</c:v>
                </c:pt>
                <c:pt idx="4795">
                  <c:v>-2.7187899999999998</c:v>
                </c:pt>
                <c:pt idx="4796">
                  <c:v>-2.81609</c:v>
                </c:pt>
                <c:pt idx="4797">
                  <c:v>#N/A</c:v>
                </c:pt>
                <c:pt idx="4798">
                  <c:v>-3.3333300000000001</c:v>
                </c:pt>
                <c:pt idx="4799">
                  <c:v>-3.3230900000000001</c:v>
                </c:pt>
                <c:pt idx="4800">
                  <c:v>-3.04365</c:v>
                </c:pt>
                <c:pt idx="4801">
                  <c:v>#N/A</c:v>
                </c:pt>
                <c:pt idx="4802">
                  <c:v>-2.6333199999999999</c:v>
                </c:pt>
                <c:pt idx="4803">
                  <c:v>-2.5723099999999999</c:v>
                </c:pt>
                <c:pt idx="4804">
                  <c:v>-3.17441</c:v>
                </c:pt>
                <c:pt idx="4805">
                  <c:v>-3.2677299999999998</c:v>
                </c:pt>
                <c:pt idx="4806">
                  <c:v>#N/A</c:v>
                </c:pt>
                <c:pt idx="4807">
                  <c:v>-3.5535999999999999</c:v>
                </c:pt>
                <c:pt idx="4808">
                  <c:v>-3.5054099999999999</c:v>
                </c:pt>
                <c:pt idx="4809">
                  <c:v>-3.65293</c:v>
                </c:pt>
                <c:pt idx="4810">
                  <c:v>#N/A</c:v>
                </c:pt>
                <c:pt idx="4811">
                  <c:v>-2.8108499999999998</c:v>
                </c:pt>
                <c:pt idx="4812">
                  <c:v>-2.7386599999999999</c:v>
                </c:pt>
                <c:pt idx="4813">
                  <c:v>-2.8238799999999999</c:v>
                </c:pt>
                <c:pt idx="4814">
                  <c:v>-3.2376299999999998</c:v>
                </c:pt>
                <c:pt idx="4815">
                  <c:v>#N/A</c:v>
                </c:pt>
                <c:pt idx="4816">
                  <c:v>-3.3175300000000001</c:v>
                </c:pt>
                <c:pt idx="4817">
                  <c:v>-2.48949</c:v>
                </c:pt>
                <c:pt idx="4818">
                  <c:v>-3.5333399999999999</c:v>
                </c:pt>
                <c:pt idx="4819">
                  <c:v>#N/A</c:v>
                </c:pt>
                <c:pt idx="4820">
                  <c:v>-2.9331399999999999</c:v>
                </c:pt>
                <c:pt idx="4821">
                  <c:v>-2.64141</c:v>
                </c:pt>
                <c:pt idx="4822">
                  <c:v>-3.0173399999999999</c:v>
                </c:pt>
                <c:pt idx="4823">
                  <c:v>#N/A</c:v>
                </c:pt>
                <c:pt idx="4824">
                  <c:v>-2.9901</c:v>
                </c:pt>
                <c:pt idx="4825">
                  <c:v>-3.2724700000000002</c:v>
                </c:pt>
                <c:pt idx="4826">
                  <c:v>-3.1920299999999999</c:v>
                </c:pt>
                <c:pt idx="4827">
                  <c:v>-3.7488299999999999</c:v>
                </c:pt>
                <c:pt idx="4828">
                  <c:v>#N/A</c:v>
                </c:pt>
                <c:pt idx="4829">
                  <c:v>-3.1594000000000002</c:v>
                </c:pt>
                <c:pt idx="4830">
                  <c:v>#N/A</c:v>
                </c:pt>
                <c:pt idx="4831">
                  <c:v>-3.0617999999999999</c:v>
                </c:pt>
                <c:pt idx="4832">
                  <c:v>#N/A</c:v>
                </c:pt>
                <c:pt idx="4833">
                  <c:v>-2.7821400000000001</c:v>
                </c:pt>
                <c:pt idx="4834">
                  <c:v>-2.7218499999999999</c:v>
                </c:pt>
                <c:pt idx="4835">
                  <c:v>-2.5997499999999998</c:v>
                </c:pt>
                <c:pt idx="4836">
                  <c:v>#N/A</c:v>
                </c:pt>
                <c:pt idx="4837">
                  <c:v>-3.2436199999999999</c:v>
                </c:pt>
                <c:pt idx="4838">
                  <c:v>-3.0907100000000001</c:v>
                </c:pt>
                <c:pt idx="4839">
                  <c:v>-3.3178999999999998</c:v>
                </c:pt>
                <c:pt idx="4840">
                  <c:v>#N/A</c:v>
                </c:pt>
                <c:pt idx="4841">
                  <c:v>-2.5788199999999999</c:v>
                </c:pt>
                <c:pt idx="4842">
                  <c:v>-3.2896100000000001</c:v>
                </c:pt>
                <c:pt idx="4843">
                  <c:v>-3.0339</c:v>
                </c:pt>
                <c:pt idx="4844">
                  <c:v>-2.9473699999999998</c:v>
                </c:pt>
                <c:pt idx="4845">
                  <c:v>#N/A</c:v>
                </c:pt>
                <c:pt idx="4846">
                  <c:v>-2.8750800000000001</c:v>
                </c:pt>
                <c:pt idx="4847">
                  <c:v>-3.1282899999999998</c:v>
                </c:pt>
                <c:pt idx="4848">
                  <c:v>-3.1632199999999999</c:v>
                </c:pt>
                <c:pt idx="4849">
                  <c:v>-3.0848399999999998</c:v>
                </c:pt>
                <c:pt idx="4850">
                  <c:v>#N/A</c:v>
                </c:pt>
                <c:pt idx="4851">
                  <c:v>-2.97288</c:v>
                </c:pt>
                <c:pt idx="4852">
                  <c:v>-2.4921700000000002</c:v>
                </c:pt>
                <c:pt idx="4853">
                  <c:v>-2.3993600000000002</c:v>
                </c:pt>
                <c:pt idx="4854">
                  <c:v>#N/A</c:v>
                </c:pt>
                <c:pt idx="4855">
                  <c:v>-2.8024800000000001</c:v>
                </c:pt>
                <c:pt idx="4856">
                  <c:v>-2.6577999999999999</c:v>
                </c:pt>
                <c:pt idx="4857">
                  <c:v>-3.1134200000000001</c:v>
                </c:pt>
                <c:pt idx="4858">
                  <c:v>#N/A</c:v>
                </c:pt>
                <c:pt idx="4859">
                  <c:v>-2.9624600000000001</c:v>
                </c:pt>
                <c:pt idx="4860">
                  <c:v>-3.0066099999999998</c:v>
                </c:pt>
                <c:pt idx="4861">
                  <c:v>-2.9763299999999999</c:v>
                </c:pt>
                <c:pt idx="4862">
                  <c:v>-2.7801800000000001</c:v>
                </c:pt>
                <c:pt idx="4863">
                  <c:v>#N/A</c:v>
                </c:pt>
                <c:pt idx="4864">
                  <c:v>-3.6127199999999999</c:v>
                </c:pt>
                <c:pt idx="4865">
                  <c:v>-2.9305400000000001</c:v>
                </c:pt>
                <c:pt idx="4866">
                  <c:v>-3.2093400000000001</c:v>
                </c:pt>
                <c:pt idx="4867">
                  <c:v>#N/A</c:v>
                </c:pt>
                <c:pt idx="4868">
                  <c:v>-3.5621700000000001</c:v>
                </c:pt>
                <c:pt idx="4869">
                  <c:v>-3.0294099999999999</c:v>
                </c:pt>
                <c:pt idx="4870">
                  <c:v>-2.5761099999999999</c:v>
                </c:pt>
                <c:pt idx="4871">
                  <c:v>-2.8249499999999999</c:v>
                </c:pt>
                <c:pt idx="4872">
                  <c:v>#N/A</c:v>
                </c:pt>
                <c:pt idx="4873">
                  <c:v>-3.0280300000000002</c:v>
                </c:pt>
                <c:pt idx="4874">
                  <c:v>-2.79827</c:v>
                </c:pt>
                <c:pt idx="4875">
                  <c:v>-2.6575199999999999</c:v>
                </c:pt>
                <c:pt idx="4876">
                  <c:v>#N/A</c:v>
                </c:pt>
                <c:pt idx="4877">
                  <c:v>-4.40456</c:v>
                </c:pt>
                <c:pt idx="4878">
                  <c:v>-4.8396299999999997</c:v>
                </c:pt>
                <c:pt idx="4879">
                  <c:v>-4.05809</c:v>
                </c:pt>
                <c:pt idx="4880">
                  <c:v>-3.9349099999999999</c:v>
                </c:pt>
                <c:pt idx="4881">
                  <c:v>#N/A</c:v>
                </c:pt>
                <c:pt idx="4882">
                  <c:v>-3.1898399999999998</c:v>
                </c:pt>
                <c:pt idx="4883">
                  <c:v>-2.9150100000000001</c:v>
                </c:pt>
                <c:pt idx="4884">
                  <c:v>-4.0016100000000003</c:v>
                </c:pt>
                <c:pt idx="4885">
                  <c:v>#N/A</c:v>
                </c:pt>
                <c:pt idx="4886">
                  <c:v>-3.5278100000000001</c:v>
                </c:pt>
                <c:pt idx="4887">
                  <c:v>-3.0710199999999999</c:v>
                </c:pt>
                <c:pt idx="4888">
                  <c:v>-3.1930900000000002</c:v>
                </c:pt>
                <c:pt idx="4889">
                  <c:v>-1.5587299999999999</c:v>
                </c:pt>
                <c:pt idx="4890">
                  <c:v>#N/A</c:v>
                </c:pt>
                <c:pt idx="4891">
                  <c:v>-1.98343</c:v>
                </c:pt>
                <c:pt idx="4892">
                  <c:v>-0.68371400000000004</c:v>
                </c:pt>
                <c:pt idx="4893">
                  <c:v>-0.87964399999999998</c:v>
                </c:pt>
                <c:pt idx="4894">
                  <c:v>#N/A</c:v>
                </c:pt>
                <c:pt idx="4895">
                  <c:v>-1.8465400000000001</c:v>
                </c:pt>
                <c:pt idx="4896">
                  <c:v>-2.2079</c:v>
                </c:pt>
                <c:pt idx="4897">
                  <c:v>-2.9470000000000001</c:v>
                </c:pt>
                <c:pt idx="4898">
                  <c:v>#N/A</c:v>
                </c:pt>
                <c:pt idx="4899">
                  <c:v>-2.6756099999999998</c:v>
                </c:pt>
                <c:pt idx="4900">
                  <c:v>-3.0286900000000001</c:v>
                </c:pt>
                <c:pt idx="4901">
                  <c:v>-2.8965900000000002</c:v>
                </c:pt>
                <c:pt idx="4902">
                  <c:v>-2.7280000000000002</c:v>
                </c:pt>
                <c:pt idx="4903">
                  <c:v>#N/A</c:v>
                </c:pt>
                <c:pt idx="4904">
                  <c:v>-3.42814</c:v>
                </c:pt>
                <c:pt idx="4905">
                  <c:v>-3.7849200000000001</c:v>
                </c:pt>
                <c:pt idx="4906">
                  <c:v>-3.6131899999999999</c:v>
                </c:pt>
                <c:pt idx="4907">
                  <c:v>-3.79542</c:v>
                </c:pt>
                <c:pt idx="4908">
                  <c:v>#N/A</c:v>
                </c:pt>
                <c:pt idx="4909">
                  <c:v>-3.0478700000000001</c:v>
                </c:pt>
                <c:pt idx="4910">
                  <c:v>-2.73942</c:v>
                </c:pt>
                <c:pt idx="4911">
                  <c:v>-2.411</c:v>
                </c:pt>
                <c:pt idx="4912">
                  <c:v>#N/A</c:v>
                </c:pt>
                <c:pt idx="4913">
                  <c:v>-2.45547</c:v>
                </c:pt>
                <c:pt idx="4914">
                  <c:v>-2.3498899999999998</c:v>
                </c:pt>
                <c:pt idx="4915">
                  <c:v>-2.62235</c:v>
                </c:pt>
                <c:pt idx="4916">
                  <c:v>-2.29392</c:v>
                </c:pt>
                <c:pt idx="4917">
                  <c:v>#N/A</c:v>
                </c:pt>
                <c:pt idx="4918">
                  <c:v>-2.5922100000000001</c:v>
                </c:pt>
                <c:pt idx="4919">
                  <c:v>-2.6694200000000001</c:v>
                </c:pt>
                <c:pt idx="4920">
                  <c:v>-2.79365</c:v>
                </c:pt>
                <c:pt idx="4921">
                  <c:v>#N/A</c:v>
                </c:pt>
                <c:pt idx="4922">
                  <c:v>-3.0346199999999999</c:v>
                </c:pt>
                <c:pt idx="4923">
                  <c:v>-2.5003700000000002</c:v>
                </c:pt>
                <c:pt idx="4924">
                  <c:v>-2.9876299999999998</c:v>
                </c:pt>
                <c:pt idx="4925">
                  <c:v>-2.73298</c:v>
                </c:pt>
                <c:pt idx="4926">
                  <c:v>#N/A</c:v>
                </c:pt>
                <c:pt idx="4927">
                  <c:v>-3.0607600000000001</c:v>
                </c:pt>
                <c:pt idx="4928">
                  <c:v>-3.1893199999999999</c:v>
                </c:pt>
                <c:pt idx="4929">
                  <c:v>-3.6109</c:v>
                </c:pt>
                <c:pt idx="4930">
                  <c:v>#N/A</c:v>
                </c:pt>
                <c:pt idx="4931">
                  <c:v>-3.2363200000000001</c:v>
                </c:pt>
                <c:pt idx="4932">
                  <c:v>-2.2949799999999998</c:v>
                </c:pt>
                <c:pt idx="4933">
                  <c:v>-2.4397500000000001</c:v>
                </c:pt>
                <c:pt idx="4934">
                  <c:v>-2.9455499999999999</c:v>
                </c:pt>
                <c:pt idx="4935">
                  <c:v>#N/A</c:v>
                </c:pt>
                <c:pt idx="4936">
                  <c:v>-2.3525999999999998</c:v>
                </c:pt>
                <c:pt idx="4937">
                  <c:v>-2.6623800000000002</c:v>
                </c:pt>
                <c:pt idx="4938">
                  <c:v>-2.9159999999999999</c:v>
                </c:pt>
                <c:pt idx="4939">
                  <c:v>-2.3222</c:v>
                </c:pt>
                <c:pt idx="4940">
                  <c:v>#N/A</c:v>
                </c:pt>
                <c:pt idx="4941">
                  <c:v>-3.0907100000000001</c:v>
                </c:pt>
                <c:pt idx="4942">
                  <c:v>-2.9278200000000001</c:v>
                </c:pt>
                <c:pt idx="4943">
                  <c:v>-3.2558199999999999</c:v>
                </c:pt>
                <c:pt idx="4944">
                  <c:v>#N/A</c:v>
                </c:pt>
                <c:pt idx="4945">
                  <c:v>-2.3472599999999999</c:v>
                </c:pt>
                <c:pt idx="4946">
                  <c:v>-2.53044</c:v>
                </c:pt>
                <c:pt idx="4947">
                  <c:v>-2.3316599999999998</c:v>
                </c:pt>
                <c:pt idx="4948">
                  <c:v>-0.66628600000000004</c:v>
                </c:pt>
                <c:pt idx="4949">
                  <c:v>#N/A</c:v>
                </c:pt>
                <c:pt idx="4950">
                  <c:v>0.96987400000000001</c:v>
                </c:pt>
                <c:pt idx="4951">
                  <c:v>0.87374799999999997</c:v>
                </c:pt>
                <c:pt idx="4952">
                  <c:v>5.1213199999999999</c:v>
                </c:pt>
                <c:pt idx="4953">
                  <c:v>#N/A</c:v>
                </c:pt>
                <c:pt idx="4954">
                  <c:v>8.8969100000000001</c:v>
                </c:pt>
                <c:pt idx="4955">
                  <c:v>11.4259</c:v>
                </c:pt>
                <c:pt idx="4956">
                  <c:v>13.760899999999999</c:v>
                </c:pt>
                <c:pt idx="4957">
                  <c:v>#N/A</c:v>
                </c:pt>
                <c:pt idx="4958">
                  <c:v>15.0428</c:v>
                </c:pt>
                <c:pt idx="4959">
                  <c:v>16.999099999999999</c:v>
                </c:pt>
                <c:pt idx="4960">
                  <c:v>17.872699999999998</c:v>
                </c:pt>
                <c:pt idx="4961">
                  <c:v>18.6038</c:v>
                </c:pt>
                <c:pt idx="4962">
                  <c:v>#N/A</c:v>
                </c:pt>
                <c:pt idx="4963">
                  <c:v>19.4482</c:v>
                </c:pt>
                <c:pt idx="4964">
                  <c:v>20.577999999999999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0.13278100000000001</c:v>
                </c:pt>
                <c:pt idx="5035">
                  <c:v>#N/A</c:v>
                </c:pt>
                <c:pt idx="5036">
                  <c:v>0.19689799999999999</c:v>
                </c:pt>
                <c:pt idx="5037">
                  <c:v>0.104125</c:v>
                </c:pt>
                <c:pt idx="5038">
                  <c:v>0.62617</c:v>
                </c:pt>
                <c:pt idx="5039">
                  <c:v>#N/A</c:v>
                </c:pt>
                <c:pt idx="5040">
                  <c:v>0.261154</c:v>
                </c:pt>
                <c:pt idx="5041">
                  <c:v>0.19573499999999999</c:v>
                </c:pt>
                <c:pt idx="5042">
                  <c:v>0.28636200000000001</c:v>
                </c:pt>
                <c:pt idx="5043">
                  <c:v>#N/A</c:v>
                </c:pt>
                <c:pt idx="5044">
                  <c:v>0.40645300000000001</c:v>
                </c:pt>
                <c:pt idx="5045">
                  <c:v>1.0506500000000001</c:v>
                </c:pt>
                <c:pt idx="5046">
                  <c:v>#N/A</c:v>
                </c:pt>
                <c:pt idx="5047">
                  <c:v>1.7149300000000001</c:v>
                </c:pt>
                <c:pt idx="5048">
                  <c:v>2.2953700000000001</c:v>
                </c:pt>
                <c:pt idx="5049">
                  <c:v>3.5859299999999998</c:v>
                </c:pt>
                <c:pt idx="5050">
                  <c:v>#N/A</c:v>
                </c:pt>
                <c:pt idx="5051">
                  <c:v>5.7046900000000003</c:v>
                </c:pt>
                <c:pt idx="5052">
                  <c:v>7.22044</c:v>
                </c:pt>
                <c:pt idx="5053">
                  <c:v>8.8209999999999997</c:v>
                </c:pt>
                <c:pt idx="5054">
                  <c:v>10.8796</c:v>
                </c:pt>
                <c:pt idx="5055">
                  <c:v>#N/A</c:v>
                </c:pt>
                <c:pt idx="5056">
                  <c:v>14.1938</c:v>
                </c:pt>
                <c:pt idx="5057">
                  <c:v>16.4511</c:v>
                </c:pt>
                <c:pt idx="5058">
                  <c:v>17.3901</c:v>
                </c:pt>
                <c:pt idx="5059">
                  <c:v>#N/A</c:v>
                </c:pt>
                <c:pt idx="5060">
                  <c:v>18.5749</c:v>
                </c:pt>
                <c:pt idx="5061">
                  <c:v>21.2835</c:v>
                </c:pt>
                <c:pt idx="5062">
                  <c:v>21.182099999999998</c:v>
                </c:pt>
                <c:pt idx="5063">
                  <c:v>22.776900000000001</c:v>
                </c:pt>
                <c:pt idx="5064">
                  <c:v>#N/A</c:v>
                </c:pt>
                <c:pt idx="5065">
                  <c:v>22.407900000000001</c:v>
                </c:pt>
                <c:pt idx="5066">
                  <c:v>22.935300000000002</c:v>
                </c:pt>
                <c:pt idx="5067">
                  <c:v>23.624700000000001</c:v>
                </c:pt>
                <c:pt idx="5068">
                  <c:v>22.296600000000002</c:v>
                </c:pt>
                <c:pt idx="5069">
                  <c:v>#N/A</c:v>
                </c:pt>
                <c:pt idx="5070">
                  <c:v>21.632000000000001</c:v>
                </c:pt>
                <c:pt idx="5071">
                  <c:v>22.0307</c:v>
                </c:pt>
                <c:pt idx="5072">
                  <c:v>21.026</c:v>
                </c:pt>
                <c:pt idx="5073">
                  <c:v>#N/A</c:v>
                </c:pt>
                <c:pt idx="5074">
                  <c:v>20.281600000000001</c:v>
                </c:pt>
                <c:pt idx="5075">
                  <c:v>19.219200000000001</c:v>
                </c:pt>
                <c:pt idx="5076">
                  <c:v>16.640499999999999</c:v>
                </c:pt>
                <c:pt idx="5077">
                  <c:v>#N/A</c:v>
                </c:pt>
                <c:pt idx="5078">
                  <c:v>14.614000000000001</c:v>
                </c:pt>
                <c:pt idx="5079">
                  <c:v>12.299799999999999</c:v>
                </c:pt>
                <c:pt idx="5080">
                  <c:v>9.9103600000000007</c:v>
                </c:pt>
                <c:pt idx="5081">
                  <c:v>9.1836500000000001</c:v>
                </c:pt>
                <c:pt idx="5082">
                  <c:v>#N/A</c:v>
                </c:pt>
                <c:pt idx="5083">
                  <c:v>6.2144300000000001</c:v>
                </c:pt>
                <c:pt idx="5084">
                  <c:v>5.6809599999999998</c:v>
                </c:pt>
                <c:pt idx="5085">
                  <c:v>4.31351</c:v>
                </c:pt>
                <c:pt idx="5086">
                  <c:v>#N/A</c:v>
                </c:pt>
                <c:pt idx="5087">
                  <c:v>3.22254</c:v>
                </c:pt>
                <c:pt idx="5088">
                  <c:v>1.8651899999999999</c:v>
                </c:pt>
                <c:pt idx="5089">
                  <c:v>1.45082</c:v>
                </c:pt>
                <c:pt idx="5090">
                  <c:v>#N/A</c:v>
                </c:pt>
                <c:pt idx="5091">
                  <c:v>0.98968</c:v>
                </c:pt>
                <c:pt idx="5092">
                  <c:v>1.84874</c:v>
                </c:pt>
                <c:pt idx="5093">
                  <c:v>1.41472</c:v>
                </c:pt>
                <c:pt idx="5094">
                  <c:v>1.3973800000000001</c:v>
                </c:pt>
                <c:pt idx="5095">
                  <c:v>#N/A</c:v>
                </c:pt>
                <c:pt idx="5096">
                  <c:v>1.9907699999999999</c:v>
                </c:pt>
                <c:pt idx="5097">
                  <c:v>1.9016599999999999</c:v>
                </c:pt>
                <c:pt idx="5098">
                  <c:v>1.6495200000000001</c:v>
                </c:pt>
                <c:pt idx="5099">
                  <c:v>2.18207</c:v>
                </c:pt>
                <c:pt idx="5100">
                  <c:v>#N/A</c:v>
                </c:pt>
                <c:pt idx="5101">
                  <c:v>1.9098900000000001</c:v>
                </c:pt>
                <c:pt idx="5102">
                  <c:v>2.0015299999999998</c:v>
                </c:pt>
                <c:pt idx="5103">
                  <c:v>2.6595599999999999</c:v>
                </c:pt>
                <c:pt idx="5104">
                  <c:v>#N/A</c:v>
                </c:pt>
                <c:pt idx="5105">
                  <c:v>3.8044899999999999</c:v>
                </c:pt>
                <c:pt idx="5106">
                  <c:v>4.2116699999999998</c:v>
                </c:pt>
                <c:pt idx="5107">
                  <c:v>4.2597199999999997</c:v>
                </c:pt>
                <c:pt idx="5108">
                  <c:v>4.1561399999999997</c:v>
                </c:pt>
                <c:pt idx="5109">
                  <c:v>#N/A</c:v>
                </c:pt>
                <c:pt idx="5110">
                  <c:v>3.62256</c:v>
                </c:pt>
                <c:pt idx="5111">
                  <c:v>3.1859299999999999</c:v>
                </c:pt>
                <c:pt idx="5112">
                  <c:v>2.8443999999999998</c:v>
                </c:pt>
                <c:pt idx="5113">
                  <c:v>#N/A</c:v>
                </c:pt>
                <c:pt idx="5114">
                  <c:v>3.0383900000000001</c:v>
                </c:pt>
                <c:pt idx="5115">
                  <c:v>2.8225500000000001</c:v>
                </c:pt>
                <c:pt idx="5116">
                  <c:v>2.7947000000000002</c:v>
                </c:pt>
                <c:pt idx="5117">
                  <c:v>#N/A</c:v>
                </c:pt>
                <c:pt idx="5118">
                  <c:v>2.8193000000000001</c:v>
                </c:pt>
                <c:pt idx="5119">
                  <c:v>2.4880399999999998</c:v>
                </c:pt>
                <c:pt idx="5120">
                  <c:v>2.8826200000000002</c:v>
                </c:pt>
                <c:pt idx="5121">
                  <c:v>#N/A</c:v>
                </c:pt>
                <c:pt idx="5122">
                  <c:v>#N/A</c:v>
                </c:pt>
                <c:pt idx="5123">
                  <c:v>#N/A</c:v>
                </c:pt>
                <c:pt idx="5124">
                  <c:v>#N/A</c:v>
                </c:pt>
                <c:pt idx="5125">
                  <c:v>#N/A</c:v>
                </c:pt>
                <c:pt idx="5126">
                  <c:v>#N/A</c:v>
                </c:pt>
                <c:pt idx="5127">
                  <c:v>#N/A</c:v>
                </c:pt>
                <c:pt idx="5128">
                  <c:v>#N/A</c:v>
                </c:pt>
                <c:pt idx="5129">
                  <c:v>#N/A</c:v>
                </c:pt>
                <c:pt idx="5130">
                  <c:v>#N/A</c:v>
                </c:pt>
                <c:pt idx="5131">
                  <c:v>#N/A</c:v>
                </c:pt>
                <c:pt idx="5132">
                  <c:v>#N/A</c:v>
                </c:pt>
                <c:pt idx="5133">
                  <c:v>#N/A</c:v>
                </c:pt>
                <c:pt idx="5134">
                  <c:v>#N/A</c:v>
                </c:pt>
                <c:pt idx="5135">
                  <c:v>#N/A</c:v>
                </c:pt>
                <c:pt idx="5136">
                  <c:v>#N/A</c:v>
                </c:pt>
                <c:pt idx="5137">
                  <c:v>#N/A</c:v>
                </c:pt>
                <c:pt idx="5138">
                  <c:v>#N/A</c:v>
                </c:pt>
                <c:pt idx="5139">
                  <c:v>#N/A</c:v>
                </c:pt>
                <c:pt idx="5140">
                  <c:v>#N/A</c:v>
                </c:pt>
                <c:pt idx="5141">
                  <c:v>#N/A</c:v>
                </c:pt>
                <c:pt idx="5142">
                  <c:v>#N/A</c:v>
                </c:pt>
                <c:pt idx="5143">
                  <c:v>4.4728700000000003</c:v>
                </c:pt>
                <c:pt idx="5144">
                  <c:v>3.3865799999999999</c:v>
                </c:pt>
                <c:pt idx="5145">
                  <c:v>#N/A</c:v>
                </c:pt>
                <c:pt idx="5146">
                  <c:v>4.0384099999999998</c:v>
                </c:pt>
                <c:pt idx="5147">
                  <c:v>3.5129600000000001</c:v>
                </c:pt>
                <c:pt idx="5148">
                  <c:v>3.34524</c:v>
                </c:pt>
                <c:pt idx="5149">
                  <c:v>#N/A</c:v>
                </c:pt>
                <c:pt idx="5150">
                  <c:v>3.5199799999999999</c:v>
                </c:pt>
                <c:pt idx="5151">
                  <c:v>3.6251600000000002</c:v>
                </c:pt>
                <c:pt idx="5152">
                  <c:v>4.3124900000000004</c:v>
                </c:pt>
                <c:pt idx="5153">
                  <c:v>3.40367</c:v>
                </c:pt>
                <c:pt idx="5154">
                  <c:v>#N/A</c:v>
                </c:pt>
                <c:pt idx="5155">
                  <c:v>3.6877499999999999</c:v>
                </c:pt>
                <c:pt idx="5156">
                  <c:v>2.8828100000000001</c:v>
                </c:pt>
                <c:pt idx="5157">
                  <c:v>2.0319500000000001</c:v>
                </c:pt>
                <c:pt idx="5158">
                  <c:v>1.6153299999999999</c:v>
                </c:pt>
                <c:pt idx="5159">
                  <c:v>#N/A</c:v>
                </c:pt>
                <c:pt idx="5160">
                  <c:v>0.94359300000000002</c:v>
                </c:pt>
                <c:pt idx="5161">
                  <c:v>1.36574</c:v>
                </c:pt>
                <c:pt idx="5162">
                  <c:v>2.03132</c:v>
                </c:pt>
                <c:pt idx="5163">
                  <c:v>#N/A</c:v>
                </c:pt>
                <c:pt idx="5164">
                  <c:v>1.75187</c:v>
                </c:pt>
                <c:pt idx="5165">
                  <c:v>2.5182899999999999</c:v>
                </c:pt>
                <c:pt idx="5166">
                  <c:v>2.5776400000000002</c:v>
                </c:pt>
                <c:pt idx="5167">
                  <c:v>2.2939400000000001</c:v>
                </c:pt>
                <c:pt idx="5168">
                  <c:v>#N/A</c:v>
                </c:pt>
                <c:pt idx="5169">
                  <c:v>2.1076100000000002</c:v>
                </c:pt>
                <c:pt idx="5170">
                  <c:v>2.76471</c:v>
                </c:pt>
                <c:pt idx="5171">
                  <c:v>3.0202499999999999</c:v>
                </c:pt>
                <c:pt idx="5172">
                  <c:v>#N/A</c:v>
                </c:pt>
                <c:pt idx="5173">
                  <c:v>3.3359399999999999</c:v>
                </c:pt>
                <c:pt idx="5174">
                  <c:v>4.0715399999999997</c:v>
                </c:pt>
                <c:pt idx="5175">
                  <c:v>4.0809600000000001</c:v>
                </c:pt>
                <c:pt idx="5176">
                  <c:v>#N/A</c:v>
                </c:pt>
                <c:pt idx="5177">
                  <c:v>3.7825000000000002</c:v>
                </c:pt>
                <c:pt idx="5178">
                  <c:v>2.8424299999999998</c:v>
                </c:pt>
                <c:pt idx="5179">
                  <c:v>3.0266299999999999</c:v>
                </c:pt>
                <c:pt idx="5180">
                  <c:v>2.27711</c:v>
                </c:pt>
                <c:pt idx="5181">
                  <c:v>#N/A</c:v>
                </c:pt>
                <c:pt idx="5182">
                  <c:v>2.0753900000000001</c:v>
                </c:pt>
                <c:pt idx="5183">
                  <c:v>2.3382100000000001</c:v>
                </c:pt>
                <c:pt idx="5184">
                  <c:v>2.7284600000000001</c:v>
                </c:pt>
                <c:pt idx="5185">
                  <c:v>#N/A</c:v>
                </c:pt>
                <c:pt idx="5186">
                  <c:v>2.7573099999999999</c:v>
                </c:pt>
                <c:pt idx="5187">
                  <c:v>3.0039199999999999</c:v>
                </c:pt>
                <c:pt idx="5188">
                  <c:v>2.6958600000000001</c:v>
                </c:pt>
                <c:pt idx="5189">
                  <c:v>#N/A</c:v>
                </c:pt>
                <c:pt idx="5190">
                  <c:v>2.69861</c:v>
                </c:pt>
                <c:pt idx="5191">
                  <c:v>2.8226499999999999</c:v>
                </c:pt>
                <c:pt idx="5192">
                  <c:v>#N/A</c:v>
                </c:pt>
                <c:pt idx="5193">
                  <c:v>3.0109900000000001</c:v>
                </c:pt>
                <c:pt idx="5194">
                  <c:v>2.68337</c:v>
                </c:pt>
                <c:pt idx="5195">
                  <c:v>2.98217</c:v>
                </c:pt>
                <c:pt idx="5196">
                  <c:v>#N/A</c:v>
                </c:pt>
                <c:pt idx="5197">
                  <c:v>3.12731</c:v>
                </c:pt>
                <c:pt idx="5198">
                  <c:v>2.6214</c:v>
                </c:pt>
                <c:pt idx="5199">
                  <c:v>2.9906999999999999</c:v>
                </c:pt>
                <c:pt idx="5200">
                  <c:v>#N/A</c:v>
                </c:pt>
                <c:pt idx="5201">
                  <c:v>2.9940199999999999</c:v>
                </c:pt>
                <c:pt idx="5202">
                  <c:v>3.13775</c:v>
                </c:pt>
                <c:pt idx="5203">
                  <c:v>2.62432</c:v>
                </c:pt>
                <c:pt idx="5204">
                  <c:v>2.7419500000000001</c:v>
                </c:pt>
                <c:pt idx="5205">
                  <c:v>#N/A</c:v>
                </c:pt>
                <c:pt idx="5206">
                  <c:v>3.0315699999999999</c:v>
                </c:pt>
                <c:pt idx="5207">
                  <c:v>2.7777400000000001</c:v>
                </c:pt>
                <c:pt idx="5208">
                  <c:v>2.96008</c:v>
                </c:pt>
                <c:pt idx="5209">
                  <c:v>#N/A</c:v>
                </c:pt>
                <c:pt idx="5210">
                  <c:v>2.9041199999999998</c:v>
                </c:pt>
                <c:pt idx="5211">
                  <c:v>3.1948400000000001</c:v>
                </c:pt>
                <c:pt idx="5212">
                  <c:v>3.1287199999999999</c:v>
                </c:pt>
                <c:pt idx="5213">
                  <c:v>3.2710300000000001</c:v>
                </c:pt>
                <c:pt idx="5214">
                  <c:v>#N/A</c:v>
                </c:pt>
                <c:pt idx="5215">
                  <c:v>3.2446700000000002</c:v>
                </c:pt>
                <c:pt idx="5216">
                  <c:v>2.5620699999999998</c:v>
                </c:pt>
                <c:pt idx="5217">
                  <c:v>2.6345499999999999</c:v>
                </c:pt>
                <c:pt idx="5218">
                  <c:v>2.5598800000000002</c:v>
                </c:pt>
                <c:pt idx="5219">
                  <c:v>#N/A</c:v>
                </c:pt>
                <c:pt idx="5220">
                  <c:v>2.2708300000000001</c:v>
                </c:pt>
                <c:pt idx="5221">
                  <c:v>3.0184199999999999</c:v>
                </c:pt>
                <c:pt idx="5222">
                  <c:v>2.9762200000000001</c:v>
                </c:pt>
                <c:pt idx="5223">
                  <c:v>#N/A</c:v>
                </c:pt>
                <c:pt idx="5224">
                  <c:v>2.5821800000000001</c:v>
                </c:pt>
                <c:pt idx="5225">
                  <c:v>3.04183</c:v>
                </c:pt>
                <c:pt idx="5226">
                  <c:v>2.90584</c:v>
                </c:pt>
                <c:pt idx="5227">
                  <c:v>2.86978</c:v>
                </c:pt>
                <c:pt idx="5228">
                  <c:v>#N/A</c:v>
                </c:pt>
                <c:pt idx="5229">
                  <c:v>2.8098200000000002</c:v>
                </c:pt>
                <c:pt idx="5230">
                  <c:v>2.7969499999999998</c:v>
                </c:pt>
                <c:pt idx="5231">
                  <c:v>2.6220300000000001</c:v>
                </c:pt>
                <c:pt idx="5232">
                  <c:v>#N/A</c:v>
                </c:pt>
                <c:pt idx="5233">
                  <c:v>2.6775899999999999</c:v>
                </c:pt>
                <c:pt idx="5234">
                  <c:v>2.5365500000000001</c:v>
                </c:pt>
                <c:pt idx="5235">
                  <c:v>3.2215500000000001</c:v>
                </c:pt>
                <c:pt idx="5236">
                  <c:v>#N/A</c:v>
                </c:pt>
                <c:pt idx="5237">
                  <c:v>2.9564900000000001</c:v>
                </c:pt>
                <c:pt idx="5238">
                  <c:v>2.3783599999999998</c:v>
                </c:pt>
                <c:pt idx="5239">
                  <c:v>2.3406400000000001</c:v>
                </c:pt>
                <c:pt idx="5240">
                  <c:v>2.4696699999999998</c:v>
                </c:pt>
                <c:pt idx="5241">
                  <c:v>#N/A</c:v>
                </c:pt>
                <c:pt idx="5242">
                  <c:v>2.02949</c:v>
                </c:pt>
                <c:pt idx="5243">
                  <c:v>2.7759800000000001</c:v>
                </c:pt>
                <c:pt idx="5244">
                  <c:v>2.9064899999999998</c:v>
                </c:pt>
                <c:pt idx="5245">
                  <c:v>#N/A</c:v>
                </c:pt>
                <c:pt idx="5246">
                  <c:v>3.3763399999999999</c:v>
                </c:pt>
                <c:pt idx="5247">
                  <c:v>2.80246</c:v>
                </c:pt>
                <c:pt idx="5248">
                  <c:v>2.9584800000000002</c:v>
                </c:pt>
                <c:pt idx="5249">
                  <c:v>2.96075</c:v>
                </c:pt>
                <c:pt idx="5250">
                  <c:v>#N/A</c:v>
                </c:pt>
                <c:pt idx="5251">
                  <c:v>2.4421400000000002</c:v>
                </c:pt>
                <c:pt idx="5252">
                  <c:v>2.7530199999999998</c:v>
                </c:pt>
                <c:pt idx="5253">
                  <c:v>2.5891700000000002</c:v>
                </c:pt>
                <c:pt idx="5254">
                  <c:v>#N/A</c:v>
                </c:pt>
                <c:pt idx="5255">
                  <c:v>2.7444299999999999</c:v>
                </c:pt>
                <c:pt idx="5256">
                  <c:v>2.3693900000000001</c:v>
                </c:pt>
                <c:pt idx="5257">
                  <c:v>3.1410900000000002</c:v>
                </c:pt>
                <c:pt idx="5258">
                  <c:v>#N/A</c:v>
                </c:pt>
                <c:pt idx="5259">
                  <c:v>2.25942</c:v>
                </c:pt>
                <c:pt idx="5260">
                  <c:v>2.6559300000000001</c:v>
                </c:pt>
                <c:pt idx="5261">
                  <c:v>#N/A</c:v>
                </c:pt>
                <c:pt idx="5262">
                  <c:v>2.7777599999999998</c:v>
                </c:pt>
                <c:pt idx="5263">
                  <c:v>2.62012</c:v>
                </c:pt>
                <c:pt idx="5264">
                  <c:v>#N/A</c:v>
                </c:pt>
                <c:pt idx="5265">
                  <c:v>2.7282799999999998</c:v>
                </c:pt>
                <c:pt idx="5266">
                  <c:v>2.70424</c:v>
                </c:pt>
                <c:pt idx="5267">
                  <c:v>3.14594</c:v>
                </c:pt>
                <c:pt idx="5268">
                  <c:v>#N/A</c:v>
                </c:pt>
                <c:pt idx="5269">
                  <c:v>3.0979899999999998</c:v>
                </c:pt>
                <c:pt idx="5270">
                  <c:v>2.7847400000000002</c:v>
                </c:pt>
                <c:pt idx="5271">
                  <c:v>3.0324800000000001</c:v>
                </c:pt>
                <c:pt idx="5272">
                  <c:v>3.17448</c:v>
                </c:pt>
                <c:pt idx="5273">
                  <c:v>#N/A</c:v>
                </c:pt>
                <c:pt idx="5274">
                  <c:v>3.2704599999999999</c:v>
                </c:pt>
                <c:pt idx="5275">
                  <c:v>2.7059000000000002</c:v>
                </c:pt>
                <c:pt idx="5276">
                  <c:v>2.3634900000000001</c:v>
                </c:pt>
                <c:pt idx="5277">
                  <c:v>#N/A</c:v>
                </c:pt>
                <c:pt idx="5278">
                  <c:v>2.5615999999999999</c:v>
                </c:pt>
                <c:pt idx="5279">
                  <c:v>2.3864200000000002</c:v>
                </c:pt>
                <c:pt idx="5280">
                  <c:v>2.2998599999999998</c:v>
                </c:pt>
                <c:pt idx="5281">
                  <c:v>2.7761300000000002</c:v>
                </c:pt>
                <c:pt idx="5282">
                  <c:v>#N/A</c:v>
                </c:pt>
                <c:pt idx="5283">
                  <c:v>2.48393</c:v>
                </c:pt>
                <c:pt idx="5284">
                  <c:v>2.7817099999999999</c:v>
                </c:pt>
                <c:pt idx="5285">
                  <c:v>2.4325000000000001</c:v>
                </c:pt>
                <c:pt idx="5286">
                  <c:v>2.8454700000000002</c:v>
                </c:pt>
                <c:pt idx="5287">
                  <c:v>#N/A</c:v>
                </c:pt>
                <c:pt idx="5288">
                  <c:v>2.3285800000000001</c:v>
                </c:pt>
                <c:pt idx="5289">
                  <c:v>2.60799</c:v>
                </c:pt>
                <c:pt idx="5290">
                  <c:v>2.5372699999999999</c:v>
                </c:pt>
                <c:pt idx="5291">
                  <c:v>#N/A</c:v>
                </c:pt>
                <c:pt idx="5292">
                  <c:v>3.3802099999999999</c:v>
                </c:pt>
                <c:pt idx="5293">
                  <c:v>2.91534</c:v>
                </c:pt>
                <c:pt idx="5294">
                  <c:v>3.2540800000000001</c:v>
                </c:pt>
                <c:pt idx="5295">
                  <c:v>#N/A</c:v>
                </c:pt>
                <c:pt idx="5296">
                  <c:v>3.1779199999999999</c:v>
                </c:pt>
                <c:pt idx="5297">
                  <c:v>2.8158699999999999</c:v>
                </c:pt>
                <c:pt idx="5298">
                  <c:v>1.9817499999999999</c:v>
                </c:pt>
                <c:pt idx="5299">
                  <c:v>1.96244</c:v>
                </c:pt>
                <c:pt idx="5300">
                  <c:v>#N/A</c:v>
                </c:pt>
                <c:pt idx="5301">
                  <c:v>2.77406</c:v>
                </c:pt>
                <c:pt idx="5302">
                  <c:v>2.68242</c:v>
                </c:pt>
                <c:pt idx="5303">
                  <c:v>2.8395999999999999</c:v>
                </c:pt>
                <c:pt idx="5304">
                  <c:v>#N/A</c:v>
                </c:pt>
                <c:pt idx="5305">
                  <c:v>3.3734799999999998</c:v>
                </c:pt>
                <c:pt idx="5306">
                  <c:v>3.23664</c:v>
                </c:pt>
                <c:pt idx="5307">
                  <c:v>3.22485</c:v>
                </c:pt>
                <c:pt idx="5308">
                  <c:v>2.9314100000000001</c:v>
                </c:pt>
                <c:pt idx="5309">
                  <c:v>#N/A</c:v>
                </c:pt>
                <c:pt idx="5310">
                  <c:v>2.8020399999999999</c:v>
                </c:pt>
                <c:pt idx="5311">
                  <c:v>2.7153299999999998</c:v>
                </c:pt>
                <c:pt idx="5312">
                  <c:v>2.89716</c:v>
                </c:pt>
                <c:pt idx="5313">
                  <c:v>3.0573700000000001</c:v>
                </c:pt>
                <c:pt idx="5314">
                  <c:v>#N/A</c:v>
                </c:pt>
                <c:pt idx="5315">
                  <c:v>3.0811500000000001</c:v>
                </c:pt>
                <c:pt idx="5316">
                  <c:v>2.8089499999999998</c:v>
                </c:pt>
                <c:pt idx="5317">
                  <c:v>2.7288899999999998</c:v>
                </c:pt>
                <c:pt idx="5318">
                  <c:v>#N/A</c:v>
                </c:pt>
                <c:pt idx="5319">
                  <c:v>2.53301</c:v>
                </c:pt>
                <c:pt idx="5320">
                  <c:v>2.2029000000000001</c:v>
                </c:pt>
                <c:pt idx="5321">
                  <c:v>1.95991</c:v>
                </c:pt>
                <c:pt idx="5322">
                  <c:v>#N/A</c:v>
                </c:pt>
                <c:pt idx="5323">
                  <c:v>2.4251399999999999</c:v>
                </c:pt>
                <c:pt idx="5324">
                  <c:v>2.8433899999999999</c:v>
                </c:pt>
                <c:pt idx="5325">
                  <c:v>3.0038999999999998</c:v>
                </c:pt>
                <c:pt idx="5326">
                  <c:v>#N/A</c:v>
                </c:pt>
                <c:pt idx="5327">
                  <c:v>2.8999000000000001</c:v>
                </c:pt>
                <c:pt idx="5328">
                  <c:v>3.0661200000000002</c:v>
                </c:pt>
                <c:pt idx="5329">
                  <c:v>2.8079399999999999</c:v>
                </c:pt>
                <c:pt idx="5330">
                  <c:v>#N/A</c:v>
                </c:pt>
                <c:pt idx="5331">
                  <c:v>2.9766900000000001</c:v>
                </c:pt>
                <c:pt idx="5332">
                  <c:v>2.9700299999999999</c:v>
                </c:pt>
                <c:pt idx="5333">
                  <c:v>3.3851499999999999</c:v>
                </c:pt>
                <c:pt idx="5334">
                  <c:v>#N/A</c:v>
                </c:pt>
                <c:pt idx="5335">
                  <c:v>2.91736</c:v>
                </c:pt>
                <c:pt idx="5336">
                  <c:v>3.1640799999999998</c:v>
                </c:pt>
                <c:pt idx="5337">
                  <c:v>2.9659599999999999</c:v>
                </c:pt>
                <c:pt idx="5338">
                  <c:v>2.80132</c:v>
                </c:pt>
                <c:pt idx="5339">
                  <c:v>#N/A</c:v>
                </c:pt>
                <c:pt idx="5340">
                  <c:v>2.6284999999999998</c:v>
                </c:pt>
                <c:pt idx="5341">
                  <c:v>2.55281</c:v>
                </c:pt>
                <c:pt idx="5342">
                  <c:v>2.7973599999999998</c:v>
                </c:pt>
                <c:pt idx="5343">
                  <c:v>#N/A</c:v>
                </c:pt>
                <c:pt idx="5344">
                  <c:v>2.2707799999999998</c:v>
                </c:pt>
                <c:pt idx="5345">
                  <c:v>2.25122</c:v>
                </c:pt>
                <c:pt idx="5346">
                  <c:v>2.5722399999999999</c:v>
                </c:pt>
                <c:pt idx="5347">
                  <c:v>2.4070100000000001</c:v>
                </c:pt>
                <c:pt idx="5348">
                  <c:v>#N/A</c:v>
                </c:pt>
                <c:pt idx="5349">
                  <c:v>2.5026000000000002</c:v>
                </c:pt>
                <c:pt idx="5350">
                  <c:v>2.7149200000000002</c:v>
                </c:pt>
                <c:pt idx="5351">
                  <c:v>2.8196500000000002</c:v>
                </c:pt>
                <c:pt idx="5352">
                  <c:v>#N/A</c:v>
                </c:pt>
                <c:pt idx="5353">
                  <c:v>2.79677</c:v>
                </c:pt>
                <c:pt idx="5354">
                  <c:v>2.8038500000000002</c:v>
                </c:pt>
                <c:pt idx="5355">
                  <c:v>3.1055600000000001</c:v>
                </c:pt>
                <c:pt idx="5356">
                  <c:v>2.7506599999999999</c:v>
                </c:pt>
                <c:pt idx="5357">
                  <c:v>#N/A</c:v>
                </c:pt>
                <c:pt idx="5358">
                  <c:v>2.09483</c:v>
                </c:pt>
                <c:pt idx="5359">
                  <c:v>2.3921899999999998</c:v>
                </c:pt>
                <c:pt idx="5360">
                  <c:v>2.7877299999999998</c:v>
                </c:pt>
                <c:pt idx="5361">
                  <c:v>#N/A</c:v>
                </c:pt>
                <c:pt idx="5362">
                  <c:v>2.8373499999999998</c:v>
                </c:pt>
                <c:pt idx="5363">
                  <c:v>2.7187199999999998</c:v>
                </c:pt>
                <c:pt idx="5364">
                  <c:v>3.0188000000000001</c:v>
                </c:pt>
                <c:pt idx="5365">
                  <c:v>3.0269499999999998</c:v>
                </c:pt>
                <c:pt idx="5366">
                  <c:v>#N/A</c:v>
                </c:pt>
                <c:pt idx="5367">
                  <c:v>2.58833</c:v>
                </c:pt>
                <c:pt idx="5368">
                  <c:v>2.5564</c:v>
                </c:pt>
                <c:pt idx="5369">
                  <c:v>2.4331800000000001</c:v>
                </c:pt>
                <c:pt idx="5370">
                  <c:v>#N/A</c:v>
                </c:pt>
                <c:pt idx="5371">
                  <c:v>2.2968600000000001</c:v>
                </c:pt>
                <c:pt idx="5372">
                  <c:v>2.7446600000000001</c:v>
                </c:pt>
                <c:pt idx="5373">
                  <c:v>2.8199000000000001</c:v>
                </c:pt>
                <c:pt idx="5374">
                  <c:v>2.8155999999999999</c:v>
                </c:pt>
                <c:pt idx="5375">
                  <c:v>#N/A</c:v>
                </c:pt>
                <c:pt idx="5376">
                  <c:v>2.6668799999999999</c:v>
                </c:pt>
                <c:pt idx="5377">
                  <c:v>2.70722</c:v>
                </c:pt>
                <c:pt idx="5378">
                  <c:v>2.3280699999999999</c:v>
                </c:pt>
                <c:pt idx="5379">
                  <c:v>#N/A</c:v>
                </c:pt>
                <c:pt idx="5380">
                  <c:v>2.15829</c:v>
                </c:pt>
                <c:pt idx="5381">
                  <c:v>1.7878499999999999</c:v>
                </c:pt>
                <c:pt idx="5382">
                  <c:v>2.56318</c:v>
                </c:pt>
                <c:pt idx="5383">
                  <c:v>2.55416</c:v>
                </c:pt>
                <c:pt idx="5384">
                  <c:v>#N/A</c:v>
                </c:pt>
                <c:pt idx="5385">
                  <c:v>2.7161300000000002</c:v>
                </c:pt>
                <c:pt idx="5386">
                  <c:v>2.9765999999999999</c:v>
                </c:pt>
                <c:pt idx="5387">
                  <c:v>2.6901600000000001</c:v>
                </c:pt>
                <c:pt idx="5388">
                  <c:v>#N/A</c:v>
                </c:pt>
                <c:pt idx="5389">
                  <c:v>2.3288199999999999</c:v>
                </c:pt>
                <c:pt idx="5390">
                  <c:v>2.7056200000000001</c:v>
                </c:pt>
                <c:pt idx="5391">
                  <c:v>2.7205599999999999</c:v>
                </c:pt>
                <c:pt idx="5392">
                  <c:v>#N/A</c:v>
                </c:pt>
                <c:pt idx="5393">
                  <c:v>2.9182199999999998</c:v>
                </c:pt>
                <c:pt idx="5394">
                  <c:v>2.9227599999999998</c:v>
                </c:pt>
                <c:pt idx="5395">
                  <c:v>2.8475000000000001</c:v>
                </c:pt>
                <c:pt idx="5396">
                  <c:v>2.6469999999999998</c:v>
                </c:pt>
                <c:pt idx="5397">
                  <c:v>#N/A</c:v>
                </c:pt>
                <c:pt idx="5398">
                  <c:v>2.0294400000000001</c:v>
                </c:pt>
                <c:pt idx="5399">
                  <c:v>1.75051</c:v>
                </c:pt>
                <c:pt idx="5400">
                  <c:v>#N/A</c:v>
                </c:pt>
                <c:pt idx="5401">
                  <c:v>2.21218</c:v>
                </c:pt>
                <c:pt idx="5402">
                  <c:v>2.28756</c:v>
                </c:pt>
                <c:pt idx="5403">
                  <c:v>#N/A</c:v>
                </c:pt>
                <c:pt idx="5404">
                  <c:v>2.4343499999999998</c:v>
                </c:pt>
                <c:pt idx="5405">
                  <c:v>2.60405</c:v>
                </c:pt>
                <c:pt idx="5406">
                  <c:v>2.85948</c:v>
                </c:pt>
                <c:pt idx="5407">
                  <c:v>#N/A</c:v>
                </c:pt>
                <c:pt idx="5408">
                  <c:v>2.8197399999999999</c:v>
                </c:pt>
                <c:pt idx="5409">
                  <c:v>2.7742300000000002</c:v>
                </c:pt>
                <c:pt idx="5410">
                  <c:v>3.3621400000000001</c:v>
                </c:pt>
                <c:pt idx="5411">
                  <c:v>#N/A</c:v>
                </c:pt>
                <c:pt idx="5412">
                  <c:v>3.1954400000000001</c:v>
                </c:pt>
                <c:pt idx="5413">
                  <c:v>3.3422299999999998</c:v>
                </c:pt>
                <c:pt idx="5414">
                  <c:v>3.0934900000000001</c:v>
                </c:pt>
                <c:pt idx="5415">
                  <c:v>2.8315600000000001</c:v>
                </c:pt>
                <c:pt idx="5416">
                  <c:v>#N/A</c:v>
                </c:pt>
                <c:pt idx="5417">
                  <c:v>2.5116499999999999</c:v>
                </c:pt>
                <c:pt idx="5418">
                  <c:v>2.3599000000000001</c:v>
                </c:pt>
                <c:pt idx="5419">
                  <c:v>2.20167</c:v>
                </c:pt>
                <c:pt idx="5420">
                  <c:v>#N/A</c:v>
                </c:pt>
                <c:pt idx="5421">
                  <c:v>2.7241200000000001</c:v>
                </c:pt>
                <c:pt idx="5422">
                  <c:v>2.6416599999999999</c:v>
                </c:pt>
                <c:pt idx="5423">
                  <c:v>2.42456</c:v>
                </c:pt>
                <c:pt idx="5424">
                  <c:v>2.5722100000000001</c:v>
                </c:pt>
                <c:pt idx="5425">
                  <c:v>#N/A</c:v>
                </c:pt>
                <c:pt idx="5426">
                  <c:v>2.30687</c:v>
                </c:pt>
                <c:pt idx="5427">
                  <c:v>2.75665</c:v>
                </c:pt>
                <c:pt idx="5428">
                  <c:v>2.8331499999999998</c:v>
                </c:pt>
                <c:pt idx="5429">
                  <c:v>#N/A</c:v>
                </c:pt>
                <c:pt idx="5430">
                  <c:v>3.0251999999999999</c:v>
                </c:pt>
                <c:pt idx="5431">
                  <c:v>2.8461699999999999</c:v>
                </c:pt>
                <c:pt idx="5432">
                  <c:v>2.8148300000000002</c:v>
                </c:pt>
                <c:pt idx="5433">
                  <c:v>#N/A</c:v>
                </c:pt>
                <c:pt idx="5434">
                  <c:v>2.7989700000000002</c:v>
                </c:pt>
                <c:pt idx="5435">
                  <c:v>3.0670500000000001</c:v>
                </c:pt>
                <c:pt idx="5436">
                  <c:v>2.6221199999999998</c:v>
                </c:pt>
                <c:pt idx="5437">
                  <c:v>2.6011500000000001</c:v>
                </c:pt>
                <c:pt idx="5438">
                  <c:v>#N/A</c:v>
                </c:pt>
                <c:pt idx="5439">
                  <c:v>2.4269099999999999</c:v>
                </c:pt>
                <c:pt idx="5440">
                  <c:v>2.4847700000000001</c:v>
                </c:pt>
                <c:pt idx="5441">
                  <c:v>2.30552</c:v>
                </c:pt>
                <c:pt idx="5442">
                  <c:v>2.90306</c:v>
                </c:pt>
                <c:pt idx="5443">
                  <c:v>#N/A</c:v>
                </c:pt>
                <c:pt idx="5444">
                  <c:v>3.1177899999999998</c:v>
                </c:pt>
                <c:pt idx="5445">
                  <c:v>2.8780299999999999</c:v>
                </c:pt>
                <c:pt idx="5446">
                  <c:v>2.6536900000000001</c:v>
                </c:pt>
                <c:pt idx="5447">
                  <c:v>#N/A</c:v>
                </c:pt>
                <c:pt idx="5448">
                  <c:v>2.8501500000000002</c:v>
                </c:pt>
                <c:pt idx="5449">
                  <c:v>2.8336999999999999</c:v>
                </c:pt>
                <c:pt idx="5450">
                  <c:v>2.5640999999999998</c:v>
                </c:pt>
                <c:pt idx="5451">
                  <c:v>3.76172</c:v>
                </c:pt>
                <c:pt idx="5452">
                  <c:v>#N/A</c:v>
                </c:pt>
                <c:pt idx="5453">
                  <c:v>3.15524</c:v>
                </c:pt>
                <c:pt idx="5454">
                  <c:v>3.2671899999999998</c:v>
                </c:pt>
                <c:pt idx="5455">
                  <c:v>2.69157</c:v>
                </c:pt>
                <c:pt idx="5456">
                  <c:v>#N/A</c:v>
                </c:pt>
                <c:pt idx="5457">
                  <c:v>2.4962</c:v>
                </c:pt>
                <c:pt idx="5458">
                  <c:v>2.31732</c:v>
                </c:pt>
                <c:pt idx="5459">
                  <c:v>2.55185</c:v>
                </c:pt>
                <c:pt idx="5460">
                  <c:v>#N/A</c:v>
                </c:pt>
                <c:pt idx="5461">
                  <c:v>1.88635</c:v>
                </c:pt>
                <c:pt idx="5462">
                  <c:v>2.3464900000000002</c:v>
                </c:pt>
                <c:pt idx="5463">
                  <c:v>1.97058</c:v>
                </c:pt>
                <c:pt idx="5464">
                  <c:v>#N/A</c:v>
                </c:pt>
                <c:pt idx="5465">
                  <c:v>2.3693200000000001</c:v>
                </c:pt>
                <c:pt idx="5466">
                  <c:v>2.66892</c:v>
                </c:pt>
                <c:pt idx="5467">
                  <c:v>2.64846</c:v>
                </c:pt>
                <c:pt idx="5468">
                  <c:v>2.6926700000000001</c:v>
                </c:pt>
                <c:pt idx="5469">
                  <c:v>#N/A</c:v>
                </c:pt>
                <c:pt idx="5470">
                  <c:v>2.5577999999999999</c:v>
                </c:pt>
                <c:pt idx="5471">
                  <c:v>2.5324</c:v>
                </c:pt>
                <c:pt idx="5472">
                  <c:v>2.7063700000000002</c:v>
                </c:pt>
                <c:pt idx="5473">
                  <c:v>#N/A</c:v>
                </c:pt>
                <c:pt idx="5474">
                  <c:v>2.46252</c:v>
                </c:pt>
                <c:pt idx="5475">
                  <c:v>3.1143800000000001</c:v>
                </c:pt>
                <c:pt idx="5476">
                  <c:v>#N/A</c:v>
                </c:pt>
                <c:pt idx="5477">
                  <c:v>2.8093400000000002</c:v>
                </c:pt>
                <c:pt idx="5478">
                  <c:v>2.3486400000000001</c:v>
                </c:pt>
                <c:pt idx="5479">
                  <c:v>1.9869600000000001</c:v>
                </c:pt>
                <c:pt idx="5480">
                  <c:v>2.40842</c:v>
                </c:pt>
                <c:pt idx="5481">
                  <c:v>#N/A</c:v>
                </c:pt>
                <c:pt idx="5482">
                  <c:v>2.1863800000000002</c:v>
                </c:pt>
                <c:pt idx="5483">
                  <c:v>2.3362699999999998</c:v>
                </c:pt>
                <c:pt idx="5484">
                  <c:v>2.6591800000000001</c:v>
                </c:pt>
                <c:pt idx="5485">
                  <c:v>#N/A</c:v>
                </c:pt>
                <c:pt idx="5486">
                  <c:v>2.3278099999999999</c:v>
                </c:pt>
                <c:pt idx="5487">
                  <c:v>2.2055500000000001</c:v>
                </c:pt>
                <c:pt idx="5488">
                  <c:v>2.12934</c:v>
                </c:pt>
                <c:pt idx="5489">
                  <c:v>#N/A</c:v>
                </c:pt>
                <c:pt idx="5490">
                  <c:v>2.6107800000000001</c:v>
                </c:pt>
                <c:pt idx="5491">
                  <c:v>2.77556</c:v>
                </c:pt>
                <c:pt idx="5492">
                  <c:v>2.9321999999999999</c:v>
                </c:pt>
                <c:pt idx="5493">
                  <c:v>2.64045</c:v>
                </c:pt>
                <c:pt idx="5494">
                  <c:v>#N/A</c:v>
                </c:pt>
                <c:pt idx="5495">
                  <c:v>2.5722900000000002</c:v>
                </c:pt>
                <c:pt idx="5496">
                  <c:v>2.1439599999999999</c:v>
                </c:pt>
                <c:pt idx="5497">
                  <c:v>1.5639700000000001</c:v>
                </c:pt>
                <c:pt idx="5498">
                  <c:v>2.1097299999999999</c:v>
                </c:pt>
                <c:pt idx="5499">
                  <c:v>#N/A</c:v>
                </c:pt>
                <c:pt idx="5500">
                  <c:v>2.05694</c:v>
                </c:pt>
                <c:pt idx="5501">
                  <c:v>1.9025000000000001</c:v>
                </c:pt>
                <c:pt idx="5502">
                  <c:v>2.24505</c:v>
                </c:pt>
                <c:pt idx="5503">
                  <c:v>#N/A</c:v>
                </c:pt>
                <c:pt idx="5504">
                  <c:v>2.4657300000000002</c:v>
                </c:pt>
                <c:pt idx="5505">
                  <c:v>2.3501099999999999</c:v>
                </c:pt>
                <c:pt idx="5506">
                  <c:v>2.4016999999999999</c:v>
                </c:pt>
                <c:pt idx="5507">
                  <c:v>2.32646</c:v>
                </c:pt>
                <c:pt idx="5508">
                  <c:v>#N/A</c:v>
                </c:pt>
                <c:pt idx="5509">
                  <c:v>1.90066</c:v>
                </c:pt>
                <c:pt idx="5510">
                  <c:v>2.4585699999999999</c:v>
                </c:pt>
                <c:pt idx="5511">
                  <c:v>2.8615900000000001</c:v>
                </c:pt>
                <c:pt idx="5512">
                  <c:v>#N/A</c:v>
                </c:pt>
                <c:pt idx="5513">
                  <c:v>3.0189499999999998</c:v>
                </c:pt>
                <c:pt idx="5514">
                  <c:v>2.7349600000000001</c:v>
                </c:pt>
                <c:pt idx="5515">
                  <c:v>2.5198</c:v>
                </c:pt>
                <c:pt idx="5516">
                  <c:v>2.17028</c:v>
                </c:pt>
                <c:pt idx="5517">
                  <c:v>#N/A</c:v>
                </c:pt>
                <c:pt idx="5518">
                  <c:v>1.6027100000000001</c:v>
                </c:pt>
                <c:pt idx="5519">
                  <c:v>1.2078599999999999</c:v>
                </c:pt>
                <c:pt idx="5520">
                  <c:v>1.74234</c:v>
                </c:pt>
                <c:pt idx="5521">
                  <c:v>#N/A</c:v>
                </c:pt>
                <c:pt idx="5522">
                  <c:v>1.94611</c:v>
                </c:pt>
                <c:pt idx="5523">
                  <c:v>2.5451600000000001</c:v>
                </c:pt>
                <c:pt idx="5524">
                  <c:v>1.9810700000000001</c:v>
                </c:pt>
                <c:pt idx="5525">
                  <c:v>#N/A</c:v>
                </c:pt>
                <c:pt idx="5526">
                  <c:v>2.5110899999999998</c:v>
                </c:pt>
                <c:pt idx="5527">
                  <c:v>2.54976</c:v>
                </c:pt>
                <c:pt idx="5528">
                  <c:v>2.2276899999999999</c:v>
                </c:pt>
                <c:pt idx="5529">
                  <c:v>2.4332099999999999</c:v>
                </c:pt>
                <c:pt idx="5530">
                  <c:v>#N/A</c:v>
                </c:pt>
                <c:pt idx="5531">
                  <c:v>2.0041600000000002</c:v>
                </c:pt>
                <c:pt idx="5532">
                  <c:v>1.61321</c:v>
                </c:pt>
                <c:pt idx="5533">
                  <c:v>2.46408</c:v>
                </c:pt>
                <c:pt idx="5534">
                  <c:v>#N/A</c:v>
                </c:pt>
                <c:pt idx="5535">
                  <c:v>2.9432</c:v>
                </c:pt>
                <c:pt idx="5536">
                  <c:v>2.48468</c:v>
                </c:pt>
                <c:pt idx="5537">
                  <c:v>2.2355800000000001</c:v>
                </c:pt>
                <c:pt idx="5538">
                  <c:v>1.7555499999999999</c:v>
                </c:pt>
                <c:pt idx="5539">
                  <c:v>#N/A</c:v>
                </c:pt>
                <c:pt idx="5540">
                  <c:v>1.5493600000000001</c:v>
                </c:pt>
                <c:pt idx="5541">
                  <c:v>1.5523800000000001</c:v>
                </c:pt>
                <c:pt idx="5542">
                  <c:v>1.7224999999999999</c:v>
                </c:pt>
                <c:pt idx="5543">
                  <c:v>#N/A</c:v>
                </c:pt>
                <c:pt idx="5544">
                  <c:v>2.4293200000000001</c:v>
                </c:pt>
                <c:pt idx="5545">
                  <c:v>2.6373600000000001</c:v>
                </c:pt>
                <c:pt idx="5546">
                  <c:v>#N/A</c:v>
                </c:pt>
                <c:pt idx="5547">
                  <c:v>2.6934</c:v>
                </c:pt>
                <c:pt idx="5548">
                  <c:v>#N/A</c:v>
                </c:pt>
                <c:pt idx="5549">
                  <c:v>2.56419</c:v>
                </c:pt>
                <c:pt idx="5550">
                  <c:v>2.4522599999999999</c:v>
                </c:pt>
                <c:pt idx="5551">
                  <c:v>2.73421</c:v>
                </c:pt>
                <c:pt idx="5552">
                  <c:v>#N/A</c:v>
                </c:pt>
                <c:pt idx="5553">
                  <c:v>2.33385</c:v>
                </c:pt>
                <c:pt idx="5554">
                  <c:v>2.0897199999999998</c:v>
                </c:pt>
                <c:pt idx="5555">
                  <c:v>1.86538</c:v>
                </c:pt>
                <c:pt idx="5556">
                  <c:v>#N/A</c:v>
                </c:pt>
                <c:pt idx="5557">
                  <c:v>2.5567700000000002</c:v>
                </c:pt>
                <c:pt idx="5558">
                  <c:v>2.28857</c:v>
                </c:pt>
                <c:pt idx="5559">
                  <c:v>2.1010200000000001</c:v>
                </c:pt>
                <c:pt idx="5560">
                  <c:v>2.50936</c:v>
                </c:pt>
                <c:pt idx="5561">
                  <c:v>#N/A</c:v>
                </c:pt>
                <c:pt idx="5562">
                  <c:v>2.2333099999999999</c:v>
                </c:pt>
                <c:pt idx="5563">
                  <c:v>1.9180900000000001</c:v>
                </c:pt>
                <c:pt idx="5564">
                  <c:v>2.4377599999999999</c:v>
                </c:pt>
                <c:pt idx="5565">
                  <c:v>1.94645</c:v>
                </c:pt>
                <c:pt idx="5566">
                  <c:v>#N/A</c:v>
                </c:pt>
                <c:pt idx="5567">
                  <c:v>2.2768099999999998</c:v>
                </c:pt>
                <c:pt idx="5568">
                  <c:v>2.70004</c:v>
                </c:pt>
                <c:pt idx="5569">
                  <c:v>2.16614</c:v>
                </c:pt>
                <c:pt idx="5570">
                  <c:v>#N/A</c:v>
                </c:pt>
                <c:pt idx="5571">
                  <c:v>2.72858</c:v>
                </c:pt>
                <c:pt idx="5572">
                  <c:v>2.4958200000000001</c:v>
                </c:pt>
                <c:pt idx="5573">
                  <c:v>2.9112399999999998</c:v>
                </c:pt>
                <c:pt idx="5574">
                  <c:v>#N/A</c:v>
                </c:pt>
                <c:pt idx="5575">
                  <c:v>2.66818</c:v>
                </c:pt>
                <c:pt idx="5576">
                  <c:v>1.7031000000000001</c:v>
                </c:pt>
                <c:pt idx="5577">
                  <c:v>1.3355999999999999</c:v>
                </c:pt>
                <c:pt idx="5578">
                  <c:v>1.65696</c:v>
                </c:pt>
                <c:pt idx="5579">
                  <c:v>#N/A</c:v>
                </c:pt>
                <c:pt idx="5580">
                  <c:v>1.58752</c:v>
                </c:pt>
                <c:pt idx="5581">
                  <c:v>2.37296</c:v>
                </c:pt>
                <c:pt idx="5582">
                  <c:v>2.6015899999999998</c:v>
                </c:pt>
                <c:pt idx="5583">
                  <c:v>#N/A</c:v>
                </c:pt>
                <c:pt idx="5584">
                  <c:v>2.5183</c:v>
                </c:pt>
                <c:pt idx="5585">
                  <c:v>2.37215</c:v>
                </c:pt>
                <c:pt idx="5586">
                  <c:v>2.3910399999999998</c:v>
                </c:pt>
                <c:pt idx="5587">
                  <c:v>2.0471200000000001</c:v>
                </c:pt>
                <c:pt idx="5588">
                  <c:v>#N/A</c:v>
                </c:pt>
                <c:pt idx="5589">
                  <c:v>2.0728900000000001</c:v>
                </c:pt>
                <c:pt idx="5590">
                  <c:v>2.13808</c:v>
                </c:pt>
                <c:pt idx="5591">
                  <c:v>3.0546899999999999</c:v>
                </c:pt>
                <c:pt idx="5592">
                  <c:v>#N/A</c:v>
                </c:pt>
                <c:pt idx="5593">
                  <c:v>2.7907099999999998</c:v>
                </c:pt>
                <c:pt idx="5594">
                  <c:v>2.59076</c:v>
                </c:pt>
                <c:pt idx="5595">
                  <c:v>2.4584600000000001</c:v>
                </c:pt>
                <c:pt idx="5596">
                  <c:v>#N/A</c:v>
                </c:pt>
                <c:pt idx="5597">
                  <c:v>2.3687</c:v>
                </c:pt>
                <c:pt idx="5598">
                  <c:v>2.0854699999999999</c:v>
                </c:pt>
                <c:pt idx="5599">
                  <c:v>1.84334</c:v>
                </c:pt>
                <c:pt idx="5600">
                  <c:v>#N/A</c:v>
                </c:pt>
                <c:pt idx="5601">
                  <c:v>1.20932</c:v>
                </c:pt>
                <c:pt idx="5602">
                  <c:v>1.84941</c:v>
                </c:pt>
                <c:pt idx="5603">
                  <c:v>1.8581399999999999</c:v>
                </c:pt>
                <c:pt idx="5604">
                  <c:v>2.6512099999999998</c:v>
                </c:pt>
                <c:pt idx="5605">
                  <c:v>#N/A</c:v>
                </c:pt>
                <c:pt idx="5606">
                  <c:v>2.7977799999999999</c:v>
                </c:pt>
                <c:pt idx="5607">
                  <c:v>2.5142500000000001</c:v>
                </c:pt>
                <c:pt idx="5608">
                  <c:v>2.3394400000000002</c:v>
                </c:pt>
                <c:pt idx="5609">
                  <c:v>#N/A</c:v>
                </c:pt>
                <c:pt idx="5610">
                  <c:v>1.9785900000000001</c:v>
                </c:pt>
                <c:pt idx="5611">
                  <c:v>2.4833799999999999</c:v>
                </c:pt>
                <c:pt idx="5612">
                  <c:v>2.23692</c:v>
                </c:pt>
                <c:pt idx="5613">
                  <c:v>2.21217</c:v>
                </c:pt>
                <c:pt idx="5614">
                  <c:v>#N/A</c:v>
                </c:pt>
                <c:pt idx="5615">
                  <c:v>2.51647</c:v>
                </c:pt>
                <c:pt idx="5616">
                  <c:v>2.8105799999999999</c:v>
                </c:pt>
                <c:pt idx="5617">
                  <c:v>#N/A</c:v>
                </c:pt>
                <c:pt idx="5618">
                  <c:v>2.3607399999999998</c:v>
                </c:pt>
                <c:pt idx="5619">
                  <c:v>2.2038000000000002</c:v>
                </c:pt>
                <c:pt idx="5620">
                  <c:v>1.9026099999999999</c:v>
                </c:pt>
                <c:pt idx="5621">
                  <c:v>2.0717599999999998</c:v>
                </c:pt>
                <c:pt idx="5622">
                  <c:v>#N/A</c:v>
                </c:pt>
                <c:pt idx="5623">
                  <c:v>2.1193900000000001</c:v>
                </c:pt>
                <c:pt idx="5624">
                  <c:v>1.97289</c:v>
                </c:pt>
                <c:pt idx="5625">
                  <c:v>2.2972600000000001</c:v>
                </c:pt>
                <c:pt idx="5626">
                  <c:v>#N/A</c:v>
                </c:pt>
                <c:pt idx="5627">
                  <c:v>2.8430800000000001</c:v>
                </c:pt>
                <c:pt idx="5628">
                  <c:v>2.4004699999999999</c:v>
                </c:pt>
                <c:pt idx="5629">
                  <c:v>3.0481400000000001</c:v>
                </c:pt>
                <c:pt idx="5630">
                  <c:v>#N/A</c:v>
                </c:pt>
                <c:pt idx="5631">
                  <c:v>2.8795099999999998</c:v>
                </c:pt>
                <c:pt idx="5632">
                  <c:v>2.5025200000000001</c:v>
                </c:pt>
                <c:pt idx="5633">
                  <c:v>2.0153699999999999</c:v>
                </c:pt>
                <c:pt idx="5634">
                  <c:v>#N/A</c:v>
                </c:pt>
                <c:pt idx="5635">
                  <c:v>1.8122400000000001</c:v>
                </c:pt>
                <c:pt idx="5636">
                  <c:v>2.03288</c:v>
                </c:pt>
                <c:pt idx="5637">
                  <c:v>#N/A</c:v>
                </c:pt>
                <c:pt idx="5638">
                  <c:v>1.2621100000000001</c:v>
                </c:pt>
                <c:pt idx="5639">
                  <c:v>1.80952</c:v>
                </c:pt>
                <c:pt idx="5640">
                  <c:v>2.40286</c:v>
                </c:pt>
                <c:pt idx="5641">
                  <c:v>2.4149500000000002</c:v>
                </c:pt>
                <c:pt idx="5642">
                  <c:v>#N/A</c:v>
                </c:pt>
                <c:pt idx="5643">
                  <c:v>1.7571600000000001</c:v>
                </c:pt>
                <c:pt idx="5644">
                  <c:v>2.1257299999999999</c:v>
                </c:pt>
                <c:pt idx="5645">
                  <c:v>2.2365599999999999</c:v>
                </c:pt>
                <c:pt idx="5646">
                  <c:v>#N/A</c:v>
                </c:pt>
                <c:pt idx="5647">
                  <c:v>2.0817899999999998</c:v>
                </c:pt>
                <c:pt idx="5648">
                  <c:v>2.3840499999999998</c:v>
                </c:pt>
                <c:pt idx="5649">
                  <c:v>2.7990499999999998</c:v>
                </c:pt>
                <c:pt idx="5650">
                  <c:v>2.8419599999999998</c:v>
                </c:pt>
                <c:pt idx="5651">
                  <c:v>#N/A</c:v>
                </c:pt>
                <c:pt idx="5652">
                  <c:v>2.60623</c:v>
                </c:pt>
                <c:pt idx="5653">
                  <c:v>3.1522999999999999</c:v>
                </c:pt>
                <c:pt idx="5654">
                  <c:v>2.5926100000000001</c:v>
                </c:pt>
                <c:pt idx="5655">
                  <c:v>2.3196599999999998</c:v>
                </c:pt>
                <c:pt idx="5656">
                  <c:v>#N/A</c:v>
                </c:pt>
                <c:pt idx="5657">
                  <c:v>1.56873</c:v>
                </c:pt>
                <c:pt idx="5658">
                  <c:v>1.63175</c:v>
                </c:pt>
                <c:pt idx="5659">
                  <c:v>1.42727</c:v>
                </c:pt>
                <c:pt idx="5660">
                  <c:v>#N/A</c:v>
                </c:pt>
                <c:pt idx="5661">
                  <c:v>1.87046</c:v>
                </c:pt>
                <c:pt idx="5662">
                  <c:v>2.5314399999999999</c:v>
                </c:pt>
                <c:pt idx="5663">
                  <c:v>2.1609699999999998</c:v>
                </c:pt>
                <c:pt idx="5664">
                  <c:v>2.35955</c:v>
                </c:pt>
                <c:pt idx="5665">
                  <c:v>#N/A</c:v>
                </c:pt>
                <c:pt idx="5666">
                  <c:v>2.1040899999999998</c:v>
                </c:pt>
                <c:pt idx="5667">
                  <c:v>2.0649700000000002</c:v>
                </c:pt>
                <c:pt idx="5668">
                  <c:v>2.2249599999999998</c:v>
                </c:pt>
                <c:pt idx="5669">
                  <c:v>#N/A</c:v>
                </c:pt>
                <c:pt idx="5670">
                  <c:v>1.99855</c:v>
                </c:pt>
                <c:pt idx="5671">
                  <c:v>1.90232</c:v>
                </c:pt>
                <c:pt idx="5672">
                  <c:v>2.11</c:v>
                </c:pt>
                <c:pt idx="5673">
                  <c:v>2.31365</c:v>
                </c:pt>
                <c:pt idx="5674">
                  <c:v>#N/A</c:v>
                </c:pt>
                <c:pt idx="5675">
                  <c:v>2.66933</c:v>
                </c:pt>
                <c:pt idx="5676">
                  <c:v>2.4095599999999999</c:v>
                </c:pt>
                <c:pt idx="5677">
                  <c:v>2.1255899999999999</c:v>
                </c:pt>
                <c:pt idx="5678">
                  <c:v>#N/A</c:v>
                </c:pt>
                <c:pt idx="5679">
                  <c:v>1.77213</c:v>
                </c:pt>
                <c:pt idx="5680">
                  <c:v>1.6396599999999999</c:v>
                </c:pt>
                <c:pt idx="5681">
                  <c:v>1.5931999999999999</c:v>
                </c:pt>
                <c:pt idx="5682">
                  <c:v>#N/A</c:v>
                </c:pt>
                <c:pt idx="5683">
                  <c:v>2.3261500000000002</c:v>
                </c:pt>
                <c:pt idx="5684">
                  <c:v>2.35202</c:v>
                </c:pt>
                <c:pt idx="5685">
                  <c:v>2.7566000000000002</c:v>
                </c:pt>
                <c:pt idx="5686">
                  <c:v>2.6330399999999998</c:v>
                </c:pt>
                <c:pt idx="5687">
                  <c:v>#N/A</c:v>
                </c:pt>
                <c:pt idx="5688">
                  <c:v>2.45716</c:v>
                </c:pt>
                <c:pt idx="5689">
                  <c:v>2.4378000000000002</c:v>
                </c:pt>
                <c:pt idx="5690">
                  <c:v>2.3059699999999999</c:v>
                </c:pt>
                <c:pt idx="5691">
                  <c:v>2.2173099999999999</c:v>
                </c:pt>
                <c:pt idx="5692">
                  <c:v>#N/A</c:v>
                </c:pt>
                <c:pt idx="5693">
                  <c:v>2.2092700000000001</c:v>
                </c:pt>
                <c:pt idx="5694">
                  <c:v>1.6925600000000001</c:v>
                </c:pt>
                <c:pt idx="5695">
                  <c:v>#N/A</c:v>
                </c:pt>
                <c:pt idx="5696">
                  <c:v>1.9003399999999999</c:v>
                </c:pt>
                <c:pt idx="5697">
                  <c:v>1.81488</c:v>
                </c:pt>
                <c:pt idx="5698">
                  <c:v>1.9260999999999999</c:v>
                </c:pt>
                <c:pt idx="5699">
                  <c:v>2.14039</c:v>
                </c:pt>
                <c:pt idx="5700">
                  <c:v>#N/A</c:v>
                </c:pt>
                <c:pt idx="5701">
                  <c:v>2.0346299999999999</c:v>
                </c:pt>
                <c:pt idx="5702">
                  <c:v>1.7015899999999999</c:v>
                </c:pt>
                <c:pt idx="5703">
                  <c:v>1.8040099999999999</c:v>
                </c:pt>
                <c:pt idx="5704">
                  <c:v>#N/A</c:v>
                </c:pt>
                <c:pt idx="5705">
                  <c:v>2.1197400000000002</c:v>
                </c:pt>
                <c:pt idx="5706">
                  <c:v>2.2115499999999999</c:v>
                </c:pt>
                <c:pt idx="5707">
                  <c:v>2.7535599999999998</c:v>
                </c:pt>
                <c:pt idx="5708">
                  <c:v>2.7424499999999998</c:v>
                </c:pt>
                <c:pt idx="5709">
                  <c:v>#N/A</c:v>
                </c:pt>
                <c:pt idx="5710">
                  <c:v>2.60249</c:v>
                </c:pt>
                <c:pt idx="5711">
                  <c:v>2.93398</c:v>
                </c:pt>
                <c:pt idx="5712">
                  <c:v>2.2745600000000001</c:v>
                </c:pt>
                <c:pt idx="5713">
                  <c:v>#N/A</c:v>
                </c:pt>
                <c:pt idx="5714">
                  <c:v>2.44177</c:v>
                </c:pt>
                <c:pt idx="5715">
                  <c:v>2.4582600000000001</c:v>
                </c:pt>
                <c:pt idx="5716">
                  <c:v>1.5299499999999999</c:v>
                </c:pt>
                <c:pt idx="5717">
                  <c:v>1.7624</c:v>
                </c:pt>
                <c:pt idx="5718">
                  <c:v>#N/A</c:v>
                </c:pt>
                <c:pt idx="5719">
                  <c:v>1.5761799999999999</c:v>
                </c:pt>
                <c:pt idx="5720">
                  <c:v>2.22098</c:v>
                </c:pt>
                <c:pt idx="5721">
                  <c:v>1.9884200000000001</c:v>
                </c:pt>
                <c:pt idx="5722">
                  <c:v>2.5102199999999999</c:v>
                </c:pt>
                <c:pt idx="5723">
                  <c:v>#N/A</c:v>
                </c:pt>
                <c:pt idx="5724">
                  <c:v>2.1239699999999999</c:v>
                </c:pt>
                <c:pt idx="5725">
                  <c:v>2.3777900000000001</c:v>
                </c:pt>
                <c:pt idx="5726">
                  <c:v>2.8665699999999998</c:v>
                </c:pt>
                <c:pt idx="5727">
                  <c:v>#N/A</c:v>
                </c:pt>
                <c:pt idx="5728">
                  <c:v>2.56684</c:v>
                </c:pt>
                <c:pt idx="5729">
                  <c:v>3.0556000000000001</c:v>
                </c:pt>
                <c:pt idx="5730">
                  <c:v>2.8342999999999998</c:v>
                </c:pt>
                <c:pt idx="5731">
                  <c:v>#N/A</c:v>
                </c:pt>
                <c:pt idx="5732">
                  <c:v>2.7004299999999999</c:v>
                </c:pt>
                <c:pt idx="5733">
                  <c:v>2.4733200000000002</c:v>
                </c:pt>
                <c:pt idx="5734">
                  <c:v>2.8753099999999998</c:v>
                </c:pt>
                <c:pt idx="5735">
                  <c:v>2.2204700000000002</c:v>
                </c:pt>
                <c:pt idx="5736">
                  <c:v>#N/A</c:v>
                </c:pt>
                <c:pt idx="5737">
                  <c:v>1.7774399999999999</c:v>
                </c:pt>
                <c:pt idx="5738">
                  <c:v>1.6933100000000001</c:v>
                </c:pt>
                <c:pt idx="5739">
                  <c:v>1.10571</c:v>
                </c:pt>
                <c:pt idx="5740">
                  <c:v>#N/A</c:v>
                </c:pt>
                <c:pt idx="5741">
                  <c:v>0.90377799999999997</c:v>
                </c:pt>
                <c:pt idx="5742">
                  <c:v>1.5003</c:v>
                </c:pt>
                <c:pt idx="5743">
                  <c:v>1.9262900000000001</c:v>
                </c:pt>
                <c:pt idx="5744">
                  <c:v>2.8301699999999999</c:v>
                </c:pt>
                <c:pt idx="5745">
                  <c:v>#N/A</c:v>
                </c:pt>
                <c:pt idx="5746">
                  <c:v>2.5177900000000002</c:v>
                </c:pt>
                <c:pt idx="5747">
                  <c:v>2.3322500000000002</c:v>
                </c:pt>
                <c:pt idx="5748">
                  <c:v>2.2276899999999999</c:v>
                </c:pt>
                <c:pt idx="5749">
                  <c:v>#N/A</c:v>
                </c:pt>
                <c:pt idx="5750">
                  <c:v>2.08569</c:v>
                </c:pt>
                <c:pt idx="5751">
                  <c:v>2.8669799999999999</c:v>
                </c:pt>
                <c:pt idx="5752">
                  <c:v>2.0304700000000002</c:v>
                </c:pt>
                <c:pt idx="5753">
                  <c:v>2.7328999999999999</c:v>
                </c:pt>
                <c:pt idx="5754">
                  <c:v>#N/A</c:v>
                </c:pt>
                <c:pt idx="5755">
                  <c:v>2.56772</c:v>
                </c:pt>
                <c:pt idx="5756">
                  <c:v>2.7990699999999999</c:v>
                </c:pt>
                <c:pt idx="5757">
                  <c:v>2.1052900000000001</c:v>
                </c:pt>
                <c:pt idx="5758">
                  <c:v>#N/A</c:v>
                </c:pt>
                <c:pt idx="5759">
                  <c:v>1.79573</c:v>
                </c:pt>
                <c:pt idx="5760">
                  <c:v>1.9011</c:v>
                </c:pt>
                <c:pt idx="5761">
                  <c:v>#N/A</c:v>
                </c:pt>
                <c:pt idx="5762">
                  <c:v>2.25597</c:v>
                </c:pt>
                <c:pt idx="5763">
                  <c:v>1.9463900000000001</c:v>
                </c:pt>
                <c:pt idx="5764">
                  <c:v>#N/A</c:v>
                </c:pt>
                <c:pt idx="5765">
                  <c:v>2.3582700000000001</c:v>
                </c:pt>
                <c:pt idx="5766">
                  <c:v>2.2265600000000001</c:v>
                </c:pt>
                <c:pt idx="5767">
                  <c:v>2.53857</c:v>
                </c:pt>
                <c:pt idx="5768">
                  <c:v>2.5672100000000002</c:v>
                </c:pt>
                <c:pt idx="5769">
                  <c:v>#N/A</c:v>
                </c:pt>
                <c:pt idx="5770">
                  <c:v>2.4701200000000001</c:v>
                </c:pt>
                <c:pt idx="5771">
                  <c:v>2.8928400000000001</c:v>
                </c:pt>
                <c:pt idx="5772">
                  <c:v>3.2190099999999999</c:v>
                </c:pt>
                <c:pt idx="5773">
                  <c:v>#N/A</c:v>
                </c:pt>
                <c:pt idx="5774">
                  <c:v>2.2123400000000002</c:v>
                </c:pt>
                <c:pt idx="5775">
                  <c:v>1.51074</c:v>
                </c:pt>
                <c:pt idx="5776">
                  <c:v>2.17896</c:v>
                </c:pt>
                <c:pt idx="5777">
                  <c:v>1.97709</c:v>
                </c:pt>
                <c:pt idx="5778">
                  <c:v>#N/A</c:v>
                </c:pt>
                <c:pt idx="5779">
                  <c:v>2.0591200000000001</c:v>
                </c:pt>
                <c:pt idx="5780">
                  <c:v>2.17476</c:v>
                </c:pt>
                <c:pt idx="5781">
                  <c:v>1.9343999999999999</c:v>
                </c:pt>
                <c:pt idx="5782">
                  <c:v>#N/A</c:v>
                </c:pt>
                <c:pt idx="5783">
                  <c:v>1.9540200000000001</c:v>
                </c:pt>
                <c:pt idx="5784">
                  <c:v>2.1551</c:v>
                </c:pt>
                <c:pt idx="5785">
                  <c:v>2.0548500000000001</c:v>
                </c:pt>
                <c:pt idx="5786">
                  <c:v>#N/A</c:v>
                </c:pt>
                <c:pt idx="5787">
                  <c:v>1.82297</c:v>
                </c:pt>
                <c:pt idx="5788">
                  <c:v>1.95055</c:v>
                </c:pt>
                <c:pt idx="5789">
                  <c:v>2.2975300000000001</c:v>
                </c:pt>
                <c:pt idx="5790">
                  <c:v>#N/A</c:v>
                </c:pt>
                <c:pt idx="5791">
                  <c:v>2.2601399999999998</c:v>
                </c:pt>
                <c:pt idx="5792">
                  <c:v>2.40103</c:v>
                </c:pt>
                <c:pt idx="5793">
                  <c:v>2.7127500000000002</c:v>
                </c:pt>
                <c:pt idx="5794">
                  <c:v>#N/A</c:v>
                </c:pt>
                <c:pt idx="5795">
                  <c:v>2.8307000000000002</c:v>
                </c:pt>
                <c:pt idx="5796">
                  <c:v>1.81982</c:v>
                </c:pt>
                <c:pt idx="5797">
                  <c:v>1.50926</c:v>
                </c:pt>
                <c:pt idx="5798">
                  <c:v>1.1468499999999999</c:v>
                </c:pt>
                <c:pt idx="5799">
                  <c:v>#N/A</c:v>
                </c:pt>
                <c:pt idx="5800">
                  <c:v>1.8686100000000001</c:v>
                </c:pt>
                <c:pt idx="5801">
                  <c:v>2.2080000000000002</c:v>
                </c:pt>
                <c:pt idx="5802">
                  <c:v>2.2867999999999999</c:v>
                </c:pt>
                <c:pt idx="5803">
                  <c:v>#N/A</c:v>
                </c:pt>
                <c:pt idx="5804">
                  <c:v>2.5096099999999999</c:v>
                </c:pt>
                <c:pt idx="5805">
                  <c:v>2.2626300000000001</c:v>
                </c:pt>
                <c:pt idx="5806">
                  <c:v>2.0113400000000001</c:v>
                </c:pt>
                <c:pt idx="5807">
                  <c:v>1.7077199999999999</c:v>
                </c:pt>
                <c:pt idx="5808">
                  <c:v>#N/A</c:v>
                </c:pt>
                <c:pt idx="5809">
                  <c:v>1.8557399999999999</c:v>
                </c:pt>
                <c:pt idx="5810">
                  <c:v>1.7192799999999999</c:v>
                </c:pt>
                <c:pt idx="5811">
                  <c:v>1.82104</c:v>
                </c:pt>
                <c:pt idx="5812">
                  <c:v>2.3321900000000002</c:v>
                </c:pt>
                <c:pt idx="5813">
                  <c:v>#N/A</c:v>
                </c:pt>
                <c:pt idx="5814">
                  <c:v>2.38083</c:v>
                </c:pt>
                <c:pt idx="5815">
                  <c:v>2.2633899999999998</c:v>
                </c:pt>
                <c:pt idx="5816">
                  <c:v>#N/A</c:v>
                </c:pt>
                <c:pt idx="5817">
                  <c:v>1.6008500000000001</c:v>
                </c:pt>
                <c:pt idx="5818">
                  <c:v>2.1337199999999998</c:v>
                </c:pt>
                <c:pt idx="5819">
                  <c:v>1.52173</c:v>
                </c:pt>
                <c:pt idx="5820">
                  <c:v>#N/A</c:v>
                </c:pt>
                <c:pt idx="5821">
                  <c:v>1.63269</c:v>
                </c:pt>
                <c:pt idx="5822">
                  <c:v>1.3733</c:v>
                </c:pt>
                <c:pt idx="5823">
                  <c:v>1.9034599999999999</c:v>
                </c:pt>
                <c:pt idx="5824">
                  <c:v>2.51383</c:v>
                </c:pt>
                <c:pt idx="5825">
                  <c:v>#N/A</c:v>
                </c:pt>
                <c:pt idx="5826">
                  <c:v>2.4741</c:v>
                </c:pt>
                <c:pt idx="5827">
                  <c:v>2.6163799999999999</c:v>
                </c:pt>
                <c:pt idx="5828">
                  <c:v>2.39642</c:v>
                </c:pt>
                <c:pt idx="5829">
                  <c:v>#N/A</c:v>
                </c:pt>
                <c:pt idx="5830">
                  <c:v>2.35602</c:v>
                </c:pt>
                <c:pt idx="5831">
                  <c:v>2.0958999999999999</c:v>
                </c:pt>
                <c:pt idx="5832">
                  <c:v>#N/A</c:v>
                </c:pt>
                <c:pt idx="5833">
                  <c:v>1.94356</c:v>
                </c:pt>
                <c:pt idx="5834">
                  <c:v>2.20146</c:v>
                </c:pt>
                <c:pt idx="5835">
                  <c:v>#N/A</c:v>
                </c:pt>
                <c:pt idx="5836">
                  <c:v>2.1237699999999999</c:v>
                </c:pt>
                <c:pt idx="5837">
                  <c:v>1.92733</c:v>
                </c:pt>
                <c:pt idx="5838">
                  <c:v>2.1335099999999998</c:v>
                </c:pt>
                <c:pt idx="5839">
                  <c:v>2.1286299999999998</c:v>
                </c:pt>
                <c:pt idx="5840">
                  <c:v>#N/A</c:v>
                </c:pt>
                <c:pt idx="5841">
                  <c:v>1.8908100000000001</c:v>
                </c:pt>
                <c:pt idx="5842">
                  <c:v>1.7498100000000001</c:v>
                </c:pt>
                <c:pt idx="5843">
                  <c:v>1.66455</c:v>
                </c:pt>
                <c:pt idx="5844">
                  <c:v>#N/A</c:v>
                </c:pt>
                <c:pt idx="5845">
                  <c:v>1.8058399999999999</c:v>
                </c:pt>
                <c:pt idx="5846">
                  <c:v>2.1592799999999999</c:v>
                </c:pt>
                <c:pt idx="5847">
                  <c:v>2.4432</c:v>
                </c:pt>
                <c:pt idx="5848">
                  <c:v>#N/A</c:v>
                </c:pt>
                <c:pt idx="5849">
                  <c:v>2.2711100000000002</c:v>
                </c:pt>
                <c:pt idx="5850">
                  <c:v>2.5045000000000002</c:v>
                </c:pt>
                <c:pt idx="5851">
                  <c:v>2.43886</c:v>
                </c:pt>
                <c:pt idx="5852">
                  <c:v>2.6605400000000001</c:v>
                </c:pt>
                <c:pt idx="5853">
                  <c:v>#N/A</c:v>
                </c:pt>
                <c:pt idx="5854">
                  <c:v>2.3099799999999999</c:v>
                </c:pt>
                <c:pt idx="5855">
                  <c:v>2.0906699999999998</c:v>
                </c:pt>
                <c:pt idx="5856">
                  <c:v>1.58525</c:v>
                </c:pt>
                <c:pt idx="5857">
                  <c:v>#N/A</c:v>
                </c:pt>
                <c:pt idx="5858">
                  <c:v>1.9597</c:v>
                </c:pt>
                <c:pt idx="5859">
                  <c:v>1.9857199999999999</c:v>
                </c:pt>
                <c:pt idx="5860">
                  <c:v>2.0850200000000001</c:v>
                </c:pt>
                <c:pt idx="5861">
                  <c:v>#N/A</c:v>
                </c:pt>
                <c:pt idx="5862">
                  <c:v>2.4144299999999999</c:v>
                </c:pt>
                <c:pt idx="5863">
                  <c:v>2.35039</c:v>
                </c:pt>
                <c:pt idx="5864">
                  <c:v>2.4000400000000002</c:v>
                </c:pt>
                <c:pt idx="5865">
                  <c:v>1.62686</c:v>
                </c:pt>
                <c:pt idx="5866">
                  <c:v>#N/A</c:v>
                </c:pt>
                <c:pt idx="5867">
                  <c:v>1.4740899999999999</c:v>
                </c:pt>
                <c:pt idx="5868">
                  <c:v>1.91815</c:v>
                </c:pt>
                <c:pt idx="5869">
                  <c:v>2.0398900000000002</c:v>
                </c:pt>
                <c:pt idx="5870">
                  <c:v>2.6476299999999999</c:v>
                </c:pt>
                <c:pt idx="5871">
                  <c:v>#N/A</c:v>
                </c:pt>
                <c:pt idx="5872">
                  <c:v>2.4276599999999999</c:v>
                </c:pt>
                <c:pt idx="5873">
                  <c:v>2.2860299999999998</c:v>
                </c:pt>
                <c:pt idx="5874">
                  <c:v>2.5453800000000002</c:v>
                </c:pt>
                <c:pt idx="5875">
                  <c:v>#N/A</c:v>
                </c:pt>
                <c:pt idx="5876">
                  <c:v>2.4026100000000001</c:v>
                </c:pt>
                <c:pt idx="5877">
                  <c:v>1.9687699999999999</c:v>
                </c:pt>
                <c:pt idx="5878">
                  <c:v>1.78085</c:v>
                </c:pt>
                <c:pt idx="5879">
                  <c:v>1.86507</c:v>
                </c:pt>
                <c:pt idx="5880">
                  <c:v>#N/A</c:v>
                </c:pt>
                <c:pt idx="5881">
                  <c:v>1.6061799999999999</c:v>
                </c:pt>
                <c:pt idx="5882">
                  <c:v>1.8051900000000001</c:v>
                </c:pt>
                <c:pt idx="5883">
                  <c:v>2.7039300000000002</c:v>
                </c:pt>
                <c:pt idx="5884">
                  <c:v>#N/A</c:v>
                </c:pt>
                <c:pt idx="5885">
                  <c:v>2.4398300000000002</c:v>
                </c:pt>
                <c:pt idx="5886">
                  <c:v>2.5491600000000001</c:v>
                </c:pt>
                <c:pt idx="5887">
                  <c:v>2.4677600000000002</c:v>
                </c:pt>
                <c:pt idx="5888">
                  <c:v>#N/A</c:v>
                </c:pt>
                <c:pt idx="5889">
                  <c:v>2.3188399999999998</c:v>
                </c:pt>
                <c:pt idx="5890">
                  <c:v>2.0510299999999999</c:v>
                </c:pt>
                <c:pt idx="5891">
                  <c:v>1.8447199999999999</c:v>
                </c:pt>
                <c:pt idx="5892">
                  <c:v>2.3254899999999998</c:v>
                </c:pt>
                <c:pt idx="5893">
                  <c:v>#N/A</c:v>
                </c:pt>
                <c:pt idx="5894">
                  <c:v>2.7350500000000002</c:v>
                </c:pt>
                <c:pt idx="5895">
                  <c:v>2.3797199999999998</c:v>
                </c:pt>
                <c:pt idx="5896">
                  <c:v>1.8564099999999999</c:v>
                </c:pt>
                <c:pt idx="5897">
                  <c:v>#N/A</c:v>
                </c:pt>
                <c:pt idx="5898">
                  <c:v>2.2746499999999998</c:v>
                </c:pt>
                <c:pt idx="5899">
                  <c:v>2.1537099999999998</c:v>
                </c:pt>
                <c:pt idx="5900">
                  <c:v>1.4802200000000001</c:v>
                </c:pt>
                <c:pt idx="5901">
                  <c:v>1.7688299999999999</c:v>
                </c:pt>
                <c:pt idx="5902">
                  <c:v>#N/A</c:v>
                </c:pt>
                <c:pt idx="5903">
                  <c:v>2.24512</c:v>
                </c:pt>
                <c:pt idx="5904">
                  <c:v>#N/A</c:v>
                </c:pt>
                <c:pt idx="5905">
                  <c:v>2.1322199999999998</c:v>
                </c:pt>
                <c:pt idx="5906">
                  <c:v>#N/A</c:v>
                </c:pt>
                <c:pt idx="5907">
                  <c:v>2.5155799999999999</c:v>
                </c:pt>
                <c:pt idx="5908">
                  <c:v>2.33318</c:v>
                </c:pt>
                <c:pt idx="5909">
                  <c:v>2.8245300000000002</c:v>
                </c:pt>
                <c:pt idx="5910">
                  <c:v>2.7213799999999999</c:v>
                </c:pt>
                <c:pt idx="5911">
                  <c:v>#N/A</c:v>
                </c:pt>
                <c:pt idx="5912">
                  <c:v>2.26342</c:v>
                </c:pt>
                <c:pt idx="5913">
                  <c:v>2.0856499999999998</c:v>
                </c:pt>
                <c:pt idx="5914">
                  <c:v>2.5695399999999999</c:v>
                </c:pt>
                <c:pt idx="5915">
                  <c:v>#N/A</c:v>
                </c:pt>
                <c:pt idx="5916">
                  <c:v>2.5569199999999999</c:v>
                </c:pt>
                <c:pt idx="5917">
                  <c:v>2.29772</c:v>
                </c:pt>
                <c:pt idx="5918">
                  <c:v>1.88812</c:v>
                </c:pt>
                <c:pt idx="5919">
                  <c:v>#N/A</c:v>
                </c:pt>
                <c:pt idx="5920">
                  <c:v>2.6781299999999999</c:v>
                </c:pt>
                <c:pt idx="5921">
                  <c:v>2.4727100000000002</c:v>
                </c:pt>
                <c:pt idx="5922">
                  <c:v>2.3699400000000002</c:v>
                </c:pt>
                <c:pt idx="5923">
                  <c:v>1.9626999999999999</c:v>
                </c:pt>
                <c:pt idx="5924">
                  <c:v>#N/A</c:v>
                </c:pt>
                <c:pt idx="5925">
                  <c:v>1.7531099999999999</c:v>
                </c:pt>
                <c:pt idx="5926">
                  <c:v>1.4593100000000001</c:v>
                </c:pt>
                <c:pt idx="5927">
                  <c:v>1.6093200000000001</c:v>
                </c:pt>
                <c:pt idx="5928">
                  <c:v>#N/A</c:v>
                </c:pt>
                <c:pt idx="5929">
                  <c:v>2.0083799999999998</c:v>
                </c:pt>
                <c:pt idx="5930">
                  <c:v>2.2872699999999999</c:v>
                </c:pt>
                <c:pt idx="5931">
                  <c:v>2.2883499999999999</c:v>
                </c:pt>
                <c:pt idx="5932">
                  <c:v>2.4051499999999999</c:v>
                </c:pt>
                <c:pt idx="5933">
                  <c:v>#N/A</c:v>
                </c:pt>
                <c:pt idx="5934">
                  <c:v>2.6310799999999999</c:v>
                </c:pt>
                <c:pt idx="5935">
                  <c:v>1.9262300000000001</c:v>
                </c:pt>
                <c:pt idx="5936">
                  <c:v>2.0107900000000001</c:v>
                </c:pt>
                <c:pt idx="5937">
                  <c:v>1.8011299999999999</c:v>
                </c:pt>
                <c:pt idx="5938">
                  <c:v>#N/A</c:v>
                </c:pt>
                <c:pt idx="5939">
                  <c:v>1.7980100000000001</c:v>
                </c:pt>
                <c:pt idx="5940">
                  <c:v>1.9396199999999999</c:v>
                </c:pt>
                <c:pt idx="5941">
                  <c:v>2.6589700000000001</c:v>
                </c:pt>
                <c:pt idx="5942">
                  <c:v>#N/A</c:v>
                </c:pt>
                <c:pt idx="5943">
                  <c:v>2.9339300000000001</c:v>
                </c:pt>
                <c:pt idx="5944">
                  <c:v>3.1431300000000002</c:v>
                </c:pt>
                <c:pt idx="5945">
                  <c:v>2.78721</c:v>
                </c:pt>
                <c:pt idx="5946">
                  <c:v>#N/A</c:v>
                </c:pt>
                <c:pt idx="5947">
                  <c:v>2.34524</c:v>
                </c:pt>
                <c:pt idx="5948">
                  <c:v>2.1945700000000001</c:v>
                </c:pt>
                <c:pt idx="5949">
                  <c:v>1.80027</c:v>
                </c:pt>
                <c:pt idx="5950">
                  <c:v>#N/A</c:v>
                </c:pt>
                <c:pt idx="5951">
                  <c:v>2.2796599999999998</c:v>
                </c:pt>
                <c:pt idx="5952">
                  <c:v>2.8310200000000001</c:v>
                </c:pt>
                <c:pt idx="5953">
                  <c:v>2.5294099999999999</c:v>
                </c:pt>
                <c:pt idx="5954">
                  <c:v>#N/A</c:v>
                </c:pt>
                <c:pt idx="5955">
                  <c:v>2.40448</c:v>
                </c:pt>
                <c:pt idx="5956">
                  <c:v>2.18526</c:v>
                </c:pt>
                <c:pt idx="5957">
                  <c:v>1.9541299999999999</c:v>
                </c:pt>
                <c:pt idx="5958">
                  <c:v>1.70783</c:v>
                </c:pt>
                <c:pt idx="5959">
                  <c:v>#N/A</c:v>
                </c:pt>
                <c:pt idx="5960">
                  <c:v>1.5957600000000001</c:v>
                </c:pt>
                <c:pt idx="5961">
                  <c:v>1.5785400000000001</c:v>
                </c:pt>
                <c:pt idx="5962">
                  <c:v>2.33643</c:v>
                </c:pt>
                <c:pt idx="5963">
                  <c:v>2.3239299999999998</c:v>
                </c:pt>
                <c:pt idx="5964">
                  <c:v>#N/A</c:v>
                </c:pt>
                <c:pt idx="5965">
                  <c:v>2.7547999999999999</c:v>
                </c:pt>
                <c:pt idx="5966">
                  <c:v>2.6688499999999999</c:v>
                </c:pt>
                <c:pt idx="5967">
                  <c:v>2.5200300000000002</c:v>
                </c:pt>
                <c:pt idx="5968">
                  <c:v>#N/A</c:v>
                </c:pt>
                <c:pt idx="5969">
                  <c:v>2.6136400000000002</c:v>
                </c:pt>
                <c:pt idx="5970">
                  <c:v>2.2362000000000002</c:v>
                </c:pt>
                <c:pt idx="5971">
                  <c:v>1.89123</c:v>
                </c:pt>
                <c:pt idx="5972">
                  <c:v>1.7225299999999999</c:v>
                </c:pt>
                <c:pt idx="5973">
                  <c:v>#N/A</c:v>
                </c:pt>
                <c:pt idx="5974">
                  <c:v>2.1194500000000001</c:v>
                </c:pt>
                <c:pt idx="5975">
                  <c:v>#N/A</c:v>
                </c:pt>
                <c:pt idx="5976">
                  <c:v>2.6755900000000001</c:v>
                </c:pt>
                <c:pt idx="5977">
                  <c:v>2.5256799999999999</c:v>
                </c:pt>
                <c:pt idx="5978">
                  <c:v>#N/A</c:v>
                </c:pt>
                <c:pt idx="5979">
                  <c:v>1.99681</c:v>
                </c:pt>
                <c:pt idx="5980">
                  <c:v>1.6660200000000001</c:v>
                </c:pt>
                <c:pt idx="5981">
                  <c:v>1.8730899999999999</c:v>
                </c:pt>
                <c:pt idx="5982">
                  <c:v>#N/A</c:v>
                </c:pt>
                <c:pt idx="5983">
                  <c:v>1.7270300000000001</c:v>
                </c:pt>
                <c:pt idx="5984">
                  <c:v>1.7075400000000001</c:v>
                </c:pt>
                <c:pt idx="5985">
                  <c:v>1.6028500000000001</c:v>
                </c:pt>
                <c:pt idx="5986">
                  <c:v>#N/A</c:v>
                </c:pt>
                <c:pt idx="5987">
                  <c:v>2.11537</c:v>
                </c:pt>
                <c:pt idx="5988">
                  <c:v>2.2578100000000001</c:v>
                </c:pt>
                <c:pt idx="5989">
                  <c:v>2.2334700000000001</c:v>
                </c:pt>
                <c:pt idx="5990">
                  <c:v>#N/A</c:v>
                </c:pt>
                <c:pt idx="5991">
                  <c:v>2.59077</c:v>
                </c:pt>
                <c:pt idx="5992">
                  <c:v>1.90306</c:v>
                </c:pt>
                <c:pt idx="5993">
                  <c:v>2.0390299999999999</c:v>
                </c:pt>
                <c:pt idx="5994">
                  <c:v>1.65126</c:v>
                </c:pt>
                <c:pt idx="5995">
                  <c:v>#N/A</c:v>
                </c:pt>
                <c:pt idx="5996">
                  <c:v>2.0265</c:v>
                </c:pt>
                <c:pt idx="5997">
                  <c:v>2.30497</c:v>
                </c:pt>
                <c:pt idx="5998">
                  <c:v>1.98993</c:v>
                </c:pt>
                <c:pt idx="5999">
                  <c:v>#N/A</c:v>
                </c:pt>
                <c:pt idx="6000">
                  <c:v>1.9504699999999999</c:v>
                </c:pt>
                <c:pt idx="6001">
                  <c:v>2.1418400000000002</c:v>
                </c:pt>
                <c:pt idx="6002">
                  <c:v>2.6626300000000001</c:v>
                </c:pt>
                <c:pt idx="6003">
                  <c:v>#N/A</c:v>
                </c:pt>
                <c:pt idx="6004">
                  <c:v>2.2495699999999998</c:v>
                </c:pt>
                <c:pt idx="6005">
                  <c:v>1.94631</c:v>
                </c:pt>
                <c:pt idx="6006">
                  <c:v>1.83569</c:v>
                </c:pt>
                <c:pt idx="6007">
                  <c:v>1.7428999999999999</c:v>
                </c:pt>
                <c:pt idx="6008">
                  <c:v>#N/A</c:v>
                </c:pt>
                <c:pt idx="6009">
                  <c:v>2.1320000000000001</c:v>
                </c:pt>
                <c:pt idx="6010">
                  <c:v>2.27149</c:v>
                </c:pt>
                <c:pt idx="6011">
                  <c:v>2.5130599999999998</c:v>
                </c:pt>
                <c:pt idx="6012">
                  <c:v>#N/A</c:v>
                </c:pt>
                <c:pt idx="6013">
                  <c:v>2.5397799999999999</c:v>
                </c:pt>
                <c:pt idx="6014">
                  <c:v>2.6258300000000001</c:v>
                </c:pt>
                <c:pt idx="6015">
                  <c:v>1.99559</c:v>
                </c:pt>
                <c:pt idx="6016">
                  <c:v>1.7809699999999999</c:v>
                </c:pt>
                <c:pt idx="6017">
                  <c:v>#N/A</c:v>
                </c:pt>
                <c:pt idx="6018">
                  <c:v>1.3921600000000001</c:v>
                </c:pt>
                <c:pt idx="6019">
                  <c:v>1.20044</c:v>
                </c:pt>
                <c:pt idx="6020">
                  <c:v>1.6339600000000001</c:v>
                </c:pt>
                <c:pt idx="6021">
                  <c:v>#N/A</c:v>
                </c:pt>
                <c:pt idx="6022">
                  <c:v>1.4555499999999999</c:v>
                </c:pt>
                <c:pt idx="6023">
                  <c:v>2.1672400000000001</c:v>
                </c:pt>
                <c:pt idx="6024">
                  <c:v>2.1565599999999998</c:v>
                </c:pt>
                <c:pt idx="6025">
                  <c:v>2.4684699999999999</c:v>
                </c:pt>
                <c:pt idx="6026">
                  <c:v>#N/A</c:v>
                </c:pt>
                <c:pt idx="6027">
                  <c:v>2.5174699999999999</c:v>
                </c:pt>
                <c:pt idx="6028">
                  <c:v>1.8171200000000001</c:v>
                </c:pt>
                <c:pt idx="6029">
                  <c:v>1.9292400000000001</c:v>
                </c:pt>
                <c:pt idx="6030">
                  <c:v>1.7939400000000001</c:v>
                </c:pt>
                <c:pt idx="6031">
                  <c:v>#N/A</c:v>
                </c:pt>
                <c:pt idx="6032">
                  <c:v>2.2270699999999999</c:v>
                </c:pt>
                <c:pt idx="6033">
                  <c:v>2.4114300000000002</c:v>
                </c:pt>
                <c:pt idx="6034">
                  <c:v>2.3207</c:v>
                </c:pt>
                <c:pt idx="6035">
                  <c:v>#N/A</c:v>
                </c:pt>
                <c:pt idx="6036">
                  <c:v>2.41011</c:v>
                </c:pt>
                <c:pt idx="6037">
                  <c:v>2.36537</c:v>
                </c:pt>
                <c:pt idx="6038">
                  <c:v>1.4248400000000001</c:v>
                </c:pt>
                <c:pt idx="6039">
                  <c:v>#N/A</c:v>
                </c:pt>
                <c:pt idx="6040">
                  <c:v>1.36076</c:v>
                </c:pt>
                <c:pt idx="6041">
                  <c:v>1.9335599999999999</c:v>
                </c:pt>
                <c:pt idx="6042">
                  <c:v>1.8193900000000001</c:v>
                </c:pt>
                <c:pt idx="6043">
                  <c:v>1.4172499999999999</c:v>
                </c:pt>
                <c:pt idx="6044">
                  <c:v>#N/A</c:v>
                </c:pt>
                <c:pt idx="6045">
                  <c:v>2.1144599999999998</c:v>
                </c:pt>
                <c:pt idx="6046">
                  <c:v>#N/A</c:v>
                </c:pt>
                <c:pt idx="6047">
                  <c:v>2.2530899999999998</c:v>
                </c:pt>
                <c:pt idx="6048">
                  <c:v>2.5054599999999998</c:v>
                </c:pt>
                <c:pt idx="6049">
                  <c:v>2.09693</c:v>
                </c:pt>
                <c:pt idx="6050">
                  <c:v>#N/A</c:v>
                </c:pt>
                <c:pt idx="6051">
                  <c:v>1.8784799999999999</c:v>
                </c:pt>
                <c:pt idx="6052">
                  <c:v>2.3233600000000001</c:v>
                </c:pt>
                <c:pt idx="6053">
                  <c:v>1.9106300000000001</c:v>
                </c:pt>
                <c:pt idx="6054">
                  <c:v>#N/A</c:v>
                </c:pt>
                <c:pt idx="6055">
                  <c:v>1.94679</c:v>
                </c:pt>
                <c:pt idx="6056">
                  <c:v>2.1644700000000001</c:v>
                </c:pt>
                <c:pt idx="6057">
                  <c:v>2.3603700000000001</c:v>
                </c:pt>
                <c:pt idx="6058">
                  <c:v>2.5032999999999999</c:v>
                </c:pt>
                <c:pt idx="6059">
                  <c:v>#N/A</c:v>
                </c:pt>
                <c:pt idx="6060">
                  <c:v>1.8511</c:v>
                </c:pt>
                <c:pt idx="6061">
                  <c:v>2.4826999999999999</c:v>
                </c:pt>
                <c:pt idx="6062">
                  <c:v>2.4104800000000002</c:v>
                </c:pt>
                <c:pt idx="6063">
                  <c:v>1.9244399999999999</c:v>
                </c:pt>
                <c:pt idx="6064">
                  <c:v>#N/A</c:v>
                </c:pt>
                <c:pt idx="6065">
                  <c:v>1.92865</c:v>
                </c:pt>
                <c:pt idx="6066">
                  <c:v>2.1430099999999999</c:v>
                </c:pt>
                <c:pt idx="6067">
                  <c:v>2.1620599999999999</c:v>
                </c:pt>
                <c:pt idx="6068">
                  <c:v>#N/A</c:v>
                </c:pt>
                <c:pt idx="6069">
                  <c:v>2.3017300000000001</c:v>
                </c:pt>
                <c:pt idx="6070">
                  <c:v>3.0043099999999998</c:v>
                </c:pt>
                <c:pt idx="6071">
                  <c:v>2.6303399999999999</c:v>
                </c:pt>
                <c:pt idx="6072">
                  <c:v>#N/A</c:v>
                </c:pt>
                <c:pt idx="6073">
                  <c:v>2.4894099999999999</c:v>
                </c:pt>
                <c:pt idx="6074">
                  <c:v>#N/A</c:v>
                </c:pt>
                <c:pt idx="6075">
                  <c:v>2.17062</c:v>
                </c:pt>
                <c:pt idx="6076">
                  <c:v>1.4877199999999999</c:v>
                </c:pt>
                <c:pt idx="6077">
                  <c:v>1.87056</c:v>
                </c:pt>
                <c:pt idx="6078">
                  <c:v>#N/A</c:v>
                </c:pt>
                <c:pt idx="6079">
                  <c:v>2.0412599999999999</c:v>
                </c:pt>
                <c:pt idx="6080">
                  <c:v>2.1953</c:v>
                </c:pt>
                <c:pt idx="6081">
                  <c:v>2.8241700000000001</c:v>
                </c:pt>
                <c:pt idx="6082">
                  <c:v>2.74586</c:v>
                </c:pt>
                <c:pt idx="6083">
                  <c:v>#N/A</c:v>
                </c:pt>
                <c:pt idx="6084">
                  <c:v>2.7529699999999999</c:v>
                </c:pt>
                <c:pt idx="6085">
                  <c:v>2.2956300000000001</c:v>
                </c:pt>
                <c:pt idx="6086">
                  <c:v>1.9637199999999999</c:v>
                </c:pt>
                <c:pt idx="6087">
                  <c:v>1.9220299999999999</c:v>
                </c:pt>
                <c:pt idx="6088">
                  <c:v>#N/A</c:v>
                </c:pt>
                <c:pt idx="6089">
                  <c:v>1.8132299999999999</c:v>
                </c:pt>
                <c:pt idx="6090">
                  <c:v>2.6382099999999999</c:v>
                </c:pt>
                <c:pt idx="6091">
                  <c:v>2.8344499999999999</c:v>
                </c:pt>
                <c:pt idx="6092">
                  <c:v>#N/A</c:v>
                </c:pt>
                <c:pt idx="6093">
                  <c:v>2.6017100000000002</c:v>
                </c:pt>
                <c:pt idx="6094">
                  <c:v>2.5458400000000001</c:v>
                </c:pt>
                <c:pt idx="6095">
                  <c:v>2.7021999999999999</c:v>
                </c:pt>
                <c:pt idx="6096">
                  <c:v>#N/A</c:v>
                </c:pt>
                <c:pt idx="6097">
                  <c:v>1.9867300000000001</c:v>
                </c:pt>
                <c:pt idx="6098">
                  <c:v>1.6919599999999999</c:v>
                </c:pt>
                <c:pt idx="6099">
                  <c:v>1.2754300000000001</c:v>
                </c:pt>
                <c:pt idx="6100">
                  <c:v>#N/A</c:v>
                </c:pt>
                <c:pt idx="6101">
                  <c:v>1.7640800000000001</c:v>
                </c:pt>
                <c:pt idx="6102">
                  <c:v>1.8907099999999999</c:v>
                </c:pt>
                <c:pt idx="6103">
                  <c:v>2.15584</c:v>
                </c:pt>
                <c:pt idx="6104">
                  <c:v>#N/A</c:v>
                </c:pt>
                <c:pt idx="6105">
                  <c:v>2.6485099999999999</c:v>
                </c:pt>
                <c:pt idx="6106">
                  <c:v>2.6073499999999998</c:v>
                </c:pt>
                <c:pt idx="6107">
                  <c:v>2.5542600000000002</c:v>
                </c:pt>
                <c:pt idx="6108">
                  <c:v>2.32945</c:v>
                </c:pt>
                <c:pt idx="6109">
                  <c:v>#N/A</c:v>
                </c:pt>
                <c:pt idx="6110">
                  <c:v>2.1166100000000001</c:v>
                </c:pt>
                <c:pt idx="6111">
                  <c:v>2.3416899999999998</c:v>
                </c:pt>
                <c:pt idx="6112">
                  <c:v>2.14811</c:v>
                </c:pt>
                <c:pt idx="6113">
                  <c:v>#N/A</c:v>
                </c:pt>
                <c:pt idx="6114">
                  <c:v>2.7262599999999999</c:v>
                </c:pt>
                <c:pt idx="6115">
                  <c:v>2.4322300000000001</c:v>
                </c:pt>
                <c:pt idx="6116">
                  <c:v>2.0798800000000002</c:v>
                </c:pt>
                <c:pt idx="6117">
                  <c:v>2.62941</c:v>
                </c:pt>
                <c:pt idx="6118">
                  <c:v>#N/A</c:v>
                </c:pt>
                <c:pt idx="6119">
                  <c:v>2.22445</c:v>
                </c:pt>
                <c:pt idx="6120">
                  <c:v>1.9032100000000001</c:v>
                </c:pt>
                <c:pt idx="6121">
                  <c:v>1.8658699999999999</c:v>
                </c:pt>
                <c:pt idx="6122">
                  <c:v>1.9737499999999999</c:v>
                </c:pt>
                <c:pt idx="6123">
                  <c:v>#N/A</c:v>
                </c:pt>
                <c:pt idx="6124">
                  <c:v>2.1086499999999999</c:v>
                </c:pt>
                <c:pt idx="6125">
                  <c:v>2.2749700000000002</c:v>
                </c:pt>
                <c:pt idx="6126">
                  <c:v>2.5317699999999999</c:v>
                </c:pt>
                <c:pt idx="6127">
                  <c:v>#N/A</c:v>
                </c:pt>
                <c:pt idx="6128">
                  <c:v>2.3252199999999998</c:v>
                </c:pt>
                <c:pt idx="6129">
                  <c:v>2.57037</c:v>
                </c:pt>
                <c:pt idx="6130">
                  <c:v>2.4146100000000001</c:v>
                </c:pt>
                <c:pt idx="6131">
                  <c:v>#N/A</c:v>
                </c:pt>
                <c:pt idx="6132">
                  <c:v>2.45444</c:v>
                </c:pt>
                <c:pt idx="6133">
                  <c:v>2.4299599999999999</c:v>
                </c:pt>
                <c:pt idx="6134">
                  <c:v>1.8866700000000001</c:v>
                </c:pt>
                <c:pt idx="6135">
                  <c:v>1.8448500000000001</c:v>
                </c:pt>
                <c:pt idx="6136">
                  <c:v>#N/A</c:v>
                </c:pt>
                <c:pt idx="6137">
                  <c:v>1.90916</c:v>
                </c:pt>
                <c:pt idx="6138">
                  <c:v>1.6372500000000001</c:v>
                </c:pt>
                <c:pt idx="6139">
                  <c:v>2.4299900000000001</c:v>
                </c:pt>
                <c:pt idx="6140">
                  <c:v>#N/A</c:v>
                </c:pt>
                <c:pt idx="6141">
                  <c:v>2.54298</c:v>
                </c:pt>
                <c:pt idx="6142">
                  <c:v>2.6035699999999999</c:v>
                </c:pt>
                <c:pt idx="6143">
                  <c:v>2.3132100000000002</c:v>
                </c:pt>
                <c:pt idx="6144">
                  <c:v>1.86548</c:v>
                </c:pt>
                <c:pt idx="6145">
                  <c:v>#N/A</c:v>
                </c:pt>
                <c:pt idx="6146">
                  <c:v>1.83483</c:v>
                </c:pt>
                <c:pt idx="6147">
                  <c:v>2.2097899999999999</c:v>
                </c:pt>
                <c:pt idx="6148">
                  <c:v>2.36273</c:v>
                </c:pt>
                <c:pt idx="6149">
                  <c:v>#N/A</c:v>
                </c:pt>
                <c:pt idx="6150">
                  <c:v>3.12039</c:v>
                </c:pt>
                <c:pt idx="6151">
                  <c:v>2.9972099999999999</c:v>
                </c:pt>
                <c:pt idx="6152">
                  <c:v>2.7337199999999999</c:v>
                </c:pt>
                <c:pt idx="6153">
                  <c:v>2.55321</c:v>
                </c:pt>
                <c:pt idx="6154">
                  <c:v>#N/A</c:v>
                </c:pt>
                <c:pt idx="6155">
                  <c:v>2.1732999999999998</c:v>
                </c:pt>
                <c:pt idx="6156">
                  <c:v>1.49604</c:v>
                </c:pt>
                <c:pt idx="6157">
                  <c:v>1.8156300000000001</c:v>
                </c:pt>
                <c:pt idx="6158">
                  <c:v>#N/A</c:v>
                </c:pt>
                <c:pt idx="6159">
                  <c:v>1.60626</c:v>
                </c:pt>
                <c:pt idx="6160">
                  <c:v>2.2332399999999999</c:v>
                </c:pt>
                <c:pt idx="6161">
                  <c:v>1.74438</c:v>
                </c:pt>
                <c:pt idx="6162">
                  <c:v>2.47851</c:v>
                </c:pt>
                <c:pt idx="6163">
                  <c:v>#N/A</c:v>
                </c:pt>
                <c:pt idx="6164">
                  <c:v>2.69123</c:v>
                </c:pt>
                <c:pt idx="6165">
                  <c:v>2.2699600000000002</c:v>
                </c:pt>
                <c:pt idx="6166">
                  <c:v>2.3976500000000001</c:v>
                </c:pt>
                <c:pt idx="6167">
                  <c:v>#N/A</c:v>
                </c:pt>
                <c:pt idx="6168">
                  <c:v>1.7364999999999999</c:v>
                </c:pt>
                <c:pt idx="6169">
                  <c:v>2.1522299999999999</c:v>
                </c:pt>
                <c:pt idx="6170">
                  <c:v>2.2867500000000001</c:v>
                </c:pt>
                <c:pt idx="6171">
                  <c:v>#N/A</c:v>
                </c:pt>
                <c:pt idx="6172">
                  <c:v>3.04636</c:v>
                </c:pt>
                <c:pt idx="6173">
                  <c:v>3.1064600000000002</c:v>
                </c:pt>
                <c:pt idx="6174">
                  <c:v>2.62608</c:v>
                </c:pt>
                <c:pt idx="6175">
                  <c:v>2.3650799999999998</c:v>
                </c:pt>
                <c:pt idx="6176">
                  <c:v>#N/A</c:v>
                </c:pt>
                <c:pt idx="6177">
                  <c:v>2.2999999999999998</c:v>
                </c:pt>
                <c:pt idx="6178">
                  <c:v>1.8709899999999999</c:v>
                </c:pt>
                <c:pt idx="6179">
                  <c:v>1.7483</c:v>
                </c:pt>
                <c:pt idx="6180">
                  <c:v>2.42103</c:v>
                </c:pt>
                <c:pt idx="6181">
                  <c:v>#N/A</c:v>
                </c:pt>
                <c:pt idx="6182">
                  <c:v>2.19597</c:v>
                </c:pt>
                <c:pt idx="6183">
                  <c:v>1.8685700000000001</c:v>
                </c:pt>
                <c:pt idx="6184">
                  <c:v>2.64453</c:v>
                </c:pt>
                <c:pt idx="6185">
                  <c:v>#N/A</c:v>
                </c:pt>
                <c:pt idx="6186">
                  <c:v>2.4883600000000001</c:v>
                </c:pt>
                <c:pt idx="6187">
                  <c:v>2.6569400000000001</c:v>
                </c:pt>
                <c:pt idx="6188">
                  <c:v>2.2581500000000001</c:v>
                </c:pt>
                <c:pt idx="6189">
                  <c:v>#N/A</c:v>
                </c:pt>
                <c:pt idx="6190">
                  <c:v>2.8758499999999998</c:v>
                </c:pt>
                <c:pt idx="6191">
                  <c:v>#N/A</c:v>
                </c:pt>
                <c:pt idx="6192">
                  <c:v>2.8292999999999999</c:v>
                </c:pt>
                <c:pt idx="6193">
                  <c:v>1.8182100000000001</c:v>
                </c:pt>
                <c:pt idx="6194">
                  <c:v>2.4989699999999999</c:v>
                </c:pt>
                <c:pt idx="6195">
                  <c:v>1.8446</c:v>
                </c:pt>
                <c:pt idx="6196">
                  <c:v>#N/A</c:v>
                </c:pt>
                <c:pt idx="6197">
                  <c:v>2.51756</c:v>
                </c:pt>
                <c:pt idx="6198">
                  <c:v>2.3426900000000002</c:v>
                </c:pt>
                <c:pt idx="6199">
                  <c:v>2.0716100000000002</c:v>
                </c:pt>
                <c:pt idx="6200">
                  <c:v>#N/A</c:v>
                </c:pt>
                <c:pt idx="6201">
                  <c:v>2.6272199999999999</c:v>
                </c:pt>
                <c:pt idx="6202">
                  <c:v>2.3416399999999999</c:v>
                </c:pt>
                <c:pt idx="6203">
                  <c:v>2.0533600000000001</c:v>
                </c:pt>
                <c:pt idx="6204">
                  <c:v>#N/A</c:v>
                </c:pt>
                <c:pt idx="6205">
                  <c:v>1.73491</c:v>
                </c:pt>
                <c:pt idx="6206">
                  <c:v>2.2063700000000002</c:v>
                </c:pt>
                <c:pt idx="6207">
                  <c:v>2.4134199999999999</c:v>
                </c:pt>
                <c:pt idx="6208">
                  <c:v>2.3179799999999999</c:v>
                </c:pt>
                <c:pt idx="6209">
                  <c:v>#N/A</c:v>
                </c:pt>
                <c:pt idx="6210">
                  <c:v>2.94014</c:v>
                </c:pt>
                <c:pt idx="6211">
                  <c:v>2.6707999999999998</c:v>
                </c:pt>
                <c:pt idx="6212">
                  <c:v>2.4214500000000001</c:v>
                </c:pt>
                <c:pt idx="6213">
                  <c:v>#N/A</c:v>
                </c:pt>
                <c:pt idx="6214">
                  <c:v>1.90384</c:v>
                </c:pt>
                <c:pt idx="6215">
                  <c:v>1.93835</c:v>
                </c:pt>
                <c:pt idx="6216">
                  <c:v>1.8154399999999999</c:v>
                </c:pt>
                <c:pt idx="6217">
                  <c:v>1.6961900000000001</c:v>
                </c:pt>
                <c:pt idx="6218">
                  <c:v>#N/A</c:v>
                </c:pt>
                <c:pt idx="6219">
                  <c:v>2.1522299999999999</c:v>
                </c:pt>
                <c:pt idx="6220">
                  <c:v>2.2379699999999998</c:v>
                </c:pt>
                <c:pt idx="6221">
                  <c:v>2.5749499999999999</c:v>
                </c:pt>
                <c:pt idx="6222">
                  <c:v>#N/A</c:v>
                </c:pt>
                <c:pt idx="6223">
                  <c:v>2.5800900000000002</c:v>
                </c:pt>
                <c:pt idx="6224">
                  <c:v>2.4472700000000001</c:v>
                </c:pt>
                <c:pt idx="6225">
                  <c:v>1.9418200000000001</c:v>
                </c:pt>
                <c:pt idx="6226">
                  <c:v>#N/A</c:v>
                </c:pt>
                <c:pt idx="6227">
                  <c:v>1.8308800000000001</c:v>
                </c:pt>
                <c:pt idx="6228">
                  <c:v>2.51268</c:v>
                </c:pt>
                <c:pt idx="6229">
                  <c:v>2.5389400000000002</c:v>
                </c:pt>
                <c:pt idx="6230">
                  <c:v>#N/A</c:v>
                </c:pt>
                <c:pt idx="6231">
                  <c:v>2.7419099999999998</c:v>
                </c:pt>
                <c:pt idx="6232">
                  <c:v>3.1215700000000002</c:v>
                </c:pt>
                <c:pt idx="6233">
                  <c:v>3.2095699999999998</c:v>
                </c:pt>
                <c:pt idx="6234">
                  <c:v>2.5452400000000002</c:v>
                </c:pt>
                <c:pt idx="6235">
                  <c:v>#N/A</c:v>
                </c:pt>
                <c:pt idx="6236">
                  <c:v>2.1164999999999998</c:v>
                </c:pt>
                <c:pt idx="6237">
                  <c:v>2.3199900000000002</c:v>
                </c:pt>
                <c:pt idx="6238">
                  <c:v>1.8162100000000001</c:v>
                </c:pt>
                <c:pt idx="6239">
                  <c:v>#N/A</c:v>
                </c:pt>
                <c:pt idx="6240">
                  <c:v>2.00482</c:v>
                </c:pt>
                <c:pt idx="6241">
                  <c:v>1.55406</c:v>
                </c:pt>
                <c:pt idx="6242">
                  <c:v>2.64682</c:v>
                </c:pt>
                <c:pt idx="6243">
                  <c:v>2.3445999999999998</c:v>
                </c:pt>
                <c:pt idx="6244">
                  <c:v>#N/A</c:v>
                </c:pt>
                <c:pt idx="6245">
                  <c:v>2.6835800000000001</c:v>
                </c:pt>
                <c:pt idx="6246">
                  <c:v>2.4870399999999999</c:v>
                </c:pt>
                <c:pt idx="6247">
                  <c:v>2.4526300000000001</c:v>
                </c:pt>
                <c:pt idx="6248">
                  <c:v>2.2530800000000002</c:v>
                </c:pt>
                <c:pt idx="6249">
                  <c:v>#N/A</c:v>
                </c:pt>
                <c:pt idx="6250">
                  <c:v>2.2138599999999999</c:v>
                </c:pt>
                <c:pt idx="6251">
                  <c:v>2.5076299999999998</c:v>
                </c:pt>
                <c:pt idx="6252">
                  <c:v>2.3473199999999999</c:v>
                </c:pt>
                <c:pt idx="6253">
                  <c:v>#N/A</c:v>
                </c:pt>
                <c:pt idx="6254">
                  <c:v>2.95852</c:v>
                </c:pt>
                <c:pt idx="6255">
                  <c:v>2.76511</c:v>
                </c:pt>
                <c:pt idx="6256">
                  <c:v>2.4269099999999999</c:v>
                </c:pt>
                <c:pt idx="6257">
                  <c:v>2.1003699999999998</c:v>
                </c:pt>
                <c:pt idx="6258">
                  <c:v>#N/A</c:v>
                </c:pt>
                <c:pt idx="6259">
                  <c:v>2.379</c:v>
                </c:pt>
                <c:pt idx="6260">
                  <c:v>2.6486999999999998</c:v>
                </c:pt>
                <c:pt idx="6261">
                  <c:v>#N/A</c:v>
                </c:pt>
                <c:pt idx="6262">
                  <c:v>2.2156600000000002</c:v>
                </c:pt>
                <c:pt idx="6263">
                  <c:v>2.4950700000000001</c:v>
                </c:pt>
                <c:pt idx="6264">
                  <c:v>#N/A</c:v>
                </c:pt>
                <c:pt idx="6265">
                  <c:v>2.80593</c:v>
                </c:pt>
                <c:pt idx="6266">
                  <c:v>2.75326</c:v>
                </c:pt>
                <c:pt idx="6267">
                  <c:v>2.5006300000000001</c:v>
                </c:pt>
                <c:pt idx="6268">
                  <c:v>#N/A</c:v>
                </c:pt>
                <c:pt idx="6269">
                  <c:v>2.38626</c:v>
                </c:pt>
                <c:pt idx="6270">
                  <c:v>2.1942200000000001</c:v>
                </c:pt>
                <c:pt idx="6271">
                  <c:v>2.6353200000000001</c:v>
                </c:pt>
                <c:pt idx="6272">
                  <c:v>#N/A</c:v>
                </c:pt>
                <c:pt idx="6273">
                  <c:v>2.03363</c:v>
                </c:pt>
                <c:pt idx="6274">
                  <c:v>1.9713099999999999</c:v>
                </c:pt>
                <c:pt idx="6275">
                  <c:v>1.9883</c:v>
                </c:pt>
                <c:pt idx="6276">
                  <c:v>2.1464599999999998</c:v>
                </c:pt>
                <c:pt idx="6277">
                  <c:v>#N/A</c:v>
                </c:pt>
                <c:pt idx="6278">
                  <c:v>1.9737899999999999</c:v>
                </c:pt>
                <c:pt idx="6279">
                  <c:v>2.3569900000000001</c:v>
                </c:pt>
                <c:pt idx="6280">
                  <c:v>2.4645299999999999</c:v>
                </c:pt>
                <c:pt idx="6281">
                  <c:v>2.1863999999999999</c:v>
                </c:pt>
                <c:pt idx="6282">
                  <c:v>#N/A</c:v>
                </c:pt>
                <c:pt idx="6283">
                  <c:v>2.2896399999999999</c:v>
                </c:pt>
                <c:pt idx="6284">
                  <c:v>2.1166</c:v>
                </c:pt>
                <c:pt idx="6285">
                  <c:v>2.2190300000000001</c:v>
                </c:pt>
                <c:pt idx="6286">
                  <c:v>#N/A</c:v>
                </c:pt>
                <c:pt idx="6287">
                  <c:v>2.1840700000000002</c:v>
                </c:pt>
                <c:pt idx="6288">
                  <c:v>2.7747000000000002</c:v>
                </c:pt>
                <c:pt idx="6289">
                  <c:v>3.3837700000000002</c:v>
                </c:pt>
                <c:pt idx="6290">
                  <c:v>#N/A</c:v>
                </c:pt>
                <c:pt idx="6291">
                  <c:v>2.4944999999999999</c:v>
                </c:pt>
                <c:pt idx="6292">
                  <c:v>2.0807699999999998</c:v>
                </c:pt>
                <c:pt idx="6293">
                  <c:v>3.0089199999999998</c:v>
                </c:pt>
                <c:pt idx="6294">
                  <c:v>#N/A</c:v>
                </c:pt>
                <c:pt idx="6295">
                  <c:v>2.2590699999999999</c:v>
                </c:pt>
                <c:pt idx="6296">
                  <c:v>1.9580500000000001</c:v>
                </c:pt>
                <c:pt idx="6297">
                  <c:v>1.45994</c:v>
                </c:pt>
                <c:pt idx="6298">
                  <c:v>1.9230799999999999</c:v>
                </c:pt>
                <c:pt idx="6299">
                  <c:v>#N/A</c:v>
                </c:pt>
                <c:pt idx="6300">
                  <c:v>2.0287500000000001</c:v>
                </c:pt>
                <c:pt idx="6301">
                  <c:v>1.7988200000000001</c:v>
                </c:pt>
                <c:pt idx="6302">
                  <c:v>2.5766300000000002</c:v>
                </c:pt>
                <c:pt idx="6303">
                  <c:v>#N/A</c:v>
                </c:pt>
                <c:pt idx="6304">
                  <c:v>2.6546699999999999</c:v>
                </c:pt>
                <c:pt idx="6305">
                  <c:v>3.2682199999999999</c:v>
                </c:pt>
                <c:pt idx="6306">
                  <c:v>3.1536499999999998</c:v>
                </c:pt>
                <c:pt idx="6307">
                  <c:v>3.0394999999999999</c:v>
                </c:pt>
                <c:pt idx="6308">
                  <c:v>#N/A</c:v>
                </c:pt>
                <c:pt idx="6309">
                  <c:v>2.7252999999999998</c:v>
                </c:pt>
                <c:pt idx="6310">
                  <c:v>3.1443300000000001</c:v>
                </c:pt>
                <c:pt idx="6311">
                  <c:v>3.2084899999999998</c:v>
                </c:pt>
                <c:pt idx="6312">
                  <c:v>2.6436799999999998</c:v>
                </c:pt>
                <c:pt idx="6313">
                  <c:v>#N/A</c:v>
                </c:pt>
                <c:pt idx="6314">
                  <c:v>1.99607</c:v>
                </c:pt>
                <c:pt idx="6315">
                  <c:v>1.7778700000000001</c:v>
                </c:pt>
                <c:pt idx="6316">
                  <c:v>1.3815999999999999</c:v>
                </c:pt>
                <c:pt idx="6317">
                  <c:v>#N/A</c:v>
                </c:pt>
                <c:pt idx="6318">
                  <c:v>1.0924</c:v>
                </c:pt>
                <c:pt idx="6319">
                  <c:v>0.30248199999999997</c:v>
                </c:pt>
                <c:pt idx="6320">
                  <c:v>1.0806500000000001</c:v>
                </c:pt>
                <c:pt idx="6321">
                  <c:v>0.62872700000000004</c:v>
                </c:pt>
                <c:pt idx="6322">
                  <c:v>#N/A</c:v>
                </c:pt>
                <c:pt idx="6323">
                  <c:v>1.28291</c:v>
                </c:pt>
                <c:pt idx="6324">
                  <c:v>1.50505</c:v>
                </c:pt>
                <c:pt idx="6325">
                  <c:v>2.15225</c:v>
                </c:pt>
                <c:pt idx="6326">
                  <c:v>#N/A</c:v>
                </c:pt>
                <c:pt idx="6327">
                  <c:v>2.7104699999999999</c:v>
                </c:pt>
                <c:pt idx="6328">
                  <c:v>2.41635</c:v>
                </c:pt>
                <c:pt idx="6329">
                  <c:v>2.6461999999999999</c:v>
                </c:pt>
                <c:pt idx="6330">
                  <c:v>#N/A</c:v>
                </c:pt>
                <c:pt idx="6331">
                  <c:v>2.6333799999999998</c:v>
                </c:pt>
                <c:pt idx="6332">
                  <c:v>2.8031600000000001</c:v>
                </c:pt>
                <c:pt idx="6333">
                  <c:v>#N/A</c:v>
                </c:pt>
                <c:pt idx="6334">
                  <c:v>2.55158</c:v>
                </c:pt>
                <c:pt idx="6335">
                  <c:v>2.7878400000000001</c:v>
                </c:pt>
                <c:pt idx="6336">
                  <c:v>2.8427600000000002</c:v>
                </c:pt>
                <c:pt idx="6337">
                  <c:v>#N/A</c:v>
                </c:pt>
                <c:pt idx="6338">
                  <c:v>2.4045399999999999</c:v>
                </c:pt>
                <c:pt idx="6339">
                  <c:v>2.0210400000000002</c:v>
                </c:pt>
                <c:pt idx="6340">
                  <c:v>2.0057900000000002</c:v>
                </c:pt>
                <c:pt idx="6341">
                  <c:v>#N/A</c:v>
                </c:pt>
                <c:pt idx="6342">
                  <c:v>1.68862</c:v>
                </c:pt>
                <c:pt idx="6343">
                  <c:v>1.85971</c:v>
                </c:pt>
                <c:pt idx="6344">
                  <c:v>1.58972</c:v>
                </c:pt>
                <c:pt idx="6345">
                  <c:v>1.5390200000000001</c:v>
                </c:pt>
                <c:pt idx="6346">
                  <c:v>#N/A</c:v>
                </c:pt>
                <c:pt idx="6347">
                  <c:v>1.7448900000000001</c:v>
                </c:pt>
                <c:pt idx="6348">
                  <c:v>2.1772399999999998</c:v>
                </c:pt>
                <c:pt idx="6349">
                  <c:v>2.3787099999999999</c:v>
                </c:pt>
                <c:pt idx="6350">
                  <c:v>#N/A</c:v>
                </c:pt>
                <c:pt idx="6351">
                  <c:v>2.35277</c:v>
                </c:pt>
                <c:pt idx="6352">
                  <c:v>2.19794</c:v>
                </c:pt>
                <c:pt idx="6353">
                  <c:v>2.3475600000000001</c:v>
                </c:pt>
                <c:pt idx="6354">
                  <c:v>#N/A</c:v>
                </c:pt>
                <c:pt idx="6355">
                  <c:v>1.9445600000000001</c:v>
                </c:pt>
                <c:pt idx="6356">
                  <c:v>1.7939000000000001</c:v>
                </c:pt>
                <c:pt idx="6357">
                  <c:v>1.68625</c:v>
                </c:pt>
                <c:pt idx="6358">
                  <c:v>#N/A</c:v>
                </c:pt>
                <c:pt idx="6359">
                  <c:v>1.97464</c:v>
                </c:pt>
                <c:pt idx="6360">
                  <c:v>2.8803200000000002</c:v>
                </c:pt>
                <c:pt idx="6361">
                  <c:v>3.2411400000000001</c:v>
                </c:pt>
                <c:pt idx="6362">
                  <c:v>#N/A</c:v>
                </c:pt>
                <c:pt idx="6363">
                  <c:v>2.4520499999999998</c:v>
                </c:pt>
                <c:pt idx="6364">
                  <c:v>2.4127299999999998</c:v>
                </c:pt>
                <c:pt idx="6365">
                  <c:v>1.9486300000000001</c:v>
                </c:pt>
                <c:pt idx="6366">
                  <c:v>1.9255100000000001</c:v>
                </c:pt>
                <c:pt idx="6367">
                  <c:v>#N/A</c:v>
                </c:pt>
                <c:pt idx="6368">
                  <c:v>2.2063100000000002</c:v>
                </c:pt>
                <c:pt idx="6369">
                  <c:v>2.3799299999999999</c:v>
                </c:pt>
                <c:pt idx="6370">
                  <c:v>2.6585299999999998</c:v>
                </c:pt>
                <c:pt idx="6371">
                  <c:v>2.3271899999999999</c:v>
                </c:pt>
                <c:pt idx="6372">
                  <c:v>#N/A</c:v>
                </c:pt>
                <c:pt idx="6373">
                  <c:v>2.5451899999999998</c:v>
                </c:pt>
                <c:pt idx="6374">
                  <c:v>2.29419</c:v>
                </c:pt>
                <c:pt idx="6375">
                  <c:v>1.67832</c:v>
                </c:pt>
                <c:pt idx="6376">
                  <c:v>#N/A</c:v>
                </c:pt>
                <c:pt idx="6377">
                  <c:v>1.2216</c:v>
                </c:pt>
                <c:pt idx="6378">
                  <c:v>1.4186399999999999</c:v>
                </c:pt>
                <c:pt idx="6379">
                  <c:v>1.0785800000000001</c:v>
                </c:pt>
                <c:pt idx="6380">
                  <c:v>2.1219100000000002</c:v>
                </c:pt>
                <c:pt idx="6381">
                  <c:v>#N/A</c:v>
                </c:pt>
                <c:pt idx="6382">
                  <c:v>2.92001</c:v>
                </c:pt>
                <c:pt idx="6383">
                  <c:v>3.0557400000000001</c:v>
                </c:pt>
                <c:pt idx="6384">
                  <c:v>2.4178899999999999</c:v>
                </c:pt>
                <c:pt idx="6385">
                  <c:v>#N/A</c:v>
                </c:pt>
                <c:pt idx="6386">
                  <c:v>2.4877500000000001</c:v>
                </c:pt>
                <c:pt idx="6387">
                  <c:v>2.3019099999999999</c:v>
                </c:pt>
                <c:pt idx="6388">
                  <c:v>2.3240799999999999</c:v>
                </c:pt>
                <c:pt idx="6389">
                  <c:v>2.91038</c:v>
                </c:pt>
                <c:pt idx="6390">
                  <c:v>#N/A</c:v>
                </c:pt>
                <c:pt idx="6391">
                  <c:v>2.15204</c:v>
                </c:pt>
                <c:pt idx="6392">
                  <c:v>2.5807600000000002</c:v>
                </c:pt>
                <c:pt idx="6393">
                  <c:v>2.2229199999999998</c:v>
                </c:pt>
                <c:pt idx="6394">
                  <c:v>#N/A</c:v>
                </c:pt>
                <c:pt idx="6395">
                  <c:v>2.4740700000000002</c:v>
                </c:pt>
                <c:pt idx="6396">
                  <c:v>2.3071299999999999</c:v>
                </c:pt>
                <c:pt idx="6397">
                  <c:v>1.67638</c:v>
                </c:pt>
                <c:pt idx="6398">
                  <c:v>1.8412500000000001</c:v>
                </c:pt>
                <c:pt idx="6399">
                  <c:v>#N/A</c:v>
                </c:pt>
                <c:pt idx="6400">
                  <c:v>1.5465</c:v>
                </c:pt>
                <c:pt idx="6401">
                  <c:v>1.0431900000000001</c:v>
                </c:pt>
                <c:pt idx="6402">
                  <c:v>2.1077699999999999</c:v>
                </c:pt>
                <c:pt idx="6403">
                  <c:v>#N/A</c:v>
                </c:pt>
                <c:pt idx="6404">
                  <c:v>2.2472099999999999</c:v>
                </c:pt>
                <c:pt idx="6405">
                  <c:v>2.4250099999999999</c:v>
                </c:pt>
                <c:pt idx="6406">
                  <c:v>#N/A</c:v>
                </c:pt>
                <c:pt idx="6407">
                  <c:v>2.4466600000000001</c:v>
                </c:pt>
                <c:pt idx="6408">
                  <c:v>2.5343499999999999</c:v>
                </c:pt>
                <c:pt idx="6409">
                  <c:v>2.4839600000000002</c:v>
                </c:pt>
                <c:pt idx="6410">
                  <c:v>#N/A</c:v>
                </c:pt>
                <c:pt idx="6411">
                  <c:v>1.98156</c:v>
                </c:pt>
                <c:pt idx="6412">
                  <c:v>2.3027600000000001</c:v>
                </c:pt>
                <c:pt idx="6413">
                  <c:v>1.87317</c:v>
                </c:pt>
                <c:pt idx="6414">
                  <c:v>#N/A</c:v>
                </c:pt>
                <c:pt idx="6415">
                  <c:v>2.09565</c:v>
                </c:pt>
                <c:pt idx="6416">
                  <c:v>2.22845</c:v>
                </c:pt>
                <c:pt idx="6417">
                  <c:v>1.8370200000000001</c:v>
                </c:pt>
                <c:pt idx="6418">
                  <c:v>2.2938100000000001</c:v>
                </c:pt>
                <c:pt idx="6419">
                  <c:v>#N/A</c:v>
                </c:pt>
                <c:pt idx="6420">
                  <c:v>1.8136000000000001</c:v>
                </c:pt>
                <c:pt idx="6421">
                  <c:v>2.12574</c:v>
                </c:pt>
                <c:pt idx="6422">
                  <c:v>2.1968999999999999</c:v>
                </c:pt>
                <c:pt idx="6423">
                  <c:v>#N/A</c:v>
                </c:pt>
                <c:pt idx="6424">
                  <c:v>2.04758</c:v>
                </c:pt>
                <c:pt idx="6425">
                  <c:v>2.18852</c:v>
                </c:pt>
                <c:pt idx="6426">
                  <c:v>2.1632199999999999</c:v>
                </c:pt>
                <c:pt idx="6427">
                  <c:v>2.6982300000000001</c:v>
                </c:pt>
                <c:pt idx="6428">
                  <c:v>#N/A</c:v>
                </c:pt>
                <c:pt idx="6429">
                  <c:v>2.9008799999999999</c:v>
                </c:pt>
                <c:pt idx="6430">
                  <c:v>2.6949999999999998</c:v>
                </c:pt>
                <c:pt idx="6431">
                  <c:v>2.4668299999999999</c:v>
                </c:pt>
                <c:pt idx="6432">
                  <c:v>2.5680999999999998</c:v>
                </c:pt>
                <c:pt idx="6433">
                  <c:v>#N/A</c:v>
                </c:pt>
                <c:pt idx="6434">
                  <c:v>1.78329</c:v>
                </c:pt>
                <c:pt idx="6435">
                  <c:v>1.11812</c:v>
                </c:pt>
                <c:pt idx="6436">
                  <c:v>1.5294099999999999</c:v>
                </c:pt>
                <c:pt idx="6437">
                  <c:v>#N/A</c:v>
                </c:pt>
                <c:pt idx="6438">
                  <c:v>1.4806999999999999</c:v>
                </c:pt>
                <c:pt idx="6439">
                  <c:v>1.4240600000000001</c:v>
                </c:pt>
                <c:pt idx="6440">
                  <c:v>1.64412</c:v>
                </c:pt>
                <c:pt idx="6441">
                  <c:v>2.17679</c:v>
                </c:pt>
                <c:pt idx="6442">
                  <c:v>#N/A</c:v>
                </c:pt>
                <c:pt idx="6443">
                  <c:v>2.8781599999999998</c:v>
                </c:pt>
                <c:pt idx="6444">
                  <c:v>2.43425</c:v>
                </c:pt>
                <c:pt idx="6445">
                  <c:v>2.1459199999999998</c:v>
                </c:pt>
                <c:pt idx="6446">
                  <c:v>#N/A</c:v>
                </c:pt>
                <c:pt idx="6447">
                  <c:v>1.89192</c:v>
                </c:pt>
                <c:pt idx="6448">
                  <c:v>1.7977700000000001</c:v>
                </c:pt>
                <c:pt idx="6449">
                  <c:v>2.4234599999999999</c:v>
                </c:pt>
                <c:pt idx="6450">
                  <c:v>#N/A</c:v>
                </c:pt>
                <c:pt idx="6451">
                  <c:v>2.98705</c:v>
                </c:pt>
                <c:pt idx="6452">
                  <c:v>2.7508499999999998</c:v>
                </c:pt>
                <c:pt idx="6453">
                  <c:v>2.5545499999999999</c:v>
                </c:pt>
                <c:pt idx="6454">
                  <c:v>2.55071</c:v>
                </c:pt>
                <c:pt idx="6455">
                  <c:v>#N/A</c:v>
                </c:pt>
                <c:pt idx="6456">
                  <c:v>1.9667699999999999</c:v>
                </c:pt>
                <c:pt idx="6457">
                  <c:v>1.44682</c:v>
                </c:pt>
                <c:pt idx="6458">
                  <c:v>1.5523100000000001</c:v>
                </c:pt>
                <c:pt idx="6459">
                  <c:v>1.74265</c:v>
                </c:pt>
                <c:pt idx="6460">
                  <c:v>#N/A</c:v>
                </c:pt>
                <c:pt idx="6461">
                  <c:v>2.1877200000000001</c:v>
                </c:pt>
                <c:pt idx="6462">
                  <c:v>2.2378300000000002</c:v>
                </c:pt>
                <c:pt idx="6463">
                  <c:v>2.7657699999999998</c:v>
                </c:pt>
                <c:pt idx="6464">
                  <c:v>#N/A</c:v>
                </c:pt>
                <c:pt idx="6465">
                  <c:v>2.6015700000000002</c:v>
                </c:pt>
                <c:pt idx="6466">
                  <c:v>2.4154800000000001</c:v>
                </c:pt>
                <c:pt idx="6467">
                  <c:v>2.6985000000000001</c:v>
                </c:pt>
                <c:pt idx="6468">
                  <c:v>#N/A</c:v>
                </c:pt>
                <c:pt idx="6469">
                  <c:v>2.4500700000000002</c:v>
                </c:pt>
                <c:pt idx="6470">
                  <c:v>2.5228000000000002</c:v>
                </c:pt>
                <c:pt idx="6471">
                  <c:v>2.1402899999999998</c:v>
                </c:pt>
                <c:pt idx="6472">
                  <c:v>#N/A</c:v>
                </c:pt>
                <c:pt idx="6473">
                  <c:v>2.62887</c:v>
                </c:pt>
                <c:pt idx="6474">
                  <c:v>2.5486900000000001</c:v>
                </c:pt>
                <c:pt idx="6475">
                  <c:v>2.3732700000000002</c:v>
                </c:pt>
                <c:pt idx="6476">
                  <c:v>#N/A</c:v>
                </c:pt>
                <c:pt idx="6477">
                  <c:v>2.1257600000000001</c:v>
                </c:pt>
                <c:pt idx="6478">
                  <c:v>#N/A</c:v>
                </c:pt>
                <c:pt idx="6479">
                  <c:v>1.6224000000000001</c:v>
                </c:pt>
                <c:pt idx="6480">
                  <c:v>1.9544999999999999</c:v>
                </c:pt>
                <c:pt idx="6481">
                  <c:v>2.7744599999999999</c:v>
                </c:pt>
                <c:pt idx="6482">
                  <c:v>#N/A</c:v>
                </c:pt>
                <c:pt idx="6483">
                  <c:v>2.6583800000000002</c:v>
                </c:pt>
                <c:pt idx="6484">
                  <c:v>2.0050500000000002</c:v>
                </c:pt>
                <c:pt idx="6485">
                  <c:v>2.56392</c:v>
                </c:pt>
                <c:pt idx="6486">
                  <c:v>#N/A</c:v>
                </c:pt>
                <c:pt idx="6487">
                  <c:v>2.4025099999999999</c:v>
                </c:pt>
                <c:pt idx="6488">
                  <c:v>2.70444</c:v>
                </c:pt>
                <c:pt idx="6489">
                  <c:v>3.15367</c:v>
                </c:pt>
                <c:pt idx="6490">
                  <c:v>2.2513299999999998</c:v>
                </c:pt>
                <c:pt idx="6491">
                  <c:v>#N/A</c:v>
                </c:pt>
                <c:pt idx="6492">
                  <c:v>2.0390600000000001</c:v>
                </c:pt>
                <c:pt idx="6493">
                  <c:v>1.56782</c:v>
                </c:pt>
                <c:pt idx="6494">
                  <c:v>1.8075300000000001</c:v>
                </c:pt>
                <c:pt idx="6495">
                  <c:v>#N/A</c:v>
                </c:pt>
                <c:pt idx="6496">
                  <c:v>1.65924</c:v>
                </c:pt>
                <c:pt idx="6497">
                  <c:v>1.9003099999999999</c:v>
                </c:pt>
                <c:pt idx="6498">
                  <c:v>2.0154299999999998</c:v>
                </c:pt>
                <c:pt idx="6499">
                  <c:v>2.1262400000000001</c:v>
                </c:pt>
                <c:pt idx="6500">
                  <c:v>#N/A</c:v>
                </c:pt>
                <c:pt idx="6501">
                  <c:v>1.91906</c:v>
                </c:pt>
                <c:pt idx="6502">
                  <c:v>2.1852399999999998</c:v>
                </c:pt>
                <c:pt idx="6503">
                  <c:v>2.2203300000000001</c:v>
                </c:pt>
                <c:pt idx="6504">
                  <c:v>#N/A</c:v>
                </c:pt>
                <c:pt idx="6505">
                  <c:v>2.3053900000000001</c:v>
                </c:pt>
                <c:pt idx="6506">
                  <c:v>2.22959</c:v>
                </c:pt>
                <c:pt idx="6507">
                  <c:v>2.3388399999999998</c:v>
                </c:pt>
                <c:pt idx="6508">
                  <c:v>#N/A</c:v>
                </c:pt>
                <c:pt idx="6509">
                  <c:v>2.5846300000000002</c:v>
                </c:pt>
                <c:pt idx="6510">
                  <c:v>2.76444</c:v>
                </c:pt>
                <c:pt idx="6511">
                  <c:v>3.01084</c:v>
                </c:pt>
                <c:pt idx="6512">
                  <c:v>3.13517</c:v>
                </c:pt>
                <c:pt idx="6513">
                  <c:v>#N/A</c:v>
                </c:pt>
                <c:pt idx="6514">
                  <c:v>2.4985400000000002</c:v>
                </c:pt>
                <c:pt idx="6515">
                  <c:v>1.4931000000000001</c:v>
                </c:pt>
                <c:pt idx="6516">
                  <c:v>1.84432</c:v>
                </c:pt>
                <c:pt idx="6517">
                  <c:v>#N/A</c:v>
                </c:pt>
                <c:pt idx="6518">
                  <c:v>1.6262799999999999</c:v>
                </c:pt>
                <c:pt idx="6519">
                  <c:v>1.8408800000000001</c:v>
                </c:pt>
                <c:pt idx="6520">
                  <c:v>2.2923499999999999</c:v>
                </c:pt>
                <c:pt idx="6521">
                  <c:v>2.34857</c:v>
                </c:pt>
                <c:pt idx="6522">
                  <c:v>#N/A</c:v>
                </c:pt>
                <c:pt idx="6523">
                  <c:v>2.57084</c:v>
                </c:pt>
                <c:pt idx="6524">
                  <c:v>2.0093100000000002</c:v>
                </c:pt>
                <c:pt idx="6525">
                  <c:v>2.3600699999999999</c:v>
                </c:pt>
                <c:pt idx="6526">
                  <c:v>2.2067899999999998</c:v>
                </c:pt>
                <c:pt idx="6527">
                  <c:v>#N/A</c:v>
                </c:pt>
                <c:pt idx="6528">
                  <c:v>1.9603999999999999</c:v>
                </c:pt>
                <c:pt idx="6529">
                  <c:v>2.0716999999999999</c:v>
                </c:pt>
                <c:pt idx="6530">
                  <c:v>2.1431</c:v>
                </c:pt>
                <c:pt idx="6531">
                  <c:v>#N/A</c:v>
                </c:pt>
                <c:pt idx="6532">
                  <c:v>2.2113900000000002</c:v>
                </c:pt>
                <c:pt idx="6533">
                  <c:v>3.1375999999999999</c:v>
                </c:pt>
                <c:pt idx="6534">
                  <c:v>2.6004999999999998</c:v>
                </c:pt>
                <c:pt idx="6535">
                  <c:v>#N/A</c:v>
                </c:pt>
                <c:pt idx="6536">
                  <c:v>2.34992</c:v>
                </c:pt>
                <c:pt idx="6537">
                  <c:v>1.5615000000000001</c:v>
                </c:pt>
                <c:pt idx="6538">
                  <c:v>1.3725400000000001</c:v>
                </c:pt>
                <c:pt idx="6539">
                  <c:v>1.6061300000000001</c:v>
                </c:pt>
                <c:pt idx="6540">
                  <c:v>#N/A</c:v>
                </c:pt>
                <c:pt idx="6541">
                  <c:v>2.0539499999999999</c:v>
                </c:pt>
                <c:pt idx="6542">
                  <c:v>2.4119299999999999</c:v>
                </c:pt>
                <c:pt idx="6543">
                  <c:v>2.6242100000000002</c:v>
                </c:pt>
                <c:pt idx="6544">
                  <c:v>#N/A</c:v>
                </c:pt>
                <c:pt idx="6545">
                  <c:v>2.24187</c:v>
                </c:pt>
                <c:pt idx="6546">
                  <c:v>2.4119899999999999</c:v>
                </c:pt>
                <c:pt idx="6547">
                  <c:v>#N/A</c:v>
                </c:pt>
                <c:pt idx="6548">
                  <c:v>2.2575599999999998</c:v>
                </c:pt>
                <c:pt idx="6549">
                  <c:v>2.04542</c:v>
                </c:pt>
                <c:pt idx="6550">
                  <c:v>#N/A</c:v>
                </c:pt>
                <c:pt idx="6551">
                  <c:v>2.1596899999999999</c:v>
                </c:pt>
                <c:pt idx="6552">
                  <c:v>1.99217</c:v>
                </c:pt>
                <c:pt idx="6553">
                  <c:v>1.50135</c:v>
                </c:pt>
                <c:pt idx="6554">
                  <c:v>1.7295100000000001</c:v>
                </c:pt>
                <c:pt idx="6555">
                  <c:v>#N/A</c:v>
                </c:pt>
                <c:pt idx="6556">
                  <c:v>1.9095500000000001</c:v>
                </c:pt>
                <c:pt idx="6557">
                  <c:v>1.42187</c:v>
                </c:pt>
                <c:pt idx="6558">
                  <c:v>2.19129</c:v>
                </c:pt>
                <c:pt idx="6559">
                  <c:v>2.5959599999999998</c:v>
                </c:pt>
                <c:pt idx="6560">
                  <c:v>#N/A</c:v>
                </c:pt>
                <c:pt idx="6561">
                  <c:v>2.3557600000000001</c:v>
                </c:pt>
                <c:pt idx="6562">
                  <c:v>1.9117900000000001</c:v>
                </c:pt>
                <c:pt idx="6563">
                  <c:v>1.8428</c:v>
                </c:pt>
                <c:pt idx="6564">
                  <c:v>#N/A</c:v>
                </c:pt>
                <c:pt idx="6565">
                  <c:v>2.19678</c:v>
                </c:pt>
                <c:pt idx="6566">
                  <c:v>2.5824699999999998</c:v>
                </c:pt>
                <c:pt idx="6567">
                  <c:v>2.9861499999999999</c:v>
                </c:pt>
                <c:pt idx="6568">
                  <c:v>2.6810800000000001</c:v>
                </c:pt>
                <c:pt idx="6569">
                  <c:v>#N/A</c:v>
                </c:pt>
                <c:pt idx="6570">
                  <c:v>2.9831599999999998</c:v>
                </c:pt>
                <c:pt idx="6571">
                  <c:v>2.6402100000000002</c:v>
                </c:pt>
                <c:pt idx="6572">
                  <c:v>2.5869399999999998</c:v>
                </c:pt>
                <c:pt idx="6573">
                  <c:v>#N/A</c:v>
                </c:pt>
                <c:pt idx="6574">
                  <c:v>2.2877000000000001</c:v>
                </c:pt>
                <c:pt idx="6575">
                  <c:v>1.42062</c:v>
                </c:pt>
                <c:pt idx="6576">
                  <c:v>2.0818699999999999</c:v>
                </c:pt>
                <c:pt idx="6577">
                  <c:v>1.9623900000000001</c:v>
                </c:pt>
                <c:pt idx="6578">
                  <c:v>#N/A</c:v>
                </c:pt>
                <c:pt idx="6579">
                  <c:v>1.8720000000000001</c:v>
                </c:pt>
                <c:pt idx="6580">
                  <c:v>2.6564399999999999</c:v>
                </c:pt>
                <c:pt idx="6581">
                  <c:v>2.4698000000000002</c:v>
                </c:pt>
                <c:pt idx="6582">
                  <c:v>#N/A</c:v>
                </c:pt>
                <c:pt idx="6583">
                  <c:v>2.55661</c:v>
                </c:pt>
                <c:pt idx="6584">
                  <c:v>2.1538499999999998</c:v>
                </c:pt>
                <c:pt idx="6585">
                  <c:v>2.0878199999999998</c:v>
                </c:pt>
                <c:pt idx="6586">
                  <c:v>2.07959</c:v>
                </c:pt>
                <c:pt idx="6587">
                  <c:v>#N/A</c:v>
                </c:pt>
                <c:pt idx="6588">
                  <c:v>2.0367199999999999</c:v>
                </c:pt>
                <c:pt idx="6589">
                  <c:v>2.6541800000000002</c:v>
                </c:pt>
                <c:pt idx="6590">
                  <c:v>2.84036</c:v>
                </c:pt>
                <c:pt idx="6591">
                  <c:v>#N/A</c:v>
                </c:pt>
                <c:pt idx="6592">
                  <c:v>2.57633</c:v>
                </c:pt>
                <c:pt idx="6593">
                  <c:v>2.3433700000000002</c:v>
                </c:pt>
                <c:pt idx="6594">
                  <c:v>2.4151699999999998</c:v>
                </c:pt>
                <c:pt idx="6595">
                  <c:v>#N/A</c:v>
                </c:pt>
                <c:pt idx="6596">
                  <c:v>1.99108</c:v>
                </c:pt>
                <c:pt idx="6597">
                  <c:v>1.85571</c:v>
                </c:pt>
                <c:pt idx="6598">
                  <c:v>1.56304</c:v>
                </c:pt>
                <c:pt idx="6599">
                  <c:v>1.9494499999999999</c:v>
                </c:pt>
                <c:pt idx="6600">
                  <c:v>#N/A</c:v>
                </c:pt>
                <c:pt idx="6601">
                  <c:v>2.2005300000000001</c:v>
                </c:pt>
                <c:pt idx="6602">
                  <c:v>2.31914</c:v>
                </c:pt>
                <c:pt idx="6603">
                  <c:v>2.8712800000000001</c:v>
                </c:pt>
                <c:pt idx="6604">
                  <c:v>#N/A</c:v>
                </c:pt>
                <c:pt idx="6605">
                  <c:v>2.4960100000000001</c:v>
                </c:pt>
                <c:pt idx="6606">
                  <c:v>2.1921200000000001</c:v>
                </c:pt>
                <c:pt idx="6607">
                  <c:v>2.2390099999999999</c:v>
                </c:pt>
                <c:pt idx="6608">
                  <c:v>1.7805200000000001</c:v>
                </c:pt>
                <c:pt idx="6609">
                  <c:v>#N/A</c:v>
                </c:pt>
                <c:pt idx="6610">
                  <c:v>2.0464000000000002</c:v>
                </c:pt>
                <c:pt idx="6611">
                  <c:v>1.8240000000000001</c:v>
                </c:pt>
                <c:pt idx="6612">
                  <c:v>2.10087</c:v>
                </c:pt>
                <c:pt idx="6613">
                  <c:v>#N/A</c:v>
                </c:pt>
                <c:pt idx="6614">
                  <c:v>2.3620800000000002</c:v>
                </c:pt>
                <c:pt idx="6615">
                  <c:v>1.7570399999999999</c:v>
                </c:pt>
                <c:pt idx="6616">
                  <c:v>1.7275700000000001</c:v>
                </c:pt>
                <c:pt idx="6617">
                  <c:v>2.11368</c:v>
                </c:pt>
                <c:pt idx="6618">
                  <c:v>#N/A</c:v>
                </c:pt>
                <c:pt idx="6619">
                  <c:v>1.7653300000000001</c:v>
                </c:pt>
                <c:pt idx="6620">
                  <c:v>1.8564799999999999</c:v>
                </c:pt>
                <c:pt idx="6621">
                  <c:v>#N/A</c:v>
                </c:pt>
                <c:pt idx="6622">
                  <c:v>1.8052699999999999</c:v>
                </c:pt>
                <c:pt idx="6623">
                  <c:v>2.0819800000000002</c:v>
                </c:pt>
                <c:pt idx="6624">
                  <c:v>#N/A</c:v>
                </c:pt>
                <c:pt idx="6625">
                  <c:v>2.55802</c:v>
                </c:pt>
                <c:pt idx="6626">
                  <c:v>2.7389899999999998</c:v>
                </c:pt>
                <c:pt idx="6627">
                  <c:v>2.2263700000000002</c:v>
                </c:pt>
                <c:pt idx="6628">
                  <c:v>#N/A</c:v>
                </c:pt>
                <c:pt idx="6629">
                  <c:v>2.7426400000000002</c:v>
                </c:pt>
                <c:pt idx="6630">
                  <c:v>2.3896000000000002</c:v>
                </c:pt>
                <c:pt idx="6631">
                  <c:v>1.8070200000000001</c:v>
                </c:pt>
                <c:pt idx="6632">
                  <c:v>#N/A</c:v>
                </c:pt>
                <c:pt idx="6633">
                  <c:v>2.3399800000000002</c:v>
                </c:pt>
                <c:pt idx="6634">
                  <c:v>1.9465600000000001</c:v>
                </c:pt>
                <c:pt idx="6635">
                  <c:v>1.5628500000000001</c:v>
                </c:pt>
                <c:pt idx="6636">
                  <c:v>#N/A</c:v>
                </c:pt>
                <c:pt idx="6637">
                  <c:v>1.57633</c:v>
                </c:pt>
                <c:pt idx="6638">
                  <c:v>1.89825</c:v>
                </c:pt>
                <c:pt idx="6639">
                  <c:v>1.74248</c:v>
                </c:pt>
                <c:pt idx="6640">
                  <c:v>1.9766600000000001</c:v>
                </c:pt>
                <c:pt idx="6641">
                  <c:v>#N/A</c:v>
                </c:pt>
                <c:pt idx="6642">
                  <c:v>1.9025300000000001</c:v>
                </c:pt>
                <c:pt idx="6643">
                  <c:v>2.1743700000000001</c:v>
                </c:pt>
                <c:pt idx="6644">
                  <c:v>2.1448</c:v>
                </c:pt>
                <c:pt idx="6645">
                  <c:v>1.7045600000000001</c:v>
                </c:pt>
                <c:pt idx="6646">
                  <c:v>#N/A</c:v>
                </c:pt>
                <c:pt idx="6647">
                  <c:v>2.3828900000000002</c:v>
                </c:pt>
                <c:pt idx="6648">
                  <c:v>2.3876300000000001</c:v>
                </c:pt>
                <c:pt idx="6649">
                  <c:v>2.6133299999999999</c:v>
                </c:pt>
                <c:pt idx="6650">
                  <c:v>#N/A</c:v>
                </c:pt>
                <c:pt idx="6651">
                  <c:v>2.4892400000000001</c:v>
                </c:pt>
                <c:pt idx="6652">
                  <c:v>2.9445299999999999</c:v>
                </c:pt>
                <c:pt idx="6653">
                  <c:v>2.0982799999999999</c:v>
                </c:pt>
                <c:pt idx="6654">
                  <c:v>1.8678699999999999</c:v>
                </c:pt>
                <c:pt idx="6655">
                  <c:v>#N/A</c:v>
                </c:pt>
                <c:pt idx="6656">
                  <c:v>1.4022600000000001</c:v>
                </c:pt>
                <c:pt idx="6657">
                  <c:v>1.50339</c:v>
                </c:pt>
                <c:pt idx="6658">
                  <c:v>1.2874000000000001</c:v>
                </c:pt>
                <c:pt idx="6659">
                  <c:v>#N/A</c:v>
                </c:pt>
                <c:pt idx="6660">
                  <c:v>1.5494600000000001</c:v>
                </c:pt>
                <c:pt idx="6661">
                  <c:v>2.0482300000000002</c:v>
                </c:pt>
                <c:pt idx="6662">
                  <c:v>2.4461400000000002</c:v>
                </c:pt>
                <c:pt idx="6663">
                  <c:v>#N/A</c:v>
                </c:pt>
                <c:pt idx="6664">
                  <c:v>1.7139200000000001</c:v>
                </c:pt>
                <c:pt idx="6665">
                  <c:v>1.8226199999999999</c:v>
                </c:pt>
                <c:pt idx="6666">
                  <c:v>1.8457600000000001</c:v>
                </c:pt>
                <c:pt idx="6667">
                  <c:v>1.57473</c:v>
                </c:pt>
                <c:pt idx="6668">
                  <c:v>#N/A</c:v>
                </c:pt>
                <c:pt idx="6669">
                  <c:v>1.96302</c:v>
                </c:pt>
                <c:pt idx="6670">
                  <c:v>1.9664999999999999</c:v>
                </c:pt>
                <c:pt idx="6671">
                  <c:v>2.1575199999999999</c:v>
                </c:pt>
                <c:pt idx="6672">
                  <c:v>#N/A</c:v>
                </c:pt>
                <c:pt idx="6673">
                  <c:v>2.1379299999999999</c:v>
                </c:pt>
                <c:pt idx="6674">
                  <c:v>2.26946</c:v>
                </c:pt>
                <c:pt idx="6675">
                  <c:v>1.8239700000000001</c:v>
                </c:pt>
                <c:pt idx="6676">
                  <c:v>1.6647700000000001</c:v>
                </c:pt>
                <c:pt idx="6677">
                  <c:v>#N/A</c:v>
                </c:pt>
                <c:pt idx="6678">
                  <c:v>1.9604299999999999</c:v>
                </c:pt>
                <c:pt idx="6679">
                  <c:v>1.6573100000000001</c:v>
                </c:pt>
                <c:pt idx="6680">
                  <c:v>2.2932700000000001</c:v>
                </c:pt>
                <c:pt idx="6681">
                  <c:v>#N/A</c:v>
                </c:pt>
                <c:pt idx="6682">
                  <c:v>1.8241499999999999</c:v>
                </c:pt>
                <c:pt idx="6683">
                  <c:v>2.5153400000000001</c:v>
                </c:pt>
                <c:pt idx="6684">
                  <c:v>2.4712999999999998</c:v>
                </c:pt>
                <c:pt idx="6685">
                  <c:v>2.59727</c:v>
                </c:pt>
                <c:pt idx="6686">
                  <c:v>#N/A</c:v>
                </c:pt>
                <c:pt idx="6687">
                  <c:v>2.2932199999999998</c:v>
                </c:pt>
                <c:pt idx="6688">
                  <c:v>1.9805999999999999</c:v>
                </c:pt>
                <c:pt idx="6689">
                  <c:v>1.83586</c:v>
                </c:pt>
                <c:pt idx="6690">
                  <c:v>#N/A</c:v>
                </c:pt>
                <c:pt idx="6691">
                  <c:v>2.1056900000000001</c:v>
                </c:pt>
                <c:pt idx="6692">
                  <c:v>#N/A</c:v>
                </c:pt>
                <c:pt idx="6693">
                  <c:v>2.0532900000000001</c:v>
                </c:pt>
                <c:pt idx="6694">
                  <c:v>1.66723</c:v>
                </c:pt>
                <c:pt idx="6695">
                  <c:v>#N/A</c:v>
                </c:pt>
                <c:pt idx="6696">
                  <c:v>1.8326800000000001</c:v>
                </c:pt>
                <c:pt idx="6697">
                  <c:v>1.73644</c:v>
                </c:pt>
                <c:pt idx="6698">
                  <c:v>1.73939</c:v>
                </c:pt>
                <c:pt idx="6699">
                  <c:v>#N/A</c:v>
                </c:pt>
                <c:pt idx="6700">
                  <c:v>2.3064200000000001</c:v>
                </c:pt>
                <c:pt idx="6701">
                  <c:v>2.4540099999999998</c:v>
                </c:pt>
                <c:pt idx="6702">
                  <c:v>2.41736</c:v>
                </c:pt>
                <c:pt idx="6703">
                  <c:v>#N/A</c:v>
                </c:pt>
                <c:pt idx="6704">
                  <c:v>1.9621299999999999</c:v>
                </c:pt>
                <c:pt idx="6705">
                  <c:v>2.15672</c:v>
                </c:pt>
                <c:pt idx="6706">
                  <c:v>2.24627</c:v>
                </c:pt>
                <c:pt idx="6707">
                  <c:v>2.32775</c:v>
                </c:pt>
                <c:pt idx="6708">
                  <c:v>#N/A</c:v>
                </c:pt>
                <c:pt idx="6709">
                  <c:v>3.0348199999999999</c:v>
                </c:pt>
                <c:pt idx="6710">
                  <c:v>1.88544</c:v>
                </c:pt>
                <c:pt idx="6711">
                  <c:v>2.1301600000000001</c:v>
                </c:pt>
                <c:pt idx="6712">
                  <c:v>#N/A</c:v>
                </c:pt>
                <c:pt idx="6713">
                  <c:v>1.66113</c:v>
                </c:pt>
                <c:pt idx="6714">
                  <c:v>2.0808300000000002</c:v>
                </c:pt>
                <c:pt idx="6715">
                  <c:v>1.67503</c:v>
                </c:pt>
                <c:pt idx="6716">
                  <c:v>1.5690500000000001</c:v>
                </c:pt>
                <c:pt idx="6717">
                  <c:v>#N/A</c:v>
                </c:pt>
                <c:pt idx="6718">
                  <c:v>1.8769199999999999</c:v>
                </c:pt>
                <c:pt idx="6719">
                  <c:v>1.84822</c:v>
                </c:pt>
                <c:pt idx="6720">
                  <c:v>2.3028</c:v>
                </c:pt>
                <c:pt idx="6721">
                  <c:v>#N/A</c:v>
                </c:pt>
                <c:pt idx="6722">
                  <c:v>2.29772</c:v>
                </c:pt>
                <c:pt idx="6723">
                  <c:v>2.22403</c:v>
                </c:pt>
                <c:pt idx="6724">
                  <c:v>2.0723699999999998</c:v>
                </c:pt>
                <c:pt idx="6725">
                  <c:v>1.71984</c:v>
                </c:pt>
                <c:pt idx="6726">
                  <c:v>#N/A</c:v>
                </c:pt>
                <c:pt idx="6727">
                  <c:v>2.2690700000000001</c:v>
                </c:pt>
                <c:pt idx="6728">
                  <c:v>2.0093899999999998</c:v>
                </c:pt>
                <c:pt idx="6729">
                  <c:v>2.3119700000000001</c:v>
                </c:pt>
                <c:pt idx="6730">
                  <c:v>#N/A</c:v>
                </c:pt>
                <c:pt idx="6731">
                  <c:v>2.7634400000000001</c:v>
                </c:pt>
                <c:pt idx="6732">
                  <c:v>2.1518700000000002</c:v>
                </c:pt>
                <c:pt idx="6733">
                  <c:v>2.0036499999999999</c:v>
                </c:pt>
                <c:pt idx="6734">
                  <c:v>1.62392</c:v>
                </c:pt>
                <c:pt idx="6735">
                  <c:v>#N/A</c:v>
                </c:pt>
                <c:pt idx="6736">
                  <c:v>1.62388</c:v>
                </c:pt>
                <c:pt idx="6737">
                  <c:v>1.8656299999999999</c:v>
                </c:pt>
                <c:pt idx="6738">
                  <c:v>1.5345200000000001</c:v>
                </c:pt>
                <c:pt idx="6739">
                  <c:v>1.73689</c:v>
                </c:pt>
                <c:pt idx="6740">
                  <c:v>#N/A</c:v>
                </c:pt>
                <c:pt idx="6741">
                  <c:v>2.0854499999999998</c:v>
                </c:pt>
                <c:pt idx="6742">
                  <c:v>2.08195</c:v>
                </c:pt>
                <c:pt idx="6743">
                  <c:v>2.51946</c:v>
                </c:pt>
                <c:pt idx="6744">
                  <c:v>#N/A</c:v>
                </c:pt>
                <c:pt idx="6745">
                  <c:v>2.6801200000000001</c:v>
                </c:pt>
                <c:pt idx="6746">
                  <c:v>2.4090699999999998</c:v>
                </c:pt>
                <c:pt idx="6747">
                  <c:v>1.7196400000000001</c:v>
                </c:pt>
                <c:pt idx="6748">
                  <c:v>#N/A</c:v>
                </c:pt>
                <c:pt idx="6749">
                  <c:v>2.1057600000000001</c:v>
                </c:pt>
                <c:pt idx="6750">
                  <c:v>2.25482</c:v>
                </c:pt>
                <c:pt idx="6751">
                  <c:v>2.2116500000000001</c:v>
                </c:pt>
                <c:pt idx="6752">
                  <c:v>2.6055899999999999</c:v>
                </c:pt>
                <c:pt idx="6753">
                  <c:v>#N/A</c:v>
                </c:pt>
                <c:pt idx="6754">
                  <c:v>2.19597</c:v>
                </c:pt>
                <c:pt idx="6755">
                  <c:v>1.91943</c:v>
                </c:pt>
                <c:pt idx="6756">
                  <c:v>1.54138</c:v>
                </c:pt>
                <c:pt idx="6757">
                  <c:v>#N/A</c:v>
                </c:pt>
                <c:pt idx="6758">
                  <c:v>1.514</c:v>
                </c:pt>
                <c:pt idx="6759">
                  <c:v>2.2595399999999999</c:v>
                </c:pt>
                <c:pt idx="6760">
                  <c:v>2.6829999999999998</c:v>
                </c:pt>
                <c:pt idx="6761">
                  <c:v>2.38442</c:v>
                </c:pt>
                <c:pt idx="6762">
                  <c:v>#N/A</c:v>
                </c:pt>
                <c:pt idx="6763">
                  <c:v>2.0837400000000001</c:v>
                </c:pt>
                <c:pt idx="6764">
                  <c:v>2.3797700000000002</c:v>
                </c:pt>
                <c:pt idx="6765">
                  <c:v>#N/A</c:v>
                </c:pt>
                <c:pt idx="6766">
                  <c:v>2.2484199999999999</c:v>
                </c:pt>
                <c:pt idx="6767">
                  <c:v>#N/A</c:v>
                </c:pt>
                <c:pt idx="6768">
                  <c:v>2.2093600000000002</c:v>
                </c:pt>
                <c:pt idx="6769">
                  <c:v>2.2566600000000001</c:v>
                </c:pt>
                <c:pt idx="6770">
                  <c:v>2.3901400000000002</c:v>
                </c:pt>
                <c:pt idx="6771">
                  <c:v>2.31291</c:v>
                </c:pt>
                <c:pt idx="6772">
                  <c:v>#N/A</c:v>
                </c:pt>
                <c:pt idx="6773">
                  <c:v>1.51911</c:v>
                </c:pt>
                <c:pt idx="6774">
                  <c:v>1.6927300000000001</c:v>
                </c:pt>
                <c:pt idx="6775">
                  <c:v>2.1839</c:v>
                </c:pt>
                <c:pt idx="6776">
                  <c:v>#N/A</c:v>
                </c:pt>
                <c:pt idx="6777">
                  <c:v>1.5704499999999999</c:v>
                </c:pt>
                <c:pt idx="6778">
                  <c:v>2.0130699999999999</c:v>
                </c:pt>
                <c:pt idx="6779">
                  <c:v>2.3049900000000001</c:v>
                </c:pt>
                <c:pt idx="6780">
                  <c:v>2.8422499999999999</c:v>
                </c:pt>
                <c:pt idx="6781">
                  <c:v>#N/A</c:v>
                </c:pt>
                <c:pt idx="6782">
                  <c:v>2.7398099999999999</c:v>
                </c:pt>
                <c:pt idx="6783">
                  <c:v>2.4218899999999999</c:v>
                </c:pt>
                <c:pt idx="6784">
                  <c:v>1.9094100000000001</c:v>
                </c:pt>
                <c:pt idx="6785">
                  <c:v>#N/A</c:v>
                </c:pt>
                <c:pt idx="6786">
                  <c:v>1.9076500000000001</c:v>
                </c:pt>
                <c:pt idx="6787">
                  <c:v>#N/A</c:v>
                </c:pt>
                <c:pt idx="6788">
                  <c:v>1.8890899999999999</c:v>
                </c:pt>
                <c:pt idx="6789">
                  <c:v>2.5326900000000001</c:v>
                </c:pt>
                <c:pt idx="6790">
                  <c:v>2.8927999999999998</c:v>
                </c:pt>
                <c:pt idx="6791">
                  <c:v>2.7605400000000002</c:v>
                </c:pt>
                <c:pt idx="6792">
                  <c:v>#N/A</c:v>
                </c:pt>
                <c:pt idx="6793">
                  <c:v>2.1403300000000001</c:v>
                </c:pt>
                <c:pt idx="6794">
                  <c:v>1.7234799999999999</c:v>
                </c:pt>
                <c:pt idx="6795">
                  <c:v>1.80433</c:v>
                </c:pt>
                <c:pt idx="6796">
                  <c:v>#N/A</c:v>
                </c:pt>
                <c:pt idx="6797">
                  <c:v>1.5753200000000001</c:v>
                </c:pt>
                <c:pt idx="6798">
                  <c:v>1.99857</c:v>
                </c:pt>
                <c:pt idx="6799">
                  <c:v>2.6200299999999999</c:v>
                </c:pt>
                <c:pt idx="6800">
                  <c:v>#N/A</c:v>
                </c:pt>
                <c:pt idx="6801">
                  <c:v>2.5948699999999998</c:v>
                </c:pt>
                <c:pt idx="6802">
                  <c:v>2.7557800000000001</c:v>
                </c:pt>
                <c:pt idx="6803">
                  <c:v>2.4671699999999999</c:v>
                </c:pt>
                <c:pt idx="6804">
                  <c:v>2.30776</c:v>
                </c:pt>
                <c:pt idx="6805">
                  <c:v>#N/A</c:v>
                </c:pt>
                <c:pt idx="6806">
                  <c:v>2.42815</c:v>
                </c:pt>
                <c:pt idx="6807">
                  <c:v>2.3506900000000002</c:v>
                </c:pt>
                <c:pt idx="6808">
                  <c:v>3.1830400000000001</c:v>
                </c:pt>
                <c:pt idx="6809">
                  <c:v>#N/A</c:v>
                </c:pt>
                <c:pt idx="6810">
                  <c:v>2.4108999999999998</c:v>
                </c:pt>
                <c:pt idx="6811">
                  <c:v>2.3152599999999999</c:v>
                </c:pt>
                <c:pt idx="6812">
                  <c:v>2.5255700000000001</c:v>
                </c:pt>
                <c:pt idx="6813">
                  <c:v>2.4520499999999998</c:v>
                </c:pt>
                <c:pt idx="6814">
                  <c:v>#N/A</c:v>
                </c:pt>
                <c:pt idx="6815">
                  <c:v>1.9150499999999999</c:v>
                </c:pt>
                <c:pt idx="6816">
                  <c:v>1.5758000000000001</c:v>
                </c:pt>
                <c:pt idx="6817">
                  <c:v>2.0543100000000001</c:v>
                </c:pt>
                <c:pt idx="6818">
                  <c:v>#N/A</c:v>
                </c:pt>
                <c:pt idx="6819">
                  <c:v>2.00312</c:v>
                </c:pt>
                <c:pt idx="6820">
                  <c:v>2.37398</c:v>
                </c:pt>
                <c:pt idx="6821">
                  <c:v>2.3917600000000001</c:v>
                </c:pt>
                <c:pt idx="6822">
                  <c:v>#N/A</c:v>
                </c:pt>
                <c:pt idx="6823">
                  <c:v>2.2239599999999999</c:v>
                </c:pt>
                <c:pt idx="6824">
                  <c:v>2.4975200000000002</c:v>
                </c:pt>
                <c:pt idx="6825">
                  <c:v>2.1865999999999999</c:v>
                </c:pt>
                <c:pt idx="6826">
                  <c:v>1.77041</c:v>
                </c:pt>
                <c:pt idx="6827">
                  <c:v>#N/A</c:v>
                </c:pt>
                <c:pt idx="6828">
                  <c:v>2.3409</c:v>
                </c:pt>
                <c:pt idx="6829">
                  <c:v>2.3501300000000001</c:v>
                </c:pt>
                <c:pt idx="6830">
                  <c:v>2.77399</c:v>
                </c:pt>
                <c:pt idx="6831">
                  <c:v>#N/A</c:v>
                </c:pt>
                <c:pt idx="6832">
                  <c:v>2.0525799999999998</c:v>
                </c:pt>
                <c:pt idx="6833">
                  <c:v>2.10182</c:v>
                </c:pt>
                <c:pt idx="6834">
                  <c:v>1.43625</c:v>
                </c:pt>
                <c:pt idx="6835">
                  <c:v>2.02624</c:v>
                </c:pt>
                <c:pt idx="6836">
                  <c:v>#N/A</c:v>
                </c:pt>
                <c:pt idx="6837">
                  <c:v>1.79087</c:v>
                </c:pt>
                <c:pt idx="6838">
                  <c:v>2.2593399999999999</c:v>
                </c:pt>
                <c:pt idx="6839">
                  <c:v>2.1316199999999998</c:v>
                </c:pt>
                <c:pt idx="6840">
                  <c:v>#N/A</c:v>
                </c:pt>
                <c:pt idx="6841">
                  <c:v>2.0485000000000002</c:v>
                </c:pt>
                <c:pt idx="6842">
                  <c:v>2.2121</c:v>
                </c:pt>
                <c:pt idx="6843">
                  <c:v>1.9075200000000001</c:v>
                </c:pt>
                <c:pt idx="6844">
                  <c:v>#N/A</c:v>
                </c:pt>
                <c:pt idx="6845">
                  <c:v>2.31914</c:v>
                </c:pt>
                <c:pt idx="6846">
                  <c:v>2.0518000000000001</c:v>
                </c:pt>
                <c:pt idx="6847">
                  <c:v>2.0892499999999998</c:v>
                </c:pt>
                <c:pt idx="6848">
                  <c:v>#N/A</c:v>
                </c:pt>
                <c:pt idx="6849">
                  <c:v>2.1775600000000002</c:v>
                </c:pt>
                <c:pt idx="6850">
                  <c:v>2.37059</c:v>
                </c:pt>
                <c:pt idx="6851">
                  <c:v>2.5343200000000001</c:v>
                </c:pt>
                <c:pt idx="6852">
                  <c:v>2.1116600000000001</c:v>
                </c:pt>
                <c:pt idx="6853">
                  <c:v>#N/A</c:v>
                </c:pt>
                <c:pt idx="6854">
                  <c:v>2.04156</c:v>
                </c:pt>
                <c:pt idx="6855">
                  <c:v>1.67906</c:v>
                </c:pt>
                <c:pt idx="6856">
                  <c:v>1.53118</c:v>
                </c:pt>
                <c:pt idx="6857">
                  <c:v>#N/A</c:v>
                </c:pt>
                <c:pt idx="6858">
                  <c:v>1.51248</c:v>
                </c:pt>
                <c:pt idx="6859">
                  <c:v>2.37643</c:v>
                </c:pt>
                <c:pt idx="6860">
                  <c:v>2.6618900000000001</c:v>
                </c:pt>
                <c:pt idx="6861">
                  <c:v>2.47688</c:v>
                </c:pt>
                <c:pt idx="6862">
                  <c:v>#N/A</c:v>
                </c:pt>
                <c:pt idx="6863">
                  <c:v>2.0180199999999999</c:v>
                </c:pt>
                <c:pt idx="6864">
                  <c:v>1.97346</c:v>
                </c:pt>
                <c:pt idx="6865">
                  <c:v>1.8613599999999999</c:v>
                </c:pt>
                <c:pt idx="6866">
                  <c:v>2.5760399999999999</c:v>
                </c:pt>
                <c:pt idx="6867">
                  <c:v>#N/A</c:v>
                </c:pt>
                <c:pt idx="6868">
                  <c:v>2.2109800000000002</c:v>
                </c:pt>
                <c:pt idx="6869">
                  <c:v>2.50624</c:v>
                </c:pt>
                <c:pt idx="6870">
                  <c:v>2.2634099999999999</c:v>
                </c:pt>
                <c:pt idx="6871">
                  <c:v>#N/A</c:v>
                </c:pt>
                <c:pt idx="6872">
                  <c:v>2.5826699999999998</c:v>
                </c:pt>
                <c:pt idx="6873">
                  <c:v>2.02671</c:v>
                </c:pt>
                <c:pt idx="6874">
                  <c:v>1.6661300000000001</c:v>
                </c:pt>
                <c:pt idx="6875">
                  <c:v>#N/A</c:v>
                </c:pt>
                <c:pt idx="6876">
                  <c:v>1.8089</c:v>
                </c:pt>
                <c:pt idx="6877">
                  <c:v>1.8269899999999999</c:v>
                </c:pt>
                <c:pt idx="6878">
                  <c:v>1.7349000000000001</c:v>
                </c:pt>
                <c:pt idx="6879">
                  <c:v>1.47376</c:v>
                </c:pt>
                <c:pt idx="6880">
                  <c:v>#N/A</c:v>
                </c:pt>
                <c:pt idx="6881">
                  <c:v>2.1471200000000001</c:v>
                </c:pt>
                <c:pt idx="6882">
                  <c:v>2.33433</c:v>
                </c:pt>
                <c:pt idx="6883">
                  <c:v>2.4440200000000001</c:v>
                </c:pt>
                <c:pt idx="6884">
                  <c:v>#N/A</c:v>
                </c:pt>
                <c:pt idx="6885">
                  <c:v>3.5570200000000001</c:v>
                </c:pt>
                <c:pt idx="6886">
                  <c:v>2.94563</c:v>
                </c:pt>
                <c:pt idx="6887">
                  <c:v>3.7299699999999998</c:v>
                </c:pt>
                <c:pt idx="6888">
                  <c:v>#N/A</c:v>
                </c:pt>
                <c:pt idx="6889">
                  <c:v>3.6177199999999998</c:v>
                </c:pt>
                <c:pt idx="6890">
                  <c:v>4.2275600000000004</c:v>
                </c:pt>
                <c:pt idx="6891">
                  <c:v>3.60025</c:v>
                </c:pt>
                <c:pt idx="6892">
                  <c:v>3.0683799999999999</c:v>
                </c:pt>
                <c:pt idx="6893">
                  <c:v>#N/A</c:v>
                </c:pt>
                <c:pt idx="6894">
                  <c:v>3.0956999999999999</c:v>
                </c:pt>
                <c:pt idx="6895">
                  <c:v>2.8923100000000002</c:v>
                </c:pt>
                <c:pt idx="6896">
                  <c:v>2.0106000000000002</c:v>
                </c:pt>
                <c:pt idx="6897">
                  <c:v>1.6856</c:v>
                </c:pt>
                <c:pt idx="6898">
                  <c:v>#N/A</c:v>
                </c:pt>
                <c:pt idx="6899">
                  <c:v>1.43201</c:v>
                </c:pt>
                <c:pt idx="6900">
                  <c:v>1.36019</c:v>
                </c:pt>
                <c:pt idx="6901">
                  <c:v>0.85911400000000004</c:v>
                </c:pt>
                <c:pt idx="6902">
                  <c:v>#N/A</c:v>
                </c:pt>
                <c:pt idx="6903">
                  <c:v>1.3703000000000001</c:v>
                </c:pt>
                <c:pt idx="6904">
                  <c:v>1.26065</c:v>
                </c:pt>
                <c:pt idx="6905">
                  <c:v>1.2135899999999999</c:v>
                </c:pt>
                <c:pt idx="6906">
                  <c:v>#N/A</c:v>
                </c:pt>
                <c:pt idx="6907">
                  <c:v>1.6997800000000001</c:v>
                </c:pt>
                <c:pt idx="6908">
                  <c:v>#N/A</c:v>
                </c:pt>
                <c:pt idx="6909">
                  <c:v>1.72525</c:v>
                </c:pt>
                <c:pt idx="6910">
                  <c:v>2.80084</c:v>
                </c:pt>
                <c:pt idx="6911">
                  <c:v>2.8531399999999998</c:v>
                </c:pt>
                <c:pt idx="6912">
                  <c:v>#N/A</c:v>
                </c:pt>
                <c:pt idx="6913">
                  <c:v>3.1000100000000002</c:v>
                </c:pt>
                <c:pt idx="6914">
                  <c:v>2.5135399999999999</c:v>
                </c:pt>
                <c:pt idx="6915">
                  <c:v>2.6792699999999998</c:v>
                </c:pt>
                <c:pt idx="6916">
                  <c:v>#N/A</c:v>
                </c:pt>
                <c:pt idx="6917">
                  <c:v>2.80945</c:v>
                </c:pt>
                <c:pt idx="6918">
                  <c:v>2.2035300000000002</c:v>
                </c:pt>
                <c:pt idx="6919">
                  <c:v>2.34463</c:v>
                </c:pt>
                <c:pt idx="6920">
                  <c:v>#N/A</c:v>
                </c:pt>
                <c:pt idx="6921">
                  <c:v>2.8566400000000001</c:v>
                </c:pt>
                <c:pt idx="6922">
                  <c:v>2.5195799999999999</c:v>
                </c:pt>
                <c:pt idx="6923">
                  <c:v>2.3482500000000002</c:v>
                </c:pt>
                <c:pt idx="6924">
                  <c:v>#N/A</c:v>
                </c:pt>
                <c:pt idx="6925">
                  <c:v>2.5633699999999999</c:v>
                </c:pt>
                <c:pt idx="6926">
                  <c:v>2.2200799999999998</c:v>
                </c:pt>
                <c:pt idx="6927">
                  <c:v>2.1011000000000002</c:v>
                </c:pt>
                <c:pt idx="6928">
                  <c:v>2.8131200000000001</c:v>
                </c:pt>
                <c:pt idx="6929">
                  <c:v>#N/A</c:v>
                </c:pt>
                <c:pt idx="6930">
                  <c:v>3.08921</c:v>
                </c:pt>
                <c:pt idx="6931">
                  <c:v>2.4955599999999998</c:v>
                </c:pt>
                <c:pt idx="6932">
                  <c:v>2.4697300000000002</c:v>
                </c:pt>
                <c:pt idx="6933">
                  <c:v>#N/A</c:v>
                </c:pt>
                <c:pt idx="6934">
                  <c:v>1.9077599999999999</c:v>
                </c:pt>
                <c:pt idx="6935">
                  <c:v>2.1160299999999999</c:v>
                </c:pt>
                <c:pt idx="6936">
                  <c:v>1.74021</c:v>
                </c:pt>
                <c:pt idx="6937">
                  <c:v>2.03708</c:v>
                </c:pt>
                <c:pt idx="6938">
                  <c:v>#N/A</c:v>
                </c:pt>
                <c:pt idx="6939">
                  <c:v>2.2450299999999999</c:v>
                </c:pt>
                <c:pt idx="6940">
                  <c:v>2.3777900000000001</c:v>
                </c:pt>
                <c:pt idx="6941">
                  <c:v>2.8207499999999999</c:v>
                </c:pt>
                <c:pt idx="6942">
                  <c:v>#N/A</c:v>
                </c:pt>
                <c:pt idx="6943">
                  <c:v>2.5721400000000001</c:v>
                </c:pt>
                <c:pt idx="6944">
                  <c:v>2.6309499999999999</c:v>
                </c:pt>
                <c:pt idx="6945">
                  <c:v>2.4653700000000001</c:v>
                </c:pt>
                <c:pt idx="6946">
                  <c:v>#N/A</c:v>
                </c:pt>
                <c:pt idx="6947">
                  <c:v>2.70587</c:v>
                </c:pt>
                <c:pt idx="6948">
                  <c:v>2.6207400000000001</c:v>
                </c:pt>
                <c:pt idx="6949">
                  <c:v>2.4909400000000002</c:v>
                </c:pt>
                <c:pt idx="6950">
                  <c:v>2.4470700000000001</c:v>
                </c:pt>
                <c:pt idx="6951">
                  <c:v>#N/A</c:v>
                </c:pt>
                <c:pt idx="6952">
                  <c:v>2.79779</c:v>
                </c:pt>
                <c:pt idx="6953">
                  <c:v>2.4003000000000001</c:v>
                </c:pt>
                <c:pt idx="6954">
                  <c:v>1.87666</c:v>
                </c:pt>
                <c:pt idx="6955">
                  <c:v>#N/A</c:v>
                </c:pt>
                <c:pt idx="6956">
                  <c:v>2.27427</c:v>
                </c:pt>
                <c:pt idx="6957">
                  <c:v>1.81284</c:v>
                </c:pt>
                <c:pt idx="6958">
                  <c:v>2.0463800000000001</c:v>
                </c:pt>
                <c:pt idx="6959">
                  <c:v>2.0172500000000002</c:v>
                </c:pt>
                <c:pt idx="6960">
                  <c:v>#N/A</c:v>
                </c:pt>
                <c:pt idx="6961">
                  <c:v>2.7115800000000001</c:v>
                </c:pt>
                <c:pt idx="6962">
                  <c:v>2.0821200000000002</c:v>
                </c:pt>
                <c:pt idx="6963">
                  <c:v>2.2568000000000001</c:v>
                </c:pt>
                <c:pt idx="6964">
                  <c:v>#N/A</c:v>
                </c:pt>
                <c:pt idx="6965">
                  <c:v>2.8473600000000001</c:v>
                </c:pt>
                <c:pt idx="6966">
                  <c:v>2.60839</c:v>
                </c:pt>
                <c:pt idx="6967">
                  <c:v>2.0621100000000001</c:v>
                </c:pt>
                <c:pt idx="6968">
                  <c:v>2.3260100000000001</c:v>
                </c:pt>
                <c:pt idx="6969">
                  <c:v>#N/A</c:v>
                </c:pt>
                <c:pt idx="6970">
                  <c:v>2.27277</c:v>
                </c:pt>
                <c:pt idx="6971">
                  <c:v>2.4086400000000001</c:v>
                </c:pt>
                <c:pt idx="6972">
                  <c:v>1.72187</c:v>
                </c:pt>
                <c:pt idx="6973">
                  <c:v>#N/A</c:v>
                </c:pt>
                <c:pt idx="6974">
                  <c:v>1.72986</c:v>
                </c:pt>
                <c:pt idx="6975">
                  <c:v>1.94214</c:v>
                </c:pt>
                <c:pt idx="6976">
                  <c:v>1.7074</c:v>
                </c:pt>
                <c:pt idx="6977">
                  <c:v>#N/A</c:v>
                </c:pt>
                <c:pt idx="6978">
                  <c:v>1.70783</c:v>
                </c:pt>
                <c:pt idx="6979">
                  <c:v>1.71268</c:v>
                </c:pt>
                <c:pt idx="6980">
                  <c:v>#N/A</c:v>
                </c:pt>
                <c:pt idx="6981">
                  <c:v>2.3674400000000002</c:v>
                </c:pt>
                <c:pt idx="6982">
                  <c:v>#N/A</c:v>
                </c:pt>
                <c:pt idx="6983">
                  <c:v>2.1535000000000002</c:v>
                </c:pt>
                <c:pt idx="6984">
                  <c:v>2.25088</c:v>
                </c:pt>
                <c:pt idx="6985">
                  <c:v>2.5657800000000002</c:v>
                </c:pt>
                <c:pt idx="6986">
                  <c:v>#N/A</c:v>
                </c:pt>
                <c:pt idx="6987">
                  <c:v>2.6030099999999998</c:v>
                </c:pt>
                <c:pt idx="6988">
                  <c:v>2.6672600000000002</c:v>
                </c:pt>
                <c:pt idx="6989">
                  <c:v>2.63863</c:v>
                </c:pt>
                <c:pt idx="6990">
                  <c:v>2.5526499999999999</c:v>
                </c:pt>
                <c:pt idx="6991">
                  <c:v>#N/A</c:v>
                </c:pt>
                <c:pt idx="6992">
                  <c:v>2.5843400000000001</c:v>
                </c:pt>
                <c:pt idx="6993">
                  <c:v>2.2758799999999999</c:v>
                </c:pt>
                <c:pt idx="6994">
                  <c:v>1.5559799999999999</c:v>
                </c:pt>
                <c:pt idx="6995">
                  <c:v>#N/A</c:v>
                </c:pt>
                <c:pt idx="6996">
                  <c:v>1.53918</c:v>
                </c:pt>
                <c:pt idx="6997">
                  <c:v>2.0811000000000002</c:v>
                </c:pt>
                <c:pt idx="6998">
                  <c:v>2.44319</c:v>
                </c:pt>
                <c:pt idx="6999">
                  <c:v>2.1810200000000002</c:v>
                </c:pt>
                <c:pt idx="7000">
                  <c:v>#N/A</c:v>
                </c:pt>
                <c:pt idx="7001">
                  <c:v>2.9408099999999999</c:v>
                </c:pt>
                <c:pt idx="7002">
                  <c:v>2.7007599999999998</c:v>
                </c:pt>
                <c:pt idx="7003">
                  <c:v>2.3325499999999999</c:v>
                </c:pt>
                <c:pt idx="7004">
                  <c:v>#N/A</c:v>
                </c:pt>
                <c:pt idx="7005">
                  <c:v>2.5388199999999999</c:v>
                </c:pt>
                <c:pt idx="7006">
                  <c:v>2.1823199999999998</c:v>
                </c:pt>
                <c:pt idx="7007">
                  <c:v>2.5221</c:v>
                </c:pt>
                <c:pt idx="7008">
                  <c:v>2.5204900000000001</c:v>
                </c:pt>
                <c:pt idx="7009">
                  <c:v>#N/A</c:v>
                </c:pt>
                <c:pt idx="7010">
                  <c:v>2.9162599999999999</c:v>
                </c:pt>
                <c:pt idx="7011">
                  <c:v>2.6575000000000002</c:v>
                </c:pt>
                <c:pt idx="7012">
                  <c:v>2.05423</c:v>
                </c:pt>
                <c:pt idx="7013">
                  <c:v>#N/A</c:v>
                </c:pt>
                <c:pt idx="7014">
                  <c:v>1.7425299999999999</c:v>
                </c:pt>
                <c:pt idx="7015">
                  <c:v>1.73603</c:v>
                </c:pt>
                <c:pt idx="7016">
                  <c:v>1.8905799999999999</c:v>
                </c:pt>
                <c:pt idx="7017">
                  <c:v>#N/A</c:v>
                </c:pt>
                <c:pt idx="7018">
                  <c:v>2.02224</c:v>
                </c:pt>
                <c:pt idx="7019">
                  <c:v>2.8495599999999999</c:v>
                </c:pt>
                <c:pt idx="7020">
                  <c:v>2.40178</c:v>
                </c:pt>
                <c:pt idx="7021">
                  <c:v>2.5540799999999999</c:v>
                </c:pt>
                <c:pt idx="7022">
                  <c:v>#N/A</c:v>
                </c:pt>
                <c:pt idx="7023">
                  <c:v>2.8076400000000001</c:v>
                </c:pt>
                <c:pt idx="7024">
                  <c:v>2.5061599999999999</c:v>
                </c:pt>
                <c:pt idx="7025">
                  <c:v>2.3807100000000001</c:v>
                </c:pt>
                <c:pt idx="7026">
                  <c:v>2.32389</c:v>
                </c:pt>
                <c:pt idx="7027">
                  <c:v>#N/A</c:v>
                </c:pt>
                <c:pt idx="7028">
                  <c:v>2.6798899999999999</c:v>
                </c:pt>
                <c:pt idx="7029">
                  <c:v>2.24071</c:v>
                </c:pt>
                <c:pt idx="7030">
                  <c:v>2.1390099999999999</c:v>
                </c:pt>
                <c:pt idx="7031">
                  <c:v>#N/A</c:v>
                </c:pt>
                <c:pt idx="7032">
                  <c:v>2.37521</c:v>
                </c:pt>
                <c:pt idx="7033">
                  <c:v>2.1431399999999998</c:v>
                </c:pt>
                <c:pt idx="7034">
                  <c:v>1.91042</c:v>
                </c:pt>
                <c:pt idx="7035">
                  <c:v>#N/A</c:v>
                </c:pt>
                <c:pt idx="7036">
                  <c:v>1.76902</c:v>
                </c:pt>
                <c:pt idx="7037">
                  <c:v>1.80148</c:v>
                </c:pt>
                <c:pt idx="7038">
                  <c:v>2.0464899999999999</c:v>
                </c:pt>
                <c:pt idx="7039">
                  <c:v>1.94095</c:v>
                </c:pt>
                <c:pt idx="7040">
                  <c:v>#N/A</c:v>
                </c:pt>
                <c:pt idx="7041">
                  <c:v>2.1618599999999999</c:v>
                </c:pt>
                <c:pt idx="7042">
                  <c:v>2.4775700000000001</c:v>
                </c:pt>
                <c:pt idx="7043">
                  <c:v>2.45764</c:v>
                </c:pt>
                <c:pt idx="7044">
                  <c:v>#N/A</c:v>
                </c:pt>
                <c:pt idx="7045">
                  <c:v>2.2817099999999999</c:v>
                </c:pt>
                <c:pt idx="7046">
                  <c:v>2.8194599999999999</c:v>
                </c:pt>
                <c:pt idx="7047">
                  <c:v>2.65598</c:v>
                </c:pt>
                <c:pt idx="7048">
                  <c:v>#N/A</c:v>
                </c:pt>
                <c:pt idx="7049">
                  <c:v>2.5642100000000001</c:v>
                </c:pt>
                <c:pt idx="7050">
                  <c:v>2.6510899999999999</c:v>
                </c:pt>
                <c:pt idx="7051">
                  <c:v>2.4921700000000002</c:v>
                </c:pt>
                <c:pt idx="7052">
                  <c:v>1.86269</c:v>
                </c:pt>
                <c:pt idx="7053">
                  <c:v>#N/A</c:v>
                </c:pt>
                <c:pt idx="7054">
                  <c:v>1.6781900000000001</c:v>
                </c:pt>
                <c:pt idx="7055">
                  <c:v>2.3397899999999998</c:v>
                </c:pt>
                <c:pt idx="7056">
                  <c:v>1.65846</c:v>
                </c:pt>
                <c:pt idx="7057">
                  <c:v>#N/A</c:v>
                </c:pt>
                <c:pt idx="7058">
                  <c:v>1.9853700000000001</c:v>
                </c:pt>
                <c:pt idx="7059">
                  <c:v>2.0353699999999999</c:v>
                </c:pt>
                <c:pt idx="7060">
                  <c:v>2.4295499999999999</c:v>
                </c:pt>
                <c:pt idx="7061">
                  <c:v>2.21434</c:v>
                </c:pt>
                <c:pt idx="7062">
                  <c:v>#N/A</c:v>
                </c:pt>
                <c:pt idx="7063">
                  <c:v>2.5239199999999999</c:v>
                </c:pt>
                <c:pt idx="7064">
                  <c:v>2.3098700000000001</c:v>
                </c:pt>
                <c:pt idx="7065">
                  <c:v>2.1474600000000001</c:v>
                </c:pt>
                <c:pt idx="7066">
                  <c:v>#N/A</c:v>
                </c:pt>
                <c:pt idx="7067">
                  <c:v>2.1465399999999999</c:v>
                </c:pt>
                <c:pt idx="7068">
                  <c:v>2.7382300000000002</c:v>
                </c:pt>
                <c:pt idx="7069">
                  <c:v>3.0885500000000001</c:v>
                </c:pt>
                <c:pt idx="7070">
                  <c:v>2.7611599999999998</c:v>
                </c:pt>
                <c:pt idx="7071">
                  <c:v>#N/A</c:v>
                </c:pt>
                <c:pt idx="7072">
                  <c:v>2.5045000000000002</c:v>
                </c:pt>
                <c:pt idx="7073">
                  <c:v>1.9176800000000001</c:v>
                </c:pt>
                <c:pt idx="7074">
                  <c:v>1.77721</c:v>
                </c:pt>
                <c:pt idx="7075">
                  <c:v>#N/A</c:v>
                </c:pt>
                <c:pt idx="7076">
                  <c:v>1.4256</c:v>
                </c:pt>
                <c:pt idx="7077">
                  <c:v>2.55531</c:v>
                </c:pt>
                <c:pt idx="7078">
                  <c:v>2.0477500000000002</c:v>
                </c:pt>
                <c:pt idx="7079">
                  <c:v>2.0442999999999998</c:v>
                </c:pt>
                <c:pt idx="7080">
                  <c:v>#N/A</c:v>
                </c:pt>
                <c:pt idx="7081">
                  <c:v>2.48095</c:v>
                </c:pt>
                <c:pt idx="7082">
                  <c:v>2.6850999999999998</c:v>
                </c:pt>
                <c:pt idx="7083">
                  <c:v>2.2959700000000001</c:v>
                </c:pt>
                <c:pt idx="7084">
                  <c:v>2.0468899999999999</c:v>
                </c:pt>
                <c:pt idx="7085">
                  <c:v>#N/A</c:v>
                </c:pt>
                <c:pt idx="7086">
                  <c:v>2.39317</c:v>
                </c:pt>
                <c:pt idx="7087">
                  <c:v>1.6662699999999999</c:v>
                </c:pt>
                <c:pt idx="7088">
                  <c:v>2.0205500000000001</c:v>
                </c:pt>
                <c:pt idx="7089">
                  <c:v>#N/A</c:v>
                </c:pt>
                <c:pt idx="7090">
                  <c:v>2.3041800000000001</c:v>
                </c:pt>
                <c:pt idx="7091">
                  <c:v>2.6497099999999998</c:v>
                </c:pt>
                <c:pt idx="7092">
                  <c:v>2.5230999999999999</c:v>
                </c:pt>
                <c:pt idx="7093">
                  <c:v>#N/A</c:v>
                </c:pt>
                <c:pt idx="7094">
                  <c:v>2.0260400000000001</c:v>
                </c:pt>
                <c:pt idx="7095">
                  <c:v>2.00739</c:v>
                </c:pt>
                <c:pt idx="7096">
                  <c:v>2.16046</c:v>
                </c:pt>
                <c:pt idx="7097">
                  <c:v>1.46052</c:v>
                </c:pt>
                <c:pt idx="7098">
                  <c:v>#N/A</c:v>
                </c:pt>
                <c:pt idx="7099">
                  <c:v>2.3868499999999999</c:v>
                </c:pt>
                <c:pt idx="7100">
                  <c:v>2.69468</c:v>
                </c:pt>
                <c:pt idx="7101">
                  <c:v>3.1276099999999998</c:v>
                </c:pt>
                <c:pt idx="7102">
                  <c:v>#N/A</c:v>
                </c:pt>
                <c:pt idx="7103">
                  <c:v>2.5937299999999999</c:v>
                </c:pt>
                <c:pt idx="7104">
                  <c:v>2.5471499999999998</c:v>
                </c:pt>
                <c:pt idx="7105">
                  <c:v>2.65062</c:v>
                </c:pt>
                <c:pt idx="7106">
                  <c:v>2.5374699999999999</c:v>
                </c:pt>
                <c:pt idx="7107">
                  <c:v>#N/A</c:v>
                </c:pt>
                <c:pt idx="7108">
                  <c:v>2.5606300000000002</c:v>
                </c:pt>
                <c:pt idx="7109">
                  <c:v>2.1395900000000001</c:v>
                </c:pt>
                <c:pt idx="7110">
                  <c:v>2.5063300000000002</c:v>
                </c:pt>
                <c:pt idx="7111">
                  <c:v>#N/A</c:v>
                </c:pt>
                <c:pt idx="7112">
                  <c:v>1.8546100000000001</c:v>
                </c:pt>
                <c:pt idx="7113">
                  <c:v>2.4956299999999998</c:v>
                </c:pt>
                <c:pt idx="7114">
                  <c:v>2.5877400000000002</c:v>
                </c:pt>
                <c:pt idx="7115">
                  <c:v>#N/A</c:v>
                </c:pt>
                <c:pt idx="7116">
                  <c:v>2.2006000000000001</c:v>
                </c:pt>
                <c:pt idx="7117">
                  <c:v>2.31697</c:v>
                </c:pt>
                <c:pt idx="7118">
                  <c:v>1.8295999999999999</c:v>
                </c:pt>
                <c:pt idx="7119">
                  <c:v>1.85494</c:v>
                </c:pt>
                <c:pt idx="7120">
                  <c:v>#N/A</c:v>
                </c:pt>
                <c:pt idx="7121">
                  <c:v>2.08521</c:v>
                </c:pt>
                <c:pt idx="7122">
                  <c:v>2.37412</c:v>
                </c:pt>
                <c:pt idx="7123">
                  <c:v>2.64323</c:v>
                </c:pt>
                <c:pt idx="7124">
                  <c:v>#N/A</c:v>
                </c:pt>
                <c:pt idx="7125">
                  <c:v>2.65917</c:v>
                </c:pt>
                <c:pt idx="7126">
                  <c:v>2.9675199999999999</c:v>
                </c:pt>
                <c:pt idx="7127">
                  <c:v>2.5581</c:v>
                </c:pt>
                <c:pt idx="7128">
                  <c:v>2.20242</c:v>
                </c:pt>
                <c:pt idx="7129">
                  <c:v>#N/A</c:v>
                </c:pt>
                <c:pt idx="7130">
                  <c:v>2.8318099999999999</c:v>
                </c:pt>
                <c:pt idx="7131">
                  <c:v>2.5586600000000002</c:v>
                </c:pt>
                <c:pt idx="7132">
                  <c:v>2.0274899999999998</c:v>
                </c:pt>
                <c:pt idx="7133">
                  <c:v>#N/A</c:v>
                </c:pt>
                <c:pt idx="7134">
                  <c:v>1.58518</c:v>
                </c:pt>
                <c:pt idx="7135">
                  <c:v>2.3687499999999999</c:v>
                </c:pt>
                <c:pt idx="7136">
                  <c:v>2.2244100000000002</c:v>
                </c:pt>
                <c:pt idx="7137">
                  <c:v>#N/A</c:v>
                </c:pt>
                <c:pt idx="7138">
                  <c:v>2.5644800000000001</c:v>
                </c:pt>
                <c:pt idx="7139">
                  <c:v>2.59796</c:v>
                </c:pt>
                <c:pt idx="7140">
                  <c:v>2.1175600000000001</c:v>
                </c:pt>
                <c:pt idx="7141">
                  <c:v>2.0799300000000001</c:v>
                </c:pt>
                <c:pt idx="7142">
                  <c:v>#N/A</c:v>
                </c:pt>
                <c:pt idx="7143">
                  <c:v>1.7382599999999999</c:v>
                </c:pt>
                <c:pt idx="7144">
                  <c:v>1.7962400000000001</c:v>
                </c:pt>
                <c:pt idx="7145">
                  <c:v>1.7311000000000001</c:v>
                </c:pt>
                <c:pt idx="7146">
                  <c:v>2.5047299999999999</c:v>
                </c:pt>
                <c:pt idx="7147">
                  <c:v>#N/A</c:v>
                </c:pt>
                <c:pt idx="7148">
                  <c:v>2.8762799999999999</c:v>
                </c:pt>
                <c:pt idx="7149">
                  <c:v>2.8298800000000002</c:v>
                </c:pt>
                <c:pt idx="7150">
                  <c:v>2.3585199999999999</c:v>
                </c:pt>
                <c:pt idx="7151">
                  <c:v>#N/A</c:v>
                </c:pt>
                <c:pt idx="7152">
                  <c:v>2.8729499999999999</c:v>
                </c:pt>
                <c:pt idx="7153">
                  <c:v>2.1278800000000002</c:v>
                </c:pt>
                <c:pt idx="7154">
                  <c:v>2.0025200000000001</c:v>
                </c:pt>
                <c:pt idx="7155">
                  <c:v>1.3235399999999999</c:v>
                </c:pt>
                <c:pt idx="7156">
                  <c:v>#N/A</c:v>
                </c:pt>
                <c:pt idx="7157">
                  <c:v>1.643</c:v>
                </c:pt>
                <c:pt idx="7158">
                  <c:v>2.3692099999999998</c:v>
                </c:pt>
                <c:pt idx="7159">
                  <c:v>2.4488599999999998</c:v>
                </c:pt>
                <c:pt idx="7160">
                  <c:v>#N/A</c:v>
                </c:pt>
                <c:pt idx="7161">
                  <c:v>2.86103</c:v>
                </c:pt>
                <c:pt idx="7162">
                  <c:v>2.4145400000000001</c:v>
                </c:pt>
                <c:pt idx="7163">
                  <c:v>2.3472599999999999</c:v>
                </c:pt>
                <c:pt idx="7164">
                  <c:v>#N/A</c:v>
                </c:pt>
                <c:pt idx="7165">
                  <c:v>2.1029300000000002</c:v>
                </c:pt>
                <c:pt idx="7166">
                  <c:v>2.10805</c:v>
                </c:pt>
                <c:pt idx="7167">
                  <c:v>1.81542</c:v>
                </c:pt>
                <c:pt idx="7168">
                  <c:v>2.20261</c:v>
                </c:pt>
                <c:pt idx="7169">
                  <c:v>#N/A</c:v>
                </c:pt>
                <c:pt idx="7170">
                  <c:v>2.4939100000000001</c:v>
                </c:pt>
                <c:pt idx="7171">
                  <c:v>2.62751</c:v>
                </c:pt>
                <c:pt idx="7172">
                  <c:v>2.3799600000000001</c:v>
                </c:pt>
                <c:pt idx="7173">
                  <c:v>#N/A</c:v>
                </c:pt>
                <c:pt idx="7174">
                  <c:v>1.82081</c:v>
                </c:pt>
                <c:pt idx="7175">
                  <c:v>2.09992</c:v>
                </c:pt>
                <c:pt idx="7176">
                  <c:v>1.87361</c:v>
                </c:pt>
                <c:pt idx="7177">
                  <c:v>1.42658</c:v>
                </c:pt>
                <c:pt idx="7178">
                  <c:v>#N/A</c:v>
                </c:pt>
                <c:pt idx="7179">
                  <c:v>1.5689500000000001</c:v>
                </c:pt>
                <c:pt idx="7180">
                  <c:v>1.97021</c:v>
                </c:pt>
                <c:pt idx="7181">
                  <c:v>2.4863400000000002</c:v>
                </c:pt>
                <c:pt idx="7182">
                  <c:v>#N/A</c:v>
                </c:pt>
                <c:pt idx="7183">
                  <c:v>2.6991499999999999</c:v>
                </c:pt>
                <c:pt idx="7184">
                  <c:v>2.6645599999999998</c:v>
                </c:pt>
                <c:pt idx="7185">
                  <c:v>2.5160900000000002</c:v>
                </c:pt>
                <c:pt idx="7186">
                  <c:v>#N/A</c:v>
                </c:pt>
                <c:pt idx="7187">
                  <c:v>2.3782700000000001</c:v>
                </c:pt>
                <c:pt idx="7188">
                  <c:v>1.84941</c:v>
                </c:pt>
                <c:pt idx="7189">
                  <c:v>2.1569600000000002</c:v>
                </c:pt>
                <c:pt idx="7190">
                  <c:v>#N/A</c:v>
                </c:pt>
                <c:pt idx="7191">
                  <c:v>2.4034399999999998</c:v>
                </c:pt>
                <c:pt idx="7192">
                  <c:v>#N/A</c:v>
                </c:pt>
                <c:pt idx="7193">
                  <c:v>2.6269399999999998</c:v>
                </c:pt>
                <c:pt idx="7194">
                  <c:v>1.78016</c:v>
                </c:pt>
                <c:pt idx="7195">
                  <c:v>1.9356100000000001</c:v>
                </c:pt>
                <c:pt idx="7196">
                  <c:v>#N/A</c:v>
                </c:pt>
                <c:pt idx="7197">
                  <c:v>2.2000099999999998</c:v>
                </c:pt>
                <c:pt idx="7198">
                  <c:v>2.0257100000000001</c:v>
                </c:pt>
                <c:pt idx="7199">
                  <c:v>1.64001</c:v>
                </c:pt>
                <c:pt idx="7200">
                  <c:v>1.7404599999999999</c:v>
                </c:pt>
                <c:pt idx="7201">
                  <c:v>#N/A</c:v>
                </c:pt>
                <c:pt idx="7202">
                  <c:v>1.96021</c:v>
                </c:pt>
                <c:pt idx="7203">
                  <c:v>1.96123</c:v>
                </c:pt>
                <c:pt idx="7204">
                  <c:v>1.99518</c:v>
                </c:pt>
                <c:pt idx="7205">
                  <c:v>2.1046999999999998</c:v>
                </c:pt>
                <c:pt idx="7206">
                  <c:v>#N/A</c:v>
                </c:pt>
                <c:pt idx="7207">
                  <c:v>2.3255699999999999</c:v>
                </c:pt>
                <c:pt idx="7208">
                  <c:v>2.4258299999999999</c:v>
                </c:pt>
                <c:pt idx="7209">
                  <c:v>3.1556799999999998</c:v>
                </c:pt>
                <c:pt idx="7210">
                  <c:v>#N/A</c:v>
                </c:pt>
                <c:pt idx="7211">
                  <c:v>2.56839</c:v>
                </c:pt>
                <c:pt idx="7212">
                  <c:v>2.1543199999999998</c:v>
                </c:pt>
                <c:pt idx="7213">
                  <c:v>1.7778700000000001</c:v>
                </c:pt>
                <c:pt idx="7214">
                  <c:v>#N/A</c:v>
                </c:pt>
                <c:pt idx="7215">
                  <c:v>1.79603</c:v>
                </c:pt>
                <c:pt idx="7216">
                  <c:v>1.80331</c:v>
                </c:pt>
                <c:pt idx="7217">
                  <c:v>1.94208</c:v>
                </c:pt>
                <c:pt idx="7218">
                  <c:v>2.5358100000000001</c:v>
                </c:pt>
                <c:pt idx="7219">
                  <c:v>#N/A</c:v>
                </c:pt>
                <c:pt idx="7220">
                  <c:v>2.5371299999999999</c:v>
                </c:pt>
                <c:pt idx="7221">
                  <c:v>2.6699700000000002</c:v>
                </c:pt>
                <c:pt idx="7222">
                  <c:v>2.4945599999999999</c:v>
                </c:pt>
                <c:pt idx="7223">
                  <c:v>#N/A</c:v>
                </c:pt>
                <c:pt idx="7224">
                  <c:v>2.3195899999999998</c:v>
                </c:pt>
                <c:pt idx="7225">
                  <c:v>2.2998599999999998</c:v>
                </c:pt>
                <c:pt idx="7226">
                  <c:v>2.27162</c:v>
                </c:pt>
                <c:pt idx="7227">
                  <c:v>#N/A</c:v>
                </c:pt>
                <c:pt idx="7228">
                  <c:v>2.6162100000000001</c:v>
                </c:pt>
                <c:pt idx="7229">
                  <c:v>2.32315</c:v>
                </c:pt>
                <c:pt idx="7230">
                  <c:v>2.55383</c:v>
                </c:pt>
                <c:pt idx="7231">
                  <c:v>2.4900000000000002</c:v>
                </c:pt>
                <c:pt idx="7232">
                  <c:v>#N/A</c:v>
                </c:pt>
                <c:pt idx="7233">
                  <c:v>2.7836099999999999</c:v>
                </c:pt>
                <c:pt idx="7234">
                  <c:v>1.79114</c:v>
                </c:pt>
                <c:pt idx="7235">
                  <c:v>1.58216</c:v>
                </c:pt>
                <c:pt idx="7236">
                  <c:v>1.4073899999999999</c:v>
                </c:pt>
                <c:pt idx="7237">
                  <c:v>#N/A</c:v>
                </c:pt>
                <c:pt idx="7238">
                  <c:v>1.7696499999999999</c:v>
                </c:pt>
                <c:pt idx="7239">
                  <c:v>1.9982</c:v>
                </c:pt>
                <c:pt idx="7240">
                  <c:v>2.5228199999999998</c:v>
                </c:pt>
                <c:pt idx="7241">
                  <c:v>#N/A</c:v>
                </c:pt>
                <c:pt idx="7242">
                  <c:v>2.61164</c:v>
                </c:pt>
                <c:pt idx="7243">
                  <c:v>2.3089499999999998</c:v>
                </c:pt>
                <c:pt idx="7244">
                  <c:v>2.31589</c:v>
                </c:pt>
                <c:pt idx="7245">
                  <c:v>2.2971900000000001</c:v>
                </c:pt>
                <c:pt idx="7246">
                  <c:v>#N/A</c:v>
                </c:pt>
                <c:pt idx="7247">
                  <c:v>2.16865</c:v>
                </c:pt>
                <c:pt idx="7248">
                  <c:v>1.9097900000000001</c:v>
                </c:pt>
                <c:pt idx="7249">
                  <c:v>2.34904</c:v>
                </c:pt>
                <c:pt idx="7250">
                  <c:v>#N/A</c:v>
                </c:pt>
                <c:pt idx="7251">
                  <c:v>2.5287099999999998</c:v>
                </c:pt>
                <c:pt idx="7252">
                  <c:v>2.06446</c:v>
                </c:pt>
                <c:pt idx="7253">
                  <c:v>1.9979499999999999</c:v>
                </c:pt>
                <c:pt idx="7254">
                  <c:v>#N/A</c:v>
                </c:pt>
                <c:pt idx="7255">
                  <c:v>1.9406399999999999</c:v>
                </c:pt>
                <c:pt idx="7256">
                  <c:v>2.2214999999999998</c:v>
                </c:pt>
                <c:pt idx="7257">
                  <c:v>2.00779</c:v>
                </c:pt>
                <c:pt idx="7258">
                  <c:v>1.5831</c:v>
                </c:pt>
                <c:pt idx="7259">
                  <c:v>#N/A</c:v>
                </c:pt>
                <c:pt idx="7260">
                  <c:v>1.94167</c:v>
                </c:pt>
                <c:pt idx="7261">
                  <c:v>1.9086000000000001</c:v>
                </c:pt>
                <c:pt idx="7262">
                  <c:v>2.22879</c:v>
                </c:pt>
                <c:pt idx="7263">
                  <c:v>#N/A</c:v>
                </c:pt>
                <c:pt idx="7264">
                  <c:v>2.2204600000000001</c:v>
                </c:pt>
                <c:pt idx="7265">
                  <c:v>#N/A</c:v>
                </c:pt>
                <c:pt idx="7266">
                  <c:v>2.6926999999999999</c:v>
                </c:pt>
                <c:pt idx="7267">
                  <c:v>2.3127900000000001</c:v>
                </c:pt>
                <c:pt idx="7268">
                  <c:v>2.6724600000000001</c:v>
                </c:pt>
                <c:pt idx="7269">
                  <c:v>2.2115100000000001</c:v>
                </c:pt>
                <c:pt idx="7270">
                  <c:v>#N/A</c:v>
                </c:pt>
                <c:pt idx="7271">
                  <c:v>2.4222600000000001</c:v>
                </c:pt>
                <c:pt idx="7272">
                  <c:v>1.8295999999999999</c:v>
                </c:pt>
                <c:pt idx="7273">
                  <c:v>1.31741</c:v>
                </c:pt>
                <c:pt idx="7274">
                  <c:v>#N/A</c:v>
                </c:pt>
                <c:pt idx="7275">
                  <c:v>1.8831199999999999</c:v>
                </c:pt>
                <c:pt idx="7276">
                  <c:v>2.2193700000000001</c:v>
                </c:pt>
                <c:pt idx="7277">
                  <c:v>#N/A</c:v>
                </c:pt>
                <c:pt idx="7278">
                  <c:v>#N/A</c:v>
                </c:pt>
                <c:pt idx="7279">
                  <c:v>#N/A</c:v>
                </c:pt>
                <c:pt idx="7280">
                  <c:v>#N/A</c:v>
                </c:pt>
                <c:pt idx="7281">
                  <c:v>#N/A</c:v>
                </c:pt>
                <c:pt idx="7282">
                  <c:v>#N/A</c:v>
                </c:pt>
                <c:pt idx="7283">
                  <c:v>#N/A</c:v>
                </c:pt>
                <c:pt idx="7284">
                  <c:v>#N/A</c:v>
                </c:pt>
                <c:pt idx="7285">
                  <c:v>#N/A</c:v>
                </c:pt>
                <c:pt idx="7286">
                  <c:v>#N/A</c:v>
                </c:pt>
                <c:pt idx="7287">
                  <c:v>#N/A</c:v>
                </c:pt>
                <c:pt idx="7288">
                  <c:v>#N/A</c:v>
                </c:pt>
                <c:pt idx="7289">
                  <c:v>#N/A</c:v>
                </c:pt>
                <c:pt idx="7290">
                  <c:v>#N/A</c:v>
                </c:pt>
                <c:pt idx="7291">
                  <c:v>#N/A</c:v>
                </c:pt>
                <c:pt idx="7292">
                  <c:v>#N/A</c:v>
                </c:pt>
                <c:pt idx="7293">
                  <c:v>#N/A</c:v>
                </c:pt>
                <c:pt idx="7294">
                  <c:v>#N/A</c:v>
                </c:pt>
                <c:pt idx="7295">
                  <c:v>#N/A</c:v>
                </c:pt>
                <c:pt idx="7296">
                  <c:v>#N/A</c:v>
                </c:pt>
                <c:pt idx="7297">
                  <c:v>#N/A</c:v>
                </c:pt>
                <c:pt idx="7298">
                  <c:v>#N/A</c:v>
                </c:pt>
                <c:pt idx="7299">
                  <c:v>1.7598499999999999</c:v>
                </c:pt>
                <c:pt idx="7300">
                  <c:v>2.3056299999999998</c:v>
                </c:pt>
                <c:pt idx="7301">
                  <c:v>2.6783000000000001</c:v>
                </c:pt>
                <c:pt idx="7302">
                  <c:v>#N/A</c:v>
                </c:pt>
                <c:pt idx="7303">
                  <c:v>2.30246</c:v>
                </c:pt>
                <c:pt idx="7304">
                  <c:v>2.1784599999999998</c:v>
                </c:pt>
                <c:pt idx="7305">
                  <c:v>2.01885</c:v>
                </c:pt>
                <c:pt idx="7306">
                  <c:v>#N/A</c:v>
                </c:pt>
                <c:pt idx="7307">
                  <c:v>1.88836</c:v>
                </c:pt>
                <c:pt idx="7308">
                  <c:v>2.2104599999999999</c:v>
                </c:pt>
                <c:pt idx="7309">
                  <c:v>3.08684</c:v>
                </c:pt>
                <c:pt idx="7310">
                  <c:v>2.5351300000000001</c:v>
                </c:pt>
                <c:pt idx="7311">
                  <c:v>#N/A</c:v>
                </c:pt>
                <c:pt idx="7312">
                  <c:v>2.63984</c:v>
                </c:pt>
                <c:pt idx="7313">
                  <c:v>2.0587300000000002</c:v>
                </c:pt>
                <c:pt idx="7314">
                  <c:v>2.0596100000000002</c:v>
                </c:pt>
                <c:pt idx="7315">
                  <c:v>#N/A</c:v>
                </c:pt>
                <c:pt idx="7316">
                  <c:v>1.62904</c:v>
                </c:pt>
                <c:pt idx="7317">
                  <c:v>1.2884</c:v>
                </c:pt>
                <c:pt idx="7318">
                  <c:v>1.8623700000000001</c:v>
                </c:pt>
                <c:pt idx="7319">
                  <c:v>2.0252699999999999</c:v>
                </c:pt>
                <c:pt idx="7320">
                  <c:v>#N/A</c:v>
                </c:pt>
                <c:pt idx="7321">
                  <c:v>2.1981199999999999</c:v>
                </c:pt>
                <c:pt idx="7322">
                  <c:v>1.87978</c:v>
                </c:pt>
                <c:pt idx="7323">
                  <c:v>2.27949</c:v>
                </c:pt>
                <c:pt idx="7324">
                  <c:v>#N/A</c:v>
                </c:pt>
                <c:pt idx="7325">
                  <c:v>2.7200099999999998</c:v>
                </c:pt>
                <c:pt idx="7326">
                  <c:v>2.5484100000000001</c:v>
                </c:pt>
                <c:pt idx="7327">
                  <c:v>2.8111100000000002</c:v>
                </c:pt>
                <c:pt idx="7328">
                  <c:v>2.2287499999999998</c:v>
                </c:pt>
                <c:pt idx="7329">
                  <c:v>#N/A</c:v>
                </c:pt>
                <c:pt idx="7330">
                  <c:v>1.7156800000000001</c:v>
                </c:pt>
                <c:pt idx="7331">
                  <c:v>2.4494400000000001</c:v>
                </c:pt>
                <c:pt idx="7332">
                  <c:v>2.5300699999999998</c:v>
                </c:pt>
                <c:pt idx="7333">
                  <c:v>2.2036199999999999</c:v>
                </c:pt>
                <c:pt idx="7334">
                  <c:v>#N/A</c:v>
                </c:pt>
                <c:pt idx="7335">
                  <c:v>2.5160900000000002</c:v>
                </c:pt>
                <c:pt idx="7336">
                  <c:v>#N/A</c:v>
                </c:pt>
                <c:pt idx="7337">
                  <c:v>2.2811300000000001</c:v>
                </c:pt>
                <c:pt idx="7338">
                  <c:v>2.5036299999999998</c:v>
                </c:pt>
                <c:pt idx="7339">
                  <c:v>#N/A</c:v>
                </c:pt>
                <c:pt idx="7340">
                  <c:v>2.5379399999999999</c:v>
                </c:pt>
                <c:pt idx="7341">
                  <c:v>2.18309</c:v>
                </c:pt>
                <c:pt idx="7342">
                  <c:v>2.0005299999999999</c:v>
                </c:pt>
                <c:pt idx="7343">
                  <c:v>2.1499799999999998</c:v>
                </c:pt>
                <c:pt idx="7344">
                  <c:v>#N/A</c:v>
                </c:pt>
                <c:pt idx="7345">
                  <c:v>2.4677500000000001</c:v>
                </c:pt>
                <c:pt idx="7346">
                  <c:v>2.3197399999999999</c:v>
                </c:pt>
                <c:pt idx="7347">
                  <c:v>3.1399699999999999</c:v>
                </c:pt>
                <c:pt idx="7348">
                  <c:v>#N/A</c:v>
                </c:pt>
                <c:pt idx="7349">
                  <c:v>2.5849899999999999</c:v>
                </c:pt>
                <c:pt idx="7350">
                  <c:v>2.2549399999999999</c:v>
                </c:pt>
                <c:pt idx="7351">
                  <c:v>1.8780699999999999</c:v>
                </c:pt>
                <c:pt idx="7352">
                  <c:v>2.0616500000000002</c:v>
                </c:pt>
                <c:pt idx="7353">
                  <c:v>#N/A</c:v>
                </c:pt>
                <c:pt idx="7354">
                  <c:v>1.74404</c:v>
                </c:pt>
                <c:pt idx="7355">
                  <c:v>1.4727699999999999</c:v>
                </c:pt>
                <c:pt idx="7356">
                  <c:v>2.1728399999999999</c:v>
                </c:pt>
                <c:pt idx="7357">
                  <c:v>#N/A</c:v>
                </c:pt>
                <c:pt idx="7358">
                  <c:v>2.14316</c:v>
                </c:pt>
                <c:pt idx="7359">
                  <c:v>2.2323300000000001</c:v>
                </c:pt>
                <c:pt idx="7360">
                  <c:v>2.7689599999999999</c:v>
                </c:pt>
                <c:pt idx="7361">
                  <c:v>2.0961400000000001</c:v>
                </c:pt>
                <c:pt idx="7362">
                  <c:v>#N/A</c:v>
                </c:pt>
                <c:pt idx="7363">
                  <c:v>2.12235</c:v>
                </c:pt>
                <c:pt idx="7364">
                  <c:v>2.1496599999999999</c:v>
                </c:pt>
                <c:pt idx="7365">
                  <c:v>2.2979799999999999</c:v>
                </c:pt>
                <c:pt idx="7366">
                  <c:v>#N/A</c:v>
                </c:pt>
                <c:pt idx="7367">
                  <c:v>2.5351499999999998</c:v>
                </c:pt>
                <c:pt idx="7368">
                  <c:v>2.8897200000000001</c:v>
                </c:pt>
                <c:pt idx="7369">
                  <c:v>2.5426700000000002</c:v>
                </c:pt>
                <c:pt idx="7370">
                  <c:v>#N/A</c:v>
                </c:pt>
                <c:pt idx="7371">
                  <c:v>3.1790799999999999</c:v>
                </c:pt>
                <c:pt idx="7372">
                  <c:v>2.3759800000000002</c:v>
                </c:pt>
                <c:pt idx="7373">
                  <c:v>1.87707</c:v>
                </c:pt>
                <c:pt idx="7374">
                  <c:v>#N/A</c:v>
                </c:pt>
                <c:pt idx="7375">
                  <c:v>1.08222</c:v>
                </c:pt>
                <c:pt idx="7376">
                  <c:v>1.5015499999999999</c:v>
                </c:pt>
                <c:pt idx="7377">
                  <c:v>1.7196899999999999</c:v>
                </c:pt>
                <c:pt idx="7378">
                  <c:v>#N/A</c:v>
                </c:pt>
                <c:pt idx="7379">
                  <c:v>1.79823</c:v>
                </c:pt>
                <c:pt idx="7380">
                  <c:v>2.4285100000000002</c:v>
                </c:pt>
                <c:pt idx="7381">
                  <c:v>2.5697700000000001</c:v>
                </c:pt>
                <c:pt idx="7382">
                  <c:v>2.26925</c:v>
                </c:pt>
                <c:pt idx="7383">
                  <c:v>#N/A</c:v>
                </c:pt>
                <c:pt idx="7384">
                  <c:v>2.1446499999999999</c:v>
                </c:pt>
                <c:pt idx="7385">
                  <c:v>2.3672200000000001</c:v>
                </c:pt>
                <c:pt idx="7386">
                  <c:v>1.9374800000000001</c:v>
                </c:pt>
                <c:pt idx="7387">
                  <c:v>#N/A</c:v>
                </c:pt>
                <c:pt idx="7388">
                  <c:v>2.01213</c:v>
                </c:pt>
                <c:pt idx="7389">
                  <c:v>2.0436399999999999</c:v>
                </c:pt>
                <c:pt idx="7390">
                  <c:v>2.79297</c:v>
                </c:pt>
                <c:pt idx="7391">
                  <c:v>2.3805299999999998</c:v>
                </c:pt>
                <c:pt idx="7392">
                  <c:v>#N/A</c:v>
                </c:pt>
                <c:pt idx="7393">
                  <c:v>2.2052299999999998</c:v>
                </c:pt>
                <c:pt idx="7394">
                  <c:v>2.1461999999999999</c:v>
                </c:pt>
                <c:pt idx="7395">
                  <c:v>1.8318000000000001</c:v>
                </c:pt>
                <c:pt idx="7396">
                  <c:v>#N/A</c:v>
                </c:pt>
                <c:pt idx="7397">
                  <c:v>1.4456500000000001</c:v>
                </c:pt>
                <c:pt idx="7398">
                  <c:v>1.53146</c:v>
                </c:pt>
                <c:pt idx="7399">
                  <c:v>2.08365</c:v>
                </c:pt>
                <c:pt idx="7400">
                  <c:v>#N/A</c:v>
                </c:pt>
                <c:pt idx="7401">
                  <c:v>2.31494</c:v>
                </c:pt>
                <c:pt idx="7402">
                  <c:v>1.93255</c:v>
                </c:pt>
                <c:pt idx="7403">
                  <c:v>2.2511399999999999</c:v>
                </c:pt>
                <c:pt idx="7404">
                  <c:v>2.2867600000000001</c:v>
                </c:pt>
                <c:pt idx="7405">
                  <c:v>#N/A</c:v>
                </c:pt>
                <c:pt idx="7406">
                  <c:v>2.1405099999999999</c:v>
                </c:pt>
                <c:pt idx="7407">
                  <c:v>2.4332600000000002</c:v>
                </c:pt>
                <c:pt idx="7408">
                  <c:v>#N/A</c:v>
                </c:pt>
                <c:pt idx="7409">
                  <c:v>2.7393200000000002</c:v>
                </c:pt>
                <c:pt idx="7410">
                  <c:v>2.2993600000000001</c:v>
                </c:pt>
                <c:pt idx="7411">
                  <c:v>2.1733899999999999</c:v>
                </c:pt>
                <c:pt idx="7412">
                  <c:v>#N/A</c:v>
                </c:pt>
                <c:pt idx="7413">
                  <c:v>1.8178300000000001</c:v>
                </c:pt>
                <c:pt idx="7414">
                  <c:v>2.1994400000000001</c:v>
                </c:pt>
                <c:pt idx="7415">
                  <c:v>1.79088</c:v>
                </c:pt>
                <c:pt idx="7416">
                  <c:v>2.3380200000000002</c:v>
                </c:pt>
                <c:pt idx="7417">
                  <c:v>#N/A</c:v>
                </c:pt>
                <c:pt idx="7418">
                  <c:v>2.5200900000000002</c:v>
                </c:pt>
                <c:pt idx="7419">
                  <c:v>1.9816199999999999</c:v>
                </c:pt>
                <c:pt idx="7420">
                  <c:v>2.0956399999999999</c:v>
                </c:pt>
                <c:pt idx="7421">
                  <c:v>#N/A</c:v>
                </c:pt>
                <c:pt idx="7422">
                  <c:v>1.77742</c:v>
                </c:pt>
                <c:pt idx="7423">
                  <c:v>2.1334599999999999</c:v>
                </c:pt>
                <c:pt idx="7424">
                  <c:v>2.4138299999999999</c:v>
                </c:pt>
                <c:pt idx="7425">
                  <c:v>2.3117200000000002</c:v>
                </c:pt>
                <c:pt idx="7426">
                  <c:v>#N/A</c:v>
                </c:pt>
                <c:pt idx="7427">
                  <c:v>2.7545199999999999</c:v>
                </c:pt>
                <c:pt idx="7428">
                  <c:v>2.6037499999999998</c:v>
                </c:pt>
                <c:pt idx="7429">
                  <c:v>2.0193599999999998</c:v>
                </c:pt>
                <c:pt idx="7430">
                  <c:v>#N/A</c:v>
                </c:pt>
                <c:pt idx="7431">
                  <c:v>2.10581</c:v>
                </c:pt>
                <c:pt idx="7432">
                  <c:v>2.2937500000000002</c:v>
                </c:pt>
                <c:pt idx="7433">
                  <c:v>1.6794</c:v>
                </c:pt>
                <c:pt idx="7434">
                  <c:v>#N/A</c:v>
                </c:pt>
                <c:pt idx="7435">
                  <c:v>1.53833</c:v>
                </c:pt>
                <c:pt idx="7436">
                  <c:v>1.5722400000000001</c:v>
                </c:pt>
                <c:pt idx="7437">
                  <c:v>1.9709700000000001</c:v>
                </c:pt>
                <c:pt idx="7438">
                  <c:v>2.17875</c:v>
                </c:pt>
                <c:pt idx="7439">
                  <c:v>#N/A</c:v>
                </c:pt>
                <c:pt idx="7440">
                  <c:v>2.6777099999999998</c:v>
                </c:pt>
                <c:pt idx="7441">
                  <c:v>2.5259299999999998</c:v>
                </c:pt>
                <c:pt idx="7442">
                  <c:v>2.2565200000000001</c:v>
                </c:pt>
                <c:pt idx="7443">
                  <c:v>#N/A</c:v>
                </c:pt>
                <c:pt idx="7444">
                  <c:v>2.06298</c:v>
                </c:pt>
                <c:pt idx="7445">
                  <c:v>2.2407300000000001</c:v>
                </c:pt>
                <c:pt idx="7446">
                  <c:v>2.16425</c:v>
                </c:pt>
                <c:pt idx="7447">
                  <c:v>#N/A</c:v>
                </c:pt>
                <c:pt idx="7448">
                  <c:v>2.4667699999999999</c:v>
                </c:pt>
                <c:pt idx="7449">
                  <c:v>3.0458599999999998</c:v>
                </c:pt>
                <c:pt idx="7450">
                  <c:v>2.8590100000000001</c:v>
                </c:pt>
                <c:pt idx="7451">
                  <c:v>2.43777</c:v>
                </c:pt>
                <c:pt idx="7452">
                  <c:v>#N/A</c:v>
                </c:pt>
                <c:pt idx="7453">
                  <c:v>1.99363</c:v>
                </c:pt>
                <c:pt idx="7454">
                  <c:v>1.7226699999999999</c:v>
                </c:pt>
                <c:pt idx="7455">
                  <c:v>1.9719599999999999</c:v>
                </c:pt>
                <c:pt idx="7456">
                  <c:v>1.81775</c:v>
                </c:pt>
                <c:pt idx="7457">
                  <c:v>#N/A</c:v>
                </c:pt>
                <c:pt idx="7458">
                  <c:v>1.9359599999999999</c:v>
                </c:pt>
                <c:pt idx="7459">
                  <c:v>2.0172099999999999</c:v>
                </c:pt>
                <c:pt idx="7460">
                  <c:v>2.46638</c:v>
                </c:pt>
                <c:pt idx="7461">
                  <c:v>#N/A</c:v>
                </c:pt>
                <c:pt idx="7462">
                  <c:v>2.1636000000000002</c:v>
                </c:pt>
                <c:pt idx="7463">
                  <c:v>2.4374899999999999</c:v>
                </c:pt>
                <c:pt idx="7464">
                  <c:v>2.0313699999999999</c:v>
                </c:pt>
                <c:pt idx="7465">
                  <c:v>#N/A</c:v>
                </c:pt>
                <c:pt idx="7466">
                  <c:v>2.1947000000000001</c:v>
                </c:pt>
                <c:pt idx="7467">
                  <c:v>2.52888</c:v>
                </c:pt>
                <c:pt idx="7468">
                  <c:v>3.0142699999999998</c:v>
                </c:pt>
                <c:pt idx="7469">
                  <c:v>3.4512200000000002</c:v>
                </c:pt>
                <c:pt idx="7470">
                  <c:v>#N/A</c:v>
                </c:pt>
                <c:pt idx="7471">
                  <c:v>3.4990000000000001</c:v>
                </c:pt>
                <c:pt idx="7472">
                  <c:v>2.94217</c:v>
                </c:pt>
                <c:pt idx="7473">
                  <c:v>2.4487899999999998</c:v>
                </c:pt>
                <c:pt idx="7474">
                  <c:v>#N/A</c:v>
                </c:pt>
                <c:pt idx="7475">
                  <c:v>1.9756899999999999</c:v>
                </c:pt>
                <c:pt idx="7476">
                  <c:v>1.3103899999999999</c:v>
                </c:pt>
                <c:pt idx="7477">
                  <c:v>1.4591099999999999</c:v>
                </c:pt>
                <c:pt idx="7478">
                  <c:v>#N/A</c:v>
                </c:pt>
                <c:pt idx="7479">
                  <c:v>1.38907</c:v>
                </c:pt>
                <c:pt idx="7480">
                  <c:v>#N/A</c:v>
                </c:pt>
                <c:pt idx="7481">
                  <c:v>1.4857400000000001</c:v>
                </c:pt>
                <c:pt idx="7482">
                  <c:v>1.4124099999999999</c:v>
                </c:pt>
                <c:pt idx="7483">
                  <c:v>1.68719</c:v>
                </c:pt>
                <c:pt idx="7484">
                  <c:v>#N/A</c:v>
                </c:pt>
                <c:pt idx="7485">
                  <c:v>1.7976000000000001</c:v>
                </c:pt>
                <c:pt idx="7486">
                  <c:v>1.76162</c:v>
                </c:pt>
                <c:pt idx="7487">
                  <c:v>1.84934</c:v>
                </c:pt>
                <c:pt idx="7488">
                  <c:v>#N/A</c:v>
                </c:pt>
                <c:pt idx="7489">
                  <c:v>2.4577499999999999</c:v>
                </c:pt>
                <c:pt idx="7490">
                  <c:v>2.5844299999999998</c:v>
                </c:pt>
                <c:pt idx="7491">
                  <c:v>2.0577200000000002</c:v>
                </c:pt>
                <c:pt idx="7492">
                  <c:v>#N/A</c:v>
                </c:pt>
                <c:pt idx="7493">
                  <c:v>1.92187</c:v>
                </c:pt>
                <c:pt idx="7494">
                  <c:v>2.0674600000000001</c:v>
                </c:pt>
                <c:pt idx="7495">
                  <c:v>2.14174</c:v>
                </c:pt>
                <c:pt idx="7496">
                  <c:v>1.8391999999999999</c:v>
                </c:pt>
                <c:pt idx="7497">
                  <c:v>#N/A</c:v>
                </c:pt>
                <c:pt idx="7498">
                  <c:v>2.0525500000000001</c:v>
                </c:pt>
                <c:pt idx="7499">
                  <c:v>2.2985600000000002</c:v>
                </c:pt>
                <c:pt idx="7500">
                  <c:v>2.6366200000000002</c:v>
                </c:pt>
                <c:pt idx="7501">
                  <c:v>#N/A</c:v>
                </c:pt>
                <c:pt idx="7502">
                  <c:v>1.77515</c:v>
                </c:pt>
                <c:pt idx="7503">
                  <c:v>2.1441499999999998</c:v>
                </c:pt>
                <c:pt idx="7504">
                  <c:v>1.57376</c:v>
                </c:pt>
                <c:pt idx="7505">
                  <c:v>#N/A</c:v>
                </c:pt>
                <c:pt idx="7506">
                  <c:v>1.85155</c:v>
                </c:pt>
                <c:pt idx="7507">
                  <c:v>1.93171</c:v>
                </c:pt>
                <c:pt idx="7508">
                  <c:v>2.3988700000000001</c:v>
                </c:pt>
                <c:pt idx="7509">
                  <c:v>#N/A</c:v>
                </c:pt>
                <c:pt idx="7510">
                  <c:v>2.3669799999999999</c:v>
                </c:pt>
                <c:pt idx="7511">
                  <c:v>2.0687099999999998</c:v>
                </c:pt>
                <c:pt idx="7512">
                  <c:v>1.82524</c:v>
                </c:pt>
                <c:pt idx="7513">
                  <c:v>1.8852500000000001</c:v>
                </c:pt>
                <c:pt idx="7514">
                  <c:v>#N/A</c:v>
                </c:pt>
                <c:pt idx="7515">
                  <c:v>1.5345899999999999</c:v>
                </c:pt>
                <c:pt idx="7516">
                  <c:v>1.7727200000000001</c:v>
                </c:pt>
                <c:pt idx="7517">
                  <c:v>2.39005</c:v>
                </c:pt>
                <c:pt idx="7518">
                  <c:v>2.5690900000000001</c:v>
                </c:pt>
                <c:pt idx="7519">
                  <c:v>#N/A</c:v>
                </c:pt>
                <c:pt idx="7520">
                  <c:v>2.6502500000000002</c:v>
                </c:pt>
                <c:pt idx="7521">
                  <c:v>2.5106899999999999</c:v>
                </c:pt>
                <c:pt idx="7522">
                  <c:v>2.5452699999999999</c:v>
                </c:pt>
                <c:pt idx="7523">
                  <c:v>#N/A</c:v>
                </c:pt>
                <c:pt idx="7524">
                  <c:v>2.1303700000000001</c:v>
                </c:pt>
                <c:pt idx="7525">
                  <c:v>2.3355000000000001</c:v>
                </c:pt>
                <c:pt idx="7526">
                  <c:v>1.7595499999999999</c:v>
                </c:pt>
                <c:pt idx="7527">
                  <c:v>2.1445500000000002</c:v>
                </c:pt>
                <c:pt idx="7528">
                  <c:v>#N/A</c:v>
                </c:pt>
                <c:pt idx="7529">
                  <c:v>1.8444799999999999</c:v>
                </c:pt>
                <c:pt idx="7530">
                  <c:v>2.6137800000000002</c:v>
                </c:pt>
                <c:pt idx="7531">
                  <c:v>2.2442700000000002</c:v>
                </c:pt>
                <c:pt idx="7532">
                  <c:v>#N/A</c:v>
                </c:pt>
                <c:pt idx="7533">
                  <c:v>1.9602599999999999</c:v>
                </c:pt>
                <c:pt idx="7534">
                  <c:v>2.0593699999999999</c:v>
                </c:pt>
                <c:pt idx="7535">
                  <c:v>1.51722</c:v>
                </c:pt>
                <c:pt idx="7536">
                  <c:v>1.52267</c:v>
                </c:pt>
                <c:pt idx="7537">
                  <c:v>#N/A</c:v>
                </c:pt>
                <c:pt idx="7538">
                  <c:v>2.0502199999999999</c:v>
                </c:pt>
                <c:pt idx="7539">
                  <c:v>1.61134</c:v>
                </c:pt>
                <c:pt idx="7540">
                  <c:v>2.36591</c:v>
                </c:pt>
                <c:pt idx="7541">
                  <c:v>#N/A</c:v>
                </c:pt>
                <c:pt idx="7542">
                  <c:v>1.81785</c:v>
                </c:pt>
                <c:pt idx="7543">
                  <c:v>2.5889500000000001</c:v>
                </c:pt>
                <c:pt idx="7544">
                  <c:v>2.6795300000000002</c:v>
                </c:pt>
                <c:pt idx="7545">
                  <c:v>2.3956</c:v>
                </c:pt>
                <c:pt idx="7546">
                  <c:v>#N/A</c:v>
                </c:pt>
                <c:pt idx="7547">
                  <c:v>2.6955</c:v>
                </c:pt>
                <c:pt idx="7548">
                  <c:v>1.98021</c:v>
                </c:pt>
                <c:pt idx="7549">
                  <c:v>2.2889499999999998</c:v>
                </c:pt>
                <c:pt idx="7550">
                  <c:v>#N/A</c:v>
                </c:pt>
                <c:pt idx="7551">
                  <c:v>2.03274</c:v>
                </c:pt>
                <c:pt idx="7552">
                  <c:v>#N/A</c:v>
                </c:pt>
                <c:pt idx="7553">
                  <c:v>1.8417699999999999</c:v>
                </c:pt>
                <c:pt idx="7554">
                  <c:v>1.7518199999999999</c:v>
                </c:pt>
                <c:pt idx="7555">
                  <c:v>2.0059399999999998</c:v>
                </c:pt>
                <c:pt idx="7556">
                  <c:v>#N/A</c:v>
                </c:pt>
                <c:pt idx="7557">
                  <c:v>1.99149</c:v>
                </c:pt>
                <c:pt idx="7558">
                  <c:v>1.90124</c:v>
                </c:pt>
                <c:pt idx="7559">
                  <c:v>2.4232399999999998</c:v>
                </c:pt>
                <c:pt idx="7560">
                  <c:v>#N/A</c:v>
                </c:pt>
                <c:pt idx="7561">
                  <c:v>1.7927599999999999</c:v>
                </c:pt>
                <c:pt idx="7562">
                  <c:v>1.78877</c:v>
                </c:pt>
                <c:pt idx="7563">
                  <c:v>1.9185300000000001</c:v>
                </c:pt>
                <c:pt idx="7564">
                  <c:v>2.2547899999999998</c:v>
                </c:pt>
                <c:pt idx="7565">
                  <c:v>#N/A</c:v>
                </c:pt>
                <c:pt idx="7566">
                  <c:v>2.45268</c:v>
                </c:pt>
                <c:pt idx="7567">
                  <c:v>2.4903</c:v>
                </c:pt>
                <c:pt idx="7568">
                  <c:v>2.6011000000000002</c:v>
                </c:pt>
                <c:pt idx="7569">
                  <c:v>#N/A</c:v>
                </c:pt>
                <c:pt idx="7570">
                  <c:v>2.03809</c:v>
                </c:pt>
                <c:pt idx="7571">
                  <c:v>1.8926700000000001</c:v>
                </c:pt>
                <c:pt idx="7572">
                  <c:v>2.2242099999999998</c:v>
                </c:pt>
                <c:pt idx="7573">
                  <c:v>#N/A</c:v>
                </c:pt>
                <c:pt idx="7574">
                  <c:v>1.8444199999999999</c:v>
                </c:pt>
                <c:pt idx="7575">
                  <c:v>1.70122</c:v>
                </c:pt>
                <c:pt idx="7576">
                  <c:v>1.3659600000000001</c:v>
                </c:pt>
                <c:pt idx="7577">
                  <c:v>2.2079599999999999</c:v>
                </c:pt>
                <c:pt idx="7578">
                  <c:v>#N/A</c:v>
                </c:pt>
                <c:pt idx="7579">
                  <c:v>2.5500699999999998</c:v>
                </c:pt>
                <c:pt idx="7580">
                  <c:v>2.4923500000000001</c:v>
                </c:pt>
                <c:pt idx="7581">
                  <c:v>2.56149</c:v>
                </c:pt>
                <c:pt idx="7582">
                  <c:v>2.0434999999999999</c:v>
                </c:pt>
                <c:pt idx="7583">
                  <c:v>#N/A</c:v>
                </c:pt>
                <c:pt idx="7584">
                  <c:v>1.5442499999999999</c:v>
                </c:pt>
                <c:pt idx="7585">
                  <c:v>1.6275200000000001</c:v>
                </c:pt>
                <c:pt idx="7586">
                  <c:v>2.5135100000000001</c:v>
                </c:pt>
                <c:pt idx="7587">
                  <c:v>#N/A</c:v>
                </c:pt>
                <c:pt idx="7588">
                  <c:v>2.2271399999999999</c:v>
                </c:pt>
                <c:pt idx="7589">
                  <c:v>2.2782800000000001</c:v>
                </c:pt>
                <c:pt idx="7590">
                  <c:v>2.50861</c:v>
                </c:pt>
                <c:pt idx="7591">
                  <c:v>#N/A</c:v>
                </c:pt>
                <c:pt idx="7592">
                  <c:v>2.246</c:v>
                </c:pt>
                <c:pt idx="7593">
                  <c:v>1.7043299999999999</c:v>
                </c:pt>
                <c:pt idx="7594">
                  <c:v>1.3017799999999999</c:v>
                </c:pt>
                <c:pt idx="7595">
                  <c:v>1.56572</c:v>
                </c:pt>
                <c:pt idx="7596">
                  <c:v>#N/A</c:v>
                </c:pt>
                <c:pt idx="7597">
                  <c:v>1.6904399999999999</c:v>
                </c:pt>
                <c:pt idx="7598">
                  <c:v>1.7467200000000001</c:v>
                </c:pt>
                <c:pt idx="7599">
                  <c:v>1.9504900000000001</c:v>
                </c:pt>
                <c:pt idx="7600">
                  <c:v>#N/A</c:v>
                </c:pt>
                <c:pt idx="7601">
                  <c:v>2.0596199999999998</c:v>
                </c:pt>
                <c:pt idx="7602">
                  <c:v>2.5133700000000001</c:v>
                </c:pt>
                <c:pt idx="7603">
                  <c:v>1.89991</c:v>
                </c:pt>
                <c:pt idx="7604">
                  <c:v>#N/A</c:v>
                </c:pt>
                <c:pt idx="7605">
                  <c:v>2.31698</c:v>
                </c:pt>
                <c:pt idx="7606">
                  <c:v>2.0203099999999998</c:v>
                </c:pt>
                <c:pt idx="7607">
                  <c:v>1.6974</c:v>
                </c:pt>
                <c:pt idx="7608">
                  <c:v>1.8286899999999999</c:v>
                </c:pt>
                <c:pt idx="7609">
                  <c:v>#N/A</c:v>
                </c:pt>
                <c:pt idx="7610">
                  <c:v>2.34789</c:v>
                </c:pt>
                <c:pt idx="7611">
                  <c:v>2.1146099999999999</c:v>
                </c:pt>
                <c:pt idx="7612">
                  <c:v>2.2341799999999998</c:v>
                </c:pt>
                <c:pt idx="7613">
                  <c:v>#N/A</c:v>
                </c:pt>
                <c:pt idx="7614">
                  <c:v>2.2695500000000002</c:v>
                </c:pt>
                <c:pt idx="7615">
                  <c:v>1.8642300000000001</c:v>
                </c:pt>
                <c:pt idx="7616">
                  <c:v>1.8402799999999999</c:v>
                </c:pt>
                <c:pt idx="7617">
                  <c:v>2.12798</c:v>
                </c:pt>
                <c:pt idx="7618">
                  <c:v>#N/A</c:v>
                </c:pt>
                <c:pt idx="7619">
                  <c:v>2.0977899999999998</c:v>
                </c:pt>
                <c:pt idx="7620">
                  <c:v>1.9164099999999999</c:v>
                </c:pt>
                <c:pt idx="7621">
                  <c:v>#N/A</c:v>
                </c:pt>
                <c:pt idx="7622">
                  <c:v>1.9827300000000001</c:v>
                </c:pt>
                <c:pt idx="7623">
                  <c:v>#N/A</c:v>
                </c:pt>
                <c:pt idx="7624">
                  <c:v>2.37663</c:v>
                </c:pt>
                <c:pt idx="7625">
                  <c:v>2.5305</c:v>
                </c:pt>
                <c:pt idx="7626">
                  <c:v>3.0630000000000002</c:v>
                </c:pt>
                <c:pt idx="7627">
                  <c:v>#N/A</c:v>
                </c:pt>
                <c:pt idx="7628">
                  <c:v>2.6810100000000001</c:v>
                </c:pt>
                <c:pt idx="7629">
                  <c:v>2.0354000000000001</c:v>
                </c:pt>
                <c:pt idx="7630">
                  <c:v>1.7202999999999999</c:v>
                </c:pt>
                <c:pt idx="7631">
                  <c:v>#N/A</c:v>
                </c:pt>
                <c:pt idx="7632">
                  <c:v>1.86076</c:v>
                </c:pt>
                <c:pt idx="7633">
                  <c:v>1.7276100000000001</c:v>
                </c:pt>
                <c:pt idx="7634">
                  <c:v>1.51973</c:v>
                </c:pt>
                <c:pt idx="7635">
                  <c:v>2.2665299999999999</c:v>
                </c:pt>
                <c:pt idx="7636">
                  <c:v>#N/A</c:v>
                </c:pt>
                <c:pt idx="7637">
                  <c:v>2.22417</c:v>
                </c:pt>
                <c:pt idx="7638">
                  <c:v>2.3511099999999998</c:v>
                </c:pt>
                <c:pt idx="7639">
                  <c:v>2.5973000000000002</c:v>
                </c:pt>
                <c:pt idx="7640">
                  <c:v>2.3461400000000001</c:v>
                </c:pt>
                <c:pt idx="7641">
                  <c:v>#N/A</c:v>
                </c:pt>
                <c:pt idx="7642">
                  <c:v>2.1959900000000001</c:v>
                </c:pt>
                <c:pt idx="7643">
                  <c:v>1.6931700000000001</c:v>
                </c:pt>
                <c:pt idx="7644">
                  <c:v>2.1774399999999998</c:v>
                </c:pt>
                <c:pt idx="7645">
                  <c:v>#N/A</c:v>
                </c:pt>
                <c:pt idx="7646">
                  <c:v>2.0160499999999999</c:v>
                </c:pt>
                <c:pt idx="7647">
                  <c:v>2.8451</c:v>
                </c:pt>
                <c:pt idx="7648">
                  <c:v>3.04671</c:v>
                </c:pt>
                <c:pt idx="7649">
                  <c:v>2.9382999999999999</c:v>
                </c:pt>
                <c:pt idx="7650">
                  <c:v>#N/A</c:v>
                </c:pt>
                <c:pt idx="7651">
                  <c:v>2.07897</c:v>
                </c:pt>
                <c:pt idx="7652">
                  <c:v>1.4570399999999999</c:v>
                </c:pt>
                <c:pt idx="7653">
                  <c:v>1.93146</c:v>
                </c:pt>
                <c:pt idx="7654">
                  <c:v>#N/A</c:v>
                </c:pt>
                <c:pt idx="7655">
                  <c:v>1.0713699999999999</c:v>
                </c:pt>
                <c:pt idx="7656">
                  <c:v>1.75946</c:v>
                </c:pt>
                <c:pt idx="7657">
                  <c:v>2.2679</c:v>
                </c:pt>
                <c:pt idx="7658">
                  <c:v>#N/A</c:v>
                </c:pt>
                <c:pt idx="7659">
                  <c:v>2.0550799999999998</c:v>
                </c:pt>
                <c:pt idx="7660">
                  <c:v>2.0710999999999999</c:v>
                </c:pt>
                <c:pt idx="7661">
                  <c:v>2.5152399999999999</c:v>
                </c:pt>
                <c:pt idx="7662">
                  <c:v>2.1579000000000002</c:v>
                </c:pt>
                <c:pt idx="7663">
                  <c:v>#N/A</c:v>
                </c:pt>
                <c:pt idx="7664">
                  <c:v>2.3928699999999998</c:v>
                </c:pt>
                <c:pt idx="7665">
                  <c:v>2.00841</c:v>
                </c:pt>
                <c:pt idx="7666">
                  <c:v>1.82426</c:v>
                </c:pt>
                <c:pt idx="7667">
                  <c:v>#N/A</c:v>
                </c:pt>
                <c:pt idx="7668">
                  <c:v>2.0292500000000002</c:v>
                </c:pt>
                <c:pt idx="7669">
                  <c:v>2.5463900000000002</c:v>
                </c:pt>
                <c:pt idx="7670">
                  <c:v>2.97994</c:v>
                </c:pt>
                <c:pt idx="7671">
                  <c:v>2.6525400000000001</c:v>
                </c:pt>
                <c:pt idx="7672">
                  <c:v>#N/A</c:v>
                </c:pt>
                <c:pt idx="7673">
                  <c:v>2.10087</c:v>
                </c:pt>
                <c:pt idx="7674">
                  <c:v>1.41553</c:v>
                </c:pt>
                <c:pt idx="7675">
                  <c:v>1.3097099999999999</c:v>
                </c:pt>
                <c:pt idx="7676">
                  <c:v>#N/A</c:v>
                </c:pt>
                <c:pt idx="7677">
                  <c:v>1.32084</c:v>
                </c:pt>
                <c:pt idx="7678">
                  <c:v>1.77617</c:v>
                </c:pt>
                <c:pt idx="7679">
                  <c:v>1.7117500000000001</c:v>
                </c:pt>
                <c:pt idx="7680">
                  <c:v>#N/A</c:v>
                </c:pt>
                <c:pt idx="7681">
                  <c:v>1.9928900000000001</c:v>
                </c:pt>
                <c:pt idx="7682">
                  <c:v>2.4293399999999998</c:v>
                </c:pt>
                <c:pt idx="7683">
                  <c:v>2.1835300000000002</c:v>
                </c:pt>
                <c:pt idx="7684">
                  <c:v>2.5499999999999998</c:v>
                </c:pt>
                <c:pt idx="7685">
                  <c:v>#N/A</c:v>
                </c:pt>
                <c:pt idx="7686">
                  <c:v>2.1805300000000001</c:v>
                </c:pt>
                <c:pt idx="7687">
                  <c:v>2.1208800000000001</c:v>
                </c:pt>
                <c:pt idx="7688">
                  <c:v>2.2069100000000001</c:v>
                </c:pt>
                <c:pt idx="7689">
                  <c:v>#N/A</c:v>
                </c:pt>
                <c:pt idx="7690">
                  <c:v>2.1097199999999998</c:v>
                </c:pt>
                <c:pt idx="7691">
                  <c:v>1.7388600000000001</c:v>
                </c:pt>
                <c:pt idx="7692">
                  <c:v>1.61703</c:v>
                </c:pt>
                <c:pt idx="7693">
                  <c:v>#N/A</c:v>
                </c:pt>
                <c:pt idx="7694">
                  <c:v>2.02203</c:v>
                </c:pt>
                <c:pt idx="7695">
                  <c:v>2.2874699999999999</c:v>
                </c:pt>
                <c:pt idx="7696">
                  <c:v>#N/A</c:v>
                </c:pt>
                <c:pt idx="7697">
                  <c:v>2.5912700000000002</c:v>
                </c:pt>
                <c:pt idx="7698">
                  <c:v>2.1720899999999999</c:v>
                </c:pt>
                <c:pt idx="7699">
                  <c:v>1.7010700000000001</c:v>
                </c:pt>
                <c:pt idx="7700">
                  <c:v>#N/A</c:v>
                </c:pt>
                <c:pt idx="7701">
                  <c:v>1.7733699999999999</c:v>
                </c:pt>
                <c:pt idx="7702">
                  <c:v>1.79375</c:v>
                </c:pt>
                <c:pt idx="7703">
                  <c:v>2.1969799999999999</c:v>
                </c:pt>
                <c:pt idx="7704">
                  <c:v>#N/A</c:v>
                </c:pt>
                <c:pt idx="7705">
                  <c:v>2.6558199999999998</c:v>
                </c:pt>
                <c:pt idx="7706">
                  <c:v>2.7576900000000002</c:v>
                </c:pt>
                <c:pt idx="7707">
                  <c:v>2.7684600000000001</c:v>
                </c:pt>
                <c:pt idx="7708">
                  <c:v>2.3822000000000001</c:v>
                </c:pt>
                <c:pt idx="7709">
                  <c:v>#N/A</c:v>
                </c:pt>
                <c:pt idx="7710">
                  <c:v>2.2013600000000002</c:v>
                </c:pt>
                <c:pt idx="7711">
                  <c:v>1.74962</c:v>
                </c:pt>
                <c:pt idx="7712">
                  <c:v>1.0969199999999999</c:v>
                </c:pt>
                <c:pt idx="7713">
                  <c:v>#N/A</c:v>
                </c:pt>
                <c:pt idx="7714">
                  <c:v>1.4133100000000001</c:v>
                </c:pt>
                <c:pt idx="7715">
                  <c:v>1.25929</c:v>
                </c:pt>
                <c:pt idx="7716">
                  <c:v>1.70434</c:v>
                </c:pt>
                <c:pt idx="7717">
                  <c:v>#N/A</c:v>
                </c:pt>
                <c:pt idx="7718">
                  <c:v>1.4879899999999999</c:v>
                </c:pt>
                <c:pt idx="7719">
                  <c:v>2.3241499999999999</c:v>
                </c:pt>
                <c:pt idx="7720">
                  <c:v>2.2101500000000001</c:v>
                </c:pt>
                <c:pt idx="7721">
                  <c:v>2.2413799999999999</c:v>
                </c:pt>
                <c:pt idx="7722">
                  <c:v>#N/A</c:v>
                </c:pt>
                <c:pt idx="7723">
                  <c:v>2.2333699999999999</c:v>
                </c:pt>
                <c:pt idx="7724">
                  <c:v>1.7826900000000001</c:v>
                </c:pt>
                <c:pt idx="7725">
                  <c:v>2.1908799999999999</c:v>
                </c:pt>
                <c:pt idx="7726">
                  <c:v>#N/A</c:v>
                </c:pt>
                <c:pt idx="7727">
                  <c:v>2.3148900000000001</c:v>
                </c:pt>
                <c:pt idx="7728">
                  <c:v>3.3561800000000002</c:v>
                </c:pt>
                <c:pt idx="7729">
                  <c:v>3.1458900000000001</c:v>
                </c:pt>
                <c:pt idx="7730">
                  <c:v>#N/A</c:v>
                </c:pt>
                <c:pt idx="7731">
                  <c:v>2.4567000000000001</c:v>
                </c:pt>
                <c:pt idx="7732">
                  <c:v>2.1278700000000002</c:v>
                </c:pt>
                <c:pt idx="7733">
                  <c:v>2.2279300000000002</c:v>
                </c:pt>
                <c:pt idx="7734">
                  <c:v>1.8396699999999999</c:v>
                </c:pt>
                <c:pt idx="7735">
                  <c:v>#N/A</c:v>
                </c:pt>
                <c:pt idx="7736">
                  <c:v>1.91</c:v>
                </c:pt>
                <c:pt idx="7737">
                  <c:v>1.8784799999999999</c:v>
                </c:pt>
                <c:pt idx="7738">
                  <c:v>2.02963</c:v>
                </c:pt>
                <c:pt idx="7739">
                  <c:v>1.9974499999999999</c:v>
                </c:pt>
                <c:pt idx="7740">
                  <c:v>#N/A</c:v>
                </c:pt>
                <c:pt idx="7741">
                  <c:v>2.4847899999999998</c:v>
                </c:pt>
                <c:pt idx="7742">
                  <c:v>2.47776</c:v>
                </c:pt>
                <c:pt idx="7743">
                  <c:v>2.4787300000000001</c:v>
                </c:pt>
                <c:pt idx="7744">
                  <c:v>#N/A</c:v>
                </c:pt>
                <c:pt idx="7745">
                  <c:v>2.2220599999999999</c:v>
                </c:pt>
                <c:pt idx="7746">
                  <c:v>1.84379</c:v>
                </c:pt>
                <c:pt idx="7747">
                  <c:v>1.7328600000000001</c:v>
                </c:pt>
                <c:pt idx="7748">
                  <c:v>1.5593300000000001</c:v>
                </c:pt>
                <c:pt idx="7749">
                  <c:v>#N/A</c:v>
                </c:pt>
                <c:pt idx="7750">
                  <c:v>2.3582100000000001</c:v>
                </c:pt>
                <c:pt idx="7751">
                  <c:v>2.0152800000000002</c:v>
                </c:pt>
                <c:pt idx="7752">
                  <c:v>2.0907</c:v>
                </c:pt>
                <c:pt idx="7753">
                  <c:v>#N/A</c:v>
                </c:pt>
                <c:pt idx="7754">
                  <c:v>2.2135799999999999</c:v>
                </c:pt>
                <c:pt idx="7755">
                  <c:v>2.3519700000000001</c:v>
                </c:pt>
                <c:pt idx="7756">
                  <c:v>2.0370599999999999</c:v>
                </c:pt>
                <c:pt idx="7757">
                  <c:v>#N/A</c:v>
                </c:pt>
                <c:pt idx="7758">
                  <c:v>1.78589</c:v>
                </c:pt>
                <c:pt idx="7759">
                  <c:v>2.2652600000000001</c:v>
                </c:pt>
                <c:pt idx="7760">
                  <c:v>2.2722199999999999</c:v>
                </c:pt>
                <c:pt idx="7761">
                  <c:v>1.89222</c:v>
                </c:pt>
                <c:pt idx="7762">
                  <c:v>#N/A</c:v>
                </c:pt>
                <c:pt idx="7763">
                  <c:v>2.2871100000000002</c:v>
                </c:pt>
                <c:pt idx="7764">
                  <c:v>2.60805</c:v>
                </c:pt>
                <c:pt idx="7765">
                  <c:v>2.7779199999999999</c:v>
                </c:pt>
                <c:pt idx="7766">
                  <c:v>2.9402499999999998</c:v>
                </c:pt>
                <c:pt idx="7767">
                  <c:v>#N/A</c:v>
                </c:pt>
                <c:pt idx="7768">
                  <c:v>2.3593899999999999</c:v>
                </c:pt>
                <c:pt idx="7769">
                  <c:v>1.95485</c:v>
                </c:pt>
                <c:pt idx="7770">
                  <c:v>1.60483</c:v>
                </c:pt>
                <c:pt idx="7771">
                  <c:v>#N/A</c:v>
                </c:pt>
                <c:pt idx="7772">
                  <c:v>1.7897799999999999</c:v>
                </c:pt>
                <c:pt idx="7773">
                  <c:v>1.7285299999999999</c:v>
                </c:pt>
                <c:pt idx="7774">
                  <c:v>1.7948900000000001</c:v>
                </c:pt>
                <c:pt idx="7775">
                  <c:v>#N/A</c:v>
                </c:pt>
                <c:pt idx="7776">
                  <c:v>1.51417</c:v>
                </c:pt>
                <c:pt idx="7777">
                  <c:v>1.7567999999999999</c:v>
                </c:pt>
                <c:pt idx="7778">
                  <c:v>1.9664299999999999</c:v>
                </c:pt>
                <c:pt idx="7779">
                  <c:v>2.24817</c:v>
                </c:pt>
                <c:pt idx="7780">
                  <c:v>#N/A</c:v>
                </c:pt>
                <c:pt idx="7781">
                  <c:v>2.17109</c:v>
                </c:pt>
                <c:pt idx="7782">
                  <c:v>2.03579</c:v>
                </c:pt>
                <c:pt idx="7783">
                  <c:v>2.0452599999999999</c:v>
                </c:pt>
                <c:pt idx="7784">
                  <c:v>#N/A</c:v>
                </c:pt>
                <c:pt idx="7785">
                  <c:v>1.90008</c:v>
                </c:pt>
                <c:pt idx="7786">
                  <c:v>2.2820100000000001</c:v>
                </c:pt>
                <c:pt idx="7787">
                  <c:v>2.7317999999999998</c:v>
                </c:pt>
                <c:pt idx="7788">
                  <c:v>2.76688</c:v>
                </c:pt>
                <c:pt idx="7789">
                  <c:v>#N/A</c:v>
                </c:pt>
                <c:pt idx="7790">
                  <c:v>2.5819399999999999</c:v>
                </c:pt>
                <c:pt idx="7791">
                  <c:v>2.2029800000000002</c:v>
                </c:pt>
                <c:pt idx="7792">
                  <c:v>1.30911</c:v>
                </c:pt>
                <c:pt idx="7793">
                  <c:v>#N/A</c:v>
                </c:pt>
                <c:pt idx="7794">
                  <c:v>1.9561299999999999</c:v>
                </c:pt>
                <c:pt idx="7795">
                  <c:v>1.65401</c:v>
                </c:pt>
                <c:pt idx="7796">
                  <c:v>1.63174</c:v>
                </c:pt>
                <c:pt idx="7797">
                  <c:v>1.6782300000000001</c:v>
                </c:pt>
                <c:pt idx="7798">
                  <c:v>#N/A</c:v>
                </c:pt>
                <c:pt idx="7799">
                  <c:v>2.1482600000000001</c:v>
                </c:pt>
                <c:pt idx="7800">
                  <c:v>2.0298500000000002</c:v>
                </c:pt>
                <c:pt idx="7801">
                  <c:v>2.3532600000000001</c:v>
                </c:pt>
                <c:pt idx="7802">
                  <c:v>#N/A</c:v>
                </c:pt>
                <c:pt idx="7803">
                  <c:v>2.3424100000000001</c:v>
                </c:pt>
                <c:pt idx="7804">
                  <c:v>2.1249699999999998</c:v>
                </c:pt>
                <c:pt idx="7805">
                  <c:v>1.7107000000000001</c:v>
                </c:pt>
                <c:pt idx="7806">
                  <c:v>#N/A</c:v>
                </c:pt>
                <c:pt idx="7807">
                  <c:v>1.6290800000000001</c:v>
                </c:pt>
                <c:pt idx="7808">
                  <c:v>2.0779800000000002</c:v>
                </c:pt>
                <c:pt idx="7809">
                  <c:v>2.0990799999999998</c:v>
                </c:pt>
                <c:pt idx="7810">
                  <c:v>2.23577</c:v>
                </c:pt>
                <c:pt idx="7811">
                  <c:v>#N/A</c:v>
                </c:pt>
                <c:pt idx="7812">
                  <c:v>2.21529</c:v>
                </c:pt>
                <c:pt idx="7813">
                  <c:v>2.1262699999999999</c:v>
                </c:pt>
                <c:pt idx="7814">
                  <c:v>1.7540500000000001</c:v>
                </c:pt>
                <c:pt idx="7815">
                  <c:v>#N/A</c:v>
                </c:pt>
                <c:pt idx="7816">
                  <c:v>1.26745</c:v>
                </c:pt>
                <c:pt idx="7817">
                  <c:v>1.3526100000000001</c:v>
                </c:pt>
                <c:pt idx="7818">
                  <c:v>2.0190299999999999</c:v>
                </c:pt>
                <c:pt idx="7819">
                  <c:v>#N/A</c:v>
                </c:pt>
                <c:pt idx="7820">
                  <c:v>2.14859</c:v>
                </c:pt>
                <c:pt idx="7821">
                  <c:v>2.2553999999999998</c:v>
                </c:pt>
                <c:pt idx="7822">
                  <c:v>2.1891699999999998</c:v>
                </c:pt>
                <c:pt idx="7823">
                  <c:v>2.11009</c:v>
                </c:pt>
                <c:pt idx="7824">
                  <c:v>#N/A</c:v>
                </c:pt>
                <c:pt idx="7825">
                  <c:v>1.8401000000000001</c:v>
                </c:pt>
                <c:pt idx="7826">
                  <c:v>2.21218</c:v>
                </c:pt>
                <c:pt idx="7827">
                  <c:v>2.3108399999999998</c:v>
                </c:pt>
                <c:pt idx="7828">
                  <c:v>1.3912199999999999</c:v>
                </c:pt>
                <c:pt idx="7829">
                  <c:v>#N/A</c:v>
                </c:pt>
                <c:pt idx="7830">
                  <c:v>1.27633</c:v>
                </c:pt>
                <c:pt idx="7831">
                  <c:v>1.7752399999999999</c:v>
                </c:pt>
                <c:pt idx="7832">
                  <c:v>1.60507</c:v>
                </c:pt>
                <c:pt idx="7833">
                  <c:v>#N/A</c:v>
                </c:pt>
                <c:pt idx="7834">
                  <c:v>1.70292</c:v>
                </c:pt>
                <c:pt idx="7835">
                  <c:v>1.8875500000000001</c:v>
                </c:pt>
                <c:pt idx="7836">
                  <c:v>#N/A</c:v>
                </c:pt>
                <c:pt idx="7837">
                  <c:v>2.3123300000000002</c:v>
                </c:pt>
                <c:pt idx="7838">
                  <c:v>2.1106400000000001</c:v>
                </c:pt>
                <c:pt idx="7839">
                  <c:v>#N/A</c:v>
                </c:pt>
                <c:pt idx="7840">
                  <c:v>2.13706</c:v>
                </c:pt>
                <c:pt idx="7841">
                  <c:v>1.9758100000000001</c:v>
                </c:pt>
                <c:pt idx="7842">
                  <c:v>2.2215500000000001</c:v>
                </c:pt>
                <c:pt idx="7843">
                  <c:v>#N/A</c:v>
                </c:pt>
                <c:pt idx="7844">
                  <c:v>2.2869000000000002</c:v>
                </c:pt>
                <c:pt idx="7845">
                  <c:v>2.2456</c:v>
                </c:pt>
                <c:pt idx="7846">
                  <c:v>1.9234100000000001</c:v>
                </c:pt>
                <c:pt idx="7847">
                  <c:v>#N/A</c:v>
                </c:pt>
                <c:pt idx="7848">
                  <c:v>2.6865100000000002</c:v>
                </c:pt>
                <c:pt idx="7849">
                  <c:v>1.9040600000000001</c:v>
                </c:pt>
                <c:pt idx="7850">
                  <c:v>1.6715100000000001</c:v>
                </c:pt>
                <c:pt idx="7851">
                  <c:v>#N/A</c:v>
                </c:pt>
                <c:pt idx="7852">
                  <c:v>1.45377</c:v>
                </c:pt>
                <c:pt idx="7853">
                  <c:v>1.3815900000000001</c:v>
                </c:pt>
                <c:pt idx="7854">
                  <c:v>1.8274699999999999</c:v>
                </c:pt>
                <c:pt idx="7855">
                  <c:v>#N/A</c:v>
                </c:pt>
                <c:pt idx="7856">
                  <c:v>1.5573900000000001</c:v>
                </c:pt>
                <c:pt idx="7857">
                  <c:v>2.3197800000000002</c:v>
                </c:pt>
                <c:pt idx="7858">
                  <c:v>2.15279</c:v>
                </c:pt>
                <c:pt idx="7859">
                  <c:v>2.1425200000000002</c:v>
                </c:pt>
                <c:pt idx="7860">
                  <c:v>#N/A</c:v>
                </c:pt>
                <c:pt idx="7861">
                  <c:v>1.99135</c:v>
                </c:pt>
                <c:pt idx="7862">
                  <c:v>2.1996799999999999</c:v>
                </c:pt>
                <c:pt idx="7863">
                  <c:v>2.3736299999999999</c:v>
                </c:pt>
                <c:pt idx="7864">
                  <c:v>#N/A</c:v>
                </c:pt>
                <c:pt idx="7865">
                  <c:v>2.3382499999999999</c:v>
                </c:pt>
                <c:pt idx="7866">
                  <c:v>2.7170100000000001</c:v>
                </c:pt>
                <c:pt idx="7867">
                  <c:v>2.35494</c:v>
                </c:pt>
                <c:pt idx="7868">
                  <c:v>#N/A</c:v>
                </c:pt>
                <c:pt idx="7869">
                  <c:v>2.1153599999999999</c:v>
                </c:pt>
                <c:pt idx="7870">
                  <c:v>1.9912700000000001</c:v>
                </c:pt>
                <c:pt idx="7871">
                  <c:v>1.96255</c:v>
                </c:pt>
                <c:pt idx="7872">
                  <c:v>1.9618</c:v>
                </c:pt>
                <c:pt idx="7873">
                  <c:v>#N/A</c:v>
                </c:pt>
                <c:pt idx="7874">
                  <c:v>1.4184699999999999</c:v>
                </c:pt>
                <c:pt idx="7875">
                  <c:v>1.6539699999999999</c:v>
                </c:pt>
                <c:pt idx="7876">
                  <c:v>1.93564</c:v>
                </c:pt>
                <c:pt idx="7877">
                  <c:v>#N/A</c:v>
                </c:pt>
                <c:pt idx="7878">
                  <c:v>1.9823599999999999</c:v>
                </c:pt>
                <c:pt idx="7879">
                  <c:v>2.21454</c:v>
                </c:pt>
                <c:pt idx="7880">
                  <c:v>2.3229899999999999</c:v>
                </c:pt>
                <c:pt idx="7881">
                  <c:v>2.31236</c:v>
                </c:pt>
                <c:pt idx="7882">
                  <c:v>#N/A</c:v>
                </c:pt>
                <c:pt idx="7883">
                  <c:v>2.20607</c:v>
                </c:pt>
                <c:pt idx="7884">
                  <c:v>2.2518899999999999</c:v>
                </c:pt>
                <c:pt idx="7885">
                  <c:v>2.31196</c:v>
                </c:pt>
                <c:pt idx="7886">
                  <c:v>#N/A</c:v>
                </c:pt>
                <c:pt idx="7887">
                  <c:v>2.4990600000000001</c:v>
                </c:pt>
                <c:pt idx="7888">
                  <c:v>2.1145200000000002</c:v>
                </c:pt>
                <c:pt idx="7889">
                  <c:v>2.41073</c:v>
                </c:pt>
                <c:pt idx="7890">
                  <c:v>1.92778</c:v>
                </c:pt>
                <c:pt idx="7891">
                  <c:v>#N/A</c:v>
                </c:pt>
                <c:pt idx="7892">
                  <c:v>1.4394100000000001</c:v>
                </c:pt>
                <c:pt idx="7893">
                  <c:v>1.92794</c:v>
                </c:pt>
                <c:pt idx="7894">
                  <c:v>1.6100099999999999</c:v>
                </c:pt>
                <c:pt idx="7895">
                  <c:v>#N/A</c:v>
                </c:pt>
                <c:pt idx="7896">
                  <c:v>1.79664</c:v>
                </c:pt>
                <c:pt idx="7897">
                  <c:v>1.63504</c:v>
                </c:pt>
                <c:pt idx="7898">
                  <c:v>2.23793</c:v>
                </c:pt>
                <c:pt idx="7899">
                  <c:v>2.0483899999999999</c:v>
                </c:pt>
                <c:pt idx="7900">
                  <c:v>#N/A</c:v>
                </c:pt>
                <c:pt idx="7901">
                  <c:v>2.2020499999999998</c:v>
                </c:pt>
                <c:pt idx="7902">
                  <c:v>2.23773</c:v>
                </c:pt>
                <c:pt idx="7903">
                  <c:v>2.3403399999999999</c:v>
                </c:pt>
                <c:pt idx="7904">
                  <c:v>#N/A</c:v>
                </c:pt>
                <c:pt idx="7905">
                  <c:v>2.3776700000000002</c:v>
                </c:pt>
                <c:pt idx="7906">
                  <c:v>2.3236400000000001</c:v>
                </c:pt>
                <c:pt idx="7907">
                  <c:v>2.7478500000000001</c:v>
                </c:pt>
                <c:pt idx="7908">
                  <c:v>#N/A</c:v>
                </c:pt>
                <c:pt idx="7909">
                  <c:v>2.11734</c:v>
                </c:pt>
                <c:pt idx="7910">
                  <c:v>2.1065100000000001</c:v>
                </c:pt>
                <c:pt idx="7911">
                  <c:v>1.82609</c:v>
                </c:pt>
                <c:pt idx="7912">
                  <c:v>#N/A</c:v>
                </c:pt>
                <c:pt idx="7913">
                  <c:v>2.04758</c:v>
                </c:pt>
                <c:pt idx="7914">
                  <c:v>1.63636</c:v>
                </c:pt>
                <c:pt idx="7915">
                  <c:v>1.88897</c:v>
                </c:pt>
                <c:pt idx="7916">
                  <c:v>2.3472900000000001</c:v>
                </c:pt>
                <c:pt idx="7917">
                  <c:v>#N/A</c:v>
                </c:pt>
                <c:pt idx="7918">
                  <c:v>2.4468700000000001</c:v>
                </c:pt>
                <c:pt idx="7919">
                  <c:v>2.1443599999999998</c:v>
                </c:pt>
                <c:pt idx="7920">
                  <c:v>2.3510499999999999</c:v>
                </c:pt>
                <c:pt idx="7921">
                  <c:v>1.93771</c:v>
                </c:pt>
                <c:pt idx="7922">
                  <c:v>#N/A</c:v>
                </c:pt>
                <c:pt idx="7923">
                  <c:v>2.1601900000000001</c:v>
                </c:pt>
                <c:pt idx="7924">
                  <c:v>2.1566900000000002</c:v>
                </c:pt>
                <c:pt idx="7925">
                  <c:v>2.25034</c:v>
                </c:pt>
                <c:pt idx="7926">
                  <c:v>#N/A</c:v>
                </c:pt>
                <c:pt idx="7927">
                  <c:v>3.0393699999999999</c:v>
                </c:pt>
                <c:pt idx="7928">
                  <c:v>2.5033699999999999</c:v>
                </c:pt>
                <c:pt idx="7929">
                  <c:v>2.5880000000000001</c:v>
                </c:pt>
                <c:pt idx="7930">
                  <c:v>2.4159700000000002</c:v>
                </c:pt>
                <c:pt idx="7931">
                  <c:v>#N/A</c:v>
                </c:pt>
                <c:pt idx="7932">
                  <c:v>1.73072</c:v>
                </c:pt>
                <c:pt idx="7933">
                  <c:v>1.8478699999999999</c:v>
                </c:pt>
                <c:pt idx="7934">
                  <c:v>2.2269299999999999</c:v>
                </c:pt>
                <c:pt idx="7935">
                  <c:v>#N/A</c:v>
                </c:pt>
                <c:pt idx="7936">
                  <c:v>2.1263399999999999</c:v>
                </c:pt>
                <c:pt idx="7937">
                  <c:v>2.4751699999999999</c:v>
                </c:pt>
                <c:pt idx="7938">
                  <c:v>2.40909</c:v>
                </c:pt>
                <c:pt idx="7939">
                  <c:v>3.0313599999999998</c:v>
                </c:pt>
                <c:pt idx="7940">
                  <c:v>#N/A</c:v>
                </c:pt>
                <c:pt idx="7941">
                  <c:v>2.4001600000000001</c:v>
                </c:pt>
                <c:pt idx="7942">
                  <c:v>2.3456899999999998</c:v>
                </c:pt>
                <c:pt idx="7943">
                  <c:v>2.2253099999999999</c:v>
                </c:pt>
                <c:pt idx="7944">
                  <c:v>#N/A</c:v>
                </c:pt>
                <c:pt idx="7945">
                  <c:v>2.4958200000000001</c:v>
                </c:pt>
                <c:pt idx="7946">
                  <c:v>2.7473800000000002</c:v>
                </c:pt>
                <c:pt idx="7947">
                  <c:v>2.5678100000000001</c:v>
                </c:pt>
                <c:pt idx="7948">
                  <c:v>#N/A</c:v>
                </c:pt>
                <c:pt idx="7949">
                  <c:v>2.3585400000000001</c:v>
                </c:pt>
                <c:pt idx="7950">
                  <c:v>2.2783799999999998</c:v>
                </c:pt>
                <c:pt idx="7951">
                  <c:v>2.3302999999999998</c:v>
                </c:pt>
                <c:pt idx="7952">
                  <c:v>1.64472</c:v>
                </c:pt>
                <c:pt idx="7953">
                  <c:v>#N/A</c:v>
                </c:pt>
                <c:pt idx="7954">
                  <c:v>1.6998599999999999</c:v>
                </c:pt>
                <c:pt idx="7955">
                  <c:v>1.8222100000000001</c:v>
                </c:pt>
                <c:pt idx="7956">
                  <c:v>1.9874499999999999</c:v>
                </c:pt>
                <c:pt idx="7957">
                  <c:v>#N/A</c:v>
                </c:pt>
                <c:pt idx="7958">
                  <c:v>2.3233600000000001</c:v>
                </c:pt>
                <c:pt idx="7959">
                  <c:v>2.2990300000000001</c:v>
                </c:pt>
                <c:pt idx="7960">
                  <c:v>2.69285</c:v>
                </c:pt>
                <c:pt idx="7961">
                  <c:v>2.4507699999999999</c:v>
                </c:pt>
                <c:pt idx="7962">
                  <c:v>#N/A</c:v>
                </c:pt>
                <c:pt idx="7963">
                  <c:v>2.4858099999999999</c:v>
                </c:pt>
                <c:pt idx="7964">
                  <c:v>2.51735</c:v>
                </c:pt>
                <c:pt idx="7965">
                  <c:v>2.3369300000000002</c:v>
                </c:pt>
                <c:pt idx="7966">
                  <c:v>#N/A</c:v>
                </c:pt>
                <c:pt idx="7967">
                  <c:v>2.4238599999999999</c:v>
                </c:pt>
                <c:pt idx="7968">
                  <c:v>2.9590900000000002</c:v>
                </c:pt>
                <c:pt idx="7969">
                  <c:v>2.75082</c:v>
                </c:pt>
                <c:pt idx="7970">
                  <c:v>#N/A</c:v>
                </c:pt>
                <c:pt idx="7971">
                  <c:v>2.2734399999999999</c:v>
                </c:pt>
                <c:pt idx="7972">
                  <c:v>1.6454800000000001</c:v>
                </c:pt>
                <c:pt idx="7973">
                  <c:v>1.8093600000000001</c:v>
                </c:pt>
                <c:pt idx="7974">
                  <c:v>2.23529</c:v>
                </c:pt>
                <c:pt idx="7975">
                  <c:v>#N/A</c:v>
                </c:pt>
                <c:pt idx="7976">
                  <c:v>1.8690100000000001</c:v>
                </c:pt>
                <c:pt idx="7977">
                  <c:v>2.1460400000000002</c:v>
                </c:pt>
                <c:pt idx="7978">
                  <c:v>#N/A</c:v>
                </c:pt>
                <c:pt idx="7979">
                  <c:v>2.08941</c:v>
                </c:pt>
                <c:pt idx="7980">
                  <c:v>#N/A</c:v>
                </c:pt>
                <c:pt idx="7981">
                  <c:v>2.0119099999999999</c:v>
                </c:pt>
                <c:pt idx="7982">
                  <c:v>2.2783099999999998</c:v>
                </c:pt>
                <c:pt idx="7983">
                  <c:v>2.2271399999999999</c:v>
                </c:pt>
                <c:pt idx="7984">
                  <c:v>2.2352699999999999</c:v>
                </c:pt>
                <c:pt idx="7985">
                  <c:v>#N/A</c:v>
                </c:pt>
                <c:pt idx="7986">
                  <c:v>2.4409700000000001</c:v>
                </c:pt>
                <c:pt idx="7987">
                  <c:v>2.43648</c:v>
                </c:pt>
                <c:pt idx="7988">
                  <c:v>2.61707</c:v>
                </c:pt>
                <c:pt idx="7989">
                  <c:v>#N/A</c:v>
                </c:pt>
                <c:pt idx="7990">
                  <c:v>2.40707</c:v>
                </c:pt>
                <c:pt idx="7991">
                  <c:v>2.2568700000000002</c:v>
                </c:pt>
                <c:pt idx="7992">
                  <c:v>1.8429599999999999</c:v>
                </c:pt>
                <c:pt idx="7993">
                  <c:v>1.5436300000000001</c:v>
                </c:pt>
                <c:pt idx="7994">
                  <c:v>#N/A</c:v>
                </c:pt>
                <c:pt idx="7995">
                  <c:v>2.0313300000000001</c:v>
                </c:pt>
                <c:pt idx="7996">
                  <c:v>2.24979</c:v>
                </c:pt>
                <c:pt idx="7997">
                  <c:v>2.2245400000000002</c:v>
                </c:pt>
                <c:pt idx="7998">
                  <c:v>#N/A</c:v>
                </c:pt>
                <c:pt idx="7999">
                  <c:v>2.351</c:v>
                </c:pt>
                <c:pt idx="8000">
                  <c:v>1.76857</c:v>
                </c:pt>
                <c:pt idx="8001">
                  <c:v>2.21285</c:v>
                </c:pt>
                <c:pt idx="8002">
                  <c:v>1.9924599999999999</c:v>
                </c:pt>
                <c:pt idx="8003">
                  <c:v>#N/A</c:v>
                </c:pt>
                <c:pt idx="8004">
                  <c:v>2.2427199999999998</c:v>
                </c:pt>
                <c:pt idx="8005">
                  <c:v>2.1295999999999999</c:v>
                </c:pt>
                <c:pt idx="8006">
                  <c:v>1.7308600000000001</c:v>
                </c:pt>
                <c:pt idx="8007">
                  <c:v>#N/A</c:v>
                </c:pt>
                <c:pt idx="8008">
                  <c:v>2.5560499999999999</c:v>
                </c:pt>
                <c:pt idx="8009">
                  <c:v>2.4276399999999998</c:v>
                </c:pt>
                <c:pt idx="8010">
                  <c:v>2.24641</c:v>
                </c:pt>
                <c:pt idx="8011">
                  <c:v>2.0313300000000001</c:v>
                </c:pt>
                <c:pt idx="8012">
                  <c:v>#N/A</c:v>
                </c:pt>
                <c:pt idx="8013">
                  <c:v>1.96719</c:v>
                </c:pt>
                <c:pt idx="8014">
                  <c:v>2.09368</c:v>
                </c:pt>
                <c:pt idx="8015">
                  <c:v>1.5980000000000001</c:v>
                </c:pt>
                <c:pt idx="8016">
                  <c:v>#N/A</c:v>
                </c:pt>
                <c:pt idx="8017">
                  <c:v>1.7557700000000001</c:v>
                </c:pt>
                <c:pt idx="8018">
                  <c:v>2.3289599999999999</c:v>
                </c:pt>
                <c:pt idx="8019">
                  <c:v>2.4312399999999998</c:v>
                </c:pt>
                <c:pt idx="8020">
                  <c:v>#N/A</c:v>
                </c:pt>
                <c:pt idx="8021">
                  <c:v>2.4205700000000001</c:v>
                </c:pt>
                <c:pt idx="8022">
                  <c:v>2.5132699999999999</c:v>
                </c:pt>
                <c:pt idx="8023">
                  <c:v>1.91029</c:v>
                </c:pt>
                <c:pt idx="8024">
                  <c:v>#N/A</c:v>
                </c:pt>
                <c:pt idx="8025">
                  <c:v>2.2288399999999999</c:v>
                </c:pt>
                <c:pt idx="8026">
                  <c:v>2.2055699999999998</c:v>
                </c:pt>
                <c:pt idx="8027">
                  <c:v>2.4708199999999998</c:v>
                </c:pt>
                <c:pt idx="8028">
                  <c:v>#N/A</c:v>
                </c:pt>
                <c:pt idx="8029">
                  <c:v>2.4773200000000002</c:v>
                </c:pt>
                <c:pt idx="8030">
                  <c:v>2.2279200000000001</c:v>
                </c:pt>
                <c:pt idx="8031">
                  <c:v>1.7946299999999999</c:v>
                </c:pt>
                <c:pt idx="8032">
                  <c:v>1.54861</c:v>
                </c:pt>
                <c:pt idx="8033">
                  <c:v>#N/A</c:v>
                </c:pt>
                <c:pt idx="8034">
                  <c:v>2.04705</c:v>
                </c:pt>
                <c:pt idx="8035">
                  <c:v>1.51888</c:v>
                </c:pt>
                <c:pt idx="8036">
                  <c:v>2.6016699999999999</c:v>
                </c:pt>
                <c:pt idx="8037">
                  <c:v>#N/A</c:v>
                </c:pt>
                <c:pt idx="8038">
                  <c:v>2.8044699999999998</c:v>
                </c:pt>
                <c:pt idx="8039">
                  <c:v>2.0646399999999998</c:v>
                </c:pt>
                <c:pt idx="8040">
                  <c:v>2.4869599999999998</c:v>
                </c:pt>
                <c:pt idx="8041">
                  <c:v>2.4840800000000001</c:v>
                </c:pt>
                <c:pt idx="8042">
                  <c:v>#N/A</c:v>
                </c:pt>
                <c:pt idx="8043">
                  <c:v>2.5609999999999999</c:v>
                </c:pt>
                <c:pt idx="8044">
                  <c:v>2.4775</c:v>
                </c:pt>
                <c:pt idx="8045">
                  <c:v>2.48271</c:v>
                </c:pt>
                <c:pt idx="8046">
                  <c:v>2.8140299999999998</c:v>
                </c:pt>
                <c:pt idx="8047">
                  <c:v>#N/A</c:v>
                </c:pt>
                <c:pt idx="8048">
                  <c:v>2.58697</c:v>
                </c:pt>
                <c:pt idx="8049">
                  <c:v>2.7118899999999999</c:v>
                </c:pt>
                <c:pt idx="8050">
                  <c:v>#N/A</c:v>
                </c:pt>
                <c:pt idx="8051">
                  <c:v>2.30206</c:v>
                </c:pt>
                <c:pt idx="8052">
                  <c:v>#N/A</c:v>
                </c:pt>
                <c:pt idx="8053">
                  <c:v>2.02617</c:v>
                </c:pt>
                <c:pt idx="8054">
                  <c:v>2.6167899999999999</c:v>
                </c:pt>
                <c:pt idx="8055">
                  <c:v>1.5860099999999999</c:v>
                </c:pt>
                <c:pt idx="8056">
                  <c:v>#N/A</c:v>
                </c:pt>
                <c:pt idx="8057">
                  <c:v>1.9242900000000001</c:v>
                </c:pt>
                <c:pt idx="8058">
                  <c:v>1.85408</c:v>
                </c:pt>
                <c:pt idx="8059">
                  <c:v>1.86178</c:v>
                </c:pt>
                <c:pt idx="8060">
                  <c:v>1.77173</c:v>
                </c:pt>
                <c:pt idx="8061">
                  <c:v>#N/A</c:v>
                </c:pt>
                <c:pt idx="8062">
                  <c:v>1.7964800000000001</c:v>
                </c:pt>
                <c:pt idx="8063">
                  <c:v>1.4612799999999999</c:v>
                </c:pt>
                <c:pt idx="8064">
                  <c:v>1.71441</c:v>
                </c:pt>
                <c:pt idx="8065">
                  <c:v>#N/A</c:v>
                </c:pt>
                <c:pt idx="8066">
                  <c:v>2.5261800000000001</c:v>
                </c:pt>
                <c:pt idx="8067">
                  <c:v>1.87157</c:v>
                </c:pt>
                <c:pt idx="8068">
                  <c:v>1.7101200000000001</c:v>
                </c:pt>
                <c:pt idx="8069">
                  <c:v>2.1561599999999999</c:v>
                </c:pt>
                <c:pt idx="8070">
                  <c:v>#N/A</c:v>
                </c:pt>
                <c:pt idx="8071">
                  <c:v>2.4165100000000002</c:v>
                </c:pt>
                <c:pt idx="8072">
                  <c:v>2.3817599999999999</c:v>
                </c:pt>
                <c:pt idx="8073">
                  <c:v>1.8797999999999999</c:v>
                </c:pt>
                <c:pt idx="8074">
                  <c:v>#N/A</c:v>
                </c:pt>
                <c:pt idx="8075">
                  <c:v>2.0844800000000001</c:v>
                </c:pt>
                <c:pt idx="8076">
                  <c:v>2.3174000000000001</c:v>
                </c:pt>
                <c:pt idx="8077">
                  <c:v>2.6456400000000002</c:v>
                </c:pt>
                <c:pt idx="8078">
                  <c:v>2.6529400000000001</c:v>
                </c:pt>
                <c:pt idx="8079">
                  <c:v>#N/A</c:v>
                </c:pt>
                <c:pt idx="8080">
                  <c:v>2.2639300000000002</c:v>
                </c:pt>
                <c:pt idx="8081">
                  <c:v>2.5387300000000002</c:v>
                </c:pt>
                <c:pt idx="8082">
                  <c:v>2.6684800000000002</c:v>
                </c:pt>
                <c:pt idx="8083">
                  <c:v>#N/A</c:v>
                </c:pt>
                <c:pt idx="8084">
                  <c:v>2.48631</c:v>
                </c:pt>
                <c:pt idx="8085">
                  <c:v>2.3691599999999999</c:v>
                </c:pt>
                <c:pt idx="8086">
                  <c:v>2.1146699999999998</c:v>
                </c:pt>
                <c:pt idx="8087">
                  <c:v>2.16127</c:v>
                </c:pt>
                <c:pt idx="8088">
                  <c:v>#N/A</c:v>
                </c:pt>
                <c:pt idx="8089">
                  <c:v>2.2864300000000002</c:v>
                </c:pt>
                <c:pt idx="8090">
                  <c:v>1.8043400000000001</c:v>
                </c:pt>
                <c:pt idx="8091">
                  <c:v>1.7942400000000001</c:v>
                </c:pt>
                <c:pt idx="8092">
                  <c:v>#N/A</c:v>
                </c:pt>
                <c:pt idx="8093">
                  <c:v>2.11137</c:v>
                </c:pt>
                <c:pt idx="8094">
                  <c:v>1.8522799999999999</c:v>
                </c:pt>
                <c:pt idx="8095">
                  <c:v>1.5542</c:v>
                </c:pt>
                <c:pt idx="8096">
                  <c:v>1.8800300000000001</c:v>
                </c:pt>
                <c:pt idx="8097">
                  <c:v>#N/A</c:v>
                </c:pt>
                <c:pt idx="8098">
                  <c:v>1.86493</c:v>
                </c:pt>
                <c:pt idx="8099">
                  <c:v>2.1342500000000002</c:v>
                </c:pt>
                <c:pt idx="8100">
                  <c:v>2.55742</c:v>
                </c:pt>
                <c:pt idx="8101">
                  <c:v>#N/A</c:v>
                </c:pt>
                <c:pt idx="8102">
                  <c:v>2.50474</c:v>
                </c:pt>
                <c:pt idx="8103">
                  <c:v>2.4263499999999998</c:v>
                </c:pt>
                <c:pt idx="8104">
                  <c:v>2.3363</c:v>
                </c:pt>
                <c:pt idx="8105">
                  <c:v>2.2253799999999999</c:v>
                </c:pt>
                <c:pt idx="8106">
                  <c:v>#N/A</c:v>
                </c:pt>
                <c:pt idx="8107">
                  <c:v>2.40971</c:v>
                </c:pt>
                <c:pt idx="8108">
                  <c:v>2.2225000000000001</c:v>
                </c:pt>
                <c:pt idx="8109">
                  <c:v>2.40029</c:v>
                </c:pt>
                <c:pt idx="8110">
                  <c:v>#N/A</c:v>
                </c:pt>
                <c:pt idx="8111">
                  <c:v>1.91696</c:v>
                </c:pt>
                <c:pt idx="8112">
                  <c:v>2.1153599999999999</c:v>
                </c:pt>
                <c:pt idx="8113">
                  <c:v>1.7301200000000001</c:v>
                </c:pt>
                <c:pt idx="8114">
                  <c:v>#N/A</c:v>
                </c:pt>
                <c:pt idx="8115">
                  <c:v>2.30715</c:v>
                </c:pt>
                <c:pt idx="8116">
                  <c:v>1.8993199999999999</c:v>
                </c:pt>
                <c:pt idx="8117">
                  <c:v>2.09436</c:v>
                </c:pt>
                <c:pt idx="8118">
                  <c:v>1.63192</c:v>
                </c:pt>
                <c:pt idx="8119">
                  <c:v>#N/A</c:v>
                </c:pt>
                <c:pt idx="8120">
                  <c:v>1.86703</c:v>
                </c:pt>
                <c:pt idx="8121">
                  <c:v>1.64022</c:v>
                </c:pt>
                <c:pt idx="8122">
                  <c:v>#N/A</c:v>
                </c:pt>
                <c:pt idx="8123">
                  <c:v>2.3246899999999999</c:v>
                </c:pt>
                <c:pt idx="8124">
                  <c:v>2.2197399999999998</c:v>
                </c:pt>
                <c:pt idx="8125">
                  <c:v>#N/A</c:v>
                </c:pt>
                <c:pt idx="8126">
                  <c:v>2.8261699999999998</c:v>
                </c:pt>
                <c:pt idx="8127">
                  <c:v>2.3709600000000002</c:v>
                </c:pt>
                <c:pt idx="8128">
                  <c:v>1.96526</c:v>
                </c:pt>
                <c:pt idx="8129">
                  <c:v>1.9413</c:v>
                </c:pt>
                <c:pt idx="8130">
                  <c:v>#N/A</c:v>
                </c:pt>
                <c:pt idx="8131">
                  <c:v>1.84395</c:v>
                </c:pt>
                <c:pt idx="8132">
                  <c:v>1.4301200000000001</c:v>
                </c:pt>
                <c:pt idx="8133">
                  <c:v>1.61239</c:v>
                </c:pt>
                <c:pt idx="8134">
                  <c:v>#N/A</c:v>
                </c:pt>
                <c:pt idx="8135">
                  <c:v>1.6489</c:v>
                </c:pt>
                <c:pt idx="8136">
                  <c:v>2.5934499999999998</c:v>
                </c:pt>
                <c:pt idx="8137">
                  <c:v>2.4568400000000001</c:v>
                </c:pt>
                <c:pt idx="8138">
                  <c:v>2.3260200000000002</c:v>
                </c:pt>
                <c:pt idx="8139">
                  <c:v>#N/A</c:v>
                </c:pt>
                <c:pt idx="8140">
                  <c:v>2.15821</c:v>
                </c:pt>
                <c:pt idx="8141">
                  <c:v>2.43032</c:v>
                </c:pt>
                <c:pt idx="8142">
                  <c:v>2.1234000000000002</c:v>
                </c:pt>
                <c:pt idx="8143">
                  <c:v>2.1321300000000001</c:v>
                </c:pt>
                <c:pt idx="8144">
                  <c:v>#N/A</c:v>
                </c:pt>
                <c:pt idx="8145">
                  <c:v>2.0040399999999998</c:v>
                </c:pt>
                <c:pt idx="8146">
                  <c:v>2.0048300000000001</c:v>
                </c:pt>
                <c:pt idx="8147">
                  <c:v>2.9712700000000001</c:v>
                </c:pt>
                <c:pt idx="8148">
                  <c:v>#N/A</c:v>
                </c:pt>
                <c:pt idx="8149">
                  <c:v>2.7967</c:v>
                </c:pt>
                <c:pt idx="8150">
                  <c:v>2.3590900000000001</c:v>
                </c:pt>
                <c:pt idx="8151">
                  <c:v>1.75407</c:v>
                </c:pt>
                <c:pt idx="8152">
                  <c:v>1.8405100000000001</c:v>
                </c:pt>
                <c:pt idx="8153">
                  <c:v>#N/A</c:v>
                </c:pt>
                <c:pt idx="8154">
                  <c:v>1.4150400000000001</c:v>
                </c:pt>
                <c:pt idx="8155">
                  <c:v>0.88219899999999996</c:v>
                </c:pt>
                <c:pt idx="8156">
                  <c:v>1.94068</c:v>
                </c:pt>
                <c:pt idx="8157">
                  <c:v>#N/A</c:v>
                </c:pt>
                <c:pt idx="8158">
                  <c:v>1.9802200000000001</c:v>
                </c:pt>
                <c:pt idx="8159">
                  <c:v>2.7355399999999999</c:v>
                </c:pt>
                <c:pt idx="8160">
                  <c:v>2.1357200000000001</c:v>
                </c:pt>
                <c:pt idx="8161">
                  <c:v>2.30585</c:v>
                </c:pt>
                <c:pt idx="8162">
                  <c:v>#N/A</c:v>
                </c:pt>
                <c:pt idx="8163">
                  <c:v>2.0604100000000001</c:v>
                </c:pt>
                <c:pt idx="8164">
                  <c:v>1.80348</c:v>
                </c:pt>
                <c:pt idx="8165">
                  <c:v>2.1480199999999998</c:v>
                </c:pt>
                <c:pt idx="8166">
                  <c:v>#N/A</c:v>
                </c:pt>
                <c:pt idx="8167">
                  <c:v>1.5238499999999999</c:v>
                </c:pt>
                <c:pt idx="8168">
                  <c:v>2.3752900000000001</c:v>
                </c:pt>
                <c:pt idx="8169">
                  <c:v>2.1953</c:v>
                </c:pt>
                <c:pt idx="8170">
                  <c:v>#N/A</c:v>
                </c:pt>
                <c:pt idx="8171">
                  <c:v>2.33304</c:v>
                </c:pt>
                <c:pt idx="8172">
                  <c:v>2.0072899999999998</c:v>
                </c:pt>
                <c:pt idx="8173">
                  <c:v>1.7403</c:v>
                </c:pt>
                <c:pt idx="8174">
                  <c:v>1.4972000000000001</c:v>
                </c:pt>
                <c:pt idx="8175">
                  <c:v>#N/A</c:v>
                </c:pt>
                <c:pt idx="8176">
                  <c:v>1.9505699999999999</c:v>
                </c:pt>
                <c:pt idx="8177">
                  <c:v>1.6974100000000001</c:v>
                </c:pt>
                <c:pt idx="8178">
                  <c:v>1.9637800000000001</c:v>
                </c:pt>
                <c:pt idx="8179">
                  <c:v>#N/A</c:v>
                </c:pt>
                <c:pt idx="8180">
                  <c:v>2.2521900000000001</c:v>
                </c:pt>
                <c:pt idx="8181">
                  <c:v>2.1943600000000001</c:v>
                </c:pt>
                <c:pt idx="8182">
                  <c:v>2.45208</c:v>
                </c:pt>
                <c:pt idx="8183">
                  <c:v>2.4463200000000001</c:v>
                </c:pt>
                <c:pt idx="8184">
                  <c:v>#N/A</c:v>
                </c:pt>
                <c:pt idx="8185">
                  <c:v>2.0732400000000002</c:v>
                </c:pt>
                <c:pt idx="8186">
                  <c:v>2.2935699999999999</c:v>
                </c:pt>
                <c:pt idx="8187">
                  <c:v>2.4207800000000002</c:v>
                </c:pt>
                <c:pt idx="8188">
                  <c:v>#N/A</c:v>
                </c:pt>
                <c:pt idx="8189">
                  <c:v>1.75403</c:v>
                </c:pt>
                <c:pt idx="8190">
                  <c:v>1.93147</c:v>
                </c:pt>
                <c:pt idx="8191">
                  <c:v>1.7689900000000001</c:v>
                </c:pt>
                <c:pt idx="8192">
                  <c:v>#N/A</c:v>
                </c:pt>
                <c:pt idx="8193">
                  <c:v>1.59996</c:v>
                </c:pt>
                <c:pt idx="8194">
                  <c:v>#N/A</c:v>
                </c:pt>
                <c:pt idx="8195">
                  <c:v>1.8203100000000001</c:v>
                </c:pt>
                <c:pt idx="8196">
                  <c:v>1.7061500000000001</c:v>
                </c:pt>
                <c:pt idx="8197">
                  <c:v>2.2916799999999999</c:v>
                </c:pt>
                <c:pt idx="8198">
                  <c:v>1.9861599999999999</c:v>
                </c:pt>
                <c:pt idx="8199">
                  <c:v>#N/A</c:v>
                </c:pt>
                <c:pt idx="8200">
                  <c:v>1.96858</c:v>
                </c:pt>
                <c:pt idx="8201">
                  <c:v>2.0212300000000001</c:v>
                </c:pt>
                <c:pt idx="8202">
                  <c:v>1.8295399999999999</c:v>
                </c:pt>
                <c:pt idx="8203">
                  <c:v>#N/A</c:v>
                </c:pt>
                <c:pt idx="8204">
                  <c:v>1.99213</c:v>
                </c:pt>
                <c:pt idx="8205">
                  <c:v>2.2890700000000002</c:v>
                </c:pt>
                <c:pt idx="8206">
                  <c:v>2.4936600000000002</c:v>
                </c:pt>
                <c:pt idx="8207">
                  <c:v>2.8752300000000002</c:v>
                </c:pt>
                <c:pt idx="8208">
                  <c:v>#N/A</c:v>
                </c:pt>
                <c:pt idx="8209">
                  <c:v>1.8845700000000001</c:v>
                </c:pt>
                <c:pt idx="8210">
                  <c:v>#N/A</c:v>
                </c:pt>
                <c:pt idx="8211">
                  <c:v>1.19787</c:v>
                </c:pt>
                <c:pt idx="8212">
                  <c:v>#N/A</c:v>
                </c:pt>
                <c:pt idx="8213">
                  <c:v>1.2912399999999999</c:v>
                </c:pt>
                <c:pt idx="8214">
                  <c:v>1.85484</c:v>
                </c:pt>
                <c:pt idx="8215">
                  <c:v>2.1190500000000001</c:v>
                </c:pt>
                <c:pt idx="8216">
                  <c:v>#N/A</c:v>
                </c:pt>
                <c:pt idx="8217">
                  <c:v>1.79182</c:v>
                </c:pt>
                <c:pt idx="8218">
                  <c:v>2.1179299999999999</c:v>
                </c:pt>
                <c:pt idx="8219">
                  <c:v>2.2408399999999999</c:v>
                </c:pt>
                <c:pt idx="8220">
                  <c:v>#N/A</c:v>
                </c:pt>
                <c:pt idx="8221">
                  <c:v>2.3172899999999998</c:v>
                </c:pt>
                <c:pt idx="8222">
                  <c:v>2.3793799999999998</c:v>
                </c:pt>
                <c:pt idx="8223">
                  <c:v>1.8593</c:v>
                </c:pt>
                <c:pt idx="8224">
                  <c:v>1.87158</c:v>
                </c:pt>
                <c:pt idx="8225">
                  <c:v>#N/A</c:v>
                </c:pt>
                <c:pt idx="8226">
                  <c:v>1.8406100000000001</c:v>
                </c:pt>
                <c:pt idx="8227">
                  <c:v>2.48027</c:v>
                </c:pt>
                <c:pt idx="8228">
                  <c:v>2.54941</c:v>
                </c:pt>
                <c:pt idx="8229">
                  <c:v>#N/A</c:v>
                </c:pt>
                <c:pt idx="8230">
                  <c:v>2.1165400000000001</c:v>
                </c:pt>
                <c:pt idx="8231">
                  <c:v>2.05999</c:v>
                </c:pt>
                <c:pt idx="8232">
                  <c:v>1.5898099999999999</c:v>
                </c:pt>
                <c:pt idx="8233">
                  <c:v>1.5199</c:v>
                </c:pt>
                <c:pt idx="8234">
                  <c:v>#N/A</c:v>
                </c:pt>
                <c:pt idx="8235">
                  <c:v>0.87944800000000001</c:v>
                </c:pt>
                <c:pt idx="8236">
                  <c:v>1.63889</c:v>
                </c:pt>
                <c:pt idx="8237">
                  <c:v>1.9835499999999999</c:v>
                </c:pt>
                <c:pt idx="8238">
                  <c:v>#N/A</c:v>
                </c:pt>
                <c:pt idx="8239">
                  <c:v>2.0512800000000002</c:v>
                </c:pt>
                <c:pt idx="8240">
                  <c:v>2.0867499999999999</c:v>
                </c:pt>
                <c:pt idx="8241">
                  <c:v>2.1802700000000002</c:v>
                </c:pt>
                <c:pt idx="8242">
                  <c:v>2.07647</c:v>
                </c:pt>
                <c:pt idx="8243">
                  <c:v>#N/A</c:v>
                </c:pt>
                <c:pt idx="8244">
                  <c:v>2.0491799999999998</c:v>
                </c:pt>
                <c:pt idx="8245">
                  <c:v>2.7343000000000002</c:v>
                </c:pt>
                <c:pt idx="8246">
                  <c:v>2.1336300000000001</c:v>
                </c:pt>
                <c:pt idx="8247">
                  <c:v>#N/A</c:v>
                </c:pt>
                <c:pt idx="8248">
                  <c:v>1.6670199999999999</c:v>
                </c:pt>
                <c:pt idx="8249">
                  <c:v>1.8396999999999999</c:v>
                </c:pt>
                <c:pt idx="8250">
                  <c:v>2.44983</c:v>
                </c:pt>
                <c:pt idx="8251">
                  <c:v>1.8547400000000001</c:v>
                </c:pt>
                <c:pt idx="8252">
                  <c:v>#N/A</c:v>
                </c:pt>
                <c:pt idx="8253">
                  <c:v>2.3275199999999998</c:v>
                </c:pt>
                <c:pt idx="8254">
                  <c:v>2.21672</c:v>
                </c:pt>
                <c:pt idx="8255">
                  <c:v>2.2873299999999999</c:v>
                </c:pt>
                <c:pt idx="8256">
                  <c:v>#N/A</c:v>
                </c:pt>
                <c:pt idx="8257">
                  <c:v>1.9167400000000001</c:v>
                </c:pt>
                <c:pt idx="8258">
                  <c:v>2.3111100000000002</c:v>
                </c:pt>
                <c:pt idx="8259">
                  <c:v>1.8649</c:v>
                </c:pt>
                <c:pt idx="8260">
                  <c:v>2.0506700000000002</c:v>
                </c:pt>
                <c:pt idx="8261">
                  <c:v>#N/A</c:v>
                </c:pt>
                <c:pt idx="8262">
                  <c:v>2.6155200000000001</c:v>
                </c:pt>
                <c:pt idx="8263">
                  <c:v>2.16486</c:v>
                </c:pt>
                <c:pt idx="8264">
                  <c:v>2.3037800000000002</c:v>
                </c:pt>
                <c:pt idx="8265">
                  <c:v>#N/A</c:v>
                </c:pt>
                <c:pt idx="8266">
                  <c:v>2.0765099999999999</c:v>
                </c:pt>
                <c:pt idx="8267">
                  <c:v>#N/A</c:v>
                </c:pt>
                <c:pt idx="8268">
                  <c:v>1.9027700000000001</c:v>
                </c:pt>
                <c:pt idx="8269">
                  <c:v>1.7736099999999999</c:v>
                </c:pt>
                <c:pt idx="8270">
                  <c:v>#N/A</c:v>
                </c:pt>
                <c:pt idx="8271">
                  <c:v>1.9253899999999999</c:v>
                </c:pt>
                <c:pt idx="8272">
                  <c:v>1.60317</c:v>
                </c:pt>
                <c:pt idx="8273">
                  <c:v>2.00691</c:v>
                </c:pt>
                <c:pt idx="8274">
                  <c:v>#N/A</c:v>
                </c:pt>
                <c:pt idx="8275">
                  <c:v>1.8240099999999999</c:v>
                </c:pt>
                <c:pt idx="8276">
                  <c:v>2.4537399999999998</c:v>
                </c:pt>
                <c:pt idx="8277">
                  <c:v>2.4697499999999999</c:v>
                </c:pt>
                <c:pt idx="8278">
                  <c:v>2.1200899999999998</c:v>
                </c:pt>
                <c:pt idx="8279">
                  <c:v>#N/A</c:v>
                </c:pt>
                <c:pt idx="8280">
                  <c:v>2.6072799999999998</c:v>
                </c:pt>
                <c:pt idx="8281">
                  <c:v>2.1920700000000002</c:v>
                </c:pt>
                <c:pt idx="8282">
                  <c:v>2.0515599999999998</c:v>
                </c:pt>
                <c:pt idx="8283">
                  <c:v>#N/A</c:v>
                </c:pt>
                <c:pt idx="8284">
                  <c:v>2.3976899999999999</c:v>
                </c:pt>
                <c:pt idx="8285">
                  <c:v>2.4597899999999999</c:v>
                </c:pt>
                <c:pt idx="8286">
                  <c:v>2.6041400000000001</c:v>
                </c:pt>
                <c:pt idx="8287">
                  <c:v>2.75481</c:v>
                </c:pt>
                <c:pt idx="8288">
                  <c:v>#N/A</c:v>
                </c:pt>
                <c:pt idx="8289">
                  <c:v>2.98054</c:v>
                </c:pt>
                <c:pt idx="8290">
                  <c:v>2.3344299999999998</c:v>
                </c:pt>
                <c:pt idx="8291">
                  <c:v>1.4927299999999999</c:v>
                </c:pt>
                <c:pt idx="8292">
                  <c:v>1.23488</c:v>
                </c:pt>
                <c:pt idx="8293">
                  <c:v>#N/A</c:v>
                </c:pt>
                <c:pt idx="8294">
                  <c:v>1.68662</c:v>
                </c:pt>
                <c:pt idx="8295">
                  <c:v>1.5304800000000001</c:v>
                </c:pt>
                <c:pt idx="8296">
                  <c:v>1.80627</c:v>
                </c:pt>
                <c:pt idx="8297">
                  <c:v>#N/A</c:v>
                </c:pt>
                <c:pt idx="8298">
                  <c:v>2.19319</c:v>
                </c:pt>
                <c:pt idx="8299">
                  <c:v>2.0807500000000001</c:v>
                </c:pt>
                <c:pt idx="8300">
                  <c:v>1.9992799999999999</c:v>
                </c:pt>
                <c:pt idx="8301">
                  <c:v>#N/A</c:v>
                </c:pt>
                <c:pt idx="8302">
                  <c:v>1.8757600000000001</c:v>
                </c:pt>
                <c:pt idx="8303">
                  <c:v>2.10066</c:v>
                </c:pt>
                <c:pt idx="8304">
                  <c:v>2.01065</c:v>
                </c:pt>
                <c:pt idx="8305">
                  <c:v>#N/A</c:v>
                </c:pt>
                <c:pt idx="8306">
                  <c:v>2.1086399999999998</c:v>
                </c:pt>
                <c:pt idx="8307">
                  <c:v>2.5818099999999999</c:v>
                </c:pt>
                <c:pt idx="8308">
                  <c:v>2.5207899999999999</c:v>
                </c:pt>
                <c:pt idx="8309">
                  <c:v>#N/A</c:v>
                </c:pt>
                <c:pt idx="8310">
                  <c:v>2.7244899999999999</c:v>
                </c:pt>
                <c:pt idx="8311">
                  <c:v>2.1627100000000001</c:v>
                </c:pt>
                <c:pt idx="8312">
                  <c:v>2.6289199999999999</c:v>
                </c:pt>
                <c:pt idx="8313">
                  <c:v>2.1415299999999999</c:v>
                </c:pt>
                <c:pt idx="8314">
                  <c:v>#N/A</c:v>
                </c:pt>
                <c:pt idx="8315">
                  <c:v>1.42527</c:v>
                </c:pt>
                <c:pt idx="8316">
                  <c:v>1.31047</c:v>
                </c:pt>
                <c:pt idx="8317">
                  <c:v>2.0033799999999999</c:v>
                </c:pt>
                <c:pt idx="8318">
                  <c:v>#N/A</c:v>
                </c:pt>
                <c:pt idx="8319">
                  <c:v>2.1029300000000002</c:v>
                </c:pt>
                <c:pt idx="8320">
                  <c:v>2.49166</c:v>
                </c:pt>
                <c:pt idx="8321">
                  <c:v>2.8468100000000001</c:v>
                </c:pt>
                <c:pt idx="8322">
                  <c:v>2.3218800000000002</c:v>
                </c:pt>
                <c:pt idx="8323">
                  <c:v>#N/A</c:v>
                </c:pt>
                <c:pt idx="8324">
                  <c:v>2.4513500000000001</c:v>
                </c:pt>
                <c:pt idx="8325">
                  <c:v>2.5663399999999998</c:v>
                </c:pt>
                <c:pt idx="8326">
                  <c:v>2.1486800000000001</c:v>
                </c:pt>
                <c:pt idx="8327">
                  <c:v>1.86155</c:v>
                </c:pt>
                <c:pt idx="8328">
                  <c:v>#N/A</c:v>
                </c:pt>
                <c:pt idx="8329">
                  <c:v>2.18607</c:v>
                </c:pt>
                <c:pt idx="8330">
                  <c:v>1.69716</c:v>
                </c:pt>
                <c:pt idx="8331">
                  <c:v>1.8334299999999999</c:v>
                </c:pt>
                <c:pt idx="8332">
                  <c:v>#N/A</c:v>
                </c:pt>
                <c:pt idx="8333">
                  <c:v>1.9372400000000001</c:v>
                </c:pt>
                <c:pt idx="8334">
                  <c:v>2.1468099999999999</c:v>
                </c:pt>
                <c:pt idx="8335">
                  <c:v>#N/A</c:v>
                </c:pt>
                <c:pt idx="8336">
                  <c:v>2.1647599999999998</c:v>
                </c:pt>
                <c:pt idx="8337">
                  <c:v>2.4595099999999999</c:v>
                </c:pt>
                <c:pt idx="8338">
                  <c:v>#N/A</c:v>
                </c:pt>
                <c:pt idx="8339">
                  <c:v>1.85859</c:v>
                </c:pt>
                <c:pt idx="8340">
                  <c:v>#N/A</c:v>
                </c:pt>
                <c:pt idx="8341">
                  <c:v>2.0618599999999998</c:v>
                </c:pt>
                <c:pt idx="8342">
                  <c:v>2.2334900000000002</c:v>
                </c:pt>
                <c:pt idx="8343">
                  <c:v>2.3469899999999999</c:v>
                </c:pt>
                <c:pt idx="8344">
                  <c:v>2.4200300000000001</c:v>
                </c:pt>
                <c:pt idx="8345">
                  <c:v>#N/A</c:v>
                </c:pt>
                <c:pt idx="8346">
                  <c:v>2.5884900000000002</c:v>
                </c:pt>
                <c:pt idx="8347">
                  <c:v>2.19936</c:v>
                </c:pt>
                <c:pt idx="8348">
                  <c:v>2.8565800000000001</c:v>
                </c:pt>
                <c:pt idx="8349">
                  <c:v>#N/A</c:v>
                </c:pt>
                <c:pt idx="8350">
                  <c:v>1.71997</c:v>
                </c:pt>
                <c:pt idx="8351">
                  <c:v>1.50763</c:v>
                </c:pt>
                <c:pt idx="8352">
                  <c:v>1.84836</c:v>
                </c:pt>
                <c:pt idx="8353">
                  <c:v>1.7462299999999999</c:v>
                </c:pt>
                <c:pt idx="8354">
                  <c:v>#N/A</c:v>
                </c:pt>
                <c:pt idx="8355">
                  <c:v>2.1950799999999999</c:v>
                </c:pt>
                <c:pt idx="8356">
                  <c:v>2.4225300000000001</c:v>
                </c:pt>
                <c:pt idx="8357">
                  <c:v>2.6311900000000001</c:v>
                </c:pt>
                <c:pt idx="8358">
                  <c:v>2.6830500000000002</c:v>
                </c:pt>
                <c:pt idx="8359">
                  <c:v>#N/A</c:v>
                </c:pt>
                <c:pt idx="8360">
                  <c:v>2.1446499999999999</c:v>
                </c:pt>
                <c:pt idx="8361">
                  <c:v>2.3641299999999998</c:v>
                </c:pt>
                <c:pt idx="8362">
                  <c:v>2.3425699999999998</c:v>
                </c:pt>
                <c:pt idx="8363">
                  <c:v>#N/A</c:v>
                </c:pt>
                <c:pt idx="8364">
                  <c:v>1.9863299999999999</c:v>
                </c:pt>
                <c:pt idx="8365">
                  <c:v>2.9729999999999999</c:v>
                </c:pt>
                <c:pt idx="8366">
                  <c:v>2.6156600000000001</c:v>
                </c:pt>
                <c:pt idx="8367">
                  <c:v>2.4980199999999999</c:v>
                </c:pt>
                <c:pt idx="8368">
                  <c:v>#N/A</c:v>
                </c:pt>
                <c:pt idx="8369">
                  <c:v>2.2026300000000001</c:v>
                </c:pt>
                <c:pt idx="8370">
                  <c:v>2.53146</c:v>
                </c:pt>
                <c:pt idx="8371">
                  <c:v>2.18526</c:v>
                </c:pt>
                <c:pt idx="8372">
                  <c:v>#N/A</c:v>
                </c:pt>
                <c:pt idx="8373">
                  <c:v>1.3728800000000001</c:v>
                </c:pt>
                <c:pt idx="8374">
                  <c:v>1.8972</c:v>
                </c:pt>
                <c:pt idx="8375">
                  <c:v>2.2343700000000002</c:v>
                </c:pt>
                <c:pt idx="8376">
                  <c:v>#N/A</c:v>
                </c:pt>
                <c:pt idx="8377">
                  <c:v>2.2277100000000001</c:v>
                </c:pt>
                <c:pt idx="8378">
                  <c:v>2.6967300000000001</c:v>
                </c:pt>
                <c:pt idx="8379">
                  <c:v>2.7953399999999999</c:v>
                </c:pt>
                <c:pt idx="8380">
                  <c:v>2.3765000000000001</c:v>
                </c:pt>
                <c:pt idx="8381">
                  <c:v>#N/A</c:v>
                </c:pt>
                <c:pt idx="8382">
                  <c:v>2.4727800000000002</c:v>
                </c:pt>
                <c:pt idx="8383">
                  <c:v>2.4076</c:v>
                </c:pt>
                <c:pt idx="8384">
                  <c:v>2.47221</c:v>
                </c:pt>
                <c:pt idx="8385">
                  <c:v>2.5705399999999998</c:v>
                </c:pt>
                <c:pt idx="8386">
                  <c:v>#N/A</c:v>
                </c:pt>
                <c:pt idx="8387">
                  <c:v>3.0902599999999998</c:v>
                </c:pt>
                <c:pt idx="8388">
                  <c:v>2.4493900000000002</c:v>
                </c:pt>
                <c:pt idx="8389">
                  <c:v>2.2381099999999998</c:v>
                </c:pt>
                <c:pt idx="8390">
                  <c:v>#N/A</c:v>
                </c:pt>
                <c:pt idx="8391">
                  <c:v>1.9440999999999999</c:v>
                </c:pt>
                <c:pt idx="8392">
                  <c:v>2.4425500000000002</c:v>
                </c:pt>
                <c:pt idx="8393">
                  <c:v>2.00244</c:v>
                </c:pt>
                <c:pt idx="8394">
                  <c:v>2.2267199999999998</c:v>
                </c:pt>
                <c:pt idx="8395">
                  <c:v>#N/A</c:v>
                </c:pt>
                <c:pt idx="8396">
                  <c:v>2.4090699999999998</c:v>
                </c:pt>
                <c:pt idx="8397">
                  <c:v>2.4658799999999998</c:v>
                </c:pt>
                <c:pt idx="8398">
                  <c:v>2.3090600000000001</c:v>
                </c:pt>
                <c:pt idx="8399">
                  <c:v>#N/A</c:v>
                </c:pt>
                <c:pt idx="8400">
                  <c:v>2.2474699999999999</c:v>
                </c:pt>
                <c:pt idx="8401">
                  <c:v>2.3586299999999998</c:v>
                </c:pt>
                <c:pt idx="8402">
                  <c:v>2.6042100000000001</c:v>
                </c:pt>
                <c:pt idx="8403">
                  <c:v>#N/A</c:v>
                </c:pt>
                <c:pt idx="8404">
                  <c:v>2.24152</c:v>
                </c:pt>
                <c:pt idx="8405">
                  <c:v>2.8605100000000001</c:v>
                </c:pt>
                <c:pt idx="8406">
                  <c:v>2.8092299999999999</c:v>
                </c:pt>
                <c:pt idx="8407">
                  <c:v>2.4054600000000002</c:v>
                </c:pt>
                <c:pt idx="8408">
                  <c:v>#N/A</c:v>
                </c:pt>
                <c:pt idx="8409">
                  <c:v>1.6794199999999999</c:v>
                </c:pt>
                <c:pt idx="8410">
                  <c:v>#N/A</c:v>
                </c:pt>
                <c:pt idx="8411">
                  <c:v>1.3785000000000001</c:v>
                </c:pt>
                <c:pt idx="8412">
                  <c:v>1.7511699999999999</c:v>
                </c:pt>
                <c:pt idx="8413">
                  <c:v>1.71052</c:v>
                </c:pt>
                <c:pt idx="8414">
                  <c:v>#N/A</c:v>
                </c:pt>
                <c:pt idx="8415">
                  <c:v>2.0813700000000002</c:v>
                </c:pt>
                <c:pt idx="8416">
                  <c:v>2.0867300000000002</c:v>
                </c:pt>
                <c:pt idx="8417">
                  <c:v>1.88235</c:v>
                </c:pt>
                <c:pt idx="8418">
                  <c:v>2.2702100000000001</c:v>
                </c:pt>
                <c:pt idx="8419">
                  <c:v>#N/A</c:v>
                </c:pt>
                <c:pt idx="8420">
                  <c:v>2.2675000000000001</c:v>
                </c:pt>
                <c:pt idx="8421">
                  <c:v>2.3529399999999998</c:v>
                </c:pt>
                <c:pt idx="8422">
                  <c:v>2.2156400000000001</c:v>
                </c:pt>
                <c:pt idx="8423">
                  <c:v>2.3898700000000002</c:v>
                </c:pt>
                <c:pt idx="8424">
                  <c:v>#N/A</c:v>
                </c:pt>
                <c:pt idx="8425">
                  <c:v>3.1460400000000002</c:v>
                </c:pt>
                <c:pt idx="8426">
                  <c:v>2.9941399999999998</c:v>
                </c:pt>
                <c:pt idx="8427">
                  <c:v>2.72533</c:v>
                </c:pt>
                <c:pt idx="8428">
                  <c:v>#N/A</c:v>
                </c:pt>
                <c:pt idx="8429">
                  <c:v>2.2061999999999999</c:v>
                </c:pt>
                <c:pt idx="8430">
                  <c:v>2.4274399999999998</c:v>
                </c:pt>
                <c:pt idx="8431">
                  <c:v>1.42876</c:v>
                </c:pt>
                <c:pt idx="8432">
                  <c:v>1.54047</c:v>
                </c:pt>
                <c:pt idx="8433">
                  <c:v>#N/A</c:v>
                </c:pt>
                <c:pt idx="8434">
                  <c:v>1.8689899999999999</c:v>
                </c:pt>
                <c:pt idx="8435">
                  <c:v>2.2159399999999998</c:v>
                </c:pt>
                <c:pt idx="8436">
                  <c:v>1.8717600000000001</c:v>
                </c:pt>
                <c:pt idx="8437">
                  <c:v>#N/A</c:v>
                </c:pt>
                <c:pt idx="8438">
                  <c:v>2.1480299999999999</c:v>
                </c:pt>
                <c:pt idx="8439">
                  <c:v>2.26458</c:v>
                </c:pt>
                <c:pt idx="8440">
                  <c:v>2.39717</c:v>
                </c:pt>
                <c:pt idx="8441">
                  <c:v>#N/A</c:v>
                </c:pt>
                <c:pt idx="8442">
                  <c:v>2.1272199999999999</c:v>
                </c:pt>
                <c:pt idx="8443">
                  <c:v>2.4573999999999998</c:v>
                </c:pt>
                <c:pt idx="8444">
                  <c:v>1.9738100000000001</c:v>
                </c:pt>
                <c:pt idx="8445">
                  <c:v>1.97465</c:v>
                </c:pt>
                <c:pt idx="8446">
                  <c:v>#N/A</c:v>
                </c:pt>
                <c:pt idx="8447">
                  <c:v>2.6307</c:v>
                </c:pt>
                <c:pt idx="8448">
                  <c:v>2.7388699999999999</c:v>
                </c:pt>
                <c:pt idx="8449">
                  <c:v>2.41168</c:v>
                </c:pt>
                <c:pt idx="8450">
                  <c:v>2.0061200000000001</c:v>
                </c:pt>
                <c:pt idx="8451">
                  <c:v>#N/A</c:v>
                </c:pt>
                <c:pt idx="8452">
                  <c:v>1.72444</c:v>
                </c:pt>
                <c:pt idx="8453">
                  <c:v>1.8654900000000001</c:v>
                </c:pt>
                <c:pt idx="8454">
                  <c:v>1.81192</c:v>
                </c:pt>
                <c:pt idx="8455">
                  <c:v>#N/A</c:v>
                </c:pt>
                <c:pt idx="8456">
                  <c:v>2.31881</c:v>
                </c:pt>
                <c:pt idx="8457">
                  <c:v>2.8292299999999999</c:v>
                </c:pt>
                <c:pt idx="8458">
                  <c:v>3.04738</c:v>
                </c:pt>
                <c:pt idx="8459">
                  <c:v>#N/A</c:v>
                </c:pt>
                <c:pt idx="8460">
                  <c:v>2.4032800000000001</c:v>
                </c:pt>
                <c:pt idx="8461">
                  <c:v>2.3723000000000001</c:v>
                </c:pt>
                <c:pt idx="8462">
                  <c:v>2.32212</c:v>
                </c:pt>
                <c:pt idx="8463">
                  <c:v>2.6151499999999999</c:v>
                </c:pt>
                <c:pt idx="8464">
                  <c:v>#N/A</c:v>
                </c:pt>
                <c:pt idx="8465">
                  <c:v>3.1337100000000002</c:v>
                </c:pt>
                <c:pt idx="8466">
                  <c:v>2.1909700000000001</c:v>
                </c:pt>
                <c:pt idx="8467">
                  <c:v>2.6191</c:v>
                </c:pt>
                <c:pt idx="8468">
                  <c:v>#N/A</c:v>
                </c:pt>
                <c:pt idx="8469">
                  <c:v>2.26031</c:v>
                </c:pt>
                <c:pt idx="8470">
                  <c:v>2.5891500000000001</c:v>
                </c:pt>
                <c:pt idx="8471">
                  <c:v>2.0960299999999998</c:v>
                </c:pt>
                <c:pt idx="8472">
                  <c:v>#N/A</c:v>
                </c:pt>
                <c:pt idx="8473">
                  <c:v>2.0580599999999998</c:v>
                </c:pt>
                <c:pt idx="8474">
                  <c:v>1.6211100000000001</c:v>
                </c:pt>
                <c:pt idx="8475">
                  <c:v>1.7867999999999999</c:v>
                </c:pt>
                <c:pt idx="8476">
                  <c:v>1.8468199999999999</c:v>
                </c:pt>
                <c:pt idx="8477">
                  <c:v>#N/A</c:v>
                </c:pt>
                <c:pt idx="8478">
                  <c:v>2.4509699999999999</c:v>
                </c:pt>
                <c:pt idx="8479">
                  <c:v>2.6487599999999998</c:v>
                </c:pt>
                <c:pt idx="8480">
                  <c:v>#N/A</c:v>
                </c:pt>
                <c:pt idx="8481">
                  <c:v>2.2799200000000002</c:v>
                </c:pt>
                <c:pt idx="8482">
                  <c:v>2.0880700000000001</c:v>
                </c:pt>
                <c:pt idx="8483">
                  <c:v>#N/A</c:v>
                </c:pt>
                <c:pt idx="8484">
                  <c:v>2.7223899999999999</c:v>
                </c:pt>
                <c:pt idx="8485">
                  <c:v>2.3746200000000002</c:v>
                </c:pt>
                <c:pt idx="8486">
                  <c:v>2.9611900000000002</c:v>
                </c:pt>
                <c:pt idx="8487">
                  <c:v>#N/A</c:v>
                </c:pt>
                <c:pt idx="8488">
                  <c:v>2.79549</c:v>
                </c:pt>
                <c:pt idx="8489">
                  <c:v>2.5543900000000002</c:v>
                </c:pt>
                <c:pt idx="8490">
                  <c:v>#N/A</c:v>
                </c:pt>
                <c:pt idx="8491">
                  <c:v>1.8399799999999999</c:v>
                </c:pt>
                <c:pt idx="8492">
                  <c:v>2.0481799999999999</c:v>
                </c:pt>
                <c:pt idx="8493">
                  <c:v>2.4961600000000002</c:v>
                </c:pt>
                <c:pt idx="8494">
                  <c:v>2.6013700000000002</c:v>
                </c:pt>
                <c:pt idx="8495">
                  <c:v>#N/A</c:v>
                </c:pt>
                <c:pt idx="8496">
                  <c:v>2.49343</c:v>
                </c:pt>
                <c:pt idx="8497">
                  <c:v>2.54894</c:v>
                </c:pt>
                <c:pt idx="8498">
                  <c:v>2.3603299999999998</c:v>
                </c:pt>
                <c:pt idx="8499">
                  <c:v>#N/A</c:v>
                </c:pt>
                <c:pt idx="8500">
                  <c:v>2.468</c:v>
                </c:pt>
                <c:pt idx="8501">
                  <c:v>2.5088499999999998</c:v>
                </c:pt>
                <c:pt idx="8502">
                  <c:v>2.3515199999999998</c:v>
                </c:pt>
                <c:pt idx="8503">
                  <c:v>#N/A</c:v>
                </c:pt>
                <c:pt idx="8504">
                  <c:v>2.0556299999999998</c:v>
                </c:pt>
                <c:pt idx="8505">
                  <c:v>2.8655200000000001</c:v>
                </c:pt>
                <c:pt idx="8506">
                  <c:v>2.3092999999999999</c:v>
                </c:pt>
                <c:pt idx="8507">
                  <c:v>#N/A</c:v>
                </c:pt>
                <c:pt idx="8508">
                  <c:v>2.6534200000000001</c:v>
                </c:pt>
                <c:pt idx="8509">
                  <c:v>1.78928</c:v>
                </c:pt>
                <c:pt idx="8510">
                  <c:v>2.2974100000000002</c:v>
                </c:pt>
                <c:pt idx="8511">
                  <c:v>2.0134099999999999</c:v>
                </c:pt>
                <c:pt idx="8512">
                  <c:v>#N/A</c:v>
                </c:pt>
                <c:pt idx="8513">
                  <c:v>1.97366</c:v>
                </c:pt>
                <c:pt idx="8514">
                  <c:v>2.0171700000000001</c:v>
                </c:pt>
                <c:pt idx="8515">
                  <c:v>2.1684999999999999</c:v>
                </c:pt>
                <c:pt idx="8516">
                  <c:v>2.5070399999999999</c:v>
                </c:pt>
                <c:pt idx="8517">
                  <c:v>#N/A</c:v>
                </c:pt>
                <c:pt idx="8518">
                  <c:v>2.8288700000000002</c:v>
                </c:pt>
                <c:pt idx="8519">
                  <c:v>2.4326099999999999</c:v>
                </c:pt>
                <c:pt idx="8520">
                  <c:v>2.3788499999999999</c:v>
                </c:pt>
                <c:pt idx="8521">
                  <c:v>#N/A</c:v>
                </c:pt>
                <c:pt idx="8522">
                  <c:v>2.2214499999999999</c:v>
                </c:pt>
                <c:pt idx="8523">
                  <c:v>2.4992800000000002</c:v>
                </c:pt>
                <c:pt idx="8524">
                  <c:v>2.5900099999999999</c:v>
                </c:pt>
                <c:pt idx="8525">
                  <c:v>2.4890099999999999</c:v>
                </c:pt>
                <c:pt idx="8526">
                  <c:v>#N/A</c:v>
                </c:pt>
                <c:pt idx="8527">
                  <c:v>2.0901000000000001</c:v>
                </c:pt>
                <c:pt idx="8528">
                  <c:v>2.0309400000000002</c:v>
                </c:pt>
                <c:pt idx="8529">
                  <c:v>1.9757199999999999</c:v>
                </c:pt>
                <c:pt idx="8530">
                  <c:v>#N/A</c:v>
                </c:pt>
                <c:pt idx="8531">
                  <c:v>1.97014</c:v>
                </c:pt>
                <c:pt idx="8532">
                  <c:v>2.1467299999999998</c:v>
                </c:pt>
                <c:pt idx="8533">
                  <c:v>1.6082700000000001</c:v>
                </c:pt>
                <c:pt idx="8534">
                  <c:v>2.2097500000000001</c:v>
                </c:pt>
                <c:pt idx="8535">
                  <c:v>#N/A</c:v>
                </c:pt>
                <c:pt idx="8536">
                  <c:v>1.6855500000000001</c:v>
                </c:pt>
                <c:pt idx="8537">
                  <c:v>2.2815300000000001</c:v>
                </c:pt>
                <c:pt idx="8538">
                  <c:v>2.4680200000000001</c:v>
                </c:pt>
                <c:pt idx="8539">
                  <c:v>#N/A</c:v>
                </c:pt>
                <c:pt idx="8540">
                  <c:v>2.3835600000000001</c:v>
                </c:pt>
                <c:pt idx="8541">
                  <c:v>2.63632</c:v>
                </c:pt>
                <c:pt idx="8542">
                  <c:v>2.3123999999999998</c:v>
                </c:pt>
                <c:pt idx="8543">
                  <c:v>2.1144500000000002</c:v>
                </c:pt>
                <c:pt idx="8544">
                  <c:v>#N/A</c:v>
                </c:pt>
                <c:pt idx="8545">
                  <c:v>2.0081199999999999</c:v>
                </c:pt>
                <c:pt idx="8546">
                  <c:v>2.7111200000000002</c:v>
                </c:pt>
                <c:pt idx="8547">
                  <c:v>2.3841399999999999</c:v>
                </c:pt>
                <c:pt idx="8548">
                  <c:v>#N/A</c:v>
                </c:pt>
                <c:pt idx="8549">
                  <c:v>2.2613099999999999</c:v>
                </c:pt>
                <c:pt idx="8550">
                  <c:v>1.7022999999999999</c:v>
                </c:pt>
                <c:pt idx="8551">
                  <c:v>1.85554</c:v>
                </c:pt>
                <c:pt idx="8552">
                  <c:v>#N/A</c:v>
                </c:pt>
                <c:pt idx="8553">
                  <c:v>2.08806</c:v>
                </c:pt>
                <c:pt idx="8554">
                  <c:v>#N/A</c:v>
                </c:pt>
                <c:pt idx="8555">
                  <c:v>2.2668599999999999</c:v>
                </c:pt>
                <c:pt idx="8556">
                  <c:v>2.0304000000000002</c:v>
                </c:pt>
                <c:pt idx="8557">
                  <c:v>2.4626399999999999</c:v>
                </c:pt>
                <c:pt idx="8558">
                  <c:v>2.1506099999999999</c:v>
                </c:pt>
                <c:pt idx="8559">
                  <c:v>#N/A</c:v>
                </c:pt>
                <c:pt idx="8560">
                  <c:v>2.4777900000000002</c:v>
                </c:pt>
                <c:pt idx="8561">
                  <c:v>2.3704200000000002</c:v>
                </c:pt>
                <c:pt idx="8562">
                  <c:v>2.6242299999999998</c:v>
                </c:pt>
                <c:pt idx="8563">
                  <c:v>#N/A</c:v>
                </c:pt>
                <c:pt idx="8564">
                  <c:v>2.3382200000000002</c:v>
                </c:pt>
                <c:pt idx="8565">
                  <c:v>2.4318300000000002</c:v>
                </c:pt>
                <c:pt idx="8566">
                  <c:v>2.9784799999999998</c:v>
                </c:pt>
                <c:pt idx="8567">
                  <c:v>#N/A</c:v>
                </c:pt>
                <c:pt idx="8568">
                  <c:v>2.6882100000000002</c:v>
                </c:pt>
                <c:pt idx="8569">
                  <c:v>2.1938800000000001</c:v>
                </c:pt>
                <c:pt idx="8570">
                  <c:v>1.8878299999999999</c:v>
                </c:pt>
                <c:pt idx="8571">
                  <c:v>2.1232700000000002</c:v>
                </c:pt>
                <c:pt idx="8572">
                  <c:v>#N/A</c:v>
                </c:pt>
                <c:pt idx="8573">
                  <c:v>1.7164600000000001</c:v>
                </c:pt>
                <c:pt idx="8574">
                  <c:v>2.1238100000000002</c:v>
                </c:pt>
                <c:pt idx="8575">
                  <c:v>2.7263700000000002</c:v>
                </c:pt>
                <c:pt idx="8576">
                  <c:v>2.6495799999999998</c:v>
                </c:pt>
                <c:pt idx="8577">
                  <c:v>#N/A</c:v>
                </c:pt>
                <c:pt idx="8578">
                  <c:v>2.7148099999999999</c:v>
                </c:pt>
                <c:pt idx="8579">
                  <c:v>2.51444</c:v>
                </c:pt>
                <c:pt idx="8580">
                  <c:v>2.3944299999999998</c:v>
                </c:pt>
                <c:pt idx="8581">
                  <c:v>#N/A</c:v>
                </c:pt>
                <c:pt idx="8582">
                  <c:v>2.2602500000000001</c:v>
                </c:pt>
                <c:pt idx="8583">
                  <c:v>2.5759400000000001</c:v>
                </c:pt>
                <c:pt idx="8584">
                  <c:v>2.4545300000000001</c:v>
                </c:pt>
                <c:pt idx="8585">
                  <c:v>2.7438899999999999</c:v>
                </c:pt>
                <c:pt idx="8586">
                  <c:v>#N/A</c:v>
                </c:pt>
                <c:pt idx="8587">
                  <c:v>2.4597000000000002</c:v>
                </c:pt>
                <c:pt idx="8588">
                  <c:v>2.3273000000000001</c:v>
                </c:pt>
                <c:pt idx="8589">
                  <c:v>#N/A</c:v>
                </c:pt>
                <c:pt idx="8590">
                  <c:v>2.8053900000000001</c:v>
                </c:pt>
                <c:pt idx="8591">
                  <c:v>1.9639500000000001</c:v>
                </c:pt>
                <c:pt idx="8592">
                  <c:v>2.1424599999999998</c:v>
                </c:pt>
                <c:pt idx="8593">
                  <c:v>2.0934300000000001</c:v>
                </c:pt>
                <c:pt idx="8594">
                  <c:v>#N/A</c:v>
                </c:pt>
                <c:pt idx="8595">
                  <c:v>2.6816</c:v>
                </c:pt>
                <c:pt idx="8596">
                  <c:v>2.67835</c:v>
                </c:pt>
                <c:pt idx="8597">
                  <c:v>2.8829699999999998</c:v>
                </c:pt>
                <c:pt idx="8598">
                  <c:v>#N/A</c:v>
                </c:pt>
                <c:pt idx="8599">
                  <c:v>3.2061199999999999</c:v>
                </c:pt>
                <c:pt idx="8600">
                  <c:v>2.9809800000000002</c:v>
                </c:pt>
                <c:pt idx="8601">
                  <c:v>3.0501800000000001</c:v>
                </c:pt>
                <c:pt idx="8602">
                  <c:v>2.9825300000000001</c:v>
                </c:pt>
                <c:pt idx="8603">
                  <c:v>#N/A</c:v>
                </c:pt>
                <c:pt idx="8604">
                  <c:v>3.0614499999999998</c:v>
                </c:pt>
                <c:pt idx="8605">
                  <c:v>2.9097</c:v>
                </c:pt>
                <c:pt idx="8606">
                  <c:v>3.2951199999999998</c:v>
                </c:pt>
                <c:pt idx="8607">
                  <c:v>#N/A</c:v>
                </c:pt>
                <c:pt idx="8608">
                  <c:v>3.0807199999999999</c:v>
                </c:pt>
                <c:pt idx="8609">
                  <c:v>2.9291399999999999</c:v>
                </c:pt>
                <c:pt idx="8610">
                  <c:v>2.4065099999999999</c:v>
                </c:pt>
                <c:pt idx="8611">
                  <c:v>2.7049099999999999</c:v>
                </c:pt>
                <c:pt idx="8612">
                  <c:v>#N/A</c:v>
                </c:pt>
                <c:pt idx="8613">
                  <c:v>2.7396199999999999</c:v>
                </c:pt>
                <c:pt idx="8614">
                  <c:v>3.0859800000000002</c:v>
                </c:pt>
                <c:pt idx="8615">
                  <c:v>2.8534000000000002</c:v>
                </c:pt>
                <c:pt idx="8616">
                  <c:v>#N/A</c:v>
                </c:pt>
                <c:pt idx="8617">
                  <c:v>2.9632499999999999</c:v>
                </c:pt>
                <c:pt idx="8618">
                  <c:v>3.44787</c:v>
                </c:pt>
                <c:pt idx="8619">
                  <c:v>3.09992</c:v>
                </c:pt>
                <c:pt idx="8620">
                  <c:v>#N/A</c:v>
                </c:pt>
                <c:pt idx="8621">
                  <c:v>3.0897800000000002</c:v>
                </c:pt>
                <c:pt idx="8622">
                  <c:v>3.0426099999999998</c:v>
                </c:pt>
                <c:pt idx="8623">
                  <c:v>2.8502299999999998</c:v>
                </c:pt>
                <c:pt idx="8624">
                  <c:v>#N/A</c:v>
                </c:pt>
                <c:pt idx="8625">
                  <c:v>3.1967599999999998</c:v>
                </c:pt>
                <c:pt idx="8626">
                  <c:v>3.2446799999999998</c:v>
                </c:pt>
                <c:pt idx="8627">
                  <c:v>3.4277099999999998</c:v>
                </c:pt>
                <c:pt idx="8628">
                  <c:v>#N/A</c:v>
                </c:pt>
                <c:pt idx="8629">
                  <c:v>3.0762800000000001</c:v>
                </c:pt>
                <c:pt idx="8630">
                  <c:v>2.89235</c:v>
                </c:pt>
                <c:pt idx="8631">
                  <c:v>3.0754000000000001</c:v>
                </c:pt>
                <c:pt idx="8632">
                  <c:v>#N/A</c:v>
                </c:pt>
                <c:pt idx="8633">
                  <c:v>3.1527599999999998</c:v>
                </c:pt>
                <c:pt idx="8634">
                  <c:v>2.7088399999999999</c:v>
                </c:pt>
                <c:pt idx="8635">
                  <c:v>3.7707099999999998</c:v>
                </c:pt>
                <c:pt idx="8636">
                  <c:v>#N/A</c:v>
                </c:pt>
                <c:pt idx="8637">
                  <c:v>4.2111599999999996</c:v>
                </c:pt>
                <c:pt idx="8638">
                  <c:v>3.9664600000000001</c:v>
                </c:pt>
                <c:pt idx="8639">
                  <c:v>3.4538199999999999</c:v>
                </c:pt>
                <c:pt idx="8640">
                  <c:v>3.0428999999999999</c:v>
                </c:pt>
                <c:pt idx="8641">
                  <c:v>#N/A</c:v>
                </c:pt>
                <c:pt idx="8642">
                  <c:v>2.4753099999999999</c:v>
                </c:pt>
                <c:pt idx="8643">
                  <c:v>2.4085000000000001</c:v>
                </c:pt>
                <c:pt idx="8644">
                  <c:v>3.0941299999999998</c:v>
                </c:pt>
                <c:pt idx="8645">
                  <c:v>#N/A</c:v>
                </c:pt>
                <c:pt idx="8646">
                  <c:v>3.2579199999999999</c:v>
                </c:pt>
                <c:pt idx="8647">
                  <c:v>3.46339</c:v>
                </c:pt>
                <c:pt idx="8648">
                  <c:v>3.1060500000000002</c:v>
                </c:pt>
                <c:pt idx="8649">
                  <c:v>#N/A</c:v>
                </c:pt>
                <c:pt idx="8650">
                  <c:v>2.7400899999999999</c:v>
                </c:pt>
                <c:pt idx="8651">
                  <c:v>2.53491</c:v>
                </c:pt>
                <c:pt idx="8652">
                  <c:v>2.3489</c:v>
                </c:pt>
                <c:pt idx="8653">
                  <c:v>#N/A</c:v>
                </c:pt>
                <c:pt idx="8654">
                  <c:v>2.6582599999999998</c:v>
                </c:pt>
                <c:pt idx="8655">
                  <c:v>3.09117</c:v>
                </c:pt>
                <c:pt idx="8656">
                  <c:v>3.4230700000000001</c:v>
                </c:pt>
                <c:pt idx="8657">
                  <c:v>3.3490899999999999</c:v>
                </c:pt>
                <c:pt idx="8658">
                  <c:v>#N/A</c:v>
                </c:pt>
                <c:pt idx="8659">
                  <c:v>3.7671800000000002</c:v>
                </c:pt>
                <c:pt idx="8660">
                  <c:v>3.5647899999999999</c:v>
                </c:pt>
                <c:pt idx="8661">
                  <c:v>3.48963</c:v>
                </c:pt>
                <c:pt idx="8662">
                  <c:v>#N/A</c:v>
                </c:pt>
                <c:pt idx="8663">
                  <c:v>3.6480299999999999</c:v>
                </c:pt>
                <c:pt idx="8664">
                  <c:v>3.1171700000000002</c:v>
                </c:pt>
                <c:pt idx="8665">
                  <c:v>3.2898800000000001</c:v>
                </c:pt>
                <c:pt idx="8666">
                  <c:v>2.8103199999999999</c:v>
                </c:pt>
                <c:pt idx="8667">
                  <c:v>#N/A</c:v>
                </c:pt>
                <c:pt idx="8668">
                  <c:v>3.2227000000000001</c:v>
                </c:pt>
                <c:pt idx="8669">
                  <c:v>3.07972</c:v>
                </c:pt>
                <c:pt idx="8670">
                  <c:v>3.36192</c:v>
                </c:pt>
                <c:pt idx="8671">
                  <c:v>2.9699200000000001</c:v>
                </c:pt>
                <c:pt idx="8672">
                  <c:v>#N/A</c:v>
                </c:pt>
                <c:pt idx="8673">
                  <c:v>3.0503200000000001</c:v>
                </c:pt>
                <c:pt idx="8674">
                  <c:v>2.3196500000000002</c:v>
                </c:pt>
                <c:pt idx="8675">
                  <c:v>2.80159</c:v>
                </c:pt>
                <c:pt idx="8676">
                  <c:v>#N/A</c:v>
                </c:pt>
                <c:pt idx="8677">
                  <c:v>2.9298099999999998</c:v>
                </c:pt>
                <c:pt idx="8678">
                  <c:v>3.5447000000000002</c:v>
                </c:pt>
                <c:pt idx="8679">
                  <c:v>3.3578199999999998</c:v>
                </c:pt>
                <c:pt idx="8680">
                  <c:v>3.5695199999999998</c:v>
                </c:pt>
                <c:pt idx="8681">
                  <c:v>#N/A</c:v>
                </c:pt>
                <c:pt idx="8682">
                  <c:v>3.5261200000000001</c:v>
                </c:pt>
                <c:pt idx="8683">
                  <c:v>3.5152199999999998</c:v>
                </c:pt>
                <c:pt idx="8684">
                  <c:v>3.8508300000000002</c:v>
                </c:pt>
                <c:pt idx="8685">
                  <c:v>#N/A</c:v>
                </c:pt>
                <c:pt idx="8686">
                  <c:v>3.3542700000000001</c:v>
                </c:pt>
                <c:pt idx="8687">
                  <c:v>3.3559899999999998</c:v>
                </c:pt>
                <c:pt idx="8688">
                  <c:v>2.6337799999999998</c:v>
                </c:pt>
                <c:pt idx="8689">
                  <c:v>#N/A</c:v>
                </c:pt>
                <c:pt idx="8690">
                  <c:v>3.49444</c:v>
                </c:pt>
                <c:pt idx="8691">
                  <c:v>3.31656</c:v>
                </c:pt>
                <c:pt idx="8692">
                  <c:v>3.0253000000000001</c:v>
                </c:pt>
                <c:pt idx="8693">
                  <c:v>3.0423100000000001</c:v>
                </c:pt>
                <c:pt idx="8694">
                  <c:v>#N/A</c:v>
                </c:pt>
                <c:pt idx="8695">
                  <c:v>3.1487599999999998</c:v>
                </c:pt>
                <c:pt idx="8696">
                  <c:v>#N/A</c:v>
                </c:pt>
                <c:pt idx="8697">
                  <c:v>3.0722100000000001</c:v>
                </c:pt>
                <c:pt idx="8698">
                  <c:v>2.5709200000000001</c:v>
                </c:pt>
                <c:pt idx="8699">
                  <c:v>2.7590699999999999</c:v>
                </c:pt>
                <c:pt idx="8700">
                  <c:v>#N/A</c:v>
                </c:pt>
                <c:pt idx="8701">
                  <c:v>3.0573700000000001</c:v>
                </c:pt>
                <c:pt idx="8702">
                  <c:v>3.0303599999999999</c:v>
                </c:pt>
                <c:pt idx="8703">
                  <c:v>3.2467999999999999</c:v>
                </c:pt>
                <c:pt idx="8704">
                  <c:v>3.66357</c:v>
                </c:pt>
                <c:pt idx="8705">
                  <c:v>#N/A</c:v>
                </c:pt>
                <c:pt idx="8706">
                  <c:v>3.4115199999999999</c:v>
                </c:pt>
                <c:pt idx="8707">
                  <c:v>3.6729099999999999</c:v>
                </c:pt>
                <c:pt idx="8708">
                  <c:v>2.8828499999999999</c:v>
                </c:pt>
                <c:pt idx="8709">
                  <c:v>#N/A</c:v>
                </c:pt>
                <c:pt idx="8710">
                  <c:v>2.5840399999999999</c:v>
                </c:pt>
                <c:pt idx="8711">
                  <c:v>2.6341000000000001</c:v>
                </c:pt>
                <c:pt idx="8712">
                  <c:v>2.7650700000000001</c:v>
                </c:pt>
                <c:pt idx="8713">
                  <c:v>#N/A</c:v>
                </c:pt>
                <c:pt idx="8714">
                  <c:v>2.6151499999999999</c:v>
                </c:pt>
                <c:pt idx="8715">
                  <c:v>3.0756899999999998</c:v>
                </c:pt>
                <c:pt idx="8716">
                  <c:v>3.6456300000000001</c:v>
                </c:pt>
                <c:pt idx="8717">
                  <c:v>3.6140599999999998</c:v>
                </c:pt>
                <c:pt idx="8718">
                  <c:v>#N/A</c:v>
                </c:pt>
                <c:pt idx="8719">
                  <c:v>3.3671500000000001</c:v>
                </c:pt>
                <c:pt idx="8720">
                  <c:v>3.20397</c:v>
                </c:pt>
                <c:pt idx="8721">
                  <c:v>2.52562</c:v>
                </c:pt>
                <c:pt idx="8722">
                  <c:v>#N/A</c:v>
                </c:pt>
                <c:pt idx="8723">
                  <c:v>2.4693299999999998</c:v>
                </c:pt>
                <c:pt idx="8724">
                  <c:v>2.7570399999999999</c:v>
                </c:pt>
                <c:pt idx="8725">
                  <c:v>3.4390100000000001</c:v>
                </c:pt>
                <c:pt idx="8726">
                  <c:v>2.8780700000000001</c:v>
                </c:pt>
                <c:pt idx="8727">
                  <c:v>#N/A</c:v>
                </c:pt>
                <c:pt idx="8728">
                  <c:v>3.5281400000000001</c:v>
                </c:pt>
                <c:pt idx="8729">
                  <c:v>2.7638400000000001</c:v>
                </c:pt>
                <c:pt idx="8730">
                  <c:v>2.41134</c:v>
                </c:pt>
                <c:pt idx="8731">
                  <c:v>#N/A</c:v>
                </c:pt>
                <c:pt idx="8732">
                  <c:v>2.20296</c:v>
                </c:pt>
                <c:pt idx="8733">
                  <c:v>2.8058299999999998</c:v>
                </c:pt>
                <c:pt idx="8734">
                  <c:v>3.0058400000000001</c:v>
                </c:pt>
                <c:pt idx="8735">
                  <c:v>3.3113899999999998</c:v>
                </c:pt>
                <c:pt idx="8736">
                  <c:v>#N/A</c:v>
                </c:pt>
                <c:pt idx="8737">
                  <c:v>3.48969</c:v>
                </c:pt>
                <c:pt idx="8738">
                  <c:v>3.0751200000000001</c:v>
                </c:pt>
                <c:pt idx="8739">
                  <c:v>3.4048400000000001</c:v>
                </c:pt>
                <c:pt idx="8740">
                  <c:v>#N/A</c:v>
                </c:pt>
                <c:pt idx="8741">
                  <c:v>3.2358099999999999</c:v>
                </c:pt>
                <c:pt idx="8742">
                  <c:v>3.3676400000000002</c:v>
                </c:pt>
                <c:pt idx="8743">
                  <c:v>3.1268799999999999</c:v>
                </c:pt>
                <c:pt idx="8744">
                  <c:v>#N/A</c:v>
                </c:pt>
                <c:pt idx="8745">
                  <c:v>2.8307099999999998</c:v>
                </c:pt>
                <c:pt idx="8746">
                  <c:v>2.6971699999999998</c:v>
                </c:pt>
                <c:pt idx="8747">
                  <c:v>3.2058599999999999</c:v>
                </c:pt>
                <c:pt idx="8748">
                  <c:v>3.0746600000000002</c:v>
                </c:pt>
                <c:pt idx="8749">
                  <c:v>#N/A</c:v>
                </c:pt>
                <c:pt idx="8750">
                  <c:v>2.9068999999999998</c:v>
                </c:pt>
                <c:pt idx="8751">
                  <c:v>2.7568800000000002</c:v>
                </c:pt>
                <c:pt idx="8752">
                  <c:v>2.5777299999999999</c:v>
                </c:pt>
                <c:pt idx="8753">
                  <c:v>#N/A</c:v>
                </c:pt>
                <c:pt idx="8754">
                  <c:v>2.34056</c:v>
                </c:pt>
                <c:pt idx="8755">
                  <c:v>2.6566800000000002</c:v>
                </c:pt>
                <c:pt idx="8756">
                  <c:v>2.7628499999999998</c:v>
                </c:pt>
                <c:pt idx="8757">
                  <c:v>2.8906900000000002</c:v>
                </c:pt>
                <c:pt idx="8758">
                  <c:v>#N/A</c:v>
                </c:pt>
                <c:pt idx="8759">
                  <c:v>2.5771000000000002</c:v>
                </c:pt>
                <c:pt idx="8760">
                  <c:v>2.4429099999999999</c:v>
                </c:pt>
                <c:pt idx="8761">
                  <c:v>2.9286599999999998</c:v>
                </c:pt>
                <c:pt idx="8762">
                  <c:v>2.8071100000000002</c:v>
                </c:pt>
                <c:pt idx="8763">
                  <c:v>#N/A</c:v>
                </c:pt>
                <c:pt idx="8764">
                  <c:v>3.8891100000000001</c:v>
                </c:pt>
                <c:pt idx="8765">
                  <c:v>3.1535700000000002</c:v>
                </c:pt>
                <c:pt idx="8766">
                  <c:v>3.0802900000000002</c:v>
                </c:pt>
                <c:pt idx="8767">
                  <c:v>#N/A</c:v>
                </c:pt>
                <c:pt idx="8768">
                  <c:v>2.8068200000000001</c:v>
                </c:pt>
                <c:pt idx="8769">
                  <c:v>#N/A</c:v>
                </c:pt>
                <c:pt idx="8770">
                  <c:v>2.1865999999999999</c:v>
                </c:pt>
                <c:pt idx="8771">
                  <c:v>2.9792000000000001</c:v>
                </c:pt>
                <c:pt idx="8772">
                  <c:v>2.7036799999999999</c:v>
                </c:pt>
                <c:pt idx="8773">
                  <c:v>3.11266</c:v>
                </c:pt>
                <c:pt idx="8774">
                  <c:v>#N/A</c:v>
                </c:pt>
                <c:pt idx="8775">
                  <c:v>3.7486299999999999</c:v>
                </c:pt>
                <c:pt idx="8776">
                  <c:v>3.3424299999999998</c:v>
                </c:pt>
                <c:pt idx="8777">
                  <c:v>3.4537</c:v>
                </c:pt>
                <c:pt idx="8778">
                  <c:v>#N/A</c:v>
                </c:pt>
                <c:pt idx="8779">
                  <c:v>2.83405</c:v>
                </c:pt>
                <c:pt idx="8780">
                  <c:v>3.1845500000000002</c:v>
                </c:pt>
                <c:pt idx="8781">
                  <c:v>2.6324100000000001</c:v>
                </c:pt>
                <c:pt idx="8782">
                  <c:v>#N/A</c:v>
                </c:pt>
                <c:pt idx="8783">
                  <c:v>2.9492799999999999</c:v>
                </c:pt>
                <c:pt idx="8784">
                  <c:v>3.74716</c:v>
                </c:pt>
                <c:pt idx="8785">
                  <c:v>3.43927</c:v>
                </c:pt>
                <c:pt idx="8786">
                  <c:v>#N/A</c:v>
                </c:pt>
                <c:pt idx="8787">
                  <c:v>3.3668300000000002</c:v>
                </c:pt>
                <c:pt idx="8788">
                  <c:v>2.9093900000000001</c:v>
                </c:pt>
                <c:pt idx="8789">
                  <c:v>3.2675900000000002</c:v>
                </c:pt>
                <c:pt idx="8790">
                  <c:v>2.2956300000000001</c:v>
                </c:pt>
                <c:pt idx="8791">
                  <c:v>#N/A</c:v>
                </c:pt>
                <c:pt idx="8792">
                  <c:v>2.4483799999999998</c:v>
                </c:pt>
                <c:pt idx="8793">
                  <c:v>2.70411</c:v>
                </c:pt>
                <c:pt idx="8794">
                  <c:v>3.2868599999999999</c:v>
                </c:pt>
                <c:pt idx="8795">
                  <c:v>#N/A</c:v>
                </c:pt>
                <c:pt idx="8796">
                  <c:v>3.1076800000000002</c:v>
                </c:pt>
                <c:pt idx="8797">
                  <c:v>3.3805800000000001</c:v>
                </c:pt>
                <c:pt idx="8798">
                  <c:v>3.67665</c:v>
                </c:pt>
                <c:pt idx="8799">
                  <c:v>#N/A</c:v>
                </c:pt>
                <c:pt idx="8800">
                  <c:v>3.2579799999999999</c:v>
                </c:pt>
                <c:pt idx="8801">
                  <c:v>3.0069499999999998</c:v>
                </c:pt>
                <c:pt idx="8802">
                  <c:v>3.1705100000000002</c:v>
                </c:pt>
                <c:pt idx="8803">
                  <c:v>3.3174199999999998</c:v>
                </c:pt>
                <c:pt idx="8804">
                  <c:v>#N/A</c:v>
                </c:pt>
                <c:pt idx="8805">
                  <c:v>3.1135799999999998</c:v>
                </c:pt>
                <c:pt idx="8806">
                  <c:v>3.38314</c:v>
                </c:pt>
                <c:pt idx="8807">
                  <c:v>3.7406000000000001</c:v>
                </c:pt>
                <c:pt idx="8808">
                  <c:v>#N/A</c:v>
                </c:pt>
                <c:pt idx="8809">
                  <c:v>3.1952500000000001</c:v>
                </c:pt>
                <c:pt idx="8810">
                  <c:v>3.28267</c:v>
                </c:pt>
                <c:pt idx="8811">
                  <c:v>2.3096299999999998</c:v>
                </c:pt>
                <c:pt idx="8812">
                  <c:v>2.9195700000000002</c:v>
                </c:pt>
                <c:pt idx="8813">
                  <c:v>#N/A</c:v>
                </c:pt>
                <c:pt idx="8814">
                  <c:v>2.8588399999999998</c:v>
                </c:pt>
                <c:pt idx="8815">
                  <c:v>2.3590599999999999</c:v>
                </c:pt>
                <c:pt idx="8816">
                  <c:v>3.1474099999999998</c:v>
                </c:pt>
                <c:pt idx="8817">
                  <c:v>#N/A</c:v>
                </c:pt>
                <c:pt idx="8818">
                  <c:v>2.7736399999999999</c:v>
                </c:pt>
                <c:pt idx="8819">
                  <c:v>2.8205900000000002</c:v>
                </c:pt>
                <c:pt idx="8820">
                  <c:v>3.2902999999999998</c:v>
                </c:pt>
                <c:pt idx="8821">
                  <c:v>2.9830000000000001</c:v>
                </c:pt>
                <c:pt idx="8822">
                  <c:v>#N/A</c:v>
                </c:pt>
                <c:pt idx="8823">
                  <c:v>3.4303499999999998</c:v>
                </c:pt>
                <c:pt idx="8824">
                  <c:v>3.1701100000000002</c:v>
                </c:pt>
                <c:pt idx="8825">
                  <c:v>3.54922</c:v>
                </c:pt>
                <c:pt idx="8826">
                  <c:v>#N/A</c:v>
                </c:pt>
                <c:pt idx="8827">
                  <c:v>3.2964199999999999</c:v>
                </c:pt>
                <c:pt idx="8828">
                  <c:v>2.6044</c:v>
                </c:pt>
                <c:pt idx="8829">
                  <c:v>3.0674100000000002</c:v>
                </c:pt>
                <c:pt idx="8830">
                  <c:v>3.0196900000000002</c:v>
                </c:pt>
                <c:pt idx="8831">
                  <c:v>#N/A</c:v>
                </c:pt>
                <c:pt idx="8832">
                  <c:v>2.9816199999999999</c:v>
                </c:pt>
                <c:pt idx="8833">
                  <c:v>3.2066599999999998</c:v>
                </c:pt>
                <c:pt idx="8834">
                  <c:v>3.2185000000000001</c:v>
                </c:pt>
                <c:pt idx="8835">
                  <c:v>#N/A</c:v>
                </c:pt>
                <c:pt idx="8836">
                  <c:v>3.1253700000000002</c:v>
                </c:pt>
                <c:pt idx="8837">
                  <c:v>3.0622199999999999</c:v>
                </c:pt>
                <c:pt idx="8838">
                  <c:v>2.85242</c:v>
                </c:pt>
                <c:pt idx="8839">
                  <c:v>#N/A</c:v>
                </c:pt>
                <c:pt idx="8840">
                  <c:v>3.0161899999999999</c:v>
                </c:pt>
                <c:pt idx="8841">
                  <c:v>2.9291499999999999</c:v>
                </c:pt>
                <c:pt idx="8842">
                  <c:v>3.2556500000000002</c:v>
                </c:pt>
                <c:pt idx="8843">
                  <c:v>3.8376299999999999</c:v>
                </c:pt>
                <c:pt idx="8844">
                  <c:v>#N/A</c:v>
                </c:pt>
                <c:pt idx="8845">
                  <c:v>3.7817400000000001</c:v>
                </c:pt>
                <c:pt idx="8846">
                  <c:v>3.4264399999999999</c:v>
                </c:pt>
                <c:pt idx="8847">
                  <c:v>3.1508400000000001</c:v>
                </c:pt>
                <c:pt idx="8848">
                  <c:v>#N/A</c:v>
                </c:pt>
                <c:pt idx="8849">
                  <c:v>2.8373499999999998</c:v>
                </c:pt>
                <c:pt idx="8850">
                  <c:v>2.7274799999999999</c:v>
                </c:pt>
                <c:pt idx="8851">
                  <c:v>2.33901</c:v>
                </c:pt>
                <c:pt idx="8852">
                  <c:v>2.8859400000000002</c:v>
                </c:pt>
                <c:pt idx="8853">
                  <c:v>#N/A</c:v>
                </c:pt>
                <c:pt idx="8854">
                  <c:v>3.2066499999999998</c:v>
                </c:pt>
                <c:pt idx="8855">
                  <c:v>2.9644300000000001</c:v>
                </c:pt>
                <c:pt idx="8856">
                  <c:v>3.3616299999999999</c:v>
                </c:pt>
                <c:pt idx="8857">
                  <c:v>#N/A</c:v>
                </c:pt>
                <c:pt idx="8858">
                  <c:v>3.3586399999999998</c:v>
                </c:pt>
                <c:pt idx="8859">
                  <c:v>3.3558500000000002</c:v>
                </c:pt>
                <c:pt idx="8860">
                  <c:v>3.1176400000000002</c:v>
                </c:pt>
                <c:pt idx="8861">
                  <c:v>#N/A</c:v>
                </c:pt>
                <c:pt idx="8862">
                  <c:v>3.3747799999999999</c:v>
                </c:pt>
                <c:pt idx="8863">
                  <c:v>2.6115200000000001</c:v>
                </c:pt>
                <c:pt idx="8864">
                  <c:v>3.0714299999999999</c:v>
                </c:pt>
                <c:pt idx="8865">
                  <c:v>3.5025200000000001</c:v>
                </c:pt>
                <c:pt idx="8866">
                  <c:v>#N/A</c:v>
                </c:pt>
                <c:pt idx="8867">
                  <c:v>3.83073</c:v>
                </c:pt>
                <c:pt idx="8868">
                  <c:v>3.32531</c:v>
                </c:pt>
                <c:pt idx="8869">
                  <c:v>2.72743</c:v>
                </c:pt>
                <c:pt idx="8870">
                  <c:v>#N/A</c:v>
                </c:pt>
                <c:pt idx="8871">
                  <c:v>2.7303099999999998</c:v>
                </c:pt>
                <c:pt idx="8872">
                  <c:v>2.2344599999999999</c:v>
                </c:pt>
                <c:pt idx="8873">
                  <c:v>1.88676</c:v>
                </c:pt>
                <c:pt idx="8874">
                  <c:v>2.8347799999999999</c:v>
                </c:pt>
                <c:pt idx="8875">
                  <c:v>#N/A</c:v>
                </c:pt>
                <c:pt idx="8876">
                  <c:v>2.5228600000000001</c:v>
                </c:pt>
                <c:pt idx="8877">
                  <c:v>3.4780099999999998</c:v>
                </c:pt>
                <c:pt idx="8878">
                  <c:v>3.1985399999999999</c:v>
                </c:pt>
                <c:pt idx="8879">
                  <c:v>#N/A</c:v>
                </c:pt>
                <c:pt idx="8880">
                  <c:v>3.2454000000000001</c:v>
                </c:pt>
                <c:pt idx="8881">
                  <c:v>3.2847599999999999</c:v>
                </c:pt>
                <c:pt idx="8882">
                  <c:v>2.9494199999999999</c:v>
                </c:pt>
                <c:pt idx="8883">
                  <c:v>3.3228200000000001</c:v>
                </c:pt>
                <c:pt idx="8884">
                  <c:v>#N/A</c:v>
                </c:pt>
                <c:pt idx="8885">
                  <c:v>2.87636</c:v>
                </c:pt>
                <c:pt idx="8886">
                  <c:v>2.65185</c:v>
                </c:pt>
                <c:pt idx="8887">
                  <c:v>3.8266399999999998</c:v>
                </c:pt>
                <c:pt idx="8888">
                  <c:v>#N/A</c:v>
                </c:pt>
                <c:pt idx="8889">
                  <c:v>3.4920900000000001</c:v>
                </c:pt>
                <c:pt idx="8890">
                  <c:v>3.2392599999999998</c:v>
                </c:pt>
                <c:pt idx="8891">
                  <c:v>3.0724900000000002</c:v>
                </c:pt>
                <c:pt idx="8892">
                  <c:v>2.8131400000000002</c:v>
                </c:pt>
                <c:pt idx="8893">
                  <c:v>#N/A</c:v>
                </c:pt>
                <c:pt idx="8894">
                  <c:v>2.7118899999999999</c:v>
                </c:pt>
                <c:pt idx="8895">
                  <c:v>2.8413499999999998</c:v>
                </c:pt>
                <c:pt idx="8896">
                  <c:v>3.0567299999999999</c:v>
                </c:pt>
                <c:pt idx="8897">
                  <c:v>#N/A</c:v>
                </c:pt>
                <c:pt idx="8898">
                  <c:v>2.9119299999999999</c:v>
                </c:pt>
                <c:pt idx="8899">
                  <c:v>2.5894200000000001</c:v>
                </c:pt>
                <c:pt idx="8900">
                  <c:v>2.8275899999999998</c:v>
                </c:pt>
                <c:pt idx="8901">
                  <c:v>#N/A</c:v>
                </c:pt>
                <c:pt idx="8902">
                  <c:v>3.0155799999999999</c:v>
                </c:pt>
                <c:pt idx="8903">
                  <c:v>3.1224699999999999</c:v>
                </c:pt>
                <c:pt idx="8904">
                  <c:v>3.15571</c:v>
                </c:pt>
                <c:pt idx="8905">
                  <c:v>#N/A</c:v>
                </c:pt>
                <c:pt idx="8906">
                  <c:v>3.3073399999999999</c:v>
                </c:pt>
                <c:pt idx="8907">
                  <c:v>2.8468900000000001</c:v>
                </c:pt>
                <c:pt idx="8908">
                  <c:v>2.68824</c:v>
                </c:pt>
                <c:pt idx="8909">
                  <c:v>2.2120700000000002</c:v>
                </c:pt>
                <c:pt idx="8910">
                  <c:v>#N/A</c:v>
                </c:pt>
                <c:pt idx="8911">
                  <c:v>2.1574900000000001</c:v>
                </c:pt>
                <c:pt idx="8912">
                  <c:v>#N/A</c:v>
                </c:pt>
                <c:pt idx="8913">
                  <c:v>2.7275100000000001</c:v>
                </c:pt>
                <c:pt idx="8914">
                  <c:v>3.0788600000000002</c:v>
                </c:pt>
                <c:pt idx="8915">
                  <c:v>#N/A</c:v>
                </c:pt>
                <c:pt idx="8916">
                  <c:v>2.9041999999999999</c:v>
                </c:pt>
                <c:pt idx="8917">
                  <c:v>2.9198599999999999</c:v>
                </c:pt>
                <c:pt idx="8918">
                  <c:v>2.7865099999999998</c:v>
                </c:pt>
                <c:pt idx="8919">
                  <c:v>3.05633</c:v>
                </c:pt>
                <c:pt idx="8920">
                  <c:v>#N/A</c:v>
                </c:pt>
                <c:pt idx="8921">
                  <c:v>2.9347400000000001</c:v>
                </c:pt>
                <c:pt idx="8922">
                  <c:v>2.9964599999999999</c:v>
                </c:pt>
                <c:pt idx="8923">
                  <c:v>#N/A</c:v>
                </c:pt>
                <c:pt idx="8924">
                  <c:v>2.86192</c:v>
                </c:pt>
                <c:pt idx="8925">
                  <c:v>#N/A</c:v>
                </c:pt>
                <c:pt idx="8926">
                  <c:v>3.55783</c:v>
                </c:pt>
                <c:pt idx="8927">
                  <c:v>2.8778100000000002</c:v>
                </c:pt>
                <c:pt idx="8928">
                  <c:v>2.44415</c:v>
                </c:pt>
                <c:pt idx="8929">
                  <c:v>#N/A</c:v>
                </c:pt>
                <c:pt idx="8930">
                  <c:v>2.2030699999999999</c:v>
                </c:pt>
                <c:pt idx="8931">
                  <c:v>1.94859</c:v>
                </c:pt>
                <c:pt idx="8932">
                  <c:v>2.1703199999999998</c:v>
                </c:pt>
                <c:pt idx="8933">
                  <c:v>1.8251599999999999</c:v>
                </c:pt>
                <c:pt idx="8934">
                  <c:v>#N/A</c:v>
                </c:pt>
                <c:pt idx="8935">
                  <c:v>1.9936100000000001</c:v>
                </c:pt>
                <c:pt idx="8936">
                  <c:v>2.6180300000000001</c:v>
                </c:pt>
                <c:pt idx="8937">
                  <c:v>2.4914700000000001</c:v>
                </c:pt>
                <c:pt idx="8938">
                  <c:v>#N/A</c:v>
                </c:pt>
                <c:pt idx="8939">
                  <c:v>2.8040500000000002</c:v>
                </c:pt>
                <c:pt idx="8940">
                  <c:v>2.6392199999999999</c:v>
                </c:pt>
                <c:pt idx="8941">
                  <c:v>2.90449</c:v>
                </c:pt>
                <c:pt idx="8942">
                  <c:v>#N/A</c:v>
                </c:pt>
                <c:pt idx="8943">
                  <c:v>2.5186999999999999</c:v>
                </c:pt>
                <c:pt idx="8944">
                  <c:v>2.3466</c:v>
                </c:pt>
                <c:pt idx="8945">
                  <c:v>2.6953999999999998</c:v>
                </c:pt>
                <c:pt idx="8946">
                  <c:v>2.4482300000000001</c:v>
                </c:pt>
                <c:pt idx="8947">
                  <c:v>#N/A</c:v>
                </c:pt>
                <c:pt idx="8948">
                  <c:v>2.58012</c:v>
                </c:pt>
                <c:pt idx="8949">
                  <c:v>2.5707800000000001</c:v>
                </c:pt>
                <c:pt idx="8950">
                  <c:v>2.19489</c:v>
                </c:pt>
                <c:pt idx="8951">
                  <c:v>1.6169199999999999</c:v>
                </c:pt>
                <c:pt idx="8952">
                  <c:v>#N/A</c:v>
                </c:pt>
                <c:pt idx="8953">
                  <c:v>1.46221</c:v>
                </c:pt>
                <c:pt idx="8954">
                  <c:v>1.9976499999999999</c:v>
                </c:pt>
                <c:pt idx="8955">
                  <c:v>2.5949499999999999</c:v>
                </c:pt>
                <c:pt idx="8956">
                  <c:v>#N/A</c:v>
                </c:pt>
                <c:pt idx="8957">
                  <c:v>2.09457</c:v>
                </c:pt>
                <c:pt idx="8958">
                  <c:v>2.4732400000000001</c:v>
                </c:pt>
                <c:pt idx="8959">
                  <c:v>2.6972200000000002</c:v>
                </c:pt>
                <c:pt idx="8960">
                  <c:v>2.1857500000000001</c:v>
                </c:pt>
                <c:pt idx="8961">
                  <c:v>#N/A</c:v>
                </c:pt>
                <c:pt idx="8962">
                  <c:v>2.4028299999999998</c:v>
                </c:pt>
                <c:pt idx="8963">
                  <c:v>2.3668999999999998</c:v>
                </c:pt>
                <c:pt idx="8964">
                  <c:v>2.4626399999999999</c:v>
                </c:pt>
                <c:pt idx="8965">
                  <c:v>#N/A</c:v>
                </c:pt>
                <c:pt idx="8966">
                  <c:v>2.0143200000000001</c:v>
                </c:pt>
                <c:pt idx="8967">
                  <c:v>2.5606</c:v>
                </c:pt>
                <c:pt idx="8968">
                  <c:v>2.2434799999999999</c:v>
                </c:pt>
                <c:pt idx="8969">
                  <c:v>1.6041700000000001</c:v>
                </c:pt>
                <c:pt idx="8970">
                  <c:v>#N/A</c:v>
                </c:pt>
                <c:pt idx="8971">
                  <c:v>2.2995800000000002</c:v>
                </c:pt>
                <c:pt idx="8972">
                  <c:v>1.67377</c:v>
                </c:pt>
                <c:pt idx="8973">
                  <c:v>2.0999599999999998</c:v>
                </c:pt>
                <c:pt idx="8974">
                  <c:v>#N/A</c:v>
                </c:pt>
                <c:pt idx="8975">
                  <c:v>1.7274499999999999</c:v>
                </c:pt>
                <c:pt idx="8976">
                  <c:v>2.18723</c:v>
                </c:pt>
                <c:pt idx="8977">
                  <c:v>2.83697</c:v>
                </c:pt>
                <c:pt idx="8978">
                  <c:v>1.8358399999999999</c:v>
                </c:pt>
                <c:pt idx="8979">
                  <c:v>#N/A</c:v>
                </c:pt>
                <c:pt idx="8980">
                  <c:v>2.5277699999999999</c:v>
                </c:pt>
                <c:pt idx="8981">
                  <c:v>2.3072300000000001</c:v>
                </c:pt>
                <c:pt idx="8982">
                  <c:v>#N/A</c:v>
                </c:pt>
                <c:pt idx="8983">
                  <c:v>2.4403899999999998</c:v>
                </c:pt>
                <c:pt idx="8984">
                  <c:v>2.11503</c:v>
                </c:pt>
                <c:pt idx="8985">
                  <c:v>2.0574499999999998</c:v>
                </c:pt>
                <c:pt idx="8986">
                  <c:v>#N/A</c:v>
                </c:pt>
                <c:pt idx="8987">
                  <c:v>2.8493200000000001</c:v>
                </c:pt>
                <c:pt idx="8988">
                  <c:v>2.0749</c:v>
                </c:pt>
                <c:pt idx="8989">
                  <c:v>1.5909</c:v>
                </c:pt>
                <c:pt idx="8990">
                  <c:v>#N/A</c:v>
                </c:pt>
                <c:pt idx="8991">
                  <c:v>1.3441399999999999</c:v>
                </c:pt>
                <c:pt idx="8992">
                  <c:v>1.3926799999999999</c:v>
                </c:pt>
                <c:pt idx="8993">
                  <c:v>1.64717</c:v>
                </c:pt>
                <c:pt idx="8994">
                  <c:v>#N/A</c:v>
                </c:pt>
                <c:pt idx="8995">
                  <c:v>2.2033999999999998</c:v>
                </c:pt>
                <c:pt idx="8996">
                  <c:v>2.57185</c:v>
                </c:pt>
                <c:pt idx="8997">
                  <c:v>2.8760400000000002</c:v>
                </c:pt>
                <c:pt idx="8998">
                  <c:v>#N/A</c:v>
                </c:pt>
                <c:pt idx="8999">
                  <c:v>1.93</c:v>
                </c:pt>
                <c:pt idx="9000">
                  <c:v>1.64882</c:v>
                </c:pt>
                <c:pt idx="9001">
                  <c:v>1.8744099999999999</c:v>
                </c:pt>
                <c:pt idx="9002">
                  <c:v>2.24125</c:v>
                </c:pt>
                <c:pt idx="9003">
                  <c:v>#N/A</c:v>
                </c:pt>
                <c:pt idx="9004">
                  <c:v>2.47566</c:v>
                </c:pt>
                <c:pt idx="9005">
                  <c:v>2.8614999999999999</c:v>
                </c:pt>
                <c:pt idx="9006">
                  <c:v>2.6395900000000001</c:v>
                </c:pt>
                <c:pt idx="9007">
                  <c:v>2.30267</c:v>
                </c:pt>
                <c:pt idx="9008">
                  <c:v>#N/A</c:v>
                </c:pt>
                <c:pt idx="9009">
                  <c:v>2.16656</c:v>
                </c:pt>
                <c:pt idx="9010">
                  <c:v>1.7511099999999999</c:v>
                </c:pt>
                <c:pt idx="9011">
                  <c:v>1.46902</c:v>
                </c:pt>
                <c:pt idx="9012">
                  <c:v>#N/A</c:v>
                </c:pt>
                <c:pt idx="9013">
                  <c:v>1.6584000000000001</c:v>
                </c:pt>
                <c:pt idx="9014">
                  <c:v>1.91513</c:v>
                </c:pt>
                <c:pt idx="9015">
                  <c:v>2.4377</c:v>
                </c:pt>
                <c:pt idx="9016">
                  <c:v>#N/A</c:v>
                </c:pt>
                <c:pt idx="9017">
                  <c:v>2.4407399999999999</c:v>
                </c:pt>
                <c:pt idx="9018">
                  <c:v>2.9124699999999999</c:v>
                </c:pt>
                <c:pt idx="9019">
                  <c:v>2.6661199999999998</c:v>
                </c:pt>
                <c:pt idx="9020">
                  <c:v>2.4500999999999999</c:v>
                </c:pt>
                <c:pt idx="9021">
                  <c:v>#N/A</c:v>
                </c:pt>
                <c:pt idx="9022">
                  <c:v>2.0291399999999999</c:v>
                </c:pt>
                <c:pt idx="9023">
                  <c:v>2.2570800000000002</c:v>
                </c:pt>
                <c:pt idx="9024">
                  <c:v>2.1731199999999999</c:v>
                </c:pt>
                <c:pt idx="9025">
                  <c:v>#N/A</c:v>
                </c:pt>
                <c:pt idx="9026">
                  <c:v>2.2961900000000002</c:v>
                </c:pt>
                <c:pt idx="9027">
                  <c:v>2.62696</c:v>
                </c:pt>
                <c:pt idx="9028">
                  <c:v>2.5327000000000002</c:v>
                </c:pt>
                <c:pt idx="9029">
                  <c:v>1.80525</c:v>
                </c:pt>
                <c:pt idx="9030">
                  <c:v>#N/A</c:v>
                </c:pt>
                <c:pt idx="9031">
                  <c:v>2.0649099999999998</c:v>
                </c:pt>
                <c:pt idx="9032">
                  <c:v>2.14873</c:v>
                </c:pt>
                <c:pt idx="9033">
                  <c:v>1.8387199999999999</c:v>
                </c:pt>
                <c:pt idx="9034">
                  <c:v>#N/A</c:v>
                </c:pt>
                <c:pt idx="9035">
                  <c:v>1.9567300000000001</c:v>
                </c:pt>
                <c:pt idx="9036">
                  <c:v>2.08399</c:v>
                </c:pt>
                <c:pt idx="9037">
                  <c:v>2.0371700000000001</c:v>
                </c:pt>
                <c:pt idx="9038">
                  <c:v>2.36029</c:v>
                </c:pt>
                <c:pt idx="9039">
                  <c:v>#N/A</c:v>
                </c:pt>
                <c:pt idx="9040">
                  <c:v>2.5515699999999999</c:v>
                </c:pt>
                <c:pt idx="9041">
                  <c:v>2.2492899999999998</c:v>
                </c:pt>
                <c:pt idx="9042">
                  <c:v>2.3124099999999999</c:v>
                </c:pt>
                <c:pt idx="9043">
                  <c:v>2.58161</c:v>
                </c:pt>
                <c:pt idx="9044">
                  <c:v>#N/A</c:v>
                </c:pt>
                <c:pt idx="9045">
                  <c:v>2.4909300000000001</c:v>
                </c:pt>
                <c:pt idx="9046">
                  <c:v>1.96092</c:v>
                </c:pt>
                <c:pt idx="9047">
                  <c:v>1.4664200000000001</c:v>
                </c:pt>
                <c:pt idx="9048">
                  <c:v>#N/A</c:v>
                </c:pt>
                <c:pt idx="9049">
                  <c:v>1.7519</c:v>
                </c:pt>
                <c:pt idx="9050">
                  <c:v>1.7608200000000001</c:v>
                </c:pt>
                <c:pt idx="9051">
                  <c:v>1.7219599999999999</c:v>
                </c:pt>
                <c:pt idx="9052">
                  <c:v>2.1690700000000001</c:v>
                </c:pt>
                <c:pt idx="9053">
                  <c:v>#N/A</c:v>
                </c:pt>
                <c:pt idx="9054">
                  <c:v>2.0628799999999998</c:v>
                </c:pt>
                <c:pt idx="9055">
                  <c:v>#N/A</c:v>
                </c:pt>
                <c:pt idx="9056">
                  <c:v>2.37113</c:v>
                </c:pt>
                <c:pt idx="9057">
                  <c:v>2.1114199999999999</c:v>
                </c:pt>
                <c:pt idx="9058">
                  <c:v>#N/A</c:v>
                </c:pt>
                <c:pt idx="9059">
                  <c:v>2.1557300000000001</c:v>
                </c:pt>
                <c:pt idx="9060">
                  <c:v>2.2237200000000001</c:v>
                </c:pt>
                <c:pt idx="9061">
                  <c:v>2.4685600000000001</c:v>
                </c:pt>
                <c:pt idx="9062">
                  <c:v>2.4849600000000001</c:v>
                </c:pt>
                <c:pt idx="9063">
                  <c:v>#N/A</c:v>
                </c:pt>
                <c:pt idx="9064">
                  <c:v>2.45539</c:v>
                </c:pt>
                <c:pt idx="9065">
                  <c:v>3.3054899999999998</c:v>
                </c:pt>
                <c:pt idx="9066">
                  <c:v>3.0141</c:v>
                </c:pt>
                <c:pt idx="9067">
                  <c:v>#N/A</c:v>
                </c:pt>
                <c:pt idx="9068">
                  <c:v>2.2525200000000001</c:v>
                </c:pt>
                <c:pt idx="9069">
                  <c:v>1.6642699999999999</c:v>
                </c:pt>
                <c:pt idx="9070">
                  <c:v>1.89194</c:v>
                </c:pt>
                <c:pt idx="9071">
                  <c:v>1.4109700000000001</c:v>
                </c:pt>
                <c:pt idx="9072">
                  <c:v>#N/A</c:v>
                </c:pt>
                <c:pt idx="9073">
                  <c:v>1.7161200000000001</c:v>
                </c:pt>
                <c:pt idx="9074">
                  <c:v>2.3998200000000001</c:v>
                </c:pt>
                <c:pt idx="9075">
                  <c:v>2.5595500000000002</c:v>
                </c:pt>
                <c:pt idx="9076">
                  <c:v>2.5634899999999998</c:v>
                </c:pt>
                <c:pt idx="9077">
                  <c:v>#N/A</c:v>
                </c:pt>
                <c:pt idx="9078">
                  <c:v>2.0188299999999999</c:v>
                </c:pt>
                <c:pt idx="9079">
                  <c:v>2.0368499999999998</c:v>
                </c:pt>
                <c:pt idx="9080">
                  <c:v>1.8185500000000001</c:v>
                </c:pt>
                <c:pt idx="9081">
                  <c:v>#N/A</c:v>
                </c:pt>
                <c:pt idx="9082">
                  <c:v>1.91598</c:v>
                </c:pt>
                <c:pt idx="9083">
                  <c:v>2.3380299999999998</c:v>
                </c:pt>
                <c:pt idx="9084">
                  <c:v>2.1115699999999999</c:v>
                </c:pt>
                <c:pt idx="9085">
                  <c:v>#N/A</c:v>
                </c:pt>
                <c:pt idx="9086">
                  <c:v>2.8999799999999998</c:v>
                </c:pt>
                <c:pt idx="9087">
                  <c:v>2.5150800000000002</c:v>
                </c:pt>
                <c:pt idx="9088">
                  <c:v>2.8094199999999998</c:v>
                </c:pt>
                <c:pt idx="9089">
                  <c:v>#N/A</c:v>
                </c:pt>
                <c:pt idx="9090">
                  <c:v>2.1657000000000002</c:v>
                </c:pt>
                <c:pt idx="9091">
                  <c:v>2.1726000000000001</c:v>
                </c:pt>
                <c:pt idx="9092">
                  <c:v>1.9320900000000001</c:v>
                </c:pt>
                <c:pt idx="9093">
                  <c:v>#N/A</c:v>
                </c:pt>
                <c:pt idx="9094">
                  <c:v>2.0551599999999999</c:v>
                </c:pt>
                <c:pt idx="9095">
                  <c:v>2.5267499999999998</c:v>
                </c:pt>
                <c:pt idx="9096">
                  <c:v>2.9348200000000002</c:v>
                </c:pt>
                <c:pt idx="9097">
                  <c:v>2.8287900000000001</c:v>
                </c:pt>
                <c:pt idx="9098">
                  <c:v>#N/A</c:v>
                </c:pt>
                <c:pt idx="9099">
                  <c:v>3.24247</c:v>
                </c:pt>
                <c:pt idx="9100">
                  <c:v>2.8976799999999998</c:v>
                </c:pt>
                <c:pt idx="9101">
                  <c:v>2.6142400000000001</c:v>
                </c:pt>
                <c:pt idx="9102">
                  <c:v>2.4033000000000002</c:v>
                </c:pt>
                <c:pt idx="9103">
                  <c:v>#N/A</c:v>
                </c:pt>
                <c:pt idx="9104">
                  <c:v>2.29332</c:v>
                </c:pt>
                <c:pt idx="9105">
                  <c:v>2.5539900000000002</c:v>
                </c:pt>
                <c:pt idx="9106">
                  <c:v>2.0665800000000001</c:v>
                </c:pt>
                <c:pt idx="9107">
                  <c:v>#N/A</c:v>
                </c:pt>
                <c:pt idx="9108">
                  <c:v>2.06236</c:v>
                </c:pt>
                <c:pt idx="9109">
                  <c:v>1.4535499999999999</c:v>
                </c:pt>
                <c:pt idx="9110">
                  <c:v>1.9668600000000001</c:v>
                </c:pt>
                <c:pt idx="9111">
                  <c:v>#N/A</c:v>
                </c:pt>
                <c:pt idx="9112">
                  <c:v>2.2502900000000001</c:v>
                </c:pt>
                <c:pt idx="9113">
                  <c:v>2.4343900000000001</c:v>
                </c:pt>
                <c:pt idx="9114">
                  <c:v>2.2897099999999999</c:v>
                </c:pt>
                <c:pt idx="9115">
                  <c:v>#N/A</c:v>
                </c:pt>
                <c:pt idx="9116">
                  <c:v>2.4782500000000001</c:v>
                </c:pt>
                <c:pt idx="9117">
                  <c:v>2.28627</c:v>
                </c:pt>
                <c:pt idx="9118">
                  <c:v>2.2587000000000002</c:v>
                </c:pt>
                <c:pt idx="9119">
                  <c:v>#N/A</c:v>
                </c:pt>
                <c:pt idx="9120">
                  <c:v>2.4774099999999999</c:v>
                </c:pt>
                <c:pt idx="9121">
                  <c:v>3.2514799999999999</c:v>
                </c:pt>
                <c:pt idx="9122">
                  <c:v>2.7884500000000001</c:v>
                </c:pt>
                <c:pt idx="9123">
                  <c:v>3.1640700000000002</c:v>
                </c:pt>
                <c:pt idx="9124">
                  <c:v>#N/A</c:v>
                </c:pt>
                <c:pt idx="9125">
                  <c:v>2.82925</c:v>
                </c:pt>
                <c:pt idx="9126">
                  <c:v>#N/A</c:v>
                </c:pt>
                <c:pt idx="9127">
                  <c:v>2.9853499999999999</c:v>
                </c:pt>
                <c:pt idx="9128">
                  <c:v>2.2154799999999999</c:v>
                </c:pt>
                <c:pt idx="9129">
                  <c:v>1.70425</c:v>
                </c:pt>
                <c:pt idx="9130">
                  <c:v>1.8283400000000001</c:v>
                </c:pt>
                <c:pt idx="9131">
                  <c:v>#N/A</c:v>
                </c:pt>
                <c:pt idx="9132">
                  <c:v>2.2686799999999998</c:v>
                </c:pt>
                <c:pt idx="9133">
                  <c:v>2.43072</c:v>
                </c:pt>
                <c:pt idx="9134">
                  <c:v>2.3026499999999999</c:v>
                </c:pt>
                <c:pt idx="9135">
                  <c:v>#N/A</c:v>
                </c:pt>
                <c:pt idx="9136">
                  <c:v>2.5128900000000001</c:v>
                </c:pt>
                <c:pt idx="9137">
                  <c:v>2.5649199999999999</c:v>
                </c:pt>
                <c:pt idx="9138">
                  <c:v>2.4353500000000001</c:v>
                </c:pt>
                <c:pt idx="9139">
                  <c:v>2.3447399999999998</c:v>
                </c:pt>
                <c:pt idx="9140">
                  <c:v>#N/A</c:v>
                </c:pt>
                <c:pt idx="9141">
                  <c:v>2.21082</c:v>
                </c:pt>
                <c:pt idx="9142">
                  <c:v>2.4329200000000002</c:v>
                </c:pt>
                <c:pt idx="9143">
                  <c:v>2.3376700000000001</c:v>
                </c:pt>
                <c:pt idx="9144">
                  <c:v>#N/A</c:v>
                </c:pt>
                <c:pt idx="9145">
                  <c:v>2.9990700000000001</c:v>
                </c:pt>
                <c:pt idx="9146">
                  <c:v>2.5131000000000001</c:v>
                </c:pt>
                <c:pt idx="9147">
                  <c:v>2.5777299999999999</c:v>
                </c:pt>
                <c:pt idx="9148">
                  <c:v>2.4222999999999999</c:v>
                </c:pt>
                <c:pt idx="9149">
                  <c:v>#N/A</c:v>
                </c:pt>
                <c:pt idx="9150">
                  <c:v>2.2303000000000002</c:v>
                </c:pt>
                <c:pt idx="9151">
                  <c:v>1.88453</c:v>
                </c:pt>
                <c:pt idx="9152">
                  <c:v>1.9347099999999999</c:v>
                </c:pt>
                <c:pt idx="9153">
                  <c:v>#N/A</c:v>
                </c:pt>
                <c:pt idx="9154">
                  <c:v>2.2883300000000002</c:v>
                </c:pt>
                <c:pt idx="9155">
                  <c:v>2.54427</c:v>
                </c:pt>
                <c:pt idx="9156">
                  <c:v>2.6453700000000002</c:v>
                </c:pt>
                <c:pt idx="9157">
                  <c:v>2.7999700000000001</c:v>
                </c:pt>
                <c:pt idx="9158">
                  <c:v>#N/A</c:v>
                </c:pt>
                <c:pt idx="9159">
                  <c:v>2.5018799999999999</c:v>
                </c:pt>
                <c:pt idx="9160">
                  <c:v>2.5269200000000001</c:v>
                </c:pt>
                <c:pt idx="9161">
                  <c:v>2.3867500000000001</c:v>
                </c:pt>
                <c:pt idx="9162">
                  <c:v>2.0229599999999999</c:v>
                </c:pt>
                <c:pt idx="9163">
                  <c:v>#N/A</c:v>
                </c:pt>
                <c:pt idx="9164">
                  <c:v>1.81677</c:v>
                </c:pt>
                <c:pt idx="9165">
                  <c:v>2.3176999999999999</c:v>
                </c:pt>
                <c:pt idx="9166">
                  <c:v>1.9777499999999999</c:v>
                </c:pt>
                <c:pt idx="9167">
                  <c:v>#N/A</c:v>
                </c:pt>
                <c:pt idx="9168">
                  <c:v>2.2474099999999999</c:v>
                </c:pt>
                <c:pt idx="9169">
                  <c:v>1.8804799999999999</c:v>
                </c:pt>
                <c:pt idx="9170">
                  <c:v>2.1869100000000001</c:v>
                </c:pt>
                <c:pt idx="9171">
                  <c:v>#N/A</c:v>
                </c:pt>
                <c:pt idx="9172">
                  <c:v>1.7646299999999999</c:v>
                </c:pt>
                <c:pt idx="9173">
                  <c:v>2.1646100000000001</c:v>
                </c:pt>
                <c:pt idx="9174">
                  <c:v>2.0376300000000001</c:v>
                </c:pt>
                <c:pt idx="9175">
                  <c:v>2.0628899999999999</c:v>
                </c:pt>
                <c:pt idx="9176">
                  <c:v>#N/A</c:v>
                </c:pt>
                <c:pt idx="9177">
                  <c:v>2.7446700000000002</c:v>
                </c:pt>
                <c:pt idx="9178">
                  <c:v>2.3976600000000001</c:v>
                </c:pt>
                <c:pt idx="9179">
                  <c:v>3.1400899999999998</c:v>
                </c:pt>
                <c:pt idx="9180">
                  <c:v>#N/A</c:v>
                </c:pt>
                <c:pt idx="9181">
                  <c:v>3.0014599999999998</c:v>
                </c:pt>
                <c:pt idx="9182">
                  <c:v>2.9215900000000001</c:v>
                </c:pt>
                <c:pt idx="9183">
                  <c:v>2.7676500000000002</c:v>
                </c:pt>
                <c:pt idx="9184">
                  <c:v>2.5282200000000001</c:v>
                </c:pt>
                <c:pt idx="9185">
                  <c:v>#N/A</c:v>
                </c:pt>
                <c:pt idx="9186">
                  <c:v>1.9623999999999999</c:v>
                </c:pt>
                <c:pt idx="9187">
                  <c:v>1.86968</c:v>
                </c:pt>
                <c:pt idx="9188">
                  <c:v>2.1914799999999999</c:v>
                </c:pt>
                <c:pt idx="9189">
                  <c:v>#N/A</c:v>
                </c:pt>
                <c:pt idx="9190">
                  <c:v>2.2176900000000002</c:v>
                </c:pt>
                <c:pt idx="9191">
                  <c:v>1.9329799999999999</c:v>
                </c:pt>
                <c:pt idx="9192">
                  <c:v>2.5173000000000001</c:v>
                </c:pt>
                <c:pt idx="9193">
                  <c:v>2.2782200000000001</c:v>
                </c:pt>
                <c:pt idx="9194">
                  <c:v>#N/A</c:v>
                </c:pt>
                <c:pt idx="9195">
                  <c:v>2.35608</c:v>
                </c:pt>
                <c:pt idx="9196">
                  <c:v>2.2724799999999998</c:v>
                </c:pt>
                <c:pt idx="9197">
                  <c:v>#N/A</c:v>
                </c:pt>
                <c:pt idx="9198">
                  <c:v>2.5717699999999999</c:v>
                </c:pt>
                <c:pt idx="9199">
                  <c:v>2.5493199999999998</c:v>
                </c:pt>
                <c:pt idx="9200">
                  <c:v>#N/A</c:v>
                </c:pt>
                <c:pt idx="9201">
                  <c:v>2.8332600000000001</c:v>
                </c:pt>
                <c:pt idx="9202">
                  <c:v>#N/A</c:v>
                </c:pt>
                <c:pt idx="9203">
                  <c:v>2.54027</c:v>
                </c:pt>
                <c:pt idx="9204">
                  <c:v>2.9168099999999999</c:v>
                </c:pt>
                <c:pt idx="9205">
                  <c:v>2.8125900000000001</c:v>
                </c:pt>
                <c:pt idx="9206">
                  <c:v>#N/A</c:v>
                </c:pt>
                <c:pt idx="9207">
                  <c:v>2.9060199999999998</c:v>
                </c:pt>
                <c:pt idx="9208">
                  <c:v>2.54284</c:v>
                </c:pt>
                <c:pt idx="9209">
                  <c:v>2.5533399999999999</c:v>
                </c:pt>
                <c:pt idx="9210">
                  <c:v>1.7692000000000001</c:v>
                </c:pt>
                <c:pt idx="9211">
                  <c:v>#N/A</c:v>
                </c:pt>
                <c:pt idx="9212">
                  <c:v>2.8806400000000001</c:v>
                </c:pt>
                <c:pt idx="9213">
                  <c:v>2.6421199999999998</c:v>
                </c:pt>
                <c:pt idx="9214">
                  <c:v>2.0644300000000002</c:v>
                </c:pt>
                <c:pt idx="9215">
                  <c:v>#N/A</c:v>
                </c:pt>
                <c:pt idx="9216">
                  <c:v>2.90211</c:v>
                </c:pt>
                <c:pt idx="9217">
                  <c:v>2.4608699999999999</c:v>
                </c:pt>
                <c:pt idx="9218">
                  <c:v>2.5181200000000001</c:v>
                </c:pt>
                <c:pt idx="9219">
                  <c:v>#N/A</c:v>
                </c:pt>
                <c:pt idx="9220">
                  <c:v>2.28268</c:v>
                </c:pt>
                <c:pt idx="9221">
                  <c:v>2.19217</c:v>
                </c:pt>
                <c:pt idx="9222">
                  <c:v>2.2433399999999999</c:v>
                </c:pt>
                <c:pt idx="9223">
                  <c:v>1.9338900000000001</c:v>
                </c:pt>
                <c:pt idx="9224">
                  <c:v>#N/A</c:v>
                </c:pt>
                <c:pt idx="9225">
                  <c:v>2.3804500000000002</c:v>
                </c:pt>
                <c:pt idx="9226">
                  <c:v>2.18662</c:v>
                </c:pt>
                <c:pt idx="9227">
                  <c:v>2.3157899999999998</c:v>
                </c:pt>
                <c:pt idx="9228">
                  <c:v>2.4909300000000001</c:v>
                </c:pt>
                <c:pt idx="9229">
                  <c:v>#N/A</c:v>
                </c:pt>
                <c:pt idx="9230">
                  <c:v>2.6332200000000001</c:v>
                </c:pt>
                <c:pt idx="9231">
                  <c:v>2.2006399999999999</c:v>
                </c:pt>
                <c:pt idx="9232">
                  <c:v>1.84613</c:v>
                </c:pt>
                <c:pt idx="9233">
                  <c:v>#N/A</c:v>
                </c:pt>
                <c:pt idx="9234">
                  <c:v>2.34477</c:v>
                </c:pt>
                <c:pt idx="9235">
                  <c:v>2.74953</c:v>
                </c:pt>
                <c:pt idx="9236">
                  <c:v>3.1193</c:v>
                </c:pt>
                <c:pt idx="9237">
                  <c:v>3.4543499999999998</c:v>
                </c:pt>
                <c:pt idx="9238">
                  <c:v>#N/A</c:v>
                </c:pt>
                <c:pt idx="9239">
                  <c:v>3.1899500000000001</c:v>
                </c:pt>
                <c:pt idx="9240">
                  <c:v>2.8540999999999999</c:v>
                </c:pt>
                <c:pt idx="9241">
                  <c:v>2.3913899999999999</c:v>
                </c:pt>
                <c:pt idx="9242">
                  <c:v>#N/A</c:v>
                </c:pt>
                <c:pt idx="9243">
                  <c:v>2.92326</c:v>
                </c:pt>
                <c:pt idx="9244">
                  <c:v>2.5787399999999998</c:v>
                </c:pt>
                <c:pt idx="9245">
                  <c:v>2.5661299999999998</c:v>
                </c:pt>
                <c:pt idx="9246">
                  <c:v>2.9799899999999999</c:v>
                </c:pt>
                <c:pt idx="9247">
                  <c:v>#N/A</c:v>
                </c:pt>
                <c:pt idx="9248">
                  <c:v>2.08006</c:v>
                </c:pt>
                <c:pt idx="9249">
                  <c:v>1.8348899999999999</c:v>
                </c:pt>
                <c:pt idx="9250">
                  <c:v>2.32911</c:v>
                </c:pt>
                <c:pt idx="9251">
                  <c:v>#N/A</c:v>
                </c:pt>
                <c:pt idx="9252">
                  <c:v>2.5759799999999999</c:v>
                </c:pt>
                <c:pt idx="9253">
                  <c:v>2.1749499999999999</c:v>
                </c:pt>
                <c:pt idx="9254">
                  <c:v>1.91753</c:v>
                </c:pt>
                <c:pt idx="9255">
                  <c:v>2.1157900000000001</c:v>
                </c:pt>
                <c:pt idx="9256">
                  <c:v>#N/A</c:v>
                </c:pt>
                <c:pt idx="9257">
                  <c:v>1.8541000000000001</c:v>
                </c:pt>
                <c:pt idx="9258">
                  <c:v>2.5868500000000001</c:v>
                </c:pt>
                <c:pt idx="9259">
                  <c:v>2.63822</c:v>
                </c:pt>
                <c:pt idx="9260">
                  <c:v>#N/A</c:v>
                </c:pt>
                <c:pt idx="9261">
                  <c:v>2.9150800000000001</c:v>
                </c:pt>
                <c:pt idx="9262">
                  <c:v>2.73943</c:v>
                </c:pt>
                <c:pt idx="9263">
                  <c:v>2.7650600000000001</c:v>
                </c:pt>
                <c:pt idx="9264">
                  <c:v>#N/A</c:v>
                </c:pt>
                <c:pt idx="9265">
                  <c:v>2.9313600000000002</c:v>
                </c:pt>
                <c:pt idx="9266">
                  <c:v>2.5161699999999998</c:v>
                </c:pt>
                <c:pt idx="9267">
                  <c:v>2.2489400000000002</c:v>
                </c:pt>
                <c:pt idx="9268">
                  <c:v>#N/A</c:v>
                </c:pt>
                <c:pt idx="9269">
                  <c:v>1.6451199999999999</c:v>
                </c:pt>
                <c:pt idx="9270">
                  <c:v>1.88287</c:v>
                </c:pt>
                <c:pt idx="9271">
                  <c:v>#N/A</c:v>
                </c:pt>
                <c:pt idx="9272">
                  <c:v>1.8425499999999999</c:v>
                </c:pt>
                <c:pt idx="9273">
                  <c:v>#N/A</c:v>
                </c:pt>
                <c:pt idx="9274">
                  <c:v>2.6008800000000001</c:v>
                </c:pt>
                <c:pt idx="9275">
                  <c:v>2.6512500000000001</c:v>
                </c:pt>
                <c:pt idx="9276">
                  <c:v>2.5799599999999998</c:v>
                </c:pt>
                <c:pt idx="9277">
                  <c:v>2.16384</c:v>
                </c:pt>
                <c:pt idx="9278">
                  <c:v>#N/A</c:v>
                </c:pt>
                <c:pt idx="9279">
                  <c:v>1.85588</c:v>
                </c:pt>
                <c:pt idx="9280">
                  <c:v>1.6843699999999999</c:v>
                </c:pt>
                <c:pt idx="9281">
                  <c:v>1.99977</c:v>
                </c:pt>
                <c:pt idx="9282">
                  <c:v>#N/A</c:v>
                </c:pt>
                <c:pt idx="9283">
                  <c:v>2.51004</c:v>
                </c:pt>
                <c:pt idx="9284">
                  <c:v>2.6443099999999999</c:v>
                </c:pt>
                <c:pt idx="9285">
                  <c:v>2.02718</c:v>
                </c:pt>
                <c:pt idx="9286">
                  <c:v>2.3628300000000002</c:v>
                </c:pt>
                <c:pt idx="9287">
                  <c:v>#N/A</c:v>
                </c:pt>
                <c:pt idx="9288">
                  <c:v>2.3782100000000002</c:v>
                </c:pt>
                <c:pt idx="9289">
                  <c:v>2.2242999999999999</c:v>
                </c:pt>
                <c:pt idx="9290">
                  <c:v>1.8308500000000001</c:v>
                </c:pt>
                <c:pt idx="9291">
                  <c:v>#N/A</c:v>
                </c:pt>
                <c:pt idx="9292">
                  <c:v>2.0744799999999999</c:v>
                </c:pt>
                <c:pt idx="9293">
                  <c:v>1.9276599999999999</c:v>
                </c:pt>
                <c:pt idx="9294">
                  <c:v>2.02183</c:v>
                </c:pt>
                <c:pt idx="9295">
                  <c:v>2.61409</c:v>
                </c:pt>
                <c:pt idx="9296">
                  <c:v>#N/A</c:v>
                </c:pt>
                <c:pt idx="9297">
                  <c:v>2.4397500000000001</c:v>
                </c:pt>
                <c:pt idx="9298">
                  <c:v>2.5974599999999999</c:v>
                </c:pt>
                <c:pt idx="9299">
                  <c:v>2.7015899999999999</c:v>
                </c:pt>
                <c:pt idx="9300">
                  <c:v>#N/A</c:v>
                </c:pt>
                <c:pt idx="9301">
                  <c:v>2.2849699999999999</c:v>
                </c:pt>
                <c:pt idx="9302">
                  <c:v>1.74196</c:v>
                </c:pt>
                <c:pt idx="9303">
                  <c:v>2.2870200000000001</c:v>
                </c:pt>
                <c:pt idx="9304">
                  <c:v>#N/A</c:v>
                </c:pt>
                <c:pt idx="9305">
                  <c:v>2.8808699999999998</c:v>
                </c:pt>
                <c:pt idx="9306">
                  <c:v>2.5612599999999999</c:v>
                </c:pt>
                <c:pt idx="9307">
                  <c:v>2.39724</c:v>
                </c:pt>
                <c:pt idx="9308">
                  <c:v>2.1806899999999998</c:v>
                </c:pt>
                <c:pt idx="9309">
                  <c:v>#N/A</c:v>
                </c:pt>
                <c:pt idx="9310">
                  <c:v>2.1938300000000002</c:v>
                </c:pt>
                <c:pt idx="9311">
                  <c:v>2.3111100000000002</c:v>
                </c:pt>
                <c:pt idx="9312">
                  <c:v>1.9900899999999999</c:v>
                </c:pt>
                <c:pt idx="9313">
                  <c:v>#N/A</c:v>
                </c:pt>
                <c:pt idx="9314">
                  <c:v>2.2804099999999998</c:v>
                </c:pt>
                <c:pt idx="9315">
                  <c:v>2.0968100000000001</c:v>
                </c:pt>
                <c:pt idx="9316">
                  <c:v>2.4148700000000001</c:v>
                </c:pt>
                <c:pt idx="9317">
                  <c:v>2.0300099999999999</c:v>
                </c:pt>
                <c:pt idx="9318">
                  <c:v>#N/A</c:v>
                </c:pt>
                <c:pt idx="9319">
                  <c:v>2.8351999999999999</c:v>
                </c:pt>
                <c:pt idx="9320">
                  <c:v>2.8112400000000002</c:v>
                </c:pt>
                <c:pt idx="9321">
                  <c:v>2.4351799999999999</c:v>
                </c:pt>
                <c:pt idx="9322">
                  <c:v>#N/A</c:v>
                </c:pt>
                <c:pt idx="9323">
                  <c:v>2.85318</c:v>
                </c:pt>
                <c:pt idx="9324">
                  <c:v>2.0763600000000002</c:v>
                </c:pt>
                <c:pt idx="9325">
                  <c:v>2.0640100000000001</c:v>
                </c:pt>
                <c:pt idx="9326">
                  <c:v>2.3536100000000002</c:v>
                </c:pt>
                <c:pt idx="9327">
                  <c:v>#N/A</c:v>
                </c:pt>
                <c:pt idx="9328">
                  <c:v>2.2308400000000002</c:v>
                </c:pt>
                <c:pt idx="9329">
                  <c:v>2.0757500000000002</c:v>
                </c:pt>
                <c:pt idx="9330">
                  <c:v>2.0429200000000001</c:v>
                </c:pt>
                <c:pt idx="9331">
                  <c:v>#N/A</c:v>
                </c:pt>
                <c:pt idx="9332">
                  <c:v>1.9244399999999999</c:v>
                </c:pt>
                <c:pt idx="9333">
                  <c:v>2.1892499999999999</c:v>
                </c:pt>
                <c:pt idx="9334">
                  <c:v>2.3786100000000001</c:v>
                </c:pt>
                <c:pt idx="9335">
                  <c:v>#N/A</c:v>
                </c:pt>
                <c:pt idx="9336">
                  <c:v>2.72479</c:v>
                </c:pt>
                <c:pt idx="9337">
                  <c:v>2.3420700000000001</c:v>
                </c:pt>
                <c:pt idx="9338">
                  <c:v>1.9673</c:v>
                </c:pt>
                <c:pt idx="9339">
                  <c:v>1.9125000000000001</c:v>
                </c:pt>
                <c:pt idx="9340">
                  <c:v>#N/A</c:v>
                </c:pt>
                <c:pt idx="9341">
                  <c:v>#N/A</c:v>
                </c:pt>
                <c:pt idx="9342">
                  <c:v>2.43249</c:v>
                </c:pt>
                <c:pt idx="9343">
                  <c:v>2.75509</c:v>
                </c:pt>
                <c:pt idx="9344">
                  <c:v>2.72512</c:v>
                </c:pt>
                <c:pt idx="9345">
                  <c:v>2.5625200000000001</c:v>
                </c:pt>
                <c:pt idx="9346">
                  <c:v>#N/A</c:v>
                </c:pt>
                <c:pt idx="9347">
                  <c:v>2.1498599999999999</c:v>
                </c:pt>
                <c:pt idx="9348">
                  <c:v>2.01851</c:v>
                </c:pt>
                <c:pt idx="9349">
                  <c:v>1.85636</c:v>
                </c:pt>
                <c:pt idx="9350">
                  <c:v>1.3670199999999999</c:v>
                </c:pt>
                <c:pt idx="9351">
                  <c:v>#N/A</c:v>
                </c:pt>
                <c:pt idx="9352">
                  <c:v>1.8138099999999999</c:v>
                </c:pt>
                <c:pt idx="9353">
                  <c:v>2.3730799999999999</c:v>
                </c:pt>
                <c:pt idx="9354">
                  <c:v>2.8342200000000002</c:v>
                </c:pt>
                <c:pt idx="9355">
                  <c:v>#N/A</c:v>
                </c:pt>
                <c:pt idx="9356">
                  <c:v>2.6793999999999998</c:v>
                </c:pt>
                <c:pt idx="9357">
                  <c:v>2.5765799999999999</c:v>
                </c:pt>
                <c:pt idx="9358">
                  <c:v>2.3509799999999998</c:v>
                </c:pt>
                <c:pt idx="9359">
                  <c:v>#N/A</c:v>
                </c:pt>
                <c:pt idx="9360">
                  <c:v>2.05925</c:v>
                </c:pt>
                <c:pt idx="9361">
                  <c:v>2.1614200000000001</c:v>
                </c:pt>
                <c:pt idx="9362">
                  <c:v>2.5131299999999999</c:v>
                </c:pt>
                <c:pt idx="9363">
                  <c:v>2.27861</c:v>
                </c:pt>
                <c:pt idx="9364">
                  <c:v>#N/A</c:v>
                </c:pt>
                <c:pt idx="9365">
                  <c:v>2.4507699999999999</c:v>
                </c:pt>
                <c:pt idx="9366">
                  <c:v>2.7338800000000001</c:v>
                </c:pt>
                <c:pt idx="9367">
                  <c:v>2.28654</c:v>
                </c:pt>
                <c:pt idx="9368">
                  <c:v>#N/A</c:v>
                </c:pt>
                <c:pt idx="9369">
                  <c:v>2.1183299999999998</c:v>
                </c:pt>
                <c:pt idx="9370">
                  <c:v>2.2312699999999999</c:v>
                </c:pt>
                <c:pt idx="9371">
                  <c:v>1.9769300000000001</c:v>
                </c:pt>
                <c:pt idx="9372">
                  <c:v>1.49136</c:v>
                </c:pt>
                <c:pt idx="9373">
                  <c:v>#N/A</c:v>
                </c:pt>
                <c:pt idx="9374">
                  <c:v>1.8446899999999999</c:v>
                </c:pt>
                <c:pt idx="9375">
                  <c:v>2.35737</c:v>
                </c:pt>
                <c:pt idx="9376">
                  <c:v>3.1151200000000001</c:v>
                </c:pt>
                <c:pt idx="9377">
                  <c:v>#N/A</c:v>
                </c:pt>
                <c:pt idx="9378">
                  <c:v>2.5633400000000002</c:v>
                </c:pt>
                <c:pt idx="9379">
                  <c:v>2.6585700000000001</c:v>
                </c:pt>
                <c:pt idx="9380">
                  <c:v>2.6210399999999998</c:v>
                </c:pt>
                <c:pt idx="9381">
                  <c:v>2.0842999999999998</c:v>
                </c:pt>
                <c:pt idx="9382">
                  <c:v>#N/A</c:v>
                </c:pt>
                <c:pt idx="9383">
                  <c:v>2.62819</c:v>
                </c:pt>
                <c:pt idx="9384">
                  <c:v>2.4950199999999998</c:v>
                </c:pt>
                <c:pt idx="9385">
                  <c:v>2.3157100000000002</c:v>
                </c:pt>
                <c:pt idx="9386">
                  <c:v>2.32687</c:v>
                </c:pt>
                <c:pt idx="9387">
                  <c:v>#N/A</c:v>
                </c:pt>
                <c:pt idx="9388">
                  <c:v>2.1510699999999998</c:v>
                </c:pt>
                <c:pt idx="9389">
                  <c:v>2.1753399999999998</c:v>
                </c:pt>
                <c:pt idx="9390">
                  <c:v>2.16852</c:v>
                </c:pt>
                <c:pt idx="9391">
                  <c:v>#N/A</c:v>
                </c:pt>
                <c:pt idx="9392">
                  <c:v>2.12635</c:v>
                </c:pt>
                <c:pt idx="9393">
                  <c:v>1.73214</c:v>
                </c:pt>
                <c:pt idx="9394">
                  <c:v>1.4528399999999999</c:v>
                </c:pt>
                <c:pt idx="9395">
                  <c:v>1.9632099999999999</c:v>
                </c:pt>
                <c:pt idx="9396">
                  <c:v>#N/A</c:v>
                </c:pt>
                <c:pt idx="9397">
                  <c:v>2.05891</c:v>
                </c:pt>
                <c:pt idx="9398">
                  <c:v>2.3226599999999999</c:v>
                </c:pt>
                <c:pt idx="9399">
                  <c:v>2.3390599999999999</c:v>
                </c:pt>
                <c:pt idx="9400">
                  <c:v>#N/A</c:v>
                </c:pt>
                <c:pt idx="9401">
                  <c:v>2.4308800000000002</c:v>
                </c:pt>
                <c:pt idx="9402">
                  <c:v>2.31934</c:v>
                </c:pt>
                <c:pt idx="9403">
                  <c:v>2.04352</c:v>
                </c:pt>
                <c:pt idx="9404">
                  <c:v>2.84362</c:v>
                </c:pt>
                <c:pt idx="9405">
                  <c:v>#N/A</c:v>
                </c:pt>
                <c:pt idx="9406">
                  <c:v>2.9377399999999998</c:v>
                </c:pt>
                <c:pt idx="9407">
                  <c:v>2.48312</c:v>
                </c:pt>
                <c:pt idx="9408">
                  <c:v>1.9790399999999999</c:v>
                </c:pt>
                <c:pt idx="9409">
                  <c:v>#N/A</c:v>
                </c:pt>
                <c:pt idx="9410">
                  <c:v>2.2803800000000001</c:v>
                </c:pt>
                <c:pt idx="9411">
                  <c:v>2.40795</c:v>
                </c:pt>
                <c:pt idx="9412">
                  <c:v>#N/A</c:v>
                </c:pt>
                <c:pt idx="9413">
                  <c:v>2.4973800000000002</c:v>
                </c:pt>
                <c:pt idx="9414">
                  <c:v>2.6564700000000001</c:v>
                </c:pt>
                <c:pt idx="9415">
                  <c:v>#N/A</c:v>
                </c:pt>
                <c:pt idx="9416">
                  <c:v>2.4403600000000001</c:v>
                </c:pt>
                <c:pt idx="9417">
                  <c:v>2.0129100000000002</c:v>
                </c:pt>
                <c:pt idx="9418">
                  <c:v>#N/A</c:v>
                </c:pt>
                <c:pt idx="9419">
                  <c:v>2.3531399999999998</c:v>
                </c:pt>
                <c:pt idx="9420">
                  <c:v>2.3722799999999999</c:v>
                </c:pt>
                <c:pt idx="9421">
                  <c:v>2.3678499999999998</c:v>
                </c:pt>
                <c:pt idx="9422">
                  <c:v>#N/A</c:v>
                </c:pt>
                <c:pt idx="9423">
                  <c:v>2.8936999999999999</c:v>
                </c:pt>
                <c:pt idx="9424">
                  <c:v>2.3553700000000002</c:v>
                </c:pt>
                <c:pt idx="9425">
                  <c:v>2.3267600000000002</c:v>
                </c:pt>
                <c:pt idx="9426">
                  <c:v>1.8333200000000001</c:v>
                </c:pt>
                <c:pt idx="9427">
                  <c:v>#N/A</c:v>
                </c:pt>
                <c:pt idx="9428">
                  <c:v>2.4526699999999999</c:v>
                </c:pt>
                <c:pt idx="9429">
                  <c:v>1.98481</c:v>
                </c:pt>
                <c:pt idx="9430">
                  <c:v>1.92303</c:v>
                </c:pt>
                <c:pt idx="9431">
                  <c:v>#N/A</c:v>
                </c:pt>
                <c:pt idx="9432">
                  <c:v>2.06257</c:v>
                </c:pt>
                <c:pt idx="9433">
                  <c:v>#N/A</c:v>
                </c:pt>
                <c:pt idx="9434">
                  <c:v>#N/A</c:v>
                </c:pt>
                <c:pt idx="9435">
                  <c:v>#N/A</c:v>
                </c:pt>
                <c:pt idx="9436">
                  <c:v>#N/A</c:v>
                </c:pt>
                <c:pt idx="9437">
                  <c:v>#N/A</c:v>
                </c:pt>
                <c:pt idx="9438">
                  <c:v>#N/A</c:v>
                </c:pt>
                <c:pt idx="9439">
                  <c:v>#N/A</c:v>
                </c:pt>
                <c:pt idx="9440">
                  <c:v>#N/A</c:v>
                </c:pt>
                <c:pt idx="9441">
                  <c:v>#N/A</c:v>
                </c:pt>
                <c:pt idx="9442">
                  <c:v>#N/A</c:v>
                </c:pt>
                <c:pt idx="9443">
                  <c:v>#N/A</c:v>
                </c:pt>
                <c:pt idx="9444">
                  <c:v>#N/A</c:v>
                </c:pt>
                <c:pt idx="9445">
                  <c:v>#N/A</c:v>
                </c:pt>
                <c:pt idx="9446">
                  <c:v>#N/A</c:v>
                </c:pt>
                <c:pt idx="9447">
                  <c:v>#N/A</c:v>
                </c:pt>
                <c:pt idx="9448">
                  <c:v>#N/A</c:v>
                </c:pt>
                <c:pt idx="9449">
                  <c:v>#N/A</c:v>
                </c:pt>
                <c:pt idx="9450">
                  <c:v>#N/A</c:v>
                </c:pt>
                <c:pt idx="9451">
                  <c:v>#N/A</c:v>
                </c:pt>
                <c:pt idx="9452">
                  <c:v>#N/A</c:v>
                </c:pt>
                <c:pt idx="9453">
                  <c:v>#N/A</c:v>
                </c:pt>
                <c:pt idx="9454">
                  <c:v>2.0360299999999998</c:v>
                </c:pt>
                <c:pt idx="9455">
                  <c:v>#N/A</c:v>
                </c:pt>
                <c:pt idx="9456">
                  <c:v>1.9267399999999999</c:v>
                </c:pt>
                <c:pt idx="9457">
                  <c:v>2.0665</c:v>
                </c:pt>
                <c:pt idx="9458">
                  <c:v>2.3511799999999998</c:v>
                </c:pt>
                <c:pt idx="9459">
                  <c:v>2.13266</c:v>
                </c:pt>
                <c:pt idx="9460">
                  <c:v>#N/A</c:v>
                </c:pt>
                <c:pt idx="9461">
                  <c:v>2.3548200000000001</c:v>
                </c:pt>
                <c:pt idx="9462">
                  <c:v>2.6892299999999998</c:v>
                </c:pt>
                <c:pt idx="9463">
                  <c:v>2.5971099999999998</c:v>
                </c:pt>
                <c:pt idx="9464">
                  <c:v>#N/A</c:v>
                </c:pt>
                <c:pt idx="9465">
                  <c:v>2.1942300000000001</c:v>
                </c:pt>
                <c:pt idx="9466">
                  <c:v>2.5361699999999998</c:v>
                </c:pt>
                <c:pt idx="9467">
                  <c:v>2.3949799999999999</c:v>
                </c:pt>
                <c:pt idx="9468">
                  <c:v>#N/A</c:v>
                </c:pt>
                <c:pt idx="9469">
                  <c:v>2.0308600000000001</c:v>
                </c:pt>
                <c:pt idx="9470">
                  <c:v>2.26518</c:v>
                </c:pt>
                <c:pt idx="9471">
                  <c:v>2.4458000000000002</c:v>
                </c:pt>
                <c:pt idx="9472">
                  <c:v>2.4053300000000002</c:v>
                </c:pt>
                <c:pt idx="9473">
                  <c:v>#N/A</c:v>
                </c:pt>
                <c:pt idx="9474">
                  <c:v>2.3546299999999998</c:v>
                </c:pt>
                <c:pt idx="9475">
                  <c:v>2.5981999999999998</c:v>
                </c:pt>
                <c:pt idx="9476">
                  <c:v>2.50135</c:v>
                </c:pt>
                <c:pt idx="9477">
                  <c:v>#N/A</c:v>
                </c:pt>
                <c:pt idx="9478">
                  <c:v>2.58195</c:v>
                </c:pt>
                <c:pt idx="9479">
                  <c:v>2.40788</c:v>
                </c:pt>
                <c:pt idx="9480">
                  <c:v>2.2172399999999999</c:v>
                </c:pt>
                <c:pt idx="9481">
                  <c:v>2.4050699999999998</c:v>
                </c:pt>
                <c:pt idx="9482">
                  <c:v>#N/A</c:v>
                </c:pt>
                <c:pt idx="9483">
                  <c:v>2.8722400000000001</c:v>
                </c:pt>
                <c:pt idx="9484">
                  <c:v>#N/A</c:v>
                </c:pt>
                <c:pt idx="9485">
                  <c:v>2.70581</c:v>
                </c:pt>
                <c:pt idx="9486">
                  <c:v>2.13076</c:v>
                </c:pt>
                <c:pt idx="9487">
                  <c:v>#N/A</c:v>
                </c:pt>
                <c:pt idx="9488">
                  <c:v>2.44719</c:v>
                </c:pt>
                <c:pt idx="9489">
                  <c:v>2.1703600000000001</c:v>
                </c:pt>
                <c:pt idx="9490">
                  <c:v>1.60961</c:v>
                </c:pt>
                <c:pt idx="9491">
                  <c:v>2.40191</c:v>
                </c:pt>
                <c:pt idx="9492">
                  <c:v>#N/A</c:v>
                </c:pt>
                <c:pt idx="9493">
                  <c:v>2.2473000000000001</c:v>
                </c:pt>
                <c:pt idx="9494">
                  <c:v>2.7079300000000002</c:v>
                </c:pt>
                <c:pt idx="9495">
                  <c:v>2.2753899999999998</c:v>
                </c:pt>
                <c:pt idx="9496">
                  <c:v>#N/A</c:v>
                </c:pt>
                <c:pt idx="9497">
                  <c:v>2.53796</c:v>
                </c:pt>
                <c:pt idx="9498">
                  <c:v>2.44218</c:v>
                </c:pt>
                <c:pt idx="9499">
                  <c:v>2.5105599999999999</c:v>
                </c:pt>
                <c:pt idx="9500">
                  <c:v>2.5880000000000001</c:v>
                </c:pt>
                <c:pt idx="9501">
                  <c:v>#N/A</c:v>
                </c:pt>
                <c:pt idx="9502">
                  <c:v>2.1432500000000001</c:v>
                </c:pt>
                <c:pt idx="9503">
                  <c:v>2.18608</c:v>
                </c:pt>
                <c:pt idx="9504">
                  <c:v>3.07857</c:v>
                </c:pt>
                <c:pt idx="9505">
                  <c:v>2.8980299999999999</c:v>
                </c:pt>
                <c:pt idx="9506">
                  <c:v>#N/A</c:v>
                </c:pt>
                <c:pt idx="9507">
                  <c:v>2.4558200000000001</c:v>
                </c:pt>
                <c:pt idx="9508">
                  <c:v>2.10764</c:v>
                </c:pt>
                <c:pt idx="9509">
                  <c:v>1.9291499999999999</c:v>
                </c:pt>
                <c:pt idx="9510">
                  <c:v>#N/A</c:v>
                </c:pt>
                <c:pt idx="9511">
                  <c:v>2.0380600000000002</c:v>
                </c:pt>
                <c:pt idx="9512">
                  <c:v>1.73759</c:v>
                </c:pt>
                <c:pt idx="9513">
                  <c:v>2.61361</c:v>
                </c:pt>
                <c:pt idx="9514">
                  <c:v>2.5169800000000002</c:v>
                </c:pt>
                <c:pt idx="9515">
                  <c:v>#N/A</c:v>
                </c:pt>
                <c:pt idx="9516">
                  <c:v>2.6217700000000002</c:v>
                </c:pt>
                <c:pt idx="9517">
                  <c:v>2.68458</c:v>
                </c:pt>
                <c:pt idx="9518">
                  <c:v>2.6813099999999999</c:v>
                </c:pt>
                <c:pt idx="9519">
                  <c:v>#N/A</c:v>
                </c:pt>
                <c:pt idx="9520">
                  <c:v>2.7264400000000002</c:v>
                </c:pt>
                <c:pt idx="9521">
                  <c:v>2.6739600000000001</c:v>
                </c:pt>
                <c:pt idx="9522">
                  <c:v>3.55464</c:v>
                </c:pt>
                <c:pt idx="9523">
                  <c:v>#N/A</c:v>
                </c:pt>
                <c:pt idx="9524">
                  <c:v>2.6352099999999998</c:v>
                </c:pt>
                <c:pt idx="9525">
                  <c:v>2.3927200000000002</c:v>
                </c:pt>
                <c:pt idx="9526">
                  <c:v>2.3419699999999999</c:v>
                </c:pt>
                <c:pt idx="9527">
                  <c:v>2.3738800000000002</c:v>
                </c:pt>
                <c:pt idx="9528">
                  <c:v>#N/A</c:v>
                </c:pt>
                <c:pt idx="9529">
                  <c:v>2.3259699999999999</c:v>
                </c:pt>
                <c:pt idx="9530">
                  <c:v>1.84833</c:v>
                </c:pt>
                <c:pt idx="9531">
                  <c:v>2.36477</c:v>
                </c:pt>
                <c:pt idx="9532">
                  <c:v>#N/A</c:v>
                </c:pt>
                <c:pt idx="9533">
                  <c:v>2.1743700000000001</c:v>
                </c:pt>
                <c:pt idx="9534">
                  <c:v>2.5074399999999999</c:v>
                </c:pt>
                <c:pt idx="9535">
                  <c:v>2.4446400000000001</c:v>
                </c:pt>
                <c:pt idx="9536">
                  <c:v>2.5724900000000002</c:v>
                </c:pt>
                <c:pt idx="9537">
                  <c:v>#N/A</c:v>
                </c:pt>
                <c:pt idx="9538">
                  <c:v>2.3182100000000001</c:v>
                </c:pt>
                <c:pt idx="9539">
                  <c:v>2.3750200000000001</c:v>
                </c:pt>
                <c:pt idx="9540">
                  <c:v>2.68825</c:v>
                </c:pt>
                <c:pt idx="9541">
                  <c:v>#N/A</c:v>
                </c:pt>
                <c:pt idx="9542">
                  <c:v>2.9275000000000002</c:v>
                </c:pt>
                <c:pt idx="9543">
                  <c:v>2.6983299999999999</c:v>
                </c:pt>
                <c:pt idx="9544">
                  <c:v>3.17801</c:v>
                </c:pt>
                <c:pt idx="9545">
                  <c:v>#N/A</c:v>
                </c:pt>
                <c:pt idx="9546">
                  <c:v>3.0242</c:v>
                </c:pt>
                <c:pt idx="9547">
                  <c:v>2.3759299999999999</c:v>
                </c:pt>
                <c:pt idx="9548">
                  <c:v>2.1023399999999999</c:v>
                </c:pt>
                <c:pt idx="9549">
                  <c:v>2.2145700000000001</c:v>
                </c:pt>
                <c:pt idx="9550">
                  <c:v>#N/A</c:v>
                </c:pt>
                <c:pt idx="9551">
                  <c:v>2.41255</c:v>
                </c:pt>
                <c:pt idx="9552">
                  <c:v>2.5022799999999998</c:v>
                </c:pt>
                <c:pt idx="9553">
                  <c:v>2.1113599999999999</c:v>
                </c:pt>
                <c:pt idx="9554">
                  <c:v>#N/A</c:v>
                </c:pt>
                <c:pt idx="9555">
                  <c:v>2.9194499999999999</c:v>
                </c:pt>
                <c:pt idx="9556">
                  <c:v>2.59273</c:v>
                </c:pt>
                <c:pt idx="9557">
                  <c:v>#N/A</c:v>
                </c:pt>
                <c:pt idx="9558">
                  <c:v>2.7107199999999998</c:v>
                </c:pt>
                <c:pt idx="9559">
                  <c:v>2.2838500000000002</c:v>
                </c:pt>
                <c:pt idx="9560">
                  <c:v>2.9215200000000001</c:v>
                </c:pt>
                <c:pt idx="9561">
                  <c:v>#N/A</c:v>
                </c:pt>
                <c:pt idx="9562">
                  <c:v>2.5420199999999999</c:v>
                </c:pt>
                <c:pt idx="9563">
                  <c:v>3.15326</c:v>
                </c:pt>
                <c:pt idx="9564">
                  <c:v>2.6772399999999998</c:v>
                </c:pt>
                <c:pt idx="9565">
                  <c:v>2.6757499999999999</c:v>
                </c:pt>
                <c:pt idx="9566">
                  <c:v>#N/A</c:v>
                </c:pt>
                <c:pt idx="9567">
                  <c:v>2.3320099999999999</c:v>
                </c:pt>
                <c:pt idx="9568">
                  <c:v>2.2477</c:v>
                </c:pt>
                <c:pt idx="9569">
                  <c:v>2.2463700000000002</c:v>
                </c:pt>
                <c:pt idx="9570">
                  <c:v>1.5793600000000001</c:v>
                </c:pt>
                <c:pt idx="9571">
                  <c:v>#N/A</c:v>
                </c:pt>
                <c:pt idx="9572">
                  <c:v>1.63439</c:v>
                </c:pt>
                <c:pt idx="9573">
                  <c:v>2.26532</c:v>
                </c:pt>
                <c:pt idx="9574">
                  <c:v>2.7641200000000001</c:v>
                </c:pt>
                <c:pt idx="9575">
                  <c:v>#N/A</c:v>
                </c:pt>
                <c:pt idx="9576">
                  <c:v>2.7891599999999999</c:v>
                </c:pt>
                <c:pt idx="9577">
                  <c:v>2.6095600000000001</c:v>
                </c:pt>
                <c:pt idx="9578">
                  <c:v>2.2835000000000001</c:v>
                </c:pt>
                <c:pt idx="9579">
                  <c:v>2.6167699999999998</c:v>
                </c:pt>
                <c:pt idx="9580">
                  <c:v>#N/A</c:v>
                </c:pt>
                <c:pt idx="9581">
                  <c:v>2.5196700000000001</c:v>
                </c:pt>
                <c:pt idx="9582">
                  <c:v>3.0020199999999999</c:v>
                </c:pt>
                <c:pt idx="9583">
                  <c:v>3.0255000000000001</c:v>
                </c:pt>
                <c:pt idx="9584">
                  <c:v>#N/A</c:v>
                </c:pt>
                <c:pt idx="9585">
                  <c:v>3.0014400000000001</c:v>
                </c:pt>
                <c:pt idx="9586">
                  <c:v>2.9641099999999998</c:v>
                </c:pt>
                <c:pt idx="9587">
                  <c:v>2.5614599999999998</c:v>
                </c:pt>
                <c:pt idx="9588">
                  <c:v>1.9655499999999999</c:v>
                </c:pt>
                <c:pt idx="9589">
                  <c:v>#N/A</c:v>
                </c:pt>
                <c:pt idx="9590">
                  <c:v>2.3195800000000002</c:v>
                </c:pt>
                <c:pt idx="9591">
                  <c:v>2.1158000000000001</c:v>
                </c:pt>
                <c:pt idx="9592">
                  <c:v>2.4770799999999999</c:v>
                </c:pt>
                <c:pt idx="9593">
                  <c:v>#N/A</c:v>
                </c:pt>
                <c:pt idx="9594">
                  <c:v>2.0579000000000001</c:v>
                </c:pt>
                <c:pt idx="9595">
                  <c:v>2.7147999999999999</c:v>
                </c:pt>
                <c:pt idx="9596">
                  <c:v>2.5865100000000001</c:v>
                </c:pt>
                <c:pt idx="9597">
                  <c:v>2.6478199999999998</c:v>
                </c:pt>
                <c:pt idx="9598">
                  <c:v>#N/A</c:v>
                </c:pt>
                <c:pt idx="9599">
                  <c:v>2.7162700000000002</c:v>
                </c:pt>
                <c:pt idx="9600">
                  <c:v>2.8376999999999999</c:v>
                </c:pt>
                <c:pt idx="9601">
                  <c:v>2.56413</c:v>
                </c:pt>
                <c:pt idx="9602">
                  <c:v>#N/A</c:v>
                </c:pt>
                <c:pt idx="9603">
                  <c:v>2.3103699999999998</c:v>
                </c:pt>
                <c:pt idx="9604">
                  <c:v>2.2691400000000002</c:v>
                </c:pt>
                <c:pt idx="9605">
                  <c:v>2.6700200000000001</c:v>
                </c:pt>
                <c:pt idx="9606">
                  <c:v>#N/A</c:v>
                </c:pt>
                <c:pt idx="9607">
                  <c:v>2.6756600000000001</c:v>
                </c:pt>
                <c:pt idx="9608">
                  <c:v>1.8503099999999999</c:v>
                </c:pt>
                <c:pt idx="9609">
                  <c:v>2.35629</c:v>
                </c:pt>
                <c:pt idx="9610">
                  <c:v>#N/A</c:v>
                </c:pt>
                <c:pt idx="9611">
                  <c:v>1.80915</c:v>
                </c:pt>
                <c:pt idx="9612">
                  <c:v>1.6531100000000001</c:v>
                </c:pt>
                <c:pt idx="9613">
                  <c:v>2.5035699999999999</c:v>
                </c:pt>
                <c:pt idx="9614">
                  <c:v>2.6355300000000002</c:v>
                </c:pt>
                <c:pt idx="9615">
                  <c:v>#N/A</c:v>
                </c:pt>
                <c:pt idx="9616">
                  <c:v>2.99918</c:v>
                </c:pt>
                <c:pt idx="9617">
                  <c:v>2.4123899999999998</c:v>
                </c:pt>
                <c:pt idx="9618">
                  <c:v>2.6663700000000001</c:v>
                </c:pt>
                <c:pt idx="9619">
                  <c:v>#N/A</c:v>
                </c:pt>
                <c:pt idx="9620">
                  <c:v>2.4952999999999999</c:v>
                </c:pt>
                <c:pt idx="9621">
                  <c:v>2.8645200000000002</c:v>
                </c:pt>
                <c:pt idx="9622">
                  <c:v>3.49396</c:v>
                </c:pt>
                <c:pt idx="9623">
                  <c:v>2.80992</c:v>
                </c:pt>
                <c:pt idx="9624">
                  <c:v>#N/A</c:v>
                </c:pt>
                <c:pt idx="9625">
                  <c:v>2.9258000000000002</c:v>
                </c:pt>
                <c:pt idx="9626">
                  <c:v>2.41839</c:v>
                </c:pt>
                <c:pt idx="9627">
                  <c:v>#N/A</c:v>
                </c:pt>
                <c:pt idx="9628">
                  <c:v>2.00502</c:v>
                </c:pt>
                <c:pt idx="9629">
                  <c:v>#N/A</c:v>
                </c:pt>
                <c:pt idx="9630">
                  <c:v>1.73411</c:v>
                </c:pt>
                <c:pt idx="9631">
                  <c:v>2.09267</c:v>
                </c:pt>
                <c:pt idx="9632">
                  <c:v>2.4704899999999999</c:v>
                </c:pt>
                <c:pt idx="9633">
                  <c:v>#N/A</c:v>
                </c:pt>
                <c:pt idx="9634">
                  <c:v>2.5124499999999999</c:v>
                </c:pt>
                <c:pt idx="9635">
                  <c:v>2.3876599999999999</c:v>
                </c:pt>
                <c:pt idx="9636">
                  <c:v>2.4186700000000001</c:v>
                </c:pt>
                <c:pt idx="9637">
                  <c:v>#N/A</c:v>
                </c:pt>
                <c:pt idx="9638">
                  <c:v>2.5772900000000001</c:v>
                </c:pt>
                <c:pt idx="9639">
                  <c:v>2.5564900000000002</c:v>
                </c:pt>
                <c:pt idx="9640">
                  <c:v>2.6876099999999998</c:v>
                </c:pt>
                <c:pt idx="9641">
                  <c:v>#N/A</c:v>
                </c:pt>
                <c:pt idx="9642">
                  <c:v>2.8691900000000001</c:v>
                </c:pt>
                <c:pt idx="9643">
                  <c:v>2.8538800000000002</c:v>
                </c:pt>
                <c:pt idx="9644">
                  <c:v>3.20892</c:v>
                </c:pt>
                <c:pt idx="9645">
                  <c:v>2.8939499999999998</c:v>
                </c:pt>
                <c:pt idx="9646">
                  <c:v>#N/A</c:v>
                </c:pt>
                <c:pt idx="9647">
                  <c:v>2.3478400000000001</c:v>
                </c:pt>
                <c:pt idx="9648">
                  <c:v>1.9858</c:v>
                </c:pt>
                <c:pt idx="9649">
                  <c:v>2.0237400000000001</c:v>
                </c:pt>
                <c:pt idx="9650">
                  <c:v>#N/A</c:v>
                </c:pt>
                <c:pt idx="9651">
                  <c:v>2.52501</c:v>
                </c:pt>
                <c:pt idx="9652">
                  <c:v>2.6697299999999999</c:v>
                </c:pt>
                <c:pt idx="9653">
                  <c:v>2.7175799999999999</c:v>
                </c:pt>
                <c:pt idx="9654">
                  <c:v>#N/A</c:v>
                </c:pt>
                <c:pt idx="9655">
                  <c:v>2.8960900000000001</c:v>
                </c:pt>
                <c:pt idx="9656">
                  <c:v>2.9480599999999999</c:v>
                </c:pt>
                <c:pt idx="9657">
                  <c:v>2.9306199999999998</c:v>
                </c:pt>
                <c:pt idx="9658">
                  <c:v>2.9120400000000002</c:v>
                </c:pt>
                <c:pt idx="9659">
                  <c:v>#N/A</c:v>
                </c:pt>
                <c:pt idx="9660">
                  <c:v>2.74858</c:v>
                </c:pt>
                <c:pt idx="9661">
                  <c:v>2.8131499999999998</c:v>
                </c:pt>
                <c:pt idx="9662">
                  <c:v>2.8161999999999998</c:v>
                </c:pt>
                <c:pt idx="9663">
                  <c:v>#N/A</c:v>
                </c:pt>
                <c:pt idx="9664">
                  <c:v>2.9996900000000002</c:v>
                </c:pt>
                <c:pt idx="9665">
                  <c:v>2.8715099999999998</c:v>
                </c:pt>
                <c:pt idx="9666">
                  <c:v>2.2329400000000001</c:v>
                </c:pt>
                <c:pt idx="9667">
                  <c:v>#N/A</c:v>
                </c:pt>
                <c:pt idx="9668">
                  <c:v>2.3728799999999999</c:v>
                </c:pt>
                <c:pt idx="9669">
                  <c:v>2.3527999999999998</c:v>
                </c:pt>
                <c:pt idx="9670">
                  <c:v>2.44272</c:v>
                </c:pt>
                <c:pt idx="9671">
                  <c:v>2.0311599999999999</c:v>
                </c:pt>
                <c:pt idx="9672">
                  <c:v>#N/A</c:v>
                </c:pt>
                <c:pt idx="9673">
                  <c:v>2.4824299999999999</c:v>
                </c:pt>
                <c:pt idx="9674">
                  <c:v>2.4574400000000001</c:v>
                </c:pt>
                <c:pt idx="9675">
                  <c:v>2.4491299999999998</c:v>
                </c:pt>
                <c:pt idx="9676">
                  <c:v>#N/A</c:v>
                </c:pt>
                <c:pt idx="9677">
                  <c:v>2.87534</c:v>
                </c:pt>
                <c:pt idx="9678">
                  <c:v>2.53173</c:v>
                </c:pt>
                <c:pt idx="9679">
                  <c:v>2.7947799999999998</c:v>
                </c:pt>
                <c:pt idx="9680">
                  <c:v>#N/A</c:v>
                </c:pt>
                <c:pt idx="9681">
                  <c:v>2.9149600000000002</c:v>
                </c:pt>
                <c:pt idx="9682">
                  <c:v>2.9598100000000001</c:v>
                </c:pt>
                <c:pt idx="9683">
                  <c:v>2.8731399999999998</c:v>
                </c:pt>
                <c:pt idx="9684">
                  <c:v>2.7638400000000001</c:v>
                </c:pt>
                <c:pt idx="9685">
                  <c:v>#N/A</c:v>
                </c:pt>
                <c:pt idx="9686">
                  <c:v>2.5937600000000001</c:v>
                </c:pt>
                <c:pt idx="9687">
                  <c:v>2.3691300000000002</c:v>
                </c:pt>
                <c:pt idx="9688">
                  <c:v>1.8796299999999999</c:v>
                </c:pt>
                <c:pt idx="9689">
                  <c:v>#N/A</c:v>
                </c:pt>
                <c:pt idx="9690">
                  <c:v>1.58934</c:v>
                </c:pt>
                <c:pt idx="9691">
                  <c:v>2.39845</c:v>
                </c:pt>
                <c:pt idx="9692">
                  <c:v>2.3864299999999998</c:v>
                </c:pt>
                <c:pt idx="9693">
                  <c:v>2.00318</c:v>
                </c:pt>
                <c:pt idx="9694">
                  <c:v>#N/A</c:v>
                </c:pt>
                <c:pt idx="9695">
                  <c:v>2.2943500000000001</c:v>
                </c:pt>
                <c:pt idx="9696">
                  <c:v>2.3934899999999999</c:v>
                </c:pt>
                <c:pt idx="9697">
                  <c:v>2.6908400000000001</c:v>
                </c:pt>
                <c:pt idx="9698">
                  <c:v>#N/A</c:v>
                </c:pt>
                <c:pt idx="9699">
                  <c:v>2.3265199999999999</c:v>
                </c:pt>
                <c:pt idx="9700">
                  <c:v>3.0114100000000001</c:v>
                </c:pt>
                <c:pt idx="9701">
                  <c:v>2.6221399999999999</c:v>
                </c:pt>
                <c:pt idx="9702">
                  <c:v>2.5938300000000001</c:v>
                </c:pt>
                <c:pt idx="9703">
                  <c:v>#N/A</c:v>
                </c:pt>
                <c:pt idx="9704">
                  <c:v>3.2266900000000001</c:v>
                </c:pt>
                <c:pt idx="9705">
                  <c:v>2.9781300000000002</c:v>
                </c:pt>
                <c:pt idx="9706">
                  <c:v>2.4470499999999999</c:v>
                </c:pt>
                <c:pt idx="9707">
                  <c:v>#N/A</c:v>
                </c:pt>
                <c:pt idx="9708">
                  <c:v>2.0511200000000001</c:v>
                </c:pt>
                <c:pt idx="9709">
                  <c:v>1.87103</c:v>
                </c:pt>
                <c:pt idx="9710">
                  <c:v>1.8582099999999999</c:v>
                </c:pt>
                <c:pt idx="9711">
                  <c:v>#N/A</c:v>
                </c:pt>
                <c:pt idx="9712">
                  <c:v>1.9845900000000001</c:v>
                </c:pt>
                <c:pt idx="9713">
                  <c:v>2.5141399999999998</c:v>
                </c:pt>
                <c:pt idx="9714">
                  <c:v>2.94157</c:v>
                </c:pt>
                <c:pt idx="9715">
                  <c:v>#N/A</c:v>
                </c:pt>
                <c:pt idx="9716">
                  <c:v>2.87324</c:v>
                </c:pt>
                <c:pt idx="9717">
                  <c:v>2.2682199999999999</c:v>
                </c:pt>
                <c:pt idx="9718">
                  <c:v>2.4590900000000002</c:v>
                </c:pt>
                <c:pt idx="9719">
                  <c:v>2.2898999999999998</c:v>
                </c:pt>
                <c:pt idx="9720">
                  <c:v>#N/A</c:v>
                </c:pt>
                <c:pt idx="9721">
                  <c:v>2.43242</c:v>
                </c:pt>
                <c:pt idx="9722">
                  <c:v>3.1053199999999999</c:v>
                </c:pt>
                <c:pt idx="9723">
                  <c:v>2.5855600000000001</c:v>
                </c:pt>
                <c:pt idx="9724">
                  <c:v>2.9745900000000001</c:v>
                </c:pt>
                <c:pt idx="9725">
                  <c:v>#N/A</c:v>
                </c:pt>
                <c:pt idx="9726">
                  <c:v>2.52278</c:v>
                </c:pt>
                <c:pt idx="9727">
                  <c:v>2.9693999999999998</c:v>
                </c:pt>
                <c:pt idx="9728">
                  <c:v>2.1750400000000001</c:v>
                </c:pt>
                <c:pt idx="9729">
                  <c:v>#N/A</c:v>
                </c:pt>
                <c:pt idx="9730">
                  <c:v>2.0799799999999999</c:v>
                </c:pt>
                <c:pt idx="9731">
                  <c:v>2.4030300000000002</c:v>
                </c:pt>
                <c:pt idx="9732">
                  <c:v>2.1525400000000001</c:v>
                </c:pt>
                <c:pt idx="9733">
                  <c:v>2.04373</c:v>
                </c:pt>
                <c:pt idx="9734">
                  <c:v>#N/A</c:v>
                </c:pt>
                <c:pt idx="9735">
                  <c:v>2.7492200000000002</c:v>
                </c:pt>
                <c:pt idx="9736">
                  <c:v>3.0069900000000001</c:v>
                </c:pt>
                <c:pt idx="9737">
                  <c:v>3.03823</c:v>
                </c:pt>
                <c:pt idx="9738">
                  <c:v>#N/A</c:v>
                </c:pt>
                <c:pt idx="9739">
                  <c:v>3.14411</c:v>
                </c:pt>
                <c:pt idx="9740">
                  <c:v>2.8401399999999999</c:v>
                </c:pt>
                <c:pt idx="9741">
                  <c:v>2.6202399999999999</c:v>
                </c:pt>
                <c:pt idx="9742">
                  <c:v>2.4453399999999998</c:v>
                </c:pt>
                <c:pt idx="9743">
                  <c:v>#N/A</c:v>
                </c:pt>
                <c:pt idx="9744">
                  <c:v>2.3898999999999999</c:v>
                </c:pt>
                <c:pt idx="9745">
                  <c:v>2.5864799999999999</c:v>
                </c:pt>
                <c:pt idx="9746">
                  <c:v>2.57429</c:v>
                </c:pt>
                <c:pt idx="9747">
                  <c:v>#N/A</c:v>
                </c:pt>
                <c:pt idx="9748">
                  <c:v>1.84656</c:v>
                </c:pt>
                <c:pt idx="9749">
                  <c:v>2.5609999999999999</c:v>
                </c:pt>
                <c:pt idx="9750">
                  <c:v>2.4844599999999999</c:v>
                </c:pt>
                <c:pt idx="9751">
                  <c:v>1.9300200000000001</c:v>
                </c:pt>
                <c:pt idx="9752">
                  <c:v>#N/A</c:v>
                </c:pt>
                <c:pt idx="9753">
                  <c:v>2.3774600000000001</c:v>
                </c:pt>
                <c:pt idx="9754">
                  <c:v>2.5568</c:v>
                </c:pt>
                <c:pt idx="9755">
                  <c:v>2.8696100000000002</c:v>
                </c:pt>
                <c:pt idx="9756">
                  <c:v>#N/A</c:v>
                </c:pt>
                <c:pt idx="9757">
                  <c:v>2.7894000000000001</c:v>
                </c:pt>
                <c:pt idx="9758">
                  <c:v>2.9212099999999999</c:v>
                </c:pt>
                <c:pt idx="9759">
                  <c:v>3.0156499999999999</c:v>
                </c:pt>
                <c:pt idx="9760">
                  <c:v>2.9657200000000001</c:v>
                </c:pt>
                <c:pt idx="9761">
                  <c:v>#N/A</c:v>
                </c:pt>
                <c:pt idx="9762">
                  <c:v>3.19292</c:v>
                </c:pt>
                <c:pt idx="9763">
                  <c:v>3.2816999999999998</c:v>
                </c:pt>
                <c:pt idx="9764">
                  <c:v>3.05742</c:v>
                </c:pt>
                <c:pt idx="9765">
                  <c:v>#N/A</c:v>
                </c:pt>
                <c:pt idx="9766">
                  <c:v>2.8560500000000002</c:v>
                </c:pt>
                <c:pt idx="9767">
                  <c:v>2.6254400000000002</c:v>
                </c:pt>
                <c:pt idx="9768">
                  <c:v>2.4080499999999998</c:v>
                </c:pt>
                <c:pt idx="9769">
                  <c:v>#N/A</c:v>
                </c:pt>
                <c:pt idx="9770">
                  <c:v>2.42164</c:v>
                </c:pt>
                <c:pt idx="9771">
                  <c:v>#N/A</c:v>
                </c:pt>
                <c:pt idx="9772">
                  <c:v>2.9066299999999998</c:v>
                </c:pt>
                <c:pt idx="9773">
                  <c:v>3.0661299999999998</c:v>
                </c:pt>
                <c:pt idx="9774">
                  <c:v>#N/A</c:v>
                </c:pt>
                <c:pt idx="9775">
                  <c:v>2.9957799999999999</c:v>
                </c:pt>
                <c:pt idx="9776">
                  <c:v>2.55626</c:v>
                </c:pt>
                <c:pt idx="9777">
                  <c:v>2.4892300000000001</c:v>
                </c:pt>
                <c:pt idx="9778">
                  <c:v>#N/A</c:v>
                </c:pt>
                <c:pt idx="9779">
                  <c:v>2.5160200000000001</c:v>
                </c:pt>
                <c:pt idx="9780">
                  <c:v>2.9735399999999998</c:v>
                </c:pt>
                <c:pt idx="9781">
                  <c:v>3.1290900000000001</c:v>
                </c:pt>
                <c:pt idx="9782">
                  <c:v>2.9950600000000001</c:v>
                </c:pt>
                <c:pt idx="9783">
                  <c:v>#N/A</c:v>
                </c:pt>
                <c:pt idx="9784">
                  <c:v>2.8187199999999999</c:v>
                </c:pt>
                <c:pt idx="9785">
                  <c:v>3.1813699999999998</c:v>
                </c:pt>
                <c:pt idx="9786">
                  <c:v>2.6878600000000001</c:v>
                </c:pt>
                <c:pt idx="9787">
                  <c:v>#N/A</c:v>
                </c:pt>
                <c:pt idx="9788">
                  <c:v>2.3736899999999999</c:v>
                </c:pt>
                <c:pt idx="9789">
                  <c:v>3.09111</c:v>
                </c:pt>
                <c:pt idx="9790">
                  <c:v>2.6775699999999998</c:v>
                </c:pt>
                <c:pt idx="9791">
                  <c:v>2.9247399999999999</c:v>
                </c:pt>
                <c:pt idx="9792">
                  <c:v>#N/A</c:v>
                </c:pt>
                <c:pt idx="9793">
                  <c:v>2.5684</c:v>
                </c:pt>
                <c:pt idx="9794">
                  <c:v>3.3954300000000002</c:v>
                </c:pt>
                <c:pt idx="9795">
                  <c:v>3.3232499999999998</c:v>
                </c:pt>
                <c:pt idx="9796">
                  <c:v>#N/A</c:v>
                </c:pt>
                <c:pt idx="9797">
                  <c:v>2.8277000000000001</c:v>
                </c:pt>
                <c:pt idx="9798">
                  <c:v>2.5672999999999999</c:v>
                </c:pt>
                <c:pt idx="9799">
                  <c:v>2.1569500000000001</c:v>
                </c:pt>
                <c:pt idx="9800">
                  <c:v>#N/A</c:v>
                </c:pt>
                <c:pt idx="9801">
                  <c:v>2.11144</c:v>
                </c:pt>
                <c:pt idx="9802">
                  <c:v>2.3730899999999999</c:v>
                </c:pt>
                <c:pt idx="9803">
                  <c:v>2.7873899999999998</c:v>
                </c:pt>
                <c:pt idx="9804">
                  <c:v>2.0613600000000001</c:v>
                </c:pt>
                <c:pt idx="9805">
                  <c:v>#N/A</c:v>
                </c:pt>
                <c:pt idx="9806">
                  <c:v>2.1654399999999998</c:v>
                </c:pt>
                <c:pt idx="9807">
                  <c:v>2.3058000000000001</c:v>
                </c:pt>
                <c:pt idx="9808">
                  <c:v>2.2021999999999999</c:v>
                </c:pt>
                <c:pt idx="9809">
                  <c:v>#N/A</c:v>
                </c:pt>
                <c:pt idx="9810">
                  <c:v>2.4201299999999999</c:v>
                </c:pt>
                <c:pt idx="9811">
                  <c:v>2.51715</c:v>
                </c:pt>
                <c:pt idx="9812">
                  <c:v>2.53159</c:v>
                </c:pt>
                <c:pt idx="9813">
                  <c:v>2.9603999999999999</c:v>
                </c:pt>
                <c:pt idx="9814">
                  <c:v>#N/A</c:v>
                </c:pt>
                <c:pt idx="9815">
                  <c:v>3.0217200000000002</c:v>
                </c:pt>
                <c:pt idx="9816">
                  <c:v>3.3749600000000002</c:v>
                </c:pt>
                <c:pt idx="9817">
                  <c:v>3.0267499999999998</c:v>
                </c:pt>
                <c:pt idx="9818">
                  <c:v>#N/A</c:v>
                </c:pt>
                <c:pt idx="9819">
                  <c:v>2.7798699999999998</c:v>
                </c:pt>
                <c:pt idx="9820">
                  <c:v>2.9346800000000002</c:v>
                </c:pt>
                <c:pt idx="9821">
                  <c:v>2.4091900000000002</c:v>
                </c:pt>
                <c:pt idx="9822">
                  <c:v>2.2432699999999999</c:v>
                </c:pt>
                <c:pt idx="9823">
                  <c:v>#N/A</c:v>
                </c:pt>
                <c:pt idx="9824">
                  <c:v>2.4576899999999999</c:v>
                </c:pt>
                <c:pt idx="9825">
                  <c:v>2.7387999999999999</c:v>
                </c:pt>
                <c:pt idx="9826">
                  <c:v>2.4508899999999998</c:v>
                </c:pt>
                <c:pt idx="9827">
                  <c:v>#N/A</c:v>
                </c:pt>
                <c:pt idx="9828">
                  <c:v>1.96827</c:v>
                </c:pt>
                <c:pt idx="9829">
                  <c:v>2.3194900000000001</c:v>
                </c:pt>
                <c:pt idx="9830">
                  <c:v>2.7002999999999999</c:v>
                </c:pt>
                <c:pt idx="9831">
                  <c:v>2.53234</c:v>
                </c:pt>
                <c:pt idx="9832">
                  <c:v>#N/A</c:v>
                </c:pt>
                <c:pt idx="9833">
                  <c:v>2.8835099999999998</c:v>
                </c:pt>
                <c:pt idx="9834">
                  <c:v>3.1512799999999999</c:v>
                </c:pt>
                <c:pt idx="9835">
                  <c:v>3.2997399999999999</c:v>
                </c:pt>
                <c:pt idx="9836">
                  <c:v>#N/A</c:v>
                </c:pt>
                <c:pt idx="9837">
                  <c:v>2.65076</c:v>
                </c:pt>
                <c:pt idx="9838">
                  <c:v>2.76491</c:v>
                </c:pt>
                <c:pt idx="9839">
                  <c:v>2.6495299999999999</c:v>
                </c:pt>
                <c:pt idx="9840">
                  <c:v>#N/A</c:v>
                </c:pt>
                <c:pt idx="9841">
                  <c:v>3.0607099999999998</c:v>
                </c:pt>
                <c:pt idx="9842">
                  <c:v>3.1911999999999998</c:v>
                </c:pt>
                <c:pt idx="9843">
                  <c:v>2.9147799999999999</c:v>
                </c:pt>
                <c:pt idx="9844">
                  <c:v>2.95858</c:v>
                </c:pt>
                <c:pt idx="9845">
                  <c:v>#N/A</c:v>
                </c:pt>
                <c:pt idx="9846">
                  <c:v>2.5859299999999998</c:v>
                </c:pt>
                <c:pt idx="9847">
                  <c:v>2.8370199999999999</c:v>
                </c:pt>
                <c:pt idx="9848">
                  <c:v>2.1623899999999998</c:v>
                </c:pt>
                <c:pt idx="9849">
                  <c:v>2.2092700000000001</c:v>
                </c:pt>
                <c:pt idx="9850">
                  <c:v>#N/A</c:v>
                </c:pt>
                <c:pt idx="9851">
                  <c:v>1.89995</c:v>
                </c:pt>
                <c:pt idx="9852">
                  <c:v>2.8014000000000001</c:v>
                </c:pt>
                <c:pt idx="9853">
                  <c:v>2.6675900000000001</c:v>
                </c:pt>
                <c:pt idx="9854">
                  <c:v>#N/A</c:v>
                </c:pt>
                <c:pt idx="9855">
                  <c:v>3.2751399999999999</c:v>
                </c:pt>
                <c:pt idx="9856">
                  <c:v>2.9289999999999998</c:v>
                </c:pt>
                <c:pt idx="9857">
                  <c:v>2.9083399999999999</c:v>
                </c:pt>
                <c:pt idx="9858">
                  <c:v>#N/A</c:v>
                </c:pt>
                <c:pt idx="9859">
                  <c:v>2.60412</c:v>
                </c:pt>
                <c:pt idx="9860">
                  <c:v>2.2749799999999998</c:v>
                </c:pt>
                <c:pt idx="9861">
                  <c:v>2.7822</c:v>
                </c:pt>
                <c:pt idx="9862">
                  <c:v>#N/A</c:v>
                </c:pt>
                <c:pt idx="9863">
                  <c:v>3.0225300000000002</c:v>
                </c:pt>
                <c:pt idx="9864">
                  <c:v>3.2196899999999999</c:v>
                </c:pt>
                <c:pt idx="9865">
                  <c:v>3.6686899999999998</c:v>
                </c:pt>
                <c:pt idx="9866">
                  <c:v>#N/A</c:v>
                </c:pt>
                <c:pt idx="9867">
                  <c:v>3.3014000000000001</c:v>
                </c:pt>
                <c:pt idx="9868">
                  <c:v>2.6334200000000001</c:v>
                </c:pt>
                <c:pt idx="9869">
                  <c:v>2.4906199999999998</c:v>
                </c:pt>
                <c:pt idx="9870">
                  <c:v>2.4105099999999999</c:v>
                </c:pt>
                <c:pt idx="9871">
                  <c:v>#N/A</c:v>
                </c:pt>
                <c:pt idx="9872">
                  <c:v>2.2980800000000001</c:v>
                </c:pt>
                <c:pt idx="9873">
                  <c:v>2.7430500000000002</c:v>
                </c:pt>
                <c:pt idx="9874">
                  <c:v>2.5395699999999999</c:v>
                </c:pt>
                <c:pt idx="9875">
                  <c:v>2.8511099999999998</c:v>
                </c:pt>
                <c:pt idx="9876">
                  <c:v>#N/A</c:v>
                </c:pt>
                <c:pt idx="9877">
                  <c:v>2.9182199999999998</c:v>
                </c:pt>
                <c:pt idx="9878">
                  <c:v>2.4841000000000002</c:v>
                </c:pt>
                <c:pt idx="9879">
                  <c:v>2.9699499999999999</c:v>
                </c:pt>
                <c:pt idx="9880">
                  <c:v>#N/A</c:v>
                </c:pt>
                <c:pt idx="9881">
                  <c:v>2.1959</c:v>
                </c:pt>
                <c:pt idx="9882">
                  <c:v>2.5898500000000002</c:v>
                </c:pt>
                <c:pt idx="9883">
                  <c:v>3.0974900000000001</c:v>
                </c:pt>
                <c:pt idx="9884">
                  <c:v>3.3300299999999998</c:v>
                </c:pt>
                <c:pt idx="9885">
                  <c:v>#N/A</c:v>
                </c:pt>
                <c:pt idx="9886">
                  <c:v>2.79514</c:v>
                </c:pt>
                <c:pt idx="9887">
                  <c:v>2.8081</c:v>
                </c:pt>
                <c:pt idx="9888">
                  <c:v>2.6106400000000001</c:v>
                </c:pt>
                <c:pt idx="9889">
                  <c:v>#N/A</c:v>
                </c:pt>
                <c:pt idx="9890">
                  <c:v>2.4753500000000002</c:v>
                </c:pt>
                <c:pt idx="9891">
                  <c:v>2.1930999999999998</c:v>
                </c:pt>
                <c:pt idx="9892">
                  <c:v>2.2930899999999999</c:v>
                </c:pt>
                <c:pt idx="9893">
                  <c:v>2.6331500000000001</c:v>
                </c:pt>
                <c:pt idx="9894">
                  <c:v>#N/A</c:v>
                </c:pt>
                <c:pt idx="9895">
                  <c:v>2.5099100000000001</c:v>
                </c:pt>
                <c:pt idx="9896">
                  <c:v>2.5196299999999998</c:v>
                </c:pt>
                <c:pt idx="9897">
                  <c:v>2.6964299999999999</c:v>
                </c:pt>
                <c:pt idx="9898">
                  <c:v>#N/A</c:v>
                </c:pt>
                <c:pt idx="9899">
                  <c:v>2.76878</c:v>
                </c:pt>
                <c:pt idx="9900">
                  <c:v>3.0615600000000001</c:v>
                </c:pt>
                <c:pt idx="9901">
                  <c:v>3.2890299999999999</c:v>
                </c:pt>
                <c:pt idx="9902">
                  <c:v>#N/A</c:v>
                </c:pt>
                <c:pt idx="9903">
                  <c:v>3.0047700000000002</c:v>
                </c:pt>
                <c:pt idx="9904">
                  <c:v>3.0121500000000001</c:v>
                </c:pt>
                <c:pt idx="9905">
                  <c:v>2.40395</c:v>
                </c:pt>
                <c:pt idx="9906">
                  <c:v>2.6161500000000002</c:v>
                </c:pt>
                <c:pt idx="9907">
                  <c:v>#N/A</c:v>
                </c:pt>
                <c:pt idx="9908">
                  <c:v>1.8658999999999999</c:v>
                </c:pt>
                <c:pt idx="9909">
                  <c:v>2.08426</c:v>
                </c:pt>
                <c:pt idx="9910">
                  <c:v>2.7298</c:v>
                </c:pt>
                <c:pt idx="9911">
                  <c:v>2.56053</c:v>
                </c:pt>
                <c:pt idx="9912">
                  <c:v>#N/A</c:v>
                </c:pt>
                <c:pt idx="9913">
                  <c:v>3.02955</c:v>
                </c:pt>
                <c:pt idx="9914">
                  <c:v>3.09735</c:v>
                </c:pt>
                <c:pt idx="9915">
                  <c:v>#N/A</c:v>
                </c:pt>
                <c:pt idx="9916">
                  <c:v>2.5174699999999999</c:v>
                </c:pt>
                <c:pt idx="9917">
                  <c:v>2.56765</c:v>
                </c:pt>
                <c:pt idx="9918">
                  <c:v>#N/A</c:v>
                </c:pt>
                <c:pt idx="9919">
                  <c:v>2.4620799999999998</c:v>
                </c:pt>
                <c:pt idx="9920">
                  <c:v>2.4975000000000001</c:v>
                </c:pt>
                <c:pt idx="9921">
                  <c:v>3.1484399999999999</c:v>
                </c:pt>
                <c:pt idx="9922">
                  <c:v>#N/A</c:v>
                </c:pt>
                <c:pt idx="9923">
                  <c:v>2.9428100000000001</c:v>
                </c:pt>
                <c:pt idx="9924">
                  <c:v>2.8370899999999999</c:v>
                </c:pt>
                <c:pt idx="9925">
                  <c:v>2.7718099999999999</c:v>
                </c:pt>
                <c:pt idx="9926">
                  <c:v>2.6472500000000001</c:v>
                </c:pt>
                <c:pt idx="9927">
                  <c:v>#N/A</c:v>
                </c:pt>
                <c:pt idx="9928">
                  <c:v>1.94309</c:v>
                </c:pt>
                <c:pt idx="9929">
                  <c:v>1.97455</c:v>
                </c:pt>
                <c:pt idx="9930">
                  <c:v>#N/A</c:v>
                </c:pt>
                <c:pt idx="9931">
                  <c:v>1.8980699999999999</c:v>
                </c:pt>
                <c:pt idx="9932">
                  <c:v>2.8186300000000002</c:v>
                </c:pt>
                <c:pt idx="9933">
                  <c:v>3.1055899999999999</c:v>
                </c:pt>
                <c:pt idx="9934">
                  <c:v>#N/A</c:v>
                </c:pt>
                <c:pt idx="9935">
                  <c:v>3.2117599999999999</c:v>
                </c:pt>
                <c:pt idx="9936">
                  <c:v>3.27136</c:v>
                </c:pt>
                <c:pt idx="9937">
                  <c:v>3.1663000000000001</c:v>
                </c:pt>
                <c:pt idx="9938">
                  <c:v>2.8361100000000001</c:v>
                </c:pt>
                <c:pt idx="9939">
                  <c:v>#N/A</c:v>
                </c:pt>
                <c:pt idx="9940">
                  <c:v>2.6197900000000001</c:v>
                </c:pt>
                <c:pt idx="9941">
                  <c:v>3.43946</c:v>
                </c:pt>
                <c:pt idx="9942">
                  <c:v>2.7426900000000001</c:v>
                </c:pt>
                <c:pt idx="9943">
                  <c:v>#N/A</c:v>
                </c:pt>
                <c:pt idx="9944">
                  <c:v>2.8255400000000002</c:v>
                </c:pt>
                <c:pt idx="9945">
                  <c:v>3.2615599999999998</c:v>
                </c:pt>
                <c:pt idx="9946">
                  <c:v>2.9694699999999998</c:v>
                </c:pt>
                <c:pt idx="9947">
                  <c:v>#N/A</c:v>
                </c:pt>
                <c:pt idx="9948">
                  <c:v>2.87012</c:v>
                </c:pt>
                <c:pt idx="9949">
                  <c:v>2.6440600000000001</c:v>
                </c:pt>
                <c:pt idx="9950">
                  <c:v>2.5060899999999999</c:v>
                </c:pt>
                <c:pt idx="9951">
                  <c:v>2.4242699999999999</c:v>
                </c:pt>
                <c:pt idx="9952">
                  <c:v>#N/A</c:v>
                </c:pt>
                <c:pt idx="9953">
                  <c:v>2.4518300000000002</c:v>
                </c:pt>
                <c:pt idx="9954">
                  <c:v>2.36754</c:v>
                </c:pt>
                <c:pt idx="9955">
                  <c:v>3.1130100000000001</c:v>
                </c:pt>
                <c:pt idx="9956">
                  <c:v>#N/A</c:v>
                </c:pt>
                <c:pt idx="9957">
                  <c:v>3.3968099999999999</c:v>
                </c:pt>
                <c:pt idx="9958">
                  <c:v>3.0259100000000001</c:v>
                </c:pt>
                <c:pt idx="9959">
                  <c:v>3.5268899999999999</c:v>
                </c:pt>
                <c:pt idx="9960">
                  <c:v>2.99668</c:v>
                </c:pt>
                <c:pt idx="9961">
                  <c:v>#N/A</c:v>
                </c:pt>
                <c:pt idx="9962">
                  <c:v>3.1698599999999999</c:v>
                </c:pt>
                <c:pt idx="9963">
                  <c:v>3.3551899999999999</c:v>
                </c:pt>
                <c:pt idx="9964">
                  <c:v>2.7342200000000001</c:v>
                </c:pt>
                <c:pt idx="9965">
                  <c:v>#N/A</c:v>
                </c:pt>
                <c:pt idx="9966">
                  <c:v>2.6774800000000001</c:v>
                </c:pt>
                <c:pt idx="9967">
                  <c:v>2.0485500000000001</c:v>
                </c:pt>
                <c:pt idx="9968">
                  <c:v>3.1365699999999999</c:v>
                </c:pt>
                <c:pt idx="9969">
                  <c:v>2.9381699999999999</c:v>
                </c:pt>
                <c:pt idx="9970">
                  <c:v>#N/A</c:v>
                </c:pt>
                <c:pt idx="9971">
                  <c:v>2.9301900000000001</c:v>
                </c:pt>
                <c:pt idx="9972">
                  <c:v>2.65279</c:v>
                </c:pt>
                <c:pt idx="9973">
                  <c:v>2.6447099999999999</c:v>
                </c:pt>
                <c:pt idx="9974">
                  <c:v>#N/A</c:v>
                </c:pt>
                <c:pt idx="9975">
                  <c:v>2.92537</c:v>
                </c:pt>
                <c:pt idx="9976">
                  <c:v>2.8209499999999998</c:v>
                </c:pt>
                <c:pt idx="9977">
                  <c:v>3.2488700000000001</c:v>
                </c:pt>
                <c:pt idx="9978">
                  <c:v>3.0774499999999998</c:v>
                </c:pt>
                <c:pt idx="9979">
                  <c:v>#N/A</c:v>
                </c:pt>
                <c:pt idx="9980">
                  <c:v>3.0204399999999998</c:v>
                </c:pt>
                <c:pt idx="9981">
                  <c:v>2.7202999999999999</c:v>
                </c:pt>
                <c:pt idx="9982">
                  <c:v>2.2768700000000002</c:v>
                </c:pt>
                <c:pt idx="9983">
                  <c:v>#N/A</c:v>
                </c:pt>
                <c:pt idx="9984">
                  <c:v>0.76562600000000003</c:v>
                </c:pt>
                <c:pt idx="9985">
                  <c:v>5.7941399999999997E-2</c:v>
                </c:pt>
                <c:pt idx="9986">
                  <c:v>#N/A</c:v>
                </c:pt>
                <c:pt idx="9987">
                  <c:v>-3.55002</c:v>
                </c:pt>
                <c:pt idx="9988">
                  <c:v>-7.0975299999999999</c:v>
                </c:pt>
                <c:pt idx="9989">
                  <c:v>-10.976100000000001</c:v>
                </c:pt>
                <c:pt idx="9990">
                  <c:v>#N/A</c:v>
                </c:pt>
                <c:pt idx="9991">
                  <c:v>-12.828200000000001</c:v>
                </c:pt>
                <c:pt idx="9992">
                  <c:v>-14.7494</c:v>
                </c:pt>
                <c:pt idx="9993">
                  <c:v>-15.8828</c:v>
                </c:pt>
                <c:pt idx="9994">
                  <c:v>-16.9617</c:v>
                </c:pt>
                <c:pt idx="9995">
                  <c:v>#N/A</c:v>
                </c:pt>
                <c:pt idx="9996">
                  <c:v>-18.068899999999999</c:v>
                </c:pt>
                <c:pt idx="9997">
                  <c:v>-19.061399999999999</c:v>
                </c:pt>
                <c:pt idx="9998">
                  <c:v>-20.092300000000002</c:v>
                </c:pt>
                <c:pt idx="9999">
                  <c:v>-19.6855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F51-4A69-9585-A8CC85951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1194983519"/>
      </c:lineChart>
      <c:valAx>
        <c:axId val="11949835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"/>
        <c:crosses val="autoZero"/>
        <c:crossBetween val="between"/>
      </c:valAx>
      <c:catAx>
        <c:axId val="1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1194983519"/>
        <c:crosses val="autoZero"/>
        <c:auto val="1"/>
        <c:lblAlgn val="ctr"/>
        <c:lblOffset val="0"/>
        <c:tickLblSkip val="255"/>
        <c:tickMarkSkip val="1"/>
        <c:noMultiLvlLbl val="1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showDLblsOverMax val="1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Before</a:t>
            </a:r>
            <a:r>
              <a:rPr lang="en-US" baseline="0" dirty="0"/>
              <a:t> Maintenance</a:t>
            </a:r>
            <a:endParaRPr lang="en-US" dirty="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Average of torqueactual</c:v>
                </c:pt>
              </c:strCache>
            </c:strRef>
          </c:tx>
          <c:spPr>
            <a:ln w="3175">
              <a:solidFill>
                <a:srgbClr val="1F77B4"/>
              </a:solidFill>
              <a:round/>
            </a:ln>
          </c:spPr>
          <c:marker>
            <c:symbol val="none"/>
          </c:marker>
          <c:cat>
            <c:numRef>
              <c:f>Data!$C$3:$C$10002</c:f>
              <c:numCache>
                <c:formatCode>General</c:formatCode>
                <c:ptCount val="100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0</c:v>
                </c:pt>
                <c:pt idx="701">
                  <c:v>0</c:v>
                </c:pt>
                <c:pt idx="702">
                  <c:v>0</c:v>
                </c:pt>
                <c:pt idx="703">
                  <c:v>0</c:v>
                </c:pt>
                <c:pt idx="704">
                  <c:v>0</c:v>
                </c:pt>
                <c:pt idx="705">
                  <c:v>0</c:v>
                </c:pt>
                <c:pt idx="706">
                  <c:v>0</c:v>
                </c:pt>
                <c:pt idx="707">
                  <c:v>0</c:v>
                </c:pt>
                <c:pt idx="708">
                  <c:v>0</c:v>
                </c:pt>
                <c:pt idx="709">
                  <c:v>0</c:v>
                </c:pt>
                <c:pt idx="710">
                  <c:v>0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  <c:pt idx="805">
                  <c:v>0</c:v>
                </c:pt>
                <c:pt idx="806">
                  <c:v>0</c:v>
                </c:pt>
                <c:pt idx="807">
                  <c:v>0</c:v>
                </c:pt>
                <c:pt idx="808">
                  <c:v>0</c:v>
                </c:pt>
                <c:pt idx="809">
                  <c:v>0</c:v>
                </c:pt>
                <c:pt idx="810">
                  <c:v>0</c:v>
                </c:pt>
                <c:pt idx="811">
                  <c:v>0</c:v>
                </c:pt>
                <c:pt idx="812">
                  <c:v>0</c:v>
                </c:pt>
                <c:pt idx="813">
                  <c:v>0</c:v>
                </c:pt>
                <c:pt idx="814">
                  <c:v>0</c:v>
                </c:pt>
                <c:pt idx="815">
                  <c:v>0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0</c:v>
                </c:pt>
                <c:pt idx="901">
                  <c:v>0</c:v>
                </c:pt>
                <c:pt idx="902">
                  <c:v>0</c:v>
                </c:pt>
                <c:pt idx="903">
                  <c:v>0</c:v>
                </c:pt>
                <c:pt idx="904">
                  <c:v>0</c:v>
                </c:pt>
                <c:pt idx="905">
                  <c:v>0</c:v>
                </c:pt>
                <c:pt idx="906">
                  <c:v>0</c:v>
                </c:pt>
                <c:pt idx="907">
                  <c:v>0</c:v>
                </c:pt>
                <c:pt idx="908">
                  <c:v>0</c:v>
                </c:pt>
                <c:pt idx="909">
                  <c:v>0</c:v>
                </c:pt>
                <c:pt idx="910">
                  <c:v>0</c:v>
                </c:pt>
                <c:pt idx="911">
                  <c:v>0</c:v>
                </c:pt>
                <c:pt idx="912">
                  <c:v>0</c:v>
                </c:pt>
                <c:pt idx="913">
                  <c:v>0</c:v>
                </c:pt>
                <c:pt idx="914">
                  <c:v>0</c:v>
                </c:pt>
                <c:pt idx="915">
                  <c:v>0</c:v>
                </c:pt>
                <c:pt idx="916">
                  <c:v>0</c:v>
                </c:pt>
                <c:pt idx="917">
                  <c:v>0</c:v>
                </c:pt>
                <c:pt idx="918">
                  <c:v>0</c:v>
                </c:pt>
                <c:pt idx="919">
                  <c:v>0</c:v>
                </c:pt>
                <c:pt idx="920">
                  <c:v>0</c:v>
                </c:pt>
                <c:pt idx="921">
                  <c:v>0</c:v>
                </c:pt>
                <c:pt idx="922">
                  <c:v>0</c:v>
                </c:pt>
                <c:pt idx="923">
                  <c:v>0</c:v>
                </c:pt>
                <c:pt idx="924">
                  <c:v>0</c:v>
                </c:pt>
                <c:pt idx="925">
                  <c:v>0</c:v>
                </c:pt>
                <c:pt idx="926">
                  <c:v>0</c:v>
                </c:pt>
                <c:pt idx="927">
                  <c:v>0</c:v>
                </c:pt>
                <c:pt idx="928">
                  <c:v>0</c:v>
                </c:pt>
                <c:pt idx="929">
                  <c:v>0</c:v>
                </c:pt>
                <c:pt idx="930">
                  <c:v>0</c:v>
                </c:pt>
                <c:pt idx="931">
                  <c:v>0</c:v>
                </c:pt>
                <c:pt idx="932">
                  <c:v>0</c:v>
                </c:pt>
                <c:pt idx="933">
                  <c:v>0</c:v>
                </c:pt>
                <c:pt idx="934">
                  <c:v>0</c:v>
                </c:pt>
                <c:pt idx="935">
                  <c:v>0</c:v>
                </c:pt>
                <c:pt idx="936">
                  <c:v>0</c:v>
                </c:pt>
                <c:pt idx="937">
                  <c:v>0</c:v>
                </c:pt>
                <c:pt idx="938">
                  <c:v>0</c:v>
                </c:pt>
                <c:pt idx="939">
                  <c:v>0</c:v>
                </c:pt>
                <c:pt idx="940">
                  <c:v>0</c:v>
                </c:pt>
                <c:pt idx="941">
                  <c:v>0</c:v>
                </c:pt>
                <c:pt idx="942">
                  <c:v>0</c:v>
                </c:pt>
                <c:pt idx="943">
                  <c:v>0</c:v>
                </c:pt>
                <c:pt idx="944">
                  <c:v>0</c:v>
                </c:pt>
                <c:pt idx="945">
                  <c:v>0</c:v>
                </c:pt>
                <c:pt idx="946">
                  <c:v>0</c:v>
                </c:pt>
                <c:pt idx="947">
                  <c:v>0</c:v>
                </c:pt>
                <c:pt idx="948">
                  <c:v>0</c:v>
                </c:pt>
                <c:pt idx="949">
                  <c:v>0</c:v>
                </c:pt>
                <c:pt idx="950">
                  <c:v>0</c:v>
                </c:pt>
                <c:pt idx="951">
                  <c:v>0</c:v>
                </c:pt>
                <c:pt idx="952">
                  <c:v>0</c:v>
                </c:pt>
                <c:pt idx="953">
                  <c:v>0</c:v>
                </c:pt>
                <c:pt idx="954">
                  <c:v>0</c:v>
                </c:pt>
                <c:pt idx="955">
                  <c:v>0</c:v>
                </c:pt>
                <c:pt idx="956">
                  <c:v>0</c:v>
                </c:pt>
                <c:pt idx="957">
                  <c:v>0</c:v>
                </c:pt>
                <c:pt idx="958">
                  <c:v>0</c:v>
                </c:pt>
                <c:pt idx="959">
                  <c:v>0</c:v>
                </c:pt>
                <c:pt idx="960">
                  <c:v>0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0</c:v>
                </c:pt>
                <c:pt idx="1001">
                  <c:v>0</c:v>
                </c:pt>
                <c:pt idx="1002">
                  <c:v>0</c:v>
                </c:pt>
                <c:pt idx="1003">
                  <c:v>0</c:v>
                </c:pt>
                <c:pt idx="1004">
                  <c:v>0</c:v>
                </c:pt>
                <c:pt idx="1005">
                  <c:v>0</c:v>
                </c:pt>
                <c:pt idx="1006">
                  <c:v>0</c:v>
                </c:pt>
                <c:pt idx="1007">
                  <c:v>0</c:v>
                </c:pt>
                <c:pt idx="1008">
                  <c:v>0</c:v>
                </c:pt>
                <c:pt idx="1009">
                  <c:v>0</c:v>
                </c:pt>
                <c:pt idx="1010">
                  <c:v>0</c:v>
                </c:pt>
                <c:pt idx="1011">
                  <c:v>0</c:v>
                </c:pt>
                <c:pt idx="1012">
                  <c:v>0</c:v>
                </c:pt>
                <c:pt idx="1013">
                  <c:v>0</c:v>
                </c:pt>
                <c:pt idx="1014">
                  <c:v>0</c:v>
                </c:pt>
                <c:pt idx="1015">
                  <c:v>0</c:v>
                </c:pt>
                <c:pt idx="1016">
                  <c:v>0</c:v>
                </c:pt>
                <c:pt idx="1017">
                  <c:v>0</c:v>
                </c:pt>
                <c:pt idx="1018">
                  <c:v>0</c:v>
                </c:pt>
                <c:pt idx="1019">
                  <c:v>0</c:v>
                </c:pt>
                <c:pt idx="1020">
                  <c:v>0</c:v>
                </c:pt>
                <c:pt idx="1021">
                  <c:v>0</c:v>
                </c:pt>
                <c:pt idx="1022">
                  <c:v>0</c:v>
                </c:pt>
                <c:pt idx="1023">
                  <c:v>0</c:v>
                </c:pt>
                <c:pt idx="1024">
                  <c:v>0</c:v>
                </c:pt>
                <c:pt idx="1025">
                  <c:v>0</c:v>
                </c:pt>
                <c:pt idx="1026">
                  <c:v>0</c:v>
                </c:pt>
                <c:pt idx="1027">
                  <c:v>0</c:v>
                </c:pt>
                <c:pt idx="1028">
                  <c:v>0</c:v>
                </c:pt>
                <c:pt idx="1029">
                  <c:v>0</c:v>
                </c:pt>
                <c:pt idx="1030">
                  <c:v>0</c:v>
                </c:pt>
                <c:pt idx="1031">
                  <c:v>0</c:v>
                </c:pt>
                <c:pt idx="1032">
                  <c:v>0</c:v>
                </c:pt>
                <c:pt idx="1033">
                  <c:v>0</c:v>
                </c:pt>
                <c:pt idx="1034">
                  <c:v>0</c:v>
                </c:pt>
                <c:pt idx="1035">
                  <c:v>0</c:v>
                </c:pt>
                <c:pt idx="1036">
                  <c:v>0</c:v>
                </c:pt>
                <c:pt idx="1037">
                  <c:v>0</c:v>
                </c:pt>
                <c:pt idx="1038">
                  <c:v>0</c:v>
                </c:pt>
                <c:pt idx="1039">
                  <c:v>0</c:v>
                </c:pt>
                <c:pt idx="1040">
                  <c:v>0</c:v>
                </c:pt>
                <c:pt idx="1041">
                  <c:v>0</c:v>
                </c:pt>
                <c:pt idx="1042">
                  <c:v>0</c:v>
                </c:pt>
                <c:pt idx="1043">
                  <c:v>0</c:v>
                </c:pt>
                <c:pt idx="1044">
                  <c:v>0</c:v>
                </c:pt>
                <c:pt idx="1045">
                  <c:v>0</c:v>
                </c:pt>
                <c:pt idx="1046">
                  <c:v>0</c:v>
                </c:pt>
                <c:pt idx="1047">
                  <c:v>0</c:v>
                </c:pt>
                <c:pt idx="1048">
                  <c:v>0</c:v>
                </c:pt>
                <c:pt idx="1049">
                  <c:v>0</c:v>
                </c:pt>
                <c:pt idx="1050">
                  <c:v>0</c:v>
                </c:pt>
                <c:pt idx="1051">
                  <c:v>0</c:v>
                </c:pt>
                <c:pt idx="1052">
                  <c:v>0</c:v>
                </c:pt>
                <c:pt idx="1053">
                  <c:v>0</c:v>
                </c:pt>
                <c:pt idx="1054">
                  <c:v>0</c:v>
                </c:pt>
                <c:pt idx="1055">
                  <c:v>0</c:v>
                </c:pt>
                <c:pt idx="1056">
                  <c:v>0</c:v>
                </c:pt>
                <c:pt idx="1057">
                  <c:v>0</c:v>
                </c:pt>
                <c:pt idx="1058">
                  <c:v>0</c:v>
                </c:pt>
                <c:pt idx="1059">
                  <c:v>0</c:v>
                </c:pt>
                <c:pt idx="1060">
                  <c:v>0</c:v>
                </c:pt>
                <c:pt idx="1061">
                  <c:v>0</c:v>
                </c:pt>
                <c:pt idx="1062">
                  <c:v>0</c:v>
                </c:pt>
                <c:pt idx="1063">
                  <c:v>0</c:v>
                </c:pt>
                <c:pt idx="1064">
                  <c:v>0</c:v>
                </c:pt>
                <c:pt idx="1065">
                  <c:v>0</c:v>
                </c:pt>
                <c:pt idx="1066">
                  <c:v>0</c:v>
                </c:pt>
                <c:pt idx="1067">
                  <c:v>0</c:v>
                </c:pt>
                <c:pt idx="1068">
                  <c:v>0</c:v>
                </c:pt>
                <c:pt idx="1069">
                  <c:v>0</c:v>
                </c:pt>
                <c:pt idx="1070">
                  <c:v>0</c:v>
                </c:pt>
                <c:pt idx="1071">
                  <c:v>0</c:v>
                </c:pt>
                <c:pt idx="1072">
                  <c:v>0</c:v>
                </c:pt>
                <c:pt idx="1073">
                  <c:v>0</c:v>
                </c:pt>
                <c:pt idx="1074">
                  <c:v>0</c:v>
                </c:pt>
                <c:pt idx="1075">
                  <c:v>0</c:v>
                </c:pt>
                <c:pt idx="1076">
                  <c:v>0</c:v>
                </c:pt>
                <c:pt idx="1077">
                  <c:v>0</c:v>
                </c:pt>
                <c:pt idx="1078">
                  <c:v>0</c:v>
                </c:pt>
                <c:pt idx="1079">
                  <c:v>0</c:v>
                </c:pt>
                <c:pt idx="1080">
                  <c:v>0</c:v>
                </c:pt>
                <c:pt idx="1081">
                  <c:v>0</c:v>
                </c:pt>
                <c:pt idx="1082">
                  <c:v>0</c:v>
                </c:pt>
                <c:pt idx="1083">
                  <c:v>0</c:v>
                </c:pt>
                <c:pt idx="1084">
                  <c:v>0</c:v>
                </c:pt>
                <c:pt idx="1085">
                  <c:v>0</c:v>
                </c:pt>
                <c:pt idx="1086">
                  <c:v>0</c:v>
                </c:pt>
                <c:pt idx="1087">
                  <c:v>0</c:v>
                </c:pt>
                <c:pt idx="1088">
                  <c:v>0</c:v>
                </c:pt>
                <c:pt idx="1089">
                  <c:v>0</c:v>
                </c:pt>
                <c:pt idx="1090">
                  <c:v>0</c:v>
                </c:pt>
                <c:pt idx="1091">
                  <c:v>0</c:v>
                </c:pt>
                <c:pt idx="1092">
                  <c:v>0</c:v>
                </c:pt>
                <c:pt idx="1093">
                  <c:v>0</c:v>
                </c:pt>
                <c:pt idx="1094">
                  <c:v>0</c:v>
                </c:pt>
                <c:pt idx="1095">
                  <c:v>0</c:v>
                </c:pt>
                <c:pt idx="1096">
                  <c:v>0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0</c:v>
                </c:pt>
                <c:pt idx="1101">
                  <c:v>0</c:v>
                </c:pt>
                <c:pt idx="1102">
                  <c:v>0</c:v>
                </c:pt>
                <c:pt idx="1103">
                  <c:v>0</c:v>
                </c:pt>
                <c:pt idx="1104">
                  <c:v>0</c:v>
                </c:pt>
                <c:pt idx="1105">
                  <c:v>0</c:v>
                </c:pt>
                <c:pt idx="1106">
                  <c:v>0</c:v>
                </c:pt>
                <c:pt idx="1107">
                  <c:v>0</c:v>
                </c:pt>
                <c:pt idx="1108">
                  <c:v>0</c:v>
                </c:pt>
                <c:pt idx="1109">
                  <c:v>0</c:v>
                </c:pt>
                <c:pt idx="1110">
                  <c:v>0</c:v>
                </c:pt>
                <c:pt idx="1111">
                  <c:v>0</c:v>
                </c:pt>
                <c:pt idx="1112">
                  <c:v>0</c:v>
                </c:pt>
                <c:pt idx="1113">
                  <c:v>0</c:v>
                </c:pt>
                <c:pt idx="1114">
                  <c:v>0</c:v>
                </c:pt>
                <c:pt idx="1115">
                  <c:v>0</c:v>
                </c:pt>
                <c:pt idx="1116">
                  <c:v>0</c:v>
                </c:pt>
                <c:pt idx="1117">
                  <c:v>0</c:v>
                </c:pt>
                <c:pt idx="1118">
                  <c:v>0</c:v>
                </c:pt>
                <c:pt idx="1119">
                  <c:v>0</c:v>
                </c:pt>
                <c:pt idx="1120">
                  <c:v>0</c:v>
                </c:pt>
                <c:pt idx="1121">
                  <c:v>0</c:v>
                </c:pt>
                <c:pt idx="1122">
                  <c:v>0</c:v>
                </c:pt>
                <c:pt idx="1123">
                  <c:v>0</c:v>
                </c:pt>
                <c:pt idx="1124">
                  <c:v>0</c:v>
                </c:pt>
                <c:pt idx="1125">
                  <c:v>0</c:v>
                </c:pt>
                <c:pt idx="1126">
                  <c:v>0</c:v>
                </c:pt>
                <c:pt idx="1127">
                  <c:v>0</c:v>
                </c:pt>
                <c:pt idx="1128">
                  <c:v>0</c:v>
                </c:pt>
                <c:pt idx="1129">
                  <c:v>0</c:v>
                </c:pt>
                <c:pt idx="1130">
                  <c:v>0</c:v>
                </c:pt>
                <c:pt idx="1131">
                  <c:v>0</c:v>
                </c:pt>
                <c:pt idx="1132">
                  <c:v>0</c:v>
                </c:pt>
                <c:pt idx="1133">
                  <c:v>0</c:v>
                </c:pt>
                <c:pt idx="1134">
                  <c:v>0</c:v>
                </c:pt>
                <c:pt idx="1135">
                  <c:v>0</c:v>
                </c:pt>
                <c:pt idx="1136">
                  <c:v>0</c:v>
                </c:pt>
                <c:pt idx="1137">
                  <c:v>0</c:v>
                </c:pt>
                <c:pt idx="1138">
                  <c:v>0</c:v>
                </c:pt>
                <c:pt idx="1139">
                  <c:v>0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0</c:v>
                </c:pt>
                <c:pt idx="5414">
                  <c:v>0</c:v>
                </c:pt>
                <c:pt idx="5415">
                  <c:v>0</c:v>
                </c:pt>
                <c:pt idx="5416">
                  <c:v>0</c:v>
                </c:pt>
                <c:pt idx="5417">
                  <c:v>0</c:v>
                </c:pt>
                <c:pt idx="5418">
                  <c:v>0</c:v>
                </c:pt>
                <c:pt idx="5419">
                  <c:v>0</c:v>
                </c:pt>
                <c:pt idx="5420">
                  <c:v>0</c:v>
                </c:pt>
                <c:pt idx="5421">
                  <c:v>0</c:v>
                </c:pt>
                <c:pt idx="5422">
                  <c:v>0</c:v>
                </c:pt>
                <c:pt idx="5423">
                  <c:v>0</c:v>
                </c:pt>
                <c:pt idx="5424">
                  <c:v>0</c:v>
                </c:pt>
                <c:pt idx="5425">
                  <c:v>0</c:v>
                </c:pt>
                <c:pt idx="5426">
                  <c:v>0</c:v>
                </c:pt>
                <c:pt idx="5427">
                  <c:v>0</c:v>
                </c:pt>
                <c:pt idx="5428">
                  <c:v>0</c:v>
                </c:pt>
                <c:pt idx="5429">
                  <c:v>0</c:v>
                </c:pt>
                <c:pt idx="5430">
                  <c:v>0</c:v>
                </c:pt>
                <c:pt idx="5431">
                  <c:v>0</c:v>
                </c:pt>
                <c:pt idx="5432">
                  <c:v>0</c:v>
                </c:pt>
                <c:pt idx="5433">
                  <c:v>0</c:v>
                </c:pt>
                <c:pt idx="5434">
                  <c:v>0</c:v>
                </c:pt>
                <c:pt idx="5435">
                  <c:v>0</c:v>
                </c:pt>
                <c:pt idx="5436">
                  <c:v>0</c:v>
                </c:pt>
                <c:pt idx="5437">
                  <c:v>0</c:v>
                </c:pt>
                <c:pt idx="5438">
                  <c:v>0</c:v>
                </c:pt>
                <c:pt idx="5439">
                  <c:v>0</c:v>
                </c:pt>
                <c:pt idx="5440">
                  <c:v>0</c:v>
                </c:pt>
                <c:pt idx="5441">
                  <c:v>0</c:v>
                </c:pt>
                <c:pt idx="5442">
                  <c:v>0</c:v>
                </c:pt>
                <c:pt idx="5443">
                  <c:v>0</c:v>
                </c:pt>
                <c:pt idx="5444">
                  <c:v>0</c:v>
                </c:pt>
                <c:pt idx="5445">
                  <c:v>0</c:v>
                </c:pt>
                <c:pt idx="5446">
                  <c:v>0</c:v>
                </c:pt>
                <c:pt idx="5447">
                  <c:v>0</c:v>
                </c:pt>
                <c:pt idx="5448">
                  <c:v>0</c:v>
                </c:pt>
                <c:pt idx="5449">
                  <c:v>0</c:v>
                </c:pt>
                <c:pt idx="5450">
                  <c:v>0</c:v>
                </c:pt>
                <c:pt idx="5451">
                  <c:v>0</c:v>
                </c:pt>
                <c:pt idx="5452">
                  <c:v>0</c:v>
                </c:pt>
                <c:pt idx="5453">
                  <c:v>0</c:v>
                </c:pt>
                <c:pt idx="5454">
                  <c:v>0</c:v>
                </c:pt>
                <c:pt idx="5455">
                  <c:v>0</c:v>
                </c:pt>
                <c:pt idx="5456">
                  <c:v>0</c:v>
                </c:pt>
                <c:pt idx="5457">
                  <c:v>0</c:v>
                </c:pt>
                <c:pt idx="5458">
                  <c:v>0</c:v>
                </c:pt>
                <c:pt idx="5459">
                  <c:v>0</c:v>
                </c:pt>
                <c:pt idx="5460">
                  <c:v>0</c:v>
                </c:pt>
                <c:pt idx="5461">
                  <c:v>0</c:v>
                </c:pt>
                <c:pt idx="5462">
                  <c:v>0</c:v>
                </c:pt>
                <c:pt idx="5463">
                  <c:v>0</c:v>
                </c:pt>
                <c:pt idx="5464">
                  <c:v>0</c:v>
                </c:pt>
                <c:pt idx="5465">
                  <c:v>0</c:v>
                </c:pt>
                <c:pt idx="5466">
                  <c:v>0</c:v>
                </c:pt>
                <c:pt idx="5467">
                  <c:v>0</c:v>
                </c:pt>
                <c:pt idx="5468">
                  <c:v>0</c:v>
                </c:pt>
                <c:pt idx="5469">
                  <c:v>0</c:v>
                </c:pt>
                <c:pt idx="5470">
                  <c:v>0</c:v>
                </c:pt>
                <c:pt idx="5471">
                  <c:v>0</c:v>
                </c:pt>
                <c:pt idx="5472">
                  <c:v>0</c:v>
                </c:pt>
                <c:pt idx="5473">
                  <c:v>0</c:v>
                </c:pt>
                <c:pt idx="5474">
                  <c:v>0</c:v>
                </c:pt>
                <c:pt idx="5475">
                  <c:v>0</c:v>
                </c:pt>
                <c:pt idx="5476">
                  <c:v>0</c:v>
                </c:pt>
                <c:pt idx="5477">
                  <c:v>0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  <c:pt idx="6013">
                  <c:v>0</c:v>
                </c:pt>
                <c:pt idx="6014">
                  <c:v>0</c:v>
                </c:pt>
                <c:pt idx="6015">
                  <c:v>0</c:v>
                </c:pt>
                <c:pt idx="6016">
                  <c:v>0</c:v>
                </c:pt>
                <c:pt idx="6017">
                  <c:v>0</c:v>
                </c:pt>
                <c:pt idx="6018">
                  <c:v>0</c:v>
                </c:pt>
                <c:pt idx="6019">
                  <c:v>0</c:v>
                </c:pt>
                <c:pt idx="6020">
                  <c:v>0</c:v>
                </c:pt>
                <c:pt idx="6021">
                  <c:v>0</c:v>
                </c:pt>
                <c:pt idx="6022">
                  <c:v>0</c:v>
                </c:pt>
                <c:pt idx="6023">
                  <c:v>0</c:v>
                </c:pt>
                <c:pt idx="6024">
                  <c:v>0</c:v>
                </c:pt>
                <c:pt idx="6025">
                  <c:v>0</c:v>
                </c:pt>
                <c:pt idx="6026">
                  <c:v>0</c:v>
                </c:pt>
                <c:pt idx="6027">
                  <c:v>0</c:v>
                </c:pt>
                <c:pt idx="6028">
                  <c:v>0</c:v>
                </c:pt>
                <c:pt idx="6029">
                  <c:v>0</c:v>
                </c:pt>
                <c:pt idx="6030">
                  <c:v>0</c:v>
                </c:pt>
                <c:pt idx="6031">
                  <c:v>0</c:v>
                </c:pt>
                <c:pt idx="6032">
                  <c:v>0</c:v>
                </c:pt>
                <c:pt idx="6033">
                  <c:v>0</c:v>
                </c:pt>
                <c:pt idx="6034">
                  <c:v>0</c:v>
                </c:pt>
                <c:pt idx="6035">
                  <c:v>0</c:v>
                </c:pt>
                <c:pt idx="6036">
                  <c:v>0</c:v>
                </c:pt>
                <c:pt idx="6037">
                  <c:v>0</c:v>
                </c:pt>
                <c:pt idx="6038">
                  <c:v>0</c:v>
                </c:pt>
                <c:pt idx="6039">
                  <c:v>0</c:v>
                </c:pt>
                <c:pt idx="6040">
                  <c:v>0</c:v>
                </c:pt>
                <c:pt idx="6041">
                  <c:v>0</c:v>
                </c:pt>
                <c:pt idx="6042">
                  <c:v>0</c:v>
                </c:pt>
                <c:pt idx="6043">
                  <c:v>0</c:v>
                </c:pt>
                <c:pt idx="6044">
                  <c:v>0</c:v>
                </c:pt>
                <c:pt idx="6045">
                  <c:v>0</c:v>
                </c:pt>
                <c:pt idx="6046">
                  <c:v>0</c:v>
                </c:pt>
                <c:pt idx="6047">
                  <c:v>0</c:v>
                </c:pt>
                <c:pt idx="6048">
                  <c:v>0</c:v>
                </c:pt>
                <c:pt idx="6049">
                  <c:v>0</c:v>
                </c:pt>
                <c:pt idx="6050">
                  <c:v>0</c:v>
                </c:pt>
                <c:pt idx="6051">
                  <c:v>0</c:v>
                </c:pt>
                <c:pt idx="6052">
                  <c:v>0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  <c:pt idx="6108">
                  <c:v>0</c:v>
                </c:pt>
                <c:pt idx="6109">
                  <c:v>0</c:v>
                </c:pt>
                <c:pt idx="6110">
                  <c:v>0</c:v>
                </c:pt>
                <c:pt idx="6111">
                  <c:v>0</c:v>
                </c:pt>
                <c:pt idx="6112">
                  <c:v>0</c:v>
                </c:pt>
                <c:pt idx="6113">
                  <c:v>0</c:v>
                </c:pt>
                <c:pt idx="6114">
                  <c:v>0</c:v>
                </c:pt>
                <c:pt idx="6115">
                  <c:v>0</c:v>
                </c:pt>
                <c:pt idx="6116">
                  <c:v>0</c:v>
                </c:pt>
                <c:pt idx="6117">
                  <c:v>0</c:v>
                </c:pt>
                <c:pt idx="6118">
                  <c:v>0</c:v>
                </c:pt>
                <c:pt idx="6119">
                  <c:v>0</c:v>
                </c:pt>
                <c:pt idx="6120">
                  <c:v>0</c:v>
                </c:pt>
                <c:pt idx="6121">
                  <c:v>0</c:v>
                </c:pt>
                <c:pt idx="6122">
                  <c:v>0</c:v>
                </c:pt>
                <c:pt idx="6123">
                  <c:v>0</c:v>
                </c:pt>
                <c:pt idx="6124">
                  <c:v>0</c:v>
                </c:pt>
                <c:pt idx="6125">
                  <c:v>0</c:v>
                </c:pt>
                <c:pt idx="6126">
                  <c:v>0</c:v>
                </c:pt>
                <c:pt idx="6127">
                  <c:v>0</c:v>
                </c:pt>
                <c:pt idx="6128">
                  <c:v>0</c:v>
                </c:pt>
                <c:pt idx="6129">
                  <c:v>0</c:v>
                </c:pt>
                <c:pt idx="6130">
                  <c:v>0</c:v>
                </c:pt>
                <c:pt idx="6131">
                  <c:v>0</c:v>
                </c:pt>
                <c:pt idx="6132">
                  <c:v>0</c:v>
                </c:pt>
                <c:pt idx="6133">
                  <c:v>0</c:v>
                </c:pt>
                <c:pt idx="6134">
                  <c:v>0</c:v>
                </c:pt>
                <c:pt idx="6135">
                  <c:v>0</c:v>
                </c:pt>
                <c:pt idx="6136">
                  <c:v>0</c:v>
                </c:pt>
                <c:pt idx="6137">
                  <c:v>0</c:v>
                </c:pt>
                <c:pt idx="6138">
                  <c:v>0</c:v>
                </c:pt>
                <c:pt idx="6139">
                  <c:v>0</c:v>
                </c:pt>
                <c:pt idx="6140">
                  <c:v>0</c:v>
                </c:pt>
                <c:pt idx="6141">
                  <c:v>0</c:v>
                </c:pt>
                <c:pt idx="6142">
                  <c:v>0</c:v>
                </c:pt>
                <c:pt idx="6143">
                  <c:v>0</c:v>
                </c:pt>
                <c:pt idx="6144">
                  <c:v>0</c:v>
                </c:pt>
                <c:pt idx="6145">
                  <c:v>0</c:v>
                </c:pt>
                <c:pt idx="6146">
                  <c:v>0</c:v>
                </c:pt>
                <c:pt idx="6147">
                  <c:v>0</c:v>
                </c:pt>
                <c:pt idx="6148">
                  <c:v>0</c:v>
                </c:pt>
                <c:pt idx="6149">
                  <c:v>0</c:v>
                </c:pt>
                <c:pt idx="6150">
                  <c:v>0</c:v>
                </c:pt>
                <c:pt idx="6151">
                  <c:v>0</c:v>
                </c:pt>
                <c:pt idx="6152">
                  <c:v>0</c:v>
                </c:pt>
                <c:pt idx="6153">
                  <c:v>0</c:v>
                </c:pt>
                <c:pt idx="6154">
                  <c:v>0</c:v>
                </c:pt>
                <c:pt idx="6155">
                  <c:v>0</c:v>
                </c:pt>
                <c:pt idx="6156">
                  <c:v>0</c:v>
                </c:pt>
                <c:pt idx="6157">
                  <c:v>0</c:v>
                </c:pt>
                <c:pt idx="6158">
                  <c:v>0</c:v>
                </c:pt>
                <c:pt idx="6159">
                  <c:v>0</c:v>
                </c:pt>
                <c:pt idx="6160">
                  <c:v>0</c:v>
                </c:pt>
                <c:pt idx="6161">
                  <c:v>0</c:v>
                </c:pt>
                <c:pt idx="6162">
                  <c:v>0</c:v>
                </c:pt>
                <c:pt idx="6163">
                  <c:v>0</c:v>
                </c:pt>
                <c:pt idx="6164">
                  <c:v>0</c:v>
                </c:pt>
                <c:pt idx="6165">
                  <c:v>0</c:v>
                </c:pt>
                <c:pt idx="6166">
                  <c:v>0</c:v>
                </c:pt>
                <c:pt idx="6167">
                  <c:v>0</c:v>
                </c:pt>
                <c:pt idx="6168">
                  <c:v>0</c:v>
                </c:pt>
                <c:pt idx="6169">
                  <c:v>0</c:v>
                </c:pt>
                <c:pt idx="6170">
                  <c:v>0</c:v>
                </c:pt>
                <c:pt idx="6171">
                  <c:v>0</c:v>
                </c:pt>
                <c:pt idx="6172">
                  <c:v>0</c:v>
                </c:pt>
                <c:pt idx="6173">
                  <c:v>0</c:v>
                </c:pt>
                <c:pt idx="6174">
                  <c:v>0</c:v>
                </c:pt>
                <c:pt idx="6175">
                  <c:v>0</c:v>
                </c:pt>
                <c:pt idx="6176">
                  <c:v>0</c:v>
                </c:pt>
                <c:pt idx="6177">
                  <c:v>0</c:v>
                </c:pt>
                <c:pt idx="6178">
                  <c:v>0</c:v>
                </c:pt>
                <c:pt idx="6179">
                  <c:v>0</c:v>
                </c:pt>
                <c:pt idx="6180">
                  <c:v>0</c:v>
                </c:pt>
                <c:pt idx="6181">
                  <c:v>0</c:v>
                </c:pt>
                <c:pt idx="6182">
                  <c:v>0</c:v>
                </c:pt>
                <c:pt idx="6183">
                  <c:v>0</c:v>
                </c:pt>
                <c:pt idx="6184">
                  <c:v>0</c:v>
                </c:pt>
                <c:pt idx="6185">
                  <c:v>0</c:v>
                </c:pt>
                <c:pt idx="6186">
                  <c:v>0</c:v>
                </c:pt>
                <c:pt idx="6187">
                  <c:v>0</c:v>
                </c:pt>
                <c:pt idx="6188">
                  <c:v>0</c:v>
                </c:pt>
                <c:pt idx="6189">
                  <c:v>0</c:v>
                </c:pt>
                <c:pt idx="6190">
                  <c:v>0</c:v>
                </c:pt>
                <c:pt idx="6191">
                  <c:v>0</c:v>
                </c:pt>
                <c:pt idx="6192">
                  <c:v>0</c:v>
                </c:pt>
                <c:pt idx="6193">
                  <c:v>0</c:v>
                </c:pt>
                <c:pt idx="6194">
                  <c:v>0</c:v>
                </c:pt>
                <c:pt idx="6195">
                  <c:v>0</c:v>
                </c:pt>
                <c:pt idx="6196">
                  <c:v>0</c:v>
                </c:pt>
                <c:pt idx="6197">
                  <c:v>0</c:v>
                </c:pt>
                <c:pt idx="6198">
                  <c:v>0</c:v>
                </c:pt>
                <c:pt idx="6199">
                  <c:v>0</c:v>
                </c:pt>
                <c:pt idx="6200">
                  <c:v>0</c:v>
                </c:pt>
                <c:pt idx="6201">
                  <c:v>0</c:v>
                </c:pt>
                <c:pt idx="6202">
                  <c:v>0</c:v>
                </c:pt>
                <c:pt idx="6203">
                  <c:v>0</c:v>
                </c:pt>
                <c:pt idx="6204">
                  <c:v>0</c:v>
                </c:pt>
                <c:pt idx="6205">
                  <c:v>0</c:v>
                </c:pt>
                <c:pt idx="6206">
                  <c:v>0</c:v>
                </c:pt>
                <c:pt idx="6207">
                  <c:v>0</c:v>
                </c:pt>
                <c:pt idx="6208">
                  <c:v>0</c:v>
                </c:pt>
                <c:pt idx="6209">
                  <c:v>0</c:v>
                </c:pt>
                <c:pt idx="6210">
                  <c:v>0</c:v>
                </c:pt>
                <c:pt idx="6211">
                  <c:v>0</c:v>
                </c:pt>
                <c:pt idx="6212">
                  <c:v>0</c:v>
                </c:pt>
                <c:pt idx="6213">
                  <c:v>0</c:v>
                </c:pt>
                <c:pt idx="6214">
                  <c:v>0</c:v>
                </c:pt>
                <c:pt idx="6215">
                  <c:v>0</c:v>
                </c:pt>
                <c:pt idx="6216">
                  <c:v>0</c:v>
                </c:pt>
                <c:pt idx="6217">
                  <c:v>0</c:v>
                </c:pt>
                <c:pt idx="6218">
                  <c:v>0</c:v>
                </c:pt>
                <c:pt idx="6219">
                  <c:v>0</c:v>
                </c:pt>
                <c:pt idx="6220">
                  <c:v>0</c:v>
                </c:pt>
                <c:pt idx="6221">
                  <c:v>0</c:v>
                </c:pt>
                <c:pt idx="6222">
                  <c:v>0</c:v>
                </c:pt>
                <c:pt idx="6223">
                  <c:v>0</c:v>
                </c:pt>
                <c:pt idx="6224">
                  <c:v>0</c:v>
                </c:pt>
                <c:pt idx="6225">
                  <c:v>0</c:v>
                </c:pt>
                <c:pt idx="6226">
                  <c:v>0</c:v>
                </c:pt>
                <c:pt idx="6227">
                  <c:v>0</c:v>
                </c:pt>
                <c:pt idx="6228">
                  <c:v>0</c:v>
                </c:pt>
                <c:pt idx="6229">
                  <c:v>0</c:v>
                </c:pt>
                <c:pt idx="6230">
                  <c:v>0</c:v>
                </c:pt>
                <c:pt idx="6231">
                  <c:v>0</c:v>
                </c:pt>
                <c:pt idx="6232">
                  <c:v>0</c:v>
                </c:pt>
                <c:pt idx="6233">
                  <c:v>0</c:v>
                </c:pt>
                <c:pt idx="6234">
                  <c:v>0</c:v>
                </c:pt>
                <c:pt idx="6235">
                  <c:v>0</c:v>
                </c:pt>
                <c:pt idx="6236">
                  <c:v>0</c:v>
                </c:pt>
                <c:pt idx="6237">
                  <c:v>0</c:v>
                </c:pt>
                <c:pt idx="6238">
                  <c:v>0</c:v>
                </c:pt>
                <c:pt idx="6239">
                  <c:v>0</c:v>
                </c:pt>
                <c:pt idx="6240">
                  <c:v>0</c:v>
                </c:pt>
                <c:pt idx="6241">
                  <c:v>0</c:v>
                </c:pt>
                <c:pt idx="6242">
                  <c:v>0</c:v>
                </c:pt>
                <c:pt idx="6243">
                  <c:v>0</c:v>
                </c:pt>
                <c:pt idx="6244">
                  <c:v>0</c:v>
                </c:pt>
                <c:pt idx="6245">
                  <c:v>0</c:v>
                </c:pt>
                <c:pt idx="6246">
                  <c:v>0</c:v>
                </c:pt>
                <c:pt idx="6247">
                  <c:v>0</c:v>
                </c:pt>
                <c:pt idx="6248">
                  <c:v>0</c:v>
                </c:pt>
                <c:pt idx="6249">
                  <c:v>0</c:v>
                </c:pt>
                <c:pt idx="6250">
                  <c:v>0</c:v>
                </c:pt>
                <c:pt idx="6251">
                  <c:v>0</c:v>
                </c:pt>
                <c:pt idx="6252">
                  <c:v>0</c:v>
                </c:pt>
                <c:pt idx="6253">
                  <c:v>0</c:v>
                </c:pt>
                <c:pt idx="6254">
                  <c:v>0</c:v>
                </c:pt>
                <c:pt idx="6255">
                  <c:v>0</c:v>
                </c:pt>
                <c:pt idx="6256">
                  <c:v>0</c:v>
                </c:pt>
                <c:pt idx="6257">
                  <c:v>0</c:v>
                </c:pt>
                <c:pt idx="6258">
                  <c:v>0</c:v>
                </c:pt>
                <c:pt idx="6259">
                  <c:v>0</c:v>
                </c:pt>
                <c:pt idx="6260">
                  <c:v>0</c:v>
                </c:pt>
                <c:pt idx="6261">
                  <c:v>0</c:v>
                </c:pt>
                <c:pt idx="6262">
                  <c:v>0</c:v>
                </c:pt>
                <c:pt idx="6263">
                  <c:v>0</c:v>
                </c:pt>
                <c:pt idx="6264">
                  <c:v>0</c:v>
                </c:pt>
                <c:pt idx="6265">
                  <c:v>0</c:v>
                </c:pt>
                <c:pt idx="6266">
                  <c:v>0</c:v>
                </c:pt>
                <c:pt idx="6267">
                  <c:v>0</c:v>
                </c:pt>
                <c:pt idx="6268">
                  <c:v>0</c:v>
                </c:pt>
                <c:pt idx="6269">
                  <c:v>0</c:v>
                </c:pt>
                <c:pt idx="6270">
                  <c:v>0</c:v>
                </c:pt>
                <c:pt idx="6271">
                  <c:v>0</c:v>
                </c:pt>
                <c:pt idx="6272">
                  <c:v>0</c:v>
                </c:pt>
                <c:pt idx="6273">
                  <c:v>0</c:v>
                </c:pt>
                <c:pt idx="6274">
                  <c:v>0</c:v>
                </c:pt>
                <c:pt idx="6275">
                  <c:v>0</c:v>
                </c:pt>
                <c:pt idx="6276">
                  <c:v>0</c:v>
                </c:pt>
                <c:pt idx="6277">
                  <c:v>0</c:v>
                </c:pt>
                <c:pt idx="6278">
                  <c:v>0</c:v>
                </c:pt>
                <c:pt idx="6279">
                  <c:v>0</c:v>
                </c:pt>
                <c:pt idx="6280">
                  <c:v>0</c:v>
                </c:pt>
                <c:pt idx="6281">
                  <c:v>0</c:v>
                </c:pt>
                <c:pt idx="6282">
                  <c:v>0</c:v>
                </c:pt>
                <c:pt idx="6283">
                  <c:v>0</c:v>
                </c:pt>
                <c:pt idx="6284">
                  <c:v>0</c:v>
                </c:pt>
                <c:pt idx="6285">
                  <c:v>0</c:v>
                </c:pt>
                <c:pt idx="6286">
                  <c:v>0</c:v>
                </c:pt>
                <c:pt idx="6287">
                  <c:v>0</c:v>
                </c:pt>
                <c:pt idx="6288">
                  <c:v>0</c:v>
                </c:pt>
                <c:pt idx="6289">
                  <c:v>0</c:v>
                </c:pt>
                <c:pt idx="6290">
                  <c:v>0</c:v>
                </c:pt>
                <c:pt idx="6291">
                  <c:v>0</c:v>
                </c:pt>
                <c:pt idx="6292">
                  <c:v>0</c:v>
                </c:pt>
                <c:pt idx="6293">
                  <c:v>0</c:v>
                </c:pt>
                <c:pt idx="6294">
                  <c:v>0</c:v>
                </c:pt>
                <c:pt idx="6295">
                  <c:v>0</c:v>
                </c:pt>
                <c:pt idx="6296">
                  <c:v>0</c:v>
                </c:pt>
                <c:pt idx="6297">
                  <c:v>0</c:v>
                </c:pt>
                <c:pt idx="6298">
                  <c:v>0</c:v>
                </c:pt>
                <c:pt idx="6299">
                  <c:v>0</c:v>
                </c:pt>
                <c:pt idx="6300">
                  <c:v>0</c:v>
                </c:pt>
                <c:pt idx="6301">
                  <c:v>0</c:v>
                </c:pt>
                <c:pt idx="6302">
                  <c:v>0</c:v>
                </c:pt>
                <c:pt idx="6303">
                  <c:v>0</c:v>
                </c:pt>
                <c:pt idx="6304">
                  <c:v>0</c:v>
                </c:pt>
                <c:pt idx="6305">
                  <c:v>0</c:v>
                </c:pt>
                <c:pt idx="6306">
                  <c:v>0</c:v>
                </c:pt>
                <c:pt idx="6307">
                  <c:v>0</c:v>
                </c:pt>
                <c:pt idx="6308">
                  <c:v>0</c:v>
                </c:pt>
                <c:pt idx="6309">
                  <c:v>0</c:v>
                </c:pt>
                <c:pt idx="6310">
                  <c:v>0</c:v>
                </c:pt>
                <c:pt idx="6311">
                  <c:v>0</c:v>
                </c:pt>
                <c:pt idx="6312">
                  <c:v>0</c:v>
                </c:pt>
                <c:pt idx="6313">
                  <c:v>0</c:v>
                </c:pt>
                <c:pt idx="6314">
                  <c:v>0</c:v>
                </c:pt>
                <c:pt idx="6315">
                  <c:v>0</c:v>
                </c:pt>
                <c:pt idx="6316">
                  <c:v>0</c:v>
                </c:pt>
                <c:pt idx="6317">
                  <c:v>0</c:v>
                </c:pt>
                <c:pt idx="6318">
                  <c:v>0</c:v>
                </c:pt>
                <c:pt idx="6319">
                  <c:v>0</c:v>
                </c:pt>
                <c:pt idx="6320">
                  <c:v>0</c:v>
                </c:pt>
                <c:pt idx="6321">
                  <c:v>0</c:v>
                </c:pt>
                <c:pt idx="6322">
                  <c:v>0</c:v>
                </c:pt>
                <c:pt idx="6323">
                  <c:v>0</c:v>
                </c:pt>
                <c:pt idx="6324">
                  <c:v>0</c:v>
                </c:pt>
                <c:pt idx="6325">
                  <c:v>0</c:v>
                </c:pt>
                <c:pt idx="6326">
                  <c:v>0</c:v>
                </c:pt>
                <c:pt idx="6327">
                  <c:v>0</c:v>
                </c:pt>
                <c:pt idx="6328">
                  <c:v>0</c:v>
                </c:pt>
                <c:pt idx="6329">
                  <c:v>0</c:v>
                </c:pt>
                <c:pt idx="6330">
                  <c:v>0</c:v>
                </c:pt>
                <c:pt idx="6331">
                  <c:v>0</c:v>
                </c:pt>
                <c:pt idx="6332">
                  <c:v>0</c:v>
                </c:pt>
                <c:pt idx="6333">
                  <c:v>0</c:v>
                </c:pt>
                <c:pt idx="6334">
                  <c:v>0</c:v>
                </c:pt>
                <c:pt idx="6335">
                  <c:v>0</c:v>
                </c:pt>
                <c:pt idx="6336">
                  <c:v>0</c:v>
                </c:pt>
                <c:pt idx="6337">
                  <c:v>0</c:v>
                </c:pt>
                <c:pt idx="6338">
                  <c:v>0</c:v>
                </c:pt>
                <c:pt idx="6339">
                  <c:v>0</c:v>
                </c:pt>
                <c:pt idx="6340">
                  <c:v>0</c:v>
                </c:pt>
                <c:pt idx="6341">
                  <c:v>0</c:v>
                </c:pt>
                <c:pt idx="6342">
                  <c:v>0</c:v>
                </c:pt>
                <c:pt idx="6343">
                  <c:v>0</c:v>
                </c:pt>
                <c:pt idx="6344">
                  <c:v>0</c:v>
                </c:pt>
                <c:pt idx="6345">
                  <c:v>0</c:v>
                </c:pt>
                <c:pt idx="6346">
                  <c:v>0</c:v>
                </c:pt>
                <c:pt idx="6347">
                  <c:v>0</c:v>
                </c:pt>
                <c:pt idx="6348">
                  <c:v>0</c:v>
                </c:pt>
                <c:pt idx="6349">
                  <c:v>0</c:v>
                </c:pt>
                <c:pt idx="6350">
                  <c:v>0</c:v>
                </c:pt>
                <c:pt idx="6351">
                  <c:v>0</c:v>
                </c:pt>
                <c:pt idx="6352">
                  <c:v>0</c:v>
                </c:pt>
                <c:pt idx="6353">
                  <c:v>0</c:v>
                </c:pt>
                <c:pt idx="6354">
                  <c:v>0</c:v>
                </c:pt>
                <c:pt idx="6355">
                  <c:v>0</c:v>
                </c:pt>
                <c:pt idx="6356">
                  <c:v>0</c:v>
                </c:pt>
                <c:pt idx="6357">
                  <c:v>0</c:v>
                </c:pt>
                <c:pt idx="6358">
                  <c:v>0</c:v>
                </c:pt>
                <c:pt idx="6359">
                  <c:v>0</c:v>
                </c:pt>
                <c:pt idx="6360">
                  <c:v>0</c:v>
                </c:pt>
                <c:pt idx="6361">
                  <c:v>0</c:v>
                </c:pt>
                <c:pt idx="6362">
                  <c:v>0</c:v>
                </c:pt>
                <c:pt idx="6363">
                  <c:v>0</c:v>
                </c:pt>
                <c:pt idx="6364">
                  <c:v>0</c:v>
                </c:pt>
                <c:pt idx="6365">
                  <c:v>0</c:v>
                </c:pt>
                <c:pt idx="6366">
                  <c:v>0</c:v>
                </c:pt>
                <c:pt idx="6367">
                  <c:v>0</c:v>
                </c:pt>
                <c:pt idx="6368">
                  <c:v>0</c:v>
                </c:pt>
                <c:pt idx="6369">
                  <c:v>0</c:v>
                </c:pt>
                <c:pt idx="6370">
                  <c:v>0</c:v>
                </c:pt>
                <c:pt idx="6371">
                  <c:v>0</c:v>
                </c:pt>
                <c:pt idx="6372">
                  <c:v>0</c:v>
                </c:pt>
                <c:pt idx="6373">
                  <c:v>0</c:v>
                </c:pt>
                <c:pt idx="6374">
                  <c:v>0</c:v>
                </c:pt>
                <c:pt idx="6375">
                  <c:v>0</c:v>
                </c:pt>
                <c:pt idx="6376">
                  <c:v>0</c:v>
                </c:pt>
                <c:pt idx="6377">
                  <c:v>0</c:v>
                </c:pt>
                <c:pt idx="6378">
                  <c:v>0</c:v>
                </c:pt>
                <c:pt idx="6379">
                  <c:v>0</c:v>
                </c:pt>
                <c:pt idx="6380">
                  <c:v>0</c:v>
                </c:pt>
                <c:pt idx="6381">
                  <c:v>0</c:v>
                </c:pt>
                <c:pt idx="6382">
                  <c:v>0</c:v>
                </c:pt>
                <c:pt idx="6383">
                  <c:v>0</c:v>
                </c:pt>
                <c:pt idx="6384">
                  <c:v>0</c:v>
                </c:pt>
                <c:pt idx="6385">
                  <c:v>0</c:v>
                </c:pt>
                <c:pt idx="6386">
                  <c:v>0</c:v>
                </c:pt>
                <c:pt idx="6387">
                  <c:v>0</c:v>
                </c:pt>
                <c:pt idx="6388">
                  <c:v>0</c:v>
                </c:pt>
                <c:pt idx="6389">
                  <c:v>0</c:v>
                </c:pt>
                <c:pt idx="6390">
                  <c:v>0</c:v>
                </c:pt>
                <c:pt idx="6391">
                  <c:v>0</c:v>
                </c:pt>
                <c:pt idx="6392">
                  <c:v>0</c:v>
                </c:pt>
                <c:pt idx="6393">
                  <c:v>0</c:v>
                </c:pt>
                <c:pt idx="6394">
                  <c:v>0</c:v>
                </c:pt>
                <c:pt idx="6395">
                  <c:v>0</c:v>
                </c:pt>
                <c:pt idx="6396">
                  <c:v>0</c:v>
                </c:pt>
                <c:pt idx="6397">
                  <c:v>0</c:v>
                </c:pt>
                <c:pt idx="6398">
                  <c:v>0</c:v>
                </c:pt>
                <c:pt idx="6399">
                  <c:v>0</c:v>
                </c:pt>
                <c:pt idx="6400">
                  <c:v>0</c:v>
                </c:pt>
                <c:pt idx="6401">
                  <c:v>0</c:v>
                </c:pt>
                <c:pt idx="6402">
                  <c:v>0</c:v>
                </c:pt>
                <c:pt idx="6403">
                  <c:v>0</c:v>
                </c:pt>
                <c:pt idx="6404">
                  <c:v>0</c:v>
                </c:pt>
                <c:pt idx="6405">
                  <c:v>0</c:v>
                </c:pt>
                <c:pt idx="6406">
                  <c:v>0</c:v>
                </c:pt>
                <c:pt idx="6407">
                  <c:v>0</c:v>
                </c:pt>
                <c:pt idx="6408">
                  <c:v>0</c:v>
                </c:pt>
                <c:pt idx="6409">
                  <c:v>0</c:v>
                </c:pt>
                <c:pt idx="6410">
                  <c:v>0</c:v>
                </c:pt>
                <c:pt idx="6411">
                  <c:v>0</c:v>
                </c:pt>
                <c:pt idx="6412">
                  <c:v>0</c:v>
                </c:pt>
                <c:pt idx="6413">
                  <c:v>0</c:v>
                </c:pt>
                <c:pt idx="6414">
                  <c:v>0</c:v>
                </c:pt>
                <c:pt idx="6415">
                  <c:v>0</c:v>
                </c:pt>
                <c:pt idx="6416">
                  <c:v>0</c:v>
                </c:pt>
                <c:pt idx="6417">
                  <c:v>0</c:v>
                </c:pt>
                <c:pt idx="6418">
                  <c:v>0</c:v>
                </c:pt>
                <c:pt idx="6419">
                  <c:v>0</c:v>
                </c:pt>
                <c:pt idx="6420">
                  <c:v>0</c:v>
                </c:pt>
                <c:pt idx="6421">
                  <c:v>0</c:v>
                </c:pt>
                <c:pt idx="6422">
                  <c:v>0</c:v>
                </c:pt>
                <c:pt idx="6423">
                  <c:v>0</c:v>
                </c:pt>
                <c:pt idx="6424">
                  <c:v>0</c:v>
                </c:pt>
                <c:pt idx="6425">
                  <c:v>0</c:v>
                </c:pt>
                <c:pt idx="6426">
                  <c:v>0</c:v>
                </c:pt>
                <c:pt idx="6427">
                  <c:v>0</c:v>
                </c:pt>
                <c:pt idx="6428">
                  <c:v>0</c:v>
                </c:pt>
                <c:pt idx="6429">
                  <c:v>0</c:v>
                </c:pt>
                <c:pt idx="6430">
                  <c:v>0</c:v>
                </c:pt>
                <c:pt idx="6431">
                  <c:v>0</c:v>
                </c:pt>
                <c:pt idx="6432">
                  <c:v>0</c:v>
                </c:pt>
                <c:pt idx="6433">
                  <c:v>0</c:v>
                </c:pt>
                <c:pt idx="6434">
                  <c:v>0</c:v>
                </c:pt>
                <c:pt idx="6435">
                  <c:v>0</c:v>
                </c:pt>
                <c:pt idx="6436">
                  <c:v>0</c:v>
                </c:pt>
                <c:pt idx="6437">
                  <c:v>0</c:v>
                </c:pt>
                <c:pt idx="6438">
                  <c:v>0</c:v>
                </c:pt>
                <c:pt idx="6439">
                  <c:v>0</c:v>
                </c:pt>
                <c:pt idx="6440">
                  <c:v>0</c:v>
                </c:pt>
                <c:pt idx="6441">
                  <c:v>0</c:v>
                </c:pt>
                <c:pt idx="6442">
                  <c:v>0</c:v>
                </c:pt>
                <c:pt idx="6443">
                  <c:v>0</c:v>
                </c:pt>
                <c:pt idx="6444">
                  <c:v>0</c:v>
                </c:pt>
                <c:pt idx="6445">
                  <c:v>0</c:v>
                </c:pt>
                <c:pt idx="6446">
                  <c:v>0</c:v>
                </c:pt>
                <c:pt idx="6447">
                  <c:v>0</c:v>
                </c:pt>
                <c:pt idx="6448">
                  <c:v>0</c:v>
                </c:pt>
                <c:pt idx="6449">
                  <c:v>0</c:v>
                </c:pt>
                <c:pt idx="6450">
                  <c:v>0</c:v>
                </c:pt>
                <c:pt idx="6451">
                  <c:v>0</c:v>
                </c:pt>
                <c:pt idx="6452">
                  <c:v>0</c:v>
                </c:pt>
                <c:pt idx="6453">
                  <c:v>0</c:v>
                </c:pt>
                <c:pt idx="6454">
                  <c:v>0</c:v>
                </c:pt>
                <c:pt idx="6455">
                  <c:v>0</c:v>
                </c:pt>
                <c:pt idx="6456">
                  <c:v>0</c:v>
                </c:pt>
                <c:pt idx="6457">
                  <c:v>0</c:v>
                </c:pt>
                <c:pt idx="6458">
                  <c:v>0</c:v>
                </c:pt>
                <c:pt idx="6459">
                  <c:v>0</c:v>
                </c:pt>
                <c:pt idx="6460">
                  <c:v>0</c:v>
                </c:pt>
                <c:pt idx="6461">
                  <c:v>0</c:v>
                </c:pt>
                <c:pt idx="6462">
                  <c:v>0</c:v>
                </c:pt>
                <c:pt idx="6463">
                  <c:v>0</c:v>
                </c:pt>
                <c:pt idx="6464">
                  <c:v>0</c:v>
                </c:pt>
                <c:pt idx="6465">
                  <c:v>0</c:v>
                </c:pt>
                <c:pt idx="6466">
                  <c:v>0</c:v>
                </c:pt>
                <c:pt idx="6467">
                  <c:v>0</c:v>
                </c:pt>
                <c:pt idx="6468">
                  <c:v>0</c:v>
                </c:pt>
                <c:pt idx="6469">
                  <c:v>0</c:v>
                </c:pt>
                <c:pt idx="6470">
                  <c:v>0</c:v>
                </c:pt>
                <c:pt idx="6471">
                  <c:v>0</c:v>
                </c:pt>
                <c:pt idx="6472">
                  <c:v>0</c:v>
                </c:pt>
                <c:pt idx="6473">
                  <c:v>0</c:v>
                </c:pt>
                <c:pt idx="6474">
                  <c:v>0</c:v>
                </c:pt>
                <c:pt idx="6475">
                  <c:v>0</c:v>
                </c:pt>
                <c:pt idx="6476">
                  <c:v>0</c:v>
                </c:pt>
                <c:pt idx="6477">
                  <c:v>0</c:v>
                </c:pt>
                <c:pt idx="6478">
                  <c:v>0</c:v>
                </c:pt>
                <c:pt idx="6479">
                  <c:v>0</c:v>
                </c:pt>
                <c:pt idx="6480">
                  <c:v>0</c:v>
                </c:pt>
                <c:pt idx="6481">
                  <c:v>0</c:v>
                </c:pt>
                <c:pt idx="6482">
                  <c:v>0</c:v>
                </c:pt>
                <c:pt idx="6483">
                  <c:v>0</c:v>
                </c:pt>
                <c:pt idx="6484">
                  <c:v>0</c:v>
                </c:pt>
                <c:pt idx="6485">
                  <c:v>0</c:v>
                </c:pt>
                <c:pt idx="6486">
                  <c:v>0</c:v>
                </c:pt>
                <c:pt idx="6487">
                  <c:v>0</c:v>
                </c:pt>
                <c:pt idx="6488">
                  <c:v>0</c:v>
                </c:pt>
                <c:pt idx="6489">
                  <c:v>0</c:v>
                </c:pt>
                <c:pt idx="6490">
                  <c:v>0</c:v>
                </c:pt>
                <c:pt idx="6491">
                  <c:v>0</c:v>
                </c:pt>
                <c:pt idx="6492">
                  <c:v>0</c:v>
                </c:pt>
                <c:pt idx="6493">
                  <c:v>0</c:v>
                </c:pt>
                <c:pt idx="6494">
                  <c:v>0</c:v>
                </c:pt>
                <c:pt idx="6495">
                  <c:v>0</c:v>
                </c:pt>
                <c:pt idx="6496">
                  <c:v>0</c:v>
                </c:pt>
                <c:pt idx="6497">
                  <c:v>0</c:v>
                </c:pt>
                <c:pt idx="6498">
                  <c:v>0</c:v>
                </c:pt>
                <c:pt idx="6499">
                  <c:v>0</c:v>
                </c:pt>
                <c:pt idx="6500">
                  <c:v>0</c:v>
                </c:pt>
                <c:pt idx="6501">
                  <c:v>0</c:v>
                </c:pt>
                <c:pt idx="6502">
                  <c:v>0</c:v>
                </c:pt>
                <c:pt idx="6503">
                  <c:v>0</c:v>
                </c:pt>
                <c:pt idx="6504">
                  <c:v>0</c:v>
                </c:pt>
                <c:pt idx="6505">
                  <c:v>0</c:v>
                </c:pt>
                <c:pt idx="6506">
                  <c:v>0</c:v>
                </c:pt>
                <c:pt idx="6507">
                  <c:v>0</c:v>
                </c:pt>
                <c:pt idx="6508">
                  <c:v>0</c:v>
                </c:pt>
                <c:pt idx="6509">
                  <c:v>0</c:v>
                </c:pt>
                <c:pt idx="6510">
                  <c:v>0</c:v>
                </c:pt>
                <c:pt idx="6511">
                  <c:v>0</c:v>
                </c:pt>
                <c:pt idx="6512">
                  <c:v>0</c:v>
                </c:pt>
                <c:pt idx="6513">
                  <c:v>0</c:v>
                </c:pt>
                <c:pt idx="6514">
                  <c:v>0</c:v>
                </c:pt>
                <c:pt idx="6515">
                  <c:v>0</c:v>
                </c:pt>
                <c:pt idx="6516">
                  <c:v>0</c:v>
                </c:pt>
                <c:pt idx="6517">
                  <c:v>0</c:v>
                </c:pt>
                <c:pt idx="6518">
                  <c:v>0</c:v>
                </c:pt>
                <c:pt idx="6519">
                  <c:v>0</c:v>
                </c:pt>
                <c:pt idx="6520">
                  <c:v>0</c:v>
                </c:pt>
                <c:pt idx="6521">
                  <c:v>0</c:v>
                </c:pt>
                <c:pt idx="6522">
                  <c:v>0</c:v>
                </c:pt>
                <c:pt idx="6523">
                  <c:v>0</c:v>
                </c:pt>
                <c:pt idx="6524">
                  <c:v>0</c:v>
                </c:pt>
                <c:pt idx="6525">
                  <c:v>0</c:v>
                </c:pt>
                <c:pt idx="6526">
                  <c:v>0</c:v>
                </c:pt>
                <c:pt idx="6527">
                  <c:v>0</c:v>
                </c:pt>
                <c:pt idx="6528">
                  <c:v>0</c:v>
                </c:pt>
                <c:pt idx="6529">
                  <c:v>0</c:v>
                </c:pt>
                <c:pt idx="6530">
                  <c:v>0</c:v>
                </c:pt>
                <c:pt idx="6531">
                  <c:v>0</c:v>
                </c:pt>
                <c:pt idx="6532">
                  <c:v>0</c:v>
                </c:pt>
                <c:pt idx="6533">
                  <c:v>0</c:v>
                </c:pt>
                <c:pt idx="6534">
                  <c:v>0</c:v>
                </c:pt>
                <c:pt idx="6535">
                  <c:v>0</c:v>
                </c:pt>
                <c:pt idx="6536">
                  <c:v>0</c:v>
                </c:pt>
                <c:pt idx="6537">
                  <c:v>0</c:v>
                </c:pt>
                <c:pt idx="6538">
                  <c:v>0</c:v>
                </c:pt>
                <c:pt idx="6539">
                  <c:v>0</c:v>
                </c:pt>
                <c:pt idx="6540">
                  <c:v>0</c:v>
                </c:pt>
                <c:pt idx="6541">
                  <c:v>0</c:v>
                </c:pt>
                <c:pt idx="6542">
                  <c:v>0</c:v>
                </c:pt>
                <c:pt idx="6543">
                  <c:v>0</c:v>
                </c:pt>
                <c:pt idx="6544">
                  <c:v>0</c:v>
                </c:pt>
                <c:pt idx="6545">
                  <c:v>0</c:v>
                </c:pt>
                <c:pt idx="6546">
                  <c:v>0</c:v>
                </c:pt>
                <c:pt idx="6547">
                  <c:v>0</c:v>
                </c:pt>
                <c:pt idx="6548">
                  <c:v>0</c:v>
                </c:pt>
                <c:pt idx="6549">
                  <c:v>0</c:v>
                </c:pt>
                <c:pt idx="6550">
                  <c:v>0</c:v>
                </c:pt>
                <c:pt idx="6551">
                  <c:v>0</c:v>
                </c:pt>
                <c:pt idx="6552">
                  <c:v>0</c:v>
                </c:pt>
                <c:pt idx="6553">
                  <c:v>0</c:v>
                </c:pt>
                <c:pt idx="6554">
                  <c:v>0</c:v>
                </c:pt>
                <c:pt idx="6555">
                  <c:v>0</c:v>
                </c:pt>
                <c:pt idx="6556">
                  <c:v>0</c:v>
                </c:pt>
                <c:pt idx="6557">
                  <c:v>0</c:v>
                </c:pt>
                <c:pt idx="6558">
                  <c:v>0</c:v>
                </c:pt>
                <c:pt idx="6559">
                  <c:v>0</c:v>
                </c:pt>
                <c:pt idx="6560">
                  <c:v>0</c:v>
                </c:pt>
                <c:pt idx="6561">
                  <c:v>0</c:v>
                </c:pt>
                <c:pt idx="6562">
                  <c:v>0</c:v>
                </c:pt>
                <c:pt idx="6563">
                  <c:v>0</c:v>
                </c:pt>
                <c:pt idx="6564">
                  <c:v>0</c:v>
                </c:pt>
                <c:pt idx="6565">
                  <c:v>0</c:v>
                </c:pt>
                <c:pt idx="6566">
                  <c:v>0</c:v>
                </c:pt>
                <c:pt idx="6567">
                  <c:v>0</c:v>
                </c:pt>
                <c:pt idx="6568">
                  <c:v>0</c:v>
                </c:pt>
                <c:pt idx="6569">
                  <c:v>0</c:v>
                </c:pt>
                <c:pt idx="6570">
                  <c:v>0</c:v>
                </c:pt>
                <c:pt idx="6571">
                  <c:v>0</c:v>
                </c:pt>
                <c:pt idx="6572">
                  <c:v>0</c:v>
                </c:pt>
                <c:pt idx="6573">
                  <c:v>0</c:v>
                </c:pt>
                <c:pt idx="6574">
                  <c:v>0</c:v>
                </c:pt>
                <c:pt idx="6575">
                  <c:v>0</c:v>
                </c:pt>
                <c:pt idx="6576">
                  <c:v>0</c:v>
                </c:pt>
                <c:pt idx="6577">
                  <c:v>0</c:v>
                </c:pt>
                <c:pt idx="6578">
                  <c:v>0</c:v>
                </c:pt>
                <c:pt idx="6579">
                  <c:v>0</c:v>
                </c:pt>
                <c:pt idx="6580">
                  <c:v>0</c:v>
                </c:pt>
                <c:pt idx="6581">
                  <c:v>0</c:v>
                </c:pt>
                <c:pt idx="6582">
                  <c:v>0</c:v>
                </c:pt>
                <c:pt idx="6583">
                  <c:v>0</c:v>
                </c:pt>
                <c:pt idx="6584">
                  <c:v>0</c:v>
                </c:pt>
                <c:pt idx="6585">
                  <c:v>0</c:v>
                </c:pt>
                <c:pt idx="6586">
                  <c:v>0</c:v>
                </c:pt>
                <c:pt idx="6587">
                  <c:v>0</c:v>
                </c:pt>
                <c:pt idx="6588">
                  <c:v>0</c:v>
                </c:pt>
                <c:pt idx="6589">
                  <c:v>0</c:v>
                </c:pt>
                <c:pt idx="6590">
                  <c:v>0</c:v>
                </c:pt>
                <c:pt idx="6591">
                  <c:v>0</c:v>
                </c:pt>
                <c:pt idx="6592">
                  <c:v>0</c:v>
                </c:pt>
                <c:pt idx="6593">
                  <c:v>0</c:v>
                </c:pt>
                <c:pt idx="6594">
                  <c:v>0</c:v>
                </c:pt>
                <c:pt idx="6595">
                  <c:v>0</c:v>
                </c:pt>
                <c:pt idx="6596">
                  <c:v>0</c:v>
                </c:pt>
                <c:pt idx="6597">
                  <c:v>0</c:v>
                </c:pt>
                <c:pt idx="6598">
                  <c:v>0</c:v>
                </c:pt>
                <c:pt idx="6599">
                  <c:v>0</c:v>
                </c:pt>
                <c:pt idx="6600">
                  <c:v>0</c:v>
                </c:pt>
                <c:pt idx="6601">
                  <c:v>0</c:v>
                </c:pt>
                <c:pt idx="6602">
                  <c:v>0</c:v>
                </c:pt>
                <c:pt idx="6603">
                  <c:v>0</c:v>
                </c:pt>
                <c:pt idx="6604">
                  <c:v>0</c:v>
                </c:pt>
                <c:pt idx="6605">
                  <c:v>0</c:v>
                </c:pt>
                <c:pt idx="6606">
                  <c:v>0</c:v>
                </c:pt>
                <c:pt idx="6607">
                  <c:v>0</c:v>
                </c:pt>
                <c:pt idx="6608">
                  <c:v>0</c:v>
                </c:pt>
                <c:pt idx="6609">
                  <c:v>0</c:v>
                </c:pt>
                <c:pt idx="6610">
                  <c:v>0</c:v>
                </c:pt>
                <c:pt idx="6611">
                  <c:v>0</c:v>
                </c:pt>
                <c:pt idx="6612">
                  <c:v>0</c:v>
                </c:pt>
                <c:pt idx="6613">
                  <c:v>0</c:v>
                </c:pt>
                <c:pt idx="6614">
                  <c:v>0</c:v>
                </c:pt>
                <c:pt idx="6615">
                  <c:v>0</c:v>
                </c:pt>
                <c:pt idx="6616">
                  <c:v>0</c:v>
                </c:pt>
                <c:pt idx="6617">
                  <c:v>0</c:v>
                </c:pt>
                <c:pt idx="6618">
                  <c:v>0</c:v>
                </c:pt>
                <c:pt idx="6619">
                  <c:v>0</c:v>
                </c:pt>
                <c:pt idx="6620">
                  <c:v>0</c:v>
                </c:pt>
                <c:pt idx="6621">
                  <c:v>0</c:v>
                </c:pt>
                <c:pt idx="6622">
                  <c:v>0</c:v>
                </c:pt>
                <c:pt idx="6623">
                  <c:v>0</c:v>
                </c:pt>
                <c:pt idx="6624">
                  <c:v>0</c:v>
                </c:pt>
                <c:pt idx="6625">
                  <c:v>0</c:v>
                </c:pt>
                <c:pt idx="6626">
                  <c:v>0</c:v>
                </c:pt>
                <c:pt idx="6627">
                  <c:v>0</c:v>
                </c:pt>
                <c:pt idx="6628">
                  <c:v>0</c:v>
                </c:pt>
                <c:pt idx="6629">
                  <c:v>0</c:v>
                </c:pt>
                <c:pt idx="6630">
                  <c:v>0</c:v>
                </c:pt>
                <c:pt idx="6631">
                  <c:v>0</c:v>
                </c:pt>
                <c:pt idx="6632">
                  <c:v>0</c:v>
                </c:pt>
                <c:pt idx="6633">
                  <c:v>0</c:v>
                </c:pt>
                <c:pt idx="6634">
                  <c:v>0</c:v>
                </c:pt>
                <c:pt idx="6635">
                  <c:v>0</c:v>
                </c:pt>
                <c:pt idx="6636">
                  <c:v>0</c:v>
                </c:pt>
                <c:pt idx="6637">
                  <c:v>0</c:v>
                </c:pt>
                <c:pt idx="6638">
                  <c:v>0</c:v>
                </c:pt>
                <c:pt idx="6639">
                  <c:v>0</c:v>
                </c:pt>
                <c:pt idx="6640">
                  <c:v>0</c:v>
                </c:pt>
                <c:pt idx="6641">
                  <c:v>0</c:v>
                </c:pt>
                <c:pt idx="6642">
                  <c:v>0</c:v>
                </c:pt>
                <c:pt idx="6643">
                  <c:v>0</c:v>
                </c:pt>
                <c:pt idx="6644">
                  <c:v>0</c:v>
                </c:pt>
                <c:pt idx="6645">
                  <c:v>0</c:v>
                </c:pt>
                <c:pt idx="6646">
                  <c:v>0</c:v>
                </c:pt>
                <c:pt idx="6647">
                  <c:v>0</c:v>
                </c:pt>
                <c:pt idx="6648">
                  <c:v>0</c:v>
                </c:pt>
                <c:pt idx="6649">
                  <c:v>0</c:v>
                </c:pt>
                <c:pt idx="6650">
                  <c:v>0</c:v>
                </c:pt>
                <c:pt idx="6651">
                  <c:v>0</c:v>
                </c:pt>
                <c:pt idx="6652">
                  <c:v>0</c:v>
                </c:pt>
                <c:pt idx="6653">
                  <c:v>0</c:v>
                </c:pt>
                <c:pt idx="6654">
                  <c:v>0</c:v>
                </c:pt>
                <c:pt idx="6655">
                  <c:v>0</c:v>
                </c:pt>
                <c:pt idx="6656">
                  <c:v>0</c:v>
                </c:pt>
                <c:pt idx="6657">
                  <c:v>0</c:v>
                </c:pt>
                <c:pt idx="6658">
                  <c:v>0</c:v>
                </c:pt>
                <c:pt idx="6659">
                  <c:v>0</c:v>
                </c:pt>
                <c:pt idx="6660">
                  <c:v>0</c:v>
                </c:pt>
                <c:pt idx="6661">
                  <c:v>0</c:v>
                </c:pt>
                <c:pt idx="6662">
                  <c:v>0</c:v>
                </c:pt>
                <c:pt idx="6663">
                  <c:v>0</c:v>
                </c:pt>
                <c:pt idx="6664">
                  <c:v>0</c:v>
                </c:pt>
                <c:pt idx="6665">
                  <c:v>0</c:v>
                </c:pt>
                <c:pt idx="6666">
                  <c:v>0</c:v>
                </c:pt>
                <c:pt idx="6667">
                  <c:v>0</c:v>
                </c:pt>
                <c:pt idx="6668">
                  <c:v>0</c:v>
                </c:pt>
                <c:pt idx="6669">
                  <c:v>0</c:v>
                </c:pt>
                <c:pt idx="6670">
                  <c:v>0</c:v>
                </c:pt>
                <c:pt idx="6671">
                  <c:v>0</c:v>
                </c:pt>
                <c:pt idx="6672">
                  <c:v>0</c:v>
                </c:pt>
                <c:pt idx="6673">
                  <c:v>0</c:v>
                </c:pt>
                <c:pt idx="6674">
                  <c:v>0</c:v>
                </c:pt>
                <c:pt idx="6675">
                  <c:v>0</c:v>
                </c:pt>
                <c:pt idx="6676">
                  <c:v>0</c:v>
                </c:pt>
                <c:pt idx="6677">
                  <c:v>0</c:v>
                </c:pt>
                <c:pt idx="6678">
                  <c:v>0</c:v>
                </c:pt>
                <c:pt idx="6679">
                  <c:v>0</c:v>
                </c:pt>
                <c:pt idx="6680">
                  <c:v>0</c:v>
                </c:pt>
                <c:pt idx="6681">
                  <c:v>0</c:v>
                </c:pt>
                <c:pt idx="6682">
                  <c:v>0</c:v>
                </c:pt>
                <c:pt idx="6683">
                  <c:v>0</c:v>
                </c:pt>
                <c:pt idx="6684">
                  <c:v>0</c:v>
                </c:pt>
                <c:pt idx="6685">
                  <c:v>0</c:v>
                </c:pt>
                <c:pt idx="6686">
                  <c:v>0</c:v>
                </c:pt>
                <c:pt idx="6687">
                  <c:v>0</c:v>
                </c:pt>
                <c:pt idx="6688">
                  <c:v>0</c:v>
                </c:pt>
                <c:pt idx="6689">
                  <c:v>0</c:v>
                </c:pt>
                <c:pt idx="6690">
                  <c:v>0</c:v>
                </c:pt>
                <c:pt idx="6691">
                  <c:v>0</c:v>
                </c:pt>
                <c:pt idx="6692">
                  <c:v>0</c:v>
                </c:pt>
                <c:pt idx="6693">
                  <c:v>0</c:v>
                </c:pt>
                <c:pt idx="6694">
                  <c:v>0</c:v>
                </c:pt>
                <c:pt idx="6695">
                  <c:v>0</c:v>
                </c:pt>
                <c:pt idx="6696">
                  <c:v>0</c:v>
                </c:pt>
                <c:pt idx="6697">
                  <c:v>0</c:v>
                </c:pt>
                <c:pt idx="6698">
                  <c:v>0</c:v>
                </c:pt>
                <c:pt idx="6699">
                  <c:v>0</c:v>
                </c:pt>
                <c:pt idx="6700">
                  <c:v>0</c:v>
                </c:pt>
                <c:pt idx="6701">
                  <c:v>0</c:v>
                </c:pt>
                <c:pt idx="6702">
                  <c:v>0</c:v>
                </c:pt>
                <c:pt idx="6703">
                  <c:v>0</c:v>
                </c:pt>
                <c:pt idx="6704">
                  <c:v>0</c:v>
                </c:pt>
                <c:pt idx="6705">
                  <c:v>0</c:v>
                </c:pt>
                <c:pt idx="6706">
                  <c:v>0</c:v>
                </c:pt>
                <c:pt idx="6707">
                  <c:v>0</c:v>
                </c:pt>
                <c:pt idx="6708">
                  <c:v>0</c:v>
                </c:pt>
                <c:pt idx="6709">
                  <c:v>0</c:v>
                </c:pt>
                <c:pt idx="6710">
                  <c:v>0</c:v>
                </c:pt>
                <c:pt idx="6711">
                  <c:v>0</c:v>
                </c:pt>
                <c:pt idx="6712">
                  <c:v>0</c:v>
                </c:pt>
                <c:pt idx="6713">
                  <c:v>0</c:v>
                </c:pt>
                <c:pt idx="6714">
                  <c:v>0</c:v>
                </c:pt>
                <c:pt idx="6715">
                  <c:v>0</c:v>
                </c:pt>
                <c:pt idx="6716">
                  <c:v>0</c:v>
                </c:pt>
                <c:pt idx="6717">
                  <c:v>0</c:v>
                </c:pt>
                <c:pt idx="6718">
                  <c:v>0</c:v>
                </c:pt>
                <c:pt idx="6719">
                  <c:v>0</c:v>
                </c:pt>
                <c:pt idx="6720">
                  <c:v>0</c:v>
                </c:pt>
                <c:pt idx="6721">
                  <c:v>0</c:v>
                </c:pt>
                <c:pt idx="6722">
                  <c:v>0</c:v>
                </c:pt>
                <c:pt idx="6723">
                  <c:v>0</c:v>
                </c:pt>
                <c:pt idx="6724">
                  <c:v>0</c:v>
                </c:pt>
                <c:pt idx="6725">
                  <c:v>0</c:v>
                </c:pt>
                <c:pt idx="6726">
                  <c:v>0</c:v>
                </c:pt>
                <c:pt idx="6727">
                  <c:v>0</c:v>
                </c:pt>
                <c:pt idx="6728">
                  <c:v>0</c:v>
                </c:pt>
                <c:pt idx="6729">
                  <c:v>0</c:v>
                </c:pt>
                <c:pt idx="6730">
                  <c:v>0</c:v>
                </c:pt>
                <c:pt idx="6731">
                  <c:v>0</c:v>
                </c:pt>
                <c:pt idx="6732">
                  <c:v>0</c:v>
                </c:pt>
                <c:pt idx="6733">
                  <c:v>0</c:v>
                </c:pt>
                <c:pt idx="6734">
                  <c:v>0</c:v>
                </c:pt>
                <c:pt idx="6735">
                  <c:v>0</c:v>
                </c:pt>
                <c:pt idx="6736">
                  <c:v>0</c:v>
                </c:pt>
                <c:pt idx="6737">
                  <c:v>0</c:v>
                </c:pt>
                <c:pt idx="6738">
                  <c:v>0</c:v>
                </c:pt>
                <c:pt idx="6739">
                  <c:v>0</c:v>
                </c:pt>
                <c:pt idx="6740">
                  <c:v>0</c:v>
                </c:pt>
                <c:pt idx="6741">
                  <c:v>0</c:v>
                </c:pt>
                <c:pt idx="6742">
                  <c:v>0</c:v>
                </c:pt>
                <c:pt idx="6743">
                  <c:v>0</c:v>
                </c:pt>
                <c:pt idx="6744">
                  <c:v>0</c:v>
                </c:pt>
                <c:pt idx="6745">
                  <c:v>0</c:v>
                </c:pt>
                <c:pt idx="6746">
                  <c:v>0</c:v>
                </c:pt>
                <c:pt idx="6747">
                  <c:v>0</c:v>
                </c:pt>
                <c:pt idx="6748">
                  <c:v>0</c:v>
                </c:pt>
                <c:pt idx="6749">
                  <c:v>0</c:v>
                </c:pt>
                <c:pt idx="6750">
                  <c:v>0</c:v>
                </c:pt>
                <c:pt idx="6751">
                  <c:v>0</c:v>
                </c:pt>
                <c:pt idx="6752">
                  <c:v>0</c:v>
                </c:pt>
                <c:pt idx="6753">
                  <c:v>0</c:v>
                </c:pt>
                <c:pt idx="6754">
                  <c:v>0</c:v>
                </c:pt>
                <c:pt idx="6755">
                  <c:v>0</c:v>
                </c:pt>
                <c:pt idx="6756">
                  <c:v>0</c:v>
                </c:pt>
                <c:pt idx="6757">
                  <c:v>0</c:v>
                </c:pt>
                <c:pt idx="6758">
                  <c:v>0</c:v>
                </c:pt>
                <c:pt idx="6759">
                  <c:v>0</c:v>
                </c:pt>
                <c:pt idx="6760">
                  <c:v>0</c:v>
                </c:pt>
                <c:pt idx="6761">
                  <c:v>0</c:v>
                </c:pt>
                <c:pt idx="6762">
                  <c:v>0</c:v>
                </c:pt>
                <c:pt idx="6763">
                  <c:v>0</c:v>
                </c:pt>
                <c:pt idx="6764">
                  <c:v>0</c:v>
                </c:pt>
                <c:pt idx="6765">
                  <c:v>0</c:v>
                </c:pt>
                <c:pt idx="6766">
                  <c:v>0</c:v>
                </c:pt>
                <c:pt idx="6767">
                  <c:v>0</c:v>
                </c:pt>
                <c:pt idx="6768">
                  <c:v>0</c:v>
                </c:pt>
                <c:pt idx="6769">
                  <c:v>0</c:v>
                </c:pt>
                <c:pt idx="6770">
                  <c:v>0</c:v>
                </c:pt>
                <c:pt idx="6771">
                  <c:v>0</c:v>
                </c:pt>
                <c:pt idx="6772">
                  <c:v>0</c:v>
                </c:pt>
                <c:pt idx="6773">
                  <c:v>0</c:v>
                </c:pt>
                <c:pt idx="6774">
                  <c:v>0</c:v>
                </c:pt>
                <c:pt idx="6775">
                  <c:v>0</c:v>
                </c:pt>
                <c:pt idx="6776">
                  <c:v>0</c:v>
                </c:pt>
                <c:pt idx="6777">
                  <c:v>0</c:v>
                </c:pt>
                <c:pt idx="6778">
                  <c:v>0</c:v>
                </c:pt>
                <c:pt idx="6779">
                  <c:v>0</c:v>
                </c:pt>
                <c:pt idx="6780">
                  <c:v>0</c:v>
                </c:pt>
                <c:pt idx="6781">
                  <c:v>0</c:v>
                </c:pt>
                <c:pt idx="6782">
                  <c:v>0</c:v>
                </c:pt>
                <c:pt idx="6783">
                  <c:v>0</c:v>
                </c:pt>
                <c:pt idx="6784">
                  <c:v>0</c:v>
                </c:pt>
                <c:pt idx="6785">
                  <c:v>0</c:v>
                </c:pt>
                <c:pt idx="6786">
                  <c:v>0</c:v>
                </c:pt>
                <c:pt idx="6787">
                  <c:v>0</c:v>
                </c:pt>
                <c:pt idx="6788">
                  <c:v>0</c:v>
                </c:pt>
                <c:pt idx="6789">
                  <c:v>0</c:v>
                </c:pt>
                <c:pt idx="6790">
                  <c:v>0</c:v>
                </c:pt>
                <c:pt idx="6791">
                  <c:v>0</c:v>
                </c:pt>
                <c:pt idx="6792">
                  <c:v>0</c:v>
                </c:pt>
                <c:pt idx="6793">
                  <c:v>0</c:v>
                </c:pt>
                <c:pt idx="6794">
                  <c:v>0</c:v>
                </c:pt>
                <c:pt idx="6795">
                  <c:v>0</c:v>
                </c:pt>
                <c:pt idx="6796">
                  <c:v>0</c:v>
                </c:pt>
                <c:pt idx="6797">
                  <c:v>0</c:v>
                </c:pt>
                <c:pt idx="6798">
                  <c:v>0</c:v>
                </c:pt>
                <c:pt idx="6799">
                  <c:v>0</c:v>
                </c:pt>
                <c:pt idx="6800">
                  <c:v>0</c:v>
                </c:pt>
                <c:pt idx="6801">
                  <c:v>0</c:v>
                </c:pt>
                <c:pt idx="6802">
                  <c:v>0</c:v>
                </c:pt>
                <c:pt idx="6803">
                  <c:v>0</c:v>
                </c:pt>
                <c:pt idx="6804">
                  <c:v>0</c:v>
                </c:pt>
                <c:pt idx="6805">
                  <c:v>0</c:v>
                </c:pt>
                <c:pt idx="6806">
                  <c:v>0</c:v>
                </c:pt>
                <c:pt idx="6807">
                  <c:v>0</c:v>
                </c:pt>
                <c:pt idx="6808">
                  <c:v>0</c:v>
                </c:pt>
                <c:pt idx="6809">
                  <c:v>0</c:v>
                </c:pt>
                <c:pt idx="6810">
                  <c:v>0</c:v>
                </c:pt>
                <c:pt idx="6811">
                  <c:v>0</c:v>
                </c:pt>
                <c:pt idx="6812">
                  <c:v>0</c:v>
                </c:pt>
                <c:pt idx="6813">
                  <c:v>0</c:v>
                </c:pt>
                <c:pt idx="6814">
                  <c:v>0</c:v>
                </c:pt>
                <c:pt idx="6815">
                  <c:v>0</c:v>
                </c:pt>
                <c:pt idx="6816">
                  <c:v>0</c:v>
                </c:pt>
                <c:pt idx="6817">
                  <c:v>0</c:v>
                </c:pt>
                <c:pt idx="6818">
                  <c:v>0</c:v>
                </c:pt>
                <c:pt idx="6819">
                  <c:v>0</c:v>
                </c:pt>
                <c:pt idx="6820">
                  <c:v>0</c:v>
                </c:pt>
                <c:pt idx="6821">
                  <c:v>0</c:v>
                </c:pt>
                <c:pt idx="6822">
                  <c:v>0</c:v>
                </c:pt>
                <c:pt idx="6823">
                  <c:v>0</c:v>
                </c:pt>
                <c:pt idx="6824">
                  <c:v>0</c:v>
                </c:pt>
                <c:pt idx="6825">
                  <c:v>0</c:v>
                </c:pt>
                <c:pt idx="6826">
                  <c:v>0</c:v>
                </c:pt>
                <c:pt idx="6827">
                  <c:v>0</c:v>
                </c:pt>
                <c:pt idx="6828">
                  <c:v>0</c:v>
                </c:pt>
                <c:pt idx="6829">
                  <c:v>0</c:v>
                </c:pt>
                <c:pt idx="6830">
                  <c:v>0</c:v>
                </c:pt>
                <c:pt idx="6831">
                  <c:v>0</c:v>
                </c:pt>
                <c:pt idx="6832">
                  <c:v>0</c:v>
                </c:pt>
                <c:pt idx="6833">
                  <c:v>0</c:v>
                </c:pt>
                <c:pt idx="6834">
                  <c:v>0</c:v>
                </c:pt>
                <c:pt idx="6835">
                  <c:v>0</c:v>
                </c:pt>
                <c:pt idx="6836">
                  <c:v>0</c:v>
                </c:pt>
                <c:pt idx="6837">
                  <c:v>0</c:v>
                </c:pt>
                <c:pt idx="6838">
                  <c:v>0</c:v>
                </c:pt>
                <c:pt idx="6839">
                  <c:v>0</c:v>
                </c:pt>
                <c:pt idx="6840">
                  <c:v>0</c:v>
                </c:pt>
                <c:pt idx="6841">
                  <c:v>0</c:v>
                </c:pt>
                <c:pt idx="6842">
                  <c:v>0</c:v>
                </c:pt>
                <c:pt idx="6843">
                  <c:v>0</c:v>
                </c:pt>
                <c:pt idx="6844">
                  <c:v>0</c:v>
                </c:pt>
                <c:pt idx="6845">
                  <c:v>0</c:v>
                </c:pt>
                <c:pt idx="6846">
                  <c:v>0</c:v>
                </c:pt>
                <c:pt idx="6847">
                  <c:v>0</c:v>
                </c:pt>
                <c:pt idx="6848">
                  <c:v>0</c:v>
                </c:pt>
                <c:pt idx="6849">
                  <c:v>0</c:v>
                </c:pt>
                <c:pt idx="6850">
                  <c:v>0</c:v>
                </c:pt>
                <c:pt idx="6851">
                  <c:v>0</c:v>
                </c:pt>
                <c:pt idx="6852">
                  <c:v>0</c:v>
                </c:pt>
                <c:pt idx="6853">
                  <c:v>0</c:v>
                </c:pt>
                <c:pt idx="6854">
                  <c:v>0</c:v>
                </c:pt>
                <c:pt idx="6855">
                  <c:v>0</c:v>
                </c:pt>
                <c:pt idx="6856">
                  <c:v>0</c:v>
                </c:pt>
                <c:pt idx="6857">
                  <c:v>0</c:v>
                </c:pt>
                <c:pt idx="6858">
                  <c:v>0</c:v>
                </c:pt>
                <c:pt idx="6859">
                  <c:v>0</c:v>
                </c:pt>
                <c:pt idx="6860">
                  <c:v>0</c:v>
                </c:pt>
                <c:pt idx="6861">
                  <c:v>0</c:v>
                </c:pt>
                <c:pt idx="6862">
                  <c:v>0</c:v>
                </c:pt>
                <c:pt idx="6863">
                  <c:v>0</c:v>
                </c:pt>
                <c:pt idx="6864">
                  <c:v>0</c:v>
                </c:pt>
                <c:pt idx="6865">
                  <c:v>0</c:v>
                </c:pt>
                <c:pt idx="6866">
                  <c:v>0</c:v>
                </c:pt>
                <c:pt idx="6867">
                  <c:v>0</c:v>
                </c:pt>
                <c:pt idx="6868">
                  <c:v>0</c:v>
                </c:pt>
                <c:pt idx="6869">
                  <c:v>0</c:v>
                </c:pt>
                <c:pt idx="6870">
                  <c:v>0</c:v>
                </c:pt>
                <c:pt idx="6871">
                  <c:v>0</c:v>
                </c:pt>
                <c:pt idx="6872">
                  <c:v>0</c:v>
                </c:pt>
                <c:pt idx="6873">
                  <c:v>0</c:v>
                </c:pt>
                <c:pt idx="6874">
                  <c:v>0</c:v>
                </c:pt>
                <c:pt idx="6875">
                  <c:v>0</c:v>
                </c:pt>
                <c:pt idx="6876">
                  <c:v>0</c:v>
                </c:pt>
                <c:pt idx="6877">
                  <c:v>0</c:v>
                </c:pt>
                <c:pt idx="6878">
                  <c:v>0</c:v>
                </c:pt>
                <c:pt idx="6879">
                  <c:v>0</c:v>
                </c:pt>
                <c:pt idx="6880">
                  <c:v>0</c:v>
                </c:pt>
                <c:pt idx="6881">
                  <c:v>0</c:v>
                </c:pt>
                <c:pt idx="6882">
                  <c:v>0</c:v>
                </c:pt>
                <c:pt idx="6883">
                  <c:v>0</c:v>
                </c:pt>
                <c:pt idx="6884">
                  <c:v>0</c:v>
                </c:pt>
                <c:pt idx="6885">
                  <c:v>0</c:v>
                </c:pt>
                <c:pt idx="6886">
                  <c:v>0</c:v>
                </c:pt>
                <c:pt idx="6887">
                  <c:v>0</c:v>
                </c:pt>
                <c:pt idx="6888">
                  <c:v>0</c:v>
                </c:pt>
                <c:pt idx="6889">
                  <c:v>0</c:v>
                </c:pt>
                <c:pt idx="6890">
                  <c:v>0</c:v>
                </c:pt>
                <c:pt idx="6891">
                  <c:v>0</c:v>
                </c:pt>
                <c:pt idx="6892">
                  <c:v>0</c:v>
                </c:pt>
                <c:pt idx="6893">
                  <c:v>0</c:v>
                </c:pt>
                <c:pt idx="6894">
                  <c:v>0</c:v>
                </c:pt>
                <c:pt idx="6895">
                  <c:v>0</c:v>
                </c:pt>
                <c:pt idx="6896">
                  <c:v>0</c:v>
                </c:pt>
                <c:pt idx="6897">
                  <c:v>0</c:v>
                </c:pt>
                <c:pt idx="6898">
                  <c:v>0</c:v>
                </c:pt>
                <c:pt idx="6899">
                  <c:v>0</c:v>
                </c:pt>
                <c:pt idx="6900">
                  <c:v>0</c:v>
                </c:pt>
                <c:pt idx="6901">
                  <c:v>0</c:v>
                </c:pt>
                <c:pt idx="6902">
                  <c:v>0</c:v>
                </c:pt>
                <c:pt idx="6903">
                  <c:v>0</c:v>
                </c:pt>
                <c:pt idx="6904">
                  <c:v>0</c:v>
                </c:pt>
                <c:pt idx="6905">
                  <c:v>0</c:v>
                </c:pt>
                <c:pt idx="6906">
                  <c:v>0</c:v>
                </c:pt>
                <c:pt idx="6907">
                  <c:v>0</c:v>
                </c:pt>
                <c:pt idx="6908">
                  <c:v>0</c:v>
                </c:pt>
                <c:pt idx="6909">
                  <c:v>0</c:v>
                </c:pt>
                <c:pt idx="6910">
                  <c:v>0</c:v>
                </c:pt>
                <c:pt idx="6911">
                  <c:v>0</c:v>
                </c:pt>
                <c:pt idx="6912">
                  <c:v>0</c:v>
                </c:pt>
                <c:pt idx="6913">
                  <c:v>0</c:v>
                </c:pt>
                <c:pt idx="6914">
                  <c:v>0</c:v>
                </c:pt>
                <c:pt idx="6915">
                  <c:v>0</c:v>
                </c:pt>
                <c:pt idx="6916">
                  <c:v>0</c:v>
                </c:pt>
                <c:pt idx="6917">
                  <c:v>0</c:v>
                </c:pt>
                <c:pt idx="6918">
                  <c:v>0</c:v>
                </c:pt>
                <c:pt idx="6919">
                  <c:v>0</c:v>
                </c:pt>
                <c:pt idx="6920">
                  <c:v>0</c:v>
                </c:pt>
                <c:pt idx="6921">
                  <c:v>0</c:v>
                </c:pt>
                <c:pt idx="6922">
                  <c:v>0</c:v>
                </c:pt>
                <c:pt idx="6923">
                  <c:v>0</c:v>
                </c:pt>
                <c:pt idx="6924">
                  <c:v>0</c:v>
                </c:pt>
                <c:pt idx="6925">
                  <c:v>0</c:v>
                </c:pt>
                <c:pt idx="6926">
                  <c:v>0</c:v>
                </c:pt>
                <c:pt idx="6927">
                  <c:v>0</c:v>
                </c:pt>
                <c:pt idx="6928">
                  <c:v>0</c:v>
                </c:pt>
                <c:pt idx="6929">
                  <c:v>0</c:v>
                </c:pt>
                <c:pt idx="6930">
                  <c:v>0</c:v>
                </c:pt>
                <c:pt idx="6931">
                  <c:v>0</c:v>
                </c:pt>
                <c:pt idx="6932">
                  <c:v>0</c:v>
                </c:pt>
                <c:pt idx="6933">
                  <c:v>0</c:v>
                </c:pt>
                <c:pt idx="6934">
                  <c:v>0</c:v>
                </c:pt>
                <c:pt idx="6935">
                  <c:v>0</c:v>
                </c:pt>
                <c:pt idx="6936">
                  <c:v>0</c:v>
                </c:pt>
                <c:pt idx="6937">
                  <c:v>0</c:v>
                </c:pt>
                <c:pt idx="6938">
                  <c:v>0</c:v>
                </c:pt>
                <c:pt idx="6939">
                  <c:v>0</c:v>
                </c:pt>
                <c:pt idx="6940">
                  <c:v>0</c:v>
                </c:pt>
                <c:pt idx="6941">
                  <c:v>0</c:v>
                </c:pt>
                <c:pt idx="6942">
                  <c:v>0</c:v>
                </c:pt>
                <c:pt idx="6943">
                  <c:v>0</c:v>
                </c:pt>
                <c:pt idx="6944">
                  <c:v>0</c:v>
                </c:pt>
                <c:pt idx="6945">
                  <c:v>0</c:v>
                </c:pt>
                <c:pt idx="6946">
                  <c:v>0</c:v>
                </c:pt>
                <c:pt idx="6947">
                  <c:v>0</c:v>
                </c:pt>
                <c:pt idx="6948">
                  <c:v>0</c:v>
                </c:pt>
                <c:pt idx="6949">
                  <c:v>0</c:v>
                </c:pt>
                <c:pt idx="6950">
                  <c:v>0</c:v>
                </c:pt>
                <c:pt idx="6951">
                  <c:v>0</c:v>
                </c:pt>
                <c:pt idx="6952">
                  <c:v>0</c:v>
                </c:pt>
                <c:pt idx="6953">
                  <c:v>0</c:v>
                </c:pt>
                <c:pt idx="6954">
                  <c:v>0</c:v>
                </c:pt>
                <c:pt idx="6955">
                  <c:v>0</c:v>
                </c:pt>
                <c:pt idx="6956">
                  <c:v>0</c:v>
                </c:pt>
                <c:pt idx="6957">
                  <c:v>0</c:v>
                </c:pt>
                <c:pt idx="6958">
                  <c:v>0</c:v>
                </c:pt>
                <c:pt idx="6959">
                  <c:v>0</c:v>
                </c:pt>
                <c:pt idx="6960">
                  <c:v>0</c:v>
                </c:pt>
                <c:pt idx="6961">
                  <c:v>0</c:v>
                </c:pt>
                <c:pt idx="6962">
                  <c:v>0</c:v>
                </c:pt>
                <c:pt idx="6963">
                  <c:v>0</c:v>
                </c:pt>
                <c:pt idx="6964">
                  <c:v>0</c:v>
                </c:pt>
                <c:pt idx="6965">
                  <c:v>0</c:v>
                </c:pt>
                <c:pt idx="6966">
                  <c:v>0</c:v>
                </c:pt>
                <c:pt idx="6967">
                  <c:v>0</c:v>
                </c:pt>
                <c:pt idx="6968">
                  <c:v>0</c:v>
                </c:pt>
                <c:pt idx="6969">
                  <c:v>0</c:v>
                </c:pt>
                <c:pt idx="6970">
                  <c:v>0</c:v>
                </c:pt>
                <c:pt idx="6971">
                  <c:v>0</c:v>
                </c:pt>
                <c:pt idx="6972">
                  <c:v>0</c:v>
                </c:pt>
                <c:pt idx="6973">
                  <c:v>0</c:v>
                </c:pt>
                <c:pt idx="6974">
                  <c:v>0</c:v>
                </c:pt>
                <c:pt idx="6975">
                  <c:v>0</c:v>
                </c:pt>
                <c:pt idx="6976">
                  <c:v>0</c:v>
                </c:pt>
                <c:pt idx="6977">
                  <c:v>0</c:v>
                </c:pt>
                <c:pt idx="6978">
                  <c:v>0</c:v>
                </c:pt>
                <c:pt idx="6979">
                  <c:v>0</c:v>
                </c:pt>
                <c:pt idx="6980">
                  <c:v>0</c:v>
                </c:pt>
                <c:pt idx="6981">
                  <c:v>0</c:v>
                </c:pt>
                <c:pt idx="6982">
                  <c:v>0</c:v>
                </c:pt>
                <c:pt idx="6983">
                  <c:v>0</c:v>
                </c:pt>
                <c:pt idx="6984">
                  <c:v>0</c:v>
                </c:pt>
                <c:pt idx="6985">
                  <c:v>0</c:v>
                </c:pt>
                <c:pt idx="6986">
                  <c:v>0</c:v>
                </c:pt>
                <c:pt idx="6987">
                  <c:v>0</c:v>
                </c:pt>
                <c:pt idx="6988">
                  <c:v>0</c:v>
                </c:pt>
                <c:pt idx="6989">
                  <c:v>0</c:v>
                </c:pt>
                <c:pt idx="6990">
                  <c:v>0</c:v>
                </c:pt>
                <c:pt idx="6991">
                  <c:v>0</c:v>
                </c:pt>
                <c:pt idx="6992">
                  <c:v>0</c:v>
                </c:pt>
                <c:pt idx="6993">
                  <c:v>0</c:v>
                </c:pt>
                <c:pt idx="6994">
                  <c:v>0</c:v>
                </c:pt>
                <c:pt idx="6995">
                  <c:v>0</c:v>
                </c:pt>
                <c:pt idx="6996">
                  <c:v>0</c:v>
                </c:pt>
                <c:pt idx="6997">
                  <c:v>0</c:v>
                </c:pt>
                <c:pt idx="6998">
                  <c:v>0</c:v>
                </c:pt>
                <c:pt idx="6999">
                  <c:v>0</c:v>
                </c:pt>
                <c:pt idx="7000">
                  <c:v>0</c:v>
                </c:pt>
                <c:pt idx="7001">
                  <c:v>0</c:v>
                </c:pt>
                <c:pt idx="7002">
                  <c:v>0</c:v>
                </c:pt>
                <c:pt idx="7003">
                  <c:v>0</c:v>
                </c:pt>
                <c:pt idx="7004">
                  <c:v>0</c:v>
                </c:pt>
                <c:pt idx="7005">
                  <c:v>0</c:v>
                </c:pt>
                <c:pt idx="7006">
                  <c:v>0</c:v>
                </c:pt>
                <c:pt idx="7007">
                  <c:v>0</c:v>
                </c:pt>
                <c:pt idx="7008">
                  <c:v>0</c:v>
                </c:pt>
                <c:pt idx="7009">
                  <c:v>0</c:v>
                </c:pt>
                <c:pt idx="7010">
                  <c:v>0</c:v>
                </c:pt>
                <c:pt idx="7011">
                  <c:v>0</c:v>
                </c:pt>
                <c:pt idx="7012">
                  <c:v>0</c:v>
                </c:pt>
                <c:pt idx="7013">
                  <c:v>0</c:v>
                </c:pt>
                <c:pt idx="7014">
                  <c:v>0</c:v>
                </c:pt>
                <c:pt idx="7015">
                  <c:v>0</c:v>
                </c:pt>
                <c:pt idx="7016">
                  <c:v>0</c:v>
                </c:pt>
                <c:pt idx="7017">
                  <c:v>0</c:v>
                </c:pt>
                <c:pt idx="7018">
                  <c:v>0</c:v>
                </c:pt>
                <c:pt idx="7019">
                  <c:v>0</c:v>
                </c:pt>
                <c:pt idx="7020">
                  <c:v>0</c:v>
                </c:pt>
                <c:pt idx="7021">
                  <c:v>0</c:v>
                </c:pt>
                <c:pt idx="7022">
                  <c:v>0</c:v>
                </c:pt>
                <c:pt idx="7023">
                  <c:v>0</c:v>
                </c:pt>
                <c:pt idx="7024">
                  <c:v>0</c:v>
                </c:pt>
                <c:pt idx="7025">
                  <c:v>0</c:v>
                </c:pt>
                <c:pt idx="7026">
                  <c:v>0</c:v>
                </c:pt>
                <c:pt idx="7027">
                  <c:v>0</c:v>
                </c:pt>
                <c:pt idx="7028">
                  <c:v>0</c:v>
                </c:pt>
                <c:pt idx="7029">
                  <c:v>0</c:v>
                </c:pt>
                <c:pt idx="7030">
                  <c:v>0</c:v>
                </c:pt>
                <c:pt idx="7031">
                  <c:v>0</c:v>
                </c:pt>
                <c:pt idx="7032">
                  <c:v>0</c:v>
                </c:pt>
                <c:pt idx="7033">
                  <c:v>0</c:v>
                </c:pt>
                <c:pt idx="7034">
                  <c:v>0</c:v>
                </c:pt>
                <c:pt idx="7035">
                  <c:v>0</c:v>
                </c:pt>
                <c:pt idx="7036">
                  <c:v>0</c:v>
                </c:pt>
                <c:pt idx="7037">
                  <c:v>0</c:v>
                </c:pt>
                <c:pt idx="7038">
                  <c:v>0</c:v>
                </c:pt>
                <c:pt idx="7039">
                  <c:v>0</c:v>
                </c:pt>
                <c:pt idx="7040">
                  <c:v>0</c:v>
                </c:pt>
                <c:pt idx="7041">
                  <c:v>0</c:v>
                </c:pt>
                <c:pt idx="7042">
                  <c:v>0</c:v>
                </c:pt>
                <c:pt idx="7043">
                  <c:v>0</c:v>
                </c:pt>
                <c:pt idx="7044">
                  <c:v>0</c:v>
                </c:pt>
                <c:pt idx="7045">
                  <c:v>0</c:v>
                </c:pt>
                <c:pt idx="7046">
                  <c:v>0</c:v>
                </c:pt>
                <c:pt idx="7047">
                  <c:v>0</c:v>
                </c:pt>
                <c:pt idx="7048">
                  <c:v>0</c:v>
                </c:pt>
                <c:pt idx="7049">
                  <c:v>0</c:v>
                </c:pt>
                <c:pt idx="7050">
                  <c:v>0</c:v>
                </c:pt>
                <c:pt idx="7051">
                  <c:v>0</c:v>
                </c:pt>
                <c:pt idx="7052">
                  <c:v>0</c:v>
                </c:pt>
                <c:pt idx="7053">
                  <c:v>0</c:v>
                </c:pt>
                <c:pt idx="7054">
                  <c:v>0</c:v>
                </c:pt>
                <c:pt idx="7055">
                  <c:v>0</c:v>
                </c:pt>
                <c:pt idx="7056">
                  <c:v>0</c:v>
                </c:pt>
                <c:pt idx="7057">
                  <c:v>0</c:v>
                </c:pt>
                <c:pt idx="7058">
                  <c:v>0</c:v>
                </c:pt>
                <c:pt idx="7059">
                  <c:v>0</c:v>
                </c:pt>
                <c:pt idx="7060">
                  <c:v>0</c:v>
                </c:pt>
                <c:pt idx="7061">
                  <c:v>0</c:v>
                </c:pt>
                <c:pt idx="7062">
                  <c:v>0</c:v>
                </c:pt>
                <c:pt idx="7063">
                  <c:v>0</c:v>
                </c:pt>
                <c:pt idx="7064">
                  <c:v>0</c:v>
                </c:pt>
                <c:pt idx="7065">
                  <c:v>0</c:v>
                </c:pt>
                <c:pt idx="7066">
                  <c:v>0</c:v>
                </c:pt>
                <c:pt idx="7067">
                  <c:v>0</c:v>
                </c:pt>
                <c:pt idx="7068">
                  <c:v>0</c:v>
                </c:pt>
                <c:pt idx="7069">
                  <c:v>0</c:v>
                </c:pt>
                <c:pt idx="7070">
                  <c:v>0</c:v>
                </c:pt>
                <c:pt idx="7071">
                  <c:v>0</c:v>
                </c:pt>
                <c:pt idx="7072">
                  <c:v>0</c:v>
                </c:pt>
                <c:pt idx="7073">
                  <c:v>0</c:v>
                </c:pt>
                <c:pt idx="7074">
                  <c:v>0</c:v>
                </c:pt>
                <c:pt idx="7075">
                  <c:v>0</c:v>
                </c:pt>
                <c:pt idx="7076">
                  <c:v>0</c:v>
                </c:pt>
                <c:pt idx="7077">
                  <c:v>0</c:v>
                </c:pt>
                <c:pt idx="7078">
                  <c:v>0</c:v>
                </c:pt>
                <c:pt idx="7079">
                  <c:v>0</c:v>
                </c:pt>
                <c:pt idx="7080">
                  <c:v>0</c:v>
                </c:pt>
                <c:pt idx="7081">
                  <c:v>0</c:v>
                </c:pt>
                <c:pt idx="7082">
                  <c:v>0</c:v>
                </c:pt>
                <c:pt idx="7083">
                  <c:v>0</c:v>
                </c:pt>
                <c:pt idx="7084">
                  <c:v>0</c:v>
                </c:pt>
                <c:pt idx="7085">
                  <c:v>0</c:v>
                </c:pt>
                <c:pt idx="7086">
                  <c:v>0</c:v>
                </c:pt>
                <c:pt idx="7087">
                  <c:v>0</c:v>
                </c:pt>
                <c:pt idx="7088">
                  <c:v>0</c:v>
                </c:pt>
                <c:pt idx="7089">
                  <c:v>0</c:v>
                </c:pt>
                <c:pt idx="7090">
                  <c:v>0</c:v>
                </c:pt>
                <c:pt idx="7091">
                  <c:v>0</c:v>
                </c:pt>
                <c:pt idx="7092">
                  <c:v>0</c:v>
                </c:pt>
                <c:pt idx="7093">
                  <c:v>0</c:v>
                </c:pt>
                <c:pt idx="7094">
                  <c:v>0</c:v>
                </c:pt>
                <c:pt idx="7095">
                  <c:v>0</c:v>
                </c:pt>
                <c:pt idx="7096">
                  <c:v>0</c:v>
                </c:pt>
                <c:pt idx="7097">
                  <c:v>0</c:v>
                </c:pt>
                <c:pt idx="7098">
                  <c:v>0</c:v>
                </c:pt>
                <c:pt idx="7099">
                  <c:v>0</c:v>
                </c:pt>
                <c:pt idx="7100">
                  <c:v>0</c:v>
                </c:pt>
                <c:pt idx="7101">
                  <c:v>0</c:v>
                </c:pt>
                <c:pt idx="7102">
                  <c:v>0</c:v>
                </c:pt>
                <c:pt idx="7103">
                  <c:v>0</c:v>
                </c:pt>
                <c:pt idx="7104">
                  <c:v>0</c:v>
                </c:pt>
                <c:pt idx="7105">
                  <c:v>0</c:v>
                </c:pt>
                <c:pt idx="7106">
                  <c:v>0</c:v>
                </c:pt>
                <c:pt idx="7107">
                  <c:v>0</c:v>
                </c:pt>
                <c:pt idx="7108">
                  <c:v>0</c:v>
                </c:pt>
                <c:pt idx="7109">
                  <c:v>0</c:v>
                </c:pt>
                <c:pt idx="7110">
                  <c:v>0</c:v>
                </c:pt>
                <c:pt idx="7111">
                  <c:v>0</c:v>
                </c:pt>
                <c:pt idx="7112">
                  <c:v>0</c:v>
                </c:pt>
                <c:pt idx="7113">
                  <c:v>0</c:v>
                </c:pt>
                <c:pt idx="7114">
                  <c:v>0</c:v>
                </c:pt>
                <c:pt idx="7115">
                  <c:v>0</c:v>
                </c:pt>
                <c:pt idx="7116">
                  <c:v>0</c:v>
                </c:pt>
                <c:pt idx="7117">
                  <c:v>0</c:v>
                </c:pt>
                <c:pt idx="7118">
                  <c:v>0</c:v>
                </c:pt>
                <c:pt idx="7119">
                  <c:v>0</c:v>
                </c:pt>
                <c:pt idx="7120">
                  <c:v>0</c:v>
                </c:pt>
                <c:pt idx="7121">
                  <c:v>0</c:v>
                </c:pt>
                <c:pt idx="7122">
                  <c:v>0</c:v>
                </c:pt>
                <c:pt idx="7123">
                  <c:v>0</c:v>
                </c:pt>
                <c:pt idx="7124">
                  <c:v>0</c:v>
                </c:pt>
                <c:pt idx="7125">
                  <c:v>0</c:v>
                </c:pt>
                <c:pt idx="7126">
                  <c:v>0</c:v>
                </c:pt>
                <c:pt idx="7127">
                  <c:v>0</c:v>
                </c:pt>
                <c:pt idx="7128">
                  <c:v>0</c:v>
                </c:pt>
                <c:pt idx="7129">
                  <c:v>0</c:v>
                </c:pt>
                <c:pt idx="7130">
                  <c:v>0</c:v>
                </c:pt>
                <c:pt idx="7131">
                  <c:v>0</c:v>
                </c:pt>
                <c:pt idx="7132">
                  <c:v>0</c:v>
                </c:pt>
                <c:pt idx="7133">
                  <c:v>0</c:v>
                </c:pt>
                <c:pt idx="7134">
                  <c:v>0</c:v>
                </c:pt>
                <c:pt idx="7135">
                  <c:v>0</c:v>
                </c:pt>
                <c:pt idx="7136">
                  <c:v>0</c:v>
                </c:pt>
                <c:pt idx="7137">
                  <c:v>0</c:v>
                </c:pt>
                <c:pt idx="7138">
                  <c:v>0</c:v>
                </c:pt>
                <c:pt idx="7139">
                  <c:v>0</c:v>
                </c:pt>
                <c:pt idx="7140">
                  <c:v>0</c:v>
                </c:pt>
                <c:pt idx="7141">
                  <c:v>0</c:v>
                </c:pt>
                <c:pt idx="7142">
                  <c:v>0</c:v>
                </c:pt>
                <c:pt idx="7143">
                  <c:v>0</c:v>
                </c:pt>
                <c:pt idx="7144">
                  <c:v>0</c:v>
                </c:pt>
                <c:pt idx="7145">
                  <c:v>0</c:v>
                </c:pt>
                <c:pt idx="7146">
                  <c:v>0</c:v>
                </c:pt>
                <c:pt idx="7147">
                  <c:v>0</c:v>
                </c:pt>
                <c:pt idx="7148">
                  <c:v>0</c:v>
                </c:pt>
                <c:pt idx="7149">
                  <c:v>0</c:v>
                </c:pt>
                <c:pt idx="7150">
                  <c:v>0</c:v>
                </c:pt>
                <c:pt idx="7151">
                  <c:v>0</c:v>
                </c:pt>
                <c:pt idx="7152">
                  <c:v>0</c:v>
                </c:pt>
                <c:pt idx="7153">
                  <c:v>0</c:v>
                </c:pt>
                <c:pt idx="7154">
                  <c:v>0</c:v>
                </c:pt>
                <c:pt idx="7155">
                  <c:v>0</c:v>
                </c:pt>
                <c:pt idx="7156">
                  <c:v>0</c:v>
                </c:pt>
                <c:pt idx="7157">
                  <c:v>0</c:v>
                </c:pt>
                <c:pt idx="7158">
                  <c:v>0</c:v>
                </c:pt>
                <c:pt idx="7159">
                  <c:v>0</c:v>
                </c:pt>
                <c:pt idx="7160">
                  <c:v>0</c:v>
                </c:pt>
                <c:pt idx="7161">
                  <c:v>0</c:v>
                </c:pt>
                <c:pt idx="7162">
                  <c:v>0</c:v>
                </c:pt>
                <c:pt idx="7163">
                  <c:v>0</c:v>
                </c:pt>
                <c:pt idx="7164">
                  <c:v>0</c:v>
                </c:pt>
                <c:pt idx="7165">
                  <c:v>0</c:v>
                </c:pt>
                <c:pt idx="7166">
                  <c:v>0</c:v>
                </c:pt>
                <c:pt idx="7167">
                  <c:v>0</c:v>
                </c:pt>
                <c:pt idx="7168">
                  <c:v>0</c:v>
                </c:pt>
                <c:pt idx="7169">
                  <c:v>0</c:v>
                </c:pt>
                <c:pt idx="7170">
                  <c:v>0</c:v>
                </c:pt>
                <c:pt idx="7171">
                  <c:v>0</c:v>
                </c:pt>
                <c:pt idx="7172">
                  <c:v>0</c:v>
                </c:pt>
                <c:pt idx="7173">
                  <c:v>0</c:v>
                </c:pt>
                <c:pt idx="7174">
                  <c:v>0</c:v>
                </c:pt>
                <c:pt idx="7175">
                  <c:v>0</c:v>
                </c:pt>
                <c:pt idx="7176">
                  <c:v>0</c:v>
                </c:pt>
                <c:pt idx="7177">
                  <c:v>0</c:v>
                </c:pt>
                <c:pt idx="7178">
                  <c:v>0</c:v>
                </c:pt>
                <c:pt idx="7179">
                  <c:v>0</c:v>
                </c:pt>
                <c:pt idx="7180">
                  <c:v>0</c:v>
                </c:pt>
                <c:pt idx="7181">
                  <c:v>0</c:v>
                </c:pt>
                <c:pt idx="7182">
                  <c:v>0</c:v>
                </c:pt>
                <c:pt idx="7183">
                  <c:v>0</c:v>
                </c:pt>
                <c:pt idx="7184">
                  <c:v>0</c:v>
                </c:pt>
                <c:pt idx="7185">
                  <c:v>0</c:v>
                </c:pt>
                <c:pt idx="7186">
                  <c:v>0</c:v>
                </c:pt>
                <c:pt idx="7187">
                  <c:v>0</c:v>
                </c:pt>
                <c:pt idx="7188">
                  <c:v>0</c:v>
                </c:pt>
                <c:pt idx="7189">
                  <c:v>0</c:v>
                </c:pt>
                <c:pt idx="7190">
                  <c:v>0</c:v>
                </c:pt>
                <c:pt idx="7191">
                  <c:v>0</c:v>
                </c:pt>
                <c:pt idx="7192">
                  <c:v>0</c:v>
                </c:pt>
                <c:pt idx="7193">
                  <c:v>0</c:v>
                </c:pt>
                <c:pt idx="7194">
                  <c:v>0</c:v>
                </c:pt>
                <c:pt idx="7195">
                  <c:v>0</c:v>
                </c:pt>
                <c:pt idx="7196">
                  <c:v>0</c:v>
                </c:pt>
                <c:pt idx="7197">
                  <c:v>0</c:v>
                </c:pt>
                <c:pt idx="7198">
                  <c:v>0</c:v>
                </c:pt>
                <c:pt idx="7199">
                  <c:v>0</c:v>
                </c:pt>
                <c:pt idx="7200">
                  <c:v>0</c:v>
                </c:pt>
                <c:pt idx="7201">
                  <c:v>0</c:v>
                </c:pt>
                <c:pt idx="7202">
                  <c:v>0</c:v>
                </c:pt>
                <c:pt idx="7203">
                  <c:v>0</c:v>
                </c:pt>
                <c:pt idx="7204">
                  <c:v>0</c:v>
                </c:pt>
                <c:pt idx="7205">
                  <c:v>0</c:v>
                </c:pt>
                <c:pt idx="7206">
                  <c:v>0</c:v>
                </c:pt>
                <c:pt idx="7207">
                  <c:v>0</c:v>
                </c:pt>
                <c:pt idx="7208">
                  <c:v>0</c:v>
                </c:pt>
                <c:pt idx="7209">
                  <c:v>0</c:v>
                </c:pt>
                <c:pt idx="7210">
                  <c:v>0</c:v>
                </c:pt>
                <c:pt idx="7211">
                  <c:v>0</c:v>
                </c:pt>
                <c:pt idx="7212">
                  <c:v>0</c:v>
                </c:pt>
                <c:pt idx="7213">
                  <c:v>0</c:v>
                </c:pt>
                <c:pt idx="7214">
                  <c:v>0</c:v>
                </c:pt>
                <c:pt idx="7215">
                  <c:v>0</c:v>
                </c:pt>
                <c:pt idx="7216">
                  <c:v>0</c:v>
                </c:pt>
                <c:pt idx="7217">
                  <c:v>0</c:v>
                </c:pt>
                <c:pt idx="7218">
                  <c:v>0</c:v>
                </c:pt>
                <c:pt idx="7219">
                  <c:v>0</c:v>
                </c:pt>
                <c:pt idx="7220">
                  <c:v>0</c:v>
                </c:pt>
                <c:pt idx="7221">
                  <c:v>0</c:v>
                </c:pt>
                <c:pt idx="7222">
                  <c:v>0</c:v>
                </c:pt>
                <c:pt idx="7223">
                  <c:v>0</c:v>
                </c:pt>
                <c:pt idx="7224">
                  <c:v>0</c:v>
                </c:pt>
                <c:pt idx="7225">
                  <c:v>0</c:v>
                </c:pt>
                <c:pt idx="7226">
                  <c:v>0</c:v>
                </c:pt>
                <c:pt idx="7227">
                  <c:v>0</c:v>
                </c:pt>
                <c:pt idx="7228">
                  <c:v>0</c:v>
                </c:pt>
                <c:pt idx="7229">
                  <c:v>0</c:v>
                </c:pt>
                <c:pt idx="7230">
                  <c:v>0</c:v>
                </c:pt>
                <c:pt idx="7231">
                  <c:v>0</c:v>
                </c:pt>
                <c:pt idx="7232">
                  <c:v>0</c:v>
                </c:pt>
                <c:pt idx="7233">
                  <c:v>0</c:v>
                </c:pt>
                <c:pt idx="7234">
                  <c:v>0</c:v>
                </c:pt>
                <c:pt idx="7235">
                  <c:v>0</c:v>
                </c:pt>
                <c:pt idx="7236">
                  <c:v>0</c:v>
                </c:pt>
                <c:pt idx="7237">
                  <c:v>0</c:v>
                </c:pt>
                <c:pt idx="7238">
                  <c:v>0</c:v>
                </c:pt>
                <c:pt idx="7239">
                  <c:v>0</c:v>
                </c:pt>
                <c:pt idx="7240">
                  <c:v>0</c:v>
                </c:pt>
                <c:pt idx="7241">
                  <c:v>0</c:v>
                </c:pt>
                <c:pt idx="7242">
                  <c:v>0</c:v>
                </c:pt>
                <c:pt idx="7243">
                  <c:v>0</c:v>
                </c:pt>
                <c:pt idx="7244">
                  <c:v>0</c:v>
                </c:pt>
                <c:pt idx="7245">
                  <c:v>0</c:v>
                </c:pt>
                <c:pt idx="7246">
                  <c:v>0</c:v>
                </c:pt>
                <c:pt idx="7247">
                  <c:v>0</c:v>
                </c:pt>
                <c:pt idx="7248">
                  <c:v>0</c:v>
                </c:pt>
                <c:pt idx="7249">
                  <c:v>0</c:v>
                </c:pt>
                <c:pt idx="7250">
                  <c:v>0</c:v>
                </c:pt>
                <c:pt idx="7251">
                  <c:v>0</c:v>
                </c:pt>
                <c:pt idx="7252">
                  <c:v>0</c:v>
                </c:pt>
                <c:pt idx="7253">
                  <c:v>0</c:v>
                </c:pt>
                <c:pt idx="7254">
                  <c:v>0</c:v>
                </c:pt>
                <c:pt idx="7255">
                  <c:v>0</c:v>
                </c:pt>
                <c:pt idx="7256">
                  <c:v>0</c:v>
                </c:pt>
                <c:pt idx="7257">
                  <c:v>0</c:v>
                </c:pt>
                <c:pt idx="7258">
                  <c:v>0</c:v>
                </c:pt>
                <c:pt idx="7259">
                  <c:v>0</c:v>
                </c:pt>
                <c:pt idx="7260">
                  <c:v>0</c:v>
                </c:pt>
                <c:pt idx="7261">
                  <c:v>0</c:v>
                </c:pt>
                <c:pt idx="7262">
                  <c:v>0</c:v>
                </c:pt>
                <c:pt idx="7263">
                  <c:v>0</c:v>
                </c:pt>
                <c:pt idx="7264">
                  <c:v>0</c:v>
                </c:pt>
                <c:pt idx="7265">
                  <c:v>0</c:v>
                </c:pt>
                <c:pt idx="7266">
                  <c:v>0</c:v>
                </c:pt>
                <c:pt idx="7267">
                  <c:v>0</c:v>
                </c:pt>
                <c:pt idx="7268">
                  <c:v>0</c:v>
                </c:pt>
                <c:pt idx="7269">
                  <c:v>0</c:v>
                </c:pt>
                <c:pt idx="7270">
                  <c:v>0</c:v>
                </c:pt>
                <c:pt idx="7271">
                  <c:v>0</c:v>
                </c:pt>
                <c:pt idx="7272">
                  <c:v>0</c:v>
                </c:pt>
                <c:pt idx="7273">
                  <c:v>0</c:v>
                </c:pt>
                <c:pt idx="7274">
                  <c:v>0</c:v>
                </c:pt>
                <c:pt idx="7275">
                  <c:v>0</c:v>
                </c:pt>
                <c:pt idx="7276">
                  <c:v>0</c:v>
                </c:pt>
                <c:pt idx="7277">
                  <c:v>0</c:v>
                </c:pt>
                <c:pt idx="7278">
                  <c:v>0</c:v>
                </c:pt>
                <c:pt idx="7279">
                  <c:v>0</c:v>
                </c:pt>
                <c:pt idx="7280">
                  <c:v>0</c:v>
                </c:pt>
                <c:pt idx="7281">
                  <c:v>0</c:v>
                </c:pt>
                <c:pt idx="7282">
                  <c:v>0</c:v>
                </c:pt>
                <c:pt idx="7283">
                  <c:v>0</c:v>
                </c:pt>
                <c:pt idx="7284">
                  <c:v>0</c:v>
                </c:pt>
                <c:pt idx="7285">
                  <c:v>0</c:v>
                </c:pt>
                <c:pt idx="7286">
                  <c:v>0</c:v>
                </c:pt>
                <c:pt idx="7287">
                  <c:v>0</c:v>
                </c:pt>
                <c:pt idx="7288">
                  <c:v>0</c:v>
                </c:pt>
                <c:pt idx="7289">
                  <c:v>0</c:v>
                </c:pt>
                <c:pt idx="7290">
                  <c:v>0</c:v>
                </c:pt>
                <c:pt idx="7291">
                  <c:v>0</c:v>
                </c:pt>
                <c:pt idx="7292">
                  <c:v>0</c:v>
                </c:pt>
                <c:pt idx="7293">
                  <c:v>0</c:v>
                </c:pt>
                <c:pt idx="7294">
                  <c:v>0</c:v>
                </c:pt>
                <c:pt idx="7295">
                  <c:v>0</c:v>
                </c:pt>
                <c:pt idx="7296">
                  <c:v>0</c:v>
                </c:pt>
                <c:pt idx="7297">
                  <c:v>0</c:v>
                </c:pt>
                <c:pt idx="7298">
                  <c:v>0</c:v>
                </c:pt>
                <c:pt idx="7299">
                  <c:v>0</c:v>
                </c:pt>
                <c:pt idx="7300">
                  <c:v>0</c:v>
                </c:pt>
                <c:pt idx="7301">
                  <c:v>0</c:v>
                </c:pt>
                <c:pt idx="7302">
                  <c:v>0</c:v>
                </c:pt>
                <c:pt idx="7303">
                  <c:v>0</c:v>
                </c:pt>
                <c:pt idx="7304">
                  <c:v>0</c:v>
                </c:pt>
                <c:pt idx="7305">
                  <c:v>0</c:v>
                </c:pt>
                <c:pt idx="7306">
                  <c:v>0</c:v>
                </c:pt>
                <c:pt idx="7307">
                  <c:v>0</c:v>
                </c:pt>
                <c:pt idx="7308">
                  <c:v>0</c:v>
                </c:pt>
                <c:pt idx="7309">
                  <c:v>0</c:v>
                </c:pt>
                <c:pt idx="7310">
                  <c:v>0</c:v>
                </c:pt>
                <c:pt idx="7311">
                  <c:v>0</c:v>
                </c:pt>
                <c:pt idx="7312">
                  <c:v>0</c:v>
                </c:pt>
                <c:pt idx="7313">
                  <c:v>0</c:v>
                </c:pt>
                <c:pt idx="7314">
                  <c:v>0</c:v>
                </c:pt>
                <c:pt idx="7315">
                  <c:v>0</c:v>
                </c:pt>
                <c:pt idx="7316">
                  <c:v>0</c:v>
                </c:pt>
                <c:pt idx="7317">
                  <c:v>0</c:v>
                </c:pt>
                <c:pt idx="7318">
                  <c:v>0</c:v>
                </c:pt>
                <c:pt idx="7319">
                  <c:v>0</c:v>
                </c:pt>
                <c:pt idx="7320">
                  <c:v>0</c:v>
                </c:pt>
                <c:pt idx="7321">
                  <c:v>0</c:v>
                </c:pt>
                <c:pt idx="7322">
                  <c:v>0</c:v>
                </c:pt>
                <c:pt idx="7323">
                  <c:v>0</c:v>
                </c:pt>
                <c:pt idx="7324">
                  <c:v>0</c:v>
                </c:pt>
                <c:pt idx="7325">
                  <c:v>0</c:v>
                </c:pt>
                <c:pt idx="7326">
                  <c:v>0</c:v>
                </c:pt>
                <c:pt idx="7327">
                  <c:v>0</c:v>
                </c:pt>
                <c:pt idx="7328">
                  <c:v>0</c:v>
                </c:pt>
                <c:pt idx="7329">
                  <c:v>0</c:v>
                </c:pt>
                <c:pt idx="7330">
                  <c:v>0</c:v>
                </c:pt>
                <c:pt idx="7331">
                  <c:v>0</c:v>
                </c:pt>
                <c:pt idx="7332">
                  <c:v>0</c:v>
                </c:pt>
                <c:pt idx="7333">
                  <c:v>0</c:v>
                </c:pt>
                <c:pt idx="7334">
                  <c:v>0</c:v>
                </c:pt>
                <c:pt idx="7335">
                  <c:v>0</c:v>
                </c:pt>
                <c:pt idx="7336">
                  <c:v>0</c:v>
                </c:pt>
                <c:pt idx="7337">
                  <c:v>0</c:v>
                </c:pt>
                <c:pt idx="7338">
                  <c:v>0</c:v>
                </c:pt>
                <c:pt idx="7339">
                  <c:v>0</c:v>
                </c:pt>
                <c:pt idx="7340">
                  <c:v>0</c:v>
                </c:pt>
                <c:pt idx="7341">
                  <c:v>0</c:v>
                </c:pt>
                <c:pt idx="7342">
                  <c:v>0</c:v>
                </c:pt>
                <c:pt idx="7343">
                  <c:v>0</c:v>
                </c:pt>
                <c:pt idx="7344">
                  <c:v>0</c:v>
                </c:pt>
                <c:pt idx="7345">
                  <c:v>0</c:v>
                </c:pt>
                <c:pt idx="7346">
                  <c:v>0</c:v>
                </c:pt>
                <c:pt idx="7347">
                  <c:v>0</c:v>
                </c:pt>
                <c:pt idx="7348">
                  <c:v>0</c:v>
                </c:pt>
                <c:pt idx="7349">
                  <c:v>0</c:v>
                </c:pt>
                <c:pt idx="7350">
                  <c:v>0</c:v>
                </c:pt>
                <c:pt idx="7351">
                  <c:v>0</c:v>
                </c:pt>
                <c:pt idx="7352">
                  <c:v>0</c:v>
                </c:pt>
                <c:pt idx="7353">
                  <c:v>0</c:v>
                </c:pt>
                <c:pt idx="7354">
                  <c:v>0</c:v>
                </c:pt>
                <c:pt idx="7355">
                  <c:v>0</c:v>
                </c:pt>
                <c:pt idx="7356">
                  <c:v>0</c:v>
                </c:pt>
                <c:pt idx="7357">
                  <c:v>0</c:v>
                </c:pt>
                <c:pt idx="7358">
                  <c:v>0</c:v>
                </c:pt>
                <c:pt idx="7359">
                  <c:v>0</c:v>
                </c:pt>
                <c:pt idx="7360">
                  <c:v>0</c:v>
                </c:pt>
                <c:pt idx="7361">
                  <c:v>0</c:v>
                </c:pt>
                <c:pt idx="7362">
                  <c:v>0</c:v>
                </c:pt>
                <c:pt idx="7363">
                  <c:v>0</c:v>
                </c:pt>
                <c:pt idx="7364">
                  <c:v>0</c:v>
                </c:pt>
                <c:pt idx="7365">
                  <c:v>0</c:v>
                </c:pt>
                <c:pt idx="7366">
                  <c:v>0</c:v>
                </c:pt>
                <c:pt idx="7367">
                  <c:v>0</c:v>
                </c:pt>
                <c:pt idx="7368">
                  <c:v>0</c:v>
                </c:pt>
                <c:pt idx="7369">
                  <c:v>0</c:v>
                </c:pt>
                <c:pt idx="7370">
                  <c:v>0</c:v>
                </c:pt>
                <c:pt idx="7371">
                  <c:v>0</c:v>
                </c:pt>
                <c:pt idx="7372">
                  <c:v>0</c:v>
                </c:pt>
                <c:pt idx="7373">
                  <c:v>0</c:v>
                </c:pt>
                <c:pt idx="7374">
                  <c:v>0</c:v>
                </c:pt>
                <c:pt idx="7375">
                  <c:v>0</c:v>
                </c:pt>
                <c:pt idx="7376">
                  <c:v>0</c:v>
                </c:pt>
                <c:pt idx="7377">
                  <c:v>0</c:v>
                </c:pt>
                <c:pt idx="7378">
                  <c:v>0</c:v>
                </c:pt>
                <c:pt idx="7379">
                  <c:v>0</c:v>
                </c:pt>
                <c:pt idx="7380">
                  <c:v>0</c:v>
                </c:pt>
                <c:pt idx="7381">
                  <c:v>0</c:v>
                </c:pt>
                <c:pt idx="7382">
                  <c:v>0</c:v>
                </c:pt>
                <c:pt idx="7383">
                  <c:v>0</c:v>
                </c:pt>
                <c:pt idx="7384">
                  <c:v>0</c:v>
                </c:pt>
                <c:pt idx="7385">
                  <c:v>0</c:v>
                </c:pt>
                <c:pt idx="7386">
                  <c:v>0</c:v>
                </c:pt>
                <c:pt idx="7387">
                  <c:v>0</c:v>
                </c:pt>
                <c:pt idx="7388">
                  <c:v>0</c:v>
                </c:pt>
                <c:pt idx="7389">
                  <c:v>0</c:v>
                </c:pt>
                <c:pt idx="7390">
                  <c:v>0</c:v>
                </c:pt>
                <c:pt idx="7391">
                  <c:v>0</c:v>
                </c:pt>
                <c:pt idx="7392">
                  <c:v>0</c:v>
                </c:pt>
                <c:pt idx="7393">
                  <c:v>0</c:v>
                </c:pt>
                <c:pt idx="7394">
                  <c:v>0</c:v>
                </c:pt>
                <c:pt idx="7395">
                  <c:v>0</c:v>
                </c:pt>
                <c:pt idx="7396">
                  <c:v>0</c:v>
                </c:pt>
                <c:pt idx="7397">
                  <c:v>0</c:v>
                </c:pt>
                <c:pt idx="7398">
                  <c:v>0</c:v>
                </c:pt>
                <c:pt idx="7399">
                  <c:v>0</c:v>
                </c:pt>
                <c:pt idx="7400">
                  <c:v>0</c:v>
                </c:pt>
                <c:pt idx="7401">
                  <c:v>0</c:v>
                </c:pt>
                <c:pt idx="7402">
                  <c:v>0</c:v>
                </c:pt>
                <c:pt idx="7403">
                  <c:v>0</c:v>
                </c:pt>
                <c:pt idx="7404">
                  <c:v>0</c:v>
                </c:pt>
                <c:pt idx="7405">
                  <c:v>0</c:v>
                </c:pt>
                <c:pt idx="7406">
                  <c:v>0</c:v>
                </c:pt>
                <c:pt idx="7407">
                  <c:v>0</c:v>
                </c:pt>
                <c:pt idx="7408">
                  <c:v>0</c:v>
                </c:pt>
                <c:pt idx="7409">
                  <c:v>0</c:v>
                </c:pt>
                <c:pt idx="7410">
                  <c:v>0</c:v>
                </c:pt>
                <c:pt idx="7411">
                  <c:v>0</c:v>
                </c:pt>
                <c:pt idx="7412">
                  <c:v>0</c:v>
                </c:pt>
                <c:pt idx="7413">
                  <c:v>0</c:v>
                </c:pt>
                <c:pt idx="7414">
                  <c:v>0</c:v>
                </c:pt>
                <c:pt idx="7415">
                  <c:v>0</c:v>
                </c:pt>
                <c:pt idx="7416">
                  <c:v>0</c:v>
                </c:pt>
                <c:pt idx="7417">
                  <c:v>0</c:v>
                </c:pt>
                <c:pt idx="7418">
                  <c:v>0</c:v>
                </c:pt>
                <c:pt idx="7419">
                  <c:v>0</c:v>
                </c:pt>
                <c:pt idx="7420">
                  <c:v>0</c:v>
                </c:pt>
                <c:pt idx="7421">
                  <c:v>0</c:v>
                </c:pt>
                <c:pt idx="7422">
                  <c:v>0</c:v>
                </c:pt>
                <c:pt idx="7423">
                  <c:v>0</c:v>
                </c:pt>
                <c:pt idx="7424">
                  <c:v>0</c:v>
                </c:pt>
                <c:pt idx="7425">
                  <c:v>0</c:v>
                </c:pt>
                <c:pt idx="7426">
                  <c:v>0</c:v>
                </c:pt>
                <c:pt idx="7427">
                  <c:v>0</c:v>
                </c:pt>
                <c:pt idx="7428">
                  <c:v>0</c:v>
                </c:pt>
                <c:pt idx="7429">
                  <c:v>0</c:v>
                </c:pt>
                <c:pt idx="7430">
                  <c:v>0</c:v>
                </c:pt>
                <c:pt idx="7431">
                  <c:v>0</c:v>
                </c:pt>
                <c:pt idx="7432">
                  <c:v>0</c:v>
                </c:pt>
                <c:pt idx="7433">
                  <c:v>0</c:v>
                </c:pt>
                <c:pt idx="7434">
                  <c:v>0</c:v>
                </c:pt>
                <c:pt idx="7435">
                  <c:v>0</c:v>
                </c:pt>
                <c:pt idx="7436">
                  <c:v>0</c:v>
                </c:pt>
                <c:pt idx="7437">
                  <c:v>0</c:v>
                </c:pt>
                <c:pt idx="7438">
                  <c:v>0</c:v>
                </c:pt>
                <c:pt idx="7439">
                  <c:v>0</c:v>
                </c:pt>
                <c:pt idx="7440">
                  <c:v>0</c:v>
                </c:pt>
                <c:pt idx="7441">
                  <c:v>0</c:v>
                </c:pt>
                <c:pt idx="7442">
                  <c:v>0</c:v>
                </c:pt>
                <c:pt idx="7443">
                  <c:v>0</c:v>
                </c:pt>
                <c:pt idx="7444">
                  <c:v>0</c:v>
                </c:pt>
                <c:pt idx="7445">
                  <c:v>0</c:v>
                </c:pt>
                <c:pt idx="7446">
                  <c:v>0</c:v>
                </c:pt>
                <c:pt idx="7447">
                  <c:v>0</c:v>
                </c:pt>
                <c:pt idx="7448">
                  <c:v>0</c:v>
                </c:pt>
                <c:pt idx="7449">
                  <c:v>0</c:v>
                </c:pt>
                <c:pt idx="7450">
                  <c:v>0</c:v>
                </c:pt>
                <c:pt idx="7451">
                  <c:v>0</c:v>
                </c:pt>
                <c:pt idx="7452">
                  <c:v>0</c:v>
                </c:pt>
                <c:pt idx="7453">
                  <c:v>0</c:v>
                </c:pt>
                <c:pt idx="7454">
                  <c:v>0</c:v>
                </c:pt>
                <c:pt idx="7455">
                  <c:v>0</c:v>
                </c:pt>
                <c:pt idx="7456">
                  <c:v>0</c:v>
                </c:pt>
                <c:pt idx="7457">
                  <c:v>0</c:v>
                </c:pt>
                <c:pt idx="7458">
                  <c:v>0</c:v>
                </c:pt>
                <c:pt idx="7459">
                  <c:v>0</c:v>
                </c:pt>
                <c:pt idx="7460">
                  <c:v>0</c:v>
                </c:pt>
                <c:pt idx="7461">
                  <c:v>0</c:v>
                </c:pt>
                <c:pt idx="7462">
                  <c:v>0</c:v>
                </c:pt>
                <c:pt idx="7463">
                  <c:v>0</c:v>
                </c:pt>
                <c:pt idx="7464">
                  <c:v>0</c:v>
                </c:pt>
                <c:pt idx="7465">
                  <c:v>0</c:v>
                </c:pt>
                <c:pt idx="7466">
                  <c:v>0</c:v>
                </c:pt>
                <c:pt idx="7467">
                  <c:v>0</c:v>
                </c:pt>
                <c:pt idx="7468">
                  <c:v>0</c:v>
                </c:pt>
                <c:pt idx="7469">
                  <c:v>0</c:v>
                </c:pt>
                <c:pt idx="7470">
                  <c:v>0</c:v>
                </c:pt>
                <c:pt idx="7471">
                  <c:v>0</c:v>
                </c:pt>
                <c:pt idx="7472">
                  <c:v>0</c:v>
                </c:pt>
                <c:pt idx="7473">
                  <c:v>0</c:v>
                </c:pt>
                <c:pt idx="7474">
                  <c:v>0</c:v>
                </c:pt>
                <c:pt idx="7475">
                  <c:v>0</c:v>
                </c:pt>
                <c:pt idx="7476">
                  <c:v>0</c:v>
                </c:pt>
                <c:pt idx="7477">
                  <c:v>0</c:v>
                </c:pt>
                <c:pt idx="7478">
                  <c:v>0</c:v>
                </c:pt>
                <c:pt idx="7479">
                  <c:v>0</c:v>
                </c:pt>
                <c:pt idx="7480">
                  <c:v>0</c:v>
                </c:pt>
                <c:pt idx="7481">
                  <c:v>0</c:v>
                </c:pt>
                <c:pt idx="7482">
                  <c:v>0</c:v>
                </c:pt>
                <c:pt idx="7483">
                  <c:v>0</c:v>
                </c:pt>
                <c:pt idx="7484">
                  <c:v>0</c:v>
                </c:pt>
                <c:pt idx="7485">
                  <c:v>0</c:v>
                </c:pt>
                <c:pt idx="7486">
                  <c:v>0</c:v>
                </c:pt>
                <c:pt idx="7487">
                  <c:v>0</c:v>
                </c:pt>
                <c:pt idx="7488">
                  <c:v>0</c:v>
                </c:pt>
                <c:pt idx="7489">
                  <c:v>0</c:v>
                </c:pt>
                <c:pt idx="7490">
                  <c:v>0</c:v>
                </c:pt>
                <c:pt idx="7491">
                  <c:v>0</c:v>
                </c:pt>
                <c:pt idx="7492">
                  <c:v>0</c:v>
                </c:pt>
                <c:pt idx="7493">
                  <c:v>0</c:v>
                </c:pt>
                <c:pt idx="7494">
                  <c:v>0</c:v>
                </c:pt>
                <c:pt idx="7495">
                  <c:v>0</c:v>
                </c:pt>
                <c:pt idx="7496">
                  <c:v>0</c:v>
                </c:pt>
                <c:pt idx="7497">
                  <c:v>0</c:v>
                </c:pt>
                <c:pt idx="7498">
                  <c:v>0</c:v>
                </c:pt>
                <c:pt idx="7499">
                  <c:v>0</c:v>
                </c:pt>
                <c:pt idx="7500">
                  <c:v>0</c:v>
                </c:pt>
                <c:pt idx="7501">
                  <c:v>0</c:v>
                </c:pt>
                <c:pt idx="7502">
                  <c:v>0</c:v>
                </c:pt>
                <c:pt idx="7503">
                  <c:v>0</c:v>
                </c:pt>
                <c:pt idx="7504">
                  <c:v>0</c:v>
                </c:pt>
                <c:pt idx="7505">
                  <c:v>0</c:v>
                </c:pt>
                <c:pt idx="7506">
                  <c:v>0</c:v>
                </c:pt>
                <c:pt idx="7507">
                  <c:v>0</c:v>
                </c:pt>
                <c:pt idx="7508">
                  <c:v>0</c:v>
                </c:pt>
                <c:pt idx="7509">
                  <c:v>0</c:v>
                </c:pt>
                <c:pt idx="7510">
                  <c:v>0</c:v>
                </c:pt>
                <c:pt idx="7511">
                  <c:v>0</c:v>
                </c:pt>
                <c:pt idx="7512">
                  <c:v>0</c:v>
                </c:pt>
                <c:pt idx="7513">
                  <c:v>0</c:v>
                </c:pt>
                <c:pt idx="7514">
                  <c:v>0</c:v>
                </c:pt>
                <c:pt idx="7515">
                  <c:v>0</c:v>
                </c:pt>
                <c:pt idx="7516">
                  <c:v>0</c:v>
                </c:pt>
                <c:pt idx="7517">
                  <c:v>0</c:v>
                </c:pt>
                <c:pt idx="7518">
                  <c:v>0</c:v>
                </c:pt>
                <c:pt idx="7519">
                  <c:v>0</c:v>
                </c:pt>
                <c:pt idx="7520">
                  <c:v>0</c:v>
                </c:pt>
                <c:pt idx="7521">
                  <c:v>0</c:v>
                </c:pt>
                <c:pt idx="7522">
                  <c:v>0</c:v>
                </c:pt>
                <c:pt idx="7523">
                  <c:v>0</c:v>
                </c:pt>
                <c:pt idx="7524">
                  <c:v>0</c:v>
                </c:pt>
                <c:pt idx="7525">
                  <c:v>0</c:v>
                </c:pt>
                <c:pt idx="7526">
                  <c:v>0</c:v>
                </c:pt>
                <c:pt idx="7527">
                  <c:v>0</c:v>
                </c:pt>
                <c:pt idx="7528">
                  <c:v>0</c:v>
                </c:pt>
                <c:pt idx="7529">
                  <c:v>0</c:v>
                </c:pt>
                <c:pt idx="7530">
                  <c:v>0</c:v>
                </c:pt>
                <c:pt idx="7531">
                  <c:v>0</c:v>
                </c:pt>
                <c:pt idx="7532">
                  <c:v>0</c:v>
                </c:pt>
                <c:pt idx="7533">
                  <c:v>0</c:v>
                </c:pt>
                <c:pt idx="7534">
                  <c:v>0</c:v>
                </c:pt>
                <c:pt idx="7535">
                  <c:v>0</c:v>
                </c:pt>
                <c:pt idx="7536">
                  <c:v>0</c:v>
                </c:pt>
                <c:pt idx="7537">
                  <c:v>0</c:v>
                </c:pt>
                <c:pt idx="7538">
                  <c:v>0</c:v>
                </c:pt>
                <c:pt idx="7539">
                  <c:v>0</c:v>
                </c:pt>
                <c:pt idx="7540">
                  <c:v>0</c:v>
                </c:pt>
                <c:pt idx="7541">
                  <c:v>0</c:v>
                </c:pt>
                <c:pt idx="7542">
                  <c:v>0</c:v>
                </c:pt>
                <c:pt idx="7543">
                  <c:v>0</c:v>
                </c:pt>
                <c:pt idx="7544">
                  <c:v>0</c:v>
                </c:pt>
                <c:pt idx="7545">
                  <c:v>0</c:v>
                </c:pt>
                <c:pt idx="7546">
                  <c:v>0</c:v>
                </c:pt>
                <c:pt idx="7547">
                  <c:v>0</c:v>
                </c:pt>
                <c:pt idx="7548">
                  <c:v>0</c:v>
                </c:pt>
                <c:pt idx="7549">
                  <c:v>0</c:v>
                </c:pt>
                <c:pt idx="7550">
                  <c:v>0</c:v>
                </c:pt>
                <c:pt idx="7551">
                  <c:v>0</c:v>
                </c:pt>
                <c:pt idx="7552">
                  <c:v>0</c:v>
                </c:pt>
                <c:pt idx="7553">
                  <c:v>0</c:v>
                </c:pt>
                <c:pt idx="7554">
                  <c:v>0</c:v>
                </c:pt>
                <c:pt idx="7555">
                  <c:v>0</c:v>
                </c:pt>
                <c:pt idx="7556">
                  <c:v>0</c:v>
                </c:pt>
                <c:pt idx="7557">
                  <c:v>0</c:v>
                </c:pt>
                <c:pt idx="7558">
                  <c:v>0</c:v>
                </c:pt>
                <c:pt idx="7559">
                  <c:v>0</c:v>
                </c:pt>
                <c:pt idx="7560">
                  <c:v>0</c:v>
                </c:pt>
                <c:pt idx="7561">
                  <c:v>0</c:v>
                </c:pt>
                <c:pt idx="7562">
                  <c:v>0</c:v>
                </c:pt>
                <c:pt idx="7563">
                  <c:v>0</c:v>
                </c:pt>
                <c:pt idx="7564">
                  <c:v>0</c:v>
                </c:pt>
                <c:pt idx="7565">
                  <c:v>0</c:v>
                </c:pt>
                <c:pt idx="7566">
                  <c:v>0</c:v>
                </c:pt>
                <c:pt idx="7567">
                  <c:v>0</c:v>
                </c:pt>
                <c:pt idx="7568">
                  <c:v>0</c:v>
                </c:pt>
                <c:pt idx="7569">
                  <c:v>0</c:v>
                </c:pt>
                <c:pt idx="7570">
                  <c:v>0</c:v>
                </c:pt>
                <c:pt idx="7571">
                  <c:v>0</c:v>
                </c:pt>
                <c:pt idx="7572">
                  <c:v>0</c:v>
                </c:pt>
                <c:pt idx="7573">
                  <c:v>0</c:v>
                </c:pt>
                <c:pt idx="7574">
                  <c:v>0</c:v>
                </c:pt>
                <c:pt idx="7575">
                  <c:v>0</c:v>
                </c:pt>
                <c:pt idx="7576">
                  <c:v>0</c:v>
                </c:pt>
                <c:pt idx="7577">
                  <c:v>0</c:v>
                </c:pt>
                <c:pt idx="7578">
                  <c:v>0</c:v>
                </c:pt>
                <c:pt idx="7579">
                  <c:v>0</c:v>
                </c:pt>
                <c:pt idx="7580">
                  <c:v>0</c:v>
                </c:pt>
                <c:pt idx="7581">
                  <c:v>0</c:v>
                </c:pt>
                <c:pt idx="7582">
                  <c:v>0</c:v>
                </c:pt>
                <c:pt idx="7583">
                  <c:v>0</c:v>
                </c:pt>
                <c:pt idx="7584">
                  <c:v>0</c:v>
                </c:pt>
                <c:pt idx="7585">
                  <c:v>0</c:v>
                </c:pt>
                <c:pt idx="7586">
                  <c:v>0</c:v>
                </c:pt>
                <c:pt idx="7587">
                  <c:v>0</c:v>
                </c:pt>
                <c:pt idx="7588">
                  <c:v>0</c:v>
                </c:pt>
                <c:pt idx="7589">
                  <c:v>0</c:v>
                </c:pt>
                <c:pt idx="7590">
                  <c:v>0</c:v>
                </c:pt>
                <c:pt idx="7591">
                  <c:v>0</c:v>
                </c:pt>
                <c:pt idx="7592">
                  <c:v>0</c:v>
                </c:pt>
                <c:pt idx="7593">
                  <c:v>0</c:v>
                </c:pt>
                <c:pt idx="7594">
                  <c:v>0</c:v>
                </c:pt>
                <c:pt idx="7595">
                  <c:v>0</c:v>
                </c:pt>
                <c:pt idx="7596">
                  <c:v>0</c:v>
                </c:pt>
                <c:pt idx="7597">
                  <c:v>0</c:v>
                </c:pt>
                <c:pt idx="7598">
                  <c:v>0</c:v>
                </c:pt>
                <c:pt idx="7599">
                  <c:v>0</c:v>
                </c:pt>
                <c:pt idx="7600">
                  <c:v>0</c:v>
                </c:pt>
                <c:pt idx="7601">
                  <c:v>0</c:v>
                </c:pt>
                <c:pt idx="7602">
                  <c:v>0</c:v>
                </c:pt>
                <c:pt idx="7603">
                  <c:v>0</c:v>
                </c:pt>
                <c:pt idx="7604">
                  <c:v>0</c:v>
                </c:pt>
                <c:pt idx="7605">
                  <c:v>0</c:v>
                </c:pt>
                <c:pt idx="7606">
                  <c:v>0</c:v>
                </c:pt>
                <c:pt idx="7607">
                  <c:v>0</c:v>
                </c:pt>
                <c:pt idx="7608">
                  <c:v>0</c:v>
                </c:pt>
                <c:pt idx="7609">
                  <c:v>0</c:v>
                </c:pt>
                <c:pt idx="7610">
                  <c:v>0</c:v>
                </c:pt>
                <c:pt idx="7611">
                  <c:v>0</c:v>
                </c:pt>
                <c:pt idx="7612">
                  <c:v>0</c:v>
                </c:pt>
                <c:pt idx="7613">
                  <c:v>0</c:v>
                </c:pt>
                <c:pt idx="7614">
                  <c:v>0</c:v>
                </c:pt>
                <c:pt idx="7615">
                  <c:v>0</c:v>
                </c:pt>
                <c:pt idx="7616">
                  <c:v>0</c:v>
                </c:pt>
                <c:pt idx="7617">
                  <c:v>0</c:v>
                </c:pt>
                <c:pt idx="7618">
                  <c:v>0</c:v>
                </c:pt>
                <c:pt idx="7619">
                  <c:v>0</c:v>
                </c:pt>
                <c:pt idx="7620">
                  <c:v>0</c:v>
                </c:pt>
                <c:pt idx="7621">
                  <c:v>0</c:v>
                </c:pt>
                <c:pt idx="7622">
                  <c:v>0</c:v>
                </c:pt>
                <c:pt idx="7623">
                  <c:v>0</c:v>
                </c:pt>
                <c:pt idx="7624">
                  <c:v>0</c:v>
                </c:pt>
                <c:pt idx="7625">
                  <c:v>0</c:v>
                </c:pt>
                <c:pt idx="7626">
                  <c:v>0</c:v>
                </c:pt>
                <c:pt idx="7627">
                  <c:v>0</c:v>
                </c:pt>
                <c:pt idx="7628">
                  <c:v>0</c:v>
                </c:pt>
                <c:pt idx="7629">
                  <c:v>0</c:v>
                </c:pt>
                <c:pt idx="7630">
                  <c:v>0</c:v>
                </c:pt>
                <c:pt idx="7631">
                  <c:v>0</c:v>
                </c:pt>
                <c:pt idx="7632">
                  <c:v>0</c:v>
                </c:pt>
                <c:pt idx="7633">
                  <c:v>0</c:v>
                </c:pt>
                <c:pt idx="7634">
                  <c:v>0</c:v>
                </c:pt>
                <c:pt idx="7635">
                  <c:v>0</c:v>
                </c:pt>
                <c:pt idx="7636">
                  <c:v>0</c:v>
                </c:pt>
                <c:pt idx="7637">
                  <c:v>0</c:v>
                </c:pt>
                <c:pt idx="7638">
                  <c:v>0</c:v>
                </c:pt>
                <c:pt idx="7639">
                  <c:v>0</c:v>
                </c:pt>
                <c:pt idx="7640">
                  <c:v>0</c:v>
                </c:pt>
                <c:pt idx="7641">
                  <c:v>0</c:v>
                </c:pt>
                <c:pt idx="7642">
                  <c:v>0</c:v>
                </c:pt>
                <c:pt idx="7643">
                  <c:v>0</c:v>
                </c:pt>
                <c:pt idx="7644">
                  <c:v>0</c:v>
                </c:pt>
                <c:pt idx="7645">
                  <c:v>0</c:v>
                </c:pt>
                <c:pt idx="7646">
                  <c:v>0</c:v>
                </c:pt>
                <c:pt idx="7647">
                  <c:v>0</c:v>
                </c:pt>
                <c:pt idx="7648">
                  <c:v>0</c:v>
                </c:pt>
                <c:pt idx="7649">
                  <c:v>0</c:v>
                </c:pt>
                <c:pt idx="7650">
                  <c:v>0</c:v>
                </c:pt>
                <c:pt idx="7651">
                  <c:v>0</c:v>
                </c:pt>
                <c:pt idx="7652">
                  <c:v>0</c:v>
                </c:pt>
                <c:pt idx="7653">
                  <c:v>0</c:v>
                </c:pt>
                <c:pt idx="7654">
                  <c:v>0</c:v>
                </c:pt>
                <c:pt idx="7655">
                  <c:v>0</c:v>
                </c:pt>
                <c:pt idx="7656">
                  <c:v>0</c:v>
                </c:pt>
                <c:pt idx="7657">
                  <c:v>0</c:v>
                </c:pt>
                <c:pt idx="7658">
                  <c:v>0</c:v>
                </c:pt>
                <c:pt idx="7659">
                  <c:v>0</c:v>
                </c:pt>
                <c:pt idx="7660">
                  <c:v>0</c:v>
                </c:pt>
                <c:pt idx="7661">
                  <c:v>0</c:v>
                </c:pt>
                <c:pt idx="7662">
                  <c:v>0</c:v>
                </c:pt>
                <c:pt idx="7663">
                  <c:v>0</c:v>
                </c:pt>
                <c:pt idx="7664">
                  <c:v>0</c:v>
                </c:pt>
                <c:pt idx="7665">
                  <c:v>0</c:v>
                </c:pt>
                <c:pt idx="7666">
                  <c:v>0</c:v>
                </c:pt>
                <c:pt idx="7667">
                  <c:v>0</c:v>
                </c:pt>
                <c:pt idx="7668">
                  <c:v>0</c:v>
                </c:pt>
                <c:pt idx="7669">
                  <c:v>0</c:v>
                </c:pt>
                <c:pt idx="7670">
                  <c:v>0</c:v>
                </c:pt>
                <c:pt idx="7671">
                  <c:v>0</c:v>
                </c:pt>
                <c:pt idx="7672">
                  <c:v>0</c:v>
                </c:pt>
                <c:pt idx="7673">
                  <c:v>0</c:v>
                </c:pt>
                <c:pt idx="7674">
                  <c:v>0</c:v>
                </c:pt>
                <c:pt idx="7675">
                  <c:v>0</c:v>
                </c:pt>
                <c:pt idx="7676">
                  <c:v>0</c:v>
                </c:pt>
                <c:pt idx="7677">
                  <c:v>0</c:v>
                </c:pt>
                <c:pt idx="7678">
                  <c:v>0</c:v>
                </c:pt>
                <c:pt idx="7679">
                  <c:v>0</c:v>
                </c:pt>
                <c:pt idx="7680">
                  <c:v>0</c:v>
                </c:pt>
                <c:pt idx="7681">
                  <c:v>0</c:v>
                </c:pt>
                <c:pt idx="7682">
                  <c:v>0</c:v>
                </c:pt>
                <c:pt idx="7683">
                  <c:v>0</c:v>
                </c:pt>
                <c:pt idx="7684">
                  <c:v>0</c:v>
                </c:pt>
                <c:pt idx="7685">
                  <c:v>0</c:v>
                </c:pt>
                <c:pt idx="7686">
                  <c:v>0</c:v>
                </c:pt>
                <c:pt idx="7687">
                  <c:v>0</c:v>
                </c:pt>
                <c:pt idx="7688">
                  <c:v>0</c:v>
                </c:pt>
                <c:pt idx="7689">
                  <c:v>0</c:v>
                </c:pt>
                <c:pt idx="7690">
                  <c:v>0</c:v>
                </c:pt>
                <c:pt idx="7691">
                  <c:v>0</c:v>
                </c:pt>
                <c:pt idx="7692">
                  <c:v>0</c:v>
                </c:pt>
                <c:pt idx="7693">
                  <c:v>0</c:v>
                </c:pt>
                <c:pt idx="7694">
                  <c:v>0</c:v>
                </c:pt>
                <c:pt idx="7695">
                  <c:v>0</c:v>
                </c:pt>
                <c:pt idx="7696">
                  <c:v>0</c:v>
                </c:pt>
                <c:pt idx="7697">
                  <c:v>0</c:v>
                </c:pt>
                <c:pt idx="7698">
                  <c:v>0</c:v>
                </c:pt>
                <c:pt idx="7699">
                  <c:v>0</c:v>
                </c:pt>
                <c:pt idx="7700">
                  <c:v>0</c:v>
                </c:pt>
                <c:pt idx="7701">
                  <c:v>0</c:v>
                </c:pt>
                <c:pt idx="7702">
                  <c:v>0</c:v>
                </c:pt>
                <c:pt idx="7703">
                  <c:v>0</c:v>
                </c:pt>
                <c:pt idx="7704">
                  <c:v>0</c:v>
                </c:pt>
                <c:pt idx="7705">
                  <c:v>0</c:v>
                </c:pt>
                <c:pt idx="7706">
                  <c:v>0</c:v>
                </c:pt>
                <c:pt idx="7707">
                  <c:v>0</c:v>
                </c:pt>
                <c:pt idx="7708">
                  <c:v>0</c:v>
                </c:pt>
                <c:pt idx="7709">
                  <c:v>0</c:v>
                </c:pt>
                <c:pt idx="7710">
                  <c:v>0</c:v>
                </c:pt>
                <c:pt idx="7711">
                  <c:v>0</c:v>
                </c:pt>
                <c:pt idx="7712">
                  <c:v>0</c:v>
                </c:pt>
                <c:pt idx="7713">
                  <c:v>0</c:v>
                </c:pt>
                <c:pt idx="7714">
                  <c:v>0</c:v>
                </c:pt>
                <c:pt idx="7715">
                  <c:v>0</c:v>
                </c:pt>
                <c:pt idx="7716">
                  <c:v>0</c:v>
                </c:pt>
                <c:pt idx="7717">
                  <c:v>0</c:v>
                </c:pt>
                <c:pt idx="7718">
                  <c:v>0</c:v>
                </c:pt>
                <c:pt idx="7719">
                  <c:v>0</c:v>
                </c:pt>
                <c:pt idx="7720">
                  <c:v>0</c:v>
                </c:pt>
                <c:pt idx="7721">
                  <c:v>0</c:v>
                </c:pt>
                <c:pt idx="7722">
                  <c:v>0</c:v>
                </c:pt>
                <c:pt idx="7723">
                  <c:v>0</c:v>
                </c:pt>
                <c:pt idx="7724">
                  <c:v>0</c:v>
                </c:pt>
                <c:pt idx="7725">
                  <c:v>0</c:v>
                </c:pt>
                <c:pt idx="7726">
                  <c:v>0</c:v>
                </c:pt>
                <c:pt idx="7727">
                  <c:v>0</c:v>
                </c:pt>
                <c:pt idx="7728">
                  <c:v>0</c:v>
                </c:pt>
                <c:pt idx="7729">
                  <c:v>0</c:v>
                </c:pt>
                <c:pt idx="7730">
                  <c:v>0</c:v>
                </c:pt>
                <c:pt idx="7731">
                  <c:v>0</c:v>
                </c:pt>
                <c:pt idx="7732">
                  <c:v>0</c:v>
                </c:pt>
                <c:pt idx="7733">
                  <c:v>0</c:v>
                </c:pt>
                <c:pt idx="7734">
                  <c:v>0</c:v>
                </c:pt>
                <c:pt idx="7735">
                  <c:v>0</c:v>
                </c:pt>
                <c:pt idx="7736">
                  <c:v>0</c:v>
                </c:pt>
                <c:pt idx="7737">
                  <c:v>0</c:v>
                </c:pt>
                <c:pt idx="7738">
                  <c:v>0</c:v>
                </c:pt>
                <c:pt idx="7739">
                  <c:v>0</c:v>
                </c:pt>
                <c:pt idx="7740">
                  <c:v>0</c:v>
                </c:pt>
                <c:pt idx="7741">
                  <c:v>0</c:v>
                </c:pt>
                <c:pt idx="7742">
                  <c:v>0</c:v>
                </c:pt>
                <c:pt idx="7743">
                  <c:v>0</c:v>
                </c:pt>
                <c:pt idx="7744">
                  <c:v>0</c:v>
                </c:pt>
                <c:pt idx="7745">
                  <c:v>0</c:v>
                </c:pt>
                <c:pt idx="7746">
                  <c:v>0</c:v>
                </c:pt>
                <c:pt idx="7747">
                  <c:v>0</c:v>
                </c:pt>
                <c:pt idx="7748">
                  <c:v>0</c:v>
                </c:pt>
                <c:pt idx="7749">
                  <c:v>0</c:v>
                </c:pt>
                <c:pt idx="7750">
                  <c:v>0</c:v>
                </c:pt>
                <c:pt idx="7751">
                  <c:v>0</c:v>
                </c:pt>
                <c:pt idx="7752">
                  <c:v>0</c:v>
                </c:pt>
                <c:pt idx="7753">
                  <c:v>0</c:v>
                </c:pt>
                <c:pt idx="7754">
                  <c:v>0</c:v>
                </c:pt>
                <c:pt idx="7755">
                  <c:v>0</c:v>
                </c:pt>
                <c:pt idx="7756">
                  <c:v>0</c:v>
                </c:pt>
                <c:pt idx="7757">
                  <c:v>0</c:v>
                </c:pt>
                <c:pt idx="7758">
                  <c:v>0</c:v>
                </c:pt>
                <c:pt idx="7759">
                  <c:v>0</c:v>
                </c:pt>
                <c:pt idx="7760">
                  <c:v>0</c:v>
                </c:pt>
                <c:pt idx="7761">
                  <c:v>0</c:v>
                </c:pt>
                <c:pt idx="7762">
                  <c:v>0</c:v>
                </c:pt>
                <c:pt idx="7763">
                  <c:v>0</c:v>
                </c:pt>
                <c:pt idx="7764">
                  <c:v>0</c:v>
                </c:pt>
                <c:pt idx="7765">
                  <c:v>0</c:v>
                </c:pt>
                <c:pt idx="7766">
                  <c:v>0</c:v>
                </c:pt>
                <c:pt idx="7767">
                  <c:v>0</c:v>
                </c:pt>
                <c:pt idx="7768">
                  <c:v>0</c:v>
                </c:pt>
                <c:pt idx="7769">
                  <c:v>0</c:v>
                </c:pt>
                <c:pt idx="7770">
                  <c:v>0</c:v>
                </c:pt>
                <c:pt idx="7771">
                  <c:v>0</c:v>
                </c:pt>
                <c:pt idx="7772">
                  <c:v>0</c:v>
                </c:pt>
                <c:pt idx="7773">
                  <c:v>0</c:v>
                </c:pt>
                <c:pt idx="7774">
                  <c:v>0</c:v>
                </c:pt>
                <c:pt idx="7775">
                  <c:v>0</c:v>
                </c:pt>
                <c:pt idx="7776">
                  <c:v>0</c:v>
                </c:pt>
                <c:pt idx="7777">
                  <c:v>0</c:v>
                </c:pt>
                <c:pt idx="7778">
                  <c:v>0</c:v>
                </c:pt>
                <c:pt idx="7779">
                  <c:v>0</c:v>
                </c:pt>
                <c:pt idx="7780">
                  <c:v>0</c:v>
                </c:pt>
                <c:pt idx="7781">
                  <c:v>0</c:v>
                </c:pt>
                <c:pt idx="7782">
                  <c:v>0</c:v>
                </c:pt>
                <c:pt idx="7783">
                  <c:v>0</c:v>
                </c:pt>
                <c:pt idx="7784">
                  <c:v>0</c:v>
                </c:pt>
                <c:pt idx="7785">
                  <c:v>0</c:v>
                </c:pt>
                <c:pt idx="7786">
                  <c:v>0</c:v>
                </c:pt>
                <c:pt idx="7787">
                  <c:v>0</c:v>
                </c:pt>
                <c:pt idx="7788">
                  <c:v>0</c:v>
                </c:pt>
                <c:pt idx="7789">
                  <c:v>0</c:v>
                </c:pt>
                <c:pt idx="7790">
                  <c:v>0</c:v>
                </c:pt>
                <c:pt idx="7791">
                  <c:v>0</c:v>
                </c:pt>
                <c:pt idx="7792">
                  <c:v>0</c:v>
                </c:pt>
                <c:pt idx="7793">
                  <c:v>0</c:v>
                </c:pt>
                <c:pt idx="7794">
                  <c:v>0</c:v>
                </c:pt>
                <c:pt idx="7795">
                  <c:v>0</c:v>
                </c:pt>
                <c:pt idx="7796">
                  <c:v>0</c:v>
                </c:pt>
                <c:pt idx="7797">
                  <c:v>0</c:v>
                </c:pt>
                <c:pt idx="7798">
                  <c:v>0</c:v>
                </c:pt>
                <c:pt idx="7799">
                  <c:v>0</c:v>
                </c:pt>
                <c:pt idx="7800">
                  <c:v>0</c:v>
                </c:pt>
                <c:pt idx="7801">
                  <c:v>0</c:v>
                </c:pt>
                <c:pt idx="7802">
                  <c:v>0</c:v>
                </c:pt>
                <c:pt idx="7803">
                  <c:v>0</c:v>
                </c:pt>
                <c:pt idx="7804">
                  <c:v>0</c:v>
                </c:pt>
                <c:pt idx="7805">
                  <c:v>0</c:v>
                </c:pt>
                <c:pt idx="7806">
                  <c:v>0</c:v>
                </c:pt>
                <c:pt idx="7807">
                  <c:v>0</c:v>
                </c:pt>
                <c:pt idx="7808">
                  <c:v>0</c:v>
                </c:pt>
                <c:pt idx="7809">
                  <c:v>0</c:v>
                </c:pt>
                <c:pt idx="7810">
                  <c:v>0</c:v>
                </c:pt>
                <c:pt idx="7811">
                  <c:v>0</c:v>
                </c:pt>
                <c:pt idx="7812">
                  <c:v>0</c:v>
                </c:pt>
                <c:pt idx="7813">
                  <c:v>0</c:v>
                </c:pt>
                <c:pt idx="7814">
                  <c:v>0</c:v>
                </c:pt>
                <c:pt idx="7815">
                  <c:v>0</c:v>
                </c:pt>
                <c:pt idx="7816">
                  <c:v>0</c:v>
                </c:pt>
                <c:pt idx="7817">
                  <c:v>0</c:v>
                </c:pt>
                <c:pt idx="7818">
                  <c:v>0</c:v>
                </c:pt>
                <c:pt idx="7819">
                  <c:v>0</c:v>
                </c:pt>
                <c:pt idx="7820">
                  <c:v>0</c:v>
                </c:pt>
                <c:pt idx="7821">
                  <c:v>0</c:v>
                </c:pt>
                <c:pt idx="7822">
                  <c:v>0</c:v>
                </c:pt>
                <c:pt idx="7823">
                  <c:v>0</c:v>
                </c:pt>
                <c:pt idx="7824">
                  <c:v>0</c:v>
                </c:pt>
                <c:pt idx="7825">
                  <c:v>0</c:v>
                </c:pt>
                <c:pt idx="7826">
                  <c:v>0</c:v>
                </c:pt>
                <c:pt idx="7827">
                  <c:v>0</c:v>
                </c:pt>
                <c:pt idx="7828">
                  <c:v>0</c:v>
                </c:pt>
                <c:pt idx="7829">
                  <c:v>0</c:v>
                </c:pt>
                <c:pt idx="7830">
                  <c:v>0</c:v>
                </c:pt>
                <c:pt idx="7831">
                  <c:v>0</c:v>
                </c:pt>
                <c:pt idx="7832">
                  <c:v>0</c:v>
                </c:pt>
                <c:pt idx="7833">
                  <c:v>0</c:v>
                </c:pt>
                <c:pt idx="7834">
                  <c:v>0</c:v>
                </c:pt>
                <c:pt idx="7835">
                  <c:v>0</c:v>
                </c:pt>
                <c:pt idx="7836">
                  <c:v>0</c:v>
                </c:pt>
                <c:pt idx="7837">
                  <c:v>0</c:v>
                </c:pt>
                <c:pt idx="7838">
                  <c:v>0</c:v>
                </c:pt>
                <c:pt idx="7839">
                  <c:v>0</c:v>
                </c:pt>
                <c:pt idx="7840">
                  <c:v>0</c:v>
                </c:pt>
                <c:pt idx="7841">
                  <c:v>0</c:v>
                </c:pt>
                <c:pt idx="7842">
                  <c:v>0</c:v>
                </c:pt>
                <c:pt idx="7843">
                  <c:v>0</c:v>
                </c:pt>
                <c:pt idx="7844">
                  <c:v>0</c:v>
                </c:pt>
                <c:pt idx="7845">
                  <c:v>0</c:v>
                </c:pt>
                <c:pt idx="7846">
                  <c:v>0</c:v>
                </c:pt>
                <c:pt idx="7847">
                  <c:v>0</c:v>
                </c:pt>
                <c:pt idx="7848">
                  <c:v>0</c:v>
                </c:pt>
                <c:pt idx="7849">
                  <c:v>0</c:v>
                </c:pt>
                <c:pt idx="7850">
                  <c:v>0</c:v>
                </c:pt>
                <c:pt idx="7851">
                  <c:v>0</c:v>
                </c:pt>
                <c:pt idx="7852">
                  <c:v>0</c:v>
                </c:pt>
                <c:pt idx="7853">
                  <c:v>0</c:v>
                </c:pt>
                <c:pt idx="7854">
                  <c:v>0</c:v>
                </c:pt>
                <c:pt idx="7855">
                  <c:v>0</c:v>
                </c:pt>
                <c:pt idx="7856">
                  <c:v>0</c:v>
                </c:pt>
                <c:pt idx="7857">
                  <c:v>0</c:v>
                </c:pt>
                <c:pt idx="7858">
                  <c:v>0</c:v>
                </c:pt>
                <c:pt idx="7859">
                  <c:v>0</c:v>
                </c:pt>
                <c:pt idx="7860">
                  <c:v>0</c:v>
                </c:pt>
                <c:pt idx="7861">
                  <c:v>0</c:v>
                </c:pt>
                <c:pt idx="7862">
                  <c:v>0</c:v>
                </c:pt>
                <c:pt idx="7863">
                  <c:v>0</c:v>
                </c:pt>
                <c:pt idx="7864">
                  <c:v>0</c:v>
                </c:pt>
                <c:pt idx="7865">
                  <c:v>0</c:v>
                </c:pt>
                <c:pt idx="7866">
                  <c:v>0</c:v>
                </c:pt>
                <c:pt idx="7867">
                  <c:v>0</c:v>
                </c:pt>
                <c:pt idx="7868">
                  <c:v>0</c:v>
                </c:pt>
                <c:pt idx="7869">
                  <c:v>0</c:v>
                </c:pt>
                <c:pt idx="7870">
                  <c:v>0</c:v>
                </c:pt>
                <c:pt idx="7871">
                  <c:v>0</c:v>
                </c:pt>
                <c:pt idx="7872">
                  <c:v>0</c:v>
                </c:pt>
                <c:pt idx="7873">
                  <c:v>0</c:v>
                </c:pt>
                <c:pt idx="7874">
                  <c:v>0</c:v>
                </c:pt>
                <c:pt idx="7875">
                  <c:v>0</c:v>
                </c:pt>
                <c:pt idx="7876">
                  <c:v>0</c:v>
                </c:pt>
                <c:pt idx="7877">
                  <c:v>0</c:v>
                </c:pt>
                <c:pt idx="7878">
                  <c:v>0</c:v>
                </c:pt>
                <c:pt idx="7879">
                  <c:v>0</c:v>
                </c:pt>
                <c:pt idx="7880">
                  <c:v>0</c:v>
                </c:pt>
                <c:pt idx="7881">
                  <c:v>0</c:v>
                </c:pt>
                <c:pt idx="7882">
                  <c:v>0</c:v>
                </c:pt>
                <c:pt idx="7883">
                  <c:v>0</c:v>
                </c:pt>
                <c:pt idx="7884">
                  <c:v>0</c:v>
                </c:pt>
                <c:pt idx="7885">
                  <c:v>0</c:v>
                </c:pt>
                <c:pt idx="7886">
                  <c:v>0</c:v>
                </c:pt>
                <c:pt idx="7887">
                  <c:v>0</c:v>
                </c:pt>
                <c:pt idx="7888">
                  <c:v>0</c:v>
                </c:pt>
                <c:pt idx="7889">
                  <c:v>0</c:v>
                </c:pt>
                <c:pt idx="7890">
                  <c:v>0</c:v>
                </c:pt>
                <c:pt idx="7891">
                  <c:v>0</c:v>
                </c:pt>
                <c:pt idx="7892">
                  <c:v>0</c:v>
                </c:pt>
                <c:pt idx="7893">
                  <c:v>0</c:v>
                </c:pt>
                <c:pt idx="7894">
                  <c:v>0</c:v>
                </c:pt>
                <c:pt idx="7895">
                  <c:v>0</c:v>
                </c:pt>
                <c:pt idx="7896">
                  <c:v>0</c:v>
                </c:pt>
                <c:pt idx="7897">
                  <c:v>0</c:v>
                </c:pt>
                <c:pt idx="7898">
                  <c:v>0</c:v>
                </c:pt>
                <c:pt idx="7899">
                  <c:v>0</c:v>
                </c:pt>
                <c:pt idx="7900">
                  <c:v>0</c:v>
                </c:pt>
                <c:pt idx="7901">
                  <c:v>0</c:v>
                </c:pt>
                <c:pt idx="7902">
                  <c:v>0</c:v>
                </c:pt>
                <c:pt idx="7903">
                  <c:v>0</c:v>
                </c:pt>
                <c:pt idx="7904">
                  <c:v>0</c:v>
                </c:pt>
                <c:pt idx="7905">
                  <c:v>0</c:v>
                </c:pt>
                <c:pt idx="7906">
                  <c:v>0</c:v>
                </c:pt>
                <c:pt idx="7907">
                  <c:v>0</c:v>
                </c:pt>
                <c:pt idx="7908">
                  <c:v>0</c:v>
                </c:pt>
                <c:pt idx="7909">
                  <c:v>0</c:v>
                </c:pt>
                <c:pt idx="7910">
                  <c:v>0</c:v>
                </c:pt>
                <c:pt idx="7911">
                  <c:v>0</c:v>
                </c:pt>
                <c:pt idx="7912">
                  <c:v>0</c:v>
                </c:pt>
                <c:pt idx="7913">
                  <c:v>0</c:v>
                </c:pt>
                <c:pt idx="7914">
                  <c:v>0</c:v>
                </c:pt>
                <c:pt idx="7915">
                  <c:v>0</c:v>
                </c:pt>
                <c:pt idx="7916">
                  <c:v>0</c:v>
                </c:pt>
                <c:pt idx="7917">
                  <c:v>0</c:v>
                </c:pt>
                <c:pt idx="7918">
                  <c:v>0</c:v>
                </c:pt>
                <c:pt idx="7919">
                  <c:v>0</c:v>
                </c:pt>
                <c:pt idx="7920">
                  <c:v>0</c:v>
                </c:pt>
                <c:pt idx="7921">
                  <c:v>0</c:v>
                </c:pt>
                <c:pt idx="7922">
                  <c:v>0</c:v>
                </c:pt>
                <c:pt idx="7923">
                  <c:v>0</c:v>
                </c:pt>
                <c:pt idx="7924">
                  <c:v>0</c:v>
                </c:pt>
                <c:pt idx="7925">
                  <c:v>0</c:v>
                </c:pt>
                <c:pt idx="7926">
                  <c:v>0</c:v>
                </c:pt>
                <c:pt idx="7927">
                  <c:v>0</c:v>
                </c:pt>
                <c:pt idx="7928">
                  <c:v>0</c:v>
                </c:pt>
                <c:pt idx="7929">
                  <c:v>0</c:v>
                </c:pt>
                <c:pt idx="7930">
                  <c:v>0</c:v>
                </c:pt>
                <c:pt idx="7931">
                  <c:v>0</c:v>
                </c:pt>
                <c:pt idx="7932">
                  <c:v>0</c:v>
                </c:pt>
                <c:pt idx="7933">
                  <c:v>0</c:v>
                </c:pt>
                <c:pt idx="7934">
                  <c:v>0</c:v>
                </c:pt>
                <c:pt idx="7935">
                  <c:v>0</c:v>
                </c:pt>
                <c:pt idx="7936">
                  <c:v>0</c:v>
                </c:pt>
                <c:pt idx="7937">
                  <c:v>0</c:v>
                </c:pt>
                <c:pt idx="7938">
                  <c:v>0</c:v>
                </c:pt>
                <c:pt idx="7939">
                  <c:v>0</c:v>
                </c:pt>
                <c:pt idx="7940">
                  <c:v>0</c:v>
                </c:pt>
                <c:pt idx="7941">
                  <c:v>0</c:v>
                </c:pt>
                <c:pt idx="7942">
                  <c:v>0</c:v>
                </c:pt>
                <c:pt idx="7943">
                  <c:v>0</c:v>
                </c:pt>
                <c:pt idx="7944">
                  <c:v>0</c:v>
                </c:pt>
                <c:pt idx="7945">
                  <c:v>0</c:v>
                </c:pt>
                <c:pt idx="7946">
                  <c:v>0</c:v>
                </c:pt>
                <c:pt idx="7947">
                  <c:v>0</c:v>
                </c:pt>
                <c:pt idx="7948">
                  <c:v>0</c:v>
                </c:pt>
                <c:pt idx="7949">
                  <c:v>0</c:v>
                </c:pt>
                <c:pt idx="7950">
                  <c:v>0</c:v>
                </c:pt>
                <c:pt idx="7951">
                  <c:v>0</c:v>
                </c:pt>
                <c:pt idx="7952">
                  <c:v>0</c:v>
                </c:pt>
                <c:pt idx="7953">
                  <c:v>0</c:v>
                </c:pt>
                <c:pt idx="7954">
                  <c:v>0</c:v>
                </c:pt>
                <c:pt idx="7955">
                  <c:v>0</c:v>
                </c:pt>
                <c:pt idx="7956">
                  <c:v>0</c:v>
                </c:pt>
                <c:pt idx="7957">
                  <c:v>0</c:v>
                </c:pt>
                <c:pt idx="7958">
                  <c:v>0</c:v>
                </c:pt>
                <c:pt idx="7959">
                  <c:v>0</c:v>
                </c:pt>
                <c:pt idx="7960">
                  <c:v>0</c:v>
                </c:pt>
                <c:pt idx="7961">
                  <c:v>0</c:v>
                </c:pt>
                <c:pt idx="7962">
                  <c:v>0</c:v>
                </c:pt>
                <c:pt idx="7963">
                  <c:v>0</c:v>
                </c:pt>
                <c:pt idx="7964">
                  <c:v>0</c:v>
                </c:pt>
                <c:pt idx="7965">
                  <c:v>0</c:v>
                </c:pt>
                <c:pt idx="7966">
                  <c:v>0</c:v>
                </c:pt>
                <c:pt idx="7967">
                  <c:v>0</c:v>
                </c:pt>
                <c:pt idx="7968">
                  <c:v>0</c:v>
                </c:pt>
                <c:pt idx="7969">
                  <c:v>0</c:v>
                </c:pt>
                <c:pt idx="7970">
                  <c:v>0</c:v>
                </c:pt>
                <c:pt idx="7971">
                  <c:v>0</c:v>
                </c:pt>
                <c:pt idx="7972">
                  <c:v>0</c:v>
                </c:pt>
                <c:pt idx="7973">
                  <c:v>0</c:v>
                </c:pt>
                <c:pt idx="7974">
                  <c:v>0</c:v>
                </c:pt>
                <c:pt idx="7975">
                  <c:v>0</c:v>
                </c:pt>
                <c:pt idx="7976">
                  <c:v>0</c:v>
                </c:pt>
                <c:pt idx="7977">
                  <c:v>0</c:v>
                </c:pt>
                <c:pt idx="7978">
                  <c:v>0</c:v>
                </c:pt>
                <c:pt idx="7979">
                  <c:v>0</c:v>
                </c:pt>
                <c:pt idx="7980">
                  <c:v>0</c:v>
                </c:pt>
                <c:pt idx="7981">
                  <c:v>0</c:v>
                </c:pt>
                <c:pt idx="7982">
                  <c:v>0</c:v>
                </c:pt>
                <c:pt idx="7983">
                  <c:v>0</c:v>
                </c:pt>
                <c:pt idx="7984">
                  <c:v>0</c:v>
                </c:pt>
                <c:pt idx="7985">
                  <c:v>0</c:v>
                </c:pt>
                <c:pt idx="7986">
                  <c:v>0</c:v>
                </c:pt>
                <c:pt idx="7987">
                  <c:v>0</c:v>
                </c:pt>
                <c:pt idx="7988">
                  <c:v>0</c:v>
                </c:pt>
                <c:pt idx="7989">
                  <c:v>0</c:v>
                </c:pt>
                <c:pt idx="7990">
                  <c:v>0</c:v>
                </c:pt>
                <c:pt idx="7991">
                  <c:v>0</c:v>
                </c:pt>
                <c:pt idx="7992">
                  <c:v>0</c:v>
                </c:pt>
                <c:pt idx="7993">
                  <c:v>0</c:v>
                </c:pt>
                <c:pt idx="7994">
                  <c:v>0</c:v>
                </c:pt>
                <c:pt idx="7995">
                  <c:v>0</c:v>
                </c:pt>
                <c:pt idx="7996">
                  <c:v>0</c:v>
                </c:pt>
                <c:pt idx="7997">
                  <c:v>0</c:v>
                </c:pt>
                <c:pt idx="7998">
                  <c:v>0</c:v>
                </c:pt>
                <c:pt idx="7999">
                  <c:v>0</c:v>
                </c:pt>
                <c:pt idx="8000">
                  <c:v>0</c:v>
                </c:pt>
                <c:pt idx="8001">
                  <c:v>0</c:v>
                </c:pt>
                <c:pt idx="8002">
                  <c:v>0</c:v>
                </c:pt>
                <c:pt idx="8003">
                  <c:v>0</c:v>
                </c:pt>
                <c:pt idx="8004">
                  <c:v>0</c:v>
                </c:pt>
                <c:pt idx="8005">
                  <c:v>0</c:v>
                </c:pt>
                <c:pt idx="8006">
                  <c:v>0</c:v>
                </c:pt>
                <c:pt idx="8007">
                  <c:v>0</c:v>
                </c:pt>
                <c:pt idx="8008">
                  <c:v>0</c:v>
                </c:pt>
                <c:pt idx="8009">
                  <c:v>0</c:v>
                </c:pt>
                <c:pt idx="8010">
                  <c:v>0</c:v>
                </c:pt>
                <c:pt idx="8011">
                  <c:v>0</c:v>
                </c:pt>
                <c:pt idx="8012">
                  <c:v>0</c:v>
                </c:pt>
                <c:pt idx="8013">
                  <c:v>0</c:v>
                </c:pt>
                <c:pt idx="8014">
                  <c:v>0</c:v>
                </c:pt>
                <c:pt idx="8015">
                  <c:v>0</c:v>
                </c:pt>
                <c:pt idx="8016">
                  <c:v>0</c:v>
                </c:pt>
                <c:pt idx="8017">
                  <c:v>0</c:v>
                </c:pt>
                <c:pt idx="8018">
                  <c:v>0</c:v>
                </c:pt>
                <c:pt idx="8019">
                  <c:v>0</c:v>
                </c:pt>
                <c:pt idx="8020">
                  <c:v>0</c:v>
                </c:pt>
                <c:pt idx="8021">
                  <c:v>0</c:v>
                </c:pt>
                <c:pt idx="8022">
                  <c:v>0</c:v>
                </c:pt>
                <c:pt idx="8023">
                  <c:v>0</c:v>
                </c:pt>
                <c:pt idx="8024">
                  <c:v>0</c:v>
                </c:pt>
                <c:pt idx="8025">
                  <c:v>0</c:v>
                </c:pt>
                <c:pt idx="8026">
                  <c:v>0</c:v>
                </c:pt>
                <c:pt idx="8027">
                  <c:v>0</c:v>
                </c:pt>
                <c:pt idx="8028">
                  <c:v>0</c:v>
                </c:pt>
                <c:pt idx="8029">
                  <c:v>0</c:v>
                </c:pt>
                <c:pt idx="8030">
                  <c:v>0</c:v>
                </c:pt>
                <c:pt idx="8031">
                  <c:v>0</c:v>
                </c:pt>
                <c:pt idx="8032">
                  <c:v>0</c:v>
                </c:pt>
                <c:pt idx="8033">
                  <c:v>0</c:v>
                </c:pt>
                <c:pt idx="8034">
                  <c:v>0</c:v>
                </c:pt>
                <c:pt idx="8035">
                  <c:v>0</c:v>
                </c:pt>
                <c:pt idx="8036">
                  <c:v>0</c:v>
                </c:pt>
                <c:pt idx="8037">
                  <c:v>0</c:v>
                </c:pt>
                <c:pt idx="8038">
                  <c:v>0</c:v>
                </c:pt>
                <c:pt idx="8039">
                  <c:v>0</c:v>
                </c:pt>
                <c:pt idx="8040">
                  <c:v>0</c:v>
                </c:pt>
                <c:pt idx="8041">
                  <c:v>0</c:v>
                </c:pt>
                <c:pt idx="8042">
                  <c:v>0</c:v>
                </c:pt>
                <c:pt idx="8043">
                  <c:v>0</c:v>
                </c:pt>
                <c:pt idx="8044">
                  <c:v>0</c:v>
                </c:pt>
                <c:pt idx="8045">
                  <c:v>0</c:v>
                </c:pt>
                <c:pt idx="8046">
                  <c:v>0</c:v>
                </c:pt>
                <c:pt idx="8047">
                  <c:v>0</c:v>
                </c:pt>
                <c:pt idx="8048">
                  <c:v>0</c:v>
                </c:pt>
                <c:pt idx="8049">
                  <c:v>0</c:v>
                </c:pt>
                <c:pt idx="8050">
                  <c:v>0</c:v>
                </c:pt>
                <c:pt idx="8051">
                  <c:v>0</c:v>
                </c:pt>
                <c:pt idx="8052">
                  <c:v>0</c:v>
                </c:pt>
                <c:pt idx="8053">
                  <c:v>0</c:v>
                </c:pt>
                <c:pt idx="8054">
                  <c:v>0</c:v>
                </c:pt>
                <c:pt idx="8055">
                  <c:v>0</c:v>
                </c:pt>
                <c:pt idx="8056">
                  <c:v>0</c:v>
                </c:pt>
                <c:pt idx="8057">
                  <c:v>0</c:v>
                </c:pt>
                <c:pt idx="8058">
                  <c:v>0</c:v>
                </c:pt>
                <c:pt idx="8059">
                  <c:v>0</c:v>
                </c:pt>
                <c:pt idx="8060">
                  <c:v>0</c:v>
                </c:pt>
                <c:pt idx="8061">
                  <c:v>0</c:v>
                </c:pt>
                <c:pt idx="8062">
                  <c:v>0</c:v>
                </c:pt>
                <c:pt idx="8063">
                  <c:v>0</c:v>
                </c:pt>
                <c:pt idx="8064">
                  <c:v>0</c:v>
                </c:pt>
                <c:pt idx="8065">
                  <c:v>0</c:v>
                </c:pt>
                <c:pt idx="8066">
                  <c:v>0</c:v>
                </c:pt>
                <c:pt idx="8067">
                  <c:v>0</c:v>
                </c:pt>
                <c:pt idx="8068">
                  <c:v>0</c:v>
                </c:pt>
                <c:pt idx="8069">
                  <c:v>0</c:v>
                </c:pt>
                <c:pt idx="8070">
                  <c:v>0</c:v>
                </c:pt>
                <c:pt idx="8071">
                  <c:v>0</c:v>
                </c:pt>
                <c:pt idx="8072">
                  <c:v>0</c:v>
                </c:pt>
                <c:pt idx="8073">
                  <c:v>0</c:v>
                </c:pt>
                <c:pt idx="8074">
                  <c:v>0</c:v>
                </c:pt>
                <c:pt idx="8075">
                  <c:v>0</c:v>
                </c:pt>
                <c:pt idx="8076">
                  <c:v>0</c:v>
                </c:pt>
                <c:pt idx="8077">
                  <c:v>0</c:v>
                </c:pt>
                <c:pt idx="8078">
                  <c:v>0</c:v>
                </c:pt>
                <c:pt idx="8079">
                  <c:v>0</c:v>
                </c:pt>
                <c:pt idx="8080">
                  <c:v>0</c:v>
                </c:pt>
                <c:pt idx="8081">
                  <c:v>0</c:v>
                </c:pt>
                <c:pt idx="8082">
                  <c:v>0</c:v>
                </c:pt>
                <c:pt idx="8083">
                  <c:v>0</c:v>
                </c:pt>
                <c:pt idx="8084">
                  <c:v>0</c:v>
                </c:pt>
                <c:pt idx="8085">
                  <c:v>0</c:v>
                </c:pt>
                <c:pt idx="8086">
                  <c:v>0</c:v>
                </c:pt>
                <c:pt idx="8087">
                  <c:v>0</c:v>
                </c:pt>
                <c:pt idx="8088">
                  <c:v>0</c:v>
                </c:pt>
                <c:pt idx="8089">
                  <c:v>0</c:v>
                </c:pt>
                <c:pt idx="8090">
                  <c:v>0</c:v>
                </c:pt>
                <c:pt idx="8091">
                  <c:v>0</c:v>
                </c:pt>
                <c:pt idx="8092">
                  <c:v>0</c:v>
                </c:pt>
                <c:pt idx="8093">
                  <c:v>0</c:v>
                </c:pt>
                <c:pt idx="8094">
                  <c:v>0</c:v>
                </c:pt>
                <c:pt idx="8095">
                  <c:v>0</c:v>
                </c:pt>
                <c:pt idx="8096">
                  <c:v>0</c:v>
                </c:pt>
                <c:pt idx="8097">
                  <c:v>0</c:v>
                </c:pt>
                <c:pt idx="8098">
                  <c:v>0</c:v>
                </c:pt>
                <c:pt idx="8099">
                  <c:v>0</c:v>
                </c:pt>
                <c:pt idx="8100">
                  <c:v>0</c:v>
                </c:pt>
                <c:pt idx="8101">
                  <c:v>0</c:v>
                </c:pt>
                <c:pt idx="8102">
                  <c:v>0</c:v>
                </c:pt>
                <c:pt idx="8103">
                  <c:v>0</c:v>
                </c:pt>
                <c:pt idx="8104">
                  <c:v>0</c:v>
                </c:pt>
                <c:pt idx="8105">
                  <c:v>0</c:v>
                </c:pt>
                <c:pt idx="8106">
                  <c:v>0</c:v>
                </c:pt>
                <c:pt idx="8107">
                  <c:v>0</c:v>
                </c:pt>
                <c:pt idx="8108">
                  <c:v>0</c:v>
                </c:pt>
                <c:pt idx="8109">
                  <c:v>0</c:v>
                </c:pt>
                <c:pt idx="8110">
                  <c:v>0</c:v>
                </c:pt>
                <c:pt idx="8111">
                  <c:v>0</c:v>
                </c:pt>
                <c:pt idx="8112">
                  <c:v>0</c:v>
                </c:pt>
                <c:pt idx="8113">
                  <c:v>0</c:v>
                </c:pt>
                <c:pt idx="8114">
                  <c:v>0</c:v>
                </c:pt>
                <c:pt idx="8115">
                  <c:v>0</c:v>
                </c:pt>
                <c:pt idx="8116">
                  <c:v>0</c:v>
                </c:pt>
                <c:pt idx="8117">
                  <c:v>0</c:v>
                </c:pt>
                <c:pt idx="8118">
                  <c:v>0</c:v>
                </c:pt>
                <c:pt idx="8119">
                  <c:v>0</c:v>
                </c:pt>
                <c:pt idx="8120">
                  <c:v>0</c:v>
                </c:pt>
                <c:pt idx="8121">
                  <c:v>0</c:v>
                </c:pt>
                <c:pt idx="8122">
                  <c:v>0</c:v>
                </c:pt>
                <c:pt idx="8123">
                  <c:v>0</c:v>
                </c:pt>
                <c:pt idx="8124">
                  <c:v>0</c:v>
                </c:pt>
                <c:pt idx="8125">
                  <c:v>0</c:v>
                </c:pt>
                <c:pt idx="8126">
                  <c:v>0</c:v>
                </c:pt>
                <c:pt idx="8127">
                  <c:v>0</c:v>
                </c:pt>
                <c:pt idx="8128">
                  <c:v>0</c:v>
                </c:pt>
                <c:pt idx="8129">
                  <c:v>0</c:v>
                </c:pt>
                <c:pt idx="8130">
                  <c:v>0</c:v>
                </c:pt>
                <c:pt idx="8131">
                  <c:v>0</c:v>
                </c:pt>
                <c:pt idx="8132">
                  <c:v>0</c:v>
                </c:pt>
                <c:pt idx="8133">
                  <c:v>0</c:v>
                </c:pt>
                <c:pt idx="8134">
                  <c:v>0</c:v>
                </c:pt>
                <c:pt idx="8135">
                  <c:v>0</c:v>
                </c:pt>
                <c:pt idx="8136">
                  <c:v>0</c:v>
                </c:pt>
                <c:pt idx="8137">
                  <c:v>0</c:v>
                </c:pt>
                <c:pt idx="8138">
                  <c:v>0</c:v>
                </c:pt>
                <c:pt idx="8139">
                  <c:v>0</c:v>
                </c:pt>
                <c:pt idx="8140">
                  <c:v>0</c:v>
                </c:pt>
                <c:pt idx="8141">
                  <c:v>0</c:v>
                </c:pt>
                <c:pt idx="8142">
                  <c:v>0</c:v>
                </c:pt>
                <c:pt idx="8143">
                  <c:v>0</c:v>
                </c:pt>
                <c:pt idx="8144">
                  <c:v>0</c:v>
                </c:pt>
                <c:pt idx="8145">
                  <c:v>0</c:v>
                </c:pt>
                <c:pt idx="8146">
                  <c:v>0</c:v>
                </c:pt>
                <c:pt idx="8147">
                  <c:v>0</c:v>
                </c:pt>
                <c:pt idx="8148">
                  <c:v>0</c:v>
                </c:pt>
                <c:pt idx="8149">
                  <c:v>0</c:v>
                </c:pt>
                <c:pt idx="8150">
                  <c:v>0</c:v>
                </c:pt>
                <c:pt idx="8151">
                  <c:v>0</c:v>
                </c:pt>
                <c:pt idx="8152">
                  <c:v>0</c:v>
                </c:pt>
                <c:pt idx="8153">
                  <c:v>0</c:v>
                </c:pt>
                <c:pt idx="8154">
                  <c:v>0</c:v>
                </c:pt>
                <c:pt idx="8155">
                  <c:v>0</c:v>
                </c:pt>
                <c:pt idx="8156">
                  <c:v>0</c:v>
                </c:pt>
                <c:pt idx="8157">
                  <c:v>0</c:v>
                </c:pt>
                <c:pt idx="8158">
                  <c:v>0</c:v>
                </c:pt>
                <c:pt idx="8159">
                  <c:v>0</c:v>
                </c:pt>
                <c:pt idx="8160">
                  <c:v>0</c:v>
                </c:pt>
                <c:pt idx="8161">
                  <c:v>0</c:v>
                </c:pt>
                <c:pt idx="8162">
                  <c:v>0</c:v>
                </c:pt>
                <c:pt idx="8163">
                  <c:v>0</c:v>
                </c:pt>
                <c:pt idx="8164">
                  <c:v>0</c:v>
                </c:pt>
                <c:pt idx="8165">
                  <c:v>0</c:v>
                </c:pt>
                <c:pt idx="8166">
                  <c:v>0</c:v>
                </c:pt>
                <c:pt idx="8167">
                  <c:v>0</c:v>
                </c:pt>
                <c:pt idx="8168">
                  <c:v>0</c:v>
                </c:pt>
                <c:pt idx="8169">
                  <c:v>0</c:v>
                </c:pt>
                <c:pt idx="8170">
                  <c:v>0</c:v>
                </c:pt>
                <c:pt idx="8171">
                  <c:v>0</c:v>
                </c:pt>
                <c:pt idx="8172">
                  <c:v>0</c:v>
                </c:pt>
                <c:pt idx="8173">
                  <c:v>0</c:v>
                </c:pt>
                <c:pt idx="8174">
                  <c:v>0</c:v>
                </c:pt>
                <c:pt idx="8175">
                  <c:v>0</c:v>
                </c:pt>
                <c:pt idx="8176">
                  <c:v>0</c:v>
                </c:pt>
                <c:pt idx="8177">
                  <c:v>0</c:v>
                </c:pt>
                <c:pt idx="8178">
                  <c:v>0</c:v>
                </c:pt>
                <c:pt idx="8179">
                  <c:v>0</c:v>
                </c:pt>
                <c:pt idx="8180">
                  <c:v>0</c:v>
                </c:pt>
                <c:pt idx="8181">
                  <c:v>0</c:v>
                </c:pt>
                <c:pt idx="8182">
                  <c:v>0</c:v>
                </c:pt>
                <c:pt idx="8183">
                  <c:v>0</c:v>
                </c:pt>
                <c:pt idx="8184">
                  <c:v>0</c:v>
                </c:pt>
                <c:pt idx="8185">
                  <c:v>0</c:v>
                </c:pt>
                <c:pt idx="8186">
                  <c:v>0</c:v>
                </c:pt>
                <c:pt idx="8187">
                  <c:v>0</c:v>
                </c:pt>
                <c:pt idx="8188">
                  <c:v>0</c:v>
                </c:pt>
                <c:pt idx="8189">
                  <c:v>0</c:v>
                </c:pt>
                <c:pt idx="8190">
                  <c:v>0</c:v>
                </c:pt>
                <c:pt idx="8191">
                  <c:v>0</c:v>
                </c:pt>
                <c:pt idx="8192">
                  <c:v>0</c:v>
                </c:pt>
                <c:pt idx="8193">
                  <c:v>0</c:v>
                </c:pt>
                <c:pt idx="8194">
                  <c:v>0</c:v>
                </c:pt>
                <c:pt idx="8195">
                  <c:v>0</c:v>
                </c:pt>
                <c:pt idx="8196">
                  <c:v>0</c:v>
                </c:pt>
                <c:pt idx="8197">
                  <c:v>0</c:v>
                </c:pt>
                <c:pt idx="8198">
                  <c:v>0</c:v>
                </c:pt>
                <c:pt idx="8199">
                  <c:v>0</c:v>
                </c:pt>
                <c:pt idx="8200">
                  <c:v>0</c:v>
                </c:pt>
                <c:pt idx="8201">
                  <c:v>0</c:v>
                </c:pt>
                <c:pt idx="8202">
                  <c:v>0</c:v>
                </c:pt>
                <c:pt idx="8203">
                  <c:v>0</c:v>
                </c:pt>
                <c:pt idx="8204">
                  <c:v>0</c:v>
                </c:pt>
                <c:pt idx="8205">
                  <c:v>0</c:v>
                </c:pt>
                <c:pt idx="8206">
                  <c:v>0</c:v>
                </c:pt>
                <c:pt idx="8207">
                  <c:v>0</c:v>
                </c:pt>
                <c:pt idx="8208">
                  <c:v>0</c:v>
                </c:pt>
                <c:pt idx="8209">
                  <c:v>0</c:v>
                </c:pt>
                <c:pt idx="8210">
                  <c:v>0</c:v>
                </c:pt>
                <c:pt idx="8211">
                  <c:v>0</c:v>
                </c:pt>
                <c:pt idx="8212">
                  <c:v>0</c:v>
                </c:pt>
                <c:pt idx="8213">
                  <c:v>0</c:v>
                </c:pt>
                <c:pt idx="8214">
                  <c:v>0</c:v>
                </c:pt>
                <c:pt idx="8215">
                  <c:v>0</c:v>
                </c:pt>
                <c:pt idx="8216">
                  <c:v>0</c:v>
                </c:pt>
                <c:pt idx="8217">
                  <c:v>0</c:v>
                </c:pt>
                <c:pt idx="8218">
                  <c:v>0</c:v>
                </c:pt>
                <c:pt idx="8219">
                  <c:v>0</c:v>
                </c:pt>
                <c:pt idx="8220">
                  <c:v>0</c:v>
                </c:pt>
                <c:pt idx="8221">
                  <c:v>0</c:v>
                </c:pt>
                <c:pt idx="8222">
                  <c:v>0</c:v>
                </c:pt>
                <c:pt idx="8223">
                  <c:v>0</c:v>
                </c:pt>
                <c:pt idx="8224">
                  <c:v>0</c:v>
                </c:pt>
                <c:pt idx="8225">
                  <c:v>0</c:v>
                </c:pt>
                <c:pt idx="8226">
                  <c:v>0</c:v>
                </c:pt>
                <c:pt idx="8227">
                  <c:v>0</c:v>
                </c:pt>
                <c:pt idx="8228">
                  <c:v>0</c:v>
                </c:pt>
                <c:pt idx="8229">
                  <c:v>0</c:v>
                </c:pt>
                <c:pt idx="8230">
                  <c:v>0</c:v>
                </c:pt>
                <c:pt idx="8231">
                  <c:v>0</c:v>
                </c:pt>
                <c:pt idx="8232">
                  <c:v>0</c:v>
                </c:pt>
                <c:pt idx="8233">
                  <c:v>0</c:v>
                </c:pt>
                <c:pt idx="8234">
                  <c:v>0</c:v>
                </c:pt>
                <c:pt idx="8235">
                  <c:v>0</c:v>
                </c:pt>
                <c:pt idx="8236">
                  <c:v>0</c:v>
                </c:pt>
                <c:pt idx="8237">
                  <c:v>0</c:v>
                </c:pt>
                <c:pt idx="8238">
                  <c:v>0</c:v>
                </c:pt>
                <c:pt idx="8239">
                  <c:v>0</c:v>
                </c:pt>
                <c:pt idx="8240">
                  <c:v>0</c:v>
                </c:pt>
                <c:pt idx="8241">
                  <c:v>0</c:v>
                </c:pt>
                <c:pt idx="8242">
                  <c:v>0</c:v>
                </c:pt>
                <c:pt idx="8243">
                  <c:v>0</c:v>
                </c:pt>
                <c:pt idx="8244">
                  <c:v>0</c:v>
                </c:pt>
                <c:pt idx="8245">
                  <c:v>0</c:v>
                </c:pt>
                <c:pt idx="8246">
                  <c:v>0</c:v>
                </c:pt>
                <c:pt idx="8247">
                  <c:v>0</c:v>
                </c:pt>
                <c:pt idx="8248">
                  <c:v>0</c:v>
                </c:pt>
                <c:pt idx="8249">
                  <c:v>0</c:v>
                </c:pt>
                <c:pt idx="8250">
                  <c:v>0</c:v>
                </c:pt>
                <c:pt idx="8251">
                  <c:v>0</c:v>
                </c:pt>
                <c:pt idx="8252">
                  <c:v>0</c:v>
                </c:pt>
                <c:pt idx="8253">
                  <c:v>0</c:v>
                </c:pt>
                <c:pt idx="8254">
                  <c:v>0</c:v>
                </c:pt>
                <c:pt idx="8255">
                  <c:v>0</c:v>
                </c:pt>
                <c:pt idx="8256">
                  <c:v>0</c:v>
                </c:pt>
                <c:pt idx="8257">
                  <c:v>0</c:v>
                </c:pt>
                <c:pt idx="8258">
                  <c:v>0</c:v>
                </c:pt>
                <c:pt idx="8259">
                  <c:v>0</c:v>
                </c:pt>
                <c:pt idx="8260">
                  <c:v>0</c:v>
                </c:pt>
                <c:pt idx="8261">
                  <c:v>0</c:v>
                </c:pt>
                <c:pt idx="8262">
                  <c:v>0</c:v>
                </c:pt>
                <c:pt idx="8263">
                  <c:v>0</c:v>
                </c:pt>
                <c:pt idx="8264">
                  <c:v>0</c:v>
                </c:pt>
                <c:pt idx="8265">
                  <c:v>0</c:v>
                </c:pt>
                <c:pt idx="8266">
                  <c:v>0</c:v>
                </c:pt>
                <c:pt idx="8267">
                  <c:v>0</c:v>
                </c:pt>
                <c:pt idx="8268">
                  <c:v>0</c:v>
                </c:pt>
                <c:pt idx="8269">
                  <c:v>0</c:v>
                </c:pt>
                <c:pt idx="8270">
                  <c:v>0</c:v>
                </c:pt>
                <c:pt idx="8271">
                  <c:v>0</c:v>
                </c:pt>
                <c:pt idx="8272">
                  <c:v>0</c:v>
                </c:pt>
                <c:pt idx="8273">
                  <c:v>0</c:v>
                </c:pt>
                <c:pt idx="8274">
                  <c:v>0</c:v>
                </c:pt>
                <c:pt idx="8275">
                  <c:v>0</c:v>
                </c:pt>
                <c:pt idx="8276">
                  <c:v>0</c:v>
                </c:pt>
                <c:pt idx="8277">
                  <c:v>0</c:v>
                </c:pt>
                <c:pt idx="8278">
                  <c:v>0</c:v>
                </c:pt>
                <c:pt idx="8279">
                  <c:v>0</c:v>
                </c:pt>
                <c:pt idx="8280">
                  <c:v>0</c:v>
                </c:pt>
                <c:pt idx="8281">
                  <c:v>0</c:v>
                </c:pt>
                <c:pt idx="8282">
                  <c:v>0</c:v>
                </c:pt>
                <c:pt idx="8283">
                  <c:v>0</c:v>
                </c:pt>
                <c:pt idx="8284">
                  <c:v>0</c:v>
                </c:pt>
                <c:pt idx="8285">
                  <c:v>0</c:v>
                </c:pt>
                <c:pt idx="8286">
                  <c:v>0</c:v>
                </c:pt>
                <c:pt idx="8287">
                  <c:v>0</c:v>
                </c:pt>
                <c:pt idx="8288">
                  <c:v>0</c:v>
                </c:pt>
                <c:pt idx="8289">
                  <c:v>0</c:v>
                </c:pt>
                <c:pt idx="8290">
                  <c:v>0</c:v>
                </c:pt>
                <c:pt idx="8291">
                  <c:v>0</c:v>
                </c:pt>
                <c:pt idx="8292">
                  <c:v>0</c:v>
                </c:pt>
                <c:pt idx="8293">
                  <c:v>0</c:v>
                </c:pt>
                <c:pt idx="8294">
                  <c:v>0</c:v>
                </c:pt>
                <c:pt idx="8295">
                  <c:v>0</c:v>
                </c:pt>
                <c:pt idx="8296">
                  <c:v>0</c:v>
                </c:pt>
                <c:pt idx="8297">
                  <c:v>0</c:v>
                </c:pt>
                <c:pt idx="8298">
                  <c:v>0</c:v>
                </c:pt>
                <c:pt idx="8299">
                  <c:v>0</c:v>
                </c:pt>
                <c:pt idx="8300">
                  <c:v>0</c:v>
                </c:pt>
                <c:pt idx="8301">
                  <c:v>0</c:v>
                </c:pt>
                <c:pt idx="8302">
                  <c:v>0</c:v>
                </c:pt>
                <c:pt idx="8303">
                  <c:v>0</c:v>
                </c:pt>
                <c:pt idx="8304">
                  <c:v>0</c:v>
                </c:pt>
                <c:pt idx="8305">
                  <c:v>0</c:v>
                </c:pt>
                <c:pt idx="8306">
                  <c:v>0</c:v>
                </c:pt>
                <c:pt idx="8307">
                  <c:v>0</c:v>
                </c:pt>
                <c:pt idx="8308">
                  <c:v>0</c:v>
                </c:pt>
                <c:pt idx="8309">
                  <c:v>0</c:v>
                </c:pt>
                <c:pt idx="8310">
                  <c:v>0</c:v>
                </c:pt>
                <c:pt idx="8311">
                  <c:v>0</c:v>
                </c:pt>
                <c:pt idx="8312">
                  <c:v>0</c:v>
                </c:pt>
                <c:pt idx="8313">
                  <c:v>0</c:v>
                </c:pt>
                <c:pt idx="8314">
                  <c:v>0</c:v>
                </c:pt>
                <c:pt idx="8315">
                  <c:v>0</c:v>
                </c:pt>
                <c:pt idx="8316">
                  <c:v>0</c:v>
                </c:pt>
                <c:pt idx="8317">
                  <c:v>0</c:v>
                </c:pt>
                <c:pt idx="8318">
                  <c:v>0</c:v>
                </c:pt>
                <c:pt idx="8319">
                  <c:v>0</c:v>
                </c:pt>
                <c:pt idx="8320">
                  <c:v>0</c:v>
                </c:pt>
                <c:pt idx="8321">
                  <c:v>0</c:v>
                </c:pt>
                <c:pt idx="8322">
                  <c:v>0</c:v>
                </c:pt>
                <c:pt idx="8323">
                  <c:v>0</c:v>
                </c:pt>
                <c:pt idx="8324">
                  <c:v>0</c:v>
                </c:pt>
                <c:pt idx="8325">
                  <c:v>0</c:v>
                </c:pt>
                <c:pt idx="8326">
                  <c:v>0</c:v>
                </c:pt>
                <c:pt idx="8327">
                  <c:v>0</c:v>
                </c:pt>
                <c:pt idx="8328">
                  <c:v>0</c:v>
                </c:pt>
                <c:pt idx="8329">
                  <c:v>0</c:v>
                </c:pt>
                <c:pt idx="8330">
                  <c:v>0</c:v>
                </c:pt>
                <c:pt idx="8331">
                  <c:v>0</c:v>
                </c:pt>
                <c:pt idx="8332">
                  <c:v>0</c:v>
                </c:pt>
                <c:pt idx="8333">
                  <c:v>0</c:v>
                </c:pt>
                <c:pt idx="8334">
                  <c:v>0</c:v>
                </c:pt>
                <c:pt idx="8335">
                  <c:v>0</c:v>
                </c:pt>
                <c:pt idx="8336">
                  <c:v>0</c:v>
                </c:pt>
                <c:pt idx="8337">
                  <c:v>0</c:v>
                </c:pt>
                <c:pt idx="8338">
                  <c:v>0</c:v>
                </c:pt>
                <c:pt idx="8339">
                  <c:v>0</c:v>
                </c:pt>
                <c:pt idx="8340">
                  <c:v>0</c:v>
                </c:pt>
                <c:pt idx="8341">
                  <c:v>0</c:v>
                </c:pt>
                <c:pt idx="8342">
                  <c:v>0</c:v>
                </c:pt>
                <c:pt idx="8343">
                  <c:v>0</c:v>
                </c:pt>
                <c:pt idx="8344">
                  <c:v>0</c:v>
                </c:pt>
                <c:pt idx="8345">
                  <c:v>0</c:v>
                </c:pt>
                <c:pt idx="8346">
                  <c:v>0</c:v>
                </c:pt>
                <c:pt idx="8347">
                  <c:v>0</c:v>
                </c:pt>
                <c:pt idx="8348">
                  <c:v>0</c:v>
                </c:pt>
                <c:pt idx="8349">
                  <c:v>0</c:v>
                </c:pt>
                <c:pt idx="8350">
                  <c:v>0</c:v>
                </c:pt>
                <c:pt idx="8351">
                  <c:v>0</c:v>
                </c:pt>
                <c:pt idx="8352">
                  <c:v>0</c:v>
                </c:pt>
                <c:pt idx="8353">
                  <c:v>0</c:v>
                </c:pt>
                <c:pt idx="8354">
                  <c:v>0</c:v>
                </c:pt>
                <c:pt idx="8355">
                  <c:v>0</c:v>
                </c:pt>
                <c:pt idx="8356">
                  <c:v>0</c:v>
                </c:pt>
                <c:pt idx="8357">
                  <c:v>0</c:v>
                </c:pt>
                <c:pt idx="8358">
                  <c:v>0</c:v>
                </c:pt>
                <c:pt idx="8359">
                  <c:v>0</c:v>
                </c:pt>
                <c:pt idx="8360">
                  <c:v>0</c:v>
                </c:pt>
                <c:pt idx="8361">
                  <c:v>0</c:v>
                </c:pt>
                <c:pt idx="8362">
                  <c:v>0</c:v>
                </c:pt>
                <c:pt idx="8363">
                  <c:v>0</c:v>
                </c:pt>
                <c:pt idx="8364">
                  <c:v>0</c:v>
                </c:pt>
                <c:pt idx="8365">
                  <c:v>0</c:v>
                </c:pt>
                <c:pt idx="8366">
                  <c:v>0</c:v>
                </c:pt>
                <c:pt idx="8367">
                  <c:v>0</c:v>
                </c:pt>
                <c:pt idx="8368">
                  <c:v>0</c:v>
                </c:pt>
                <c:pt idx="8369">
                  <c:v>0</c:v>
                </c:pt>
                <c:pt idx="8370">
                  <c:v>0</c:v>
                </c:pt>
                <c:pt idx="8371">
                  <c:v>0</c:v>
                </c:pt>
                <c:pt idx="8372">
                  <c:v>0</c:v>
                </c:pt>
                <c:pt idx="8373">
                  <c:v>0</c:v>
                </c:pt>
                <c:pt idx="8374">
                  <c:v>0</c:v>
                </c:pt>
                <c:pt idx="8375">
                  <c:v>0</c:v>
                </c:pt>
                <c:pt idx="8376">
                  <c:v>0</c:v>
                </c:pt>
                <c:pt idx="8377">
                  <c:v>0</c:v>
                </c:pt>
                <c:pt idx="8378">
                  <c:v>0</c:v>
                </c:pt>
                <c:pt idx="8379">
                  <c:v>0</c:v>
                </c:pt>
                <c:pt idx="8380">
                  <c:v>0</c:v>
                </c:pt>
                <c:pt idx="8381">
                  <c:v>0</c:v>
                </c:pt>
                <c:pt idx="8382">
                  <c:v>0</c:v>
                </c:pt>
                <c:pt idx="8383">
                  <c:v>0</c:v>
                </c:pt>
                <c:pt idx="8384">
                  <c:v>0</c:v>
                </c:pt>
                <c:pt idx="8385">
                  <c:v>0</c:v>
                </c:pt>
                <c:pt idx="8386">
                  <c:v>0</c:v>
                </c:pt>
                <c:pt idx="8387">
                  <c:v>0</c:v>
                </c:pt>
                <c:pt idx="8388">
                  <c:v>0</c:v>
                </c:pt>
                <c:pt idx="8389">
                  <c:v>0</c:v>
                </c:pt>
                <c:pt idx="8390">
                  <c:v>0</c:v>
                </c:pt>
                <c:pt idx="8391">
                  <c:v>0</c:v>
                </c:pt>
                <c:pt idx="8392">
                  <c:v>0</c:v>
                </c:pt>
                <c:pt idx="8393">
                  <c:v>0</c:v>
                </c:pt>
                <c:pt idx="8394">
                  <c:v>0</c:v>
                </c:pt>
                <c:pt idx="8395">
                  <c:v>0</c:v>
                </c:pt>
                <c:pt idx="8396">
                  <c:v>0</c:v>
                </c:pt>
                <c:pt idx="8397">
                  <c:v>0</c:v>
                </c:pt>
                <c:pt idx="8398">
                  <c:v>0</c:v>
                </c:pt>
                <c:pt idx="8399">
                  <c:v>0</c:v>
                </c:pt>
                <c:pt idx="8400">
                  <c:v>0</c:v>
                </c:pt>
                <c:pt idx="8401">
                  <c:v>0</c:v>
                </c:pt>
                <c:pt idx="8402">
                  <c:v>0</c:v>
                </c:pt>
                <c:pt idx="8403">
                  <c:v>0</c:v>
                </c:pt>
                <c:pt idx="8404">
                  <c:v>0</c:v>
                </c:pt>
                <c:pt idx="8405">
                  <c:v>0</c:v>
                </c:pt>
                <c:pt idx="8406">
                  <c:v>0</c:v>
                </c:pt>
                <c:pt idx="8407">
                  <c:v>0</c:v>
                </c:pt>
                <c:pt idx="8408">
                  <c:v>0</c:v>
                </c:pt>
                <c:pt idx="8409">
                  <c:v>0</c:v>
                </c:pt>
                <c:pt idx="8410">
                  <c:v>0</c:v>
                </c:pt>
                <c:pt idx="8411">
                  <c:v>0</c:v>
                </c:pt>
                <c:pt idx="8412">
                  <c:v>0</c:v>
                </c:pt>
                <c:pt idx="8413">
                  <c:v>0</c:v>
                </c:pt>
                <c:pt idx="8414">
                  <c:v>0</c:v>
                </c:pt>
                <c:pt idx="8415">
                  <c:v>0</c:v>
                </c:pt>
                <c:pt idx="8416">
                  <c:v>0</c:v>
                </c:pt>
                <c:pt idx="8417">
                  <c:v>0</c:v>
                </c:pt>
                <c:pt idx="8418">
                  <c:v>0</c:v>
                </c:pt>
                <c:pt idx="8419">
                  <c:v>0</c:v>
                </c:pt>
                <c:pt idx="8420">
                  <c:v>0</c:v>
                </c:pt>
                <c:pt idx="8421">
                  <c:v>0</c:v>
                </c:pt>
                <c:pt idx="8422">
                  <c:v>0</c:v>
                </c:pt>
                <c:pt idx="8423">
                  <c:v>0</c:v>
                </c:pt>
                <c:pt idx="8424">
                  <c:v>0</c:v>
                </c:pt>
                <c:pt idx="8425">
                  <c:v>0</c:v>
                </c:pt>
                <c:pt idx="8426">
                  <c:v>0</c:v>
                </c:pt>
                <c:pt idx="8427">
                  <c:v>0</c:v>
                </c:pt>
                <c:pt idx="8428">
                  <c:v>0</c:v>
                </c:pt>
                <c:pt idx="8429">
                  <c:v>0</c:v>
                </c:pt>
                <c:pt idx="8430">
                  <c:v>0</c:v>
                </c:pt>
                <c:pt idx="8431">
                  <c:v>0</c:v>
                </c:pt>
                <c:pt idx="8432">
                  <c:v>0</c:v>
                </c:pt>
                <c:pt idx="8433">
                  <c:v>0</c:v>
                </c:pt>
                <c:pt idx="8434">
                  <c:v>0</c:v>
                </c:pt>
                <c:pt idx="8435">
                  <c:v>0</c:v>
                </c:pt>
                <c:pt idx="8436">
                  <c:v>0</c:v>
                </c:pt>
                <c:pt idx="8437">
                  <c:v>0</c:v>
                </c:pt>
                <c:pt idx="8438">
                  <c:v>0</c:v>
                </c:pt>
                <c:pt idx="8439">
                  <c:v>0</c:v>
                </c:pt>
                <c:pt idx="8440">
                  <c:v>0</c:v>
                </c:pt>
                <c:pt idx="8441">
                  <c:v>0</c:v>
                </c:pt>
                <c:pt idx="8442">
                  <c:v>0</c:v>
                </c:pt>
                <c:pt idx="8443">
                  <c:v>0</c:v>
                </c:pt>
                <c:pt idx="8444">
                  <c:v>0</c:v>
                </c:pt>
                <c:pt idx="8445">
                  <c:v>0</c:v>
                </c:pt>
                <c:pt idx="8446">
                  <c:v>0</c:v>
                </c:pt>
                <c:pt idx="8447">
                  <c:v>0</c:v>
                </c:pt>
                <c:pt idx="8448">
                  <c:v>0</c:v>
                </c:pt>
                <c:pt idx="8449">
                  <c:v>0</c:v>
                </c:pt>
                <c:pt idx="8450">
                  <c:v>0</c:v>
                </c:pt>
                <c:pt idx="8451">
                  <c:v>0</c:v>
                </c:pt>
                <c:pt idx="8452">
                  <c:v>0</c:v>
                </c:pt>
                <c:pt idx="8453">
                  <c:v>0</c:v>
                </c:pt>
                <c:pt idx="8454">
                  <c:v>0</c:v>
                </c:pt>
                <c:pt idx="8455">
                  <c:v>0</c:v>
                </c:pt>
                <c:pt idx="8456">
                  <c:v>0</c:v>
                </c:pt>
                <c:pt idx="8457">
                  <c:v>0</c:v>
                </c:pt>
                <c:pt idx="8458">
                  <c:v>0</c:v>
                </c:pt>
                <c:pt idx="8459">
                  <c:v>0</c:v>
                </c:pt>
                <c:pt idx="8460">
                  <c:v>0</c:v>
                </c:pt>
                <c:pt idx="8461">
                  <c:v>0</c:v>
                </c:pt>
                <c:pt idx="8462">
                  <c:v>0</c:v>
                </c:pt>
                <c:pt idx="8463">
                  <c:v>0</c:v>
                </c:pt>
                <c:pt idx="8464">
                  <c:v>0</c:v>
                </c:pt>
                <c:pt idx="8465">
                  <c:v>0</c:v>
                </c:pt>
                <c:pt idx="8466">
                  <c:v>0</c:v>
                </c:pt>
                <c:pt idx="8467">
                  <c:v>0</c:v>
                </c:pt>
                <c:pt idx="8468">
                  <c:v>0</c:v>
                </c:pt>
                <c:pt idx="8469">
                  <c:v>0</c:v>
                </c:pt>
                <c:pt idx="8470">
                  <c:v>0</c:v>
                </c:pt>
                <c:pt idx="8471">
                  <c:v>0</c:v>
                </c:pt>
                <c:pt idx="8472">
                  <c:v>0</c:v>
                </c:pt>
                <c:pt idx="8473">
                  <c:v>0</c:v>
                </c:pt>
                <c:pt idx="8474">
                  <c:v>0</c:v>
                </c:pt>
                <c:pt idx="8475">
                  <c:v>0</c:v>
                </c:pt>
                <c:pt idx="8476">
                  <c:v>0</c:v>
                </c:pt>
                <c:pt idx="8477">
                  <c:v>0</c:v>
                </c:pt>
                <c:pt idx="8478">
                  <c:v>0</c:v>
                </c:pt>
                <c:pt idx="8479">
                  <c:v>0</c:v>
                </c:pt>
                <c:pt idx="8480">
                  <c:v>0</c:v>
                </c:pt>
                <c:pt idx="8481">
                  <c:v>0</c:v>
                </c:pt>
                <c:pt idx="8482">
                  <c:v>0</c:v>
                </c:pt>
                <c:pt idx="8483">
                  <c:v>0</c:v>
                </c:pt>
                <c:pt idx="8484">
                  <c:v>0</c:v>
                </c:pt>
                <c:pt idx="8485">
                  <c:v>0</c:v>
                </c:pt>
                <c:pt idx="8486">
                  <c:v>0</c:v>
                </c:pt>
                <c:pt idx="8487">
                  <c:v>0</c:v>
                </c:pt>
                <c:pt idx="8488">
                  <c:v>0</c:v>
                </c:pt>
                <c:pt idx="8489">
                  <c:v>0</c:v>
                </c:pt>
                <c:pt idx="8490">
                  <c:v>0</c:v>
                </c:pt>
                <c:pt idx="8491">
                  <c:v>0</c:v>
                </c:pt>
                <c:pt idx="8492">
                  <c:v>0</c:v>
                </c:pt>
                <c:pt idx="8493">
                  <c:v>0</c:v>
                </c:pt>
                <c:pt idx="8494">
                  <c:v>0</c:v>
                </c:pt>
                <c:pt idx="8495">
                  <c:v>0</c:v>
                </c:pt>
                <c:pt idx="8496">
                  <c:v>0</c:v>
                </c:pt>
                <c:pt idx="8497">
                  <c:v>0</c:v>
                </c:pt>
                <c:pt idx="8498">
                  <c:v>0</c:v>
                </c:pt>
                <c:pt idx="8499">
                  <c:v>0</c:v>
                </c:pt>
                <c:pt idx="8500">
                  <c:v>0</c:v>
                </c:pt>
                <c:pt idx="8501">
                  <c:v>0</c:v>
                </c:pt>
                <c:pt idx="8502">
                  <c:v>0</c:v>
                </c:pt>
                <c:pt idx="8503">
                  <c:v>0</c:v>
                </c:pt>
                <c:pt idx="8504">
                  <c:v>0</c:v>
                </c:pt>
                <c:pt idx="8505">
                  <c:v>0</c:v>
                </c:pt>
                <c:pt idx="8506">
                  <c:v>0</c:v>
                </c:pt>
                <c:pt idx="8507">
                  <c:v>0</c:v>
                </c:pt>
                <c:pt idx="8508">
                  <c:v>0</c:v>
                </c:pt>
                <c:pt idx="8509">
                  <c:v>0</c:v>
                </c:pt>
                <c:pt idx="8510">
                  <c:v>0</c:v>
                </c:pt>
                <c:pt idx="8511">
                  <c:v>0</c:v>
                </c:pt>
                <c:pt idx="8512">
                  <c:v>0</c:v>
                </c:pt>
                <c:pt idx="8513">
                  <c:v>0</c:v>
                </c:pt>
                <c:pt idx="8514">
                  <c:v>0</c:v>
                </c:pt>
                <c:pt idx="8515">
                  <c:v>0</c:v>
                </c:pt>
                <c:pt idx="8516">
                  <c:v>0</c:v>
                </c:pt>
                <c:pt idx="8517">
                  <c:v>0</c:v>
                </c:pt>
                <c:pt idx="8518">
                  <c:v>0</c:v>
                </c:pt>
                <c:pt idx="8519">
                  <c:v>0</c:v>
                </c:pt>
                <c:pt idx="8520">
                  <c:v>0</c:v>
                </c:pt>
                <c:pt idx="8521">
                  <c:v>0</c:v>
                </c:pt>
                <c:pt idx="8522">
                  <c:v>0</c:v>
                </c:pt>
                <c:pt idx="8523">
                  <c:v>0</c:v>
                </c:pt>
                <c:pt idx="8524">
                  <c:v>0</c:v>
                </c:pt>
                <c:pt idx="8525">
                  <c:v>0</c:v>
                </c:pt>
                <c:pt idx="8526">
                  <c:v>0</c:v>
                </c:pt>
                <c:pt idx="8527">
                  <c:v>0</c:v>
                </c:pt>
                <c:pt idx="8528">
                  <c:v>0</c:v>
                </c:pt>
                <c:pt idx="8529">
                  <c:v>0</c:v>
                </c:pt>
                <c:pt idx="8530">
                  <c:v>0</c:v>
                </c:pt>
                <c:pt idx="8531">
                  <c:v>0</c:v>
                </c:pt>
                <c:pt idx="8532">
                  <c:v>0</c:v>
                </c:pt>
                <c:pt idx="8533">
                  <c:v>0</c:v>
                </c:pt>
                <c:pt idx="8534">
                  <c:v>0</c:v>
                </c:pt>
                <c:pt idx="8535">
                  <c:v>0</c:v>
                </c:pt>
                <c:pt idx="8536">
                  <c:v>0</c:v>
                </c:pt>
                <c:pt idx="8537">
                  <c:v>0</c:v>
                </c:pt>
                <c:pt idx="8538">
                  <c:v>0</c:v>
                </c:pt>
                <c:pt idx="8539">
                  <c:v>0</c:v>
                </c:pt>
                <c:pt idx="8540">
                  <c:v>0</c:v>
                </c:pt>
                <c:pt idx="8541">
                  <c:v>0</c:v>
                </c:pt>
                <c:pt idx="8542">
                  <c:v>0</c:v>
                </c:pt>
                <c:pt idx="8543">
                  <c:v>0</c:v>
                </c:pt>
                <c:pt idx="8544">
                  <c:v>0</c:v>
                </c:pt>
                <c:pt idx="8545">
                  <c:v>0</c:v>
                </c:pt>
                <c:pt idx="8546">
                  <c:v>0</c:v>
                </c:pt>
                <c:pt idx="8547">
                  <c:v>0</c:v>
                </c:pt>
                <c:pt idx="8548">
                  <c:v>0</c:v>
                </c:pt>
                <c:pt idx="8549">
                  <c:v>0</c:v>
                </c:pt>
                <c:pt idx="8550">
                  <c:v>0</c:v>
                </c:pt>
                <c:pt idx="8551">
                  <c:v>0</c:v>
                </c:pt>
                <c:pt idx="8552">
                  <c:v>0</c:v>
                </c:pt>
                <c:pt idx="8553">
                  <c:v>0</c:v>
                </c:pt>
                <c:pt idx="8554">
                  <c:v>0</c:v>
                </c:pt>
                <c:pt idx="8555">
                  <c:v>0</c:v>
                </c:pt>
                <c:pt idx="8556">
                  <c:v>0</c:v>
                </c:pt>
                <c:pt idx="8557">
                  <c:v>0</c:v>
                </c:pt>
                <c:pt idx="8558">
                  <c:v>0</c:v>
                </c:pt>
                <c:pt idx="8559">
                  <c:v>0</c:v>
                </c:pt>
                <c:pt idx="8560">
                  <c:v>0</c:v>
                </c:pt>
                <c:pt idx="8561">
                  <c:v>0</c:v>
                </c:pt>
                <c:pt idx="8562">
                  <c:v>0</c:v>
                </c:pt>
                <c:pt idx="8563">
                  <c:v>0</c:v>
                </c:pt>
                <c:pt idx="8564">
                  <c:v>0</c:v>
                </c:pt>
                <c:pt idx="8565">
                  <c:v>0</c:v>
                </c:pt>
                <c:pt idx="8566">
                  <c:v>0</c:v>
                </c:pt>
                <c:pt idx="8567">
                  <c:v>0</c:v>
                </c:pt>
                <c:pt idx="8568">
                  <c:v>0</c:v>
                </c:pt>
                <c:pt idx="8569">
                  <c:v>0</c:v>
                </c:pt>
                <c:pt idx="8570">
                  <c:v>0</c:v>
                </c:pt>
                <c:pt idx="8571">
                  <c:v>0</c:v>
                </c:pt>
                <c:pt idx="8572">
                  <c:v>0</c:v>
                </c:pt>
                <c:pt idx="8573">
                  <c:v>0</c:v>
                </c:pt>
                <c:pt idx="8574">
                  <c:v>0</c:v>
                </c:pt>
                <c:pt idx="8575">
                  <c:v>0</c:v>
                </c:pt>
                <c:pt idx="8576">
                  <c:v>0</c:v>
                </c:pt>
                <c:pt idx="8577">
                  <c:v>0</c:v>
                </c:pt>
                <c:pt idx="8578">
                  <c:v>0</c:v>
                </c:pt>
                <c:pt idx="8579">
                  <c:v>0</c:v>
                </c:pt>
                <c:pt idx="8580">
                  <c:v>0</c:v>
                </c:pt>
                <c:pt idx="8581">
                  <c:v>0</c:v>
                </c:pt>
                <c:pt idx="8582">
                  <c:v>0</c:v>
                </c:pt>
                <c:pt idx="8583">
                  <c:v>0</c:v>
                </c:pt>
                <c:pt idx="8584">
                  <c:v>0</c:v>
                </c:pt>
                <c:pt idx="8585">
                  <c:v>0</c:v>
                </c:pt>
                <c:pt idx="8586">
                  <c:v>0</c:v>
                </c:pt>
                <c:pt idx="8587">
                  <c:v>0</c:v>
                </c:pt>
                <c:pt idx="8588">
                  <c:v>0</c:v>
                </c:pt>
                <c:pt idx="8589">
                  <c:v>0</c:v>
                </c:pt>
                <c:pt idx="8590">
                  <c:v>0</c:v>
                </c:pt>
                <c:pt idx="8591">
                  <c:v>0</c:v>
                </c:pt>
                <c:pt idx="8592">
                  <c:v>0</c:v>
                </c:pt>
                <c:pt idx="8593">
                  <c:v>0</c:v>
                </c:pt>
                <c:pt idx="8594">
                  <c:v>0</c:v>
                </c:pt>
                <c:pt idx="8595">
                  <c:v>0</c:v>
                </c:pt>
                <c:pt idx="8596">
                  <c:v>0</c:v>
                </c:pt>
                <c:pt idx="8597">
                  <c:v>0</c:v>
                </c:pt>
                <c:pt idx="8598">
                  <c:v>0</c:v>
                </c:pt>
                <c:pt idx="8599">
                  <c:v>0</c:v>
                </c:pt>
                <c:pt idx="8600">
                  <c:v>0</c:v>
                </c:pt>
                <c:pt idx="8601">
                  <c:v>0</c:v>
                </c:pt>
                <c:pt idx="8602">
                  <c:v>0</c:v>
                </c:pt>
                <c:pt idx="8603">
                  <c:v>0</c:v>
                </c:pt>
                <c:pt idx="8604">
                  <c:v>0</c:v>
                </c:pt>
                <c:pt idx="8605">
                  <c:v>0</c:v>
                </c:pt>
                <c:pt idx="8606">
                  <c:v>0</c:v>
                </c:pt>
                <c:pt idx="8607">
                  <c:v>0</c:v>
                </c:pt>
                <c:pt idx="8608">
                  <c:v>0</c:v>
                </c:pt>
                <c:pt idx="8609">
                  <c:v>0</c:v>
                </c:pt>
                <c:pt idx="8610">
                  <c:v>0</c:v>
                </c:pt>
                <c:pt idx="8611">
                  <c:v>0</c:v>
                </c:pt>
                <c:pt idx="8612">
                  <c:v>0</c:v>
                </c:pt>
                <c:pt idx="8613">
                  <c:v>0</c:v>
                </c:pt>
                <c:pt idx="8614">
                  <c:v>0</c:v>
                </c:pt>
                <c:pt idx="8615">
                  <c:v>0</c:v>
                </c:pt>
                <c:pt idx="8616">
                  <c:v>0</c:v>
                </c:pt>
                <c:pt idx="8617">
                  <c:v>0</c:v>
                </c:pt>
                <c:pt idx="8618">
                  <c:v>0</c:v>
                </c:pt>
                <c:pt idx="8619">
                  <c:v>0</c:v>
                </c:pt>
                <c:pt idx="8620">
                  <c:v>0</c:v>
                </c:pt>
                <c:pt idx="8621">
                  <c:v>0</c:v>
                </c:pt>
                <c:pt idx="8622">
                  <c:v>0</c:v>
                </c:pt>
                <c:pt idx="8623">
                  <c:v>0</c:v>
                </c:pt>
                <c:pt idx="8624">
                  <c:v>0</c:v>
                </c:pt>
                <c:pt idx="8625">
                  <c:v>0</c:v>
                </c:pt>
                <c:pt idx="8626">
                  <c:v>0</c:v>
                </c:pt>
                <c:pt idx="8627">
                  <c:v>0</c:v>
                </c:pt>
                <c:pt idx="8628">
                  <c:v>0</c:v>
                </c:pt>
                <c:pt idx="8629">
                  <c:v>0</c:v>
                </c:pt>
                <c:pt idx="8630">
                  <c:v>0</c:v>
                </c:pt>
                <c:pt idx="8631">
                  <c:v>0</c:v>
                </c:pt>
                <c:pt idx="8632">
                  <c:v>0</c:v>
                </c:pt>
                <c:pt idx="8633">
                  <c:v>0</c:v>
                </c:pt>
                <c:pt idx="8634">
                  <c:v>0</c:v>
                </c:pt>
                <c:pt idx="8635">
                  <c:v>0</c:v>
                </c:pt>
                <c:pt idx="8636">
                  <c:v>0</c:v>
                </c:pt>
                <c:pt idx="8637">
                  <c:v>0</c:v>
                </c:pt>
                <c:pt idx="8638">
                  <c:v>0</c:v>
                </c:pt>
                <c:pt idx="8639">
                  <c:v>0</c:v>
                </c:pt>
                <c:pt idx="8640">
                  <c:v>0</c:v>
                </c:pt>
                <c:pt idx="8641">
                  <c:v>0</c:v>
                </c:pt>
                <c:pt idx="8642">
                  <c:v>0</c:v>
                </c:pt>
                <c:pt idx="8643">
                  <c:v>0</c:v>
                </c:pt>
                <c:pt idx="8644">
                  <c:v>0</c:v>
                </c:pt>
                <c:pt idx="8645">
                  <c:v>0</c:v>
                </c:pt>
                <c:pt idx="8646">
                  <c:v>0</c:v>
                </c:pt>
                <c:pt idx="8647">
                  <c:v>0</c:v>
                </c:pt>
                <c:pt idx="8648">
                  <c:v>0</c:v>
                </c:pt>
                <c:pt idx="8649">
                  <c:v>0</c:v>
                </c:pt>
                <c:pt idx="8650">
                  <c:v>0</c:v>
                </c:pt>
                <c:pt idx="8651">
                  <c:v>0</c:v>
                </c:pt>
                <c:pt idx="8652">
                  <c:v>0</c:v>
                </c:pt>
                <c:pt idx="8653">
                  <c:v>0</c:v>
                </c:pt>
                <c:pt idx="8654">
                  <c:v>0</c:v>
                </c:pt>
                <c:pt idx="8655">
                  <c:v>0</c:v>
                </c:pt>
                <c:pt idx="8656">
                  <c:v>0</c:v>
                </c:pt>
                <c:pt idx="8657">
                  <c:v>0</c:v>
                </c:pt>
                <c:pt idx="8658">
                  <c:v>0</c:v>
                </c:pt>
                <c:pt idx="8659">
                  <c:v>0</c:v>
                </c:pt>
                <c:pt idx="8660">
                  <c:v>0</c:v>
                </c:pt>
                <c:pt idx="8661">
                  <c:v>0</c:v>
                </c:pt>
                <c:pt idx="8662">
                  <c:v>0</c:v>
                </c:pt>
                <c:pt idx="8663">
                  <c:v>0</c:v>
                </c:pt>
                <c:pt idx="8664">
                  <c:v>0</c:v>
                </c:pt>
                <c:pt idx="8665">
                  <c:v>0</c:v>
                </c:pt>
                <c:pt idx="8666">
                  <c:v>0</c:v>
                </c:pt>
                <c:pt idx="8667">
                  <c:v>0</c:v>
                </c:pt>
                <c:pt idx="8668">
                  <c:v>0</c:v>
                </c:pt>
                <c:pt idx="8669">
                  <c:v>0</c:v>
                </c:pt>
                <c:pt idx="8670">
                  <c:v>0</c:v>
                </c:pt>
                <c:pt idx="8671">
                  <c:v>0</c:v>
                </c:pt>
                <c:pt idx="8672">
                  <c:v>0</c:v>
                </c:pt>
                <c:pt idx="8673">
                  <c:v>0</c:v>
                </c:pt>
                <c:pt idx="8674">
                  <c:v>0</c:v>
                </c:pt>
                <c:pt idx="8675">
                  <c:v>0</c:v>
                </c:pt>
                <c:pt idx="8676">
                  <c:v>0</c:v>
                </c:pt>
                <c:pt idx="8677">
                  <c:v>0</c:v>
                </c:pt>
                <c:pt idx="8678">
                  <c:v>0</c:v>
                </c:pt>
                <c:pt idx="8679">
                  <c:v>0</c:v>
                </c:pt>
                <c:pt idx="8680">
                  <c:v>0</c:v>
                </c:pt>
                <c:pt idx="8681">
                  <c:v>0</c:v>
                </c:pt>
                <c:pt idx="8682">
                  <c:v>0</c:v>
                </c:pt>
                <c:pt idx="8683">
                  <c:v>0</c:v>
                </c:pt>
                <c:pt idx="8684">
                  <c:v>0</c:v>
                </c:pt>
                <c:pt idx="8685">
                  <c:v>0</c:v>
                </c:pt>
                <c:pt idx="8686">
                  <c:v>0</c:v>
                </c:pt>
                <c:pt idx="8687">
                  <c:v>0</c:v>
                </c:pt>
                <c:pt idx="8688">
                  <c:v>0</c:v>
                </c:pt>
                <c:pt idx="8689">
                  <c:v>0</c:v>
                </c:pt>
                <c:pt idx="8690">
                  <c:v>0</c:v>
                </c:pt>
                <c:pt idx="8691">
                  <c:v>0</c:v>
                </c:pt>
                <c:pt idx="8692">
                  <c:v>0</c:v>
                </c:pt>
                <c:pt idx="8693">
                  <c:v>0</c:v>
                </c:pt>
                <c:pt idx="8694">
                  <c:v>0</c:v>
                </c:pt>
                <c:pt idx="8695">
                  <c:v>0</c:v>
                </c:pt>
                <c:pt idx="8696">
                  <c:v>0</c:v>
                </c:pt>
                <c:pt idx="8697">
                  <c:v>0</c:v>
                </c:pt>
                <c:pt idx="8698">
                  <c:v>0</c:v>
                </c:pt>
                <c:pt idx="8699">
                  <c:v>0</c:v>
                </c:pt>
                <c:pt idx="8700">
                  <c:v>0</c:v>
                </c:pt>
                <c:pt idx="8701">
                  <c:v>0</c:v>
                </c:pt>
                <c:pt idx="8702">
                  <c:v>0</c:v>
                </c:pt>
                <c:pt idx="8703">
                  <c:v>0</c:v>
                </c:pt>
                <c:pt idx="8704">
                  <c:v>0</c:v>
                </c:pt>
                <c:pt idx="8705">
                  <c:v>0</c:v>
                </c:pt>
                <c:pt idx="8706">
                  <c:v>0</c:v>
                </c:pt>
                <c:pt idx="8707">
                  <c:v>0</c:v>
                </c:pt>
                <c:pt idx="8708">
                  <c:v>0</c:v>
                </c:pt>
                <c:pt idx="8709">
                  <c:v>0</c:v>
                </c:pt>
                <c:pt idx="8710">
                  <c:v>0</c:v>
                </c:pt>
                <c:pt idx="8711">
                  <c:v>0</c:v>
                </c:pt>
                <c:pt idx="8712">
                  <c:v>0</c:v>
                </c:pt>
                <c:pt idx="8713">
                  <c:v>0</c:v>
                </c:pt>
                <c:pt idx="8714">
                  <c:v>0</c:v>
                </c:pt>
                <c:pt idx="8715">
                  <c:v>0</c:v>
                </c:pt>
                <c:pt idx="8716">
                  <c:v>0</c:v>
                </c:pt>
                <c:pt idx="8717">
                  <c:v>0</c:v>
                </c:pt>
                <c:pt idx="8718">
                  <c:v>0</c:v>
                </c:pt>
                <c:pt idx="8719">
                  <c:v>0</c:v>
                </c:pt>
                <c:pt idx="8720">
                  <c:v>0</c:v>
                </c:pt>
                <c:pt idx="8721">
                  <c:v>0</c:v>
                </c:pt>
                <c:pt idx="8722">
                  <c:v>0</c:v>
                </c:pt>
                <c:pt idx="8723">
                  <c:v>0</c:v>
                </c:pt>
                <c:pt idx="8724">
                  <c:v>0</c:v>
                </c:pt>
                <c:pt idx="8725">
                  <c:v>0</c:v>
                </c:pt>
                <c:pt idx="8726">
                  <c:v>0</c:v>
                </c:pt>
                <c:pt idx="8727">
                  <c:v>0</c:v>
                </c:pt>
                <c:pt idx="8728">
                  <c:v>0</c:v>
                </c:pt>
                <c:pt idx="8729">
                  <c:v>0</c:v>
                </c:pt>
                <c:pt idx="8730">
                  <c:v>0</c:v>
                </c:pt>
                <c:pt idx="8731">
                  <c:v>0</c:v>
                </c:pt>
                <c:pt idx="8732">
                  <c:v>0</c:v>
                </c:pt>
                <c:pt idx="8733">
                  <c:v>0</c:v>
                </c:pt>
                <c:pt idx="8734">
                  <c:v>0</c:v>
                </c:pt>
                <c:pt idx="8735">
                  <c:v>0</c:v>
                </c:pt>
                <c:pt idx="8736">
                  <c:v>0</c:v>
                </c:pt>
                <c:pt idx="8737">
                  <c:v>0</c:v>
                </c:pt>
                <c:pt idx="8738">
                  <c:v>0</c:v>
                </c:pt>
                <c:pt idx="8739">
                  <c:v>0</c:v>
                </c:pt>
                <c:pt idx="8740">
                  <c:v>0</c:v>
                </c:pt>
                <c:pt idx="8741">
                  <c:v>0</c:v>
                </c:pt>
                <c:pt idx="8742">
                  <c:v>0</c:v>
                </c:pt>
                <c:pt idx="8743">
                  <c:v>0</c:v>
                </c:pt>
                <c:pt idx="8744">
                  <c:v>0</c:v>
                </c:pt>
                <c:pt idx="8745">
                  <c:v>0</c:v>
                </c:pt>
                <c:pt idx="8746">
                  <c:v>0</c:v>
                </c:pt>
                <c:pt idx="8747">
                  <c:v>0</c:v>
                </c:pt>
                <c:pt idx="8748">
                  <c:v>0</c:v>
                </c:pt>
                <c:pt idx="8749">
                  <c:v>0</c:v>
                </c:pt>
                <c:pt idx="8750">
                  <c:v>0</c:v>
                </c:pt>
                <c:pt idx="8751">
                  <c:v>0</c:v>
                </c:pt>
                <c:pt idx="8752">
                  <c:v>0</c:v>
                </c:pt>
                <c:pt idx="8753">
                  <c:v>0</c:v>
                </c:pt>
                <c:pt idx="8754">
                  <c:v>0</c:v>
                </c:pt>
                <c:pt idx="8755">
                  <c:v>0</c:v>
                </c:pt>
                <c:pt idx="8756">
                  <c:v>0</c:v>
                </c:pt>
                <c:pt idx="8757">
                  <c:v>0</c:v>
                </c:pt>
                <c:pt idx="8758">
                  <c:v>0</c:v>
                </c:pt>
                <c:pt idx="8759">
                  <c:v>0</c:v>
                </c:pt>
                <c:pt idx="8760">
                  <c:v>0</c:v>
                </c:pt>
                <c:pt idx="8761">
                  <c:v>0</c:v>
                </c:pt>
                <c:pt idx="8762">
                  <c:v>0</c:v>
                </c:pt>
                <c:pt idx="8763">
                  <c:v>0</c:v>
                </c:pt>
                <c:pt idx="8764">
                  <c:v>0</c:v>
                </c:pt>
                <c:pt idx="8765">
                  <c:v>0</c:v>
                </c:pt>
                <c:pt idx="8766">
                  <c:v>0</c:v>
                </c:pt>
                <c:pt idx="8767">
                  <c:v>0</c:v>
                </c:pt>
                <c:pt idx="8768">
                  <c:v>0</c:v>
                </c:pt>
                <c:pt idx="8769">
                  <c:v>0</c:v>
                </c:pt>
                <c:pt idx="8770">
                  <c:v>0</c:v>
                </c:pt>
                <c:pt idx="8771">
                  <c:v>0</c:v>
                </c:pt>
                <c:pt idx="8772">
                  <c:v>0</c:v>
                </c:pt>
                <c:pt idx="8773">
                  <c:v>0</c:v>
                </c:pt>
                <c:pt idx="8774">
                  <c:v>0</c:v>
                </c:pt>
                <c:pt idx="8775">
                  <c:v>0</c:v>
                </c:pt>
                <c:pt idx="8776">
                  <c:v>0</c:v>
                </c:pt>
                <c:pt idx="8777">
                  <c:v>0</c:v>
                </c:pt>
                <c:pt idx="8778">
                  <c:v>0</c:v>
                </c:pt>
                <c:pt idx="8779">
                  <c:v>0</c:v>
                </c:pt>
                <c:pt idx="8780">
                  <c:v>0</c:v>
                </c:pt>
                <c:pt idx="8781">
                  <c:v>0</c:v>
                </c:pt>
                <c:pt idx="8782">
                  <c:v>0</c:v>
                </c:pt>
                <c:pt idx="8783">
                  <c:v>0</c:v>
                </c:pt>
                <c:pt idx="8784">
                  <c:v>0</c:v>
                </c:pt>
                <c:pt idx="8785">
                  <c:v>0</c:v>
                </c:pt>
                <c:pt idx="8786">
                  <c:v>0</c:v>
                </c:pt>
                <c:pt idx="8787">
                  <c:v>0</c:v>
                </c:pt>
                <c:pt idx="8788">
                  <c:v>0</c:v>
                </c:pt>
                <c:pt idx="8789">
                  <c:v>0</c:v>
                </c:pt>
                <c:pt idx="8790">
                  <c:v>0</c:v>
                </c:pt>
                <c:pt idx="8791">
                  <c:v>0</c:v>
                </c:pt>
                <c:pt idx="8792">
                  <c:v>0</c:v>
                </c:pt>
                <c:pt idx="8793">
                  <c:v>0</c:v>
                </c:pt>
                <c:pt idx="8794">
                  <c:v>0</c:v>
                </c:pt>
                <c:pt idx="8795">
                  <c:v>0</c:v>
                </c:pt>
                <c:pt idx="8796">
                  <c:v>0</c:v>
                </c:pt>
                <c:pt idx="8797">
                  <c:v>0</c:v>
                </c:pt>
                <c:pt idx="8798">
                  <c:v>0</c:v>
                </c:pt>
                <c:pt idx="8799">
                  <c:v>0</c:v>
                </c:pt>
                <c:pt idx="8800">
                  <c:v>0</c:v>
                </c:pt>
                <c:pt idx="8801">
                  <c:v>0</c:v>
                </c:pt>
                <c:pt idx="8802">
                  <c:v>0</c:v>
                </c:pt>
                <c:pt idx="8803">
                  <c:v>0</c:v>
                </c:pt>
                <c:pt idx="8804">
                  <c:v>0</c:v>
                </c:pt>
                <c:pt idx="8805">
                  <c:v>0</c:v>
                </c:pt>
                <c:pt idx="8806">
                  <c:v>0</c:v>
                </c:pt>
                <c:pt idx="8807">
                  <c:v>0</c:v>
                </c:pt>
                <c:pt idx="8808">
                  <c:v>0</c:v>
                </c:pt>
                <c:pt idx="8809">
                  <c:v>0</c:v>
                </c:pt>
                <c:pt idx="8810">
                  <c:v>0</c:v>
                </c:pt>
                <c:pt idx="8811">
                  <c:v>0</c:v>
                </c:pt>
                <c:pt idx="8812">
                  <c:v>0</c:v>
                </c:pt>
                <c:pt idx="8813">
                  <c:v>0</c:v>
                </c:pt>
                <c:pt idx="8814">
                  <c:v>0</c:v>
                </c:pt>
                <c:pt idx="8815">
                  <c:v>0</c:v>
                </c:pt>
                <c:pt idx="8816">
                  <c:v>0</c:v>
                </c:pt>
                <c:pt idx="8817">
                  <c:v>0</c:v>
                </c:pt>
                <c:pt idx="8818">
                  <c:v>0</c:v>
                </c:pt>
                <c:pt idx="8819">
                  <c:v>0</c:v>
                </c:pt>
                <c:pt idx="8820">
                  <c:v>0</c:v>
                </c:pt>
                <c:pt idx="8821">
                  <c:v>0</c:v>
                </c:pt>
                <c:pt idx="8822">
                  <c:v>0</c:v>
                </c:pt>
                <c:pt idx="8823">
                  <c:v>0</c:v>
                </c:pt>
                <c:pt idx="8824">
                  <c:v>0</c:v>
                </c:pt>
                <c:pt idx="8825">
                  <c:v>0</c:v>
                </c:pt>
                <c:pt idx="8826">
                  <c:v>0</c:v>
                </c:pt>
                <c:pt idx="8827">
                  <c:v>0</c:v>
                </c:pt>
                <c:pt idx="8828">
                  <c:v>0</c:v>
                </c:pt>
                <c:pt idx="8829">
                  <c:v>0</c:v>
                </c:pt>
                <c:pt idx="8830">
                  <c:v>0</c:v>
                </c:pt>
                <c:pt idx="8831">
                  <c:v>0</c:v>
                </c:pt>
                <c:pt idx="8832">
                  <c:v>0</c:v>
                </c:pt>
                <c:pt idx="8833">
                  <c:v>0</c:v>
                </c:pt>
                <c:pt idx="8834">
                  <c:v>0</c:v>
                </c:pt>
                <c:pt idx="8835">
                  <c:v>0</c:v>
                </c:pt>
                <c:pt idx="8836">
                  <c:v>0</c:v>
                </c:pt>
                <c:pt idx="8837">
                  <c:v>0</c:v>
                </c:pt>
                <c:pt idx="8838">
                  <c:v>0</c:v>
                </c:pt>
                <c:pt idx="8839">
                  <c:v>0</c:v>
                </c:pt>
                <c:pt idx="8840">
                  <c:v>0</c:v>
                </c:pt>
                <c:pt idx="8841">
                  <c:v>0</c:v>
                </c:pt>
                <c:pt idx="8842">
                  <c:v>0</c:v>
                </c:pt>
                <c:pt idx="8843">
                  <c:v>0</c:v>
                </c:pt>
                <c:pt idx="8844">
                  <c:v>0</c:v>
                </c:pt>
                <c:pt idx="8845">
                  <c:v>0</c:v>
                </c:pt>
                <c:pt idx="8846">
                  <c:v>0</c:v>
                </c:pt>
                <c:pt idx="8847">
                  <c:v>0</c:v>
                </c:pt>
                <c:pt idx="8848">
                  <c:v>0</c:v>
                </c:pt>
                <c:pt idx="8849">
                  <c:v>0</c:v>
                </c:pt>
                <c:pt idx="8850">
                  <c:v>0</c:v>
                </c:pt>
                <c:pt idx="8851">
                  <c:v>0</c:v>
                </c:pt>
                <c:pt idx="8852">
                  <c:v>0</c:v>
                </c:pt>
                <c:pt idx="8853">
                  <c:v>0</c:v>
                </c:pt>
                <c:pt idx="8854">
                  <c:v>0</c:v>
                </c:pt>
                <c:pt idx="8855">
                  <c:v>0</c:v>
                </c:pt>
                <c:pt idx="8856">
                  <c:v>0</c:v>
                </c:pt>
                <c:pt idx="8857">
                  <c:v>0</c:v>
                </c:pt>
                <c:pt idx="8858">
                  <c:v>0</c:v>
                </c:pt>
                <c:pt idx="8859">
                  <c:v>0</c:v>
                </c:pt>
                <c:pt idx="8860">
                  <c:v>0</c:v>
                </c:pt>
                <c:pt idx="8861">
                  <c:v>0</c:v>
                </c:pt>
                <c:pt idx="8862">
                  <c:v>0</c:v>
                </c:pt>
                <c:pt idx="8863">
                  <c:v>0</c:v>
                </c:pt>
                <c:pt idx="8864">
                  <c:v>0</c:v>
                </c:pt>
                <c:pt idx="8865">
                  <c:v>0</c:v>
                </c:pt>
                <c:pt idx="8866">
                  <c:v>0</c:v>
                </c:pt>
                <c:pt idx="8867">
                  <c:v>0</c:v>
                </c:pt>
                <c:pt idx="8868">
                  <c:v>0</c:v>
                </c:pt>
                <c:pt idx="8869">
                  <c:v>0</c:v>
                </c:pt>
                <c:pt idx="8870">
                  <c:v>0</c:v>
                </c:pt>
                <c:pt idx="8871">
                  <c:v>0</c:v>
                </c:pt>
                <c:pt idx="8872">
                  <c:v>0</c:v>
                </c:pt>
                <c:pt idx="8873">
                  <c:v>0</c:v>
                </c:pt>
                <c:pt idx="8874">
                  <c:v>0</c:v>
                </c:pt>
                <c:pt idx="8875">
                  <c:v>0</c:v>
                </c:pt>
                <c:pt idx="8876">
                  <c:v>0</c:v>
                </c:pt>
                <c:pt idx="8877">
                  <c:v>0</c:v>
                </c:pt>
                <c:pt idx="8878">
                  <c:v>0</c:v>
                </c:pt>
                <c:pt idx="8879">
                  <c:v>0</c:v>
                </c:pt>
                <c:pt idx="8880">
                  <c:v>0</c:v>
                </c:pt>
                <c:pt idx="8881">
                  <c:v>0</c:v>
                </c:pt>
                <c:pt idx="8882">
                  <c:v>0</c:v>
                </c:pt>
                <c:pt idx="8883">
                  <c:v>0</c:v>
                </c:pt>
                <c:pt idx="8884">
                  <c:v>0</c:v>
                </c:pt>
                <c:pt idx="8885">
                  <c:v>0</c:v>
                </c:pt>
                <c:pt idx="8886">
                  <c:v>0</c:v>
                </c:pt>
                <c:pt idx="8887">
                  <c:v>0</c:v>
                </c:pt>
                <c:pt idx="8888">
                  <c:v>0</c:v>
                </c:pt>
                <c:pt idx="8889">
                  <c:v>0</c:v>
                </c:pt>
                <c:pt idx="8890">
                  <c:v>0</c:v>
                </c:pt>
                <c:pt idx="8891">
                  <c:v>0</c:v>
                </c:pt>
                <c:pt idx="8892">
                  <c:v>0</c:v>
                </c:pt>
                <c:pt idx="8893">
                  <c:v>0</c:v>
                </c:pt>
                <c:pt idx="8894">
                  <c:v>0</c:v>
                </c:pt>
                <c:pt idx="8895">
                  <c:v>0</c:v>
                </c:pt>
                <c:pt idx="8896">
                  <c:v>0</c:v>
                </c:pt>
                <c:pt idx="8897">
                  <c:v>0</c:v>
                </c:pt>
                <c:pt idx="8898">
                  <c:v>0</c:v>
                </c:pt>
                <c:pt idx="8899">
                  <c:v>0</c:v>
                </c:pt>
                <c:pt idx="8900">
                  <c:v>0</c:v>
                </c:pt>
                <c:pt idx="8901">
                  <c:v>0</c:v>
                </c:pt>
                <c:pt idx="8902">
                  <c:v>0</c:v>
                </c:pt>
                <c:pt idx="8903">
                  <c:v>0</c:v>
                </c:pt>
                <c:pt idx="8904">
                  <c:v>0</c:v>
                </c:pt>
                <c:pt idx="8905">
                  <c:v>0</c:v>
                </c:pt>
                <c:pt idx="8906">
                  <c:v>0</c:v>
                </c:pt>
                <c:pt idx="8907">
                  <c:v>0</c:v>
                </c:pt>
                <c:pt idx="8908">
                  <c:v>0</c:v>
                </c:pt>
                <c:pt idx="8909">
                  <c:v>0</c:v>
                </c:pt>
                <c:pt idx="8910">
                  <c:v>0</c:v>
                </c:pt>
                <c:pt idx="8911">
                  <c:v>0</c:v>
                </c:pt>
                <c:pt idx="8912">
                  <c:v>0</c:v>
                </c:pt>
                <c:pt idx="8913">
                  <c:v>0</c:v>
                </c:pt>
                <c:pt idx="8914">
                  <c:v>0</c:v>
                </c:pt>
                <c:pt idx="8915">
                  <c:v>0</c:v>
                </c:pt>
                <c:pt idx="8916">
                  <c:v>0</c:v>
                </c:pt>
                <c:pt idx="8917">
                  <c:v>0</c:v>
                </c:pt>
                <c:pt idx="8918">
                  <c:v>0</c:v>
                </c:pt>
                <c:pt idx="8919">
                  <c:v>0</c:v>
                </c:pt>
                <c:pt idx="8920">
                  <c:v>0</c:v>
                </c:pt>
                <c:pt idx="8921">
                  <c:v>0</c:v>
                </c:pt>
                <c:pt idx="8922">
                  <c:v>0</c:v>
                </c:pt>
                <c:pt idx="8923">
                  <c:v>0</c:v>
                </c:pt>
                <c:pt idx="8924">
                  <c:v>0</c:v>
                </c:pt>
                <c:pt idx="8925">
                  <c:v>0</c:v>
                </c:pt>
                <c:pt idx="8926">
                  <c:v>0</c:v>
                </c:pt>
                <c:pt idx="8927">
                  <c:v>0</c:v>
                </c:pt>
                <c:pt idx="8928">
                  <c:v>0</c:v>
                </c:pt>
                <c:pt idx="8929">
                  <c:v>0</c:v>
                </c:pt>
                <c:pt idx="8930">
                  <c:v>0</c:v>
                </c:pt>
                <c:pt idx="8931">
                  <c:v>0</c:v>
                </c:pt>
                <c:pt idx="8932">
                  <c:v>0</c:v>
                </c:pt>
                <c:pt idx="8933">
                  <c:v>0</c:v>
                </c:pt>
                <c:pt idx="8934">
                  <c:v>0</c:v>
                </c:pt>
                <c:pt idx="8935">
                  <c:v>0</c:v>
                </c:pt>
                <c:pt idx="8936">
                  <c:v>0</c:v>
                </c:pt>
                <c:pt idx="8937">
                  <c:v>0</c:v>
                </c:pt>
                <c:pt idx="8938">
                  <c:v>0</c:v>
                </c:pt>
                <c:pt idx="8939">
                  <c:v>0</c:v>
                </c:pt>
                <c:pt idx="8940">
                  <c:v>0</c:v>
                </c:pt>
                <c:pt idx="8941">
                  <c:v>0</c:v>
                </c:pt>
                <c:pt idx="8942">
                  <c:v>0</c:v>
                </c:pt>
                <c:pt idx="8943">
                  <c:v>0</c:v>
                </c:pt>
                <c:pt idx="8944">
                  <c:v>0</c:v>
                </c:pt>
                <c:pt idx="8945">
                  <c:v>0</c:v>
                </c:pt>
                <c:pt idx="8946">
                  <c:v>0</c:v>
                </c:pt>
                <c:pt idx="8947">
                  <c:v>0</c:v>
                </c:pt>
                <c:pt idx="8948">
                  <c:v>0</c:v>
                </c:pt>
                <c:pt idx="8949">
                  <c:v>0</c:v>
                </c:pt>
                <c:pt idx="8950">
                  <c:v>0</c:v>
                </c:pt>
                <c:pt idx="8951">
                  <c:v>0</c:v>
                </c:pt>
                <c:pt idx="8952">
                  <c:v>0</c:v>
                </c:pt>
                <c:pt idx="8953">
                  <c:v>0</c:v>
                </c:pt>
                <c:pt idx="8954">
                  <c:v>0</c:v>
                </c:pt>
                <c:pt idx="8955">
                  <c:v>0</c:v>
                </c:pt>
                <c:pt idx="8956">
                  <c:v>0</c:v>
                </c:pt>
                <c:pt idx="8957">
                  <c:v>0</c:v>
                </c:pt>
                <c:pt idx="8958">
                  <c:v>0</c:v>
                </c:pt>
                <c:pt idx="8959">
                  <c:v>0</c:v>
                </c:pt>
                <c:pt idx="8960">
                  <c:v>0</c:v>
                </c:pt>
                <c:pt idx="8961">
                  <c:v>0</c:v>
                </c:pt>
                <c:pt idx="8962">
                  <c:v>0</c:v>
                </c:pt>
                <c:pt idx="8963">
                  <c:v>0</c:v>
                </c:pt>
                <c:pt idx="8964">
                  <c:v>0</c:v>
                </c:pt>
                <c:pt idx="8965">
                  <c:v>0</c:v>
                </c:pt>
                <c:pt idx="8966">
                  <c:v>0</c:v>
                </c:pt>
                <c:pt idx="8967">
                  <c:v>0</c:v>
                </c:pt>
                <c:pt idx="8968">
                  <c:v>0</c:v>
                </c:pt>
                <c:pt idx="8969">
                  <c:v>0</c:v>
                </c:pt>
                <c:pt idx="8970">
                  <c:v>0</c:v>
                </c:pt>
                <c:pt idx="8971">
                  <c:v>0</c:v>
                </c:pt>
                <c:pt idx="8972">
                  <c:v>0</c:v>
                </c:pt>
                <c:pt idx="8973">
                  <c:v>0</c:v>
                </c:pt>
                <c:pt idx="8974">
                  <c:v>0</c:v>
                </c:pt>
                <c:pt idx="8975">
                  <c:v>0</c:v>
                </c:pt>
                <c:pt idx="8976">
                  <c:v>0</c:v>
                </c:pt>
                <c:pt idx="8977">
                  <c:v>0</c:v>
                </c:pt>
                <c:pt idx="8978">
                  <c:v>0</c:v>
                </c:pt>
                <c:pt idx="8979">
                  <c:v>0</c:v>
                </c:pt>
                <c:pt idx="8980">
                  <c:v>0</c:v>
                </c:pt>
                <c:pt idx="8981">
                  <c:v>0</c:v>
                </c:pt>
                <c:pt idx="8982">
                  <c:v>0</c:v>
                </c:pt>
                <c:pt idx="8983">
                  <c:v>0</c:v>
                </c:pt>
                <c:pt idx="8984">
                  <c:v>0</c:v>
                </c:pt>
                <c:pt idx="8985">
                  <c:v>0</c:v>
                </c:pt>
                <c:pt idx="8986">
                  <c:v>0</c:v>
                </c:pt>
                <c:pt idx="8987">
                  <c:v>0</c:v>
                </c:pt>
                <c:pt idx="8988">
                  <c:v>0</c:v>
                </c:pt>
                <c:pt idx="8989">
                  <c:v>0</c:v>
                </c:pt>
                <c:pt idx="8990">
                  <c:v>0</c:v>
                </c:pt>
                <c:pt idx="8991">
                  <c:v>0</c:v>
                </c:pt>
                <c:pt idx="8992">
                  <c:v>0</c:v>
                </c:pt>
                <c:pt idx="8993">
                  <c:v>0</c:v>
                </c:pt>
                <c:pt idx="8994">
                  <c:v>0</c:v>
                </c:pt>
                <c:pt idx="8995">
                  <c:v>0</c:v>
                </c:pt>
                <c:pt idx="8996">
                  <c:v>0</c:v>
                </c:pt>
                <c:pt idx="8997">
                  <c:v>0</c:v>
                </c:pt>
                <c:pt idx="8998">
                  <c:v>0</c:v>
                </c:pt>
                <c:pt idx="8999">
                  <c:v>0</c:v>
                </c:pt>
                <c:pt idx="9000">
                  <c:v>0</c:v>
                </c:pt>
                <c:pt idx="9001">
                  <c:v>0</c:v>
                </c:pt>
                <c:pt idx="9002">
                  <c:v>0</c:v>
                </c:pt>
                <c:pt idx="9003">
                  <c:v>0</c:v>
                </c:pt>
                <c:pt idx="9004">
                  <c:v>0</c:v>
                </c:pt>
                <c:pt idx="9005">
                  <c:v>0</c:v>
                </c:pt>
                <c:pt idx="9006">
                  <c:v>0</c:v>
                </c:pt>
                <c:pt idx="9007">
                  <c:v>0</c:v>
                </c:pt>
                <c:pt idx="9008">
                  <c:v>0</c:v>
                </c:pt>
                <c:pt idx="9009">
                  <c:v>0</c:v>
                </c:pt>
                <c:pt idx="9010">
                  <c:v>0</c:v>
                </c:pt>
                <c:pt idx="9011">
                  <c:v>0</c:v>
                </c:pt>
                <c:pt idx="9012">
                  <c:v>0</c:v>
                </c:pt>
                <c:pt idx="9013">
                  <c:v>0</c:v>
                </c:pt>
                <c:pt idx="9014">
                  <c:v>0</c:v>
                </c:pt>
                <c:pt idx="9015">
                  <c:v>0</c:v>
                </c:pt>
                <c:pt idx="9016">
                  <c:v>0</c:v>
                </c:pt>
                <c:pt idx="9017">
                  <c:v>0</c:v>
                </c:pt>
                <c:pt idx="9018">
                  <c:v>0</c:v>
                </c:pt>
                <c:pt idx="9019">
                  <c:v>0</c:v>
                </c:pt>
                <c:pt idx="9020">
                  <c:v>0</c:v>
                </c:pt>
                <c:pt idx="9021">
                  <c:v>0</c:v>
                </c:pt>
                <c:pt idx="9022">
                  <c:v>0</c:v>
                </c:pt>
                <c:pt idx="9023">
                  <c:v>0</c:v>
                </c:pt>
                <c:pt idx="9024">
                  <c:v>0</c:v>
                </c:pt>
                <c:pt idx="9025">
                  <c:v>0</c:v>
                </c:pt>
                <c:pt idx="9026">
                  <c:v>0</c:v>
                </c:pt>
                <c:pt idx="9027">
                  <c:v>0</c:v>
                </c:pt>
                <c:pt idx="9028">
                  <c:v>0</c:v>
                </c:pt>
                <c:pt idx="9029">
                  <c:v>0</c:v>
                </c:pt>
                <c:pt idx="9030">
                  <c:v>0</c:v>
                </c:pt>
                <c:pt idx="9031">
                  <c:v>0</c:v>
                </c:pt>
                <c:pt idx="9032">
                  <c:v>0</c:v>
                </c:pt>
                <c:pt idx="9033">
                  <c:v>0</c:v>
                </c:pt>
                <c:pt idx="9034">
                  <c:v>0</c:v>
                </c:pt>
                <c:pt idx="9035">
                  <c:v>0</c:v>
                </c:pt>
                <c:pt idx="9036">
                  <c:v>0</c:v>
                </c:pt>
                <c:pt idx="9037">
                  <c:v>0</c:v>
                </c:pt>
                <c:pt idx="9038">
                  <c:v>0</c:v>
                </c:pt>
                <c:pt idx="9039">
                  <c:v>0</c:v>
                </c:pt>
                <c:pt idx="9040">
                  <c:v>0</c:v>
                </c:pt>
                <c:pt idx="9041">
                  <c:v>0</c:v>
                </c:pt>
                <c:pt idx="9042">
                  <c:v>0</c:v>
                </c:pt>
                <c:pt idx="9043">
                  <c:v>0</c:v>
                </c:pt>
                <c:pt idx="9044">
                  <c:v>0</c:v>
                </c:pt>
                <c:pt idx="9045">
                  <c:v>0</c:v>
                </c:pt>
                <c:pt idx="9046">
                  <c:v>0</c:v>
                </c:pt>
                <c:pt idx="9047">
                  <c:v>0</c:v>
                </c:pt>
                <c:pt idx="9048">
                  <c:v>0</c:v>
                </c:pt>
                <c:pt idx="9049">
                  <c:v>0</c:v>
                </c:pt>
                <c:pt idx="9050">
                  <c:v>0</c:v>
                </c:pt>
                <c:pt idx="9051">
                  <c:v>0</c:v>
                </c:pt>
                <c:pt idx="9052">
                  <c:v>0</c:v>
                </c:pt>
                <c:pt idx="9053">
                  <c:v>0</c:v>
                </c:pt>
                <c:pt idx="9054">
                  <c:v>0</c:v>
                </c:pt>
                <c:pt idx="9055">
                  <c:v>0</c:v>
                </c:pt>
                <c:pt idx="9056">
                  <c:v>0</c:v>
                </c:pt>
                <c:pt idx="9057">
                  <c:v>0</c:v>
                </c:pt>
                <c:pt idx="9058">
                  <c:v>0</c:v>
                </c:pt>
                <c:pt idx="9059">
                  <c:v>0</c:v>
                </c:pt>
                <c:pt idx="9060">
                  <c:v>0</c:v>
                </c:pt>
                <c:pt idx="9061">
                  <c:v>0</c:v>
                </c:pt>
                <c:pt idx="9062">
                  <c:v>0</c:v>
                </c:pt>
                <c:pt idx="9063">
                  <c:v>0</c:v>
                </c:pt>
                <c:pt idx="9064">
                  <c:v>0</c:v>
                </c:pt>
                <c:pt idx="9065">
                  <c:v>0</c:v>
                </c:pt>
                <c:pt idx="9066">
                  <c:v>0</c:v>
                </c:pt>
                <c:pt idx="9067">
                  <c:v>0</c:v>
                </c:pt>
                <c:pt idx="9068">
                  <c:v>0</c:v>
                </c:pt>
                <c:pt idx="9069">
                  <c:v>0</c:v>
                </c:pt>
                <c:pt idx="9070">
                  <c:v>0</c:v>
                </c:pt>
                <c:pt idx="9071">
                  <c:v>0</c:v>
                </c:pt>
                <c:pt idx="9072">
                  <c:v>0</c:v>
                </c:pt>
                <c:pt idx="9073">
                  <c:v>0</c:v>
                </c:pt>
                <c:pt idx="9074">
                  <c:v>0</c:v>
                </c:pt>
                <c:pt idx="9075">
                  <c:v>0</c:v>
                </c:pt>
                <c:pt idx="9076">
                  <c:v>0</c:v>
                </c:pt>
                <c:pt idx="9077">
                  <c:v>0</c:v>
                </c:pt>
                <c:pt idx="9078">
                  <c:v>0</c:v>
                </c:pt>
                <c:pt idx="9079">
                  <c:v>0</c:v>
                </c:pt>
                <c:pt idx="9080">
                  <c:v>0</c:v>
                </c:pt>
                <c:pt idx="9081">
                  <c:v>0</c:v>
                </c:pt>
                <c:pt idx="9082">
                  <c:v>0</c:v>
                </c:pt>
                <c:pt idx="9083">
                  <c:v>0</c:v>
                </c:pt>
                <c:pt idx="9084">
                  <c:v>0</c:v>
                </c:pt>
                <c:pt idx="9085">
                  <c:v>0</c:v>
                </c:pt>
                <c:pt idx="9086">
                  <c:v>0</c:v>
                </c:pt>
                <c:pt idx="9087">
                  <c:v>0</c:v>
                </c:pt>
                <c:pt idx="9088">
                  <c:v>0</c:v>
                </c:pt>
                <c:pt idx="9089">
                  <c:v>0</c:v>
                </c:pt>
                <c:pt idx="9090">
                  <c:v>0</c:v>
                </c:pt>
                <c:pt idx="9091">
                  <c:v>0</c:v>
                </c:pt>
                <c:pt idx="9092">
                  <c:v>0</c:v>
                </c:pt>
                <c:pt idx="9093">
                  <c:v>0</c:v>
                </c:pt>
                <c:pt idx="9094">
                  <c:v>0</c:v>
                </c:pt>
                <c:pt idx="9095">
                  <c:v>0</c:v>
                </c:pt>
                <c:pt idx="9096">
                  <c:v>0</c:v>
                </c:pt>
                <c:pt idx="9097">
                  <c:v>0</c:v>
                </c:pt>
                <c:pt idx="9098">
                  <c:v>0</c:v>
                </c:pt>
                <c:pt idx="9099">
                  <c:v>0</c:v>
                </c:pt>
                <c:pt idx="9100">
                  <c:v>0</c:v>
                </c:pt>
                <c:pt idx="9101">
                  <c:v>0</c:v>
                </c:pt>
                <c:pt idx="9102">
                  <c:v>0</c:v>
                </c:pt>
                <c:pt idx="9103">
                  <c:v>0</c:v>
                </c:pt>
                <c:pt idx="9104">
                  <c:v>0</c:v>
                </c:pt>
                <c:pt idx="9105">
                  <c:v>0</c:v>
                </c:pt>
                <c:pt idx="9106">
                  <c:v>0</c:v>
                </c:pt>
                <c:pt idx="9107">
                  <c:v>0</c:v>
                </c:pt>
                <c:pt idx="9108">
                  <c:v>0</c:v>
                </c:pt>
                <c:pt idx="9109">
                  <c:v>0</c:v>
                </c:pt>
                <c:pt idx="9110">
                  <c:v>0</c:v>
                </c:pt>
                <c:pt idx="9111">
                  <c:v>0</c:v>
                </c:pt>
                <c:pt idx="9112">
                  <c:v>0</c:v>
                </c:pt>
                <c:pt idx="9113">
                  <c:v>0</c:v>
                </c:pt>
                <c:pt idx="9114">
                  <c:v>0</c:v>
                </c:pt>
                <c:pt idx="9115">
                  <c:v>0</c:v>
                </c:pt>
                <c:pt idx="9116">
                  <c:v>0</c:v>
                </c:pt>
                <c:pt idx="9117">
                  <c:v>0</c:v>
                </c:pt>
                <c:pt idx="9118">
                  <c:v>0</c:v>
                </c:pt>
                <c:pt idx="9119">
                  <c:v>0</c:v>
                </c:pt>
                <c:pt idx="9120">
                  <c:v>0</c:v>
                </c:pt>
                <c:pt idx="9121">
                  <c:v>0</c:v>
                </c:pt>
                <c:pt idx="9122">
                  <c:v>0</c:v>
                </c:pt>
                <c:pt idx="9123">
                  <c:v>0</c:v>
                </c:pt>
                <c:pt idx="9124">
                  <c:v>0</c:v>
                </c:pt>
                <c:pt idx="9125">
                  <c:v>0</c:v>
                </c:pt>
                <c:pt idx="9126">
                  <c:v>0</c:v>
                </c:pt>
                <c:pt idx="9127">
                  <c:v>0</c:v>
                </c:pt>
                <c:pt idx="9128">
                  <c:v>0</c:v>
                </c:pt>
                <c:pt idx="9129">
                  <c:v>0</c:v>
                </c:pt>
                <c:pt idx="9130">
                  <c:v>0</c:v>
                </c:pt>
                <c:pt idx="9131">
                  <c:v>0</c:v>
                </c:pt>
                <c:pt idx="9132">
                  <c:v>0</c:v>
                </c:pt>
                <c:pt idx="9133">
                  <c:v>0</c:v>
                </c:pt>
                <c:pt idx="9134">
                  <c:v>0</c:v>
                </c:pt>
                <c:pt idx="9135">
                  <c:v>0</c:v>
                </c:pt>
                <c:pt idx="9136">
                  <c:v>0</c:v>
                </c:pt>
                <c:pt idx="9137">
                  <c:v>0</c:v>
                </c:pt>
                <c:pt idx="9138">
                  <c:v>0</c:v>
                </c:pt>
                <c:pt idx="9139">
                  <c:v>0</c:v>
                </c:pt>
                <c:pt idx="9140">
                  <c:v>0</c:v>
                </c:pt>
                <c:pt idx="9141">
                  <c:v>0</c:v>
                </c:pt>
                <c:pt idx="9142">
                  <c:v>0</c:v>
                </c:pt>
                <c:pt idx="9143">
                  <c:v>0</c:v>
                </c:pt>
                <c:pt idx="9144">
                  <c:v>0</c:v>
                </c:pt>
                <c:pt idx="9145">
                  <c:v>0</c:v>
                </c:pt>
                <c:pt idx="9146">
                  <c:v>0</c:v>
                </c:pt>
                <c:pt idx="9147">
                  <c:v>0</c:v>
                </c:pt>
                <c:pt idx="9148">
                  <c:v>0</c:v>
                </c:pt>
                <c:pt idx="9149">
                  <c:v>0</c:v>
                </c:pt>
                <c:pt idx="9150">
                  <c:v>0</c:v>
                </c:pt>
                <c:pt idx="9151">
                  <c:v>0</c:v>
                </c:pt>
                <c:pt idx="9152">
                  <c:v>0</c:v>
                </c:pt>
                <c:pt idx="9153">
                  <c:v>0</c:v>
                </c:pt>
                <c:pt idx="9154">
                  <c:v>0</c:v>
                </c:pt>
                <c:pt idx="9155">
                  <c:v>0</c:v>
                </c:pt>
                <c:pt idx="9156">
                  <c:v>0</c:v>
                </c:pt>
                <c:pt idx="9157">
                  <c:v>0</c:v>
                </c:pt>
                <c:pt idx="9158">
                  <c:v>0</c:v>
                </c:pt>
                <c:pt idx="9159">
                  <c:v>0</c:v>
                </c:pt>
                <c:pt idx="9160">
                  <c:v>0</c:v>
                </c:pt>
                <c:pt idx="9161">
                  <c:v>0</c:v>
                </c:pt>
                <c:pt idx="9162">
                  <c:v>0</c:v>
                </c:pt>
                <c:pt idx="9163">
                  <c:v>0</c:v>
                </c:pt>
                <c:pt idx="9164">
                  <c:v>0</c:v>
                </c:pt>
                <c:pt idx="9165">
                  <c:v>0</c:v>
                </c:pt>
                <c:pt idx="9166">
                  <c:v>0</c:v>
                </c:pt>
                <c:pt idx="9167">
                  <c:v>0</c:v>
                </c:pt>
                <c:pt idx="9168">
                  <c:v>0</c:v>
                </c:pt>
                <c:pt idx="9169">
                  <c:v>0</c:v>
                </c:pt>
                <c:pt idx="9170">
                  <c:v>0</c:v>
                </c:pt>
                <c:pt idx="9171">
                  <c:v>0</c:v>
                </c:pt>
                <c:pt idx="9172">
                  <c:v>0</c:v>
                </c:pt>
                <c:pt idx="9173">
                  <c:v>0</c:v>
                </c:pt>
                <c:pt idx="9174">
                  <c:v>0</c:v>
                </c:pt>
                <c:pt idx="9175">
                  <c:v>0</c:v>
                </c:pt>
                <c:pt idx="9176">
                  <c:v>0</c:v>
                </c:pt>
                <c:pt idx="9177">
                  <c:v>0</c:v>
                </c:pt>
                <c:pt idx="9178">
                  <c:v>0</c:v>
                </c:pt>
                <c:pt idx="9179">
                  <c:v>0</c:v>
                </c:pt>
                <c:pt idx="9180">
                  <c:v>0</c:v>
                </c:pt>
                <c:pt idx="9181">
                  <c:v>0</c:v>
                </c:pt>
                <c:pt idx="9182">
                  <c:v>0</c:v>
                </c:pt>
                <c:pt idx="9183">
                  <c:v>0</c:v>
                </c:pt>
                <c:pt idx="9184">
                  <c:v>0</c:v>
                </c:pt>
                <c:pt idx="9185">
                  <c:v>0</c:v>
                </c:pt>
                <c:pt idx="9186">
                  <c:v>0</c:v>
                </c:pt>
                <c:pt idx="9187">
                  <c:v>0</c:v>
                </c:pt>
                <c:pt idx="9188">
                  <c:v>0</c:v>
                </c:pt>
                <c:pt idx="9189">
                  <c:v>0</c:v>
                </c:pt>
                <c:pt idx="9190">
                  <c:v>0</c:v>
                </c:pt>
                <c:pt idx="9191">
                  <c:v>0</c:v>
                </c:pt>
                <c:pt idx="9192">
                  <c:v>0</c:v>
                </c:pt>
                <c:pt idx="9193">
                  <c:v>0</c:v>
                </c:pt>
                <c:pt idx="9194">
                  <c:v>0</c:v>
                </c:pt>
                <c:pt idx="9195">
                  <c:v>0</c:v>
                </c:pt>
                <c:pt idx="9196">
                  <c:v>0</c:v>
                </c:pt>
                <c:pt idx="9197">
                  <c:v>0</c:v>
                </c:pt>
                <c:pt idx="9198">
                  <c:v>0</c:v>
                </c:pt>
                <c:pt idx="9199">
                  <c:v>0</c:v>
                </c:pt>
                <c:pt idx="9200">
                  <c:v>0</c:v>
                </c:pt>
                <c:pt idx="9201">
                  <c:v>0</c:v>
                </c:pt>
                <c:pt idx="9202">
                  <c:v>0</c:v>
                </c:pt>
                <c:pt idx="9203">
                  <c:v>0</c:v>
                </c:pt>
                <c:pt idx="9204">
                  <c:v>0</c:v>
                </c:pt>
                <c:pt idx="9205">
                  <c:v>0</c:v>
                </c:pt>
                <c:pt idx="9206">
                  <c:v>0</c:v>
                </c:pt>
                <c:pt idx="9207">
                  <c:v>0</c:v>
                </c:pt>
                <c:pt idx="9208">
                  <c:v>0</c:v>
                </c:pt>
                <c:pt idx="9209">
                  <c:v>0</c:v>
                </c:pt>
                <c:pt idx="9210">
                  <c:v>0</c:v>
                </c:pt>
                <c:pt idx="9211">
                  <c:v>0</c:v>
                </c:pt>
                <c:pt idx="9212">
                  <c:v>0</c:v>
                </c:pt>
                <c:pt idx="9213">
                  <c:v>0</c:v>
                </c:pt>
                <c:pt idx="9214">
                  <c:v>0</c:v>
                </c:pt>
                <c:pt idx="9215">
                  <c:v>0</c:v>
                </c:pt>
                <c:pt idx="9216">
                  <c:v>0</c:v>
                </c:pt>
                <c:pt idx="9217">
                  <c:v>0</c:v>
                </c:pt>
                <c:pt idx="9218">
                  <c:v>0</c:v>
                </c:pt>
                <c:pt idx="9219">
                  <c:v>0</c:v>
                </c:pt>
                <c:pt idx="9220">
                  <c:v>0</c:v>
                </c:pt>
                <c:pt idx="9221">
                  <c:v>0</c:v>
                </c:pt>
                <c:pt idx="9222">
                  <c:v>0</c:v>
                </c:pt>
                <c:pt idx="9223">
                  <c:v>0</c:v>
                </c:pt>
                <c:pt idx="9224">
                  <c:v>0</c:v>
                </c:pt>
                <c:pt idx="9225">
                  <c:v>0</c:v>
                </c:pt>
                <c:pt idx="9226">
                  <c:v>0</c:v>
                </c:pt>
                <c:pt idx="9227">
                  <c:v>0</c:v>
                </c:pt>
                <c:pt idx="9228">
                  <c:v>0</c:v>
                </c:pt>
                <c:pt idx="9229">
                  <c:v>0</c:v>
                </c:pt>
                <c:pt idx="9230">
                  <c:v>0</c:v>
                </c:pt>
                <c:pt idx="9231">
                  <c:v>0</c:v>
                </c:pt>
                <c:pt idx="9232">
                  <c:v>0</c:v>
                </c:pt>
                <c:pt idx="9233">
                  <c:v>0</c:v>
                </c:pt>
                <c:pt idx="9234">
                  <c:v>0</c:v>
                </c:pt>
                <c:pt idx="9235">
                  <c:v>0</c:v>
                </c:pt>
                <c:pt idx="9236">
                  <c:v>0</c:v>
                </c:pt>
                <c:pt idx="9237">
                  <c:v>0</c:v>
                </c:pt>
                <c:pt idx="9238">
                  <c:v>0</c:v>
                </c:pt>
                <c:pt idx="9239">
                  <c:v>0</c:v>
                </c:pt>
                <c:pt idx="9240">
                  <c:v>0</c:v>
                </c:pt>
                <c:pt idx="9241">
                  <c:v>0</c:v>
                </c:pt>
                <c:pt idx="9242">
                  <c:v>0</c:v>
                </c:pt>
                <c:pt idx="9243">
                  <c:v>0</c:v>
                </c:pt>
                <c:pt idx="9244">
                  <c:v>0</c:v>
                </c:pt>
                <c:pt idx="9245">
                  <c:v>0</c:v>
                </c:pt>
                <c:pt idx="9246">
                  <c:v>0</c:v>
                </c:pt>
                <c:pt idx="9247">
                  <c:v>0</c:v>
                </c:pt>
                <c:pt idx="9248">
                  <c:v>0</c:v>
                </c:pt>
                <c:pt idx="9249">
                  <c:v>0</c:v>
                </c:pt>
                <c:pt idx="9250">
                  <c:v>0</c:v>
                </c:pt>
                <c:pt idx="9251">
                  <c:v>0</c:v>
                </c:pt>
                <c:pt idx="9252">
                  <c:v>0</c:v>
                </c:pt>
                <c:pt idx="9253">
                  <c:v>0</c:v>
                </c:pt>
                <c:pt idx="9254">
                  <c:v>0</c:v>
                </c:pt>
                <c:pt idx="9255">
                  <c:v>0</c:v>
                </c:pt>
                <c:pt idx="9256">
                  <c:v>0</c:v>
                </c:pt>
                <c:pt idx="9257">
                  <c:v>0</c:v>
                </c:pt>
                <c:pt idx="9258">
                  <c:v>0</c:v>
                </c:pt>
                <c:pt idx="9259">
                  <c:v>0</c:v>
                </c:pt>
                <c:pt idx="9260">
                  <c:v>0</c:v>
                </c:pt>
                <c:pt idx="9261">
                  <c:v>0</c:v>
                </c:pt>
                <c:pt idx="9262">
                  <c:v>0</c:v>
                </c:pt>
                <c:pt idx="9263">
                  <c:v>0</c:v>
                </c:pt>
                <c:pt idx="9264">
                  <c:v>0</c:v>
                </c:pt>
                <c:pt idx="9265">
                  <c:v>0</c:v>
                </c:pt>
                <c:pt idx="9266">
                  <c:v>0</c:v>
                </c:pt>
                <c:pt idx="9267">
                  <c:v>0</c:v>
                </c:pt>
                <c:pt idx="9268">
                  <c:v>0</c:v>
                </c:pt>
                <c:pt idx="9269">
                  <c:v>0</c:v>
                </c:pt>
                <c:pt idx="9270">
                  <c:v>0</c:v>
                </c:pt>
                <c:pt idx="9271">
                  <c:v>0</c:v>
                </c:pt>
                <c:pt idx="9272">
                  <c:v>0</c:v>
                </c:pt>
                <c:pt idx="9273">
                  <c:v>0</c:v>
                </c:pt>
                <c:pt idx="9274">
                  <c:v>0</c:v>
                </c:pt>
                <c:pt idx="9275">
                  <c:v>0</c:v>
                </c:pt>
                <c:pt idx="9276">
                  <c:v>0</c:v>
                </c:pt>
                <c:pt idx="9277">
                  <c:v>0</c:v>
                </c:pt>
                <c:pt idx="9278">
                  <c:v>0</c:v>
                </c:pt>
                <c:pt idx="9279">
                  <c:v>0</c:v>
                </c:pt>
                <c:pt idx="9280">
                  <c:v>0</c:v>
                </c:pt>
                <c:pt idx="9281">
                  <c:v>0</c:v>
                </c:pt>
                <c:pt idx="9282">
                  <c:v>0</c:v>
                </c:pt>
                <c:pt idx="9283">
                  <c:v>0</c:v>
                </c:pt>
                <c:pt idx="9284">
                  <c:v>0</c:v>
                </c:pt>
                <c:pt idx="9285">
                  <c:v>0</c:v>
                </c:pt>
                <c:pt idx="9286">
                  <c:v>0</c:v>
                </c:pt>
                <c:pt idx="9287">
                  <c:v>0</c:v>
                </c:pt>
                <c:pt idx="9288">
                  <c:v>0</c:v>
                </c:pt>
                <c:pt idx="9289">
                  <c:v>0</c:v>
                </c:pt>
                <c:pt idx="9290">
                  <c:v>0</c:v>
                </c:pt>
                <c:pt idx="9291">
                  <c:v>0</c:v>
                </c:pt>
                <c:pt idx="9292">
                  <c:v>0</c:v>
                </c:pt>
                <c:pt idx="9293">
                  <c:v>0</c:v>
                </c:pt>
                <c:pt idx="9294">
                  <c:v>0</c:v>
                </c:pt>
                <c:pt idx="9295">
                  <c:v>0</c:v>
                </c:pt>
                <c:pt idx="9296">
                  <c:v>0</c:v>
                </c:pt>
                <c:pt idx="9297">
                  <c:v>0</c:v>
                </c:pt>
                <c:pt idx="9298">
                  <c:v>0</c:v>
                </c:pt>
                <c:pt idx="9299">
                  <c:v>0</c:v>
                </c:pt>
                <c:pt idx="9300">
                  <c:v>0</c:v>
                </c:pt>
                <c:pt idx="9301">
                  <c:v>0</c:v>
                </c:pt>
                <c:pt idx="9302">
                  <c:v>0</c:v>
                </c:pt>
                <c:pt idx="9303">
                  <c:v>0</c:v>
                </c:pt>
                <c:pt idx="9304">
                  <c:v>0</c:v>
                </c:pt>
                <c:pt idx="9305">
                  <c:v>0</c:v>
                </c:pt>
                <c:pt idx="9306">
                  <c:v>0</c:v>
                </c:pt>
                <c:pt idx="9307">
                  <c:v>0</c:v>
                </c:pt>
                <c:pt idx="9308">
                  <c:v>0</c:v>
                </c:pt>
                <c:pt idx="9309">
                  <c:v>0</c:v>
                </c:pt>
                <c:pt idx="9310">
                  <c:v>0</c:v>
                </c:pt>
                <c:pt idx="9311">
                  <c:v>0</c:v>
                </c:pt>
                <c:pt idx="9312">
                  <c:v>0</c:v>
                </c:pt>
                <c:pt idx="9313">
                  <c:v>0</c:v>
                </c:pt>
                <c:pt idx="9314">
                  <c:v>0</c:v>
                </c:pt>
                <c:pt idx="9315">
                  <c:v>0</c:v>
                </c:pt>
                <c:pt idx="9316">
                  <c:v>0</c:v>
                </c:pt>
                <c:pt idx="9317">
                  <c:v>0</c:v>
                </c:pt>
                <c:pt idx="9318">
                  <c:v>0</c:v>
                </c:pt>
                <c:pt idx="9319">
                  <c:v>0</c:v>
                </c:pt>
                <c:pt idx="9320">
                  <c:v>0</c:v>
                </c:pt>
                <c:pt idx="9321">
                  <c:v>0</c:v>
                </c:pt>
                <c:pt idx="9322">
                  <c:v>0</c:v>
                </c:pt>
                <c:pt idx="9323">
                  <c:v>0</c:v>
                </c:pt>
                <c:pt idx="9324">
                  <c:v>0</c:v>
                </c:pt>
                <c:pt idx="9325">
                  <c:v>0</c:v>
                </c:pt>
                <c:pt idx="9326">
                  <c:v>0</c:v>
                </c:pt>
                <c:pt idx="9327">
                  <c:v>0</c:v>
                </c:pt>
                <c:pt idx="9328">
                  <c:v>0</c:v>
                </c:pt>
                <c:pt idx="9329">
                  <c:v>0</c:v>
                </c:pt>
                <c:pt idx="9330">
                  <c:v>0</c:v>
                </c:pt>
                <c:pt idx="9331">
                  <c:v>0</c:v>
                </c:pt>
                <c:pt idx="9332">
                  <c:v>0</c:v>
                </c:pt>
                <c:pt idx="9333">
                  <c:v>0</c:v>
                </c:pt>
                <c:pt idx="9334">
                  <c:v>0</c:v>
                </c:pt>
                <c:pt idx="9335">
                  <c:v>0</c:v>
                </c:pt>
                <c:pt idx="9336">
                  <c:v>0</c:v>
                </c:pt>
                <c:pt idx="9337">
                  <c:v>0</c:v>
                </c:pt>
                <c:pt idx="9338">
                  <c:v>0</c:v>
                </c:pt>
                <c:pt idx="9339">
                  <c:v>0</c:v>
                </c:pt>
                <c:pt idx="9340">
                  <c:v>0</c:v>
                </c:pt>
                <c:pt idx="9341">
                  <c:v>0</c:v>
                </c:pt>
                <c:pt idx="9342">
                  <c:v>0</c:v>
                </c:pt>
                <c:pt idx="9343">
                  <c:v>0</c:v>
                </c:pt>
                <c:pt idx="9344">
                  <c:v>0</c:v>
                </c:pt>
                <c:pt idx="9345">
                  <c:v>0</c:v>
                </c:pt>
                <c:pt idx="9346">
                  <c:v>0</c:v>
                </c:pt>
                <c:pt idx="9347">
                  <c:v>0</c:v>
                </c:pt>
                <c:pt idx="9348">
                  <c:v>0</c:v>
                </c:pt>
                <c:pt idx="9349">
                  <c:v>0</c:v>
                </c:pt>
                <c:pt idx="9350">
                  <c:v>0</c:v>
                </c:pt>
                <c:pt idx="9351">
                  <c:v>0</c:v>
                </c:pt>
                <c:pt idx="9352">
                  <c:v>0</c:v>
                </c:pt>
                <c:pt idx="9353">
                  <c:v>0</c:v>
                </c:pt>
                <c:pt idx="9354">
                  <c:v>0</c:v>
                </c:pt>
                <c:pt idx="9355">
                  <c:v>0</c:v>
                </c:pt>
                <c:pt idx="9356">
                  <c:v>0</c:v>
                </c:pt>
                <c:pt idx="9357">
                  <c:v>0</c:v>
                </c:pt>
                <c:pt idx="9358">
                  <c:v>0</c:v>
                </c:pt>
                <c:pt idx="9359">
                  <c:v>0</c:v>
                </c:pt>
                <c:pt idx="9360">
                  <c:v>0</c:v>
                </c:pt>
                <c:pt idx="9361">
                  <c:v>0</c:v>
                </c:pt>
                <c:pt idx="9362">
                  <c:v>0</c:v>
                </c:pt>
                <c:pt idx="9363">
                  <c:v>0</c:v>
                </c:pt>
                <c:pt idx="9364">
                  <c:v>0</c:v>
                </c:pt>
                <c:pt idx="9365">
                  <c:v>0</c:v>
                </c:pt>
                <c:pt idx="9366">
                  <c:v>0</c:v>
                </c:pt>
                <c:pt idx="9367">
                  <c:v>0</c:v>
                </c:pt>
                <c:pt idx="9368">
                  <c:v>0</c:v>
                </c:pt>
                <c:pt idx="9369">
                  <c:v>0</c:v>
                </c:pt>
                <c:pt idx="9370">
                  <c:v>0</c:v>
                </c:pt>
                <c:pt idx="9371">
                  <c:v>0</c:v>
                </c:pt>
                <c:pt idx="9372">
                  <c:v>0</c:v>
                </c:pt>
                <c:pt idx="9373">
                  <c:v>0</c:v>
                </c:pt>
                <c:pt idx="9374">
                  <c:v>0</c:v>
                </c:pt>
                <c:pt idx="9375">
                  <c:v>0</c:v>
                </c:pt>
                <c:pt idx="9376">
                  <c:v>0</c:v>
                </c:pt>
                <c:pt idx="9377">
                  <c:v>0</c:v>
                </c:pt>
                <c:pt idx="9378">
                  <c:v>0</c:v>
                </c:pt>
                <c:pt idx="9379">
                  <c:v>0</c:v>
                </c:pt>
                <c:pt idx="9380">
                  <c:v>0</c:v>
                </c:pt>
                <c:pt idx="9381">
                  <c:v>0</c:v>
                </c:pt>
                <c:pt idx="9382">
                  <c:v>0</c:v>
                </c:pt>
                <c:pt idx="9383">
                  <c:v>0</c:v>
                </c:pt>
                <c:pt idx="9384">
                  <c:v>0</c:v>
                </c:pt>
                <c:pt idx="9385">
                  <c:v>0</c:v>
                </c:pt>
                <c:pt idx="9386">
                  <c:v>0</c:v>
                </c:pt>
                <c:pt idx="9387">
                  <c:v>0</c:v>
                </c:pt>
                <c:pt idx="9388">
                  <c:v>0</c:v>
                </c:pt>
                <c:pt idx="9389">
                  <c:v>0</c:v>
                </c:pt>
                <c:pt idx="9390">
                  <c:v>0</c:v>
                </c:pt>
                <c:pt idx="9391">
                  <c:v>0</c:v>
                </c:pt>
                <c:pt idx="9392">
                  <c:v>0</c:v>
                </c:pt>
                <c:pt idx="9393">
                  <c:v>0</c:v>
                </c:pt>
                <c:pt idx="9394">
                  <c:v>0</c:v>
                </c:pt>
                <c:pt idx="9395">
                  <c:v>0</c:v>
                </c:pt>
                <c:pt idx="9396">
                  <c:v>0</c:v>
                </c:pt>
                <c:pt idx="9397">
                  <c:v>0</c:v>
                </c:pt>
                <c:pt idx="9398">
                  <c:v>0</c:v>
                </c:pt>
                <c:pt idx="9399">
                  <c:v>0</c:v>
                </c:pt>
                <c:pt idx="9400">
                  <c:v>0</c:v>
                </c:pt>
                <c:pt idx="9401">
                  <c:v>0</c:v>
                </c:pt>
                <c:pt idx="9402">
                  <c:v>0</c:v>
                </c:pt>
                <c:pt idx="9403">
                  <c:v>0</c:v>
                </c:pt>
                <c:pt idx="9404">
                  <c:v>0</c:v>
                </c:pt>
                <c:pt idx="9405">
                  <c:v>0</c:v>
                </c:pt>
                <c:pt idx="9406">
                  <c:v>0</c:v>
                </c:pt>
                <c:pt idx="9407">
                  <c:v>0</c:v>
                </c:pt>
                <c:pt idx="9408">
                  <c:v>0</c:v>
                </c:pt>
                <c:pt idx="9409">
                  <c:v>0</c:v>
                </c:pt>
                <c:pt idx="9410">
                  <c:v>0</c:v>
                </c:pt>
                <c:pt idx="9411">
                  <c:v>0</c:v>
                </c:pt>
                <c:pt idx="9412">
                  <c:v>0</c:v>
                </c:pt>
                <c:pt idx="9413">
                  <c:v>0</c:v>
                </c:pt>
                <c:pt idx="9414">
                  <c:v>0</c:v>
                </c:pt>
                <c:pt idx="9415">
                  <c:v>0</c:v>
                </c:pt>
                <c:pt idx="9416">
                  <c:v>0</c:v>
                </c:pt>
                <c:pt idx="9417">
                  <c:v>0</c:v>
                </c:pt>
                <c:pt idx="9418">
                  <c:v>0</c:v>
                </c:pt>
                <c:pt idx="9419">
                  <c:v>0</c:v>
                </c:pt>
                <c:pt idx="9420">
                  <c:v>0</c:v>
                </c:pt>
                <c:pt idx="9421">
                  <c:v>0</c:v>
                </c:pt>
                <c:pt idx="9422">
                  <c:v>0</c:v>
                </c:pt>
                <c:pt idx="9423">
                  <c:v>0</c:v>
                </c:pt>
                <c:pt idx="9424">
                  <c:v>0</c:v>
                </c:pt>
                <c:pt idx="9425">
                  <c:v>0</c:v>
                </c:pt>
                <c:pt idx="9426">
                  <c:v>0</c:v>
                </c:pt>
                <c:pt idx="9427">
                  <c:v>0</c:v>
                </c:pt>
                <c:pt idx="9428">
                  <c:v>0</c:v>
                </c:pt>
                <c:pt idx="9429">
                  <c:v>0</c:v>
                </c:pt>
                <c:pt idx="9430">
                  <c:v>0</c:v>
                </c:pt>
                <c:pt idx="9431">
                  <c:v>0</c:v>
                </c:pt>
                <c:pt idx="9432">
                  <c:v>0</c:v>
                </c:pt>
                <c:pt idx="9433">
                  <c:v>0</c:v>
                </c:pt>
                <c:pt idx="9434">
                  <c:v>0</c:v>
                </c:pt>
                <c:pt idx="9435">
                  <c:v>0</c:v>
                </c:pt>
                <c:pt idx="9436">
                  <c:v>0</c:v>
                </c:pt>
                <c:pt idx="9437">
                  <c:v>0</c:v>
                </c:pt>
                <c:pt idx="9438">
                  <c:v>0</c:v>
                </c:pt>
                <c:pt idx="9439">
                  <c:v>0</c:v>
                </c:pt>
                <c:pt idx="9440">
                  <c:v>0</c:v>
                </c:pt>
                <c:pt idx="9441">
                  <c:v>0</c:v>
                </c:pt>
                <c:pt idx="9442">
                  <c:v>0</c:v>
                </c:pt>
                <c:pt idx="9443">
                  <c:v>0</c:v>
                </c:pt>
                <c:pt idx="9444">
                  <c:v>0</c:v>
                </c:pt>
                <c:pt idx="9445">
                  <c:v>0</c:v>
                </c:pt>
                <c:pt idx="9446">
                  <c:v>0</c:v>
                </c:pt>
                <c:pt idx="9447">
                  <c:v>0</c:v>
                </c:pt>
                <c:pt idx="9448">
                  <c:v>0</c:v>
                </c:pt>
                <c:pt idx="9449">
                  <c:v>0</c:v>
                </c:pt>
                <c:pt idx="9450">
                  <c:v>0</c:v>
                </c:pt>
                <c:pt idx="9451">
                  <c:v>0</c:v>
                </c:pt>
                <c:pt idx="9452">
                  <c:v>0</c:v>
                </c:pt>
                <c:pt idx="9453">
                  <c:v>0</c:v>
                </c:pt>
                <c:pt idx="9454">
                  <c:v>0</c:v>
                </c:pt>
                <c:pt idx="9455">
                  <c:v>0</c:v>
                </c:pt>
                <c:pt idx="9456">
                  <c:v>0</c:v>
                </c:pt>
                <c:pt idx="9457">
                  <c:v>0</c:v>
                </c:pt>
                <c:pt idx="9458">
                  <c:v>0</c:v>
                </c:pt>
                <c:pt idx="9459">
                  <c:v>0</c:v>
                </c:pt>
                <c:pt idx="9460">
                  <c:v>0</c:v>
                </c:pt>
                <c:pt idx="9461">
                  <c:v>0</c:v>
                </c:pt>
                <c:pt idx="9462">
                  <c:v>0</c:v>
                </c:pt>
                <c:pt idx="9463">
                  <c:v>0</c:v>
                </c:pt>
                <c:pt idx="9464">
                  <c:v>0</c:v>
                </c:pt>
                <c:pt idx="9465">
                  <c:v>0</c:v>
                </c:pt>
                <c:pt idx="9466">
                  <c:v>0</c:v>
                </c:pt>
                <c:pt idx="9467">
                  <c:v>0</c:v>
                </c:pt>
                <c:pt idx="9468">
                  <c:v>0</c:v>
                </c:pt>
                <c:pt idx="9469">
                  <c:v>0</c:v>
                </c:pt>
                <c:pt idx="9470">
                  <c:v>0</c:v>
                </c:pt>
                <c:pt idx="9471">
                  <c:v>0</c:v>
                </c:pt>
                <c:pt idx="9472">
                  <c:v>0</c:v>
                </c:pt>
                <c:pt idx="9473">
                  <c:v>0</c:v>
                </c:pt>
                <c:pt idx="9474">
                  <c:v>0</c:v>
                </c:pt>
                <c:pt idx="9475">
                  <c:v>0</c:v>
                </c:pt>
                <c:pt idx="9476">
                  <c:v>0</c:v>
                </c:pt>
                <c:pt idx="9477">
                  <c:v>0</c:v>
                </c:pt>
                <c:pt idx="9478">
                  <c:v>0</c:v>
                </c:pt>
                <c:pt idx="9479">
                  <c:v>0</c:v>
                </c:pt>
                <c:pt idx="9480">
                  <c:v>0</c:v>
                </c:pt>
                <c:pt idx="9481">
                  <c:v>0</c:v>
                </c:pt>
                <c:pt idx="9482">
                  <c:v>0</c:v>
                </c:pt>
                <c:pt idx="9483">
                  <c:v>0</c:v>
                </c:pt>
                <c:pt idx="9484">
                  <c:v>0</c:v>
                </c:pt>
                <c:pt idx="9485">
                  <c:v>0</c:v>
                </c:pt>
                <c:pt idx="9486">
                  <c:v>0</c:v>
                </c:pt>
                <c:pt idx="9487">
                  <c:v>0</c:v>
                </c:pt>
                <c:pt idx="9488">
                  <c:v>0</c:v>
                </c:pt>
                <c:pt idx="9489">
                  <c:v>0</c:v>
                </c:pt>
                <c:pt idx="9490">
                  <c:v>0</c:v>
                </c:pt>
                <c:pt idx="9491">
                  <c:v>0</c:v>
                </c:pt>
                <c:pt idx="9492">
                  <c:v>0</c:v>
                </c:pt>
                <c:pt idx="9493">
                  <c:v>0</c:v>
                </c:pt>
                <c:pt idx="9494">
                  <c:v>0</c:v>
                </c:pt>
                <c:pt idx="9495">
                  <c:v>0</c:v>
                </c:pt>
                <c:pt idx="9496">
                  <c:v>0</c:v>
                </c:pt>
                <c:pt idx="9497">
                  <c:v>0</c:v>
                </c:pt>
                <c:pt idx="9498">
                  <c:v>0</c:v>
                </c:pt>
                <c:pt idx="9499">
                  <c:v>0</c:v>
                </c:pt>
                <c:pt idx="9500">
                  <c:v>0</c:v>
                </c:pt>
                <c:pt idx="9501">
                  <c:v>0</c:v>
                </c:pt>
                <c:pt idx="9502">
                  <c:v>0</c:v>
                </c:pt>
                <c:pt idx="9503">
                  <c:v>0</c:v>
                </c:pt>
                <c:pt idx="9504">
                  <c:v>0</c:v>
                </c:pt>
                <c:pt idx="9505">
                  <c:v>0</c:v>
                </c:pt>
                <c:pt idx="9506">
                  <c:v>0</c:v>
                </c:pt>
                <c:pt idx="9507">
                  <c:v>0</c:v>
                </c:pt>
                <c:pt idx="9508">
                  <c:v>0</c:v>
                </c:pt>
                <c:pt idx="9509">
                  <c:v>0</c:v>
                </c:pt>
                <c:pt idx="9510">
                  <c:v>0</c:v>
                </c:pt>
                <c:pt idx="9511">
                  <c:v>0</c:v>
                </c:pt>
                <c:pt idx="9512">
                  <c:v>0</c:v>
                </c:pt>
                <c:pt idx="9513">
                  <c:v>0</c:v>
                </c:pt>
                <c:pt idx="9514">
                  <c:v>0</c:v>
                </c:pt>
                <c:pt idx="9515">
                  <c:v>0</c:v>
                </c:pt>
                <c:pt idx="9516">
                  <c:v>0</c:v>
                </c:pt>
                <c:pt idx="9517">
                  <c:v>0</c:v>
                </c:pt>
                <c:pt idx="9518">
                  <c:v>0</c:v>
                </c:pt>
                <c:pt idx="9519">
                  <c:v>0</c:v>
                </c:pt>
                <c:pt idx="9520">
                  <c:v>0</c:v>
                </c:pt>
                <c:pt idx="9521">
                  <c:v>0</c:v>
                </c:pt>
                <c:pt idx="9522">
                  <c:v>0</c:v>
                </c:pt>
                <c:pt idx="9523">
                  <c:v>0</c:v>
                </c:pt>
                <c:pt idx="9524">
                  <c:v>0</c:v>
                </c:pt>
                <c:pt idx="9525">
                  <c:v>0</c:v>
                </c:pt>
                <c:pt idx="9526">
                  <c:v>0</c:v>
                </c:pt>
                <c:pt idx="9527">
                  <c:v>0</c:v>
                </c:pt>
                <c:pt idx="9528">
                  <c:v>0</c:v>
                </c:pt>
                <c:pt idx="9529">
                  <c:v>0</c:v>
                </c:pt>
                <c:pt idx="9530">
                  <c:v>0</c:v>
                </c:pt>
                <c:pt idx="9531">
                  <c:v>0</c:v>
                </c:pt>
                <c:pt idx="9532">
                  <c:v>0</c:v>
                </c:pt>
                <c:pt idx="9533">
                  <c:v>0</c:v>
                </c:pt>
                <c:pt idx="9534">
                  <c:v>0</c:v>
                </c:pt>
                <c:pt idx="9535">
                  <c:v>0</c:v>
                </c:pt>
                <c:pt idx="9536">
                  <c:v>0</c:v>
                </c:pt>
                <c:pt idx="9537">
                  <c:v>0</c:v>
                </c:pt>
                <c:pt idx="9538">
                  <c:v>0</c:v>
                </c:pt>
                <c:pt idx="9539">
                  <c:v>0</c:v>
                </c:pt>
                <c:pt idx="9540">
                  <c:v>0</c:v>
                </c:pt>
                <c:pt idx="9541">
                  <c:v>0</c:v>
                </c:pt>
                <c:pt idx="9542">
                  <c:v>0</c:v>
                </c:pt>
                <c:pt idx="9543">
                  <c:v>0</c:v>
                </c:pt>
                <c:pt idx="9544">
                  <c:v>0</c:v>
                </c:pt>
                <c:pt idx="9545">
                  <c:v>0</c:v>
                </c:pt>
                <c:pt idx="9546">
                  <c:v>0</c:v>
                </c:pt>
                <c:pt idx="9547">
                  <c:v>0</c:v>
                </c:pt>
                <c:pt idx="9548">
                  <c:v>0</c:v>
                </c:pt>
                <c:pt idx="9549">
                  <c:v>0</c:v>
                </c:pt>
                <c:pt idx="9550">
                  <c:v>0</c:v>
                </c:pt>
                <c:pt idx="9551">
                  <c:v>0</c:v>
                </c:pt>
                <c:pt idx="9552">
                  <c:v>0</c:v>
                </c:pt>
                <c:pt idx="9553">
                  <c:v>0</c:v>
                </c:pt>
                <c:pt idx="9554">
                  <c:v>0</c:v>
                </c:pt>
                <c:pt idx="9555">
                  <c:v>0</c:v>
                </c:pt>
                <c:pt idx="9556">
                  <c:v>0</c:v>
                </c:pt>
                <c:pt idx="9557">
                  <c:v>0</c:v>
                </c:pt>
                <c:pt idx="9558">
                  <c:v>0</c:v>
                </c:pt>
                <c:pt idx="9559">
                  <c:v>0</c:v>
                </c:pt>
                <c:pt idx="9560">
                  <c:v>0</c:v>
                </c:pt>
                <c:pt idx="9561">
                  <c:v>0</c:v>
                </c:pt>
                <c:pt idx="9562">
                  <c:v>0</c:v>
                </c:pt>
                <c:pt idx="9563">
                  <c:v>0</c:v>
                </c:pt>
                <c:pt idx="9564">
                  <c:v>0</c:v>
                </c:pt>
                <c:pt idx="9565">
                  <c:v>0</c:v>
                </c:pt>
                <c:pt idx="9566">
                  <c:v>0</c:v>
                </c:pt>
                <c:pt idx="9567">
                  <c:v>0</c:v>
                </c:pt>
                <c:pt idx="9568">
                  <c:v>0</c:v>
                </c:pt>
                <c:pt idx="9569">
                  <c:v>0</c:v>
                </c:pt>
                <c:pt idx="9570">
                  <c:v>0</c:v>
                </c:pt>
                <c:pt idx="9571">
                  <c:v>0</c:v>
                </c:pt>
                <c:pt idx="9572">
                  <c:v>0</c:v>
                </c:pt>
                <c:pt idx="9573">
                  <c:v>0</c:v>
                </c:pt>
                <c:pt idx="9574">
                  <c:v>0</c:v>
                </c:pt>
                <c:pt idx="9575">
                  <c:v>0</c:v>
                </c:pt>
                <c:pt idx="9576">
                  <c:v>0</c:v>
                </c:pt>
                <c:pt idx="9577">
                  <c:v>0</c:v>
                </c:pt>
                <c:pt idx="9578">
                  <c:v>0</c:v>
                </c:pt>
                <c:pt idx="9579">
                  <c:v>0</c:v>
                </c:pt>
                <c:pt idx="9580">
                  <c:v>0</c:v>
                </c:pt>
                <c:pt idx="9581">
                  <c:v>0</c:v>
                </c:pt>
                <c:pt idx="9582">
                  <c:v>0</c:v>
                </c:pt>
                <c:pt idx="9583">
                  <c:v>0</c:v>
                </c:pt>
                <c:pt idx="9584">
                  <c:v>0</c:v>
                </c:pt>
                <c:pt idx="9585">
                  <c:v>0</c:v>
                </c:pt>
                <c:pt idx="9586">
                  <c:v>0</c:v>
                </c:pt>
                <c:pt idx="9587">
                  <c:v>0</c:v>
                </c:pt>
                <c:pt idx="9588">
                  <c:v>0</c:v>
                </c:pt>
                <c:pt idx="9589">
                  <c:v>0</c:v>
                </c:pt>
                <c:pt idx="9590">
                  <c:v>0</c:v>
                </c:pt>
                <c:pt idx="9591">
                  <c:v>0</c:v>
                </c:pt>
                <c:pt idx="9592">
                  <c:v>0</c:v>
                </c:pt>
                <c:pt idx="9593">
                  <c:v>0</c:v>
                </c:pt>
                <c:pt idx="9594">
                  <c:v>0</c:v>
                </c:pt>
                <c:pt idx="9595">
                  <c:v>0</c:v>
                </c:pt>
                <c:pt idx="9596">
                  <c:v>0</c:v>
                </c:pt>
                <c:pt idx="9597">
                  <c:v>0</c:v>
                </c:pt>
                <c:pt idx="9598">
                  <c:v>0</c:v>
                </c:pt>
                <c:pt idx="9599">
                  <c:v>0</c:v>
                </c:pt>
                <c:pt idx="9600">
                  <c:v>0</c:v>
                </c:pt>
                <c:pt idx="9601">
                  <c:v>0</c:v>
                </c:pt>
                <c:pt idx="9602">
                  <c:v>0</c:v>
                </c:pt>
                <c:pt idx="9603">
                  <c:v>0</c:v>
                </c:pt>
                <c:pt idx="9604">
                  <c:v>0</c:v>
                </c:pt>
                <c:pt idx="9605">
                  <c:v>0</c:v>
                </c:pt>
                <c:pt idx="9606">
                  <c:v>0</c:v>
                </c:pt>
                <c:pt idx="9607">
                  <c:v>0</c:v>
                </c:pt>
                <c:pt idx="9608">
                  <c:v>0</c:v>
                </c:pt>
                <c:pt idx="9609">
                  <c:v>0</c:v>
                </c:pt>
                <c:pt idx="9610">
                  <c:v>0</c:v>
                </c:pt>
                <c:pt idx="9611">
                  <c:v>0</c:v>
                </c:pt>
                <c:pt idx="9612">
                  <c:v>0</c:v>
                </c:pt>
                <c:pt idx="9613">
                  <c:v>0</c:v>
                </c:pt>
                <c:pt idx="9614">
                  <c:v>0</c:v>
                </c:pt>
                <c:pt idx="9615">
                  <c:v>0</c:v>
                </c:pt>
                <c:pt idx="9616">
                  <c:v>0</c:v>
                </c:pt>
                <c:pt idx="9617">
                  <c:v>0</c:v>
                </c:pt>
                <c:pt idx="9618">
                  <c:v>0</c:v>
                </c:pt>
                <c:pt idx="9619">
                  <c:v>0</c:v>
                </c:pt>
                <c:pt idx="9620">
                  <c:v>0</c:v>
                </c:pt>
                <c:pt idx="9621">
                  <c:v>0</c:v>
                </c:pt>
                <c:pt idx="9622">
                  <c:v>0</c:v>
                </c:pt>
                <c:pt idx="9623">
                  <c:v>0</c:v>
                </c:pt>
                <c:pt idx="9624">
                  <c:v>0</c:v>
                </c:pt>
                <c:pt idx="9625">
                  <c:v>0</c:v>
                </c:pt>
                <c:pt idx="9626">
                  <c:v>0</c:v>
                </c:pt>
                <c:pt idx="9627">
                  <c:v>0</c:v>
                </c:pt>
                <c:pt idx="9628">
                  <c:v>0</c:v>
                </c:pt>
                <c:pt idx="9629">
                  <c:v>0</c:v>
                </c:pt>
                <c:pt idx="9630">
                  <c:v>0</c:v>
                </c:pt>
                <c:pt idx="9631">
                  <c:v>0</c:v>
                </c:pt>
                <c:pt idx="9632">
                  <c:v>0</c:v>
                </c:pt>
                <c:pt idx="9633">
                  <c:v>0</c:v>
                </c:pt>
                <c:pt idx="9634">
                  <c:v>0</c:v>
                </c:pt>
                <c:pt idx="9635">
                  <c:v>0</c:v>
                </c:pt>
                <c:pt idx="9636">
                  <c:v>0</c:v>
                </c:pt>
                <c:pt idx="9637">
                  <c:v>0</c:v>
                </c:pt>
                <c:pt idx="9638">
                  <c:v>0</c:v>
                </c:pt>
                <c:pt idx="9639">
                  <c:v>0</c:v>
                </c:pt>
                <c:pt idx="9640">
                  <c:v>0</c:v>
                </c:pt>
                <c:pt idx="9641">
                  <c:v>0</c:v>
                </c:pt>
                <c:pt idx="9642">
                  <c:v>0</c:v>
                </c:pt>
                <c:pt idx="9643">
                  <c:v>0</c:v>
                </c:pt>
                <c:pt idx="9644">
                  <c:v>0</c:v>
                </c:pt>
                <c:pt idx="9645">
                  <c:v>0</c:v>
                </c:pt>
                <c:pt idx="9646">
                  <c:v>0</c:v>
                </c:pt>
                <c:pt idx="9647">
                  <c:v>0</c:v>
                </c:pt>
                <c:pt idx="9648">
                  <c:v>0</c:v>
                </c:pt>
                <c:pt idx="9649">
                  <c:v>0</c:v>
                </c:pt>
                <c:pt idx="9650">
                  <c:v>0</c:v>
                </c:pt>
                <c:pt idx="9651">
                  <c:v>0</c:v>
                </c:pt>
                <c:pt idx="9652">
                  <c:v>0</c:v>
                </c:pt>
                <c:pt idx="9653">
                  <c:v>0</c:v>
                </c:pt>
                <c:pt idx="9654">
                  <c:v>0</c:v>
                </c:pt>
                <c:pt idx="9655">
                  <c:v>0</c:v>
                </c:pt>
                <c:pt idx="9656">
                  <c:v>0</c:v>
                </c:pt>
                <c:pt idx="9657">
                  <c:v>0</c:v>
                </c:pt>
                <c:pt idx="9658">
                  <c:v>0</c:v>
                </c:pt>
                <c:pt idx="9659">
                  <c:v>0</c:v>
                </c:pt>
                <c:pt idx="9660">
                  <c:v>0</c:v>
                </c:pt>
                <c:pt idx="9661">
                  <c:v>0</c:v>
                </c:pt>
                <c:pt idx="9662">
                  <c:v>0</c:v>
                </c:pt>
                <c:pt idx="9663">
                  <c:v>0</c:v>
                </c:pt>
                <c:pt idx="9664">
                  <c:v>0</c:v>
                </c:pt>
                <c:pt idx="9665">
                  <c:v>0</c:v>
                </c:pt>
                <c:pt idx="9666">
                  <c:v>0</c:v>
                </c:pt>
                <c:pt idx="9667">
                  <c:v>0</c:v>
                </c:pt>
                <c:pt idx="9668">
                  <c:v>0</c:v>
                </c:pt>
                <c:pt idx="9669">
                  <c:v>0</c:v>
                </c:pt>
                <c:pt idx="9670">
                  <c:v>0</c:v>
                </c:pt>
                <c:pt idx="9671">
                  <c:v>0</c:v>
                </c:pt>
                <c:pt idx="9672">
                  <c:v>0</c:v>
                </c:pt>
                <c:pt idx="9673">
                  <c:v>0</c:v>
                </c:pt>
                <c:pt idx="9674">
                  <c:v>0</c:v>
                </c:pt>
                <c:pt idx="9675">
                  <c:v>0</c:v>
                </c:pt>
                <c:pt idx="9676">
                  <c:v>0</c:v>
                </c:pt>
                <c:pt idx="9677">
                  <c:v>0</c:v>
                </c:pt>
                <c:pt idx="9678">
                  <c:v>0</c:v>
                </c:pt>
                <c:pt idx="9679">
                  <c:v>0</c:v>
                </c:pt>
                <c:pt idx="9680">
                  <c:v>0</c:v>
                </c:pt>
                <c:pt idx="9681">
                  <c:v>0</c:v>
                </c:pt>
                <c:pt idx="9682">
                  <c:v>0</c:v>
                </c:pt>
                <c:pt idx="9683">
                  <c:v>0</c:v>
                </c:pt>
                <c:pt idx="9684">
                  <c:v>0</c:v>
                </c:pt>
                <c:pt idx="9685">
                  <c:v>0</c:v>
                </c:pt>
                <c:pt idx="9686">
                  <c:v>0</c:v>
                </c:pt>
                <c:pt idx="9687">
                  <c:v>0</c:v>
                </c:pt>
                <c:pt idx="9688">
                  <c:v>0</c:v>
                </c:pt>
                <c:pt idx="9689">
                  <c:v>0</c:v>
                </c:pt>
                <c:pt idx="9690">
                  <c:v>0</c:v>
                </c:pt>
                <c:pt idx="9691">
                  <c:v>0</c:v>
                </c:pt>
                <c:pt idx="9692">
                  <c:v>0</c:v>
                </c:pt>
                <c:pt idx="9693">
                  <c:v>0</c:v>
                </c:pt>
                <c:pt idx="9694">
                  <c:v>0</c:v>
                </c:pt>
                <c:pt idx="9695">
                  <c:v>0</c:v>
                </c:pt>
                <c:pt idx="9696">
                  <c:v>0</c:v>
                </c:pt>
                <c:pt idx="9697">
                  <c:v>0</c:v>
                </c:pt>
                <c:pt idx="9698">
                  <c:v>0</c:v>
                </c:pt>
                <c:pt idx="9699">
                  <c:v>0</c:v>
                </c:pt>
                <c:pt idx="9700">
                  <c:v>0</c:v>
                </c:pt>
                <c:pt idx="9701">
                  <c:v>0</c:v>
                </c:pt>
                <c:pt idx="9702">
                  <c:v>0</c:v>
                </c:pt>
                <c:pt idx="9703">
                  <c:v>0</c:v>
                </c:pt>
                <c:pt idx="9704">
                  <c:v>0</c:v>
                </c:pt>
                <c:pt idx="9705">
                  <c:v>0</c:v>
                </c:pt>
                <c:pt idx="9706">
                  <c:v>0</c:v>
                </c:pt>
                <c:pt idx="9707">
                  <c:v>0</c:v>
                </c:pt>
                <c:pt idx="9708">
                  <c:v>0</c:v>
                </c:pt>
                <c:pt idx="9709">
                  <c:v>0</c:v>
                </c:pt>
                <c:pt idx="9710">
                  <c:v>0</c:v>
                </c:pt>
                <c:pt idx="9711">
                  <c:v>0</c:v>
                </c:pt>
                <c:pt idx="9712">
                  <c:v>0</c:v>
                </c:pt>
                <c:pt idx="9713">
                  <c:v>0</c:v>
                </c:pt>
                <c:pt idx="9714">
                  <c:v>0</c:v>
                </c:pt>
                <c:pt idx="9715">
                  <c:v>0</c:v>
                </c:pt>
                <c:pt idx="9716">
                  <c:v>0</c:v>
                </c:pt>
                <c:pt idx="9717">
                  <c:v>0</c:v>
                </c:pt>
                <c:pt idx="9718">
                  <c:v>0</c:v>
                </c:pt>
                <c:pt idx="9719">
                  <c:v>0</c:v>
                </c:pt>
                <c:pt idx="9720">
                  <c:v>0</c:v>
                </c:pt>
                <c:pt idx="9721">
                  <c:v>0</c:v>
                </c:pt>
                <c:pt idx="9722">
                  <c:v>0</c:v>
                </c:pt>
                <c:pt idx="9723">
                  <c:v>0</c:v>
                </c:pt>
                <c:pt idx="9724">
                  <c:v>0</c:v>
                </c:pt>
                <c:pt idx="9725">
                  <c:v>0</c:v>
                </c:pt>
                <c:pt idx="9726">
                  <c:v>0</c:v>
                </c:pt>
                <c:pt idx="9727">
                  <c:v>0</c:v>
                </c:pt>
                <c:pt idx="9728">
                  <c:v>0</c:v>
                </c:pt>
                <c:pt idx="9729">
                  <c:v>0</c:v>
                </c:pt>
                <c:pt idx="9730">
                  <c:v>0</c:v>
                </c:pt>
                <c:pt idx="9731">
                  <c:v>0</c:v>
                </c:pt>
                <c:pt idx="9732">
                  <c:v>0</c:v>
                </c:pt>
                <c:pt idx="9733">
                  <c:v>0</c:v>
                </c:pt>
                <c:pt idx="9734">
                  <c:v>0</c:v>
                </c:pt>
                <c:pt idx="9735">
                  <c:v>0</c:v>
                </c:pt>
                <c:pt idx="9736">
                  <c:v>0</c:v>
                </c:pt>
                <c:pt idx="9737">
                  <c:v>0</c:v>
                </c:pt>
                <c:pt idx="9738">
                  <c:v>0</c:v>
                </c:pt>
                <c:pt idx="9739">
                  <c:v>0</c:v>
                </c:pt>
                <c:pt idx="9740">
                  <c:v>0</c:v>
                </c:pt>
                <c:pt idx="9741">
                  <c:v>0</c:v>
                </c:pt>
                <c:pt idx="9742">
                  <c:v>0</c:v>
                </c:pt>
                <c:pt idx="9743">
                  <c:v>0</c:v>
                </c:pt>
                <c:pt idx="9744">
                  <c:v>0</c:v>
                </c:pt>
                <c:pt idx="9745">
                  <c:v>0</c:v>
                </c:pt>
                <c:pt idx="9746">
                  <c:v>0</c:v>
                </c:pt>
                <c:pt idx="9747">
                  <c:v>0</c:v>
                </c:pt>
                <c:pt idx="9748">
                  <c:v>0</c:v>
                </c:pt>
                <c:pt idx="9749">
                  <c:v>0</c:v>
                </c:pt>
                <c:pt idx="9750">
                  <c:v>0</c:v>
                </c:pt>
                <c:pt idx="9751">
                  <c:v>0</c:v>
                </c:pt>
                <c:pt idx="9752">
                  <c:v>0</c:v>
                </c:pt>
                <c:pt idx="9753">
                  <c:v>0</c:v>
                </c:pt>
                <c:pt idx="9754">
                  <c:v>0</c:v>
                </c:pt>
                <c:pt idx="9755">
                  <c:v>0</c:v>
                </c:pt>
                <c:pt idx="9756">
                  <c:v>0</c:v>
                </c:pt>
                <c:pt idx="9757">
                  <c:v>0</c:v>
                </c:pt>
                <c:pt idx="9758">
                  <c:v>0</c:v>
                </c:pt>
                <c:pt idx="9759">
                  <c:v>0</c:v>
                </c:pt>
                <c:pt idx="9760">
                  <c:v>0</c:v>
                </c:pt>
                <c:pt idx="9761">
                  <c:v>0</c:v>
                </c:pt>
                <c:pt idx="9762">
                  <c:v>0</c:v>
                </c:pt>
                <c:pt idx="9763">
                  <c:v>0</c:v>
                </c:pt>
                <c:pt idx="9764">
                  <c:v>0</c:v>
                </c:pt>
                <c:pt idx="9765">
                  <c:v>0</c:v>
                </c:pt>
                <c:pt idx="9766">
                  <c:v>0</c:v>
                </c:pt>
                <c:pt idx="9767">
                  <c:v>0</c:v>
                </c:pt>
                <c:pt idx="9768">
                  <c:v>0</c:v>
                </c:pt>
                <c:pt idx="9769">
                  <c:v>0</c:v>
                </c:pt>
                <c:pt idx="9770">
                  <c:v>0</c:v>
                </c:pt>
                <c:pt idx="9771">
                  <c:v>0</c:v>
                </c:pt>
                <c:pt idx="9772">
                  <c:v>0</c:v>
                </c:pt>
                <c:pt idx="9773">
                  <c:v>0</c:v>
                </c:pt>
                <c:pt idx="9774">
                  <c:v>0</c:v>
                </c:pt>
                <c:pt idx="9775">
                  <c:v>0</c:v>
                </c:pt>
                <c:pt idx="9776">
                  <c:v>0</c:v>
                </c:pt>
                <c:pt idx="9777">
                  <c:v>0</c:v>
                </c:pt>
                <c:pt idx="9778">
                  <c:v>0</c:v>
                </c:pt>
                <c:pt idx="9779">
                  <c:v>0</c:v>
                </c:pt>
                <c:pt idx="9780">
                  <c:v>0</c:v>
                </c:pt>
                <c:pt idx="9781">
                  <c:v>0</c:v>
                </c:pt>
                <c:pt idx="9782">
                  <c:v>0</c:v>
                </c:pt>
                <c:pt idx="9783">
                  <c:v>0</c:v>
                </c:pt>
                <c:pt idx="9784">
                  <c:v>0</c:v>
                </c:pt>
                <c:pt idx="9785">
                  <c:v>0</c:v>
                </c:pt>
                <c:pt idx="9786">
                  <c:v>0</c:v>
                </c:pt>
                <c:pt idx="9787">
                  <c:v>0</c:v>
                </c:pt>
                <c:pt idx="9788">
                  <c:v>0</c:v>
                </c:pt>
                <c:pt idx="9789">
                  <c:v>0</c:v>
                </c:pt>
                <c:pt idx="9790">
                  <c:v>0</c:v>
                </c:pt>
                <c:pt idx="9791">
                  <c:v>0</c:v>
                </c:pt>
                <c:pt idx="9792">
                  <c:v>0</c:v>
                </c:pt>
                <c:pt idx="9793">
                  <c:v>0</c:v>
                </c:pt>
                <c:pt idx="9794">
                  <c:v>0</c:v>
                </c:pt>
                <c:pt idx="9795">
                  <c:v>0</c:v>
                </c:pt>
                <c:pt idx="9796">
                  <c:v>0</c:v>
                </c:pt>
                <c:pt idx="9797">
                  <c:v>0</c:v>
                </c:pt>
                <c:pt idx="9798">
                  <c:v>0</c:v>
                </c:pt>
                <c:pt idx="9799">
                  <c:v>0</c:v>
                </c:pt>
                <c:pt idx="9800">
                  <c:v>0</c:v>
                </c:pt>
                <c:pt idx="9801">
                  <c:v>0</c:v>
                </c:pt>
                <c:pt idx="9802">
                  <c:v>0</c:v>
                </c:pt>
                <c:pt idx="9803">
                  <c:v>0</c:v>
                </c:pt>
                <c:pt idx="9804">
                  <c:v>0</c:v>
                </c:pt>
                <c:pt idx="9805">
                  <c:v>0</c:v>
                </c:pt>
                <c:pt idx="9806">
                  <c:v>0</c:v>
                </c:pt>
                <c:pt idx="9807">
                  <c:v>0</c:v>
                </c:pt>
                <c:pt idx="9808">
                  <c:v>0</c:v>
                </c:pt>
                <c:pt idx="9809">
                  <c:v>0</c:v>
                </c:pt>
                <c:pt idx="9810">
                  <c:v>0</c:v>
                </c:pt>
                <c:pt idx="9811">
                  <c:v>0</c:v>
                </c:pt>
                <c:pt idx="9812">
                  <c:v>0</c:v>
                </c:pt>
                <c:pt idx="9813">
                  <c:v>0</c:v>
                </c:pt>
                <c:pt idx="9814">
                  <c:v>0</c:v>
                </c:pt>
                <c:pt idx="9815">
                  <c:v>0</c:v>
                </c:pt>
                <c:pt idx="9816">
                  <c:v>0</c:v>
                </c:pt>
                <c:pt idx="9817">
                  <c:v>0</c:v>
                </c:pt>
                <c:pt idx="9818">
                  <c:v>0</c:v>
                </c:pt>
                <c:pt idx="9819">
                  <c:v>0</c:v>
                </c:pt>
                <c:pt idx="9820">
                  <c:v>0</c:v>
                </c:pt>
                <c:pt idx="9821">
                  <c:v>0</c:v>
                </c:pt>
                <c:pt idx="9822">
                  <c:v>0</c:v>
                </c:pt>
                <c:pt idx="9823">
                  <c:v>0</c:v>
                </c:pt>
                <c:pt idx="9824">
                  <c:v>0</c:v>
                </c:pt>
                <c:pt idx="9825">
                  <c:v>0</c:v>
                </c:pt>
                <c:pt idx="9826">
                  <c:v>0</c:v>
                </c:pt>
                <c:pt idx="9827">
                  <c:v>0</c:v>
                </c:pt>
                <c:pt idx="9828">
                  <c:v>0</c:v>
                </c:pt>
                <c:pt idx="9829">
                  <c:v>0</c:v>
                </c:pt>
                <c:pt idx="9830">
                  <c:v>0</c:v>
                </c:pt>
                <c:pt idx="9831">
                  <c:v>0</c:v>
                </c:pt>
                <c:pt idx="9832">
                  <c:v>0</c:v>
                </c:pt>
                <c:pt idx="9833">
                  <c:v>0</c:v>
                </c:pt>
                <c:pt idx="9834">
                  <c:v>0</c:v>
                </c:pt>
                <c:pt idx="9835">
                  <c:v>0</c:v>
                </c:pt>
                <c:pt idx="9836">
                  <c:v>0</c:v>
                </c:pt>
                <c:pt idx="9837">
                  <c:v>0</c:v>
                </c:pt>
                <c:pt idx="9838">
                  <c:v>0</c:v>
                </c:pt>
                <c:pt idx="9839">
                  <c:v>0</c:v>
                </c:pt>
                <c:pt idx="9840">
                  <c:v>0</c:v>
                </c:pt>
                <c:pt idx="9841">
                  <c:v>0</c:v>
                </c:pt>
                <c:pt idx="9842">
                  <c:v>0</c:v>
                </c:pt>
                <c:pt idx="9843">
                  <c:v>0</c:v>
                </c:pt>
                <c:pt idx="9844">
                  <c:v>0</c:v>
                </c:pt>
                <c:pt idx="9845">
                  <c:v>0</c:v>
                </c:pt>
                <c:pt idx="9846">
                  <c:v>0</c:v>
                </c:pt>
                <c:pt idx="9847">
                  <c:v>0</c:v>
                </c:pt>
                <c:pt idx="9848">
                  <c:v>0</c:v>
                </c:pt>
                <c:pt idx="9849">
                  <c:v>0</c:v>
                </c:pt>
                <c:pt idx="9850">
                  <c:v>0</c:v>
                </c:pt>
                <c:pt idx="9851">
                  <c:v>0</c:v>
                </c:pt>
                <c:pt idx="9852">
                  <c:v>0</c:v>
                </c:pt>
                <c:pt idx="9853">
                  <c:v>0</c:v>
                </c:pt>
                <c:pt idx="9854">
                  <c:v>0</c:v>
                </c:pt>
                <c:pt idx="9855">
                  <c:v>0</c:v>
                </c:pt>
                <c:pt idx="9856">
                  <c:v>0</c:v>
                </c:pt>
                <c:pt idx="9857">
                  <c:v>0</c:v>
                </c:pt>
                <c:pt idx="9858">
                  <c:v>0</c:v>
                </c:pt>
                <c:pt idx="9859">
                  <c:v>0</c:v>
                </c:pt>
                <c:pt idx="9860">
                  <c:v>0</c:v>
                </c:pt>
                <c:pt idx="9861">
                  <c:v>0</c:v>
                </c:pt>
                <c:pt idx="9862">
                  <c:v>0</c:v>
                </c:pt>
                <c:pt idx="9863">
                  <c:v>0</c:v>
                </c:pt>
                <c:pt idx="9864">
                  <c:v>0</c:v>
                </c:pt>
                <c:pt idx="9865">
                  <c:v>0</c:v>
                </c:pt>
                <c:pt idx="9866">
                  <c:v>0</c:v>
                </c:pt>
                <c:pt idx="9867">
                  <c:v>0</c:v>
                </c:pt>
                <c:pt idx="9868">
                  <c:v>0</c:v>
                </c:pt>
                <c:pt idx="9869">
                  <c:v>0</c:v>
                </c:pt>
                <c:pt idx="9870">
                  <c:v>0</c:v>
                </c:pt>
                <c:pt idx="9871">
                  <c:v>0</c:v>
                </c:pt>
                <c:pt idx="9872">
                  <c:v>0</c:v>
                </c:pt>
                <c:pt idx="9873">
                  <c:v>0</c:v>
                </c:pt>
                <c:pt idx="9874">
                  <c:v>0</c:v>
                </c:pt>
                <c:pt idx="9875">
                  <c:v>0</c:v>
                </c:pt>
                <c:pt idx="9876">
                  <c:v>0</c:v>
                </c:pt>
                <c:pt idx="9877">
                  <c:v>0</c:v>
                </c:pt>
                <c:pt idx="9878">
                  <c:v>0</c:v>
                </c:pt>
                <c:pt idx="9879">
                  <c:v>0</c:v>
                </c:pt>
                <c:pt idx="9880">
                  <c:v>0</c:v>
                </c:pt>
                <c:pt idx="9881">
                  <c:v>0</c:v>
                </c:pt>
                <c:pt idx="9882">
                  <c:v>0</c:v>
                </c:pt>
                <c:pt idx="9883">
                  <c:v>0</c:v>
                </c:pt>
                <c:pt idx="9884">
                  <c:v>0</c:v>
                </c:pt>
                <c:pt idx="9885">
                  <c:v>0</c:v>
                </c:pt>
                <c:pt idx="9886">
                  <c:v>0</c:v>
                </c:pt>
                <c:pt idx="9887">
                  <c:v>0</c:v>
                </c:pt>
                <c:pt idx="9888">
                  <c:v>0</c:v>
                </c:pt>
                <c:pt idx="9889">
                  <c:v>0</c:v>
                </c:pt>
                <c:pt idx="9890">
                  <c:v>0</c:v>
                </c:pt>
                <c:pt idx="9891">
                  <c:v>0</c:v>
                </c:pt>
                <c:pt idx="9892">
                  <c:v>0</c:v>
                </c:pt>
                <c:pt idx="9893">
                  <c:v>0</c:v>
                </c:pt>
                <c:pt idx="9894">
                  <c:v>0</c:v>
                </c:pt>
                <c:pt idx="9895">
                  <c:v>0</c:v>
                </c:pt>
                <c:pt idx="9896">
                  <c:v>0</c:v>
                </c:pt>
                <c:pt idx="9897">
                  <c:v>0</c:v>
                </c:pt>
                <c:pt idx="9898">
                  <c:v>0</c:v>
                </c:pt>
                <c:pt idx="9899">
                  <c:v>0</c:v>
                </c:pt>
                <c:pt idx="9900">
                  <c:v>0</c:v>
                </c:pt>
                <c:pt idx="9901">
                  <c:v>0</c:v>
                </c:pt>
                <c:pt idx="9902">
                  <c:v>0</c:v>
                </c:pt>
                <c:pt idx="9903">
                  <c:v>0</c:v>
                </c:pt>
                <c:pt idx="9904">
                  <c:v>0</c:v>
                </c:pt>
                <c:pt idx="9905">
                  <c:v>0</c:v>
                </c:pt>
                <c:pt idx="9906">
                  <c:v>0</c:v>
                </c:pt>
                <c:pt idx="9907">
                  <c:v>0</c:v>
                </c:pt>
                <c:pt idx="9908">
                  <c:v>0</c:v>
                </c:pt>
                <c:pt idx="9909">
                  <c:v>0</c:v>
                </c:pt>
                <c:pt idx="9910">
                  <c:v>0</c:v>
                </c:pt>
                <c:pt idx="9911">
                  <c:v>0</c:v>
                </c:pt>
                <c:pt idx="9912">
                  <c:v>0</c:v>
                </c:pt>
                <c:pt idx="9913">
                  <c:v>0</c:v>
                </c:pt>
                <c:pt idx="9914">
                  <c:v>0</c:v>
                </c:pt>
                <c:pt idx="9915">
                  <c:v>0</c:v>
                </c:pt>
                <c:pt idx="9916">
                  <c:v>0</c:v>
                </c:pt>
                <c:pt idx="9917">
                  <c:v>0</c:v>
                </c:pt>
                <c:pt idx="9918">
                  <c:v>0</c:v>
                </c:pt>
                <c:pt idx="9919">
                  <c:v>0</c:v>
                </c:pt>
                <c:pt idx="9920">
                  <c:v>0</c:v>
                </c:pt>
                <c:pt idx="9921">
                  <c:v>0</c:v>
                </c:pt>
                <c:pt idx="9922">
                  <c:v>0</c:v>
                </c:pt>
                <c:pt idx="9923">
                  <c:v>0</c:v>
                </c:pt>
                <c:pt idx="9924">
                  <c:v>0</c:v>
                </c:pt>
                <c:pt idx="9925">
                  <c:v>0</c:v>
                </c:pt>
                <c:pt idx="9926">
                  <c:v>0</c:v>
                </c:pt>
                <c:pt idx="9927">
                  <c:v>0</c:v>
                </c:pt>
                <c:pt idx="9928">
                  <c:v>0</c:v>
                </c:pt>
                <c:pt idx="9929">
                  <c:v>0</c:v>
                </c:pt>
                <c:pt idx="9930">
                  <c:v>0</c:v>
                </c:pt>
                <c:pt idx="9931">
                  <c:v>0</c:v>
                </c:pt>
                <c:pt idx="9932">
                  <c:v>0</c:v>
                </c:pt>
                <c:pt idx="9933">
                  <c:v>0</c:v>
                </c:pt>
                <c:pt idx="9934">
                  <c:v>0</c:v>
                </c:pt>
                <c:pt idx="9935">
                  <c:v>0</c:v>
                </c:pt>
                <c:pt idx="9936">
                  <c:v>0</c:v>
                </c:pt>
                <c:pt idx="9937">
                  <c:v>0</c:v>
                </c:pt>
                <c:pt idx="9938">
                  <c:v>0</c:v>
                </c:pt>
                <c:pt idx="9939">
                  <c:v>0</c:v>
                </c:pt>
                <c:pt idx="9940">
                  <c:v>0</c:v>
                </c:pt>
                <c:pt idx="9941">
                  <c:v>0</c:v>
                </c:pt>
                <c:pt idx="9942">
                  <c:v>0</c:v>
                </c:pt>
                <c:pt idx="9943">
                  <c:v>0</c:v>
                </c:pt>
                <c:pt idx="9944">
                  <c:v>0</c:v>
                </c:pt>
                <c:pt idx="9945">
                  <c:v>0</c:v>
                </c:pt>
                <c:pt idx="9946">
                  <c:v>0</c:v>
                </c:pt>
                <c:pt idx="9947">
                  <c:v>0</c:v>
                </c:pt>
                <c:pt idx="9948">
                  <c:v>0</c:v>
                </c:pt>
                <c:pt idx="9949">
                  <c:v>0</c:v>
                </c:pt>
                <c:pt idx="9950">
                  <c:v>0</c:v>
                </c:pt>
                <c:pt idx="9951">
                  <c:v>0</c:v>
                </c:pt>
                <c:pt idx="9952">
                  <c:v>0</c:v>
                </c:pt>
                <c:pt idx="9953">
                  <c:v>0</c:v>
                </c:pt>
                <c:pt idx="9954">
                  <c:v>0</c:v>
                </c:pt>
                <c:pt idx="9955">
                  <c:v>0</c:v>
                </c:pt>
                <c:pt idx="9956">
                  <c:v>0</c:v>
                </c:pt>
                <c:pt idx="9957">
                  <c:v>0</c:v>
                </c:pt>
                <c:pt idx="9958">
                  <c:v>0</c:v>
                </c:pt>
                <c:pt idx="9959">
                  <c:v>0</c:v>
                </c:pt>
                <c:pt idx="9960">
                  <c:v>0</c:v>
                </c:pt>
                <c:pt idx="9961">
                  <c:v>0</c:v>
                </c:pt>
                <c:pt idx="9962">
                  <c:v>0</c:v>
                </c:pt>
                <c:pt idx="9963">
                  <c:v>0</c:v>
                </c:pt>
                <c:pt idx="9964">
                  <c:v>0</c:v>
                </c:pt>
                <c:pt idx="9965">
                  <c:v>0</c:v>
                </c:pt>
                <c:pt idx="9966">
                  <c:v>0</c:v>
                </c:pt>
                <c:pt idx="9967">
                  <c:v>0</c:v>
                </c:pt>
                <c:pt idx="9968">
                  <c:v>0</c:v>
                </c:pt>
                <c:pt idx="9969">
                  <c:v>0</c:v>
                </c:pt>
                <c:pt idx="9970">
                  <c:v>0</c:v>
                </c:pt>
                <c:pt idx="9971">
                  <c:v>0</c:v>
                </c:pt>
                <c:pt idx="9972">
                  <c:v>0</c:v>
                </c:pt>
                <c:pt idx="9973">
                  <c:v>0</c:v>
                </c:pt>
                <c:pt idx="9974">
                  <c:v>0</c:v>
                </c:pt>
                <c:pt idx="9975">
                  <c:v>0</c:v>
                </c:pt>
                <c:pt idx="9976">
                  <c:v>0</c:v>
                </c:pt>
                <c:pt idx="9977">
                  <c:v>0</c:v>
                </c:pt>
                <c:pt idx="9978">
                  <c:v>0</c:v>
                </c:pt>
                <c:pt idx="9979">
                  <c:v>0</c:v>
                </c:pt>
                <c:pt idx="9980">
                  <c:v>0</c:v>
                </c:pt>
                <c:pt idx="9981">
                  <c:v>0</c:v>
                </c:pt>
                <c:pt idx="9982">
                  <c:v>0</c:v>
                </c:pt>
                <c:pt idx="9983">
                  <c:v>0</c:v>
                </c:pt>
                <c:pt idx="9984">
                  <c:v>0</c:v>
                </c:pt>
                <c:pt idx="9985">
                  <c:v>0</c:v>
                </c:pt>
                <c:pt idx="9986">
                  <c:v>0</c:v>
                </c:pt>
                <c:pt idx="9987">
                  <c:v>0</c:v>
                </c:pt>
                <c:pt idx="9988">
                  <c:v>0</c:v>
                </c:pt>
                <c:pt idx="9989">
                  <c:v>0</c:v>
                </c:pt>
                <c:pt idx="9990">
                  <c:v>0</c:v>
                </c:pt>
                <c:pt idx="9991">
                  <c:v>0</c:v>
                </c:pt>
                <c:pt idx="9992">
                  <c:v>0</c:v>
                </c:pt>
                <c:pt idx="9993">
                  <c:v>0</c:v>
                </c:pt>
                <c:pt idx="9994">
                  <c:v>0</c:v>
                </c:pt>
                <c:pt idx="9995">
                  <c:v>0</c:v>
                </c:pt>
                <c:pt idx="9996">
                  <c:v>0</c:v>
                </c:pt>
                <c:pt idx="9997">
                  <c:v>0</c:v>
                </c:pt>
                <c:pt idx="9998">
                  <c:v>0</c:v>
                </c:pt>
                <c:pt idx="9999">
                  <c:v>0</c:v>
                </c:pt>
              </c:numCache>
            </c:numRef>
          </c:cat>
          <c:val>
            <c:numRef>
              <c:f>Data!$B$3:$B$10002</c:f>
              <c:numCache>
                <c:formatCode>General</c:formatCode>
                <c:ptCount val="10000"/>
                <c:pt idx="0">
                  <c:v>-4.4431699999999998E-2</c:v>
                </c:pt>
                <c:pt idx="1">
                  <c:v>0.172015</c:v>
                </c:pt>
                <c:pt idx="2">
                  <c:v>0.175571</c:v>
                </c:pt>
                <c:pt idx="3">
                  <c:v>#N/A</c:v>
                </c:pt>
                <c:pt idx="4">
                  <c:v>0.31769900000000001</c:v>
                </c:pt>
                <c:pt idx="5">
                  <c:v>0.28497899999999998</c:v>
                </c:pt>
                <c:pt idx="6">
                  <c:v>0.162804</c:v>
                </c:pt>
                <c:pt idx="7">
                  <c:v>#N/A</c:v>
                </c:pt>
                <c:pt idx="8">
                  <c:v>0.22159999999999999</c:v>
                </c:pt>
                <c:pt idx="9">
                  <c:v>0.83338999999999996</c:v>
                </c:pt>
                <c:pt idx="10">
                  <c:v>1.3157399999999999</c:v>
                </c:pt>
                <c:pt idx="11">
                  <c:v>#N/A</c:v>
                </c:pt>
                <c:pt idx="12">
                  <c:v>1.89076</c:v>
                </c:pt>
                <c:pt idx="13">
                  <c:v>3.2001300000000001</c:v>
                </c:pt>
                <c:pt idx="14">
                  <c:v>4.3832700000000004</c:v>
                </c:pt>
                <c:pt idx="15">
                  <c:v>#N/A</c:v>
                </c:pt>
                <c:pt idx="16">
                  <c:v>5.6279700000000004</c:v>
                </c:pt>
                <c:pt idx="17">
                  <c:v>7.0564299999999998</c:v>
                </c:pt>
                <c:pt idx="18">
                  <c:v>#N/A</c:v>
                </c:pt>
                <c:pt idx="19">
                  <c:v>9.4388699999999996</c:v>
                </c:pt>
                <c:pt idx="20">
                  <c:v>10.633699999999999</c:v>
                </c:pt>
                <c:pt idx="21">
                  <c:v>11.4747</c:v>
                </c:pt>
                <c:pt idx="22">
                  <c:v>#N/A</c:v>
                </c:pt>
                <c:pt idx="23">
                  <c:v>12.8734</c:v>
                </c:pt>
                <c:pt idx="24">
                  <c:v>15.7798</c:v>
                </c:pt>
                <c:pt idx="25">
                  <c:v>16.275500000000001</c:v>
                </c:pt>
                <c:pt idx="26">
                  <c:v>#N/A</c:v>
                </c:pt>
                <c:pt idx="27">
                  <c:v>16.488600000000002</c:v>
                </c:pt>
                <c:pt idx="28">
                  <c:v>17.549700000000001</c:v>
                </c:pt>
                <c:pt idx="29">
                  <c:v>17.121099999999998</c:v>
                </c:pt>
                <c:pt idx="30">
                  <c:v>#N/A</c:v>
                </c:pt>
                <c:pt idx="31">
                  <c:v>18.569900000000001</c:v>
                </c:pt>
                <c:pt idx="32">
                  <c:v>17.648700000000002</c:v>
                </c:pt>
                <c:pt idx="33">
                  <c:v>18.6815</c:v>
                </c:pt>
                <c:pt idx="34">
                  <c:v>#N/A</c:v>
                </c:pt>
                <c:pt idx="35">
                  <c:v>17.789300000000001</c:v>
                </c:pt>
                <c:pt idx="36">
                  <c:v>17.891400000000001</c:v>
                </c:pt>
                <c:pt idx="37">
                  <c:v>#N/A</c:v>
                </c:pt>
                <c:pt idx="38">
                  <c:v>17.0305</c:v>
                </c:pt>
                <c:pt idx="39">
                  <c:v>17.635400000000001</c:v>
                </c:pt>
                <c:pt idx="40">
                  <c:v>16.939399999999999</c:v>
                </c:pt>
                <c:pt idx="41">
                  <c:v>#N/A</c:v>
                </c:pt>
                <c:pt idx="42">
                  <c:v>17.601299999999998</c:v>
                </c:pt>
                <c:pt idx="43">
                  <c:v>16.815999999999999</c:v>
                </c:pt>
                <c:pt idx="44">
                  <c:v>16.914400000000001</c:v>
                </c:pt>
                <c:pt idx="45">
                  <c:v>#N/A</c:v>
                </c:pt>
                <c:pt idx="46">
                  <c:v>15.537100000000001</c:v>
                </c:pt>
                <c:pt idx="47">
                  <c:v>13.829499999999999</c:v>
                </c:pt>
                <c:pt idx="48">
                  <c:v>11.9605</c:v>
                </c:pt>
                <c:pt idx="49">
                  <c:v>#N/A</c:v>
                </c:pt>
                <c:pt idx="50">
                  <c:v>9.1758199999999999</c:v>
                </c:pt>
                <c:pt idx="51">
                  <c:v>8.2223600000000001</c:v>
                </c:pt>
                <c:pt idx="52">
                  <c:v>#N/A</c:v>
                </c:pt>
                <c:pt idx="53">
                  <c:v>7.4937800000000001</c:v>
                </c:pt>
                <c:pt idx="54">
                  <c:v>6.3607100000000001</c:v>
                </c:pt>
                <c:pt idx="55">
                  <c:v>4.7644799999999998</c:v>
                </c:pt>
                <c:pt idx="56">
                  <c:v>#N/A</c:v>
                </c:pt>
                <c:pt idx="57">
                  <c:v>3.5109400000000002</c:v>
                </c:pt>
                <c:pt idx="58">
                  <c:v>1.3277000000000001</c:v>
                </c:pt>
                <c:pt idx="59">
                  <c:v>0.63546599999999998</c:v>
                </c:pt>
                <c:pt idx="60">
                  <c:v>#N/A</c:v>
                </c:pt>
                <c:pt idx="61">
                  <c:v>0.27933400000000003</c:v>
                </c:pt>
                <c:pt idx="62">
                  <c:v>0.26217600000000002</c:v>
                </c:pt>
                <c:pt idx="63">
                  <c:v>4.1592700000000003E-2</c:v>
                </c:pt>
                <c:pt idx="64">
                  <c:v>#N/A</c:v>
                </c:pt>
                <c:pt idx="65">
                  <c:v>1.3975200000000001</c:v>
                </c:pt>
                <c:pt idx="66">
                  <c:v>0.77607199999999998</c:v>
                </c:pt>
                <c:pt idx="67">
                  <c:v>1.0507299999999999</c:v>
                </c:pt>
                <c:pt idx="68">
                  <c:v>#N/A</c:v>
                </c:pt>
                <c:pt idx="69">
                  <c:v>0.81764400000000004</c:v>
                </c:pt>
                <c:pt idx="70">
                  <c:v>1.2899700000000001</c:v>
                </c:pt>
                <c:pt idx="71">
                  <c:v>#N/A</c:v>
                </c:pt>
                <c:pt idx="72">
                  <c:v>1.92195</c:v>
                </c:pt>
                <c:pt idx="73">
                  <c:v>#N/A</c:v>
                </c:pt>
                <c:pt idx="74">
                  <c:v>2.7410600000000001</c:v>
                </c:pt>
                <c:pt idx="75">
                  <c:v>3.2472799999999999</c:v>
                </c:pt>
                <c:pt idx="76">
                  <c:v>3.4809199999999998</c:v>
                </c:pt>
                <c:pt idx="77">
                  <c:v>#N/A</c:v>
                </c:pt>
                <c:pt idx="78">
                  <c:v>3.5139900000000002</c:v>
                </c:pt>
                <c:pt idx="79">
                  <c:v>3.2714500000000002</c:v>
                </c:pt>
                <c:pt idx="80">
                  <c:v>3.2901799999999999</c:v>
                </c:pt>
                <c:pt idx="81">
                  <c:v>#N/A</c:v>
                </c:pt>
                <c:pt idx="82">
                  <c:v>2.72851</c:v>
                </c:pt>
                <c:pt idx="83">
                  <c:v>3.4074800000000001</c:v>
                </c:pt>
                <c:pt idx="84">
                  <c:v>3.10331</c:v>
                </c:pt>
                <c:pt idx="85">
                  <c:v>#N/A</c:v>
                </c:pt>
                <c:pt idx="86">
                  <c:v>3.2102300000000001</c:v>
                </c:pt>
                <c:pt idx="87">
                  <c:v>3.1606399999999999</c:v>
                </c:pt>
                <c:pt idx="88">
                  <c:v>2.0260899999999999</c:v>
                </c:pt>
                <c:pt idx="89">
                  <c:v>#N/A</c:v>
                </c:pt>
                <c:pt idx="90">
                  <c:v>1.0692999999999999</c:v>
                </c:pt>
                <c:pt idx="91">
                  <c:v>0.83059400000000005</c:v>
                </c:pt>
                <c:pt idx="92">
                  <c:v>1.2129799999999999</c:v>
                </c:pt>
                <c:pt idx="93">
                  <c:v>#N/A</c:v>
                </c:pt>
                <c:pt idx="94">
                  <c:v>1.8401799999999999</c:v>
                </c:pt>
                <c:pt idx="95">
                  <c:v>2.8444500000000001</c:v>
                </c:pt>
                <c:pt idx="96">
                  <c:v>2.7713000000000001</c:v>
                </c:pt>
                <c:pt idx="97">
                  <c:v>#N/A</c:v>
                </c:pt>
                <c:pt idx="98">
                  <c:v>2.6280600000000001</c:v>
                </c:pt>
                <c:pt idx="99">
                  <c:v>2.4051999999999998</c:v>
                </c:pt>
                <c:pt idx="100">
                  <c:v>#N/A</c:v>
                </c:pt>
                <c:pt idx="101">
                  <c:v>2.0762499999999999</c:v>
                </c:pt>
                <c:pt idx="102">
                  <c:v>2.36808</c:v>
                </c:pt>
                <c:pt idx="103">
                  <c:v>2.73441</c:v>
                </c:pt>
                <c:pt idx="104">
                  <c:v>#N/A</c:v>
                </c:pt>
                <c:pt idx="105">
                  <c:v>3.2706200000000001</c:v>
                </c:pt>
                <c:pt idx="106">
                  <c:v>3.3461400000000001</c:v>
                </c:pt>
                <c:pt idx="107">
                  <c:v>3.0462799999999999</c:v>
                </c:pt>
                <c:pt idx="108">
                  <c:v>#N/A</c:v>
                </c:pt>
                <c:pt idx="109">
                  <c:v>3.2436600000000002</c:v>
                </c:pt>
                <c:pt idx="110">
                  <c:v>2.6706099999999999</c:v>
                </c:pt>
                <c:pt idx="111">
                  <c:v>2.4185300000000001</c:v>
                </c:pt>
                <c:pt idx="112">
                  <c:v>#N/A</c:v>
                </c:pt>
                <c:pt idx="113">
                  <c:v>2.5286</c:v>
                </c:pt>
                <c:pt idx="114">
                  <c:v>2.5389599999999999</c:v>
                </c:pt>
                <c:pt idx="115">
                  <c:v>2.6848000000000001</c:v>
                </c:pt>
                <c:pt idx="116">
                  <c:v>#N/A</c:v>
                </c:pt>
                <c:pt idx="117">
                  <c:v>3.0815199999999998</c:v>
                </c:pt>
                <c:pt idx="118">
                  <c:v>3.1144799999999999</c:v>
                </c:pt>
                <c:pt idx="119">
                  <c:v>2.6739099999999998</c:v>
                </c:pt>
                <c:pt idx="120">
                  <c:v>#N/A</c:v>
                </c:pt>
                <c:pt idx="121">
                  <c:v>2.55158</c:v>
                </c:pt>
                <c:pt idx="122">
                  <c:v>2.49918</c:v>
                </c:pt>
                <c:pt idx="123">
                  <c:v>2.2870599999999999</c:v>
                </c:pt>
                <c:pt idx="124">
                  <c:v>#N/A</c:v>
                </c:pt>
                <c:pt idx="125">
                  <c:v>2.6190600000000002</c:v>
                </c:pt>
                <c:pt idx="126">
                  <c:v>2.8671899999999999</c:v>
                </c:pt>
                <c:pt idx="127">
                  <c:v>#N/A</c:v>
                </c:pt>
                <c:pt idx="128">
                  <c:v>2.2741099999999999</c:v>
                </c:pt>
                <c:pt idx="129">
                  <c:v>2.4245899999999998</c:v>
                </c:pt>
                <c:pt idx="130">
                  <c:v>2.1031200000000001</c:v>
                </c:pt>
                <c:pt idx="131">
                  <c:v>#N/A</c:v>
                </c:pt>
                <c:pt idx="132">
                  <c:v>1.3203199999999999</c:v>
                </c:pt>
                <c:pt idx="133">
                  <c:v>1.64886</c:v>
                </c:pt>
                <c:pt idx="134">
                  <c:v>1.72824</c:v>
                </c:pt>
                <c:pt idx="135">
                  <c:v>#N/A</c:v>
                </c:pt>
                <c:pt idx="136">
                  <c:v>2.5061599999999999</c:v>
                </c:pt>
                <c:pt idx="137">
                  <c:v>3.37466</c:v>
                </c:pt>
                <c:pt idx="138">
                  <c:v>3.0904199999999999</c:v>
                </c:pt>
                <c:pt idx="139">
                  <c:v>#N/A</c:v>
                </c:pt>
                <c:pt idx="140">
                  <c:v>2.9741399999999998</c:v>
                </c:pt>
                <c:pt idx="141">
                  <c:v>2.4022399999999999</c:v>
                </c:pt>
                <c:pt idx="142">
                  <c:v>2.2832400000000002</c:v>
                </c:pt>
                <c:pt idx="143">
                  <c:v>#N/A</c:v>
                </c:pt>
                <c:pt idx="144">
                  <c:v>2.0104600000000001</c:v>
                </c:pt>
                <c:pt idx="145">
                  <c:v>1.8842300000000001</c:v>
                </c:pt>
                <c:pt idx="146">
                  <c:v>#N/A</c:v>
                </c:pt>
                <c:pt idx="147">
                  <c:v>2.99213</c:v>
                </c:pt>
                <c:pt idx="148">
                  <c:v>#N/A</c:v>
                </c:pt>
                <c:pt idx="149">
                  <c:v>3.0898300000000001</c:v>
                </c:pt>
                <c:pt idx="150">
                  <c:v>2.3702000000000001</c:v>
                </c:pt>
                <c:pt idx="151">
                  <c:v>1.59212</c:v>
                </c:pt>
                <c:pt idx="152">
                  <c:v>#N/A</c:v>
                </c:pt>
                <c:pt idx="153">
                  <c:v>1.41357</c:v>
                </c:pt>
                <c:pt idx="154">
                  <c:v>1.4083000000000001</c:v>
                </c:pt>
                <c:pt idx="155">
                  <c:v>#N/A</c:v>
                </c:pt>
                <c:pt idx="156">
                  <c:v>1.3918600000000001</c:v>
                </c:pt>
                <c:pt idx="157">
                  <c:v>1.94638</c:v>
                </c:pt>
                <c:pt idx="158">
                  <c:v>2.7124000000000001</c:v>
                </c:pt>
                <c:pt idx="159">
                  <c:v>#N/A</c:v>
                </c:pt>
                <c:pt idx="160">
                  <c:v>2.7504</c:v>
                </c:pt>
                <c:pt idx="161">
                  <c:v>3.1153</c:v>
                </c:pt>
                <c:pt idx="162">
                  <c:v>#N/A</c:v>
                </c:pt>
                <c:pt idx="163">
                  <c:v>2.51877</c:v>
                </c:pt>
                <c:pt idx="164">
                  <c:v>2.0770599999999999</c:v>
                </c:pt>
                <c:pt idx="165">
                  <c:v>2.1919400000000002</c:v>
                </c:pt>
                <c:pt idx="166">
                  <c:v>#N/A</c:v>
                </c:pt>
                <c:pt idx="167">
                  <c:v>2.6009099999999998</c:v>
                </c:pt>
                <c:pt idx="168">
                  <c:v>2.4278900000000001</c:v>
                </c:pt>
                <c:pt idx="169">
                  <c:v>2.5098600000000002</c:v>
                </c:pt>
                <c:pt idx="170">
                  <c:v>#N/A</c:v>
                </c:pt>
                <c:pt idx="171">
                  <c:v>2.16066</c:v>
                </c:pt>
                <c:pt idx="172">
                  <c:v>2.7747899999999999</c:v>
                </c:pt>
                <c:pt idx="173">
                  <c:v>2.3838699999999999</c:v>
                </c:pt>
                <c:pt idx="174">
                  <c:v>#N/A</c:v>
                </c:pt>
                <c:pt idx="175">
                  <c:v>1.9069499999999999</c:v>
                </c:pt>
                <c:pt idx="176">
                  <c:v>2.04339</c:v>
                </c:pt>
                <c:pt idx="177">
                  <c:v>2.51884</c:v>
                </c:pt>
                <c:pt idx="178">
                  <c:v>#N/A</c:v>
                </c:pt>
                <c:pt idx="179">
                  <c:v>2.7750499999999998</c:v>
                </c:pt>
                <c:pt idx="180">
                  <c:v>2.6075900000000001</c:v>
                </c:pt>
                <c:pt idx="181">
                  <c:v>2.7226699999999999</c:v>
                </c:pt>
                <c:pt idx="182">
                  <c:v>#N/A</c:v>
                </c:pt>
                <c:pt idx="183">
                  <c:v>2.3495200000000001</c:v>
                </c:pt>
                <c:pt idx="184">
                  <c:v>2.2017000000000002</c:v>
                </c:pt>
                <c:pt idx="185">
                  <c:v>1.60442</c:v>
                </c:pt>
                <c:pt idx="186">
                  <c:v>#N/A</c:v>
                </c:pt>
                <c:pt idx="187">
                  <c:v>1.82348</c:v>
                </c:pt>
                <c:pt idx="188">
                  <c:v>1.9563999999999999</c:v>
                </c:pt>
                <c:pt idx="189">
                  <c:v>#N/A</c:v>
                </c:pt>
                <c:pt idx="190">
                  <c:v>2.35256</c:v>
                </c:pt>
                <c:pt idx="191">
                  <c:v>1.9261999999999999</c:v>
                </c:pt>
                <c:pt idx="192">
                  <c:v>2.3037000000000001</c:v>
                </c:pt>
                <c:pt idx="193">
                  <c:v>#N/A</c:v>
                </c:pt>
                <c:pt idx="194">
                  <c:v>1.57565</c:v>
                </c:pt>
                <c:pt idx="195">
                  <c:v>1.5781000000000001</c:v>
                </c:pt>
                <c:pt idx="196">
                  <c:v>1.8588</c:v>
                </c:pt>
                <c:pt idx="197">
                  <c:v>#N/A</c:v>
                </c:pt>
                <c:pt idx="198">
                  <c:v>3.15625</c:v>
                </c:pt>
                <c:pt idx="199">
                  <c:v>3.2206299999999999</c:v>
                </c:pt>
                <c:pt idx="200">
                  <c:v>3.0883099999999999</c:v>
                </c:pt>
                <c:pt idx="201">
                  <c:v>#N/A</c:v>
                </c:pt>
                <c:pt idx="202">
                  <c:v>2.8747099999999999</c:v>
                </c:pt>
                <c:pt idx="203">
                  <c:v>2.77108</c:v>
                </c:pt>
                <c:pt idx="204">
                  <c:v>1.90449</c:v>
                </c:pt>
                <c:pt idx="205">
                  <c:v>#N/A</c:v>
                </c:pt>
                <c:pt idx="206">
                  <c:v>1.61734</c:v>
                </c:pt>
                <c:pt idx="207">
                  <c:v>1.80175</c:v>
                </c:pt>
                <c:pt idx="208">
                  <c:v>2.3967499999999999</c:v>
                </c:pt>
                <c:pt idx="209">
                  <c:v>#N/A</c:v>
                </c:pt>
                <c:pt idx="210">
                  <c:v>3.35514</c:v>
                </c:pt>
                <c:pt idx="211">
                  <c:v>2.6689400000000001</c:v>
                </c:pt>
                <c:pt idx="212">
                  <c:v>2.09911</c:v>
                </c:pt>
                <c:pt idx="213">
                  <c:v>#N/A</c:v>
                </c:pt>
                <c:pt idx="214">
                  <c:v>2.4079899999999999</c:v>
                </c:pt>
                <c:pt idx="215">
                  <c:v>1.6211100000000001</c:v>
                </c:pt>
                <c:pt idx="216">
                  <c:v>1.8421099999999999</c:v>
                </c:pt>
                <c:pt idx="217">
                  <c:v>#N/A</c:v>
                </c:pt>
                <c:pt idx="218">
                  <c:v>1.7679</c:v>
                </c:pt>
                <c:pt idx="219">
                  <c:v>2.5078399999999998</c:v>
                </c:pt>
                <c:pt idx="220">
                  <c:v>2.8475000000000001</c:v>
                </c:pt>
                <c:pt idx="221">
                  <c:v>#N/A</c:v>
                </c:pt>
                <c:pt idx="222">
                  <c:v>#N/A</c:v>
                </c:pt>
                <c:pt idx="223">
                  <c:v>3.13049</c:v>
                </c:pt>
                <c:pt idx="224">
                  <c:v>2.5523699999999998</c:v>
                </c:pt>
                <c:pt idx="225">
                  <c:v>#N/A</c:v>
                </c:pt>
                <c:pt idx="226">
                  <c:v>2.5185900000000001</c:v>
                </c:pt>
                <c:pt idx="227">
                  <c:v>2.0505900000000001</c:v>
                </c:pt>
                <c:pt idx="228">
                  <c:v>2.2198500000000001</c:v>
                </c:pt>
                <c:pt idx="229">
                  <c:v>#N/A</c:v>
                </c:pt>
                <c:pt idx="230">
                  <c:v>2.7810999999999999</c:v>
                </c:pt>
                <c:pt idx="231">
                  <c:v>3.0167600000000001</c:v>
                </c:pt>
                <c:pt idx="232">
                  <c:v>2.8719000000000001</c:v>
                </c:pt>
                <c:pt idx="233">
                  <c:v>#N/A</c:v>
                </c:pt>
                <c:pt idx="234">
                  <c:v>2.9205999999999999</c:v>
                </c:pt>
                <c:pt idx="235">
                  <c:v>1.9115899999999999</c:v>
                </c:pt>
                <c:pt idx="236">
                  <c:v>2.0489299999999999</c:v>
                </c:pt>
                <c:pt idx="237">
                  <c:v>#N/A</c:v>
                </c:pt>
                <c:pt idx="238">
                  <c:v>2.1817299999999999</c:v>
                </c:pt>
                <c:pt idx="239">
                  <c:v>2.0682700000000001</c:v>
                </c:pt>
                <c:pt idx="240">
                  <c:v>2.9229400000000001</c:v>
                </c:pt>
                <c:pt idx="241">
                  <c:v>#N/A</c:v>
                </c:pt>
                <c:pt idx="242">
                  <c:v>3.0833900000000001</c:v>
                </c:pt>
                <c:pt idx="243">
                  <c:v>3.2349299999999999</c:v>
                </c:pt>
                <c:pt idx="244">
                  <c:v>2.8972099999999998</c:v>
                </c:pt>
                <c:pt idx="245">
                  <c:v>#N/A</c:v>
                </c:pt>
                <c:pt idx="246">
                  <c:v>2.68289</c:v>
                </c:pt>
                <c:pt idx="247">
                  <c:v>2.38687</c:v>
                </c:pt>
                <c:pt idx="248">
                  <c:v>#N/A</c:v>
                </c:pt>
                <c:pt idx="249">
                  <c:v>2.3787600000000002</c:v>
                </c:pt>
                <c:pt idx="250">
                  <c:v>2.5705900000000002</c:v>
                </c:pt>
                <c:pt idx="251">
                  <c:v>2.2505099999999998</c:v>
                </c:pt>
                <c:pt idx="252">
                  <c:v>#N/A</c:v>
                </c:pt>
                <c:pt idx="253">
                  <c:v>2.2321</c:v>
                </c:pt>
                <c:pt idx="254">
                  <c:v>2.6720899999999999</c:v>
                </c:pt>
                <c:pt idx="255">
                  <c:v>2.5548099999999998</c:v>
                </c:pt>
                <c:pt idx="256">
                  <c:v>#N/A</c:v>
                </c:pt>
                <c:pt idx="257">
                  <c:v>2.2334900000000002</c:v>
                </c:pt>
                <c:pt idx="258">
                  <c:v>2.52447</c:v>
                </c:pt>
                <c:pt idx="259">
                  <c:v>2.4938899999999999</c:v>
                </c:pt>
                <c:pt idx="260">
                  <c:v>#N/A</c:v>
                </c:pt>
                <c:pt idx="261">
                  <c:v>2.81697</c:v>
                </c:pt>
                <c:pt idx="262">
                  <c:v>3.3200099999999999</c:v>
                </c:pt>
                <c:pt idx="263">
                  <c:v>3.6600199999999998</c:v>
                </c:pt>
                <c:pt idx="264">
                  <c:v>#N/A</c:v>
                </c:pt>
                <c:pt idx="265">
                  <c:v>3.20777</c:v>
                </c:pt>
                <c:pt idx="266">
                  <c:v>2.9764200000000001</c:v>
                </c:pt>
                <c:pt idx="267">
                  <c:v>2.2773099999999999</c:v>
                </c:pt>
                <c:pt idx="268">
                  <c:v>#N/A</c:v>
                </c:pt>
                <c:pt idx="269">
                  <c:v>2.2814100000000002</c:v>
                </c:pt>
                <c:pt idx="270">
                  <c:v>2.78139</c:v>
                </c:pt>
                <c:pt idx="271">
                  <c:v>#N/A</c:v>
                </c:pt>
                <c:pt idx="272">
                  <c:v>2.85562</c:v>
                </c:pt>
                <c:pt idx="273">
                  <c:v>2.8536700000000002</c:v>
                </c:pt>
                <c:pt idx="274">
                  <c:v>2.6925300000000001</c:v>
                </c:pt>
                <c:pt idx="275">
                  <c:v>#N/A</c:v>
                </c:pt>
                <c:pt idx="276">
                  <c:v>2.1307100000000001</c:v>
                </c:pt>
                <c:pt idx="277">
                  <c:v>1.4277</c:v>
                </c:pt>
                <c:pt idx="278">
                  <c:v>1.5516799999999999</c:v>
                </c:pt>
                <c:pt idx="279">
                  <c:v>#N/A</c:v>
                </c:pt>
                <c:pt idx="280">
                  <c:v>2.1903999999999999</c:v>
                </c:pt>
                <c:pt idx="281">
                  <c:v>2.33555</c:v>
                </c:pt>
                <c:pt idx="282">
                  <c:v>3.17469</c:v>
                </c:pt>
                <c:pt idx="283">
                  <c:v>#N/A</c:v>
                </c:pt>
                <c:pt idx="284">
                  <c:v>3.2409599999999998</c:v>
                </c:pt>
                <c:pt idx="285">
                  <c:v>3.3842099999999999</c:v>
                </c:pt>
                <c:pt idx="286">
                  <c:v>2.8077399999999999</c:v>
                </c:pt>
                <c:pt idx="287">
                  <c:v>#N/A</c:v>
                </c:pt>
                <c:pt idx="288">
                  <c:v>2.1882700000000002</c:v>
                </c:pt>
                <c:pt idx="289">
                  <c:v>2.19136</c:v>
                </c:pt>
                <c:pt idx="290">
                  <c:v>#N/A</c:v>
                </c:pt>
                <c:pt idx="291">
                  <c:v>2.4877699999999998</c:v>
                </c:pt>
                <c:pt idx="292">
                  <c:v>2.0466099999999998</c:v>
                </c:pt>
                <c:pt idx="293">
                  <c:v>2.6514099999999998</c:v>
                </c:pt>
                <c:pt idx="294">
                  <c:v>#N/A</c:v>
                </c:pt>
                <c:pt idx="295">
                  <c:v>3.1601400000000002</c:v>
                </c:pt>
                <c:pt idx="296">
                  <c:v>2.7176300000000002</c:v>
                </c:pt>
                <c:pt idx="297">
                  <c:v>#N/A</c:v>
                </c:pt>
                <c:pt idx="298">
                  <c:v>2.8871000000000002</c:v>
                </c:pt>
                <c:pt idx="299">
                  <c:v>1.7893600000000001</c:v>
                </c:pt>
                <c:pt idx="300">
                  <c:v>#N/A</c:v>
                </c:pt>
                <c:pt idx="301">
                  <c:v>1.8286800000000001</c:v>
                </c:pt>
                <c:pt idx="302">
                  <c:v>2.08013</c:v>
                </c:pt>
                <c:pt idx="303">
                  <c:v>2.1424099999999999</c:v>
                </c:pt>
                <c:pt idx="304">
                  <c:v>#N/A</c:v>
                </c:pt>
                <c:pt idx="305">
                  <c:v>3.1294900000000001</c:v>
                </c:pt>
                <c:pt idx="306">
                  <c:v>3.48889</c:v>
                </c:pt>
                <c:pt idx="307">
                  <c:v>3.2584200000000001</c:v>
                </c:pt>
                <c:pt idx="308">
                  <c:v>#N/A</c:v>
                </c:pt>
                <c:pt idx="309">
                  <c:v>2.39622</c:v>
                </c:pt>
                <c:pt idx="310">
                  <c:v>1.81219</c:v>
                </c:pt>
                <c:pt idx="311">
                  <c:v>2.0102799999999998</c:v>
                </c:pt>
                <c:pt idx="312">
                  <c:v>#N/A</c:v>
                </c:pt>
                <c:pt idx="313">
                  <c:v>1.9872099999999999</c:v>
                </c:pt>
                <c:pt idx="314">
                  <c:v>2.9552999999999998</c:v>
                </c:pt>
                <c:pt idx="315">
                  <c:v>#N/A</c:v>
                </c:pt>
                <c:pt idx="316">
                  <c:v>2.8321800000000001</c:v>
                </c:pt>
                <c:pt idx="317">
                  <c:v>3.2914400000000001</c:v>
                </c:pt>
                <c:pt idx="318">
                  <c:v>2.6999900000000001</c:v>
                </c:pt>
                <c:pt idx="319">
                  <c:v>#N/A</c:v>
                </c:pt>
                <c:pt idx="320">
                  <c:v>2.5964800000000001</c:v>
                </c:pt>
                <c:pt idx="321">
                  <c:v>2.3178399999999999</c:v>
                </c:pt>
                <c:pt idx="322">
                  <c:v>2.4233899999999999</c:v>
                </c:pt>
                <c:pt idx="323">
                  <c:v>#N/A</c:v>
                </c:pt>
                <c:pt idx="324">
                  <c:v>2.8767800000000001</c:v>
                </c:pt>
                <c:pt idx="325">
                  <c:v>3.7317800000000001</c:v>
                </c:pt>
                <c:pt idx="326">
                  <c:v>3.0509400000000002</c:v>
                </c:pt>
                <c:pt idx="327">
                  <c:v>#N/A</c:v>
                </c:pt>
                <c:pt idx="328">
                  <c:v>2.9003100000000002</c:v>
                </c:pt>
                <c:pt idx="329">
                  <c:v>2.3945400000000001</c:v>
                </c:pt>
                <c:pt idx="330">
                  <c:v>2.5539100000000001</c:v>
                </c:pt>
                <c:pt idx="331">
                  <c:v>#N/A</c:v>
                </c:pt>
                <c:pt idx="332">
                  <c:v>2.847</c:v>
                </c:pt>
                <c:pt idx="333">
                  <c:v>2.6739199999999999</c:v>
                </c:pt>
                <c:pt idx="334">
                  <c:v>3.0784600000000002</c:v>
                </c:pt>
                <c:pt idx="335">
                  <c:v>#N/A</c:v>
                </c:pt>
                <c:pt idx="336">
                  <c:v>2.81073</c:v>
                </c:pt>
                <c:pt idx="337">
                  <c:v>2.9826899999999998</c:v>
                </c:pt>
                <c:pt idx="338">
                  <c:v>#N/A</c:v>
                </c:pt>
                <c:pt idx="339">
                  <c:v>2.2885399999999998</c:v>
                </c:pt>
                <c:pt idx="340">
                  <c:v>2.3311199999999999</c:v>
                </c:pt>
                <c:pt idx="341">
                  <c:v>2.0852300000000001</c:v>
                </c:pt>
                <c:pt idx="342">
                  <c:v>#N/A</c:v>
                </c:pt>
                <c:pt idx="343">
                  <c:v>2.4674499999999999</c:v>
                </c:pt>
                <c:pt idx="344">
                  <c:v>2.81826</c:v>
                </c:pt>
                <c:pt idx="345">
                  <c:v>3.4068900000000002</c:v>
                </c:pt>
                <c:pt idx="346">
                  <c:v>#N/A</c:v>
                </c:pt>
                <c:pt idx="347">
                  <c:v>3.39872</c:v>
                </c:pt>
                <c:pt idx="348">
                  <c:v>2.8663500000000002</c:v>
                </c:pt>
                <c:pt idx="349">
                  <c:v>3.1118600000000001</c:v>
                </c:pt>
                <c:pt idx="350">
                  <c:v>#N/A</c:v>
                </c:pt>
                <c:pt idx="351">
                  <c:v>2.3075899999999998</c:v>
                </c:pt>
                <c:pt idx="352">
                  <c:v>2.2845800000000001</c:v>
                </c:pt>
                <c:pt idx="353">
                  <c:v>2.65957</c:v>
                </c:pt>
                <c:pt idx="354">
                  <c:v>#N/A</c:v>
                </c:pt>
                <c:pt idx="355">
                  <c:v>2.8664499999999999</c:v>
                </c:pt>
                <c:pt idx="356">
                  <c:v>3.0355699999999999</c:v>
                </c:pt>
                <c:pt idx="357">
                  <c:v>3.1142500000000002</c:v>
                </c:pt>
                <c:pt idx="358">
                  <c:v>#N/A</c:v>
                </c:pt>
                <c:pt idx="359">
                  <c:v>2.6346599999999998</c:v>
                </c:pt>
                <c:pt idx="360">
                  <c:v>2.5997400000000002</c:v>
                </c:pt>
                <c:pt idx="361">
                  <c:v>#N/A</c:v>
                </c:pt>
                <c:pt idx="362">
                  <c:v>2.0905300000000002</c:v>
                </c:pt>
                <c:pt idx="363">
                  <c:v>2.11483</c:v>
                </c:pt>
                <c:pt idx="364">
                  <c:v>2.4729100000000002</c:v>
                </c:pt>
                <c:pt idx="365">
                  <c:v>#N/A</c:v>
                </c:pt>
                <c:pt idx="366">
                  <c:v>2.9403899999999998</c:v>
                </c:pt>
                <c:pt idx="367">
                  <c:v>3.7578100000000001</c:v>
                </c:pt>
                <c:pt idx="368">
                  <c:v>3.4641099999999998</c:v>
                </c:pt>
                <c:pt idx="369">
                  <c:v>#N/A</c:v>
                </c:pt>
                <c:pt idx="370">
                  <c:v>3.5342899999999999</c:v>
                </c:pt>
                <c:pt idx="371">
                  <c:v>2.74709</c:v>
                </c:pt>
                <c:pt idx="372">
                  <c:v>#N/A</c:v>
                </c:pt>
                <c:pt idx="373">
                  <c:v>1.8230200000000001</c:v>
                </c:pt>
                <c:pt idx="374">
                  <c:v>#N/A</c:v>
                </c:pt>
                <c:pt idx="375">
                  <c:v>2.2058300000000002</c:v>
                </c:pt>
                <c:pt idx="376">
                  <c:v>2.6589900000000002</c:v>
                </c:pt>
                <c:pt idx="377">
                  <c:v>3.2709199999999998</c:v>
                </c:pt>
                <c:pt idx="378">
                  <c:v>#N/A</c:v>
                </c:pt>
                <c:pt idx="379">
                  <c:v>3.2603900000000001</c:v>
                </c:pt>
                <c:pt idx="380">
                  <c:v>3.1025700000000001</c:v>
                </c:pt>
                <c:pt idx="381">
                  <c:v>2.7944100000000001</c:v>
                </c:pt>
                <c:pt idx="382">
                  <c:v>#N/A</c:v>
                </c:pt>
                <c:pt idx="383">
                  <c:v>1.89601</c:v>
                </c:pt>
                <c:pt idx="384">
                  <c:v>2.0642499999999999</c:v>
                </c:pt>
                <c:pt idx="385">
                  <c:v>2.4059900000000001</c:v>
                </c:pt>
                <c:pt idx="386">
                  <c:v>#N/A</c:v>
                </c:pt>
                <c:pt idx="387">
                  <c:v>3.2328399999999999</c:v>
                </c:pt>
                <c:pt idx="388">
                  <c:v>3.32707</c:v>
                </c:pt>
                <c:pt idx="389">
                  <c:v>3.31019</c:v>
                </c:pt>
                <c:pt idx="390">
                  <c:v>#N/A</c:v>
                </c:pt>
                <c:pt idx="391">
                  <c:v>3.4559600000000001</c:v>
                </c:pt>
                <c:pt idx="392">
                  <c:v>3.7187899999999998</c:v>
                </c:pt>
                <c:pt idx="393">
                  <c:v>#N/A</c:v>
                </c:pt>
                <c:pt idx="394">
                  <c:v>2.2072699999999998</c:v>
                </c:pt>
                <c:pt idx="395">
                  <c:v>2.2930199999999998</c:v>
                </c:pt>
                <c:pt idx="396">
                  <c:v>2.50414</c:v>
                </c:pt>
                <c:pt idx="397">
                  <c:v>#N/A</c:v>
                </c:pt>
                <c:pt idx="398">
                  <c:v>2.7970799999999998</c:v>
                </c:pt>
                <c:pt idx="399">
                  <c:v>2.6423199999999998</c:v>
                </c:pt>
                <c:pt idx="400">
                  <c:v>3.1136599999999999</c:v>
                </c:pt>
                <c:pt idx="401">
                  <c:v>#N/A</c:v>
                </c:pt>
                <c:pt idx="402">
                  <c:v>2.7336399999999998</c:v>
                </c:pt>
                <c:pt idx="403">
                  <c:v>2.5058400000000001</c:v>
                </c:pt>
                <c:pt idx="404">
                  <c:v>2.7118199999999999</c:v>
                </c:pt>
                <c:pt idx="405">
                  <c:v>#N/A</c:v>
                </c:pt>
                <c:pt idx="406">
                  <c:v>2.5561199999999999</c:v>
                </c:pt>
                <c:pt idx="407">
                  <c:v>2.7747299999999999</c:v>
                </c:pt>
                <c:pt idx="408">
                  <c:v>2.7325599999999999</c:v>
                </c:pt>
                <c:pt idx="409">
                  <c:v>#N/A</c:v>
                </c:pt>
                <c:pt idx="410">
                  <c:v>3.8404500000000001</c:v>
                </c:pt>
                <c:pt idx="411">
                  <c:v>3.1154299999999999</c:v>
                </c:pt>
                <c:pt idx="412">
                  <c:v>3.1509399999999999</c:v>
                </c:pt>
                <c:pt idx="413">
                  <c:v>#N/A</c:v>
                </c:pt>
                <c:pt idx="414">
                  <c:v>2.9327899999999998</c:v>
                </c:pt>
                <c:pt idx="415">
                  <c:v>2.8064200000000001</c:v>
                </c:pt>
                <c:pt idx="416">
                  <c:v>3.03383</c:v>
                </c:pt>
                <c:pt idx="417">
                  <c:v>#N/A</c:v>
                </c:pt>
                <c:pt idx="418">
                  <c:v>3.1256900000000001</c:v>
                </c:pt>
                <c:pt idx="419">
                  <c:v>3.51573</c:v>
                </c:pt>
                <c:pt idx="420">
                  <c:v>#N/A</c:v>
                </c:pt>
                <c:pt idx="421">
                  <c:v>2.9252699999999998</c:v>
                </c:pt>
                <c:pt idx="422">
                  <c:v>2.4103400000000001</c:v>
                </c:pt>
                <c:pt idx="423">
                  <c:v>2.4432299999999998</c:v>
                </c:pt>
                <c:pt idx="424">
                  <c:v>#N/A</c:v>
                </c:pt>
                <c:pt idx="425">
                  <c:v>1.9235899999999999</c:v>
                </c:pt>
                <c:pt idx="426">
                  <c:v>2.6512500000000001</c:v>
                </c:pt>
                <c:pt idx="427">
                  <c:v>2.9455</c:v>
                </c:pt>
                <c:pt idx="428">
                  <c:v>#N/A</c:v>
                </c:pt>
                <c:pt idx="429">
                  <c:v>3.3782100000000002</c:v>
                </c:pt>
                <c:pt idx="430">
                  <c:v>3.5728800000000001</c:v>
                </c:pt>
                <c:pt idx="431">
                  <c:v>3.2658299999999998</c:v>
                </c:pt>
                <c:pt idx="432">
                  <c:v>#N/A</c:v>
                </c:pt>
                <c:pt idx="433">
                  <c:v>2.92564</c:v>
                </c:pt>
                <c:pt idx="434">
                  <c:v>1.90103</c:v>
                </c:pt>
                <c:pt idx="435">
                  <c:v>1.9613700000000001</c:v>
                </c:pt>
                <c:pt idx="436">
                  <c:v>#N/A</c:v>
                </c:pt>
                <c:pt idx="437">
                  <c:v>2.4702799999999998</c:v>
                </c:pt>
                <c:pt idx="438">
                  <c:v>2.5288300000000001</c:v>
                </c:pt>
                <c:pt idx="439">
                  <c:v>#N/A</c:v>
                </c:pt>
                <c:pt idx="440">
                  <c:v>3.3764099999999999</c:v>
                </c:pt>
                <c:pt idx="441">
                  <c:v>3.8487800000000001</c:v>
                </c:pt>
                <c:pt idx="442">
                  <c:v>3.26241</c:v>
                </c:pt>
                <c:pt idx="443">
                  <c:v>#N/A</c:v>
                </c:pt>
                <c:pt idx="444">
                  <c:v>3.16893</c:v>
                </c:pt>
                <c:pt idx="445">
                  <c:v>2.4701300000000002</c:v>
                </c:pt>
                <c:pt idx="446">
                  <c:v>1.87097</c:v>
                </c:pt>
                <c:pt idx="447">
                  <c:v>#N/A</c:v>
                </c:pt>
                <c:pt idx="448">
                  <c:v>2.1840899999999999</c:v>
                </c:pt>
                <c:pt idx="449">
                  <c:v>#N/A</c:v>
                </c:pt>
                <c:pt idx="450">
                  <c:v>3.14514</c:v>
                </c:pt>
                <c:pt idx="451">
                  <c:v>3.18567</c:v>
                </c:pt>
                <c:pt idx="452">
                  <c:v>#N/A</c:v>
                </c:pt>
                <c:pt idx="453">
                  <c:v>3.8125499999999999</c:v>
                </c:pt>
                <c:pt idx="454">
                  <c:v>3.7773300000000001</c:v>
                </c:pt>
                <c:pt idx="455">
                  <c:v>2.5777100000000002</c:v>
                </c:pt>
                <c:pt idx="456">
                  <c:v>#N/A</c:v>
                </c:pt>
                <c:pt idx="457">
                  <c:v>2.4866199999999998</c:v>
                </c:pt>
                <c:pt idx="458">
                  <c:v>2.3064800000000001</c:v>
                </c:pt>
                <c:pt idx="459">
                  <c:v>#N/A</c:v>
                </c:pt>
                <c:pt idx="460">
                  <c:v>1.9702900000000001</c:v>
                </c:pt>
                <c:pt idx="461">
                  <c:v>2.6381399999999999</c:v>
                </c:pt>
                <c:pt idx="462">
                  <c:v>2.9224899999999998</c:v>
                </c:pt>
                <c:pt idx="463">
                  <c:v>#N/A</c:v>
                </c:pt>
                <c:pt idx="464">
                  <c:v>3.14255</c:v>
                </c:pt>
                <c:pt idx="465">
                  <c:v>2.8463699999999998</c:v>
                </c:pt>
                <c:pt idx="466">
                  <c:v>3.0350199999999998</c:v>
                </c:pt>
                <c:pt idx="467">
                  <c:v>#N/A</c:v>
                </c:pt>
                <c:pt idx="468">
                  <c:v>2.7719900000000002</c:v>
                </c:pt>
                <c:pt idx="469">
                  <c:v>2.5840000000000001</c:v>
                </c:pt>
                <c:pt idx="470">
                  <c:v>2.7481300000000002</c:v>
                </c:pt>
                <c:pt idx="471">
                  <c:v>#N/A</c:v>
                </c:pt>
                <c:pt idx="472">
                  <c:v>3.0682800000000001</c:v>
                </c:pt>
                <c:pt idx="473">
                  <c:v>3.0771999999999999</c:v>
                </c:pt>
                <c:pt idx="474">
                  <c:v>3.25928</c:v>
                </c:pt>
                <c:pt idx="475">
                  <c:v>#N/A</c:v>
                </c:pt>
                <c:pt idx="476">
                  <c:v>2.8348399999999998</c:v>
                </c:pt>
                <c:pt idx="477">
                  <c:v>2.4497100000000001</c:v>
                </c:pt>
                <c:pt idx="478">
                  <c:v>2.82796</c:v>
                </c:pt>
                <c:pt idx="479">
                  <c:v>#N/A</c:v>
                </c:pt>
                <c:pt idx="480">
                  <c:v>2.9161999999999999</c:v>
                </c:pt>
                <c:pt idx="481">
                  <c:v>2.6599200000000001</c:v>
                </c:pt>
                <c:pt idx="482">
                  <c:v>2.6859299999999999</c:v>
                </c:pt>
                <c:pt idx="483">
                  <c:v>#N/A</c:v>
                </c:pt>
                <c:pt idx="484">
                  <c:v>3.1434700000000002</c:v>
                </c:pt>
                <c:pt idx="485">
                  <c:v>2.1984499999999998</c:v>
                </c:pt>
                <c:pt idx="486">
                  <c:v>1.23749</c:v>
                </c:pt>
                <c:pt idx="487">
                  <c:v>#N/A</c:v>
                </c:pt>
                <c:pt idx="488">
                  <c:v>1.7418800000000001</c:v>
                </c:pt>
                <c:pt idx="489">
                  <c:v>2.0636700000000001</c:v>
                </c:pt>
                <c:pt idx="490">
                  <c:v>#N/A</c:v>
                </c:pt>
                <c:pt idx="491">
                  <c:v>2.7167699999999999</c:v>
                </c:pt>
                <c:pt idx="492">
                  <c:v>3.4528699999999999</c:v>
                </c:pt>
                <c:pt idx="493">
                  <c:v>3.2885499999999999</c:v>
                </c:pt>
                <c:pt idx="494">
                  <c:v>#N/A</c:v>
                </c:pt>
                <c:pt idx="495">
                  <c:v>2.67319</c:v>
                </c:pt>
                <c:pt idx="496">
                  <c:v>2.5285099999999998</c:v>
                </c:pt>
                <c:pt idx="497">
                  <c:v>1.76674</c:v>
                </c:pt>
                <c:pt idx="498">
                  <c:v>#N/A</c:v>
                </c:pt>
                <c:pt idx="499">
                  <c:v>1.7437</c:v>
                </c:pt>
                <c:pt idx="500">
                  <c:v>2.3501099999999999</c:v>
                </c:pt>
                <c:pt idx="501">
                  <c:v>3.4380700000000002</c:v>
                </c:pt>
                <c:pt idx="502">
                  <c:v>#N/A</c:v>
                </c:pt>
                <c:pt idx="503">
                  <c:v>3.4205700000000001</c:v>
                </c:pt>
                <c:pt idx="504">
                  <c:v>3.2995800000000002</c:v>
                </c:pt>
                <c:pt idx="505">
                  <c:v>3.01796</c:v>
                </c:pt>
                <c:pt idx="506">
                  <c:v>#N/A</c:v>
                </c:pt>
                <c:pt idx="507">
                  <c:v>2.6329099999999999</c:v>
                </c:pt>
                <c:pt idx="508">
                  <c:v>2.4216099999999998</c:v>
                </c:pt>
                <c:pt idx="509">
                  <c:v>2.2617099999999999</c:v>
                </c:pt>
                <c:pt idx="510">
                  <c:v>#N/A</c:v>
                </c:pt>
                <c:pt idx="511">
                  <c:v>1.90144</c:v>
                </c:pt>
                <c:pt idx="512">
                  <c:v>2.6536499999999998</c:v>
                </c:pt>
                <c:pt idx="513">
                  <c:v>3.6488900000000002</c:v>
                </c:pt>
                <c:pt idx="514">
                  <c:v>#N/A</c:v>
                </c:pt>
                <c:pt idx="515">
                  <c:v>3.8829799999999999</c:v>
                </c:pt>
                <c:pt idx="516">
                  <c:v>3.42401</c:v>
                </c:pt>
                <c:pt idx="517">
                  <c:v>2.6940400000000002</c:v>
                </c:pt>
                <c:pt idx="518">
                  <c:v>#N/A</c:v>
                </c:pt>
                <c:pt idx="519">
                  <c:v>2.3530799999999998</c:v>
                </c:pt>
                <c:pt idx="520">
                  <c:v>1.99735</c:v>
                </c:pt>
                <c:pt idx="521">
                  <c:v>#N/A</c:v>
                </c:pt>
                <c:pt idx="522">
                  <c:v>2.4994800000000001</c:v>
                </c:pt>
                <c:pt idx="523">
                  <c:v>2.8467500000000001</c:v>
                </c:pt>
                <c:pt idx="524">
                  <c:v>#N/A</c:v>
                </c:pt>
                <c:pt idx="525">
                  <c:v>2.4845299999999999</c:v>
                </c:pt>
                <c:pt idx="526">
                  <c:v>3.1607799999999999</c:v>
                </c:pt>
                <c:pt idx="527">
                  <c:v>3.2605300000000002</c:v>
                </c:pt>
                <c:pt idx="528">
                  <c:v>#N/A</c:v>
                </c:pt>
                <c:pt idx="529">
                  <c:v>2.3100700000000001</c:v>
                </c:pt>
                <c:pt idx="530">
                  <c:v>2.6295700000000002</c:v>
                </c:pt>
                <c:pt idx="531">
                  <c:v>#N/A</c:v>
                </c:pt>
                <c:pt idx="532">
                  <c:v>2.3347600000000002</c:v>
                </c:pt>
                <c:pt idx="533">
                  <c:v>2.4810699999999999</c:v>
                </c:pt>
                <c:pt idx="534">
                  <c:v>3.1623700000000001</c:v>
                </c:pt>
                <c:pt idx="535">
                  <c:v>#N/A</c:v>
                </c:pt>
                <c:pt idx="536">
                  <c:v>3.3365499999999999</c:v>
                </c:pt>
                <c:pt idx="537">
                  <c:v>3.2206299999999999</c:v>
                </c:pt>
                <c:pt idx="538">
                  <c:v>3.30172</c:v>
                </c:pt>
                <c:pt idx="539">
                  <c:v>#N/A</c:v>
                </c:pt>
                <c:pt idx="540">
                  <c:v>2.93615</c:v>
                </c:pt>
                <c:pt idx="541">
                  <c:v>2.9480400000000002</c:v>
                </c:pt>
                <c:pt idx="542">
                  <c:v>3.6212200000000001</c:v>
                </c:pt>
                <c:pt idx="543">
                  <c:v>#N/A</c:v>
                </c:pt>
                <c:pt idx="544">
                  <c:v>3.8742999999999999</c:v>
                </c:pt>
                <c:pt idx="545">
                  <c:v>3.9484300000000001</c:v>
                </c:pt>
                <c:pt idx="546">
                  <c:v>4.0283600000000002</c:v>
                </c:pt>
                <c:pt idx="547">
                  <c:v>#N/A</c:v>
                </c:pt>
                <c:pt idx="548">
                  <c:v>3.8044199999999999</c:v>
                </c:pt>
                <c:pt idx="549">
                  <c:v>2.7567400000000002</c:v>
                </c:pt>
                <c:pt idx="550">
                  <c:v>#N/A</c:v>
                </c:pt>
                <c:pt idx="551">
                  <c:v>2.4497300000000002</c:v>
                </c:pt>
                <c:pt idx="552">
                  <c:v>2.2700200000000001</c:v>
                </c:pt>
                <c:pt idx="553">
                  <c:v>2.6256300000000001</c:v>
                </c:pt>
                <c:pt idx="554">
                  <c:v>#N/A</c:v>
                </c:pt>
                <c:pt idx="555">
                  <c:v>2.8315600000000001</c:v>
                </c:pt>
                <c:pt idx="556">
                  <c:v>3.17842</c:v>
                </c:pt>
                <c:pt idx="557">
                  <c:v>3.0720399999999999</c:v>
                </c:pt>
                <c:pt idx="558">
                  <c:v>#N/A</c:v>
                </c:pt>
                <c:pt idx="559">
                  <c:v>2.6096699999999999</c:v>
                </c:pt>
                <c:pt idx="560">
                  <c:v>1.51623</c:v>
                </c:pt>
                <c:pt idx="561">
                  <c:v>1.4911000000000001</c:v>
                </c:pt>
                <c:pt idx="562">
                  <c:v>#N/A</c:v>
                </c:pt>
                <c:pt idx="563">
                  <c:v>2.16113</c:v>
                </c:pt>
                <c:pt idx="564">
                  <c:v>2.6173999999999999</c:v>
                </c:pt>
                <c:pt idx="565">
                  <c:v>3.1413500000000001</c:v>
                </c:pt>
                <c:pt idx="566">
                  <c:v>#N/A</c:v>
                </c:pt>
                <c:pt idx="567">
                  <c:v>3.3001399999999999</c:v>
                </c:pt>
                <c:pt idx="568">
                  <c:v>2.8162799999999999</c:v>
                </c:pt>
                <c:pt idx="569">
                  <c:v>2.74891</c:v>
                </c:pt>
                <c:pt idx="570">
                  <c:v>#N/A</c:v>
                </c:pt>
                <c:pt idx="571">
                  <c:v>2.6541899999999998</c:v>
                </c:pt>
                <c:pt idx="572">
                  <c:v>2.6778200000000001</c:v>
                </c:pt>
                <c:pt idx="573">
                  <c:v>3.1176400000000002</c:v>
                </c:pt>
                <c:pt idx="574">
                  <c:v>#N/A</c:v>
                </c:pt>
                <c:pt idx="575">
                  <c:v>3.7168999999999999</c:v>
                </c:pt>
                <c:pt idx="576">
                  <c:v>3.9824299999999999</c:v>
                </c:pt>
                <c:pt idx="577">
                  <c:v>3.9318300000000002</c:v>
                </c:pt>
                <c:pt idx="578">
                  <c:v>#N/A</c:v>
                </c:pt>
                <c:pt idx="579">
                  <c:v>3.7006399999999999</c:v>
                </c:pt>
                <c:pt idx="580">
                  <c:v>3.35791</c:v>
                </c:pt>
                <c:pt idx="581">
                  <c:v>#N/A</c:v>
                </c:pt>
                <c:pt idx="582">
                  <c:v>2.3890699999999998</c:v>
                </c:pt>
                <c:pt idx="583">
                  <c:v>2.6180699999999999</c:v>
                </c:pt>
                <c:pt idx="584">
                  <c:v>2.5351599999999999</c:v>
                </c:pt>
                <c:pt idx="585">
                  <c:v>#N/A</c:v>
                </c:pt>
                <c:pt idx="586">
                  <c:v>2.8012199999999998</c:v>
                </c:pt>
                <c:pt idx="587">
                  <c:v>3.2313399999999999</c:v>
                </c:pt>
                <c:pt idx="588">
                  <c:v>3.4990299999999999</c:v>
                </c:pt>
                <c:pt idx="589">
                  <c:v>#N/A</c:v>
                </c:pt>
                <c:pt idx="590">
                  <c:v>2.9522599999999999</c:v>
                </c:pt>
                <c:pt idx="591">
                  <c:v>2.3762699999999999</c:v>
                </c:pt>
                <c:pt idx="592">
                  <c:v>2.27183</c:v>
                </c:pt>
                <c:pt idx="593">
                  <c:v>#N/A</c:v>
                </c:pt>
                <c:pt idx="594">
                  <c:v>2.4158200000000001</c:v>
                </c:pt>
                <c:pt idx="595">
                  <c:v>2.9650699999999999</c:v>
                </c:pt>
                <c:pt idx="596">
                  <c:v>3.5193599999999998</c:v>
                </c:pt>
                <c:pt idx="597">
                  <c:v>#N/A</c:v>
                </c:pt>
                <c:pt idx="598">
                  <c:v>#N/A</c:v>
                </c:pt>
                <c:pt idx="599">
                  <c:v>3.8583500000000002</c:v>
                </c:pt>
                <c:pt idx="600">
                  <c:v>3.5773700000000002</c:v>
                </c:pt>
                <c:pt idx="601">
                  <c:v>2.5348799999999998</c:v>
                </c:pt>
                <c:pt idx="602">
                  <c:v>#N/A</c:v>
                </c:pt>
                <c:pt idx="603">
                  <c:v>#N/A</c:v>
                </c:pt>
                <c:pt idx="604">
                  <c:v>2.9508200000000002</c:v>
                </c:pt>
                <c:pt idx="605">
                  <c:v>#N/A</c:v>
                </c:pt>
                <c:pt idx="606">
                  <c:v>2.9925799999999998</c:v>
                </c:pt>
                <c:pt idx="607">
                  <c:v>3.4635400000000001</c:v>
                </c:pt>
                <c:pt idx="608">
                  <c:v>3.6316700000000002</c:v>
                </c:pt>
                <c:pt idx="609">
                  <c:v>#N/A</c:v>
                </c:pt>
                <c:pt idx="610">
                  <c:v>3.8858000000000001</c:v>
                </c:pt>
                <c:pt idx="611">
                  <c:v>3.1724299999999999</c:v>
                </c:pt>
                <c:pt idx="612">
                  <c:v>2.9736799999999999</c:v>
                </c:pt>
                <c:pt idx="613">
                  <c:v>#N/A</c:v>
                </c:pt>
                <c:pt idx="614">
                  <c:v>2.8480300000000001</c:v>
                </c:pt>
                <c:pt idx="615">
                  <c:v>2.8646400000000001</c:v>
                </c:pt>
                <c:pt idx="616">
                  <c:v>3.2410199999999998</c:v>
                </c:pt>
                <c:pt idx="617">
                  <c:v>#N/A</c:v>
                </c:pt>
                <c:pt idx="618">
                  <c:v>4.0461600000000004</c:v>
                </c:pt>
                <c:pt idx="619">
                  <c:v>3.94068</c:v>
                </c:pt>
                <c:pt idx="620">
                  <c:v>4.1586699999999999</c:v>
                </c:pt>
                <c:pt idx="621">
                  <c:v>#N/A</c:v>
                </c:pt>
                <c:pt idx="622">
                  <c:v>4.1315299999999997</c:v>
                </c:pt>
                <c:pt idx="623">
                  <c:v>3.4874100000000001</c:v>
                </c:pt>
                <c:pt idx="624">
                  <c:v>2.9865400000000002</c:v>
                </c:pt>
                <c:pt idx="625">
                  <c:v>#N/A</c:v>
                </c:pt>
                <c:pt idx="626">
                  <c:v>2.7360899999999999</c:v>
                </c:pt>
                <c:pt idx="627">
                  <c:v>3.7932100000000002</c:v>
                </c:pt>
                <c:pt idx="628">
                  <c:v>#N/A</c:v>
                </c:pt>
                <c:pt idx="629">
                  <c:v>3.5279600000000002</c:v>
                </c:pt>
                <c:pt idx="630">
                  <c:v>3.1414900000000001</c:v>
                </c:pt>
                <c:pt idx="631">
                  <c:v>3.37371</c:v>
                </c:pt>
                <c:pt idx="632">
                  <c:v>#N/A</c:v>
                </c:pt>
                <c:pt idx="633">
                  <c:v>3.5530499999999998</c:v>
                </c:pt>
                <c:pt idx="634">
                  <c:v>3.0058799999999999</c:v>
                </c:pt>
                <c:pt idx="635">
                  <c:v>3.6024500000000002</c:v>
                </c:pt>
                <c:pt idx="636">
                  <c:v>#N/A</c:v>
                </c:pt>
                <c:pt idx="637">
                  <c:v>3.38747</c:v>
                </c:pt>
                <c:pt idx="638">
                  <c:v>3.58962</c:v>
                </c:pt>
                <c:pt idx="639">
                  <c:v>3.6282700000000001</c:v>
                </c:pt>
                <c:pt idx="640">
                  <c:v>#N/A</c:v>
                </c:pt>
                <c:pt idx="641">
                  <c:v>4.1123200000000004</c:v>
                </c:pt>
                <c:pt idx="642">
                  <c:v>3.5125000000000002</c:v>
                </c:pt>
                <c:pt idx="643">
                  <c:v>2.7036600000000002</c:v>
                </c:pt>
                <c:pt idx="644">
                  <c:v>#N/A</c:v>
                </c:pt>
                <c:pt idx="645">
                  <c:v>3.2038099999999998</c:v>
                </c:pt>
                <c:pt idx="646">
                  <c:v>3.2908499999999998</c:v>
                </c:pt>
                <c:pt idx="647">
                  <c:v>3.9590800000000002</c:v>
                </c:pt>
                <c:pt idx="648">
                  <c:v>#N/A</c:v>
                </c:pt>
                <c:pt idx="649">
                  <c:v>3.9295300000000002</c:v>
                </c:pt>
                <c:pt idx="650">
                  <c:v>3.7022400000000002</c:v>
                </c:pt>
                <c:pt idx="651">
                  <c:v>3.32287</c:v>
                </c:pt>
                <c:pt idx="652">
                  <c:v>#N/A</c:v>
                </c:pt>
                <c:pt idx="653">
                  <c:v>3.37236</c:v>
                </c:pt>
                <c:pt idx="654">
                  <c:v>2.5028000000000001</c:v>
                </c:pt>
                <c:pt idx="655">
                  <c:v>#N/A</c:v>
                </c:pt>
                <c:pt idx="656">
                  <c:v>2.3913700000000002</c:v>
                </c:pt>
                <c:pt idx="657">
                  <c:v>2.7475499999999999</c:v>
                </c:pt>
                <c:pt idx="658">
                  <c:v>3.5753499999999998</c:v>
                </c:pt>
                <c:pt idx="659">
                  <c:v>#N/A</c:v>
                </c:pt>
                <c:pt idx="660">
                  <c:v>4.8820100000000002</c:v>
                </c:pt>
                <c:pt idx="661">
                  <c:v>4.2544199999999996</c:v>
                </c:pt>
                <c:pt idx="662">
                  <c:v>3.9081899999999998</c:v>
                </c:pt>
                <c:pt idx="663">
                  <c:v>#N/A</c:v>
                </c:pt>
                <c:pt idx="664">
                  <c:v>3.00122</c:v>
                </c:pt>
                <c:pt idx="665">
                  <c:v>2.21245</c:v>
                </c:pt>
                <c:pt idx="666">
                  <c:v>2.4160300000000001</c:v>
                </c:pt>
                <c:pt idx="667">
                  <c:v>#N/A</c:v>
                </c:pt>
                <c:pt idx="668">
                  <c:v>2.7860200000000002</c:v>
                </c:pt>
                <c:pt idx="669">
                  <c:v>3.4089200000000002</c:v>
                </c:pt>
                <c:pt idx="670">
                  <c:v>3.86633</c:v>
                </c:pt>
                <c:pt idx="671">
                  <c:v>#N/A</c:v>
                </c:pt>
                <c:pt idx="672">
                  <c:v>3.8534899999999999</c:v>
                </c:pt>
                <c:pt idx="673">
                  <c:v>#N/A</c:v>
                </c:pt>
                <c:pt idx="674">
                  <c:v>3.4805999999999999</c:v>
                </c:pt>
                <c:pt idx="675">
                  <c:v>3.1825399999999999</c:v>
                </c:pt>
                <c:pt idx="676">
                  <c:v>#N/A</c:v>
                </c:pt>
                <c:pt idx="677">
                  <c:v>2.5844900000000002</c:v>
                </c:pt>
                <c:pt idx="678">
                  <c:v>2.7704</c:v>
                </c:pt>
                <c:pt idx="679">
                  <c:v>#N/A</c:v>
                </c:pt>
                <c:pt idx="680">
                  <c:v>2.9147799999999999</c:v>
                </c:pt>
                <c:pt idx="681">
                  <c:v>3.76431</c:v>
                </c:pt>
                <c:pt idx="682">
                  <c:v>3.8344800000000001</c:v>
                </c:pt>
                <c:pt idx="683">
                  <c:v>#N/A</c:v>
                </c:pt>
                <c:pt idx="684">
                  <c:v>3.8298399999999999</c:v>
                </c:pt>
                <c:pt idx="685">
                  <c:v>3.1274999999999999</c:v>
                </c:pt>
                <c:pt idx="686">
                  <c:v>3.3084099999999999</c:v>
                </c:pt>
                <c:pt idx="687">
                  <c:v>#N/A</c:v>
                </c:pt>
                <c:pt idx="688">
                  <c:v>3.0081699999999998</c:v>
                </c:pt>
                <c:pt idx="689">
                  <c:v>2.8210600000000001</c:v>
                </c:pt>
                <c:pt idx="690">
                  <c:v>#N/A</c:v>
                </c:pt>
                <c:pt idx="691">
                  <c:v>2.7261700000000002</c:v>
                </c:pt>
                <c:pt idx="692">
                  <c:v>2.82857</c:v>
                </c:pt>
                <c:pt idx="693">
                  <c:v>2.7448299999999999</c:v>
                </c:pt>
                <c:pt idx="694">
                  <c:v>#N/A</c:v>
                </c:pt>
                <c:pt idx="695">
                  <c:v>3.0977899999999998</c:v>
                </c:pt>
                <c:pt idx="696">
                  <c:v>3.23393</c:v>
                </c:pt>
                <c:pt idx="697">
                  <c:v>2.8143500000000001</c:v>
                </c:pt>
                <c:pt idx="698">
                  <c:v>#N/A</c:v>
                </c:pt>
                <c:pt idx="699">
                  <c:v>3.01993</c:v>
                </c:pt>
                <c:pt idx="700">
                  <c:v>3.6408200000000002</c:v>
                </c:pt>
                <c:pt idx="701">
                  <c:v>3.8620000000000001</c:v>
                </c:pt>
                <c:pt idx="702">
                  <c:v>#N/A</c:v>
                </c:pt>
                <c:pt idx="703">
                  <c:v>3.9313699999999998</c:v>
                </c:pt>
                <c:pt idx="704">
                  <c:v>3.5428799999999998</c:v>
                </c:pt>
                <c:pt idx="705">
                  <c:v>3.1970100000000001</c:v>
                </c:pt>
                <c:pt idx="706">
                  <c:v>#N/A</c:v>
                </c:pt>
                <c:pt idx="707">
                  <c:v>3.3080400000000001</c:v>
                </c:pt>
                <c:pt idx="708">
                  <c:v>3.0379499999999999</c:v>
                </c:pt>
                <c:pt idx="709">
                  <c:v>3.2336</c:v>
                </c:pt>
                <c:pt idx="710">
                  <c:v>#N/A</c:v>
                </c:pt>
                <c:pt idx="711">
                  <c:v>3.48773</c:v>
                </c:pt>
                <c:pt idx="712">
                  <c:v>3.99987</c:v>
                </c:pt>
                <c:pt idx="713">
                  <c:v>3.52752</c:v>
                </c:pt>
                <c:pt idx="714">
                  <c:v>#N/A</c:v>
                </c:pt>
                <c:pt idx="715">
                  <c:v>3.1526399999999999</c:v>
                </c:pt>
                <c:pt idx="716">
                  <c:v>2.2215400000000001</c:v>
                </c:pt>
                <c:pt idx="717">
                  <c:v>#N/A</c:v>
                </c:pt>
                <c:pt idx="718">
                  <c:v>2.8237999999999999</c:v>
                </c:pt>
                <c:pt idx="719">
                  <c:v>2.7089400000000001</c:v>
                </c:pt>
                <c:pt idx="720">
                  <c:v>3.3560099999999999</c:v>
                </c:pt>
                <c:pt idx="721">
                  <c:v>#N/A</c:v>
                </c:pt>
                <c:pt idx="722">
                  <c:v>3.9056000000000002</c:v>
                </c:pt>
                <c:pt idx="723">
                  <c:v>4.0201599999999997</c:v>
                </c:pt>
                <c:pt idx="724">
                  <c:v>4.1363099999999999</c:v>
                </c:pt>
                <c:pt idx="725">
                  <c:v>#N/A</c:v>
                </c:pt>
                <c:pt idx="726">
                  <c:v>4.4702000000000002</c:v>
                </c:pt>
                <c:pt idx="727">
                  <c:v>3.83982</c:v>
                </c:pt>
                <c:pt idx="728">
                  <c:v>#N/A</c:v>
                </c:pt>
                <c:pt idx="729">
                  <c:v>3.34721</c:v>
                </c:pt>
                <c:pt idx="730">
                  <c:v>3.2837200000000002</c:v>
                </c:pt>
                <c:pt idx="731">
                  <c:v>3.8914300000000002</c:v>
                </c:pt>
                <c:pt idx="732">
                  <c:v>#N/A</c:v>
                </c:pt>
                <c:pt idx="733">
                  <c:v>3.96618</c:v>
                </c:pt>
                <c:pt idx="734">
                  <c:v>3.7058</c:v>
                </c:pt>
                <c:pt idx="735">
                  <c:v>3.9944899999999999</c:v>
                </c:pt>
                <c:pt idx="736">
                  <c:v>#N/A</c:v>
                </c:pt>
                <c:pt idx="737">
                  <c:v>3.4227699999999999</c:v>
                </c:pt>
                <c:pt idx="738">
                  <c:v>3.05342</c:v>
                </c:pt>
                <c:pt idx="739">
                  <c:v>2.9526699999999999</c:v>
                </c:pt>
                <c:pt idx="740">
                  <c:v>#N/A</c:v>
                </c:pt>
                <c:pt idx="741">
                  <c:v>3.2159200000000001</c:v>
                </c:pt>
                <c:pt idx="742">
                  <c:v>3.6455600000000001</c:v>
                </c:pt>
                <c:pt idx="743">
                  <c:v>4.3958199999999996</c:v>
                </c:pt>
                <c:pt idx="744">
                  <c:v>#N/A</c:v>
                </c:pt>
                <c:pt idx="745">
                  <c:v>4.3703000000000003</c:v>
                </c:pt>
                <c:pt idx="746">
                  <c:v>3.8473099999999998</c:v>
                </c:pt>
                <c:pt idx="747">
                  <c:v>3.0577000000000001</c:v>
                </c:pt>
                <c:pt idx="748">
                  <c:v>#N/A</c:v>
                </c:pt>
                <c:pt idx="749">
                  <c:v>3.0884999999999998</c:v>
                </c:pt>
                <c:pt idx="750">
                  <c:v>#N/A</c:v>
                </c:pt>
                <c:pt idx="751">
                  <c:v>3.2510500000000002</c:v>
                </c:pt>
                <c:pt idx="752">
                  <c:v>3.6718199999999999</c:v>
                </c:pt>
                <c:pt idx="753">
                  <c:v>#N/A</c:v>
                </c:pt>
                <c:pt idx="754">
                  <c:v>3.73678</c:v>
                </c:pt>
                <c:pt idx="755">
                  <c:v>3.9668100000000002</c:v>
                </c:pt>
                <c:pt idx="756">
                  <c:v>4.3696000000000002</c:v>
                </c:pt>
                <c:pt idx="757">
                  <c:v>#N/A</c:v>
                </c:pt>
                <c:pt idx="758">
                  <c:v>4.3388400000000003</c:v>
                </c:pt>
                <c:pt idx="759">
                  <c:v>3.3314699999999999</c:v>
                </c:pt>
                <c:pt idx="760">
                  <c:v>#N/A</c:v>
                </c:pt>
                <c:pt idx="761">
                  <c:v>3.3588499999999999</c:v>
                </c:pt>
                <c:pt idx="762">
                  <c:v>3.1846000000000001</c:v>
                </c:pt>
                <c:pt idx="763">
                  <c:v>3.96882</c:v>
                </c:pt>
                <c:pt idx="764">
                  <c:v>#N/A</c:v>
                </c:pt>
                <c:pt idx="765">
                  <c:v>4.5041700000000002</c:v>
                </c:pt>
                <c:pt idx="766">
                  <c:v>4.64567</c:v>
                </c:pt>
                <c:pt idx="767">
                  <c:v>5.1151499999999999</c:v>
                </c:pt>
                <c:pt idx="768">
                  <c:v>#N/A</c:v>
                </c:pt>
                <c:pt idx="769">
                  <c:v>4.3219200000000004</c:v>
                </c:pt>
                <c:pt idx="770">
                  <c:v>4.0559599999999998</c:v>
                </c:pt>
                <c:pt idx="771">
                  <c:v>4.2868399999999998</c:v>
                </c:pt>
                <c:pt idx="772">
                  <c:v>#N/A</c:v>
                </c:pt>
                <c:pt idx="773">
                  <c:v>4.0808999999999997</c:v>
                </c:pt>
                <c:pt idx="774">
                  <c:v>4.3402599999999998</c:v>
                </c:pt>
                <c:pt idx="775">
                  <c:v>4.34924</c:v>
                </c:pt>
                <c:pt idx="776">
                  <c:v>#N/A</c:v>
                </c:pt>
                <c:pt idx="777">
                  <c:v>3.9586399999999999</c:v>
                </c:pt>
                <c:pt idx="778">
                  <c:v>3.9232300000000002</c:v>
                </c:pt>
                <c:pt idx="779">
                  <c:v>3.61293</c:v>
                </c:pt>
                <c:pt idx="780">
                  <c:v>#N/A</c:v>
                </c:pt>
                <c:pt idx="781">
                  <c:v>3.77142</c:v>
                </c:pt>
                <c:pt idx="782">
                  <c:v>3.7811699999999999</c:v>
                </c:pt>
                <c:pt idx="783">
                  <c:v>4.1619799999999998</c:v>
                </c:pt>
                <c:pt idx="784">
                  <c:v>#N/A</c:v>
                </c:pt>
                <c:pt idx="785">
                  <c:v>4.3683500000000004</c:v>
                </c:pt>
                <c:pt idx="786">
                  <c:v>4.5272100000000002</c:v>
                </c:pt>
                <c:pt idx="787">
                  <c:v>4.7845500000000003</c:v>
                </c:pt>
                <c:pt idx="788">
                  <c:v>#N/A</c:v>
                </c:pt>
                <c:pt idx="789">
                  <c:v>4.0780900000000004</c:v>
                </c:pt>
                <c:pt idx="790">
                  <c:v>3.66405</c:v>
                </c:pt>
                <c:pt idx="791">
                  <c:v>#N/A</c:v>
                </c:pt>
                <c:pt idx="792">
                  <c:v>4.33148</c:v>
                </c:pt>
                <c:pt idx="793">
                  <c:v>4.4552399999999999</c:v>
                </c:pt>
                <c:pt idx="794">
                  <c:v>4.8089199999999996</c:v>
                </c:pt>
                <c:pt idx="795">
                  <c:v>#N/A</c:v>
                </c:pt>
                <c:pt idx="796">
                  <c:v>5.0510900000000003</c:v>
                </c:pt>
                <c:pt idx="797">
                  <c:v>4.4958099999999996</c:v>
                </c:pt>
                <c:pt idx="798">
                  <c:v>4.1275899999999996</c:v>
                </c:pt>
                <c:pt idx="799">
                  <c:v>#N/A</c:v>
                </c:pt>
                <c:pt idx="800">
                  <c:v>3.4544299999999999</c:v>
                </c:pt>
                <c:pt idx="801">
                  <c:v>3.5638700000000001</c:v>
                </c:pt>
                <c:pt idx="802">
                  <c:v>3.00657</c:v>
                </c:pt>
                <c:pt idx="803">
                  <c:v>#N/A</c:v>
                </c:pt>
                <c:pt idx="804">
                  <c:v>3.4015499999999999</c:v>
                </c:pt>
                <c:pt idx="805">
                  <c:v>4.6260199999999996</c:v>
                </c:pt>
                <c:pt idx="806">
                  <c:v>4.4375600000000004</c:v>
                </c:pt>
                <c:pt idx="807">
                  <c:v>#N/A</c:v>
                </c:pt>
                <c:pt idx="808">
                  <c:v>4.5264800000000003</c:v>
                </c:pt>
                <c:pt idx="809">
                  <c:v>4.19726</c:v>
                </c:pt>
                <c:pt idx="810">
                  <c:v>3.0686599999999999</c:v>
                </c:pt>
                <c:pt idx="811">
                  <c:v>#N/A</c:v>
                </c:pt>
                <c:pt idx="812">
                  <c:v>2.9889399999999999</c:v>
                </c:pt>
                <c:pt idx="813">
                  <c:v>3.1453000000000002</c:v>
                </c:pt>
                <c:pt idx="814">
                  <c:v>2.6695799999999998</c:v>
                </c:pt>
                <c:pt idx="815">
                  <c:v>#N/A</c:v>
                </c:pt>
                <c:pt idx="816">
                  <c:v>3.54996</c:v>
                </c:pt>
                <c:pt idx="817">
                  <c:v>4.6041299999999996</c:v>
                </c:pt>
                <c:pt idx="818">
                  <c:v>#N/A</c:v>
                </c:pt>
                <c:pt idx="819">
                  <c:v>5.0604500000000003</c:v>
                </c:pt>
                <c:pt idx="820">
                  <c:v>4.5468799999999998</c:v>
                </c:pt>
                <c:pt idx="821">
                  <c:v>3.6176900000000001</c:v>
                </c:pt>
                <c:pt idx="822">
                  <c:v>#N/A</c:v>
                </c:pt>
                <c:pt idx="823">
                  <c:v>3.2641200000000001</c:v>
                </c:pt>
                <c:pt idx="824">
                  <c:v>3.2798500000000002</c:v>
                </c:pt>
                <c:pt idx="825">
                  <c:v>#N/A</c:v>
                </c:pt>
                <c:pt idx="826">
                  <c:v>4.0153699999999999</c:v>
                </c:pt>
                <c:pt idx="827">
                  <c:v>#N/A</c:v>
                </c:pt>
                <c:pt idx="828">
                  <c:v>4.2308300000000001</c:v>
                </c:pt>
                <c:pt idx="829">
                  <c:v>4.6027699999999996</c:v>
                </c:pt>
                <c:pt idx="830">
                  <c:v>4.3631900000000003</c:v>
                </c:pt>
                <c:pt idx="831">
                  <c:v>#N/A</c:v>
                </c:pt>
                <c:pt idx="832">
                  <c:v>4.0091000000000001</c:v>
                </c:pt>
                <c:pt idx="833">
                  <c:v>3.4789699999999999</c:v>
                </c:pt>
                <c:pt idx="834">
                  <c:v>3.34192</c:v>
                </c:pt>
                <c:pt idx="835">
                  <c:v>#N/A</c:v>
                </c:pt>
                <c:pt idx="836">
                  <c:v>3.2217199999999999</c:v>
                </c:pt>
                <c:pt idx="837">
                  <c:v>3.5896499999999998</c:v>
                </c:pt>
                <c:pt idx="838">
                  <c:v>3.6358899999999998</c:v>
                </c:pt>
                <c:pt idx="839">
                  <c:v>#N/A</c:v>
                </c:pt>
                <c:pt idx="840">
                  <c:v>3.9056899999999999</c:v>
                </c:pt>
                <c:pt idx="841">
                  <c:v>3.3009599999999999</c:v>
                </c:pt>
                <c:pt idx="842">
                  <c:v>3.1485500000000002</c:v>
                </c:pt>
                <c:pt idx="843">
                  <c:v>#N/A</c:v>
                </c:pt>
                <c:pt idx="844">
                  <c:v>3.3819300000000001</c:v>
                </c:pt>
                <c:pt idx="845">
                  <c:v>3.0492400000000002</c:v>
                </c:pt>
                <c:pt idx="846">
                  <c:v>3.66737</c:v>
                </c:pt>
                <c:pt idx="847">
                  <c:v>#N/A</c:v>
                </c:pt>
                <c:pt idx="848">
                  <c:v>4.3231099999999998</c:v>
                </c:pt>
                <c:pt idx="849">
                  <c:v>3.8745400000000001</c:v>
                </c:pt>
                <c:pt idx="850">
                  <c:v>#N/A</c:v>
                </c:pt>
                <c:pt idx="851">
                  <c:v>3.44611</c:v>
                </c:pt>
                <c:pt idx="852">
                  <c:v>3.1721599999999999</c:v>
                </c:pt>
                <c:pt idx="853">
                  <c:v>3.4430399999999999</c:v>
                </c:pt>
                <c:pt idx="854">
                  <c:v>#N/A</c:v>
                </c:pt>
                <c:pt idx="855">
                  <c:v>3.40171</c:v>
                </c:pt>
                <c:pt idx="856">
                  <c:v>3.5146899999999999</c:v>
                </c:pt>
                <c:pt idx="857">
                  <c:v>3.6572800000000001</c:v>
                </c:pt>
                <c:pt idx="858">
                  <c:v>#N/A</c:v>
                </c:pt>
                <c:pt idx="859">
                  <c:v>3.9380899999999999</c:v>
                </c:pt>
                <c:pt idx="860">
                  <c:v>3.1929099999999999</c:v>
                </c:pt>
                <c:pt idx="861">
                  <c:v>3.6651500000000001</c:v>
                </c:pt>
                <c:pt idx="862">
                  <c:v>#N/A</c:v>
                </c:pt>
                <c:pt idx="863">
                  <c:v>2.76335</c:v>
                </c:pt>
                <c:pt idx="864">
                  <c:v>2.4054899999999999</c:v>
                </c:pt>
                <c:pt idx="865">
                  <c:v>2.74146</c:v>
                </c:pt>
                <c:pt idx="866">
                  <c:v>#N/A</c:v>
                </c:pt>
                <c:pt idx="867">
                  <c:v>3.1042900000000002</c:v>
                </c:pt>
                <c:pt idx="868">
                  <c:v>3.9735900000000002</c:v>
                </c:pt>
                <c:pt idx="869">
                  <c:v>#N/A</c:v>
                </c:pt>
                <c:pt idx="870">
                  <c:v>3.3258200000000002</c:v>
                </c:pt>
                <c:pt idx="871">
                  <c:v>3.89133</c:v>
                </c:pt>
                <c:pt idx="872">
                  <c:v>3.09361</c:v>
                </c:pt>
                <c:pt idx="873">
                  <c:v>#N/A</c:v>
                </c:pt>
                <c:pt idx="874">
                  <c:v>2.3079100000000001</c:v>
                </c:pt>
                <c:pt idx="875">
                  <c:v>1.9312400000000001</c:v>
                </c:pt>
                <c:pt idx="876">
                  <c:v>2.19164</c:v>
                </c:pt>
                <c:pt idx="877">
                  <c:v>#N/A</c:v>
                </c:pt>
                <c:pt idx="878">
                  <c:v>3.1627800000000001</c:v>
                </c:pt>
                <c:pt idx="879">
                  <c:v>4.10975</c:v>
                </c:pt>
                <c:pt idx="880">
                  <c:v>3.9432499999999999</c:v>
                </c:pt>
                <c:pt idx="881">
                  <c:v>#N/A</c:v>
                </c:pt>
                <c:pt idx="882">
                  <c:v>2.99193</c:v>
                </c:pt>
                <c:pt idx="883">
                  <c:v>2.6145399999999999</c:v>
                </c:pt>
                <c:pt idx="884">
                  <c:v>1.77518</c:v>
                </c:pt>
                <c:pt idx="885">
                  <c:v>#N/A</c:v>
                </c:pt>
                <c:pt idx="886">
                  <c:v>1.5254300000000001</c:v>
                </c:pt>
                <c:pt idx="887">
                  <c:v>2.1217999999999999</c:v>
                </c:pt>
                <c:pt idx="888">
                  <c:v>#N/A</c:v>
                </c:pt>
                <c:pt idx="889">
                  <c:v>2.9937</c:v>
                </c:pt>
                <c:pt idx="890">
                  <c:v>3.8771599999999999</c:v>
                </c:pt>
                <c:pt idx="891">
                  <c:v>3.87175</c:v>
                </c:pt>
                <c:pt idx="892">
                  <c:v>#N/A</c:v>
                </c:pt>
                <c:pt idx="893">
                  <c:v>3.6099299999999999</c:v>
                </c:pt>
                <c:pt idx="894">
                  <c:v>3.4435899999999999</c:v>
                </c:pt>
                <c:pt idx="895">
                  <c:v>2.8615499999999998</c:v>
                </c:pt>
                <c:pt idx="896">
                  <c:v>#N/A</c:v>
                </c:pt>
                <c:pt idx="897">
                  <c:v>2.8395700000000001</c:v>
                </c:pt>
                <c:pt idx="898">
                  <c:v>2.9478599999999999</c:v>
                </c:pt>
                <c:pt idx="899">
                  <c:v>#N/A</c:v>
                </c:pt>
                <c:pt idx="900">
                  <c:v>2.8764400000000001</c:v>
                </c:pt>
                <c:pt idx="901">
                  <c:v>#N/A</c:v>
                </c:pt>
                <c:pt idx="902">
                  <c:v>3.57328</c:v>
                </c:pt>
                <c:pt idx="903">
                  <c:v>3.40632</c:v>
                </c:pt>
                <c:pt idx="904">
                  <c:v>#N/A</c:v>
                </c:pt>
                <c:pt idx="905">
                  <c:v>2.63327</c:v>
                </c:pt>
                <c:pt idx="906">
                  <c:v>2.6516299999999999</c:v>
                </c:pt>
                <c:pt idx="907">
                  <c:v>2.56216</c:v>
                </c:pt>
                <c:pt idx="908">
                  <c:v>#N/A</c:v>
                </c:pt>
                <c:pt idx="909">
                  <c:v>2.9733800000000001</c:v>
                </c:pt>
                <c:pt idx="910">
                  <c:v>2.7109999999999999</c:v>
                </c:pt>
                <c:pt idx="911">
                  <c:v>3.0717099999999999</c:v>
                </c:pt>
                <c:pt idx="912">
                  <c:v>#N/A</c:v>
                </c:pt>
                <c:pt idx="913">
                  <c:v>3.2829999999999999</c:v>
                </c:pt>
                <c:pt idx="914">
                  <c:v>3.0628500000000001</c:v>
                </c:pt>
                <c:pt idx="915">
                  <c:v>#N/A</c:v>
                </c:pt>
                <c:pt idx="916">
                  <c:v>3.2426599999999999</c:v>
                </c:pt>
                <c:pt idx="917">
                  <c:v>2.55708</c:v>
                </c:pt>
                <c:pt idx="918">
                  <c:v>2.54128</c:v>
                </c:pt>
                <c:pt idx="919">
                  <c:v>#N/A</c:v>
                </c:pt>
                <c:pt idx="920">
                  <c:v>3.4137400000000002</c:v>
                </c:pt>
                <c:pt idx="921">
                  <c:v>3.0162200000000001</c:v>
                </c:pt>
                <c:pt idx="922">
                  <c:v>3.2837499999999999</c:v>
                </c:pt>
                <c:pt idx="923">
                  <c:v>#N/A</c:v>
                </c:pt>
                <c:pt idx="924">
                  <c:v>2.5864099999999999</c:v>
                </c:pt>
                <c:pt idx="925">
                  <c:v>2.6398199999999998</c:v>
                </c:pt>
                <c:pt idx="926">
                  <c:v>1.8038700000000001</c:v>
                </c:pt>
                <c:pt idx="927">
                  <c:v>#N/A</c:v>
                </c:pt>
                <c:pt idx="928">
                  <c:v>2.2315800000000001</c:v>
                </c:pt>
                <c:pt idx="929">
                  <c:v>2.6730800000000001</c:v>
                </c:pt>
                <c:pt idx="930">
                  <c:v>2.9184100000000002</c:v>
                </c:pt>
                <c:pt idx="931">
                  <c:v>#N/A</c:v>
                </c:pt>
                <c:pt idx="932">
                  <c:v>3.29298</c:v>
                </c:pt>
                <c:pt idx="933">
                  <c:v>3.43513</c:v>
                </c:pt>
                <c:pt idx="934">
                  <c:v>2.9689199999999998</c:v>
                </c:pt>
                <c:pt idx="935">
                  <c:v>#N/A</c:v>
                </c:pt>
                <c:pt idx="936">
                  <c:v>2.5300099999999999</c:v>
                </c:pt>
                <c:pt idx="937">
                  <c:v>2.0822699999999998</c:v>
                </c:pt>
                <c:pt idx="938">
                  <c:v>2.3742899999999998</c:v>
                </c:pt>
                <c:pt idx="939">
                  <c:v>#N/A</c:v>
                </c:pt>
                <c:pt idx="940">
                  <c:v>2.6493500000000001</c:v>
                </c:pt>
                <c:pt idx="941">
                  <c:v>3.0293399999999999</c:v>
                </c:pt>
                <c:pt idx="942">
                  <c:v>#N/A</c:v>
                </c:pt>
                <c:pt idx="943">
                  <c:v>2.84964</c:v>
                </c:pt>
                <c:pt idx="944">
                  <c:v>3.5048300000000001</c:v>
                </c:pt>
                <c:pt idx="945">
                  <c:v>3.1414599999999999</c:v>
                </c:pt>
                <c:pt idx="946">
                  <c:v>#N/A</c:v>
                </c:pt>
                <c:pt idx="947">
                  <c:v>2.0373100000000002</c:v>
                </c:pt>
                <c:pt idx="948">
                  <c:v>2.13978</c:v>
                </c:pt>
                <c:pt idx="949">
                  <c:v>2.3386999999999998</c:v>
                </c:pt>
                <c:pt idx="950">
                  <c:v>#N/A</c:v>
                </c:pt>
                <c:pt idx="951">
                  <c:v>3.2576399999999999</c:v>
                </c:pt>
                <c:pt idx="952">
                  <c:v>3.5610599999999999</c:v>
                </c:pt>
                <c:pt idx="953">
                  <c:v>3.8367800000000001</c:v>
                </c:pt>
                <c:pt idx="954">
                  <c:v>#N/A</c:v>
                </c:pt>
                <c:pt idx="955">
                  <c:v>2.6807099999999999</c:v>
                </c:pt>
                <c:pt idx="956">
                  <c:v>2.7619400000000001</c:v>
                </c:pt>
                <c:pt idx="957">
                  <c:v>2.3666499999999999</c:v>
                </c:pt>
                <c:pt idx="958">
                  <c:v>#N/A</c:v>
                </c:pt>
                <c:pt idx="959">
                  <c:v>1.9301999999999999</c:v>
                </c:pt>
                <c:pt idx="960">
                  <c:v>2.2791100000000002</c:v>
                </c:pt>
                <c:pt idx="961">
                  <c:v>2.3626</c:v>
                </c:pt>
                <c:pt idx="962">
                  <c:v>#N/A</c:v>
                </c:pt>
                <c:pt idx="963">
                  <c:v>2.7023600000000001</c:v>
                </c:pt>
                <c:pt idx="964">
                  <c:v>2.7421899999999999</c:v>
                </c:pt>
                <c:pt idx="965">
                  <c:v>2.3156400000000001</c:v>
                </c:pt>
                <c:pt idx="966">
                  <c:v>#N/A</c:v>
                </c:pt>
                <c:pt idx="967">
                  <c:v>2.5263</c:v>
                </c:pt>
                <c:pt idx="968">
                  <c:v>1.3636299999999999</c:v>
                </c:pt>
                <c:pt idx="969">
                  <c:v>1.1913499999999999</c:v>
                </c:pt>
                <c:pt idx="970">
                  <c:v>#N/A</c:v>
                </c:pt>
                <c:pt idx="971">
                  <c:v>1.38914</c:v>
                </c:pt>
                <c:pt idx="972">
                  <c:v>2.7233100000000001</c:v>
                </c:pt>
                <c:pt idx="973">
                  <c:v>#N/A</c:v>
                </c:pt>
                <c:pt idx="974">
                  <c:v>3.2963399999999998</c:v>
                </c:pt>
                <c:pt idx="975">
                  <c:v>#N/A</c:v>
                </c:pt>
                <c:pt idx="976">
                  <c:v>3.4655200000000002</c:v>
                </c:pt>
                <c:pt idx="977">
                  <c:v>#N/A</c:v>
                </c:pt>
                <c:pt idx="978">
                  <c:v>2.7502499999999999</c:v>
                </c:pt>
                <c:pt idx="979">
                  <c:v>2.4408099999999999</c:v>
                </c:pt>
                <c:pt idx="980">
                  <c:v>2.6456200000000001</c:v>
                </c:pt>
                <c:pt idx="981">
                  <c:v>#N/A</c:v>
                </c:pt>
                <c:pt idx="982">
                  <c:v>2.31582</c:v>
                </c:pt>
                <c:pt idx="983">
                  <c:v>2.7596400000000001</c:v>
                </c:pt>
                <c:pt idx="984">
                  <c:v>2.7937699999999999</c:v>
                </c:pt>
                <c:pt idx="985">
                  <c:v>#N/A</c:v>
                </c:pt>
                <c:pt idx="986">
                  <c:v>3.1482299999999999</c:v>
                </c:pt>
                <c:pt idx="987">
                  <c:v>2.5864500000000001</c:v>
                </c:pt>
                <c:pt idx="988">
                  <c:v>2.2435299999999998</c:v>
                </c:pt>
                <c:pt idx="989">
                  <c:v>#N/A</c:v>
                </c:pt>
                <c:pt idx="990">
                  <c:v>1.7051400000000001</c:v>
                </c:pt>
                <c:pt idx="991">
                  <c:v>1.6094200000000001</c:v>
                </c:pt>
                <c:pt idx="992">
                  <c:v>1.8740399999999999</c:v>
                </c:pt>
                <c:pt idx="993">
                  <c:v>#N/A</c:v>
                </c:pt>
                <c:pt idx="994">
                  <c:v>1.9297200000000001</c:v>
                </c:pt>
                <c:pt idx="995">
                  <c:v>2.3281100000000001</c:v>
                </c:pt>
                <c:pt idx="996">
                  <c:v>#N/A</c:v>
                </c:pt>
                <c:pt idx="997">
                  <c:v>1.9130499999999999</c:v>
                </c:pt>
                <c:pt idx="998">
                  <c:v>2.6010300000000002</c:v>
                </c:pt>
                <c:pt idx="999">
                  <c:v>2.65184</c:v>
                </c:pt>
                <c:pt idx="1000">
                  <c:v>#N/A</c:v>
                </c:pt>
                <c:pt idx="1001">
                  <c:v>2.4571999999999998</c:v>
                </c:pt>
                <c:pt idx="1002">
                  <c:v>2.5760999999999998</c:v>
                </c:pt>
                <c:pt idx="1003">
                  <c:v>2.8125499999999999</c:v>
                </c:pt>
                <c:pt idx="1004">
                  <c:v>#N/A</c:v>
                </c:pt>
                <c:pt idx="1005">
                  <c:v>2.77596</c:v>
                </c:pt>
                <c:pt idx="1006">
                  <c:v>2.742</c:v>
                </c:pt>
                <c:pt idx="1007">
                  <c:v>2.2719900000000002</c:v>
                </c:pt>
                <c:pt idx="1008">
                  <c:v>#N/A</c:v>
                </c:pt>
                <c:pt idx="1009">
                  <c:v>1.46227</c:v>
                </c:pt>
                <c:pt idx="1010">
                  <c:v>1.83927</c:v>
                </c:pt>
                <c:pt idx="1011">
                  <c:v>2.53009</c:v>
                </c:pt>
                <c:pt idx="1012">
                  <c:v>#N/A</c:v>
                </c:pt>
                <c:pt idx="1013">
                  <c:v>2.4429599999999998</c:v>
                </c:pt>
                <c:pt idx="1014">
                  <c:v>2.7999900000000002</c:v>
                </c:pt>
                <c:pt idx="1015">
                  <c:v>3.2279800000000001</c:v>
                </c:pt>
                <c:pt idx="1016">
                  <c:v>#N/A</c:v>
                </c:pt>
                <c:pt idx="1017">
                  <c:v>3.01884</c:v>
                </c:pt>
                <c:pt idx="1018">
                  <c:v>2.6589700000000001</c:v>
                </c:pt>
                <c:pt idx="1019">
                  <c:v>#N/A</c:v>
                </c:pt>
                <c:pt idx="1020">
                  <c:v>1.9839</c:v>
                </c:pt>
                <c:pt idx="1021">
                  <c:v>1.55118</c:v>
                </c:pt>
                <c:pt idx="1022">
                  <c:v>1.87961</c:v>
                </c:pt>
                <c:pt idx="1023">
                  <c:v>#N/A</c:v>
                </c:pt>
                <c:pt idx="1024">
                  <c:v>2.0338699999999998</c:v>
                </c:pt>
                <c:pt idx="1025">
                  <c:v>2.9512100000000001</c:v>
                </c:pt>
                <c:pt idx="1026">
                  <c:v>2.4453999999999998</c:v>
                </c:pt>
                <c:pt idx="1027">
                  <c:v>#N/A</c:v>
                </c:pt>
                <c:pt idx="1028">
                  <c:v>2.7550699999999999</c:v>
                </c:pt>
                <c:pt idx="1029">
                  <c:v>2.36836</c:v>
                </c:pt>
                <c:pt idx="1030">
                  <c:v>2.0311499999999998</c:v>
                </c:pt>
                <c:pt idx="1031">
                  <c:v>#N/A</c:v>
                </c:pt>
                <c:pt idx="1032">
                  <c:v>1.3168500000000001</c:v>
                </c:pt>
                <c:pt idx="1033">
                  <c:v>1.2146699999999999</c:v>
                </c:pt>
                <c:pt idx="1034">
                  <c:v>2.05084</c:v>
                </c:pt>
                <c:pt idx="1035">
                  <c:v>#N/A</c:v>
                </c:pt>
                <c:pt idx="1036">
                  <c:v>3.2067299999999999</c:v>
                </c:pt>
                <c:pt idx="1037">
                  <c:v>3.7000600000000001</c:v>
                </c:pt>
                <c:pt idx="1038">
                  <c:v>3.3609300000000002</c:v>
                </c:pt>
                <c:pt idx="1039">
                  <c:v>#N/A</c:v>
                </c:pt>
                <c:pt idx="1040">
                  <c:v>3.0076100000000001</c:v>
                </c:pt>
                <c:pt idx="1041">
                  <c:v>2.3701099999999999</c:v>
                </c:pt>
                <c:pt idx="1042">
                  <c:v>#N/A</c:v>
                </c:pt>
                <c:pt idx="1043">
                  <c:v>1.9334800000000001</c:v>
                </c:pt>
                <c:pt idx="1044">
                  <c:v>2.0763799999999999</c:v>
                </c:pt>
                <c:pt idx="1045">
                  <c:v>2.1535099999999998</c:v>
                </c:pt>
                <c:pt idx="1046">
                  <c:v>#N/A</c:v>
                </c:pt>
                <c:pt idx="1047">
                  <c:v>2.8796400000000002</c:v>
                </c:pt>
                <c:pt idx="1048">
                  <c:v>3.1217100000000002</c:v>
                </c:pt>
                <c:pt idx="1049">
                  <c:v>#N/A</c:v>
                </c:pt>
                <c:pt idx="1050">
                  <c:v>2.36435</c:v>
                </c:pt>
                <c:pt idx="1051">
                  <c:v>#N/A</c:v>
                </c:pt>
                <c:pt idx="1052">
                  <c:v>1.51007</c:v>
                </c:pt>
                <c:pt idx="1053">
                  <c:v>1.5859700000000001</c:v>
                </c:pt>
                <c:pt idx="1054">
                  <c:v>1.3959999999999999</c:v>
                </c:pt>
                <c:pt idx="1055">
                  <c:v>#N/A</c:v>
                </c:pt>
                <c:pt idx="1056">
                  <c:v>1.6607099999999999</c:v>
                </c:pt>
                <c:pt idx="1057">
                  <c:v>2.4235199999999999</c:v>
                </c:pt>
                <c:pt idx="1058">
                  <c:v>2.9517799999999998</c:v>
                </c:pt>
                <c:pt idx="1059">
                  <c:v>#N/A</c:v>
                </c:pt>
                <c:pt idx="1060">
                  <c:v>2.68893</c:v>
                </c:pt>
                <c:pt idx="1061">
                  <c:v>2.38937</c:v>
                </c:pt>
                <c:pt idx="1062">
                  <c:v>#N/A</c:v>
                </c:pt>
                <c:pt idx="1063">
                  <c:v>2.16106</c:v>
                </c:pt>
                <c:pt idx="1064">
                  <c:v>2.0444800000000001</c:v>
                </c:pt>
                <c:pt idx="1065">
                  <c:v>2.5030800000000002</c:v>
                </c:pt>
                <c:pt idx="1066">
                  <c:v>#N/A</c:v>
                </c:pt>
                <c:pt idx="1067">
                  <c:v>2.39019</c:v>
                </c:pt>
                <c:pt idx="1068">
                  <c:v>2.3039700000000001</c:v>
                </c:pt>
                <c:pt idx="1069">
                  <c:v>2.1627200000000002</c:v>
                </c:pt>
                <c:pt idx="1070">
                  <c:v>#N/A</c:v>
                </c:pt>
                <c:pt idx="1071">
                  <c:v>2.3176000000000001</c:v>
                </c:pt>
                <c:pt idx="1072">
                  <c:v>2.61117</c:v>
                </c:pt>
                <c:pt idx="1073">
                  <c:v>#N/A</c:v>
                </c:pt>
                <c:pt idx="1074">
                  <c:v>2.3787600000000002</c:v>
                </c:pt>
                <c:pt idx="1075">
                  <c:v>2.03878</c:v>
                </c:pt>
                <c:pt idx="1076">
                  <c:v>2.7282000000000002</c:v>
                </c:pt>
                <c:pt idx="1077">
                  <c:v>#N/A</c:v>
                </c:pt>
                <c:pt idx="1078">
                  <c:v>2.6582300000000001</c:v>
                </c:pt>
                <c:pt idx="1079">
                  <c:v>2.4357199999999999</c:v>
                </c:pt>
                <c:pt idx="1080">
                  <c:v>1.7520899999999999</c:v>
                </c:pt>
                <c:pt idx="1081">
                  <c:v>#N/A</c:v>
                </c:pt>
                <c:pt idx="1082">
                  <c:v>2.0710999999999999</c:v>
                </c:pt>
                <c:pt idx="1083">
                  <c:v>1.95082</c:v>
                </c:pt>
                <c:pt idx="1084">
                  <c:v>#N/A</c:v>
                </c:pt>
                <c:pt idx="1085">
                  <c:v>2.0555099999999999</c:v>
                </c:pt>
                <c:pt idx="1086">
                  <c:v>2.64696</c:v>
                </c:pt>
                <c:pt idx="1087">
                  <c:v>2.1261000000000001</c:v>
                </c:pt>
                <c:pt idx="1088">
                  <c:v>#N/A</c:v>
                </c:pt>
                <c:pt idx="1089">
                  <c:v>2.3756400000000002</c:v>
                </c:pt>
                <c:pt idx="1090">
                  <c:v>2.5299299999999998</c:v>
                </c:pt>
                <c:pt idx="1091">
                  <c:v>#N/A</c:v>
                </c:pt>
                <c:pt idx="1092">
                  <c:v>2.1285699999999999</c:v>
                </c:pt>
                <c:pt idx="1093">
                  <c:v>1.62473</c:v>
                </c:pt>
                <c:pt idx="1094">
                  <c:v>1.8727199999999999</c:v>
                </c:pt>
                <c:pt idx="1095">
                  <c:v>#N/A</c:v>
                </c:pt>
                <c:pt idx="1096">
                  <c:v>2.1474799999999998</c:v>
                </c:pt>
                <c:pt idx="1097">
                  <c:v>2.8568899999999999</c:v>
                </c:pt>
                <c:pt idx="1098">
                  <c:v>3.5428199999999999</c:v>
                </c:pt>
                <c:pt idx="1099">
                  <c:v>#N/A</c:v>
                </c:pt>
                <c:pt idx="1100">
                  <c:v>3.6258300000000001</c:v>
                </c:pt>
                <c:pt idx="1101">
                  <c:v>3.0827300000000002</c:v>
                </c:pt>
                <c:pt idx="1102">
                  <c:v>2.4313799999999999</c:v>
                </c:pt>
                <c:pt idx="1103">
                  <c:v>#N/A</c:v>
                </c:pt>
                <c:pt idx="1104">
                  <c:v>1.9500200000000001</c:v>
                </c:pt>
                <c:pt idx="1105">
                  <c:v>1.48556</c:v>
                </c:pt>
                <c:pt idx="1106">
                  <c:v>1.62791</c:v>
                </c:pt>
                <c:pt idx="1107">
                  <c:v>#N/A</c:v>
                </c:pt>
                <c:pt idx="1108">
                  <c:v>2.3149000000000002</c:v>
                </c:pt>
                <c:pt idx="1109">
                  <c:v>3.09815</c:v>
                </c:pt>
                <c:pt idx="1110">
                  <c:v>#N/A</c:v>
                </c:pt>
                <c:pt idx="1111">
                  <c:v>2.79576</c:v>
                </c:pt>
                <c:pt idx="1112">
                  <c:v>2.75929</c:v>
                </c:pt>
                <c:pt idx="1113">
                  <c:v>1.69496</c:v>
                </c:pt>
                <c:pt idx="1114">
                  <c:v>#N/A</c:v>
                </c:pt>
                <c:pt idx="1115">
                  <c:v>1.0563899999999999</c:v>
                </c:pt>
                <c:pt idx="1116">
                  <c:v>0.99321700000000002</c:v>
                </c:pt>
                <c:pt idx="1117">
                  <c:v>0.98323400000000005</c:v>
                </c:pt>
                <c:pt idx="1118">
                  <c:v>#N/A</c:v>
                </c:pt>
                <c:pt idx="1119">
                  <c:v>1.84304</c:v>
                </c:pt>
                <c:pt idx="1120">
                  <c:v>2.5474999999999999</c:v>
                </c:pt>
                <c:pt idx="1121">
                  <c:v>2.8050899999999999</c:v>
                </c:pt>
                <c:pt idx="1122">
                  <c:v>#N/A</c:v>
                </c:pt>
                <c:pt idx="1123">
                  <c:v>2.6072500000000001</c:v>
                </c:pt>
                <c:pt idx="1124">
                  <c:v>#N/A</c:v>
                </c:pt>
                <c:pt idx="1125">
                  <c:v>2.1301399999999999</c:v>
                </c:pt>
                <c:pt idx="1126">
                  <c:v>1.73688</c:v>
                </c:pt>
                <c:pt idx="1127">
                  <c:v>1.71577</c:v>
                </c:pt>
                <c:pt idx="1128">
                  <c:v>#N/A</c:v>
                </c:pt>
                <c:pt idx="1129">
                  <c:v>1.8017799999999999</c:v>
                </c:pt>
                <c:pt idx="1130">
                  <c:v>2.5523400000000001</c:v>
                </c:pt>
                <c:pt idx="1131">
                  <c:v>2.8103500000000001</c:v>
                </c:pt>
                <c:pt idx="1132">
                  <c:v>#N/A</c:v>
                </c:pt>
                <c:pt idx="1133">
                  <c:v>2.3058299999999998</c:v>
                </c:pt>
                <c:pt idx="1134">
                  <c:v>2.2643800000000001</c:v>
                </c:pt>
                <c:pt idx="1135">
                  <c:v>1.83575</c:v>
                </c:pt>
                <c:pt idx="1136">
                  <c:v>#N/A</c:v>
                </c:pt>
                <c:pt idx="1137">
                  <c:v>2.08013</c:v>
                </c:pt>
                <c:pt idx="1138">
                  <c:v>2.24112</c:v>
                </c:pt>
                <c:pt idx="1139">
                  <c:v>#N/A</c:v>
                </c:pt>
                <c:pt idx="1140">
                  <c:v>2.3799800000000002</c:v>
                </c:pt>
                <c:pt idx="1141">
                  <c:v>1.9905900000000001</c:v>
                </c:pt>
                <c:pt idx="1142">
                  <c:v>2.1834899999999999</c:v>
                </c:pt>
                <c:pt idx="1143">
                  <c:v>#N/A</c:v>
                </c:pt>
                <c:pt idx="1144">
                  <c:v>2.3183699999999998</c:v>
                </c:pt>
                <c:pt idx="1145">
                  <c:v>2.34294</c:v>
                </c:pt>
                <c:pt idx="1146">
                  <c:v>2.3643800000000001</c:v>
                </c:pt>
                <c:pt idx="1147">
                  <c:v>#N/A</c:v>
                </c:pt>
                <c:pt idx="1148">
                  <c:v>2.3499400000000001</c:v>
                </c:pt>
                <c:pt idx="1149">
                  <c:v>2.0967099999999999</c:v>
                </c:pt>
                <c:pt idx="1150">
                  <c:v>2.1259800000000002</c:v>
                </c:pt>
                <c:pt idx="1151">
                  <c:v>#N/A</c:v>
                </c:pt>
                <c:pt idx="1152">
                  <c:v>2.4563799999999998</c:v>
                </c:pt>
                <c:pt idx="1153">
                  <c:v>3.02502</c:v>
                </c:pt>
                <c:pt idx="1154">
                  <c:v>3.1281400000000001</c:v>
                </c:pt>
                <c:pt idx="1155">
                  <c:v>#N/A</c:v>
                </c:pt>
                <c:pt idx="1156">
                  <c:v>2.61233</c:v>
                </c:pt>
                <c:pt idx="1157">
                  <c:v>2.5998000000000001</c:v>
                </c:pt>
                <c:pt idx="1158">
                  <c:v>2.16547</c:v>
                </c:pt>
                <c:pt idx="1159">
                  <c:v>#N/A</c:v>
                </c:pt>
                <c:pt idx="1160">
                  <c:v>2.7359599999999999</c:v>
                </c:pt>
                <c:pt idx="1161">
                  <c:v>2.4554</c:v>
                </c:pt>
                <c:pt idx="1162">
                  <c:v>3.0392600000000001</c:v>
                </c:pt>
                <c:pt idx="1163">
                  <c:v>#N/A</c:v>
                </c:pt>
                <c:pt idx="1164">
                  <c:v>2.3435100000000002</c:v>
                </c:pt>
                <c:pt idx="1165">
                  <c:v>2.1251799999999998</c:v>
                </c:pt>
                <c:pt idx="1166">
                  <c:v>1.2999700000000001</c:v>
                </c:pt>
                <c:pt idx="1167">
                  <c:v>#N/A</c:v>
                </c:pt>
                <c:pt idx="1168">
                  <c:v>1.0222</c:v>
                </c:pt>
                <c:pt idx="1169">
                  <c:v>1.2442599999999999</c:v>
                </c:pt>
                <c:pt idx="1170">
                  <c:v>1.7249099999999999</c:v>
                </c:pt>
                <c:pt idx="1171">
                  <c:v>#N/A</c:v>
                </c:pt>
                <c:pt idx="1172">
                  <c:v>1.8112600000000001</c:v>
                </c:pt>
                <c:pt idx="1173">
                  <c:v>1.85175</c:v>
                </c:pt>
                <c:pt idx="1174">
                  <c:v>1.89585</c:v>
                </c:pt>
                <c:pt idx="1175">
                  <c:v>#N/A</c:v>
                </c:pt>
                <c:pt idx="1176">
                  <c:v>2.2071200000000002</c:v>
                </c:pt>
                <c:pt idx="1177">
                  <c:v>1.96499</c:v>
                </c:pt>
                <c:pt idx="1178">
                  <c:v>1.8188800000000001</c:v>
                </c:pt>
                <c:pt idx="1179">
                  <c:v>#N/A</c:v>
                </c:pt>
                <c:pt idx="1180">
                  <c:v>2.28613</c:v>
                </c:pt>
                <c:pt idx="1181">
                  <c:v>3.0341999999999998</c:v>
                </c:pt>
                <c:pt idx="1182">
                  <c:v>#N/A</c:v>
                </c:pt>
                <c:pt idx="1183">
                  <c:v>4.1831300000000002</c:v>
                </c:pt>
                <c:pt idx="1184">
                  <c:v>3.22973</c:v>
                </c:pt>
                <c:pt idx="1185">
                  <c:v>3.07395</c:v>
                </c:pt>
                <c:pt idx="1186">
                  <c:v>#N/A</c:v>
                </c:pt>
                <c:pt idx="1187">
                  <c:v>1.9937</c:v>
                </c:pt>
                <c:pt idx="1188">
                  <c:v>1.9152800000000001</c:v>
                </c:pt>
                <c:pt idx="1189">
                  <c:v>2.1364299999999998</c:v>
                </c:pt>
                <c:pt idx="1190">
                  <c:v>#N/A</c:v>
                </c:pt>
                <c:pt idx="1191">
                  <c:v>1.8555600000000001</c:v>
                </c:pt>
                <c:pt idx="1192">
                  <c:v>2.2576200000000002</c:v>
                </c:pt>
                <c:pt idx="1193">
                  <c:v>2.3583699999999999</c:v>
                </c:pt>
                <c:pt idx="1194">
                  <c:v>#N/A</c:v>
                </c:pt>
                <c:pt idx="1195">
                  <c:v>2.7446600000000001</c:v>
                </c:pt>
                <c:pt idx="1196">
                  <c:v>2.3376100000000002</c:v>
                </c:pt>
                <c:pt idx="1197">
                  <c:v>#N/A</c:v>
                </c:pt>
                <c:pt idx="1198">
                  <c:v>1.4271199999999999</c:v>
                </c:pt>
                <c:pt idx="1199">
                  <c:v>#N/A</c:v>
                </c:pt>
                <c:pt idx="1200">
                  <c:v>1.18092</c:v>
                </c:pt>
                <c:pt idx="1201">
                  <c:v>1.9617800000000001</c:v>
                </c:pt>
                <c:pt idx="1202">
                  <c:v>#N/A</c:v>
                </c:pt>
                <c:pt idx="1203">
                  <c:v>3.0496799999999999</c:v>
                </c:pt>
                <c:pt idx="1204">
                  <c:v>#N/A</c:v>
                </c:pt>
                <c:pt idx="1205">
                  <c:v>2.94774</c:v>
                </c:pt>
                <c:pt idx="1206">
                  <c:v>2.9637699999999998</c:v>
                </c:pt>
                <c:pt idx="1207">
                  <c:v>2.4193600000000002</c:v>
                </c:pt>
                <c:pt idx="1208">
                  <c:v>#N/A</c:v>
                </c:pt>
                <c:pt idx="1209">
                  <c:v>2.5307499999999998</c:v>
                </c:pt>
                <c:pt idx="1210">
                  <c:v>2.3835999999999999</c:v>
                </c:pt>
                <c:pt idx="1211">
                  <c:v>2.4313099999999999</c:v>
                </c:pt>
                <c:pt idx="1212">
                  <c:v>#N/A</c:v>
                </c:pt>
                <c:pt idx="1213">
                  <c:v>2.3552200000000001</c:v>
                </c:pt>
                <c:pt idx="1214">
                  <c:v>2.7906200000000001</c:v>
                </c:pt>
                <c:pt idx="1215">
                  <c:v>#N/A</c:v>
                </c:pt>
                <c:pt idx="1216">
                  <c:v>2.8173400000000002</c:v>
                </c:pt>
                <c:pt idx="1217">
                  <c:v>2.56603</c:v>
                </c:pt>
                <c:pt idx="1218">
                  <c:v>2.3477700000000001</c:v>
                </c:pt>
                <c:pt idx="1219">
                  <c:v>#N/A</c:v>
                </c:pt>
                <c:pt idx="1220">
                  <c:v>2.4125299999999998</c:v>
                </c:pt>
                <c:pt idx="1221">
                  <c:v>1.9691099999999999</c:v>
                </c:pt>
                <c:pt idx="1222">
                  <c:v>1.7416</c:v>
                </c:pt>
                <c:pt idx="1223">
                  <c:v>#N/A</c:v>
                </c:pt>
                <c:pt idx="1224">
                  <c:v>1.92547</c:v>
                </c:pt>
                <c:pt idx="1225">
                  <c:v>1.9484300000000001</c:v>
                </c:pt>
                <c:pt idx="1226">
                  <c:v>2.1907299999999998</c:v>
                </c:pt>
                <c:pt idx="1227">
                  <c:v>#N/A</c:v>
                </c:pt>
                <c:pt idx="1228">
                  <c:v>2.0418799999999999</c:v>
                </c:pt>
                <c:pt idx="1229">
                  <c:v>1.2767299999999999</c:v>
                </c:pt>
                <c:pt idx="1230">
                  <c:v>1.90964</c:v>
                </c:pt>
                <c:pt idx="1231">
                  <c:v>#N/A</c:v>
                </c:pt>
                <c:pt idx="1232">
                  <c:v>2.53498</c:v>
                </c:pt>
                <c:pt idx="1233">
                  <c:v>3.0051800000000002</c:v>
                </c:pt>
                <c:pt idx="1234">
                  <c:v>#N/A</c:v>
                </c:pt>
                <c:pt idx="1235">
                  <c:v>3.0236800000000001</c:v>
                </c:pt>
                <c:pt idx="1236">
                  <c:v>2.6172499999999999</c:v>
                </c:pt>
                <c:pt idx="1237">
                  <c:v>2.61273</c:v>
                </c:pt>
                <c:pt idx="1238">
                  <c:v>#N/A</c:v>
                </c:pt>
                <c:pt idx="1239">
                  <c:v>1.76305</c:v>
                </c:pt>
                <c:pt idx="1240">
                  <c:v>1.80522</c:v>
                </c:pt>
                <c:pt idx="1241">
                  <c:v>2.0857700000000001</c:v>
                </c:pt>
                <c:pt idx="1242">
                  <c:v>#N/A</c:v>
                </c:pt>
                <c:pt idx="1243">
                  <c:v>2.97872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2.19496</c:v>
                </c:pt>
                <c:pt idx="1322">
                  <c:v>2.2526000000000002</c:v>
                </c:pt>
                <c:pt idx="1323">
                  <c:v>#N/A</c:v>
                </c:pt>
                <c:pt idx="1324">
                  <c:v>1.7983199999999999</c:v>
                </c:pt>
                <c:pt idx="1325">
                  <c:v>2.5021800000000001</c:v>
                </c:pt>
                <c:pt idx="1326">
                  <c:v>2.5406900000000001</c:v>
                </c:pt>
                <c:pt idx="1327">
                  <c:v>#N/A</c:v>
                </c:pt>
                <c:pt idx="1328">
                  <c:v>3.2267999999999999</c:v>
                </c:pt>
                <c:pt idx="1329">
                  <c:v>3.7684199999999999</c:v>
                </c:pt>
                <c:pt idx="1330">
                  <c:v>2.9241000000000001</c:v>
                </c:pt>
                <c:pt idx="1331">
                  <c:v>#N/A</c:v>
                </c:pt>
                <c:pt idx="1332">
                  <c:v>2.94923</c:v>
                </c:pt>
                <c:pt idx="1333">
                  <c:v>2.0215000000000001</c:v>
                </c:pt>
                <c:pt idx="1334">
                  <c:v>#N/A</c:v>
                </c:pt>
                <c:pt idx="1335">
                  <c:v>2.1855099999999998</c:v>
                </c:pt>
                <c:pt idx="1336">
                  <c:v>2.0602499999999999</c:v>
                </c:pt>
                <c:pt idx="1337">
                  <c:v>2.7176</c:v>
                </c:pt>
                <c:pt idx="1338">
                  <c:v>#N/A</c:v>
                </c:pt>
                <c:pt idx="1339">
                  <c:v>2.62195</c:v>
                </c:pt>
                <c:pt idx="1340">
                  <c:v>2.9938199999999999</c:v>
                </c:pt>
                <c:pt idx="1341">
                  <c:v>3.5761699999999998</c:v>
                </c:pt>
                <c:pt idx="1342">
                  <c:v>#N/A</c:v>
                </c:pt>
                <c:pt idx="1343">
                  <c:v>2.3405399999999998</c:v>
                </c:pt>
                <c:pt idx="1344">
                  <c:v>2.2107700000000001</c:v>
                </c:pt>
                <c:pt idx="1345">
                  <c:v>1.72281</c:v>
                </c:pt>
                <c:pt idx="1346">
                  <c:v>#N/A</c:v>
                </c:pt>
                <c:pt idx="1347">
                  <c:v>1.83921</c:v>
                </c:pt>
                <c:pt idx="1348">
                  <c:v>2.6043500000000002</c:v>
                </c:pt>
                <c:pt idx="1349">
                  <c:v>#N/A</c:v>
                </c:pt>
                <c:pt idx="1350">
                  <c:v>3.1329199999999999</c:v>
                </c:pt>
                <c:pt idx="1351">
                  <c:v>3.3302800000000001</c:v>
                </c:pt>
                <c:pt idx="1352">
                  <c:v>3.5799300000000001</c:v>
                </c:pt>
                <c:pt idx="1353">
                  <c:v>#N/A</c:v>
                </c:pt>
                <c:pt idx="1354">
                  <c:v>3.4600900000000001</c:v>
                </c:pt>
                <c:pt idx="1355">
                  <c:v>2.24404</c:v>
                </c:pt>
                <c:pt idx="1356">
                  <c:v>2.0319600000000002</c:v>
                </c:pt>
                <c:pt idx="1357">
                  <c:v>#N/A</c:v>
                </c:pt>
                <c:pt idx="1358">
                  <c:v>1.71532</c:v>
                </c:pt>
                <c:pt idx="1359">
                  <c:v>3.0369700000000002</c:v>
                </c:pt>
                <c:pt idx="1360">
                  <c:v>#N/A</c:v>
                </c:pt>
                <c:pt idx="1361">
                  <c:v>3.0057800000000001</c:v>
                </c:pt>
                <c:pt idx="1362">
                  <c:v>3.0353300000000001</c:v>
                </c:pt>
                <c:pt idx="1363">
                  <c:v>2.51369</c:v>
                </c:pt>
                <c:pt idx="1364">
                  <c:v>#N/A</c:v>
                </c:pt>
                <c:pt idx="1365">
                  <c:v>2.8261799999999999</c:v>
                </c:pt>
                <c:pt idx="1366">
                  <c:v>2.08975</c:v>
                </c:pt>
                <c:pt idx="1367">
                  <c:v>#N/A</c:v>
                </c:pt>
                <c:pt idx="1368">
                  <c:v>1.6100099999999999</c:v>
                </c:pt>
                <c:pt idx="1369">
                  <c:v>2.12493</c:v>
                </c:pt>
                <c:pt idx="1370">
                  <c:v>2.7704300000000002</c:v>
                </c:pt>
                <c:pt idx="1371">
                  <c:v>#N/A</c:v>
                </c:pt>
                <c:pt idx="1372">
                  <c:v>3.5106600000000001</c:v>
                </c:pt>
                <c:pt idx="1373">
                  <c:v>2.8605499999999999</c:v>
                </c:pt>
                <c:pt idx="1374">
                  <c:v>2.9981599999999999</c:v>
                </c:pt>
                <c:pt idx="1375">
                  <c:v>#N/A</c:v>
                </c:pt>
                <c:pt idx="1376">
                  <c:v>2.5564</c:v>
                </c:pt>
                <c:pt idx="1377">
                  <c:v>2.8870100000000001</c:v>
                </c:pt>
                <c:pt idx="1378">
                  <c:v>2.53118</c:v>
                </c:pt>
                <c:pt idx="1379">
                  <c:v>#N/A</c:v>
                </c:pt>
                <c:pt idx="1380">
                  <c:v>2.5127100000000002</c:v>
                </c:pt>
                <c:pt idx="1381">
                  <c:v>2.7875100000000002</c:v>
                </c:pt>
                <c:pt idx="1382">
                  <c:v>3.0819100000000001</c:v>
                </c:pt>
                <c:pt idx="1383">
                  <c:v>#N/A</c:v>
                </c:pt>
                <c:pt idx="1384">
                  <c:v>2.6964000000000001</c:v>
                </c:pt>
                <c:pt idx="1385">
                  <c:v>2.9484599999999999</c:v>
                </c:pt>
                <c:pt idx="1386">
                  <c:v>2.2437200000000002</c:v>
                </c:pt>
                <c:pt idx="1387">
                  <c:v>#N/A</c:v>
                </c:pt>
                <c:pt idx="1388">
                  <c:v>2.4089200000000002</c:v>
                </c:pt>
                <c:pt idx="1389">
                  <c:v>2.54142</c:v>
                </c:pt>
                <c:pt idx="1390">
                  <c:v>2.8725999999999998</c:v>
                </c:pt>
                <c:pt idx="1391">
                  <c:v>#N/A</c:v>
                </c:pt>
                <c:pt idx="1392">
                  <c:v>2.8521399999999999</c:v>
                </c:pt>
                <c:pt idx="1393">
                  <c:v>2.6918099999999998</c:v>
                </c:pt>
                <c:pt idx="1394">
                  <c:v>2.4484499999999998</c:v>
                </c:pt>
                <c:pt idx="1395">
                  <c:v>#N/A</c:v>
                </c:pt>
                <c:pt idx="1396">
                  <c:v>2.0848900000000001</c:v>
                </c:pt>
                <c:pt idx="1397">
                  <c:v>1.45624</c:v>
                </c:pt>
                <c:pt idx="1398">
                  <c:v>#N/A</c:v>
                </c:pt>
                <c:pt idx="1399">
                  <c:v>2.3534299999999999</c:v>
                </c:pt>
                <c:pt idx="1400">
                  <c:v>2.3670100000000001</c:v>
                </c:pt>
                <c:pt idx="1401">
                  <c:v>3.1240399999999999</c:v>
                </c:pt>
                <c:pt idx="1402">
                  <c:v>#N/A</c:v>
                </c:pt>
                <c:pt idx="1403">
                  <c:v>3.11293</c:v>
                </c:pt>
                <c:pt idx="1404">
                  <c:v>2.0223300000000002</c:v>
                </c:pt>
                <c:pt idx="1405">
                  <c:v>1.89672</c:v>
                </c:pt>
                <c:pt idx="1406">
                  <c:v>#N/A</c:v>
                </c:pt>
                <c:pt idx="1407">
                  <c:v>1.5100899999999999</c:v>
                </c:pt>
                <c:pt idx="1408">
                  <c:v>1.5812600000000001</c:v>
                </c:pt>
                <c:pt idx="1409">
                  <c:v>1.31186</c:v>
                </c:pt>
                <c:pt idx="1410">
                  <c:v>#N/A</c:v>
                </c:pt>
                <c:pt idx="1411">
                  <c:v>2.1577000000000002</c:v>
                </c:pt>
                <c:pt idx="1412">
                  <c:v>2.6290100000000001</c:v>
                </c:pt>
                <c:pt idx="1413">
                  <c:v>3.3502200000000002</c:v>
                </c:pt>
                <c:pt idx="1414">
                  <c:v>#N/A</c:v>
                </c:pt>
                <c:pt idx="1415">
                  <c:v>2.9314</c:v>
                </c:pt>
                <c:pt idx="1416">
                  <c:v>2.5881699999999999</c:v>
                </c:pt>
                <c:pt idx="1417">
                  <c:v>1.9567600000000001</c:v>
                </c:pt>
                <c:pt idx="1418">
                  <c:v>#N/A</c:v>
                </c:pt>
                <c:pt idx="1419">
                  <c:v>1.175</c:v>
                </c:pt>
                <c:pt idx="1420">
                  <c:v>2.2630400000000002</c:v>
                </c:pt>
                <c:pt idx="1421">
                  <c:v>2.1186400000000001</c:v>
                </c:pt>
                <c:pt idx="1422">
                  <c:v>#N/A</c:v>
                </c:pt>
                <c:pt idx="1423">
                  <c:v>2.9851100000000002</c:v>
                </c:pt>
                <c:pt idx="1424">
                  <c:v>#N/A</c:v>
                </c:pt>
                <c:pt idx="1425">
                  <c:v>2.84334</c:v>
                </c:pt>
                <c:pt idx="1426">
                  <c:v>3.1763300000000001</c:v>
                </c:pt>
                <c:pt idx="1427">
                  <c:v>#N/A</c:v>
                </c:pt>
                <c:pt idx="1428">
                  <c:v>1.7847900000000001</c:v>
                </c:pt>
                <c:pt idx="1429">
                  <c:v>1.4590099999999999</c:v>
                </c:pt>
                <c:pt idx="1430">
                  <c:v>#N/A</c:v>
                </c:pt>
                <c:pt idx="1431">
                  <c:v>1.0469200000000001</c:v>
                </c:pt>
                <c:pt idx="1432">
                  <c:v>2.1914199999999999</c:v>
                </c:pt>
                <c:pt idx="1433">
                  <c:v>#N/A</c:v>
                </c:pt>
                <c:pt idx="1434">
                  <c:v>2.6814</c:v>
                </c:pt>
                <c:pt idx="1435">
                  <c:v>2.4384600000000001</c:v>
                </c:pt>
                <c:pt idx="1436">
                  <c:v>3.0273500000000002</c:v>
                </c:pt>
                <c:pt idx="1437">
                  <c:v>#N/A</c:v>
                </c:pt>
                <c:pt idx="1438">
                  <c:v>3.45024</c:v>
                </c:pt>
                <c:pt idx="1439">
                  <c:v>2.5615100000000002</c:v>
                </c:pt>
                <c:pt idx="1440">
                  <c:v>2.66811</c:v>
                </c:pt>
                <c:pt idx="1441">
                  <c:v>#N/A</c:v>
                </c:pt>
                <c:pt idx="1442">
                  <c:v>2.3754400000000002</c:v>
                </c:pt>
                <c:pt idx="1443">
                  <c:v>2.5545200000000001</c:v>
                </c:pt>
                <c:pt idx="1444">
                  <c:v>2.5056099999999999</c:v>
                </c:pt>
                <c:pt idx="1445">
                  <c:v>#N/A</c:v>
                </c:pt>
                <c:pt idx="1446">
                  <c:v>2.44272</c:v>
                </c:pt>
                <c:pt idx="1447">
                  <c:v>2.4237899999999999</c:v>
                </c:pt>
                <c:pt idx="1448">
                  <c:v>#N/A</c:v>
                </c:pt>
                <c:pt idx="1449">
                  <c:v>2.8221599999999998</c:v>
                </c:pt>
                <c:pt idx="1450">
                  <c:v>2.6511</c:v>
                </c:pt>
                <c:pt idx="1451">
                  <c:v>2.3603700000000001</c:v>
                </c:pt>
                <c:pt idx="1452">
                  <c:v>#N/A</c:v>
                </c:pt>
                <c:pt idx="1453">
                  <c:v>2.1818499999999998</c:v>
                </c:pt>
                <c:pt idx="1454">
                  <c:v>2.2253599999999998</c:v>
                </c:pt>
                <c:pt idx="1455">
                  <c:v>2.2968600000000001</c:v>
                </c:pt>
                <c:pt idx="1456">
                  <c:v>#N/A</c:v>
                </c:pt>
                <c:pt idx="1457">
                  <c:v>2.2003499999999998</c:v>
                </c:pt>
                <c:pt idx="1458">
                  <c:v>2.3513600000000001</c:v>
                </c:pt>
                <c:pt idx="1459">
                  <c:v>2.1596299999999999</c:v>
                </c:pt>
                <c:pt idx="1460">
                  <c:v>#N/A</c:v>
                </c:pt>
                <c:pt idx="1461">
                  <c:v>1.3576900000000001</c:v>
                </c:pt>
                <c:pt idx="1462">
                  <c:v>1.8095699999999999</c:v>
                </c:pt>
                <c:pt idx="1463">
                  <c:v>2.1055000000000001</c:v>
                </c:pt>
                <c:pt idx="1464">
                  <c:v>#N/A</c:v>
                </c:pt>
                <c:pt idx="1465">
                  <c:v>2.7786200000000001</c:v>
                </c:pt>
                <c:pt idx="1466">
                  <c:v>1.9403900000000001</c:v>
                </c:pt>
                <c:pt idx="1467">
                  <c:v>2.2805900000000001</c:v>
                </c:pt>
                <c:pt idx="1468">
                  <c:v>#N/A</c:v>
                </c:pt>
                <c:pt idx="1469">
                  <c:v>1.86493</c:v>
                </c:pt>
                <c:pt idx="1470">
                  <c:v>0.955233</c:v>
                </c:pt>
                <c:pt idx="1471">
                  <c:v>1.7815399999999999</c:v>
                </c:pt>
                <c:pt idx="1472">
                  <c:v>#N/A</c:v>
                </c:pt>
                <c:pt idx="1473">
                  <c:v>2.1815000000000002</c:v>
                </c:pt>
                <c:pt idx="1474">
                  <c:v>2.9778600000000002</c:v>
                </c:pt>
                <c:pt idx="1475">
                  <c:v>3.2172000000000001</c:v>
                </c:pt>
                <c:pt idx="1476">
                  <c:v>#N/A</c:v>
                </c:pt>
                <c:pt idx="1477">
                  <c:v>2.8131200000000001</c:v>
                </c:pt>
                <c:pt idx="1478">
                  <c:v>2.6194500000000001</c:v>
                </c:pt>
                <c:pt idx="1479">
                  <c:v>#N/A</c:v>
                </c:pt>
                <c:pt idx="1480">
                  <c:v>1.8284100000000001</c:v>
                </c:pt>
                <c:pt idx="1481">
                  <c:v>2.12079</c:v>
                </c:pt>
                <c:pt idx="1482">
                  <c:v>1.4219299999999999</c:v>
                </c:pt>
                <c:pt idx="1483">
                  <c:v>#N/A</c:v>
                </c:pt>
                <c:pt idx="1484">
                  <c:v>1.70705</c:v>
                </c:pt>
                <c:pt idx="1485">
                  <c:v>2.52786</c:v>
                </c:pt>
                <c:pt idx="1486">
                  <c:v>2.9558200000000001</c:v>
                </c:pt>
                <c:pt idx="1487">
                  <c:v>#N/A</c:v>
                </c:pt>
                <c:pt idx="1488">
                  <c:v>2.4617100000000001</c:v>
                </c:pt>
                <c:pt idx="1489">
                  <c:v>1.79176</c:v>
                </c:pt>
                <c:pt idx="1490">
                  <c:v>1.1777899999999999</c:v>
                </c:pt>
                <c:pt idx="1491">
                  <c:v>#N/A</c:v>
                </c:pt>
                <c:pt idx="1492">
                  <c:v>0.97459700000000005</c:v>
                </c:pt>
                <c:pt idx="1493">
                  <c:v>1.8585</c:v>
                </c:pt>
                <c:pt idx="1494">
                  <c:v>1.6067100000000001</c:v>
                </c:pt>
                <c:pt idx="1495">
                  <c:v>#N/A</c:v>
                </c:pt>
                <c:pt idx="1496">
                  <c:v>2.56792</c:v>
                </c:pt>
                <c:pt idx="1497">
                  <c:v>3.12663</c:v>
                </c:pt>
                <c:pt idx="1498">
                  <c:v>#N/A</c:v>
                </c:pt>
                <c:pt idx="1499">
                  <c:v>3.3334299999999999</c:v>
                </c:pt>
                <c:pt idx="1500">
                  <c:v>1.8991100000000001</c:v>
                </c:pt>
                <c:pt idx="1501">
                  <c:v>#N/A</c:v>
                </c:pt>
                <c:pt idx="1502">
                  <c:v>1.5631200000000001</c:v>
                </c:pt>
                <c:pt idx="1503">
                  <c:v>#N/A</c:v>
                </c:pt>
                <c:pt idx="1504">
                  <c:v>1.5706800000000001</c:v>
                </c:pt>
                <c:pt idx="1505">
                  <c:v>2.3311000000000002</c:v>
                </c:pt>
                <c:pt idx="1506">
                  <c:v>2.536</c:v>
                </c:pt>
                <c:pt idx="1507">
                  <c:v>#N/A</c:v>
                </c:pt>
                <c:pt idx="1508">
                  <c:v>2.6164999999999998</c:v>
                </c:pt>
                <c:pt idx="1509">
                  <c:v>2.6612399999999998</c:v>
                </c:pt>
                <c:pt idx="1510">
                  <c:v>#N/A</c:v>
                </c:pt>
                <c:pt idx="1511">
                  <c:v>3.1063200000000002</c:v>
                </c:pt>
                <c:pt idx="1512">
                  <c:v>2.0796999999999999</c:v>
                </c:pt>
                <c:pt idx="1513">
                  <c:v>2.0714299999999999</c:v>
                </c:pt>
                <c:pt idx="1514">
                  <c:v>#N/A</c:v>
                </c:pt>
                <c:pt idx="1515">
                  <c:v>2.1121699999999999</c:v>
                </c:pt>
                <c:pt idx="1516">
                  <c:v>2.5361500000000001</c:v>
                </c:pt>
                <c:pt idx="1517">
                  <c:v>3.0213800000000002</c:v>
                </c:pt>
                <c:pt idx="1518">
                  <c:v>#N/A</c:v>
                </c:pt>
                <c:pt idx="1519">
                  <c:v>2.7841999999999998</c:v>
                </c:pt>
                <c:pt idx="1520">
                  <c:v>2.8557299999999999</c:v>
                </c:pt>
                <c:pt idx="1521">
                  <c:v>1.6114900000000001</c:v>
                </c:pt>
                <c:pt idx="1522">
                  <c:v>#N/A</c:v>
                </c:pt>
                <c:pt idx="1523">
                  <c:v>2.2458399999999998</c:v>
                </c:pt>
                <c:pt idx="1524">
                  <c:v>1.9720299999999999</c:v>
                </c:pt>
                <c:pt idx="1525">
                  <c:v>2.4363199999999998</c:v>
                </c:pt>
                <c:pt idx="1526">
                  <c:v>#N/A</c:v>
                </c:pt>
                <c:pt idx="1527">
                  <c:v>1.86053</c:v>
                </c:pt>
                <c:pt idx="1528">
                  <c:v>2.08134</c:v>
                </c:pt>
                <c:pt idx="1529">
                  <c:v>2.0451199999999998</c:v>
                </c:pt>
                <c:pt idx="1530">
                  <c:v>#N/A</c:v>
                </c:pt>
                <c:pt idx="1531">
                  <c:v>1.7701100000000001</c:v>
                </c:pt>
                <c:pt idx="1532">
                  <c:v>1.4311799999999999</c:v>
                </c:pt>
                <c:pt idx="1533">
                  <c:v>#N/A</c:v>
                </c:pt>
                <c:pt idx="1534">
                  <c:v>1.8372299999999999</c:v>
                </c:pt>
                <c:pt idx="1535">
                  <c:v>2.9545400000000002</c:v>
                </c:pt>
                <c:pt idx="1536">
                  <c:v>2.79941</c:v>
                </c:pt>
                <c:pt idx="1537">
                  <c:v>#N/A</c:v>
                </c:pt>
                <c:pt idx="1538">
                  <c:v>3.5261300000000002</c:v>
                </c:pt>
                <c:pt idx="1539">
                  <c:v>3.6034999999999999</c:v>
                </c:pt>
                <c:pt idx="1540">
                  <c:v>#N/A</c:v>
                </c:pt>
                <c:pt idx="1541">
                  <c:v>2.85806</c:v>
                </c:pt>
                <c:pt idx="1542">
                  <c:v>3.0494599999999998</c:v>
                </c:pt>
                <c:pt idx="1543">
                  <c:v>1.8177300000000001</c:v>
                </c:pt>
                <c:pt idx="1544">
                  <c:v>#N/A</c:v>
                </c:pt>
                <c:pt idx="1545">
                  <c:v>1.7747200000000001</c:v>
                </c:pt>
                <c:pt idx="1546">
                  <c:v>2.0432399999999999</c:v>
                </c:pt>
                <c:pt idx="1547">
                  <c:v>3.01363</c:v>
                </c:pt>
                <c:pt idx="1548">
                  <c:v>#N/A</c:v>
                </c:pt>
                <c:pt idx="1549">
                  <c:v>3.26993</c:v>
                </c:pt>
                <c:pt idx="1550">
                  <c:v>3.1717900000000001</c:v>
                </c:pt>
                <c:pt idx="1551">
                  <c:v>2.75284</c:v>
                </c:pt>
                <c:pt idx="1552">
                  <c:v>#N/A</c:v>
                </c:pt>
                <c:pt idx="1553">
                  <c:v>2.0174500000000002</c:v>
                </c:pt>
                <c:pt idx="1554">
                  <c:v>1.5302899999999999</c:v>
                </c:pt>
                <c:pt idx="1555">
                  <c:v>1.13951</c:v>
                </c:pt>
                <c:pt idx="1556">
                  <c:v>#N/A</c:v>
                </c:pt>
                <c:pt idx="1557">
                  <c:v>1.08873</c:v>
                </c:pt>
                <c:pt idx="1558">
                  <c:v>2.00387</c:v>
                </c:pt>
                <c:pt idx="1559">
                  <c:v>3.1629299999999998</c:v>
                </c:pt>
                <c:pt idx="1560">
                  <c:v>#N/A</c:v>
                </c:pt>
                <c:pt idx="1561">
                  <c:v>3.1975600000000002</c:v>
                </c:pt>
                <c:pt idx="1562">
                  <c:v>3.1044800000000001</c:v>
                </c:pt>
                <c:pt idx="1563">
                  <c:v>2.2044800000000002</c:v>
                </c:pt>
                <c:pt idx="1564">
                  <c:v>#N/A</c:v>
                </c:pt>
                <c:pt idx="1565">
                  <c:v>1.87805</c:v>
                </c:pt>
                <c:pt idx="1566">
                  <c:v>1.504</c:v>
                </c:pt>
                <c:pt idx="1567">
                  <c:v>2.2413099999999999</c:v>
                </c:pt>
                <c:pt idx="1568">
                  <c:v>#N/A</c:v>
                </c:pt>
                <c:pt idx="1569">
                  <c:v>2.4911500000000002</c:v>
                </c:pt>
                <c:pt idx="1570">
                  <c:v>3.3323999999999998</c:v>
                </c:pt>
                <c:pt idx="1571">
                  <c:v>#N/A</c:v>
                </c:pt>
                <c:pt idx="1572">
                  <c:v>3.1501800000000002</c:v>
                </c:pt>
                <c:pt idx="1573">
                  <c:v>1.8022899999999999</c:v>
                </c:pt>
                <c:pt idx="1574">
                  <c:v>#N/A</c:v>
                </c:pt>
                <c:pt idx="1575">
                  <c:v>1.57952</c:v>
                </c:pt>
                <c:pt idx="1576">
                  <c:v>1.7234</c:v>
                </c:pt>
                <c:pt idx="1577">
                  <c:v>#N/A</c:v>
                </c:pt>
                <c:pt idx="1578">
                  <c:v>1.7719400000000001</c:v>
                </c:pt>
                <c:pt idx="1579">
                  <c:v>2.2909700000000002</c:v>
                </c:pt>
                <c:pt idx="1580">
                  <c:v>2.6347900000000002</c:v>
                </c:pt>
                <c:pt idx="1581">
                  <c:v>#N/A</c:v>
                </c:pt>
                <c:pt idx="1582">
                  <c:v>2.4459499999999998</c:v>
                </c:pt>
                <c:pt idx="1583">
                  <c:v>2.5935199999999998</c:v>
                </c:pt>
                <c:pt idx="1584">
                  <c:v>#N/A</c:v>
                </c:pt>
                <c:pt idx="1585">
                  <c:v>2.5021599999999999</c:v>
                </c:pt>
                <c:pt idx="1586">
                  <c:v>1.6913899999999999</c:v>
                </c:pt>
                <c:pt idx="1587">
                  <c:v>1.6556500000000001</c:v>
                </c:pt>
                <c:pt idx="1588">
                  <c:v>#N/A</c:v>
                </c:pt>
                <c:pt idx="1589">
                  <c:v>2.12262</c:v>
                </c:pt>
                <c:pt idx="1590">
                  <c:v>1.8991400000000001</c:v>
                </c:pt>
                <c:pt idx="1591">
                  <c:v>2.08541</c:v>
                </c:pt>
                <c:pt idx="1592">
                  <c:v>#N/A</c:v>
                </c:pt>
                <c:pt idx="1593">
                  <c:v>2.2048399999999999</c:v>
                </c:pt>
                <c:pt idx="1594">
                  <c:v>1.9329700000000001</c:v>
                </c:pt>
                <c:pt idx="1595">
                  <c:v>1.9959</c:v>
                </c:pt>
                <c:pt idx="1596">
                  <c:v>#N/A</c:v>
                </c:pt>
                <c:pt idx="1597">
                  <c:v>2.5781900000000002</c:v>
                </c:pt>
                <c:pt idx="1598">
                  <c:v>2.5413700000000001</c:v>
                </c:pt>
                <c:pt idx="1599">
                  <c:v>#N/A</c:v>
                </c:pt>
                <c:pt idx="1600">
                  <c:v>2.4077799999999998</c:v>
                </c:pt>
                <c:pt idx="1601">
                  <c:v>2.2697600000000002</c:v>
                </c:pt>
                <c:pt idx="1602">
                  <c:v>2.8525499999999999</c:v>
                </c:pt>
                <c:pt idx="1603">
                  <c:v>#N/A</c:v>
                </c:pt>
                <c:pt idx="1604">
                  <c:v>2.57091</c:v>
                </c:pt>
                <c:pt idx="1605">
                  <c:v>1.9200299999999999</c:v>
                </c:pt>
                <c:pt idx="1606">
                  <c:v>1.76071</c:v>
                </c:pt>
                <c:pt idx="1607">
                  <c:v>#N/A</c:v>
                </c:pt>
                <c:pt idx="1608">
                  <c:v>2.3885900000000002</c:v>
                </c:pt>
                <c:pt idx="1609">
                  <c:v>2.6047400000000001</c:v>
                </c:pt>
                <c:pt idx="1610">
                  <c:v>2.5855600000000001</c:v>
                </c:pt>
                <c:pt idx="1611">
                  <c:v>#N/A</c:v>
                </c:pt>
                <c:pt idx="1612">
                  <c:v>2.00909</c:v>
                </c:pt>
                <c:pt idx="1613">
                  <c:v>2.0409799999999998</c:v>
                </c:pt>
                <c:pt idx="1614">
                  <c:v>#N/A</c:v>
                </c:pt>
                <c:pt idx="1615">
                  <c:v>2.61117</c:v>
                </c:pt>
                <c:pt idx="1616">
                  <c:v>1.5843400000000001</c:v>
                </c:pt>
                <c:pt idx="1617">
                  <c:v>1.2815300000000001</c:v>
                </c:pt>
                <c:pt idx="1618">
                  <c:v>#N/A</c:v>
                </c:pt>
                <c:pt idx="1619">
                  <c:v>1.9395500000000001</c:v>
                </c:pt>
                <c:pt idx="1620">
                  <c:v>2.6946099999999999</c:v>
                </c:pt>
                <c:pt idx="1621">
                  <c:v>3.2828499999999998</c:v>
                </c:pt>
                <c:pt idx="1622">
                  <c:v>#N/A</c:v>
                </c:pt>
                <c:pt idx="1623">
                  <c:v>3.0754899999999998</c:v>
                </c:pt>
                <c:pt idx="1624">
                  <c:v>2.0870000000000002</c:v>
                </c:pt>
                <c:pt idx="1625">
                  <c:v>1.9505600000000001</c:v>
                </c:pt>
                <c:pt idx="1626">
                  <c:v>#N/A</c:v>
                </c:pt>
                <c:pt idx="1627">
                  <c:v>1.4604900000000001</c:v>
                </c:pt>
                <c:pt idx="1628">
                  <c:v>1.59659</c:v>
                </c:pt>
                <c:pt idx="1629">
                  <c:v>2.0141399999999998</c:v>
                </c:pt>
                <c:pt idx="1630">
                  <c:v>#N/A</c:v>
                </c:pt>
                <c:pt idx="1631">
                  <c:v>2.5230899999999998</c:v>
                </c:pt>
                <c:pt idx="1632">
                  <c:v>3.0968599999999999</c:v>
                </c:pt>
                <c:pt idx="1633">
                  <c:v>#N/A</c:v>
                </c:pt>
                <c:pt idx="1634">
                  <c:v>3.1340599999999998</c:v>
                </c:pt>
                <c:pt idx="1635">
                  <c:v>2.42767</c:v>
                </c:pt>
                <c:pt idx="1636">
                  <c:v>1.77841</c:v>
                </c:pt>
                <c:pt idx="1637">
                  <c:v>#N/A</c:v>
                </c:pt>
                <c:pt idx="1638">
                  <c:v>1.2442500000000001</c:v>
                </c:pt>
                <c:pt idx="1639">
                  <c:v>1.47848</c:v>
                </c:pt>
                <c:pt idx="1640">
                  <c:v>#N/A</c:v>
                </c:pt>
                <c:pt idx="1641">
                  <c:v>1.7364200000000001</c:v>
                </c:pt>
                <c:pt idx="1642">
                  <c:v>2.7319399999999998</c:v>
                </c:pt>
                <c:pt idx="1643">
                  <c:v>3.00299</c:v>
                </c:pt>
                <c:pt idx="1644">
                  <c:v>#N/A</c:v>
                </c:pt>
                <c:pt idx="1645">
                  <c:v>3.9595699999999998</c:v>
                </c:pt>
                <c:pt idx="1646">
                  <c:v>3.0284900000000001</c:v>
                </c:pt>
                <c:pt idx="1647">
                  <c:v>1.79572</c:v>
                </c:pt>
                <c:pt idx="1648">
                  <c:v>#N/A</c:v>
                </c:pt>
                <c:pt idx="1649">
                  <c:v>#N/A</c:v>
                </c:pt>
                <c:pt idx="1650">
                  <c:v>1.30748</c:v>
                </c:pt>
                <c:pt idx="1651">
                  <c:v>1.9923200000000001</c:v>
                </c:pt>
                <c:pt idx="1652">
                  <c:v>#N/A</c:v>
                </c:pt>
                <c:pt idx="1653">
                  <c:v>2.4499900000000001</c:v>
                </c:pt>
                <c:pt idx="1654">
                  <c:v>2.21068</c:v>
                </c:pt>
                <c:pt idx="1655">
                  <c:v>2.4815999999999998</c:v>
                </c:pt>
                <c:pt idx="1656">
                  <c:v>#N/A</c:v>
                </c:pt>
                <c:pt idx="1657">
                  <c:v>2.9614600000000002</c:v>
                </c:pt>
                <c:pt idx="1658">
                  <c:v>2.7132000000000001</c:v>
                </c:pt>
                <c:pt idx="1659">
                  <c:v>2.41527</c:v>
                </c:pt>
                <c:pt idx="1660">
                  <c:v>#N/A</c:v>
                </c:pt>
                <c:pt idx="1661">
                  <c:v>1.9920199999999999</c:v>
                </c:pt>
                <c:pt idx="1662">
                  <c:v>1.81925</c:v>
                </c:pt>
                <c:pt idx="1663">
                  <c:v>2.4248699999999999</c:v>
                </c:pt>
                <c:pt idx="1664">
                  <c:v>#N/A</c:v>
                </c:pt>
                <c:pt idx="1665">
                  <c:v>2.6789900000000002</c:v>
                </c:pt>
                <c:pt idx="1666">
                  <c:v>2.9321000000000002</c:v>
                </c:pt>
                <c:pt idx="1667">
                  <c:v>2.8142</c:v>
                </c:pt>
                <c:pt idx="1668">
                  <c:v>#N/A</c:v>
                </c:pt>
                <c:pt idx="1669">
                  <c:v>2.4963899999999999</c:v>
                </c:pt>
                <c:pt idx="1670">
                  <c:v>2.43987</c:v>
                </c:pt>
                <c:pt idx="1671">
                  <c:v>#N/A</c:v>
                </c:pt>
                <c:pt idx="1672">
                  <c:v>2.1794699999999998</c:v>
                </c:pt>
                <c:pt idx="1673">
                  <c:v>2.1811500000000001</c:v>
                </c:pt>
                <c:pt idx="1674">
                  <c:v>2.20444</c:v>
                </c:pt>
                <c:pt idx="1675">
                  <c:v>#N/A</c:v>
                </c:pt>
                <c:pt idx="1676">
                  <c:v>2.57544</c:v>
                </c:pt>
                <c:pt idx="1677">
                  <c:v>1.87558</c:v>
                </c:pt>
                <c:pt idx="1678">
                  <c:v>#N/A</c:v>
                </c:pt>
                <c:pt idx="1679">
                  <c:v>1.2040299999999999</c:v>
                </c:pt>
                <c:pt idx="1680">
                  <c:v>1.11355</c:v>
                </c:pt>
                <c:pt idx="1681">
                  <c:v>1.98898</c:v>
                </c:pt>
                <c:pt idx="1682">
                  <c:v>#N/A</c:v>
                </c:pt>
                <c:pt idx="1683">
                  <c:v>2.5670799999999998</c:v>
                </c:pt>
                <c:pt idx="1684">
                  <c:v>3.2606899999999999</c:v>
                </c:pt>
                <c:pt idx="1685">
                  <c:v>3.3358599999999998</c:v>
                </c:pt>
                <c:pt idx="1686">
                  <c:v>#N/A</c:v>
                </c:pt>
                <c:pt idx="1687">
                  <c:v>2.9382899999999998</c:v>
                </c:pt>
                <c:pt idx="1688">
                  <c:v>2.8722699999999999</c:v>
                </c:pt>
                <c:pt idx="1689">
                  <c:v>2.4960599999999999</c:v>
                </c:pt>
                <c:pt idx="1690">
                  <c:v>#N/A</c:v>
                </c:pt>
                <c:pt idx="1691">
                  <c:v>2.2154199999999999</c:v>
                </c:pt>
                <c:pt idx="1692">
                  <c:v>2.3200799999999999</c:v>
                </c:pt>
                <c:pt idx="1693">
                  <c:v>3.1597200000000001</c:v>
                </c:pt>
                <c:pt idx="1694">
                  <c:v>#N/A</c:v>
                </c:pt>
                <c:pt idx="1695">
                  <c:v>2.8971</c:v>
                </c:pt>
                <c:pt idx="1696">
                  <c:v>2.6972200000000002</c:v>
                </c:pt>
                <c:pt idx="1697">
                  <c:v>2.2979799999999999</c:v>
                </c:pt>
                <c:pt idx="1698">
                  <c:v>#N/A</c:v>
                </c:pt>
                <c:pt idx="1699">
                  <c:v>2.1476199999999999</c:v>
                </c:pt>
                <c:pt idx="1700">
                  <c:v>1.91255</c:v>
                </c:pt>
                <c:pt idx="1701">
                  <c:v>1.7921199999999999</c:v>
                </c:pt>
                <c:pt idx="1702">
                  <c:v>#N/A</c:v>
                </c:pt>
                <c:pt idx="1703">
                  <c:v>1.64131</c:v>
                </c:pt>
                <c:pt idx="1704">
                  <c:v>2.2611400000000001</c:v>
                </c:pt>
                <c:pt idx="1705">
                  <c:v>2.4546899999999998</c:v>
                </c:pt>
                <c:pt idx="1706">
                  <c:v>#N/A</c:v>
                </c:pt>
                <c:pt idx="1707">
                  <c:v>2.9511799999999999</c:v>
                </c:pt>
                <c:pt idx="1708">
                  <c:v>2.7709700000000002</c:v>
                </c:pt>
                <c:pt idx="1709">
                  <c:v>#N/A</c:v>
                </c:pt>
                <c:pt idx="1710">
                  <c:v>2.3836599999999999</c:v>
                </c:pt>
                <c:pt idx="1711">
                  <c:v>2.26505</c:v>
                </c:pt>
                <c:pt idx="1712">
                  <c:v>1.7172700000000001</c:v>
                </c:pt>
                <c:pt idx="1713">
                  <c:v>#N/A</c:v>
                </c:pt>
                <c:pt idx="1714">
                  <c:v>2.25718</c:v>
                </c:pt>
                <c:pt idx="1715">
                  <c:v>2.5828600000000002</c:v>
                </c:pt>
                <c:pt idx="1716">
                  <c:v>2.8477199999999998</c:v>
                </c:pt>
                <c:pt idx="1717">
                  <c:v>#N/A</c:v>
                </c:pt>
                <c:pt idx="1718">
                  <c:v>3.6161400000000001</c:v>
                </c:pt>
                <c:pt idx="1719">
                  <c:v>2.88347</c:v>
                </c:pt>
                <c:pt idx="1720">
                  <c:v>2.0921099999999999</c:v>
                </c:pt>
                <c:pt idx="1721">
                  <c:v>#N/A</c:v>
                </c:pt>
                <c:pt idx="1722">
                  <c:v>2.1537799999999998</c:v>
                </c:pt>
                <c:pt idx="1723">
                  <c:v>1.7166300000000001</c:v>
                </c:pt>
                <c:pt idx="1724">
                  <c:v>#N/A</c:v>
                </c:pt>
                <c:pt idx="1725">
                  <c:v>2.2220200000000001</c:v>
                </c:pt>
                <c:pt idx="1726">
                  <c:v>3.07056</c:v>
                </c:pt>
                <c:pt idx="1727">
                  <c:v>#N/A</c:v>
                </c:pt>
                <c:pt idx="1728">
                  <c:v>3.3713099999999998</c:v>
                </c:pt>
                <c:pt idx="1729">
                  <c:v>2.8312499999999998</c:v>
                </c:pt>
                <c:pt idx="1730">
                  <c:v>#N/A</c:v>
                </c:pt>
                <c:pt idx="1731">
                  <c:v>2.39296</c:v>
                </c:pt>
                <c:pt idx="1732">
                  <c:v>1.96875</c:v>
                </c:pt>
                <c:pt idx="1733">
                  <c:v>1.5233699999999999</c:v>
                </c:pt>
                <c:pt idx="1734">
                  <c:v>#N/A</c:v>
                </c:pt>
                <c:pt idx="1735">
                  <c:v>1.9130799999999999</c:v>
                </c:pt>
                <c:pt idx="1736">
                  <c:v>1.9152100000000001</c:v>
                </c:pt>
                <c:pt idx="1737">
                  <c:v>2.4208500000000002</c:v>
                </c:pt>
                <c:pt idx="1738">
                  <c:v>#N/A</c:v>
                </c:pt>
                <c:pt idx="1739">
                  <c:v>2.8946299999999998</c:v>
                </c:pt>
                <c:pt idx="1740">
                  <c:v>2.5141300000000002</c:v>
                </c:pt>
                <c:pt idx="1741">
                  <c:v>#N/A</c:v>
                </c:pt>
                <c:pt idx="1742">
                  <c:v>2.2922899999999999</c:v>
                </c:pt>
                <c:pt idx="1743">
                  <c:v>2.2072699999999998</c:v>
                </c:pt>
                <c:pt idx="1744">
                  <c:v>2.39086</c:v>
                </c:pt>
                <c:pt idx="1745">
                  <c:v>#N/A</c:v>
                </c:pt>
                <c:pt idx="1746">
                  <c:v>2.5299700000000001</c:v>
                </c:pt>
                <c:pt idx="1747">
                  <c:v>3.3035999999999999</c:v>
                </c:pt>
                <c:pt idx="1748">
                  <c:v>3.4731399999999999</c:v>
                </c:pt>
                <c:pt idx="1749">
                  <c:v>#N/A</c:v>
                </c:pt>
                <c:pt idx="1750">
                  <c:v>2.5013299999999998</c:v>
                </c:pt>
                <c:pt idx="1751">
                  <c:v>2.7808999999999999</c:v>
                </c:pt>
                <c:pt idx="1752">
                  <c:v>2.4065599999999998</c:v>
                </c:pt>
                <c:pt idx="1753">
                  <c:v>#N/A</c:v>
                </c:pt>
                <c:pt idx="1754">
                  <c:v>2.8543799999999999</c:v>
                </c:pt>
                <c:pt idx="1755">
                  <c:v>3.2099799999999998</c:v>
                </c:pt>
                <c:pt idx="1756">
                  <c:v>3.7390599999999998</c:v>
                </c:pt>
                <c:pt idx="1757">
                  <c:v>#N/A</c:v>
                </c:pt>
                <c:pt idx="1758">
                  <c:v>3.7132299999999998</c:v>
                </c:pt>
                <c:pt idx="1759">
                  <c:v>3.5373800000000002</c:v>
                </c:pt>
                <c:pt idx="1760">
                  <c:v>3.1353300000000002</c:v>
                </c:pt>
                <c:pt idx="1761">
                  <c:v>#N/A</c:v>
                </c:pt>
                <c:pt idx="1762">
                  <c:v>2.9285100000000002</c:v>
                </c:pt>
                <c:pt idx="1763">
                  <c:v>2.6150699999999998</c:v>
                </c:pt>
                <c:pt idx="1764">
                  <c:v>2.6874899999999999</c:v>
                </c:pt>
                <c:pt idx="1765">
                  <c:v>#N/A</c:v>
                </c:pt>
                <c:pt idx="1766">
                  <c:v>2.4421300000000001</c:v>
                </c:pt>
                <c:pt idx="1767">
                  <c:v>2.4343699999999999</c:v>
                </c:pt>
                <c:pt idx="1768">
                  <c:v>#N/A</c:v>
                </c:pt>
                <c:pt idx="1769">
                  <c:v>3.1701199999999998</c:v>
                </c:pt>
                <c:pt idx="1770">
                  <c:v>3.1388600000000002</c:v>
                </c:pt>
                <c:pt idx="1771">
                  <c:v>3.0503100000000001</c:v>
                </c:pt>
                <c:pt idx="1772">
                  <c:v>#N/A</c:v>
                </c:pt>
                <c:pt idx="1773">
                  <c:v>2.1069599999999999</c:v>
                </c:pt>
                <c:pt idx="1774">
                  <c:v>1.6166700000000001</c:v>
                </c:pt>
                <c:pt idx="1775">
                  <c:v>1.5907</c:v>
                </c:pt>
                <c:pt idx="1776">
                  <c:v>#N/A</c:v>
                </c:pt>
                <c:pt idx="1777">
                  <c:v>2.2046399999999999</c:v>
                </c:pt>
                <c:pt idx="1778">
                  <c:v>2.4157600000000001</c:v>
                </c:pt>
                <c:pt idx="1779">
                  <c:v>3.08792</c:v>
                </c:pt>
                <c:pt idx="1780">
                  <c:v>#N/A</c:v>
                </c:pt>
                <c:pt idx="1781">
                  <c:v>2.8702899999999998</c:v>
                </c:pt>
                <c:pt idx="1782">
                  <c:v>3.04027</c:v>
                </c:pt>
                <c:pt idx="1783">
                  <c:v>2.67814</c:v>
                </c:pt>
                <c:pt idx="1784">
                  <c:v>#N/A</c:v>
                </c:pt>
                <c:pt idx="1785">
                  <c:v>2.14195</c:v>
                </c:pt>
                <c:pt idx="1786">
                  <c:v>1.87754</c:v>
                </c:pt>
                <c:pt idx="1787">
                  <c:v>#N/A</c:v>
                </c:pt>
                <c:pt idx="1788">
                  <c:v>2.4329499999999999</c:v>
                </c:pt>
                <c:pt idx="1789">
                  <c:v>3.01403</c:v>
                </c:pt>
                <c:pt idx="1790">
                  <c:v>3.3103600000000002</c:v>
                </c:pt>
                <c:pt idx="1791">
                  <c:v>#N/A</c:v>
                </c:pt>
                <c:pt idx="1792">
                  <c:v>3.2724099999999998</c:v>
                </c:pt>
                <c:pt idx="1793">
                  <c:v>3.0998000000000001</c:v>
                </c:pt>
                <c:pt idx="1794">
                  <c:v>2.3437100000000002</c:v>
                </c:pt>
                <c:pt idx="1795">
                  <c:v>#N/A</c:v>
                </c:pt>
                <c:pt idx="1796">
                  <c:v>2.4681099999999998</c:v>
                </c:pt>
                <c:pt idx="1797">
                  <c:v>2.3379099999999999</c:v>
                </c:pt>
                <c:pt idx="1798">
                  <c:v>#N/A</c:v>
                </c:pt>
                <c:pt idx="1799">
                  <c:v>2.4019900000000001</c:v>
                </c:pt>
                <c:pt idx="1800">
                  <c:v>2.6313900000000001</c:v>
                </c:pt>
                <c:pt idx="1801">
                  <c:v>#N/A</c:v>
                </c:pt>
                <c:pt idx="1802">
                  <c:v>2.5109499999999998</c:v>
                </c:pt>
                <c:pt idx="1803">
                  <c:v>1.8537600000000001</c:v>
                </c:pt>
                <c:pt idx="1804">
                  <c:v>#N/A</c:v>
                </c:pt>
                <c:pt idx="1805">
                  <c:v>1.9510099999999999</c:v>
                </c:pt>
                <c:pt idx="1806">
                  <c:v>2.3731100000000001</c:v>
                </c:pt>
                <c:pt idx="1807">
                  <c:v>2.3454700000000002</c:v>
                </c:pt>
                <c:pt idx="1808">
                  <c:v>#N/A</c:v>
                </c:pt>
                <c:pt idx="1809">
                  <c:v>3.25061</c:v>
                </c:pt>
                <c:pt idx="1810">
                  <c:v>2.68513</c:v>
                </c:pt>
                <c:pt idx="1811">
                  <c:v>#N/A</c:v>
                </c:pt>
                <c:pt idx="1812">
                  <c:v>3.2963200000000001</c:v>
                </c:pt>
                <c:pt idx="1813">
                  <c:v>2.84375</c:v>
                </c:pt>
                <c:pt idx="1814">
                  <c:v>2.9393199999999999</c:v>
                </c:pt>
                <c:pt idx="1815">
                  <c:v>#N/A</c:v>
                </c:pt>
                <c:pt idx="1816">
                  <c:v>2.56942</c:v>
                </c:pt>
                <c:pt idx="1817">
                  <c:v>2.5112700000000001</c:v>
                </c:pt>
                <c:pt idx="1818">
                  <c:v>2.5453700000000001</c:v>
                </c:pt>
                <c:pt idx="1819">
                  <c:v>#N/A</c:v>
                </c:pt>
                <c:pt idx="1820">
                  <c:v>2.8410299999999999</c:v>
                </c:pt>
                <c:pt idx="1821">
                  <c:v>2.6820900000000001</c:v>
                </c:pt>
                <c:pt idx="1822">
                  <c:v>2.8575499999999998</c:v>
                </c:pt>
                <c:pt idx="1823">
                  <c:v>#N/A</c:v>
                </c:pt>
                <c:pt idx="1824">
                  <c:v>2.4530699999999999</c:v>
                </c:pt>
                <c:pt idx="1825">
                  <c:v>1.75522</c:v>
                </c:pt>
                <c:pt idx="1826">
                  <c:v>1.7174799999999999</c:v>
                </c:pt>
                <c:pt idx="1827">
                  <c:v>#N/A</c:v>
                </c:pt>
                <c:pt idx="1828">
                  <c:v>1.75366</c:v>
                </c:pt>
                <c:pt idx="1829">
                  <c:v>2.4511799999999999</c:v>
                </c:pt>
                <c:pt idx="1830">
                  <c:v>2.92767</c:v>
                </c:pt>
                <c:pt idx="1831">
                  <c:v>#N/A</c:v>
                </c:pt>
                <c:pt idx="1832">
                  <c:v>2.9629599999999998</c:v>
                </c:pt>
                <c:pt idx="1833">
                  <c:v>2.5706000000000002</c:v>
                </c:pt>
                <c:pt idx="1834">
                  <c:v>#N/A</c:v>
                </c:pt>
                <c:pt idx="1835">
                  <c:v>2.4066700000000001</c:v>
                </c:pt>
                <c:pt idx="1836">
                  <c:v>1.6441399999999999</c:v>
                </c:pt>
                <c:pt idx="1837">
                  <c:v>1.9825600000000001</c:v>
                </c:pt>
                <c:pt idx="1838">
                  <c:v>#N/A</c:v>
                </c:pt>
                <c:pt idx="1839">
                  <c:v>2.2724099999999998</c:v>
                </c:pt>
                <c:pt idx="1840">
                  <c:v>2.46637</c:v>
                </c:pt>
                <c:pt idx="1841">
                  <c:v>2.98163</c:v>
                </c:pt>
                <c:pt idx="1842">
                  <c:v>#N/A</c:v>
                </c:pt>
                <c:pt idx="1843">
                  <c:v>3.1466099999999999</c:v>
                </c:pt>
                <c:pt idx="1844">
                  <c:v>3.1247600000000002</c:v>
                </c:pt>
                <c:pt idx="1845">
                  <c:v>3.0544600000000002</c:v>
                </c:pt>
                <c:pt idx="1846">
                  <c:v>#N/A</c:v>
                </c:pt>
                <c:pt idx="1847">
                  <c:v>1.6345000000000001</c:v>
                </c:pt>
                <c:pt idx="1848">
                  <c:v>1.92553</c:v>
                </c:pt>
                <c:pt idx="1849">
                  <c:v>1.9061399999999999</c:v>
                </c:pt>
                <c:pt idx="1850">
                  <c:v>#N/A</c:v>
                </c:pt>
                <c:pt idx="1851">
                  <c:v>2.9590100000000001</c:v>
                </c:pt>
                <c:pt idx="1852">
                  <c:v>3.2986800000000001</c:v>
                </c:pt>
                <c:pt idx="1853">
                  <c:v>3.22864</c:v>
                </c:pt>
                <c:pt idx="1854">
                  <c:v>#N/A</c:v>
                </c:pt>
                <c:pt idx="1855">
                  <c:v>2.77197</c:v>
                </c:pt>
                <c:pt idx="1856">
                  <c:v>2.6261299999999999</c:v>
                </c:pt>
                <c:pt idx="1857">
                  <c:v>1.8801399999999999</c:v>
                </c:pt>
                <c:pt idx="1858">
                  <c:v>#N/A</c:v>
                </c:pt>
                <c:pt idx="1859">
                  <c:v>1.75901</c:v>
                </c:pt>
                <c:pt idx="1860">
                  <c:v>2.3112699999999999</c:v>
                </c:pt>
                <c:pt idx="1861">
                  <c:v>#N/A</c:v>
                </c:pt>
                <c:pt idx="1862">
                  <c:v>2.5586099999999998</c:v>
                </c:pt>
                <c:pt idx="1863">
                  <c:v>2.8244500000000001</c:v>
                </c:pt>
                <c:pt idx="1864">
                  <c:v>2.5879699999999999</c:v>
                </c:pt>
                <c:pt idx="1865">
                  <c:v>#N/A</c:v>
                </c:pt>
                <c:pt idx="1866">
                  <c:v>2.41689</c:v>
                </c:pt>
                <c:pt idx="1867">
                  <c:v>2.3058000000000001</c:v>
                </c:pt>
                <c:pt idx="1868">
                  <c:v>2.3718499999999998</c:v>
                </c:pt>
                <c:pt idx="1869">
                  <c:v>#N/A</c:v>
                </c:pt>
                <c:pt idx="1870">
                  <c:v>3.1293099999999998</c:v>
                </c:pt>
                <c:pt idx="1871">
                  <c:v>2.88524</c:v>
                </c:pt>
                <c:pt idx="1872">
                  <c:v>2.9436399999999998</c:v>
                </c:pt>
                <c:pt idx="1873">
                  <c:v>#N/A</c:v>
                </c:pt>
                <c:pt idx="1874">
                  <c:v>3.19956</c:v>
                </c:pt>
                <c:pt idx="1875">
                  <c:v>#N/A</c:v>
                </c:pt>
                <c:pt idx="1876">
                  <c:v>3.29786</c:v>
                </c:pt>
                <c:pt idx="1877">
                  <c:v>2.6120399999999999</c:v>
                </c:pt>
                <c:pt idx="1878">
                  <c:v>2.2825299999999999</c:v>
                </c:pt>
                <c:pt idx="1879">
                  <c:v>#N/A</c:v>
                </c:pt>
                <c:pt idx="1880">
                  <c:v>2.49648</c:v>
                </c:pt>
                <c:pt idx="1881">
                  <c:v>2.7054900000000002</c:v>
                </c:pt>
                <c:pt idx="1882">
                  <c:v>#N/A</c:v>
                </c:pt>
                <c:pt idx="1883">
                  <c:v>2.9071799999999999</c:v>
                </c:pt>
                <c:pt idx="1884">
                  <c:v>2.9761700000000002</c:v>
                </c:pt>
                <c:pt idx="1885">
                  <c:v>2.5020600000000002</c:v>
                </c:pt>
                <c:pt idx="1886">
                  <c:v>#N/A</c:v>
                </c:pt>
                <c:pt idx="1887">
                  <c:v>2.0897000000000001</c:v>
                </c:pt>
                <c:pt idx="1888">
                  <c:v>2.3455599999999999</c:v>
                </c:pt>
                <c:pt idx="1889">
                  <c:v>1.64893</c:v>
                </c:pt>
                <c:pt idx="1890">
                  <c:v>#N/A</c:v>
                </c:pt>
                <c:pt idx="1891">
                  <c:v>2.3082099999999999</c:v>
                </c:pt>
                <c:pt idx="1892">
                  <c:v>2.5012799999999999</c:v>
                </c:pt>
                <c:pt idx="1893">
                  <c:v>#N/A</c:v>
                </c:pt>
                <c:pt idx="1894">
                  <c:v>3.2205300000000001</c:v>
                </c:pt>
                <c:pt idx="1895">
                  <c:v>3.1777099999999998</c:v>
                </c:pt>
                <c:pt idx="1896">
                  <c:v>2.9093399999999998</c:v>
                </c:pt>
                <c:pt idx="1897">
                  <c:v>#N/A</c:v>
                </c:pt>
                <c:pt idx="1898">
                  <c:v>2.7645499999999998</c:v>
                </c:pt>
                <c:pt idx="1899">
                  <c:v>2.2037300000000002</c:v>
                </c:pt>
                <c:pt idx="1900">
                  <c:v>2.4380000000000002</c:v>
                </c:pt>
                <c:pt idx="1901">
                  <c:v>#N/A</c:v>
                </c:pt>
                <c:pt idx="1902">
                  <c:v>2.2251300000000001</c:v>
                </c:pt>
                <c:pt idx="1903">
                  <c:v>2.6352099999999998</c:v>
                </c:pt>
                <c:pt idx="1904">
                  <c:v>2.86808</c:v>
                </c:pt>
                <c:pt idx="1905">
                  <c:v>#N/A</c:v>
                </c:pt>
                <c:pt idx="1906">
                  <c:v>2.9643199999999998</c:v>
                </c:pt>
                <c:pt idx="1907">
                  <c:v>2.5667800000000001</c:v>
                </c:pt>
                <c:pt idx="1908">
                  <c:v>1.7761</c:v>
                </c:pt>
                <c:pt idx="1909">
                  <c:v>#N/A</c:v>
                </c:pt>
                <c:pt idx="1910">
                  <c:v>1.39839</c:v>
                </c:pt>
                <c:pt idx="1911">
                  <c:v>1.9135500000000001</c:v>
                </c:pt>
                <c:pt idx="1912">
                  <c:v>2.4202900000000001</c:v>
                </c:pt>
                <c:pt idx="1913">
                  <c:v>#N/A</c:v>
                </c:pt>
                <c:pt idx="1914">
                  <c:v>2.84727</c:v>
                </c:pt>
                <c:pt idx="1915">
                  <c:v>3.0382400000000001</c:v>
                </c:pt>
                <c:pt idx="1916">
                  <c:v>2.8858899999999998</c:v>
                </c:pt>
                <c:pt idx="1917">
                  <c:v>#N/A</c:v>
                </c:pt>
                <c:pt idx="1918">
                  <c:v>2.58432</c:v>
                </c:pt>
                <c:pt idx="1919">
                  <c:v>2.3326199999999999</c:v>
                </c:pt>
                <c:pt idx="1920">
                  <c:v>#N/A</c:v>
                </c:pt>
                <c:pt idx="1921">
                  <c:v>1.8320099999999999</c:v>
                </c:pt>
                <c:pt idx="1922">
                  <c:v>1.5471999999999999</c:v>
                </c:pt>
                <c:pt idx="1923">
                  <c:v>2.29928</c:v>
                </c:pt>
                <c:pt idx="1924">
                  <c:v>#N/A</c:v>
                </c:pt>
                <c:pt idx="1925">
                  <c:v>2.62269</c:v>
                </c:pt>
                <c:pt idx="1926">
                  <c:v>3.0635599999999998</c:v>
                </c:pt>
                <c:pt idx="1927">
                  <c:v>2.54901</c:v>
                </c:pt>
                <c:pt idx="1928">
                  <c:v>#N/A</c:v>
                </c:pt>
                <c:pt idx="1929">
                  <c:v>2.4707400000000002</c:v>
                </c:pt>
                <c:pt idx="1930">
                  <c:v>2.0152199999999998</c:v>
                </c:pt>
                <c:pt idx="1931">
                  <c:v>2.0432800000000002</c:v>
                </c:pt>
                <c:pt idx="1932">
                  <c:v>#N/A</c:v>
                </c:pt>
                <c:pt idx="1933">
                  <c:v>1.82613</c:v>
                </c:pt>
                <c:pt idx="1934">
                  <c:v>2.7391399999999999</c:v>
                </c:pt>
                <c:pt idx="1935">
                  <c:v>3.4601299999999999</c:v>
                </c:pt>
                <c:pt idx="1936">
                  <c:v>#N/A</c:v>
                </c:pt>
                <c:pt idx="1937">
                  <c:v>3.12663</c:v>
                </c:pt>
                <c:pt idx="1938">
                  <c:v>3.0936900000000001</c:v>
                </c:pt>
                <c:pt idx="1939">
                  <c:v>2.371</c:v>
                </c:pt>
                <c:pt idx="1940">
                  <c:v>#N/A</c:v>
                </c:pt>
                <c:pt idx="1941">
                  <c:v>2.1229499999999999</c:v>
                </c:pt>
                <c:pt idx="1942">
                  <c:v>2.0720999999999998</c:v>
                </c:pt>
                <c:pt idx="1943">
                  <c:v>2.46611</c:v>
                </c:pt>
                <c:pt idx="1944">
                  <c:v>#N/A</c:v>
                </c:pt>
                <c:pt idx="1945">
                  <c:v>2.2971900000000001</c:v>
                </c:pt>
                <c:pt idx="1946">
                  <c:v>2.9380700000000002</c:v>
                </c:pt>
                <c:pt idx="1947">
                  <c:v>2.8614199999999999</c:v>
                </c:pt>
                <c:pt idx="1948">
                  <c:v>#N/A</c:v>
                </c:pt>
                <c:pt idx="1949">
                  <c:v>2.6090100000000001</c:v>
                </c:pt>
                <c:pt idx="1950">
                  <c:v>#N/A</c:v>
                </c:pt>
                <c:pt idx="1951">
                  <c:v>1.7394099999999999</c:v>
                </c:pt>
                <c:pt idx="1952">
                  <c:v>2.00501</c:v>
                </c:pt>
                <c:pt idx="1953">
                  <c:v>#N/A</c:v>
                </c:pt>
                <c:pt idx="1954">
                  <c:v>1.7270399999999999</c:v>
                </c:pt>
                <c:pt idx="1955">
                  <c:v>2.6097199999999998</c:v>
                </c:pt>
                <c:pt idx="1956">
                  <c:v>3.0908199999999999</c:v>
                </c:pt>
                <c:pt idx="1957">
                  <c:v>#N/A</c:v>
                </c:pt>
                <c:pt idx="1958">
                  <c:v>3.1246100000000001</c:v>
                </c:pt>
                <c:pt idx="1959">
                  <c:v>2.6335799999999998</c:v>
                </c:pt>
                <c:pt idx="1960">
                  <c:v>#N/A</c:v>
                </c:pt>
                <c:pt idx="1961">
                  <c:v>2.2711899999999998</c:v>
                </c:pt>
                <c:pt idx="1962">
                  <c:v>2.0506000000000002</c:v>
                </c:pt>
                <c:pt idx="1963">
                  <c:v>2.1462699999999999</c:v>
                </c:pt>
                <c:pt idx="1964">
                  <c:v>#N/A</c:v>
                </c:pt>
                <c:pt idx="1965">
                  <c:v>2.5946699999999998</c:v>
                </c:pt>
                <c:pt idx="1966">
                  <c:v>2.9204699999999999</c:v>
                </c:pt>
                <c:pt idx="1967">
                  <c:v>2.8694999999999999</c:v>
                </c:pt>
                <c:pt idx="1968">
                  <c:v>#N/A</c:v>
                </c:pt>
                <c:pt idx="1969">
                  <c:v>2.53037</c:v>
                </c:pt>
                <c:pt idx="1970">
                  <c:v>2.4180600000000001</c:v>
                </c:pt>
                <c:pt idx="1971">
                  <c:v>2.0266700000000002</c:v>
                </c:pt>
                <c:pt idx="1972">
                  <c:v>#N/A</c:v>
                </c:pt>
                <c:pt idx="1973">
                  <c:v>2.4620000000000002</c:v>
                </c:pt>
                <c:pt idx="1974">
                  <c:v>2.7571599999999998</c:v>
                </c:pt>
                <c:pt idx="1975">
                  <c:v>#N/A</c:v>
                </c:pt>
                <c:pt idx="1976">
                  <c:v>2.8879800000000002</c:v>
                </c:pt>
                <c:pt idx="1977">
                  <c:v>3.1481599999999998</c:v>
                </c:pt>
                <c:pt idx="1978">
                  <c:v>3.3600500000000002</c:v>
                </c:pt>
                <c:pt idx="1979">
                  <c:v>#N/A</c:v>
                </c:pt>
                <c:pt idx="1980">
                  <c:v>2.58846</c:v>
                </c:pt>
                <c:pt idx="1981">
                  <c:v>2.3953600000000002</c:v>
                </c:pt>
                <c:pt idx="1982">
                  <c:v>2.1812299999999998</c:v>
                </c:pt>
                <c:pt idx="1983">
                  <c:v>#N/A</c:v>
                </c:pt>
                <c:pt idx="1984">
                  <c:v>2.6141999999999999</c:v>
                </c:pt>
                <c:pt idx="1985">
                  <c:v>2.5986699999999998</c:v>
                </c:pt>
                <c:pt idx="1986">
                  <c:v>3.17299</c:v>
                </c:pt>
                <c:pt idx="1987">
                  <c:v>#N/A</c:v>
                </c:pt>
                <c:pt idx="1988">
                  <c:v>3.10711</c:v>
                </c:pt>
                <c:pt idx="1989">
                  <c:v>3.12005</c:v>
                </c:pt>
                <c:pt idx="1990">
                  <c:v>2.8682500000000002</c:v>
                </c:pt>
                <c:pt idx="1991">
                  <c:v>#N/A</c:v>
                </c:pt>
                <c:pt idx="1992">
                  <c:v>2.38646</c:v>
                </c:pt>
                <c:pt idx="1993">
                  <c:v>2.1238999999999999</c:v>
                </c:pt>
                <c:pt idx="1994">
                  <c:v>2.2395399999999999</c:v>
                </c:pt>
                <c:pt idx="1995">
                  <c:v>#N/A</c:v>
                </c:pt>
                <c:pt idx="1996">
                  <c:v>2.60839</c:v>
                </c:pt>
                <c:pt idx="1997">
                  <c:v>2.9845999999999999</c:v>
                </c:pt>
                <c:pt idx="1998">
                  <c:v>3.4187400000000001</c:v>
                </c:pt>
                <c:pt idx="1999">
                  <c:v>#N/A</c:v>
                </c:pt>
                <c:pt idx="2000">
                  <c:v>3.5970499999999999</c:v>
                </c:pt>
                <c:pt idx="2001">
                  <c:v>3.1741299999999999</c:v>
                </c:pt>
                <c:pt idx="2002">
                  <c:v>2.53708</c:v>
                </c:pt>
                <c:pt idx="2003">
                  <c:v>#N/A</c:v>
                </c:pt>
                <c:pt idx="2004">
                  <c:v>2.3847499999999999</c:v>
                </c:pt>
                <c:pt idx="2005">
                  <c:v>2.2389600000000001</c:v>
                </c:pt>
                <c:pt idx="2006">
                  <c:v>#N/A</c:v>
                </c:pt>
                <c:pt idx="2007">
                  <c:v>2.2815799999999999</c:v>
                </c:pt>
                <c:pt idx="2008">
                  <c:v>2.44157</c:v>
                </c:pt>
                <c:pt idx="2009">
                  <c:v>2.76125</c:v>
                </c:pt>
                <c:pt idx="2010">
                  <c:v>#N/A</c:v>
                </c:pt>
                <c:pt idx="2011">
                  <c:v>2.6433599999999999</c:v>
                </c:pt>
                <c:pt idx="2012">
                  <c:v>2.8755500000000001</c:v>
                </c:pt>
                <c:pt idx="2013">
                  <c:v>2.2080199999999999</c:v>
                </c:pt>
                <c:pt idx="2014">
                  <c:v>#N/A</c:v>
                </c:pt>
                <c:pt idx="2015">
                  <c:v>1.4872399999999999</c:v>
                </c:pt>
                <c:pt idx="2016">
                  <c:v>1.6629</c:v>
                </c:pt>
                <c:pt idx="2017">
                  <c:v>2.1723599999999998</c:v>
                </c:pt>
                <c:pt idx="2018">
                  <c:v>#N/A</c:v>
                </c:pt>
                <c:pt idx="2019">
                  <c:v>2.7798400000000001</c:v>
                </c:pt>
                <c:pt idx="2020">
                  <c:v>2.7921200000000002</c:v>
                </c:pt>
                <c:pt idx="2021">
                  <c:v>2.8928199999999999</c:v>
                </c:pt>
                <c:pt idx="2022">
                  <c:v>#N/A</c:v>
                </c:pt>
                <c:pt idx="2023">
                  <c:v>2.7306599999999999</c:v>
                </c:pt>
                <c:pt idx="2024">
                  <c:v>2.2646999999999999</c:v>
                </c:pt>
                <c:pt idx="2025">
                  <c:v>#N/A</c:v>
                </c:pt>
                <c:pt idx="2026">
                  <c:v>2.69346</c:v>
                </c:pt>
                <c:pt idx="2027">
                  <c:v>2.15124</c:v>
                </c:pt>
                <c:pt idx="2028">
                  <c:v>#N/A</c:v>
                </c:pt>
                <c:pt idx="2029">
                  <c:v>2.6666400000000001</c:v>
                </c:pt>
                <c:pt idx="2030">
                  <c:v>2.6716000000000002</c:v>
                </c:pt>
                <c:pt idx="2031">
                  <c:v>2.67876</c:v>
                </c:pt>
                <c:pt idx="2032">
                  <c:v>#N/A</c:v>
                </c:pt>
                <c:pt idx="2033">
                  <c:v>2.2767400000000002</c:v>
                </c:pt>
                <c:pt idx="2034">
                  <c:v>2.3596499999999998</c:v>
                </c:pt>
                <c:pt idx="2035">
                  <c:v>#N/A</c:v>
                </c:pt>
                <c:pt idx="2036">
                  <c:v>1.69638</c:v>
                </c:pt>
                <c:pt idx="2037">
                  <c:v>1.9023600000000001</c:v>
                </c:pt>
                <c:pt idx="2038">
                  <c:v>2.6499100000000002</c:v>
                </c:pt>
                <c:pt idx="2039">
                  <c:v>#N/A</c:v>
                </c:pt>
                <c:pt idx="2040">
                  <c:v>3.14716</c:v>
                </c:pt>
                <c:pt idx="2041">
                  <c:v>3.3898000000000001</c:v>
                </c:pt>
                <c:pt idx="2042">
                  <c:v>2.2837399999999999</c:v>
                </c:pt>
                <c:pt idx="2043">
                  <c:v>#N/A</c:v>
                </c:pt>
                <c:pt idx="2044">
                  <c:v>2.25617</c:v>
                </c:pt>
                <c:pt idx="2045">
                  <c:v>2.1331199999999999</c:v>
                </c:pt>
                <c:pt idx="2046">
                  <c:v>2.27522</c:v>
                </c:pt>
                <c:pt idx="2047">
                  <c:v>#N/A</c:v>
                </c:pt>
                <c:pt idx="2048">
                  <c:v>2.6713399999999998</c:v>
                </c:pt>
                <c:pt idx="2049">
                  <c:v>2.5625900000000001</c:v>
                </c:pt>
                <c:pt idx="2050">
                  <c:v>3.0329000000000002</c:v>
                </c:pt>
                <c:pt idx="2051">
                  <c:v>#N/A</c:v>
                </c:pt>
                <c:pt idx="2052">
                  <c:v>3.3014299999999999</c:v>
                </c:pt>
                <c:pt idx="2053">
                  <c:v>2.7125400000000002</c:v>
                </c:pt>
                <c:pt idx="2054">
                  <c:v>2.34267</c:v>
                </c:pt>
                <c:pt idx="2055">
                  <c:v>#N/A</c:v>
                </c:pt>
                <c:pt idx="2056">
                  <c:v>1.8199700000000001</c:v>
                </c:pt>
                <c:pt idx="2057">
                  <c:v>2.5642999999999998</c:v>
                </c:pt>
                <c:pt idx="2058">
                  <c:v>#N/A</c:v>
                </c:pt>
                <c:pt idx="2059">
                  <c:v>2.4285999999999999</c:v>
                </c:pt>
                <c:pt idx="2060">
                  <c:v>2.79271</c:v>
                </c:pt>
                <c:pt idx="2061">
                  <c:v>2.8541799999999999</c:v>
                </c:pt>
                <c:pt idx="2062">
                  <c:v>#N/A</c:v>
                </c:pt>
                <c:pt idx="2063">
                  <c:v>3.1495299999999999</c:v>
                </c:pt>
                <c:pt idx="2064">
                  <c:v>2.3140299999999998</c:v>
                </c:pt>
                <c:pt idx="2065">
                  <c:v>2.0503900000000002</c:v>
                </c:pt>
                <c:pt idx="2066">
                  <c:v>#N/A</c:v>
                </c:pt>
                <c:pt idx="2067">
                  <c:v>1.6712400000000001</c:v>
                </c:pt>
                <c:pt idx="2068">
                  <c:v>1.7346299999999999</c:v>
                </c:pt>
                <c:pt idx="2069">
                  <c:v>2.6132399999999998</c:v>
                </c:pt>
                <c:pt idx="2070">
                  <c:v>#N/A</c:v>
                </c:pt>
                <c:pt idx="2071">
                  <c:v>2.77501</c:v>
                </c:pt>
                <c:pt idx="2072">
                  <c:v>2.51953</c:v>
                </c:pt>
                <c:pt idx="2073">
                  <c:v>#N/A</c:v>
                </c:pt>
                <c:pt idx="2074">
                  <c:v>2.3527999999999998</c:v>
                </c:pt>
                <c:pt idx="2075">
                  <c:v>2.5239799999999999</c:v>
                </c:pt>
                <c:pt idx="2076">
                  <c:v>1.91886</c:v>
                </c:pt>
                <c:pt idx="2077">
                  <c:v>#N/A</c:v>
                </c:pt>
                <c:pt idx="2078">
                  <c:v>1.76173</c:v>
                </c:pt>
                <c:pt idx="2079">
                  <c:v>1.7844899999999999</c:v>
                </c:pt>
                <c:pt idx="2080">
                  <c:v>2.5314700000000001</c:v>
                </c:pt>
                <c:pt idx="2081">
                  <c:v>#N/A</c:v>
                </c:pt>
                <c:pt idx="2082">
                  <c:v>3.3691800000000001</c:v>
                </c:pt>
                <c:pt idx="2083">
                  <c:v>3.2672099999999999</c:v>
                </c:pt>
                <c:pt idx="2084">
                  <c:v>3.0767899999999999</c:v>
                </c:pt>
                <c:pt idx="2085">
                  <c:v>#N/A</c:v>
                </c:pt>
                <c:pt idx="2086">
                  <c:v>2.5854400000000002</c:v>
                </c:pt>
                <c:pt idx="2087">
                  <c:v>2.4337499999999999</c:v>
                </c:pt>
                <c:pt idx="2088">
                  <c:v>2.46048</c:v>
                </c:pt>
                <c:pt idx="2089">
                  <c:v>#N/A</c:v>
                </c:pt>
                <c:pt idx="2090">
                  <c:v>2.18147</c:v>
                </c:pt>
                <c:pt idx="2091">
                  <c:v>2.2627600000000001</c:v>
                </c:pt>
                <c:pt idx="2092">
                  <c:v>2.3448600000000002</c:v>
                </c:pt>
                <c:pt idx="2093">
                  <c:v>#N/A</c:v>
                </c:pt>
                <c:pt idx="2094">
                  <c:v>3.1329400000000001</c:v>
                </c:pt>
                <c:pt idx="2095">
                  <c:v>#N/A</c:v>
                </c:pt>
                <c:pt idx="2096">
                  <c:v>2.1266500000000002</c:v>
                </c:pt>
                <c:pt idx="2097">
                  <c:v>#N/A</c:v>
                </c:pt>
                <c:pt idx="2098">
                  <c:v>1.87229</c:v>
                </c:pt>
                <c:pt idx="2099">
                  <c:v>2.23577</c:v>
                </c:pt>
                <c:pt idx="2100">
                  <c:v>#N/A</c:v>
                </c:pt>
                <c:pt idx="2101">
                  <c:v>2.7070799999999999</c:v>
                </c:pt>
                <c:pt idx="2102">
                  <c:v>#N/A</c:v>
                </c:pt>
                <c:pt idx="2103">
                  <c:v>2.6861100000000002</c:v>
                </c:pt>
                <c:pt idx="2104">
                  <c:v>2.95547</c:v>
                </c:pt>
                <c:pt idx="2105">
                  <c:v>2.99437</c:v>
                </c:pt>
                <c:pt idx="2106">
                  <c:v>#N/A</c:v>
                </c:pt>
                <c:pt idx="2107">
                  <c:v>3.32864</c:v>
                </c:pt>
                <c:pt idx="2108">
                  <c:v>2.8307899999999999</c:v>
                </c:pt>
                <c:pt idx="2109">
                  <c:v>2.9265400000000001</c:v>
                </c:pt>
                <c:pt idx="2110">
                  <c:v>#N/A</c:v>
                </c:pt>
                <c:pt idx="2111">
                  <c:v>3.0886999999999998</c:v>
                </c:pt>
                <c:pt idx="2112">
                  <c:v>3.1154000000000002</c:v>
                </c:pt>
                <c:pt idx="2113">
                  <c:v>#N/A</c:v>
                </c:pt>
                <c:pt idx="2114">
                  <c:v>2.8540700000000001</c:v>
                </c:pt>
                <c:pt idx="2115">
                  <c:v>3.2082799999999998</c:v>
                </c:pt>
                <c:pt idx="2116">
                  <c:v>2.8501599999999998</c:v>
                </c:pt>
                <c:pt idx="2117">
                  <c:v>#N/A</c:v>
                </c:pt>
                <c:pt idx="2118">
                  <c:v>1.89161</c:v>
                </c:pt>
                <c:pt idx="2119">
                  <c:v>2.15449</c:v>
                </c:pt>
                <c:pt idx="2120">
                  <c:v>2.0643099999999999</c:v>
                </c:pt>
                <c:pt idx="2121">
                  <c:v>#N/A</c:v>
                </c:pt>
                <c:pt idx="2122">
                  <c:v>2.3666</c:v>
                </c:pt>
                <c:pt idx="2123">
                  <c:v>2.7389299999999999</c:v>
                </c:pt>
                <c:pt idx="2124">
                  <c:v>2.98055</c:v>
                </c:pt>
                <c:pt idx="2125">
                  <c:v>#N/A</c:v>
                </c:pt>
                <c:pt idx="2126">
                  <c:v>2.8763399999999999</c:v>
                </c:pt>
                <c:pt idx="2127">
                  <c:v>2.1406000000000001</c:v>
                </c:pt>
                <c:pt idx="2128">
                  <c:v>1.8171299999999999</c:v>
                </c:pt>
                <c:pt idx="2129">
                  <c:v>#N/A</c:v>
                </c:pt>
                <c:pt idx="2130">
                  <c:v>1.7151000000000001</c:v>
                </c:pt>
                <c:pt idx="2131">
                  <c:v>2.0360100000000001</c:v>
                </c:pt>
                <c:pt idx="2132">
                  <c:v>2.6419700000000002</c:v>
                </c:pt>
                <c:pt idx="2133">
                  <c:v>#N/A</c:v>
                </c:pt>
                <c:pt idx="2134">
                  <c:v>2.5600700000000001</c:v>
                </c:pt>
                <c:pt idx="2135">
                  <c:v>2.4873099999999999</c:v>
                </c:pt>
                <c:pt idx="2136">
                  <c:v>2.32131</c:v>
                </c:pt>
                <c:pt idx="2137">
                  <c:v>#N/A</c:v>
                </c:pt>
                <c:pt idx="2138">
                  <c:v>2.2007699999999999</c:v>
                </c:pt>
                <c:pt idx="2139">
                  <c:v>1.5139400000000001</c:v>
                </c:pt>
                <c:pt idx="2140">
                  <c:v>#N/A</c:v>
                </c:pt>
                <c:pt idx="2141">
                  <c:v>1.85897</c:v>
                </c:pt>
                <c:pt idx="2142">
                  <c:v>2.2730600000000001</c:v>
                </c:pt>
                <c:pt idx="2143">
                  <c:v>3.19272</c:v>
                </c:pt>
                <c:pt idx="2144">
                  <c:v>#N/A</c:v>
                </c:pt>
                <c:pt idx="2145">
                  <c:v>3.3250000000000002</c:v>
                </c:pt>
                <c:pt idx="2146">
                  <c:v>2.6783999999999999</c:v>
                </c:pt>
                <c:pt idx="2147">
                  <c:v>2.9788600000000001</c:v>
                </c:pt>
                <c:pt idx="2148">
                  <c:v>#N/A</c:v>
                </c:pt>
                <c:pt idx="2149">
                  <c:v>2.2263899999999999</c:v>
                </c:pt>
                <c:pt idx="2150">
                  <c:v>2.2615699999999999</c:v>
                </c:pt>
                <c:pt idx="2151">
                  <c:v>2.17476</c:v>
                </c:pt>
                <c:pt idx="2152">
                  <c:v>#N/A</c:v>
                </c:pt>
                <c:pt idx="2153">
                  <c:v>2.1793</c:v>
                </c:pt>
                <c:pt idx="2154">
                  <c:v>2.2614399999999999</c:v>
                </c:pt>
                <c:pt idx="2155">
                  <c:v>3.3086899999999999</c:v>
                </c:pt>
                <c:pt idx="2156">
                  <c:v>#N/A</c:v>
                </c:pt>
                <c:pt idx="2157">
                  <c:v>2.24742</c:v>
                </c:pt>
                <c:pt idx="2158">
                  <c:v>2.4233699999999998</c:v>
                </c:pt>
                <c:pt idx="2159">
                  <c:v>2.0679799999999999</c:v>
                </c:pt>
                <c:pt idx="2160">
                  <c:v>#N/A</c:v>
                </c:pt>
                <c:pt idx="2161">
                  <c:v>1.82819</c:v>
                </c:pt>
                <c:pt idx="2162">
                  <c:v>1.7709699999999999</c:v>
                </c:pt>
                <c:pt idx="2163">
                  <c:v>2.0605099999999998</c:v>
                </c:pt>
                <c:pt idx="2164">
                  <c:v>#N/A</c:v>
                </c:pt>
                <c:pt idx="2165">
                  <c:v>2.70479</c:v>
                </c:pt>
                <c:pt idx="2166">
                  <c:v>2.2818200000000002</c:v>
                </c:pt>
                <c:pt idx="2167">
                  <c:v>3.4801199999999999</c:v>
                </c:pt>
                <c:pt idx="2168">
                  <c:v>#N/A</c:v>
                </c:pt>
                <c:pt idx="2169">
                  <c:v>2.28227</c:v>
                </c:pt>
                <c:pt idx="2170">
                  <c:v>2.31969</c:v>
                </c:pt>
                <c:pt idx="2171">
                  <c:v>#N/A</c:v>
                </c:pt>
                <c:pt idx="2172">
                  <c:v>1.61781</c:v>
                </c:pt>
                <c:pt idx="2173">
                  <c:v>2.2171500000000002</c:v>
                </c:pt>
                <c:pt idx="2174">
                  <c:v>2.1906099999999999</c:v>
                </c:pt>
                <c:pt idx="2175">
                  <c:v>#N/A</c:v>
                </c:pt>
                <c:pt idx="2176">
                  <c:v>2.6905600000000001</c:v>
                </c:pt>
                <c:pt idx="2177">
                  <c:v>#N/A</c:v>
                </c:pt>
                <c:pt idx="2178">
                  <c:v>2.5741999999999998</c:v>
                </c:pt>
                <c:pt idx="2179">
                  <c:v>2.8327100000000001</c:v>
                </c:pt>
                <c:pt idx="2180">
                  <c:v>#N/A</c:v>
                </c:pt>
                <c:pt idx="2181">
                  <c:v>2.6207699999999998</c:v>
                </c:pt>
                <c:pt idx="2182">
                  <c:v>2.0689600000000001</c:v>
                </c:pt>
                <c:pt idx="2183">
                  <c:v>1.56471</c:v>
                </c:pt>
                <c:pt idx="2184">
                  <c:v>#N/A</c:v>
                </c:pt>
                <c:pt idx="2185">
                  <c:v>2.37717</c:v>
                </c:pt>
                <c:pt idx="2186">
                  <c:v>2.4218700000000002</c:v>
                </c:pt>
                <c:pt idx="2187">
                  <c:v>2.4890400000000001</c:v>
                </c:pt>
                <c:pt idx="2188">
                  <c:v>#N/A</c:v>
                </c:pt>
                <c:pt idx="2189">
                  <c:v>1.9238599999999999</c:v>
                </c:pt>
                <c:pt idx="2190">
                  <c:v>2.1535299999999999</c:v>
                </c:pt>
                <c:pt idx="2191">
                  <c:v>2.3659599999999998</c:v>
                </c:pt>
                <c:pt idx="2192">
                  <c:v>#N/A</c:v>
                </c:pt>
                <c:pt idx="2193">
                  <c:v>2.04758</c:v>
                </c:pt>
                <c:pt idx="2194">
                  <c:v>2.1405500000000002</c:v>
                </c:pt>
                <c:pt idx="2195">
                  <c:v>2.3963399999999999</c:v>
                </c:pt>
                <c:pt idx="2196">
                  <c:v>#N/A</c:v>
                </c:pt>
                <c:pt idx="2197">
                  <c:v>2.49465</c:v>
                </c:pt>
                <c:pt idx="2198">
                  <c:v>2.4681099999999998</c:v>
                </c:pt>
                <c:pt idx="2199">
                  <c:v>2.10731</c:v>
                </c:pt>
                <c:pt idx="2200">
                  <c:v>#N/A</c:v>
                </c:pt>
                <c:pt idx="2201">
                  <c:v>1.5511299999999999</c:v>
                </c:pt>
                <c:pt idx="2202">
                  <c:v>1.74553</c:v>
                </c:pt>
                <c:pt idx="2203">
                  <c:v>#N/A</c:v>
                </c:pt>
                <c:pt idx="2204">
                  <c:v>2.3019400000000001</c:v>
                </c:pt>
                <c:pt idx="2205">
                  <c:v>2.6412399999999998</c:v>
                </c:pt>
                <c:pt idx="2206">
                  <c:v>2.9062000000000001</c:v>
                </c:pt>
                <c:pt idx="2207">
                  <c:v>#N/A</c:v>
                </c:pt>
                <c:pt idx="2208">
                  <c:v>3.0747599999999999</c:v>
                </c:pt>
                <c:pt idx="2209">
                  <c:v>2.1562999999999999</c:v>
                </c:pt>
                <c:pt idx="2210">
                  <c:v>2.5021300000000002</c:v>
                </c:pt>
                <c:pt idx="2211">
                  <c:v>#N/A</c:v>
                </c:pt>
                <c:pt idx="2212">
                  <c:v>1.5290299999999999</c:v>
                </c:pt>
                <c:pt idx="2213">
                  <c:v>1.46035</c:v>
                </c:pt>
                <c:pt idx="2214">
                  <c:v>#N/A</c:v>
                </c:pt>
                <c:pt idx="2215">
                  <c:v>1.8873500000000001</c:v>
                </c:pt>
                <c:pt idx="2216">
                  <c:v>2.51417</c:v>
                </c:pt>
                <c:pt idx="2217">
                  <c:v>3.0024799999999998</c:v>
                </c:pt>
                <c:pt idx="2218">
                  <c:v>#N/A</c:v>
                </c:pt>
                <c:pt idx="2219">
                  <c:v>2.4525600000000001</c:v>
                </c:pt>
                <c:pt idx="2220">
                  <c:v>2.2280199999999999</c:v>
                </c:pt>
                <c:pt idx="2221">
                  <c:v>1.9010800000000001</c:v>
                </c:pt>
                <c:pt idx="2222">
                  <c:v>#N/A</c:v>
                </c:pt>
                <c:pt idx="2223">
                  <c:v>1.80227</c:v>
                </c:pt>
                <c:pt idx="2224">
                  <c:v>1.92211</c:v>
                </c:pt>
                <c:pt idx="2225">
                  <c:v>2.3628800000000001</c:v>
                </c:pt>
                <c:pt idx="2226">
                  <c:v>#N/A</c:v>
                </c:pt>
                <c:pt idx="2227">
                  <c:v>2.84856</c:v>
                </c:pt>
                <c:pt idx="2228">
                  <c:v>2.89506</c:v>
                </c:pt>
                <c:pt idx="2229">
                  <c:v>3.4790100000000002</c:v>
                </c:pt>
                <c:pt idx="2230">
                  <c:v>#N/A</c:v>
                </c:pt>
                <c:pt idx="2231">
                  <c:v>2.8260299999999998</c:v>
                </c:pt>
                <c:pt idx="2232">
                  <c:v>2.4371299999999998</c:v>
                </c:pt>
                <c:pt idx="2233">
                  <c:v>2.2871600000000001</c:v>
                </c:pt>
                <c:pt idx="2234">
                  <c:v>#N/A</c:v>
                </c:pt>
                <c:pt idx="2235">
                  <c:v>2.1713499999999999</c:v>
                </c:pt>
                <c:pt idx="2236">
                  <c:v>1.9597199999999999</c:v>
                </c:pt>
                <c:pt idx="2237">
                  <c:v>2.2934299999999999</c:v>
                </c:pt>
                <c:pt idx="2238">
                  <c:v>#N/A</c:v>
                </c:pt>
                <c:pt idx="2239">
                  <c:v>3.0929700000000002</c:v>
                </c:pt>
                <c:pt idx="2240">
                  <c:v>2.3595199999999998</c:v>
                </c:pt>
                <c:pt idx="2241">
                  <c:v>2.4425400000000002</c:v>
                </c:pt>
                <c:pt idx="2242">
                  <c:v>#N/A</c:v>
                </c:pt>
                <c:pt idx="2243">
                  <c:v>1.7118500000000001</c:v>
                </c:pt>
                <c:pt idx="2244">
                  <c:v>1.75118</c:v>
                </c:pt>
                <c:pt idx="2245">
                  <c:v>2.3502100000000001</c:v>
                </c:pt>
                <c:pt idx="2246">
                  <c:v>#N/A</c:v>
                </c:pt>
                <c:pt idx="2247">
                  <c:v>1.9339299999999999</c:v>
                </c:pt>
                <c:pt idx="2248">
                  <c:v>2.5268199999999998</c:v>
                </c:pt>
                <c:pt idx="2249">
                  <c:v>#N/A</c:v>
                </c:pt>
                <c:pt idx="2250">
                  <c:v>2.9763500000000001</c:v>
                </c:pt>
                <c:pt idx="2251">
                  <c:v>#N/A</c:v>
                </c:pt>
                <c:pt idx="2252">
                  <c:v>3.35012</c:v>
                </c:pt>
                <c:pt idx="2253">
                  <c:v>2.60521</c:v>
                </c:pt>
                <c:pt idx="2254">
                  <c:v>2.12323</c:v>
                </c:pt>
                <c:pt idx="2255">
                  <c:v>#N/A</c:v>
                </c:pt>
                <c:pt idx="2256">
                  <c:v>1.8582099999999999</c:v>
                </c:pt>
                <c:pt idx="2257">
                  <c:v>1.81945</c:v>
                </c:pt>
                <c:pt idx="2258">
                  <c:v>2.0699999999999998</c:v>
                </c:pt>
                <c:pt idx="2259">
                  <c:v>#N/A</c:v>
                </c:pt>
                <c:pt idx="2260">
                  <c:v>2.53905</c:v>
                </c:pt>
                <c:pt idx="2261">
                  <c:v>2.5125899999999999</c:v>
                </c:pt>
                <c:pt idx="2262">
                  <c:v>#N/A</c:v>
                </c:pt>
                <c:pt idx="2263">
                  <c:v>2.7757999999999998</c:v>
                </c:pt>
                <c:pt idx="2264">
                  <c:v>2.2392799999999999</c:v>
                </c:pt>
                <c:pt idx="2265">
                  <c:v>2.5275599999999998</c:v>
                </c:pt>
                <c:pt idx="2266">
                  <c:v>#N/A</c:v>
                </c:pt>
                <c:pt idx="2267">
                  <c:v>2.4045100000000001</c:v>
                </c:pt>
                <c:pt idx="2268">
                  <c:v>2.0599400000000001</c:v>
                </c:pt>
                <c:pt idx="2269">
                  <c:v>2.74383</c:v>
                </c:pt>
                <c:pt idx="2270">
                  <c:v>#N/A</c:v>
                </c:pt>
                <c:pt idx="2271">
                  <c:v>2.7841200000000002</c:v>
                </c:pt>
                <c:pt idx="2272">
                  <c:v>2.7452800000000002</c:v>
                </c:pt>
                <c:pt idx="2273">
                  <c:v>2.6500900000000001</c:v>
                </c:pt>
                <c:pt idx="2274">
                  <c:v>#N/A</c:v>
                </c:pt>
                <c:pt idx="2275">
                  <c:v>2.5416300000000001</c:v>
                </c:pt>
                <c:pt idx="2276">
                  <c:v>2.1591499999999999</c:v>
                </c:pt>
                <c:pt idx="2277">
                  <c:v>#N/A</c:v>
                </c:pt>
                <c:pt idx="2278">
                  <c:v>2.95309</c:v>
                </c:pt>
                <c:pt idx="2279">
                  <c:v>2.5123799999999998</c:v>
                </c:pt>
                <c:pt idx="2280">
                  <c:v>2.7336200000000002</c:v>
                </c:pt>
                <c:pt idx="2281">
                  <c:v>#N/A</c:v>
                </c:pt>
                <c:pt idx="2282">
                  <c:v>2.5474199999999998</c:v>
                </c:pt>
                <c:pt idx="2283">
                  <c:v>2.7616800000000001</c:v>
                </c:pt>
                <c:pt idx="2284">
                  <c:v>2.7815300000000001</c:v>
                </c:pt>
                <c:pt idx="2285">
                  <c:v>#N/A</c:v>
                </c:pt>
                <c:pt idx="2286">
                  <c:v>1.89937</c:v>
                </c:pt>
                <c:pt idx="2287">
                  <c:v>2.0880000000000001</c:v>
                </c:pt>
                <c:pt idx="2288">
                  <c:v>2.7161300000000002</c:v>
                </c:pt>
                <c:pt idx="2289">
                  <c:v>#N/A</c:v>
                </c:pt>
                <c:pt idx="2290">
                  <c:v>3.3115399999999999</c:v>
                </c:pt>
                <c:pt idx="2291">
                  <c:v>3.5216799999999999</c:v>
                </c:pt>
                <c:pt idx="2292">
                  <c:v>3.0277799999999999</c:v>
                </c:pt>
                <c:pt idx="2293">
                  <c:v>#N/A</c:v>
                </c:pt>
                <c:pt idx="2294">
                  <c:v>3.0201799999999999</c:v>
                </c:pt>
                <c:pt idx="2295">
                  <c:v>2.2035999999999998</c:v>
                </c:pt>
                <c:pt idx="2296">
                  <c:v>2.23115</c:v>
                </c:pt>
                <c:pt idx="2297">
                  <c:v>#N/A</c:v>
                </c:pt>
                <c:pt idx="2298">
                  <c:v>2.25664</c:v>
                </c:pt>
                <c:pt idx="2299">
                  <c:v>2.67536</c:v>
                </c:pt>
                <c:pt idx="2300">
                  <c:v>#N/A</c:v>
                </c:pt>
                <c:pt idx="2301">
                  <c:v>2.7686799999999998</c:v>
                </c:pt>
                <c:pt idx="2302">
                  <c:v>3.1818900000000001</c:v>
                </c:pt>
                <c:pt idx="2303">
                  <c:v>3.2149700000000001</c:v>
                </c:pt>
                <c:pt idx="2304">
                  <c:v>#N/A</c:v>
                </c:pt>
                <c:pt idx="2305">
                  <c:v>2.7797200000000002</c:v>
                </c:pt>
                <c:pt idx="2306">
                  <c:v>2.4363600000000001</c:v>
                </c:pt>
                <c:pt idx="2307">
                  <c:v>2.3724699999999999</c:v>
                </c:pt>
                <c:pt idx="2308">
                  <c:v>#N/A</c:v>
                </c:pt>
                <c:pt idx="2309">
                  <c:v>2.8706800000000001</c:v>
                </c:pt>
                <c:pt idx="2310">
                  <c:v>2.6229300000000002</c:v>
                </c:pt>
                <c:pt idx="2311">
                  <c:v>3.1783100000000002</c:v>
                </c:pt>
                <c:pt idx="2312">
                  <c:v>#N/A</c:v>
                </c:pt>
                <c:pt idx="2313">
                  <c:v>3.6493199999999999</c:v>
                </c:pt>
                <c:pt idx="2314">
                  <c:v>3.70655</c:v>
                </c:pt>
                <c:pt idx="2315">
                  <c:v>3.4601299999999999</c:v>
                </c:pt>
                <c:pt idx="2316">
                  <c:v>#N/A</c:v>
                </c:pt>
                <c:pt idx="2317">
                  <c:v>2.63205</c:v>
                </c:pt>
                <c:pt idx="2318">
                  <c:v>2.4352</c:v>
                </c:pt>
                <c:pt idx="2319">
                  <c:v>2.1031</c:v>
                </c:pt>
                <c:pt idx="2320">
                  <c:v>#N/A</c:v>
                </c:pt>
                <c:pt idx="2321">
                  <c:v>2.8266200000000001</c:v>
                </c:pt>
                <c:pt idx="2322">
                  <c:v>3.39046</c:v>
                </c:pt>
                <c:pt idx="2323">
                  <c:v>3.2533400000000001</c:v>
                </c:pt>
                <c:pt idx="2324">
                  <c:v>#N/A</c:v>
                </c:pt>
                <c:pt idx="2325">
                  <c:v>3.0152299999999999</c:v>
                </c:pt>
                <c:pt idx="2326">
                  <c:v>#N/A</c:v>
                </c:pt>
                <c:pt idx="2327">
                  <c:v>2.8710499999999999</c:v>
                </c:pt>
                <c:pt idx="2328">
                  <c:v>#N/A</c:v>
                </c:pt>
                <c:pt idx="2329">
                  <c:v>2.4681899999999999</c:v>
                </c:pt>
                <c:pt idx="2330">
                  <c:v>2.7247699999999999</c:v>
                </c:pt>
                <c:pt idx="2331">
                  <c:v>3.1284299999999998</c:v>
                </c:pt>
                <c:pt idx="2332">
                  <c:v>#N/A</c:v>
                </c:pt>
                <c:pt idx="2333">
                  <c:v>3.72099</c:v>
                </c:pt>
                <c:pt idx="2334">
                  <c:v>3.5134699999999999</c:v>
                </c:pt>
                <c:pt idx="2335">
                  <c:v>2.98827</c:v>
                </c:pt>
                <c:pt idx="2336">
                  <c:v>#N/A</c:v>
                </c:pt>
                <c:pt idx="2337">
                  <c:v>3.04358</c:v>
                </c:pt>
                <c:pt idx="2338">
                  <c:v>2.6947399999999999</c:v>
                </c:pt>
                <c:pt idx="2339">
                  <c:v>2.4121700000000001</c:v>
                </c:pt>
                <c:pt idx="2340">
                  <c:v>#N/A</c:v>
                </c:pt>
                <c:pt idx="2341">
                  <c:v>2.90062</c:v>
                </c:pt>
                <c:pt idx="2342">
                  <c:v>2.76139</c:v>
                </c:pt>
                <c:pt idx="2343">
                  <c:v>#N/A</c:v>
                </c:pt>
                <c:pt idx="2344">
                  <c:v>3.21848</c:v>
                </c:pt>
                <c:pt idx="2345">
                  <c:v>3.2852299999999999</c:v>
                </c:pt>
                <c:pt idx="2346">
                  <c:v>2.3673500000000001</c:v>
                </c:pt>
                <c:pt idx="2347">
                  <c:v>#N/A</c:v>
                </c:pt>
                <c:pt idx="2348">
                  <c:v>2.1059700000000001</c:v>
                </c:pt>
                <c:pt idx="2349">
                  <c:v>2.1092900000000001</c:v>
                </c:pt>
                <c:pt idx="2350">
                  <c:v>#N/A</c:v>
                </c:pt>
                <c:pt idx="2351">
                  <c:v>2.4720300000000002</c:v>
                </c:pt>
                <c:pt idx="2352">
                  <c:v>3.2076799999999999</c:v>
                </c:pt>
                <c:pt idx="2353">
                  <c:v>3.3795099999999998</c:v>
                </c:pt>
                <c:pt idx="2354">
                  <c:v>#N/A</c:v>
                </c:pt>
                <c:pt idx="2355">
                  <c:v>3.8205900000000002</c:v>
                </c:pt>
                <c:pt idx="2356">
                  <c:v>3.0477099999999999</c:v>
                </c:pt>
                <c:pt idx="2357">
                  <c:v>2.8520699999999999</c:v>
                </c:pt>
                <c:pt idx="2358">
                  <c:v>#N/A</c:v>
                </c:pt>
                <c:pt idx="2359">
                  <c:v>2.4196200000000001</c:v>
                </c:pt>
                <c:pt idx="2360">
                  <c:v>2.5109599999999999</c:v>
                </c:pt>
                <c:pt idx="2361">
                  <c:v>2.42788</c:v>
                </c:pt>
                <c:pt idx="2362">
                  <c:v>#N/A</c:v>
                </c:pt>
                <c:pt idx="2363">
                  <c:v>3.0780500000000002</c:v>
                </c:pt>
                <c:pt idx="2364">
                  <c:v>3.1846999999999999</c:v>
                </c:pt>
                <c:pt idx="2365">
                  <c:v>2.76892</c:v>
                </c:pt>
                <c:pt idx="2366">
                  <c:v>#N/A</c:v>
                </c:pt>
                <c:pt idx="2367">
                  <c:v>3.0985100000000001</c:v>
                </c:pt>
                <c:pt idx="2368">
                  <c:v>2.38462</c:v>
                </c:pt>
                <c:pt idx="2369">
                  <c:v>#N/A</c:v>
                </c:pt>
                <c:pt idx="2370">
                  <c:v>2.49125</c:v>
                </c:pt>
                <c:pt idx="2371">
                  <c:v>2.5759099999999999</c:v>
                </c:pt>
                <c:pt idx="2372">
                  <c:v>2.8016899999999998</c:v>
                </c:pt>
                <c:pt idx="2373">
                  <c:v>#N/A</c:v>
                </c:pt>
                <c:pt idx="2374">
                  <c:v>3.1328299999999998</c:v>
                </c:pt>
                <c:pt idx="2375">
                  <c:v>3.2687400000000002</c:v>
                </c:pt>
                <c:pt idx="2376">
                  <c:v>3.2475299999999998</c:v>
                </c:pt>
                <c:pt idx="2377">
                  <c:v>#N/A</c:v>
                </c:pt>
                <c:pt idx="2378">
                  <c:v>2.96238</c:v>
                </c:pt>
                <c:pt idx="2379">
                  <c:v>2.6487699999999998</c:v>
                </c:pt>
                <c:pt idx="2380">
                  <c:v>2.1979099999999998</c:v>
                </c:pt>
                <c:pt idx="2381">
                  <c:v>#N/A</c:v>
                </c:pt>
                <c:pt idx="2382">
                  <c:v>2.3404500000000001</c:v>
                </c:pt>
                <c:pt idx="2383">
                  <c:v>2.2597100000000001</c:v>
                </c:pt>
                <c:pt idx="2384">
                  <c:v>3.05335</c:v>
                </c:pt>
                <c:pt idx="2385">
                  <c:v>#N/A</c:v>
                </c:pt>
                <c:pt idx="2386">
                  <c:v>2.92591</c:v>
                </c:pt>
                <c:pt idx="2387">
                  <c:v>2.77197</c:v>
                </c:pt>
                <c:pt idx="2388">
                  <c:v>2.8530500000000001</c:v>
                </c:pt>
                <c:pt idx="2389">
                  <c:v>#N/A</c:v>
                </c:pt>
                <c:pt idx="2390">
                  <c:v>1.9013899999999999</c:v>
                </c:pt>
                <c:pt idx="2391">
                  <c:v>1.9292800000000001</c:v>
                </c:pt>
                <c:pt idx="2392">
                  <c:v>2.2636400000000001</c:v>
                </c:pt>
                <c:pt idx="2393">
                  <c:v>#N/A</c:v>
                </c:pt>
                <c:pt idx="2394">
                  <c:v>3.0418400000000001</c:v>
                </c:pt>
                <c:pt idx="2395">
                  <c:v>3.2521</c:v>
                </c:pt>
                <c:pt idx="2396">
                  <c:v>#N/A</c:v>
                </c:pt>
                <c:pt idx="2397">
                  <c:v>3.84131</c:v>
                </c:pt>
                <c:pt idx="2398">
                  <c:v>3.7987299999999999</c:v>
                </c:pt>
                <c:pt idx="2399">
                  <c:v>2.9779300000000002</c:v>
                </c:pt>
                <c:pt idx="2400">
                  <c:v>#N/A</c:v>
                </c:pt>
                <c:pt idx="2401">
                  <c:v>2.9292099999999999</c:v>
                </c:pt>
                <c:pt idx="2402">
                  <c:v>#N/A</c:v>
                </c:pt>
                <c:pt idx="2403">
                  <c:v>2.8373900000000001</c:v>
                </c:pt>
                <c:pt idx="2404">
                  <c:v>#N/A</c:v>
                </c:pt>
                <c:pt idx="2405">
                  <c:v>3.2507700000000002</c:v>
                </c:pt>
                <c:pt idx="2406">
                  <c:v>3.6132599999999999</c:v>
                </c:pt>
                <c:pt idx="2407">
                  <c:v>3.1607500000000002</c:v>
                </c:pt>
                <c:pt idx="2408">
                  <c:v>#N/A</c:v>
                </c:pt>
                <c:pt idx="2409">
                  <c:v>2.83535</c:v>
                </c:pt>
                <c:pt idx="2410">
                  <c:v>3.0503800000000001</c:v>
                </c:pt>
                <c:pt idx="2411">
                  <c:v>3.15089</c:v>
                </c:pt>
                <c:pt idx="2412">
                  <c:v>#N/A</c:v>
                </c:pt>
                <c:pt idx="2413">
                  <c:v>2.97858</c:v>
                </c:pt>
                <c:pt idx="2414">
                  <c:v>2.94706</c:v>
                </c:pt>
                <c:pt idx="2415">
                  <c:v>3.3475100000000002</c:v>
                </c:pt>
                <c:pt idx="2416">
                  <c:v>#N/A</c:v>
                </c:pt>
                <c:pt idx="2417">
                  <c:v>3.9496500000000001</c:v>
                </c:pt>
                <c:pt idx="2418">
                  <c:v>3.7858100000000001</c:v>
                </c:pt>
                <c:pt idx="2419">
                  <c:v>4.2463699999999998</c:v>
                </c:pt>
                <c:pt idx="2420">
                  <c:v>#N/A</c:v>
                </c:pt>
                <c:pt idx="2421">
                  <c:v>2.9393500000000001</c:v>
                </c:pt>
                <c:pt idx="2422">
                  <c:v>2.8914300000000002</c:v>
                </c:pt>
                <c:pt idx="2423">
                  <c:v>3.5463800000000001</c:v>
                </c:pt>
                <c:pt idx="2424">
                  <c:v>#N/A</c:v>
                </c:pt>
                <c:pt idx="2425">
                  <c:v>3.7760400000000001</c:v>
                </c:pt>
                <c:pt idx="2426">
                  <c:v>3.5935199999999998</c:v>
                </c:pt>
                <c:pt idx="2427">
                  <c:v>3.3199700000000001</c:v>
                </c:pt>
                <c:pt idx="2428">
                  <c:v>#N/A</c:v>
                </c:pt>
                <c:pt idx="2429">
                  <c:v>3.41046</c:v>
                </c:pt>
                <c:pt idx="2430">
                  <c:v>3.1491500000000001</c:v>
                </c:pt>
                <c:pt idx="2431">
                  <c:v>#N/A</c:v>
                </c:pt>
                <c:pt idx="2432">
                  <c:v>3.0006300000000001</c:v>
                </c:pt>
                <c:pt idx="2433">
                  <c:v>2.86795</c:v>
                </c:pt>
                <c:pt idx="2434">
                  <c:v>3.1062599999999998</c:v>
                </c:pt>
                <c:pt idx="2435">
                  <c:v>#N/A</c:v>
                </c:pt>
                <c:pt idx="2436">
                  <c:v>3.5620400000000001</c:v>
                </c:pt>
                <c:pt idx="2437">
                  <c:v>4.01295</c:v>
                </c:pt>
                <c:pt idx="2438">
                  <c:v>3.5326200000000001</c:v>
                </c:pt>
                <c:pt idx="2439">
                  <c:v>#N/A</c:v>
                </c:pt>
                <c:pt idx="2440">
                  <c:v>3.48306</c:v>
                </c:pt>
                <c:pt idx="2441">
                  <c:v>3.68059</c:v>
                </c:pt>
                <c:pt idx="2442">
                  <c:v>2.9771800000000002</c:v>
                </c:pt>
                <c:pt idx="2443">
                  <c:v>#N/A</c:v>
                </c:pt>
                <c:pt idx="2444">
                  <c:v>2.7441</c:v>
                </c:pt>
                <c:pt idx="2445">
                  <c:v>3.2795100000000001</c:v>
                </c:pt>
                <c:pt idx="2446">
                  <c:v>3.8961999999999999</c:v>
                </c:pt>
                <c:pt idx="2447">
                  <c:v>#N/A</c:v>
                </c:pt>
                <c:pt idx="2448">
                  <c:v>4.2751200000000003</c:v>
                </c:pt>
                <c:pt idx="2449">
                  <c:v>3.4225699999999999</c:v>
                </c:pt>
                <c:pt idx="2450">
                  <c:v>3.3625500000000001</c:v>
                </c:pt>
                <c:pt idx="2451">
                  <c:v>#N/A</c:v>
                </c:pt>
                <c:pt idx="2452">
                  <c:v>2.3026300000000002</c:v>
                </c:pt>
                <c:pt idx="2453">
                  <c:v>2.40754</c:v>
                </c:pt>
                <c:pt idx="2454">
                  <c:v>3.1507499999999999</c:v>
                </c:pt>
                <c:pt idx="2455">
                  <c:v>#N/A</c:v>
                </c:pt>
                <c:pt idx="2456">
                  <c:v>2.8532899999999999</c:v>
                </c:pt>
                <c:pt idx="2457">
                  <c:v>3.3889399999999998</c:v>
                </c:pt>
                <c:pt idx="2458">
                  <c:v>#N/A</c:v>
                </c:pt>
                <c:pt idx="2459">
                  <c:v>3.8021400000000001</c:v>
                </c:pt>
                <c:pt idx="2460">
                  <c:v>4.0058100000000003</c:v>
                </c:pt>
                <c:pt idx="2461">
                  <c:v>3.6408</c:v>
                </c:pt>
                <c:pt idx="2462">
                  <c:v>#N/A</c:v>
                </c:pt>
                <c:pt idx="2463">
                  <c:v>3.1255799999999998</c:v>
                </c:pt>
                <c:pt idx="2464">
                  <c:v>2.7951800000000002</c:v>
                </c:pt>
                <c:pt idx="2465">
                  <c:v>2.76084</c:v>
                </c:pt>
                <c:pt idx="2466">
                  <c:v>#N/A</c:v>
                </c:pt>
                <c:pt idx="2467">
                  <c:v>3.3799199999999998</c:v>
                </c:pt>
                <c:pt idx="2468">
                  <c:v>3.4285600000000001</c:v>
                </c:pt>
                <c:pt idx="2469">
                  <c:v>3.0014599999999998</c:v>
                </c:pt>
                <c:pt idx="2470">
                  <c:v>#N/A</c:v>
                </c:pt>
                <c:pt idx="2471">
                  <c:v>3.5228700000000002</c:v>
                </c:pt>
                <c:pt idx="2472">
                  <c:v>3.1356600000000001</c:v>
                </c:pt>
                <c:pt idx="2473">
                  <c:v>2.6608999999999998</c:v>
                </c:pt>
                <c:pt idx="2474">
                  <c:v>#N/A</c:v>
                </c:pt>
                <c:pt idx="2475">
                  <c:v>2.5775199999999998</c:v>
                </c:pt>
                <c:pt idx="2476">
                  <c:v>#N/A</c:v>
                </c:pt>
                <c:pt idx="2477">
                  <c:v>2.6457199999999998</c:v>
                </c:pt>
                <c:pt idx="2478">
                  <c:v>3.3970699999999998</c:v>
                </c:pt>
                <c:pt idx="2479">
                  <c:v>#N/A</c:v>
                </c:pt>
                <c:pt idx="2480">
                  <c:v>3.1692100000000001</c:v>
                </c:pt>
                <c:pt idx="2481">
                  <c:v>3.9233899999999999</c:v>
                </c:pt>
                <c:pt idx="2482">
                  <c:v>3.60412</c:v>
                </c:pt>
                <c:pt idx="2483">
                  <c:v>#N/A</c:v>
                </c:pt>
                <c:pt idx="2484">
                  <c:v>3.3550200000000001</c:v>
                </c:pt>
                <c:pt idx="2485">
                  <c:v>2.9238400000000002</c:v>
                </c:pt>
                <c:pt idx="2486">
                  <c:v>#N/A</c:v>
                </c:pt>
                <c:pt idx="2487">
                  <c:v>2.3435000000000001</c:v>
                </c:pt>
                <c:pt idx="2488">
                  <c:v>2.9902299999999999</c:v>
                </c:pt>
                <c:pt idx="2489">
                  <c:v>2.5713499999999998</c:v>
                </c:pt>
                <c:pt idx="2490">
                  <c:v>#N/A</c:v>
                </c:pt>
                <c:pt idx="2491">
                  <c:v>3.3233299999999999</c:v>
                </c:pt>
                <c:pt idx="2492">
                  <c:v>3.4200900000000001</c:v>
                </c:pt>
                <c:pt idx="2493">
                  <c:v>3.5548799999999998</c:v>
                </c:pt>
                <c:pt idx="2494">
                  <c:v>#N/A</c:v>
                </c:pt>
                <c:pt idx="2495">
                  <c:v>2.7130100000000001</c:v>
                </c:pt>
                <c:pt idx="2496">
                  <c:v>2.63856</c:v>
                </c:pt>
                <c:pt idx="2497">
                  <c:v>2.8978700000000002</c:v>
                </c:pt>
                <c:pt idx="2498">
                  <c:v>#N/A</c:v>
                </c:pt>
                <c:pt idx="2499">
                  <c:v>3.4603999999999999</c:v>
                </c:pt>
                <c:pt idx="2500">
                  <c:v>3.4784700000000002</c:v>
                </c:pt>
                <c:pt idx="2501">
                  <c:v>3.8058000000000001</c:v>
                </c:pt>
                <c:pt idx="2502">
                  <c:v>#N/A</c:v>
                </c:pt>
                <c:pt idx="2503">
                  <c:v>3.8415699999999999</c:v>
                </c:pt>
                <c:pt idx="2504">
                  <c:v>2.8273799999999998</c:v>
                </c:pt>
                <c:pt idx="2505">
                  <c:v>3.0464199999999999</c:v>
                </c:pt>
                <c:pt idx="2506">
                  <c:v>#N/A</c:v>
                </c:pt>
                <c:pt idx="2507">
                  <c:v>3.1426599999999998</c:v>
                </c:pt>
                <c:pt idx="2508">
                  <c:v>3.6254499999999998</c:v>
                </c:pt>
                <c:pt idx="2509">
                  <c:v>3.5845500000000001</c:v>
                </c:pt>
                <c:pt idx="2510">
                  <c:v>#N/A</c:v>
                </c:pt>
                <c:pt idx="2511">
                  <c:v>3.5294300000000001</c:v>
                </c:pt>
                <c:pt idx="2512">
                  <c:v>3.51932</c:v>
                </c:pt>
                <c:pt idx="2513">
                  <c:v>2.7002100000000002</c:v>
                </c:pt>
                <c:pt idx="2514">
                  <c:v>#N/A</c:v>
                </c:pt>
                <c:pt idx="2515">
                  <c:v>2.19523</c:v>
                </c:pt>
                <c:pt idx="2516">
                  <c:v>2.6365699999999999</c:v>
                </c:pt>
                <c:pt idx="2517">
                  <c:v>2.7480899999999999</c:v>
                </c:pt>
                <c:pt idx="2518">
                  <c:v>#N/A</c:v>
                </c:pt>
                <c:pt idx="2519">
                  <c:v>3.07403</c:v>
                </c:pt>
                <c:pt idx="2520">
                  <c:v>4.4176299999999999</c:v>
                </c:pt>
                <c:pt idx="2521">
                  <c:v>#N/A</c:v>
                </c:pt>
                <c:pt idx="2522">
                  <c:v>4.3067799999999998</c:v>
                </c:pt>
                <c:pt idx="2523">
                  <c:v>3.7090100000000001</c:v>
                </c:pt>
                <c:pt idx="2524">
                  <c:v>3.5890499999999999</c:v>
                </c:pt>
                <c:pt idx="2525">
                  <c:v>#N/A</c:v>
                </c:pt>
                <c:pt idx="2526">
                  <c:v>3.6429</c:v>
                </c:pt>
                <c:pt idx="2527">
                  <c:v>3.2009099999999999</c:v>
                </c:pt>
                <c:pt idx="2528">
                  <c:v>2.96001</c:v>
                </c:pt>
                <c:pt idx="2529">
                  <c:v>#N/A</c:v>
                </c:pt>
                <c:pt idx="2530">
                  <c:v>4.1935099999999998</c:v>
                </c:pt>
                <c:pt idx="2531">
                  <c:v>4.9647100000000002</c:v>
                </c:pt>
                <c:pt idx="2532">
                  <c:v>4.4903300000000002</c:v>
                </c:pt>
                <c:pt idx="2533">
                  <c:v>#N/A</c:v>
                </c:pt>
                <c:pt idx="2534">
                  <c:v>4.45939</c:v>
                </c:pt>
                <c:pt idx="2535">
                  <c:v>3.8698899999999998</c:v>
                </c:pt>
                <c:pt idx="2536">
                  <c:v>3.2048000000000001</c:v>
                </c:pt>
                <c:pt idx="2537">
                  <c:v>#N/A</c:v>
                </c:pt>
                <c:pt idx="2538">
                  <c:v>2.6994099999999999</c:v>
                </c:pt>
                <c:pt idx="2539">
                  <c:v>3.3468300000000002</c:v>
                </c:pt>
                <c:pt idx="2540">
                  <c:v>3.8357999999999999</c:v>
                </c:pt>
                <c:pt idx="2541">
                  <c:v>#N/A</c:v>
                </c:pt>
                <c:pt idx="2542">
                  <c:v>4.2497400000000001</c:v>
                </c:pt>
                <c:pt idx="2543">
                  <c:v>4.4042700000000004</c:v>
                </c:pt>
                <c:pt idx="2544">
                  <c:v>#N/A</c:v>
                </c:pt>
                <c:pt idx="2545">
                  <c:v>4.4119999999999999</c:v>
                </c:pt>
                <c:pt idx="2546">
                  <c:v>3.3887200000000002</c:v>
                </c:pt>
                <c:pt idx="2547">
                  <c:v>3.4165000000000001</c:v>
                </c:pt>
                <c:pt idx="2548">
                  <c:v>#N/A</c:v>
                </c:pt>
                <c:pt idx="2549">
                  <c:v>3.3932199999999999</c:v>
                </c:pt>
                <c:pt idx="2550">
                  <c:v>3.08033</c:v>
                </c:pt>
                <c:pt idx="2551">
                  <c:v>3.6741000000000001</c:v>
                </c:pt>
                <c:pt idx="2552">
                  <c:v>#N/A</c:v>
                </c:pt>
                <c:pt idx="2553">
                  <c:v>4.1435300000000002</c:v>
                </c:pt>
                <c:pt idx="2554">
                  <c:v>4.1131900000000003</c:v>
                </c:pt>
                <c:pt idx="2555">
                  <c:v>3.9931800000000002</c:v>
                </c:pt>
                <c:pt idx="2556">
                  <c:v>#N/A</c:v>
                </c:pt>
                <c:pt idx="2557">
                  <c:v>3.1247199999999999</c:v>
                </c:pt>
                <c:pt idx="2558">
                  <c:v>3.1411600000000002</c:v>
                </c:pt>
                <c:pt idx="2559">
                  <c:v>3.2405400000000002</c:v>
                </c:pt>
                <c:pt idx="2560">
                  <c:v>#N/A</c:v>
                </c:pt>
                <c:pt idx="2561">
                  <c:v>3.9053599999999999</c:v>
                </c:pt>
                <c:pt idx="2562">
                  <c:v>3.9824600000000001</c:v>
                </c:pt>
                <c:pt idx="2563">
                  <c:v>#N/A</c:v>
                </c:pt>
                <c:pt idx="2564">
                  <c:v>4.3574000000000002</c:v>
                </c:pt>
                <c:pt idx="2565">
                  <c:v>3.6663800000000002</c:v>
                </c:pt>
                <c:pt idx="2566">
                  <c:v>4.1292</c:v>
                </c:pt>
                <c:pt idx="2567">
                  <c:v>#N/A</c:v>
                </c:pt>
                <c:pt idx="2568">
                  <c:v>3.1023000000000001</c:v>
                </c:pt>
                <c:pt idx="2569">
                  <c:v>3.4074900000000001</c:v>
                </c:pt>
                <c:pt idx="2570">
                  <c:v>3.1116100000000002</c:v>
                </c:pt>
                <c:pt idx="2571">
                  <c:v>#N/A</c:v>
                </c:pt>
                <c:pt idx="2572">
                  <c:v>2.9195000000000002</c:v>
                </c:pt>
                <c:pt idx="2573">
                  <c:v>3.88653</c:v>
                </c:pt>
                <c:pt idx="2574">
                  <c:v>3.3989199999999999</c:v>
                </c:pt>
                <c:pt idx="2575">
                  <c:v>#N/A</c:v>
                </c:pt>
                <c:pt idx="2576">
                  <c:v>3.2549899999999998</c:v>
                </c:pt>
                <c:pt idx="2577">
                  <c:v>2.66086</c:v>
                </c:pt>
                <c:pt idx="2578">
                  <c:v>3.1525500000000002</c:v>
                </c:pt>
                <c:pt idx="2579">
                  <c:v>#N/A</c:v>
                </c:pt>
                <c:pt idx="2580">
                  <c:v>3.3445200000000002</c:v>
                </c:pt>
                <c:pt idx="2581">
                  <c:v>3.5715400000000002</c:v>
                </c:pt>
                <c:pt idx="2582">
                  <c:v>3.5840700000000001</c:v>
                </c:pt>
                <c:pt idx="2583">
                  <c:v>#N/A</c:v>
                </c:pt>
                <c:pt idx="2584">
                  <c:v>3.8149000000000002</c:v>
                </c:pt>
                <c:pt idx="2585">
                  <c:v>3.79853</c:v>
                </c:pt>
                <c:pt idx="2586">
                  <c:v>3.4094000000000002</c:v>
                </c:pt>
                <c:pt idx="2587">
                  <c:v>#N/A</c:v>
                </c:pt>
                <c:pt idx="2588">
                  <c:v>3.5101200000000001</c:v>
                </c:pt>
                <c:pt idx="2589">
                  <c:v>2.9925299999999999</c:v>
                </c:pt>
                <c:pt idx="2590">
                  <c:v>#N/A</c:v>
                </c:pt>
                <c:pt idx="2591">
                  <c:v>2.9765100000000002</c:v>
                </c:pt>
                <c:pt idx="2592">
                  <c:v>3.5186000000000002</c:v>
                </c:pt>
                <c:pt idx="2593">
                  <c:v>3.8651599999999999</c:v>
                </c:pt>
                <c:pt idx="2594">
                  <c:v>#N/A</c:v>
                </c:pt>
                <c:pt idx="2595">
                  <c:v>4.1387</c:v>
                </c:pt>
                <c:pt idx="2596">
                  <c:v>3.5058400000000001</c:v>
                </c:pt>
                <c:pt idx="2597">
                  <c:v>#N/A</c:v>
                </c:pt>
                <c:pt idx="2598">
                  <c:v>3.1947199999999998</c:v>
                </c:pt>
                <c:pt idx="2599">
                  <c:v>2.39541</c:v>
                </c:pt>
                <c:pt idx="2600">
                  <c:v>2.6749900000000002</c:v>
                </c:pt>
                <c:pt idx="2601">
                  <c:v>#N/A</c:v>
                </c:pt>
                <c:pt idx="2602">
                  <c:v>2.60521</c:v>
                </c:pt>
                <c:pt idx="2603">
                  <c:v>3.7635999999999998</c:v>
                </c:pt>
                <c:pt idx="2604">
                  <c:v>4.8117400000000004</c:v>
                </c:pt>
                <c:pt idx="2605">
                  <c:v>#N/A</c:v>
                </c:pt>
                <c:pt idx="2606">
                  <c:v>4.7233400000000003</c:v>
                </c:pt>
                <c:pt idx="2607">
                  <c:v>4.3728999999999996</c:v>
                </c:pt>
                <c:pt idx="2608">
                  <c:v>3.4517699999999998</c:v>
                </c:pt>
                <c:pt idx="2609">
                  <c:v>#N/A</c:v>
                </c:pt>
                <c:pt idx="2610">
                  <c:v>3.2145899999999998</c:v>
                </c:pt>
                <c:pt idx="2611">
                  <c:v>3.1950699999999999</c:v>
                </c:pt>
                <c:pt idx="2612">
                  <c:v>3.4276499999999999</c:v>
                </c:pt>
                <c:pt idx="2613">
                  <c:v>#N/A</c:v>
                </c:pt>
                <c:pt idx="2614">
                  <c:v>3.5781100000000001</c:v>
                </c:pt>
                <c:pt idx="2615">
                  <c:v>4.2423700000000002</c:v>
                </c:pt>
                <c:pt idx="2616">
                  <c:v>4.3395799999999998</c:v>
                </c:pt>
                <c:pt idx="2617">
                  <c:v>#N/A</c:v>
                </c:pt>
                <c:pt idx="2618">
                  <c:v>3.99451</c:v>
                </c:pt>
                <c:pt idx="2619">
                  <c:v>3.1400899999999998</c:v>
                </c:pt>
                <c:pt idx="2620">
                  <c:v>2.9695100000000001</c:v>
                </c:pt>
                <c:pt idx="2621">
                  <c:v>#N/A</c:v>
                </c:pt>
                <c:pt idx="2622">
                  <c:v>2.8502800000000001</c:v>
                </c:pt>
                <c:pt idx="2623">
                  <c:v>2.5515599999999998</c:v>
                </c:pt>
                <c:pt idx="2624">
                  <c:v>3.7682000000000002</c:v>
                </c:pt>
                <c:pt idx="2625">
                  <c:v>#N/A</c:v>
                </c:pt>
                <c:pt idx="2626">
                  <c:v>4.0186400000000004</c:v>
                </c:pt>
                <c:pt idx="2627">
                  <c:v>#N/A</c:v>
                </c:pt>
                <c:pt idx="2628">
                  <c:v>3.9824600000000001</c:v>
                </c:pt>
                <c:pt idx="2629">
                  <c:v>3.8600099999999999</c:v>
                </c:pt>
                <c:pt idx="2630">
                  <c:v>4.0541400000000003</c:v>
                </c:pt>
                <c:pt idx="2631">
                  <c:v>#N/A</c:v>
                </c:pt>
                <c:pt idx="2632">
                  <c:v>3.58263</c:v>
                </c:pt>
                <c:pt idx="2633">
                  <c:v>3.5511300000000001</c:v>
                </c:pt>
                <c:pt idx="2634">
                  <c:v>3.7172800000000001</c:v>
                </c:pt>
                <c:pt idx="2635">
                  <c:v>#N/A</c:v>
                </c:pt>
                <c:pt idx="2636">
                  <c:v>3.9062100000000002</c:v>
                </c:pt>
                <c:pt idx="2637">
                  <c:v>4.3154199999999996</c:v>
                </c:pt>
                <c:pt idx="2638">
                  <c:v>3.8181500000000002</c:v>
                </c:pt>
                <c:pt idx="2639">
                  <c:v>#N/A</c:v>
                </c:pt>
                <c:pt idx="2640">
                  <c:v>3.7732999999999999</c:v>
                </c:pt>
                <c:pt idx="2641">
                  <c:v>3.4233699999999998</c:v>
                </c:pt>
                <c:pt idx="2642">
                  <c:v>#N/A</c:v>
                </c:pt>
                <c:pt idx="2643">
                  <c:v>3.59579</c:v>
                </c:pt>
                <c:pt idx="2644">
                  <c:v>3.8011599999999999</c:v>
                </c:pt>
                <c:pt idx="2645">
                  <c:v>3.8492299999999999</c:v>
                </c:pt>
                <c:pt idx="2646">
                  <c:v>#N/A</c:v>
                </c:pt>
                <c:pt idx="2647">
                  <c:v>4.2909300000000004</c:v>
                </c:pt>
                <c:pt idx="2648">
                  <c:v>4.51844</c:v>
                </c:pt>
                <c:pt idx="2649">
                  <c:v>3.8022300000000002</c:v>
                </c:pt>
                <c:pt idx="2650">
                  <c:v>#N/A</c:v>
                </c:pt>
                <c:pt idx="2651">
                  <c:v>3.4495499999999999</c:v>
                </c:pt>
                <c:pt idx="2652">
                  <c:v>3.2492899999999998</c:v>
                </c:pt>
                <c:pt idx="2653">
                  <c:v>3.4842900000000001</c:v>
                </c:pt>
                <c:pt idx="2654">
                  <c:v>#N/A</c:v>
                </c:pt>
                <c:pt idx="2655">
                  <c:v>3.5628000000000002</c:v>
                </c:pt>
                <c:pt idx="2656">
                  <c:v>3.7641300000000002</c:v>
                </c:pt>
                <c:pt idx="2657">
                  <c:v>4.0453299999999999</c:v>
                </c:pt>
                <c:pt idx="2658">
                  <c:v>#N/A</c:v>
                </c:pt>
                <c:pt idx="2659">
                  <c:v>3.6935899999999999</c:v>
                </c:pt>
                <c:pt idx="2660">
                  <c:v>3.1735799999999998</c:v>
                </c:pt>
                <c:pt idx="2661">
                  <c:v>2.6810999999999998</c:v>
                </c:pt>
                <c:pt idx="2662">
                  <c:v>#N/A</c:v>
                </c:pt>
                <c:pt idx="2663">
                  <c:v>2.6745999999999999</c:v>
                </c:pt>
                <c:pt idx="2664">
                  <c:v>3.1051899999999999</c:v>
                </c:pt>
                <c:pt idx="2665">
                  <c:v>3.7437800000000001</c:v>
                </c:pt>
                <c:pt idx="2666">
                  <c:v>#N/A</c:v>
                </c:pt>
                <c:pt idx="2667">
                  <c:v>4.7945599999999997</c:v>
                </c:pt>
                <c:pt idx="2668">
                  <c:v>4.4092099999999999</c:v>
                </c:pt>
                <c:pt idx="2669">
                  <c:v>3.8258899999999998</c:v>
                </c:pt>
                <c:pt idx="2670">
                  <c:v>#N/A</c:v>
                </c:pt>
                <c:pt idx="2671">
                  <c:v>3.61694</c:v>
                </c:pt>
                <c:pt idx="2672">
                  <c:v>2.8947099999999999</c:v>
                </c:pt>
                <c:pt idx="2673">
                  <c:v>#N/A</c:v>
                </c:pt>
                <c:pt idx="2674">
                  <c:v>2.4201800000000002</c:v>
                </c:pt>
                <c:pt idx="2675">
                  <c:v>2.86958</c:v>
                </c:pt>
                <c:pt idx="2676">
                  <c:v>3.34646</c:v>
                </c:pt>
                <c:pt idx="2677">
                  <c:v>#N/A</c:v>
                </c:pt>
                <c:pt idx="2678">
                  <c:v>3.9293900000000002</c:v>
                </c:pt>
                <c:pt idx="2679">
                  <c:v>3.66005</c:v>
                </c:pt>
                <c:pt idx="2680">
                  <c:v>2.7019700000000002</c:v>
                </c:pt>
                <c:pt idx="2681">
                  <c:v>#N/A</c:v>
                </c:pt>
                <c:pt idx="2682">
                  <c:v>1.7234799999999999</c:v>
                </c:pt>
                <c:pt idx="2683">
                  <c:v>1.89594</c:v>
                </c:pt>
                <c:pt idx="2684">
                  <c:v>1.7012</c:v>
                </c:pt>
                <c:pt idx="2685">
                  <c:v>#N/A</c:v>
                </c:pt>
                <c:pt idx="2686">
                  <c:v>1.75837</c:v>
                </c:pt>
                <c:pt idx="2687">
                  <c:v>3.5043000000000002</c:v>
                </c:pt>
                <c:pt idx="2688">
                  <c:v>#N/A</c:v>
                </c:pt>
                <c:pt idx="2689">
                  <c:v>3.6651799999999999</c:v>
                </c:pt>
                <c:pt idx="2690">
                  <c:v>3.5592800000000002</c:v>
                </c:pt>
                <c:pt idx="2691">
                  <c:v>2.7690899999999998</c:v>
                </c:pt>
                <c:pt idx="2692">
                  <c:v>#N/A</c:v>
                </c:pt>
                <c:pt idx="2693">
                  <c:v>2.56839</c:v>
                </c:pt>
                <c:pt idx="2694">
                  <c:v>1.80003</c:v>
                </c:pt>
                <c:pt idx="2695">
                  <c:v>1.3905000000000001</c:v>
                </c:pt>
                <c:pt idx="2696">
                  <c:v>#N/A</c:v>
                </c:pt>
                <c:pt idx="2697">
                  <c:v>2.02935</c:v>
                </c:pt>
                <c:pt idx="2698">
                  <c:v>2.2989299999999999</c:v>
                </c:pt>
                <c:pt idx="2699">
                  <c:v>2.5841500000000002</c:v>
                </c:pt>
                <c:pt idx="2700">
                  <c:v>#N/A</c:v>
                </c:pt>
                <c:pt idx="2701">
                  <c:v>2.3671000000000002</c:v>
                </c:pt>
                <c:pt idx="2702">
                  <c:v>#N/A</c:v>
                </c:pt>
                <c:pt idx="2703">
                  <c:v>2.0900300000000001</c:v>
                </c:pt>
                <c:pt idx="2704">
                  <c:v>1.86009</c:v>
                </c:pt>
                <c:pt idx="2705">
                  <c:v>#N/A</c:v>
                </c:pt>
                <c:pt idx="2706">
                  <c:v>2.1072000000000002</c:v>
                </c:pt>
                <c:pt idx="2707">
                  <c:v>2.5555500000000002</c:v>
                </c:pt>
                <c:pt idx="2708">
                  <c:v>2.8261799999999999</c:v>
                </c:pt>
                <c:pt idx="2709">
                  <c:v>#N/A</c:v>
                </c:pt>
                <c:pt idx="2710">
                  <c:v>2.7305299999999999</c:v>
                </c:pt>
                <c:pt idx="2711">
                  <c:v>2.6507399999999999</c:v>
                </c:pt>
                <c:pt idx="2712">
                  <c:v>2.5031699999999999</c:v>
                </c:pt>
                <c:pt idx="2713">
                  <c:v>#N/A</c:v>
                </c:pt>
                <c:pt idx="2714">
                  <c:v>2.95675</c:v>
                </c:pt>
                <c:pt idx="2715">
                  <c:v>2.5263100000000001</c:v>
                </c:pt>
                <c:pt idx="2716">
                  <c:v>2.4732500000000002</c:v>
                </c:pt>
                <c:pt idx="2717">
                  <c:v>#N/A</c:v>
                </c:pt>
                <c:pt idx="2718">
                  <c:v>2.8703599999999998</c:v>
                </c:pt>
                <c:pt idx="2719">
                  <c:v>2.94678</c:v>
                </c:pt>
                <c:pt idx="2720">
                  <c:v>2.2353700000000001</c:v>
                </c:pt>
                <c:pt idx="2721">
                  <c:v>#N/A</c:v>
                </c:pt>
                <c:pt idx="2722">
                  <c:v>2.0373199999999998</c:v>
                </c:pt>
                <c:pt idx="2723">
                  <c:v>1.35836</c:v>
                </c:pt>
                <c:pt idx="2724">
                  <c:v>1.36192</c:v>
                </c:pt>
                <c:pt idx="2725">
                  <c:v>#N/A</c:v>
                </c:pt>
                <c:pt idx="2726">
                  <c:v>1.8432599999999999</c:v>
                </c:pt>
                <c:pt idx="2727">
                  <c:v>2.12486</c:v>
                </c:pt>
                <c:pt idx="2728">
                  <c:v>#N/A</c:v>
                </c:pt>
                <c:pt idx="2729">
                  <c:v>3.0523400000000001</c:v>
                </c:pt>
                <c:pt idx="2730">
                  <c:v>3.40591</c:v>
                </c:pt>
                <c:pt idx="2731">
                  <c:v>3.0427399999999998</c:v>
                </c:pt>
                <c:pt idx="2732">
                  <c:v>#N/A</c:v>
                </c:pt>
                <c:pt idx="2733">
                  <c:v>2.0924299999999998</c:v>
                </c:pt>
                <c:pt idx="2734">
                  <c:v>1.48811</c:v>
                </c:pt>
                <c:pt idx="2735">
                  <c:v>1.80284</c:v>
                </c:pt>
                <c:pt idx="2736">
                  <c:v>#N/A</c:v>
                </c:pt>
                <c:pt idx="2737">
                  <c:v>2.3672200000000001</c:v>
                </c:pt>
                <c:pt idx="2738">
                  <c:v>2.45608</c:v>
                </c:pt>
                <c:pt idx="2739">
                  <c:v>3.1426500000000002</c:v>
                </c:pt>
                <c:pt idx="2740">
                  <c:v>#N/A</c:v>
                </c:pt>
                <c:pt idx="2741">
                  <c:v>2.92204</c:v>
                </c:pt>
                <c:pt idx="2742">
                  <c:v>3.2712500000000002</c:v>
                </c:pt>
                <c:pt idx="2743">
                  <c:v>2.67258</c:v>
                </c:pt>
                <c:pt idx="2744">
                  <c:v>#N/A</c:v>
                </c:pt>
                <c:pt idx="2745">
                  <c:v>1.8764000000000001</c:v>
                </c:pt>
                <c:pt idx="2746">
                  <c:v>1.6820299999999999</c:v>
                </c:pt>
                <c:pt idx="2747">
                  <c:v>1.31213</c:v>
                </c:pt>
                <c:pt idx="2748">
                  <c:v>#N/A</c:v>
                </c:pt>
                <c:pt idx="2749">
                  <c:v>2.1982900000000001</c:v>
                </c:pt>
                <c:pt idx="2750">
                  <c:v>3.1547100000000001</c:v>
                </c:pt>
                <c:pt idx="2751">
                  <c:v>3.6216699999999999</c:v>
                </c:pt>
                <c:pt idx="2752">
                  <c:v>#N/A</c:v>
                </c:pt>
                <c:pt idx="2753">
                  <c:v>3.0326399999999998</c:v>
                </c:pt>
                <c:pt idx="2754">
                  <c:v>2.7753700000000001</c:v>
                </c:pt>
                <c:pt idx="2755">
                  <c:v>2.2181899999999999</c:v>
                </c:pt>
                <c:pt idx="2756">
                  <c:v>#N/A</c:v>
                </c:pt>
                <c:pt idx="2757">
                  <c:v>1.46729</c:v>
                </c:pt>
                <c:pt idx="2758">
                  <c:v>1.4522200000000001</c:v>
                </c:pt>
                <c:pt idx="2759">
                  <c:v>#N/A</c:v>
                </c:pt>
                <c:pt idx="2760">
                  <c:v>1.82226</c:v>
                </c:pt>
                <c:pt idx="2761">
                  <c:v>2.38781</c:v>
                </c:pt>
                <c:pt idx="2762">
                  <c:v>2.6872799999999999</c:v>
                </c:pt>
                <c:pt idx="2763">
                  <c:v>#N/A</c:v>
                </c:pt>
                <c:pt idx="2764">
                  <c:v>2.83134</c:v>
                </c:pt>
                <c:pt idx="2765">
                  <c:v>2.4217300000000002</c:v>
                </c:pt>
                <c:pt idx="2766">
                  <c:v>2.0325600000000001</c:v>
                </c:pt>
                <c:pt idx="2767">
                  <c:v>#N/A</c:v>
                </c:pt>
                <c:pt idx="2768">
                  <c:v>1.6396200000000001</c:v>
                </c:pt>
                <c:pt idx="2769">
                  <c:v>1.93743</c:v>
                </c:pt>
                <c:pt idx="2770">
                  <c:v>2.7086600000000001</c:v>
                </c:pt>
                <c:pt idx="2771">
                  <c:v>#N/A</c:v>
                </c:pt>
                <c:pt idx="2772">
                  <c:v>3.0309300000000001</c:v>
                </c:pt>
                <c:pt idx="2773">
                  <c:v>3.3093900000000001</c:v>
                </c:pt>
                <c:pt idx="2774">
                  <c:v>#N/A</c:v>
                </c:pt>
                <c:pt idx="2775">
                  <c:v>3.4996900000000002</c:v>
                </c:pt>
                <c:pt idx="2776">
                  <c:v>2.3249</c:v>
                </c:pt>
                <c:pt idx="2777">
                  <c:v>#N/A</c:v>
                </c:pt>
                <c:pt idx="2778">
                  <c:v>2.37093</c:v>
                </c:pt>
                <c:pt idx="2779">
                  <c:v>#N/A</c:v>
                </c:pt>
                <c:pt idx="2780">
                  <c:v>2.1916600000000002</c:v>
                </c:pt>
                <c:pt idx="2781">
                  <c:v>2.3942199999999998</c:v>
                </c:pt>
                <c:pt idx="2782">
                  <c:v>3.35025</c:v>
                </c:pt>
                <c:pt idx="2783">
                  <c:v>#N/A</c:v>
                </c:pt>
                <c:pt idx="2784">
                  <c:v>2.5124499999999999</c:v>
                </c:pt>
                <c:pt idx="2785">
                  <c:v>2.5617100000000002</c:v>
                </c:pt>
                <c:pt idx="2786">
                  <c:v>2.14459</c:v>
                </c:pt>
                <c:pt idx="2787">
                  <c:v>#N/A</c:v>
                </c:pt>
                <c:pt idx="2788">
                  <c:v>2.12459</c:v>
                </c:pt>
                <c:pt idx="2789">
                  <c:v>2.3148499999999999</c:v>
                </c:pt>
                <c:pt idx="2790">
                  <c:v>2.5973099999999998</c:v>
                </c:pt>
                <c:pt idx="2791">
                  <c:v>#N/A</c:v>
                </c:pt>
                <c:pt idx="2792">
                  <c:v>2.8949099999999999</c:v>
                </c:pt>
                <c:pt idx="2793">
                  <c:v>2.9256700000000002</c:v>
                </c:pt>
                <c:pt idx="2794">
                  <c:v>3.02833</c:v>
                </c:pt>
                <c:pt idx="2795">
                  <c:v>#N/A</c:v>
                </c:pt>
                <c:pt idx="2796">
                  <c:v>2.5823100000000001</c:v>
                </c:pt>
                <c:pt idx="2797">
                  <c:v>2.4601899999999999</c:v>
                </c:pt>
                <c:pt idx="2798">
                  <c:v>2.4397099999999998</c:v>
                </c:pt>
                <c:pt idx="2799">
                  <c:v>#N/A</c:v>
                </c:pt>
                <c:pt idx="2800">
                  <c:v>2.7176100000000001</c:v>
                </c:pt>
                <c:pt idx="2801">
                  <c:v>2.7659600000000002</c:v>
                </c:pt>
                <c:pt idx="2802">
                  <c:v>2.7637100000000001</c:v>
                </c:pt>
                <c:pt idx="2803">
                  <c:v>#N/A</c:v>
                </c:pt>
                <c:pt idx="2804">
                  <c:v>2.47227</c:v>
                </c:pt>
                <c:pt idx="2805">
                  <c:v>2.4256099999999998</c:v>
                </c:pt>
                <c:pt idx="2806">
                  <c:v>1.8915900000000001</c:v>
                </c:pt>
                <c:pt idx="2807">
                  <c:v>#N/A</c:v>
                </c:pt>
                <c:pt idx="2808">
                  <c:v>1.60684</c:v>
                </c:pt>
                <c:pt idx="2809">
                  <c:v>1.99335</c:v>
                </c:pt>
                <c:pt idx="2810">
                  <c:v>2.2511199999999998</c:v>
                </c:pt>
                <c:pt idx="2811">
                  <c:v>#N/A</c:v>
                </c:pt>
                <c:pt idx="2812">
                  <c:v>2.5996899999999998</c:v>
                </c:pt>
                <c:pt idx="2813">
                  <c:v>3.0584600000000002</c:v>
                </c:pt>
                <c:pt idx="2814">
                  <c:v>3.0725600000000002</c:v>
                </c:pt>
                <c:pt idx="2815">
                  <c:v>#N/A</c:v>
                </c:pt>
                <c:pt idx="2816">
                  <c:v>1.98827</c:v>
                </c:pt>
                <c:pt idx="2817">
                  <c:v>1.8975500000000001</c:v>
                </c:pt>
                <c:pt idx="2818">
                  <c:v>#N/A</c:v>
                </c:pt>
                <c:pt idx="2819">
                  <c:v>1.78654</c:v>
                </c:pt>
                <c:pt idx="2820">
                  <c:v>1.79193</c:v>
                </c:pt>
                <c:pt idx="2821">
                  <c:v>2.3113000000000001</c:v>
                </c:pt>
                <c:pt idx="2822">
                  <c:v>#N/A</c:v>
                </c:pt>
                <c:pt idx="2823">
                  <c:v>2.2214499999999999</c:v>
                </c:pt>
                <c:pt idx="2824">
                  <c:v>2.68567</c:v>
                </c:pt>
                <c:pt idx="2825">
                  <c:v>2.9159600000000001</c:v>
                </c:pt>
                <c:pt idx="2826">
                  <c:v>#N/A</c:v>
                </c:pt>
                <c:pt idx="2827">
                  <c:v>2.6021299999999998</c:v>
                </c:pt>
                <c:pt idx="2828">
                  <c:v>2.0117400000000001</c:v>
                </c:pt>
                <c:pt idx="2829">
                  <c:v>1.56993</c:v>
                </c:pt>
                <c:pt idx="2830">
                  <c:v>#N/A</c:v>
                </c:pt>
                <c:pt idx="2831">
                  <c:v>2.0644800000000001</c:v>
                </c:pt>
                <c:pt idx="2832">
                  <c:v>1.5551900000000001</c:v>
                </c:pt>
                <c:pt idx="2833">
                  <c:v>1.9774400000000001</c:v>
                </c:pt>
                <c:pt idx="2834">
                  <c:v>#N/A</c:v>
                </c:pt>
                <c:pt idx="2835">
                  <c:v>3.1139800000000002</c:v>
                </c:pt>
                <c:pt idx="2836">
                  <c:v>3.4627599999999998</c:v>
                </c:pt>
                <c:pt idx="2837">
                  <c:v>#N/A</c:v>
                </c:pt>
                <c:pt idx="2838">
                  <c:v>2.9582199999999998</c:v>
                </c:pt>
                <c:pt idx="2839">
                  <c:v>1.96837</c:v>
                </c:pt>
                <c:pt idx="2840">
                  <c:v>1.4723999999999999</c:v>
                </c:pt>
                <c:pt idx="2841">
                  <c:v>#N/A</c:v>
                </c:pt>
                <c:pt idx="2842">
                  <c:v>#N/A</c:v>
                </c:pt>
                <c:pt idx="2843">
                  <c:v>2.5204300000000002</c:v>
                </c:pt>
                <c:pt idx="2844">
                  <c:v>#N/A</c:v>
                </c:pt>
                <c:pt idx="2845">
                  <c:v>2.4304000000000001</c:v>
                </c:pt>
                <c:pt idx="2846">
                  <c:v>2.42456</c:v>
                </c:pt>
                <c:pt idx="2847">
                  <c:v>2.61633</c:v>
                </c:pt>
                <c:pt idx="2848">
                  <c:v>#N/A</c:v>
                </c:pt>
                <c:pt idx="2849">
                  <c:v>2.7270699999999999</c:v>
                </c:pt>
                <c:pt idx="2850">
                  <c:v>#N/A</c:v>
                </c:pt>
                <c:pt idx="2851">
                  <c:v>2.0388899999999999</c:v>
                </c:pt>
                <c:pt idx="2852">
                  <c:v>1.9073500000000001</c:v>
                </c:pt>
                <c:pt idx="2853">
                  <c:v>#N/A</c:v>
                </c:pt>
                <c:pt idx="2854">
                  <c:v>1.8997599999999999</c:v>
                </c:pt>
                <c:pt idx="2855">
                  <c:v>#N/A</c:v>
                </c:pt>
                <c:pt idx="2856">
                  <c:v>2.8266900000000001</c:v>
                </c:pt>
                <c:pt idx="2857">
                  <c:v>3.15401</c:v>
                </c:pt>
                <c:pt idx="2858">
                  <c:v>2.9465599999999998</c:v>
                </c:pt>
                <c:pt idx="2859">
                  <c:v>#N/A</c:v>
                </c:pt>
                <c:pt idx="2860">
                  <c:v>2.6074299999999999</c:v>
                </c:pt>
                <c:pt idx="2861">
                  <c:v>2.4093300000000002</c:v>
                </c:pt>
                <c:pt idx="2862">
                  <c:v>1.9395800000000001</c:v>
                </c:pt>
                <c:pt idx="2863">
                  <c:v>#N/A</c:v>
                </c:pt>
                <c:pt idx="2864">
                  <c:v>2.4256799999999998</c:v>
                </c:pt>
                <c:pt idx="2865">
                  <c:v>2.7054200000000002</c:v>
                </c:pt>
                <c:pt idx="2866">
                  <c:v>2.1611899999999999</c:v>
                </c:pt>
                <c:pt idx="2867">
                  <c:v>#N/A</c:v>
                </c:pt>
                <c:pt idx="2868">
                  <c:v>2.2959000000000001</c:v>
                </c:pt>
                <c:pt idx="2869">
                  <c:v>1.9462900000000001</c:v>
                </c:pt>
                <c:pt idx="2870">
                  <c:v>#N/A</c:v>
                </c:pt>
                <c:pt idx="2871">
                  <c:v>2.2400000000000002</c:v>
                </c:pt>
                <c:pt idx="2872">
                  <c:v>1.5589200000000001</c:v>
                </c:pt>
                <c:pt idx="2873">
                  <c:v>2.07029</c:v>
                </c:pt>
                <c:pt idx="2874">
                  <c:v>#N/A</c:v>
                </c:pt>
                <c:pt idx="2875">
                  <c:v>2.51586</c:v>
                </c:pt>
                <c:pt idx="2876">
                  <c:v>2.6343999999999999</c:v>
                </c:pt>
                <c:pt idx="2877">
                  <c:v>2.4706800000000002</c:v>
                </c:pt>
                <c:pt idx="2878">
                  <c:v>#N/A</c:v>
                </c:pt>
                <c:pt idx="2879">
                  <c:v>1.5767199999999999</c:v>
                </c:pt>
                <c:pt idx="2880">
                  <c:v>1.99817</c:v>
                </c:pt>
                <c:pt idx="2881">
                  <c:v>1.37504</c:v>
                </c:pt>
                <c:pt idx="2882">
                  <c:v>#N/A</c:v>
                </c:pt>
                <c:pt idx="2883">
                  <c:v>1.9267000000000001</c:v>
                </c:pt>
                <c:pt idx="2884">
                  <c:v>2.0189900000000001</c:v>
                </c:pt>
                <c:pt idx="2885">
                  <c:v>2.7693400000000001</c:v>
                </c:pt>
                <c:pt idx="2886">
                  <c:v>#N/A</c:v>
                </c:pt>
                <c:pt idx="2887">
                  <c:v>3.1563599999999998</c:v>
                </c:pt>
                <c:pt idx="2888">
                  <c:v>2.80836</c:v>
                </c:pt>
                <c:pt idx="2889">
                  <c:v>1.26291</c:v>
                </c:pt>
                <c:pt idx="2890">
                  <c:v>#N/A</c:v>
                </c:pt>
                <c:pt idx="2891">
                  <c:v>1.7633099999999999</c:v>
                </c:pt>
                <c:pt idx="2892">
                  <c:v>2.2389899999999998</c:v>
                </c:pt>
                <c:pt idx="2893">
                  <c:v>2.3271600000000001</c:v>
                </c:pt>
                <c:pt idx="2894">
                  <c:v>#N/A</c:v>
                </c:pt>
                <c:pt idx="2895">
                  <c:v>2.1896399999999998</c:v>
                </c:pt>
                <c:pt idx="2896">
                  <c:v>3.2155900000000002</c:v>
                </c:pt>
                <c:pt idx="2897">
                  <c:v>3.5182500000000001</c:v>
                </c:pt>
                <c:pt idx="2898">
                  <c:v>#N/A</c:v>
                </c:pt>
                <c:pt idx="2899">
                  <c:v>3.2245699999999999</c:v>
                </c:pt>
                <c:pt idx="2900">
                  <c:v>2.2404999999999999</c:v>
                </c:pt>
                <c:pt idx="2901">
                  <c:v>#N/A</c:v>
                </c:pt>
                <c:pt idx="2902">
                  <c:v>2.3784200000000002</c:v>
                </c:pt>
                <c:pt idx="2903">
                  <c:v>1.82039</c:v>
                </c:pt>
                <c:pt idx="2904">
                  <c:v>1.7617799999999999</c:v>
                </c:pt>
                <c:pt idx="2905">
                  <c:v>#N/A</c:v>
                </c:pt>
                <c:pt idx="2906">
                  <c:v>2.8204600000000002</c:v>
                </c:pt>
                <c:pt idx="2907">
                  <c:v>2.6639200000000001</c:v>
                </c:pt>
                <c:pt idx="2908">
                  <c:v>2.7257699999999998</c:v>
                </c:pt>
                <c:pt idx="2909">
                  <c:v>#N/A</c:v>
                </c:pt>
                <c:pt idx="2910">
                  <c:v>3.5783299999999998</c:v>
                </c:pt>
                <c:pt idx="2911">
                  <c:v>2.5269200000000001</c:v>
                </c:pt>
                <c:pt idx="2912">
                  <c:v>1.42991</c:v>
                </c:pt>
                <c:pt idx="2913">
                  <c:v>#N/A</c:v>
                </c:pt>
                <c:pt idx="2914">
                  <c:v>1.5770599999999999</c:v>
                </c:pt>
                <c:pt idx="2915">
                  <c:v>1.6975800000000001</c:v>
                </c:pt>
                <c:pt idx="2916">
                  <c:v>1.77962</c:v>
                </c:pt>
                <c:pt idx="2917">
                  <c:v>#N/A</c:v>
                </c:pt>
                <c:pt idx="2918">
                  <c:v>2.8908100000000001</c:v>
                </c:pt>
                <c:pt idx="2919">
                  <c:v>3.1038600000000001</c:v>
                </c:pt>
                <c:pt idx="2920">
                  <c:v>2.9885100000000002</c:v>
                </c:pt>
                <c:pt idx="2921">
                  <c:v>#N/A</c:v>
                </c:pt>
                <c:pt idx="2922">
                  <c:v>2.95566</c:v>
                </c:pt>
                <c:pt idx="2923">
                  <c:v>2.2751800000000002</c:v>
                </c:pt>
                <c:pt idx="2924">
                  <c:v>2.3088600000000001</c:v>
                </c:pt>
                <c:pt idx="2925">
                  <c:v>#N/A</c:v>
                </c:pt>
                <c:pt idx="2926">
                  <c:v>2.3540899999999998</c:v>
                </c:pt>
                <c:pt idx="2927">
                  <c:v>#N/A</c:v>
                </c:pt>
                <c:pt idx="2928">
                  <c:v>2.18974</c:v>
                </c:pt>
                <c:pt idx="2929">
                  <c:v>#N/A</c:v>
                </c:pt>
                <c:pt idx="2930">
                  <c:v>2.1433200000000001</c:v>
                </c:pt>
                <c:pt idx="2931">
                  <c:v>2.7746200000000001</c:v>
                </c:pt>
                <c:pt idx="2932">
                  <c:v>#N/A</c:v>
                </c:pt>
                <c:pt idx="2933">
                  <c:v>2.50041</c:v>
                </c:pt>
                <c:pt idx="2934">
                  <c:v>1.9275500000000001</c:v>
                </c:pt>
                <c:pt idx="2935">
                  <c:v>2.0210499999999998</c:v>
                </c:pt>
                <c:pt idx="2936">
                  <c:v>#N/A</c:v>
                </c:pt>
                <c:pt idx="2937">
                  <c:v>1.7890699999999999</c:v>
                </c:pt>
                <c:pt idx="2938">
                  <c:v>1.8116000000000001</c:v>
                </c:pt>
                <c:pt idx="2939">
                  <c:v>2.55226</c:v>
                </c:pt>
                <c:pt idx="2940">
                  <c:v>#N/A</c:v>
                </c:pt>
                <c:pt idx="2941">
                  <c:v>2.7761300000000002</c:v>
                </c:pt>
                <c:pt idx="2942">
                  <c:v>2.1739600000000001</c:v>
                </c:pt>
                <c:pt idx="2943">
                  <c:v>1.3640000000000001</c:v>
                </c:pt>
                <c:pt idx="2944">
                  <c:v>#N/A</c:v>
                </c:pt>
                <c:pt idx="2945">
                  <c:v>2.0054099999999999</c:v>
                </c:pt>
                <c:pt idx="2946">
                  <c:v>2.26431</c:v>
                </c:pt>
                <c:pt idx="2947">
                  <c:v>2.5875400000000002</c:v>
                </c:pt>
                <c:pt idx="2948">
                  <c:v>#N/A</c:v>
                </c:pt>
                <c:pt idx="2949">
                  <c:v>2.6420300000000001</c:v>
                </c:pt>
                <c:pt idx="2950">
                  <c:v>2.5534500000000002</c:v>
                </c:pt>
                <c:pt idx="2951">
                  <c:v>2.55558</c:v>
                </c:pt>
                <c:pt idx="2952">
                  <c:v>#N/A</c:v>
                </c:pt>
                <c:pt idx="2953">
                  <c:v>2.5140199999999999</c:v>
                </c:pt>
                <c:pt idx="2954">
                  <c:v>1.9256599999999999</c:v>
                </c:pt>
                <c:pt idx="2955">
                  <c:v>2.0491100000000002</c:v>
                </c:pt>
                <c:pt idx="2956">
                  <c:v>#N/A</c:v>
                </c:pt>
                <c:pt idx="2957">
                  <c:v>1.8561099999999999</c:v>
                </c:pt>
                <c:pt idx="2958">
                  <c:v>2.69678</c:v>
                </c:pt>
                <c:pt idx="2959">
                  <c:v>#N/A</c:v>
                </c:pt>
                <c:pt idx="2960">
                  <c:v>3.41472</c:v>
                </c:pt>
                <c:pt idx="2961">
                  <c:v>3.0181800000000001</c:v>
                </c:pt>
                <c:pt idx="2962">
                  <c:v>2.8289300000000002</c:v>
                </c:pt>
                <c:pt idx="2963">
                  <c:v>#N/A</c:v>
                </c:pt>
                <c:pt idx="2964">
                  <c:v>2.8198099999999999</c:v>
                </c:pt>
                <c:pt idx="2965">
                  <c:v>2.3664499999999999</c:v>
                </c:pt>
                <c:pt idx="2966">
                  <c:v>#N/A</c:v>
                </c:pt>
                <c:pt idx="2967">
                  <c:v>2.06507</c:v>
                </c:pt>
                <c:pt idx="2968">
                  <c:v>1.80755</c:v>
                </c:pt>
                <c:pt idx="2969">
                  <c:v>2.8638599999999999</c:v>
                </c:pt>
                <c:pt idx="2970">
                  <c:v>#N/A</c:v>
                </c:pt>
                <c:pt idx="2971">
                  <c:v>3.3783400000000001</c:v>
                </c:pt>
                <c:pt idx="2972">
                  <c:v>3.3399700000000001</c:v>
                </c:pt>
                <c:pt idx="2973">
                  <c:v>3.0560299999999998</c:v>
                </c:pt>
                <c:pt idx="2974">
                  <c:v>#N/A</c:v>
                </c:pt>
                <c:pt idx="2975">
                  <c:v>2.1466699999999999</c:v>
                </c:pt>
                <c:pt idx="2976">
                  <c:v>2.4874200000000002</c:v>
                </c:pt>
                <c:pt idx="2977">
                  <c:v>2.41398</c:v>
                </c:pt>
                <c:pt idx="2978">
                  <c:v>#N/A</c:v>
                </c:pt>
                <c:pt idx="2979">
                  <c:v>2.6675</c:v>
                </c:pt>
                <c:pt idx="2980">
                  <c:v>3.1893899999999999</c:v>
                </c:pt>
                <c:pt idx="2981">
                  <c:v>3.6102599999999998</c:v>
                </c:pt>
                <c:pt idx="2982">
                  <c:v>#N/A</c:v>
                </c:pt>
                <c:pt idx="2983">
                  <c:v>3.1193499999999998</c:v>
                </c:pt>
                <c:pt idx="2984">
                  <c:v>2.68432</c:v>
                </c:pt>
                <c:pt idx="2985">
                  <c:v>2.1547100000000001</c:v>
                </c:pt>
                <c:pt idx="2986">
                  <c:v>#N/A</c:v>
                </c:pt>
                <c:pt idx="2987">
                  <c:v>1.89957</c:v>
                </c:pt>
                <c:pt idx="2988">
                  <c:v>2.0225200000000001</c:v>
                </c:pt>
                <c:pt idx="2989">
                  <c:v>#N/A</c:v>
                </c:pt>
                <c:pt idx="2990">
                  <c:v>2.47363</c:v>
                </c:pt>
                <c:pt idx="2991">
                  <c:v>2.64662</c:v>
                </c:pt>
                <c:pt idx="2992">
                  <c:v>2.4865499999999998</c:v>
                </c:pt>
                <c:pt idx="2993">
                  <c:v>#N/A</c:v>
                </c:pt>
                <c:pt idx="2994">
                  <c:v>2.10073</c:v>
                </c:pt>
                <c:pt idx="2995">
                  <c:v>2.6075599999999999</c:v>
                </c:pt>
                <c:pt idx="2996">
                  <c:v>2.3294700000000002</c:v>
                </c:pt>
                <c:pt idx="2997">
                  <c:v>#N/A</c:v>
                </c:pt>
                <c:pt idx="2998">
                  <c:v>2.4274900000000001</c:v>
                </c:pt>
                <c:pt idx="2999">
                  <c:v>2.3026300000000002</c:v>
                </c:pt>
                <c:pt idx="3000">
                  <c:v>2.86938</c:v>
                </c:pt>
                <c:pt idx="3001">
                  <c:v>#N/A</c:v>
                </c:pt>
                <c:pt idx="3002">
                  <c:v>2.26376</c:v>
                </c:pt>
                <c:pt idx="3003">
                  <c:v>3.1284700000000001</c:v>
                </c:pt>
                <c:pt idx="3004">
                  <c:v>3.2526000000000002</c:v>
                </c:pt>
                <c:pt idx="3005">
                  <c:v>#N/A</c:v>
                </c:pt>
                <c:pt idx="3006">
                  <c:v>2.8542900000000002</c:v>
                </c:pt>
                <c:pt idx="3007">
                  <c:v>2.66703</c:v>
                </c:pt>
                <c:pt idx="3008">
                  <c:v>#N/A</c:v>
                </c:pt>
                <c:pt idx="3009">
                  <c:v>2.4432200000000002</c:v>
                </c:pt>
                <c:pt idx="3010">
                  <c:v>2.5484900000000001</c:v>
                </c:pt>
                <c:pt idx="3011">
                  <c:v>2.49064</c:v>
                </c:pt>
                <c:pt idx="3012">
                  <c:v>#N/A</c:v>
                </c:pt>
                <c:pt idx="3013">
                  <c:v>2.7624499999999999</c:v>
                </c:pt>
                <c:pt idx="3014">
                  <c:v>2.4866899999999998</c:v>
                </c:pt>
                <c:pt idx="3015">
                  <c:v>2.2591000000000001</c:v>
                </c:pt>
                <c:pt idx="3016">
                  <c:v>#N/A</c:v>
                </c:pt>
                <c:pt idx="3017">
                  <c:v>1.28894</c:v>
                </c:pt>
                <c:pt idx="3018">
                  <c:v>2.0829599999999999</c:v>
                </c:pt>
                <c:pt idx="3019">
                  <c:v>1.7286600000000001</c:v>
                </c:pt>
                <c:pt idx="3020">
                  <c:v>#N/A</c:v>
                </c:pt>
                <c:pt idx="3021">
                  <c:v>2.4252699999999998</c:v>
                </c:pt>
                <c:pt idx="3022">
                  <c:v>2.7352300000000001</c:v>
                </c:pt>
                <c:pt idx="3023">
                  <c:v>2.55789</c:v>
                </c:pt>
                <c:pt idx="3024">
                  <c:v>#N/A</c:v>
                </c:pt>
                <c:pt idx="3025">
                  <c:v>3.01274</c:v>
                </c:pt>
                <c:pt idx="3026">
                  <c:v>2.3989099999999999</c:v>
                </c:pt>
                <c:pt idx="3027">
                  <c:v>2.6993800000000001</c:v>
                </c:pt>
                <c:pt idx="3028">
                  <c:v>#N/A</c:v>
                </c:pt>
                <c:pt idx="3029">
                  <c:v>1.97048</c:v>
                </c:pt>
                <c:pt idx="3030">
                  <c:v>2.4297499999999999</c:v>
                </c:pt>
                <c:pt idx="3031">
                  <c:v>2.7014100000000001</c:v>
                </c:pt>
                <c:pt idx="3032">
                  <c:v>#N/A</c:v>
                </c:pt>
                <c:pt idx="3033">
                  <c:v>2.7323499999999998</c:v>
                </c:pt>
                <c:pt idx="3034">
                  <c:v>2.6175899999999999</c:v>
                </c:pt>
                <c:pt idx="3035">
                  <c:v>2.4487700000000001</c:v>
                </c:pt>
                <c:pt idx="3036">
                  <c:v>#N/A</c:v>
                </c:pt>
                <c:pt idx="3037">
                  <c:v>1.9188700000000001</c:v>
                </c:pt>
                <c:pt idx="3038">
                  <c:v>2.0532300000000001</c:v>
                </c:pt>
                <c:pt idx="3039">
                  <c:v>#N/A</c:v>
                </c:pt>
                <c:pt idx="3040">
                  <c:v>1.6007</c:v>
                </c:pt>
                <c:pt idx="3041">
                  <c:v>1.6993400000000001</c:v>
                </c:pt>
                <c:pt idx="3042">
                  <c:v>2.40293</c:v>
                </c:pt>
                <c:pt idx="3043">
                  <c:v>#N/A</c:v>
                </c:pt>
                <c:pt idx="3044">
                  <c:v>3.7801399999999998</c:v>
                </c:pt>
                <c:pt idx="3045">
                  <c:v>2.8525299999999998</c:v>
                </c:pt>
                <c:pt idx="3046">
                  <c:v>2.09877</c:v>
                </c:pt>
                <c:pt idx="3047">
                  <c:v>#N/A</c:v>
                </c:pt>
                <c:pt idx="3048">
                  <c:v>1.7926800000000001</c:v>
                </c:pt>
                <c:pt idx="3049">
                  <c:v>1.60355</c:v>
                </c:pt>
                <c:pt idx="3050">
                  <c:v>1.4680899999999999</c:v>
                </c:pt>
                <c:pt idx="3051">
                  <c:v>#N/A</c:v>
                </c:pt>
                <c:pt idx="3052">
                  <c:v>1.3321400000000001</c:v>
                </c:pt>
                <c:pt idx="3053">
                  <c:v>1.8844000000000001</c:v>
                </c:pt>
                <c:pt idx="3054">
                  <c:v>2.36341</c:v>
                </c:pt>
                <c:pt idx="3055">
                  <c:v>#N/A</c:v>
                </c:pt>
                <c:pt idx="3056">
                  <c:v>2.81718</c:v>
                </c:pt>
                <c:pt idx="3057">
                  <c:v>2.2902999999999998</c:v>
                </c:pt>
                <c:pt idx="3058">
                  <c:v>1.5747100000000001</c:v>
                </c:pt>
                <c:pt idx="3059">
                  <c:v>#N/A</c:v>
                </c:pt>
                <c:pt idx="3060">
                  <c:v>1.2519899999999999</c:v>
                </c:pt>
                <c:pt idx="3061">
                  <c:v>1.46346</c:v>
                </c:pt>
                <c:pt idx="3062">
                  <c:v>1.86188</c:v>
                </c:pt>
                <c:pt idx="3063">
                  <c:v>#N/A</c:v>
                </c:pt>
                <c:pt idx="3064">
                  <c:v>2.6423899999999998</c:v>
                </c:pt>
                <c:pt idx="3065">
                  <c:v>2.7851900000000001</c:v>
                </c:pt>
                <c:pt idx="3066">
                  <c:v>2.9609800000000002</c:v>
                </c:pt>
                <c:pt idx="3067">
                  <c:v>#N/A</c:v>
                </c:pt>
                <c:pt idx="3068">
                  <c:v>2.90333</c:v>
                </c:pt>
                <c:pt idx="3069">
                  <c:v>2.0929899999999999</c:v>
                </c:pt>
                <c:pt idx="3070">
                  <c:v>#N/A</c:v>
                </c:pt>
                <c:pt idx="3071">
                  <c:v>1.7149799999999999</c:v>
                </c:pt>
                <c:pt idx="3072">
                  <c:v>1.5672200000000001</c:v>
                </c:pt>
                <c:pt idx="3073">
                  <c:v>2.4260000000000002</c:v>
                </c:pt>
                <c:pt idx="3074">
                  <c:v>#N/A</c:v>
                </c:pt>
                <c:pt idx="3075">
                  <c:v>2.7323900000000001</c:v>
                </c:pt>
                <c:pt idx="3076">
                  <c:v>2.2591800000000002</c:v>
                </c:pt>
                <c:pt idx="3077">
                  <c:v>#N/A</c:v>
                </c:pt>
                <c:pt idx="3078">
                  <c:v>2.1177100000000002</c:v>
                </c:pt>
                <c:pt idx="3079">
                  <c:v>#N/A</c:v>
                </c:pt>
                <c:pt idx="3080">
                  <c:v>1.88496</c:v>
                </c:pt>
                <c:pt idx="3081">
                  <c:v>1.6287100000000001</c:v>
                </c:pt>
                <c:pt idx="3082">
                  <c:v>1.9365600000000001</c:v>
                </c:pt>
                <c:pt idx="3083">
                  <c:v>#N/A</c:v>
                </c:pt>
                <c:pt idx="3084">
                  <c:v>2.3487100000000001</c:v>
                </c:pt>
                <c:pt idx="3085">
                  <c:v>3.0420600000000002</c:v>
                </c:pt>
                <c:pt idx="3086">
                  <c:v>3.3610000000000002</c:v>
                </c:pt>
                <c:pt idx="3087">
                  <c:v>#N/A</c:v>
                </c:pt>
                <c:pt idx="3088">
                  <c:v>3.0766399999999998</c:v>
                </c:pt>
                <c:pt idx="3089">
                  <c:v>2.6953399999999998</c:v>
                </c:pt>
                <c:pt idx="3090">
                  <c:v>2.1812200000000002</c:v>
                </c:pt>
                <c:pt idx="3091">
                  <c:v>#N/A</c:v>
                </c:pt>
                <c:pt idx="3092">
                  <c:v>2.0242200000000001</c:v>
                </c:pt>
                <c:pt idx="3093">
                  <c:v>2.4041199999999998</c:v>
                </c:pt>
                <c:pt idx="3094">
                  <c:v>#N/A</c:v>
                </c:pt>
                <c:pt idx="3095">
                  <c:v>2.1270600000000002</c:v>
                </c:pt>
                <c:pt idx="3096">
                  <c:v>2.87669</c:v>
                </c:pt>
                <c:pt idx="3097">
                  <c:v>2.6581199999999998</c:v>
                </c:pt>
                <c:pt idx="3098">
                  <c:v>#N/A</c:v>
                </c:pt>
                <c:pt idx="3099">
                  <c:v>1.83619</c:v>
                </c:pt>
                <c:pt idx="3100">
                  <c:v>1.2027399999999999</c:v>
                </c:pt>
                <c:pt idx="3101">
                  <c:v>1.4530400000000001</c:v>
                </c:pt>
                <c:pt idx="3102">
                  <c:v>#N/A</c:v>
                </c:pt>
                <c:pt idx="3103">
                  <c:v>1.60304</c:v>
                </c:pt>
                <c:pt idx="3104">
                  <c:v>2.24776</c:v>
                </c:pt>
                <c:pt idx="3105">
                  <c:v>2.3841100000000002</c:v>
                </c:pt>
                <c:pt idx="3106">
                  <c:v>#N/A</c:v>
                </c:pt>
                <c:pt idx="3107">
                  <c:v>2.53966</c:v>
                </c:pt>
                <c:pt idx="3108">
                  <c:v>2.5612300000000001</c:v>
                </c:pt>
                <c:pt idx="3109">
                  <c:v>2.2724799999999998</c:v>
                </c:pt>
                <c:pt idx="3110">
                  <c:v>#N/A</c:v>
                </c:pt>
                <c:pt idx="3111">
                  <c:v>2.3144200000000001</c:v>
                </c:pt>
                <c:pt idx="3112">
                  <c:v>1.97797</c:v>
                </c:pt>
                <c:pt idx="3113">
                  <c:v>2.1480800000000002</c:v>
                </c:pt>
                <c:pt idx="3114">
                  <c:v>#N/A</c:v>
                </c:pt>
                <c:pt idx="3115">
                  <c:v>2.1741999999999999</c:v>
                </c:pt>
                <c:pt idx="3116">
                  <c:v>2.8788200000000002</c:v>
                </c:pt>
                <c:pt idx="3117">
                  <c:v>2.8333599999999999</c:v>
                </c:pt>
                <c:pt idx="3118">
                  <c:v>#N/A</c:v>
                </c:pt>
                <c:pt idx="3119">
                  <c:v>2.8385500000000001</c:v>
                </c:pt>
                <c:pt idx="3120">
                  <c:v>2.11145</c:v>
                </c:pt>
                <c:pt idx="3121">
                  <c:v>1.7966500000000001</c:v>
                </c:pt>
                <c:pt idx="3122">
                  <c:v>#N/A</c:v>
                </c:pt>
                <c:pt idx="3123">
                  <c:v>1.78904</c:v>
                </c:pt>
                <c:pt idx="3124">
                  <c:v>1.7922400000000001</c:v>
                </c:pt>
                <c:pt idx="3125">
                  <c:v>#N/A</c:v>
                </c:pt>
                <c:pt idx="3126">
                  <c:v>2.1785899999999998</c:v>
                </c:pt>
                <c:pt idx="3127">
                  <c:v>2.9561700000000002</c:v>
                </c:pt>
                <c:pt idx="3128">
                  <c:v>2.7795399999999999</c:v>
                </c:pt>
                <c:pt idx="3129">
                  <c:v>#N/A</c:v>
                </c:pt>
                <c:pt idx="3130">
                  <c:v>2.5078900000000002</c:v>
                </c:pt>
                <c:pt idx="3131">
                  <c:v>1.8700600000000001</c:v>
                </c:pt>
                <c:pt idx="3132">
                  <c:v>#N/A</c:v>
                </c:pt>
                <c:pt idx="3133">
                  <c:v>1.70733</c:v>
                </c:pt>
                <c:pt idx="3134">
                  <c:v>1.54522</c:v>
                </c:pt>
                <c:pt idx="3135">
                  <c:v>1.8368100000000001</c:v>
                </c:pt>
                <c:pt idx="3136">
                  <c:v>#N/A</c:v>
                </c:pt>
                <c:pt idx="3137">
                  <c:v>1.92869</c:v>
                </c:pt>
                <c:pt idx="3138">
                  <c:v>2.4138700000000002</c:v>
                </c:pt>
                <c:pt idx="3139">
                  <c:v>2.8411900000000001</c:v>
                </c:pt>
                <c:pt idx="3140">
                  <c:v>#N/A</c:v>
                </c:pt>
                <c:pt idx="3141">
                  <c:v>2.6899199999999999</c:v>
                </c:pt>
                <c:pt idx="3142">
                  <c:v>2.0282900000000001</c:v>
                </c:pt>
                <c:pt idx="3143">
                  <c:v>2.1403599999999998</c:v>
                </c:pt>
                <c:pt idx="3144">
                  <c:v>#N/A</c:v>
                </c:pt>
                <c:pt idx="3145">
                  <c:v>2.5940799999999999</c:v>
                </c:pt>
                <c:pt idx="3146">
                  <c:v>1.74251</c:v>
                </c:pt>
                <c:pt idx="3147">
                  <c:v>2.5205299999999999</c:v>
                </c:pt>
                <c:pt idx="3148">
                  <c:v>#N/A</c:v>
                </c:pt>
                <c:pt idx="3149">
                  <c:v>2.6508799999999999</c:v>
                </c:pt>
                <c:pt idx="3150">
                  <c:v>2.95777</c:v>
                </c:pt>
                <c:pt idx="3151">
                  <c:v>#N/A</c:v>
                </c:pt>
                <c:pt idx="3152">
                  <c:v>2.5597799999999999</c:v>
                </c:pt>
                <c:pt idx="3153">
                  <c:v>1.88124</c:v>
                </c:pt>
                <c:pt idx="3154">
                  <c:v>#N/A</c:v>
                </c:pt>
                <c:pt idx="3155">
                  <c:v>2.1990099999999999</c:v>
                </c:pt>
                <c:pt idx="3156">
                  <c:v>2.3528799999999999</c:v>
                </c:pt>
                <c:pt idx="3157">
                  <c:v>2.52033</c:v>
                </c:pt>
                <c:pt idx="3158">
                  <c:v>#N/A</c:v>
                </c:pt>
                <c:pt idx="3159">
                  <c:v>2.2848999999999999</c:v>
                </c:pt>
                <c:pt idx="3160">
                  <c:v>2.0789200000000001</c:v>
                </c:pt>
                <c:pt idx="3161">
                  <c:v>#N/A</c:v>
                </c:pt>
                <c:pt idx="3162">
                  <c:v>1.63079</c:v>
                </c:pt>
                <c:pt idx="3163">
                  <c:v>1.0684800000000001</c:v>
                </c:pt>
                <c:pt idx="3164">
                  <c:v>1.78772</c:v>
                </c:pt>
                <c:pt idx="3165">
                  <c:v>#N/A</c:v>
                </c:pt>
                <c:pt idx="3166">
                  <c:v>1.8128899999999999</c:v>
                </c:pt>
                <c:pt idx="3167">
                  <c:v>2.1612</c:v>
                </c:pt>
                <c:pt idx="3168">
                  <c:v>2.4236499999999999</c:v>
                </c:pt>
                <c:pt idx="3169">
                  <c:v>#N/A</c:v>
                </c:pt>
                <c:pt idx="3170">
                  <c:v>2.7406799999999998</c:v>
                </c:pt>
                <c:pt idx="3171">
                  <c:v>2.4746800000000002</c:v>
                </c:pt>
                <c:pt idx="3172">
                  <c:v>2.2987799999999998</c:v>
                </c:pt>
                <c:pt idx="3173">
                  <c:v>#N/A</c:v>
                </c:pt>
                <c:pt idx="3174">
                  <c:v>1.4751399999999999</c:v>
                </c:pt>
                <c:pt idx="3175">
                  <c:v>1.30003</c:v>
                </c:pt>
                <c:pt idx="3176">
                  <c:v>1.67797</c:v>
                </c:pt>
                <c:pt idx="3177">
                  <c:v>#N/A</c:v>
                </c:pt>
                <c:pt idx="3178">
                  <c:v>2.6912199999999999</c:v>
                </c:pt>
                <c:pt idx="3179">
                  <c:v>3.1810299999999998</c:v>
                </c:pt>
                <c:pt idx="3180">
                  <c:v>#N/A</c:v>
                </c:pt>
                <c:pt idx="3181">
                  <c:v>2.8744399999999999</c:v>
                </c:pt>
                <c:pt idx="3182">
                  <c:v>2.2696000000000001</c:v>
                </c:pt>
                <c:pt idx="3183">
                  <c:v>1.65219</c:v>
                </c:pt>
                <c:pt idx="3184">
                  <c:v>#N/A</c:v>
                </c:pt>
                <c:pt idx="3185">
                  <c:v>1.20139</c:v>
                </c:pt>
                <c:pt idx="3186">
                  <c:v>1.19496</c:v>
                </c:pt>
                <c:pt idx="3187">
                  <c:v>1.60165</c:v>
                </c:pt>
                <c:pt idx="3188">
                  <c:v>#N/A</c:v>
                </c:pt>
                <c:pt idx="3189">
                  <c:v>2.45228</c:v>
                </c:pt>
                <c:pt idx="3190">
                  <c:v>3.1265399999999999</c:v>
                </c:pt>
                <c:pt idx="3191">
                  <c:v>#N/A</c:v>
                </c:pt>
                <c:pt idx="3192">
                  <c:v>3.11741</c:v>
                </c:pt>
                <c:pt idx="3193">
                  <c:v>2.7217099999999999</c:v>
                </c:pt>
                <c:pt idx="3194">
                  <c:v>1.8718900000000001</c:v>
                </c:pt>
                <c:pt idx="3195">
                  <c:v>#N/A</c:v>
                </c:pt>
                <c:pt idx="3196">
                  <c:v>1.88262</c:v>
                </c:pt>
                <c:pt idx="3197">
                  <c:v>1.7223999999999999</c:v>
                </c:pt>
                <c:pt idx="3198">
                  <c:v>2.2886899999999999</c:v>
                </c:pt>
                <c:pt idx="3199">
                  <c:v>#N/A</c:v>
                </c:pt>
                <c:pt idx="3200">
                  <c:v>2.0511499999999998</c:v>
                </c:pt>
                <c:pt idx="3201">
                  <c:v>2.5216599999999998</c:v>
                </c:pt>
                <c:pt idx="3202">
                  <c:v>3.2757800000000001</c:v>
                </c:pt>
                <c:pt idx="3203">
                  <c:v>#N/A</c:v>
                </c:pt>
                <c:pt idx="3204">
                  <c:v>2.0436299999999998</c:v>
                </c:pt>
                <c:pt idx="3205">
                  <c:v>1.6912199999999999</c:v>
                </c:pt>
                <c:pt idx="3206">
                  <c:v>1.0069600000000001</c:v>
                </c:pt>
                <c:pt idx="3207">
                  <c:v>#N/A</c:v>
                </c:pt>
                <c:pt idx="3208">
                  <c:v>1.3040700000000001</c:v>
                </c:pt>
                <c:pt idx="3209">
                  <c:v>2.1348699999999998</c:v>
                </c:pt>
                <c:pt idx="3210">
                  <c:v>2.2927300000000002</c:v>
                </c:pt>
                <c:pt idx="3211">
                  <c:v>#N/A</c:v>
                </c:pt>
                <c:pt idx="3212">
                  <c:v>3.57254</c:v>
                </c:pt>
                <c:pt idx="3213">
                  <c:v>3.0336599999999998</c:v>
                </c:pt>
                <c:pt idx="3214">
                  <c:v>2.9681899999999999</c:v>
                </c:pt>
                <c:pt idx="3215">
                  <c:v>#N/A</c:v>
                </c:pt>
                <c:pt idx="3216">
                  <c:v>2.2123400000000002</c:v>
                </c:pt>
                <c:pt idx="3217">
                  <c:v>1.80152</c:v>
                </c:pt>
                <c:pt idx="3218">
                  <c:v>1.6409199999999999</c:v>
                </c:pt>
                <c:pt idx="3219">
                  <c:v>#N/A</c:v>
                </c:pt>
                <c:pt idx="3220">
                  <c:v>2.6037499999999998</c:v>
                </c:pt>
                <c:pt idx="3221">
                  <c:v>2.3690000000000002</c:v>
                </c:pt>
                <c:pt idx="3222">
                  <c:v>#N/A</c:v>
                </c:pt>
                <c:pt idx="3223">
                  <c:v>2.9569200000000002</c:v>
                </c:pt>
                <c:pt idx="3224">
                  <c:v>2.3219699999999999</c:v>
                </c:pt>
                <c:pt idx="3225">
                  <c:v>2.1577600000000001</c:v>
                </c:pt>
                <c:pt idx="3226">
                  <c:v>#N/A</c:v>
                </c:pt>
                <c:pt idx="3227">
                  <c:v>1.6131500000000001</c:v>
                </c:pt>
                <c:pt idx="3228">
                  <c:v>#N/A</c:v>
                </c:pt>
                <c:pt idx="3229">
                  <c:v>1.70946</c:v>
                </c:pt>
                <c:pt idx="3230">
                  <c:v>#N/A</c:v>
                </c:pt>
                <c:pt idx="3231">
                  <c:v>2.36809</c:v>
                </c:pt>
                <c:pt idx="3232">
                  <c:v>2.0778300000000001</c:v>
                </c:pt>
                <c:pt idx="3233">
                  <c:v>1.93398</c:v>
                </c:pt>
                <c:pt idx="3234">
                  <c:v>#N/A</c:v>
                </c:pt>
                <c:pt idx="3235">
                  <c:v>2.0070800000000002</c:v>
                </c:pt>
                <c:pt idx="3236">
                  <c:v>1.5113300000000001</c:v>
                </c:pt>
                <c:pt idx="3237">
                  <c:v>1.80321</c:v>
                </c:pt>
                <c:pt idx="3238">
                  <c:v>#N/A</c:v>
                </c:pt>
                <c:pt idx="3239">
                  <c:v>1.89103</c:v>
                </c:pt>
                <c:pt idx="3240">
                  <c:v>2.3452099999999998</c:v>
                </c:pt>
                <c:pt idx="3241">
                  <c:v>2.4877699999999998</c:v>
                </c:pt>
                <c:pt idx="3242">
                  <c:v>#N/A</c:v>
                </c:pt>
                <c:pt idx="3243">
                  <c:v>2.5625200000000001</c:v>
                </c:pt>
                <c:pt idx="3244">
                  <c:v>2.2015600000000002</c:v>
                </c:pt>
                <c:pt idx="3245">
                  <c:v>1.5621700000000001</c:v>
                </c:pt>
                <c:pt idx="3246">
                  <c:v>#N/A</c:v>
                </c:pt>
                <c:pt idx="3247">
                  <c:v>1.47689</c:v>
                </c:pt>
                <c:pt idx="3248">
                  <c:v>1.2261500000000001</c:v>
                </c:pt>
                <c:pt idx="3249">
                  <c:v>2.3570099999999998</c:v>
                </c:pt>
                <c:pt idx="3250">
                  <c:v>#N/A</c:v>
                </c:pt>
                <c:pt idx="3251">
                  <c:v>3.0910500000000001</c:v>
                </c:pt>
                <c:pt idx="3252">
                  <c:v>3.50373</c:v>
                </c:pt>
                <c:pt idx="3253">
                  <c:v>#N/A</c:v>
                </c:pt>
                <c:pt idx="3254">
                  <c:v>3.0656400000000001</c:v>
                </c:pt>
                <c:pt idx="3255">
                  <c:v>2.1217800000000002</c:v>
                </c:pt>
                <c:pt idx="3256">
                  <c:v>2.00231</c:v>
                </c:pt>
                <c:pt idx="3257">
                  <c:v>#N/A</c:v>
                </c:pt>
                <c:pt idx="3258">
                  <c:v>1.4026700000000001</c:v>
                </c:pt>
                <c:pt idx="3259">
                  <c:v>1.3414299999999999</c:v>
                </c:pt>
                <c:pt idx="3260">
                  <c:v>#N/A</c:v>
                </c:pt>
                <c:pt idx="3261">
                  <c:v>1.77329</c:v>
                </c:pt>
                <c:pt idx="3262">
                  <c:v>2.40951</c:v>
                </c:pt>
                <c:pt idx="3263">
                  <c:v>2.9583900000000001</c:v>
                </c:pt>
                <c:pt idx="3264">
                  <c:v>#N/A</c:v>
                </c:pt>
                <c:pt idx="3265">
                  <c:v>2.7084700000000002</c:v>
                </c:pt>
                <c:pt idx="3266">
                  <c:v>2.2888799999999998</c:v>
                </c:pt>
                <c:pt idx="3267">
                  <c:v>1.9966600000000001</c:v>
                </c:pt>
                <c:pt idx="3268">
                  <c:v>#N/A</c:v>
                </c:pt>
                <c:pt idx="3269">
                  <c:v>1.5620499999999999</c:v>
                </c:pt>
                <c:pt idx="3270">
                  <c:v>1.4639</c:v>
                </c:pt>
                <c:pt idx="3271">
                  <c:v>1.6923900000000001</c:v>
                </c:pt>
                <c:pt idx="3272">
                  <c:v>#N/A</c:v>
                </c:pt>
                <c:pt idx="3273">
                  <c:v>2.7201300000000002</c:v>
                </c:pt>
                <c:pt idx="3274">
                  <c:v>3.5459900000000002</c:v>
                </c:pt>
                <c:pt idx="3275">
                  <c:v>3.21306</c:v>
                </c:pt>
                <c:pt idx="3276">
                  <c:v>#N/A</c:v>
                </c:pt>
                <c:pt idx="3277">
                  <c:v>2.4297200000000001</c:v>
                </c:pt>
                <c:pt idx="3278">
                  <c:v>1.7975000000000001</c:v>
                </c:pt>
                <c:pt idx="3279">
                  <c:v>1.6510199999999999</c:v>
                </c:pt>
                <c:pt idx="3280">
                  <c:v>#N/A</c:v>
                </c:pt>
                <c:pt idx="3281">
                  <c:v>1.4070499999999999</c:v>
                </c:pt>
                <c:pt idx="3282">
                  <c:v>1.4191</c:v>
                </c:pt>
                <c:pt idx="3283">
                  <c:v>1.8309200000000001</c:v>
                </c:pt>
                <c:pt idx="3284">
                  <c:v>#N/A</c:v>
                </c:pt>
                <c:pt idx="3285">
                  <c:v>1.71465</c:v>
                </c:pt>
                <c:pt idx="3286">
                  <c:v>2.2517200000000002</c:v>
                </c:pt>
                <c:pt idx="3287">
                  <c:v>2.13036</c:v>
                </c:pt>
                <c:pt idx="3288">
                  <c:v>#N/A</c:v>
                </c:pt>
                <c:pt idx="3289">
                  <c:v>1.89757</c:v>
                </c:pt>
                <c:pt idx="3290">
                  <c:v>1.79606</c:v>
                </c:pt>
                <c:pt idx="3291">
                  <c:v>1.45296</c:v>
                </c:pt>
                <c:pt idx="3292">
                  <c:v>#N/A</c:v>
                </c:pt>
                <c:pt idx="3293">
                  <c:v>1.85934</c:v>
                </c:pt>
                <c:pt idx="3294">
                  <c:v>2.3011699999999999</c:v>
                </c:pt>
                <c:pt idx="3295">
                  <c:v>#N/A</c:v>
                </c:pt>
                <c:pt idx="3296">
                  <c:v>2.9689899999999998</c:v>
                </c:pt>
                <c:pt idx="3297">
                  <c:v>2.7299799999999999</c:v>
                </c:pt>
                <c:pt idx="3298">
                  <c:v>3.2110400000000001</c:v>
                </c:pt>
                <c:pt idx="3299">
                  <c:v>#N/A</c:v>
                </c:pt>
                <c:pt idx="3300">
                  <c:v>2.7832599999999998</c:v>
                </c:pt>
                <c:pt idx="3301">
                  <c:v>1.85971</c:v>
                </c:pt>
                <c:pt idx="3302">
                  <c:v>2.2645</c:v>
                </c:pt>
                <c:pt idx="3303">
                  <c:v>#N/A</c:v>
                </c:pt>
                <c:pt idx="3304">
                  <c:v>2.0596999999999999</c:v>
                </c:pt>
                <c:pt idx="3305">
                  <c:v>2.8851100000000001</c:v>
                </c:pt>
                <c:pt idx="3306">
                  <c:v>2.5072100000000002</c:v>
                </c:pt>
                <c:pt idx="3307">
                  <c:v>#N/A</c:v>
                </c:pt>
                <c:pt idx="3308">
                  <c:v>2.4180799999999998</c:v>
                </c:pt>
                <c:pt idx="3309">
                  <c:v>1.50386</c:v>
                </c:pt>
                <c:pt idx="3310">
                  <c:v>1.44608</c:v>
                </c:pt>
                <c:pt idx="3311">
                  <c:v>#N/A</c:v>
                </c:pt>
                <c:pt idx="3312">
                  <c:v>1.4579599999999999</c:v>
                </c:pt>
                <c:pt idx="3313">
                  <c:v>2.0834899999999998</c:v>
                </c:pt>
                <c:pt idx="3314">
                  <c:v>2.1385800000000001</c:v>
                </c:pt>
                <c:pt idx="3315">
                  <c:v>#N/A</c:v>
                </c:pt>
                <c:pt idx="3316">
                  <c:v>2.7949700000000002</c:v>
                </c:pt>
                <c:pt idx="3317">
                  <c:v>3.1955399999999998</c:v>
                </c:pt>
                <c:pt idx="3318">
                  <c:v>2.2852399999999999</c:v>
                </c:pt>
                <c:pt idx="3319">
                  <c:v>#N/A</c:v>
                </c:pt>
                <c:pt idx="3320">
                  <c:v>1.8915900000000001</c:v>
                </c:pt>
                <c:pt idx="3321">
                  <c:v>1.83558</c:v>
                </c:pt>
                <c:pt idx="3322">
                  <c:v>#N/A</c:v>
                </c:pt>
                <c:pt idx="3323">
                  <c:v>1.92319</c:v>
                </c:pt>
                <c:pt idx="3324">
                  <c:v>3.02332</c:v>
                </c:pt>
                <c:pt idx="3325">
                  <c:v>3.0907900000000001</c:v>
                </c:pt>
                <c:pt idx="3326">
                  <c:v>#N/A</c:v>
                </c:pt>
                <c:pt idx="3327">
                  <c:v>2.7976100000000002</c:v>
                </c:pt>
                <c:pt idx="3328">
                  <c:v>2.9628100000000002</c:v>
                </c:pt>
                <c:pt idx="3329">
                  <c:v>2.5910500000000001</c:v>
                </c:pt>
                <c:pt idx="3330">
                  <c:v>#N/A</c:v>
                </c:pt>
                <c:pt idx="3331">
                  <c:v>1.8923000000000001</c:v>
                </c:pt>
                <c:pt idx="3332">
                  <c:v>1.51861</c:v>
                </c:pt>
                <c:pt idx="3333">
                  <c:v>1.6328499999999999</c:v>
                </c:pt>
                <c:pt idx="3334">
                  <c:v>#N/A</c:v>
                </c:pt>
                <c:pt idx="3335">
                  <c:v>2.97262</c:v>
                </c:pt>
                <c:pt idx="3336">
                  <c:v>3.1345200000000002</c:v>
                </c:pt>
                <c:pt idx="3337">
                  <c:v>3.13991</c:v>
                </c:pt>
                <c:pt idx="3338">
                  <c:v>#N/A</c:v>
                </c:pt>
                <c:pt idx="3339">
                  <c:v>2.3409499999999999</c:v>
                </c:pt>
                <c:pt idx="3340">
                  <c:v>1.5747899999999999</c:v>
                </c:pt>
                <c:pt idx="3341">
                  <c:v>#N/A</c:v>
                </c:pt>
                <c:pt idx="3342">
                  <c:v>1.95374</c:v>
                </c:pt>
                <c:pt idx="3343">
                  <c:v>1.31362</c:v>
                </c:pt>
                <c:pt idx="3344">
                  <c:v>1.9215500000000001</c:v>
                </c:pt>
                <c:pt idx="3345">
                  <c:v>#N/A</c:v>
                </c:pt>
                <c:pt idx="3346">
                  <c:v>2.02555</c:v>
                </c:pt>
                <c:pt idx="3347">
                  <c:v>2.7143199999999998</c:v>
                </c:pt>
                <c:pt idx="3348">
                  <c:v>2.5761699999999998</c:v>
                </c:pt>
                <c:pt idx="3349">
                  <c:v>#N/A</c:v>
                </c:pt>
                <c:pt idx="3350">
                  <c:v>2.44177</c:v>
                </c:pt>
                <c:pt idx="3351">
                  <c:v>1.1972799999999999</c:v>
                </c:pt>
                <c:pt idx="3352">
                  <c:v>1.32575</c:v>
                </c:pt>
                <c:pt idx="3353">
                  <c:v>#N/A</c:v>
                </c:pt>
                <c:pt idx="3354">
                  <c:v>1.84409</c:v>
                </c:pt>
                <c:pt idx="3355">
                  <c:v>1.55504</c:v>
                </c:pt>
                <c:pt idx="3356">
                  <c:v>2.3527499999999999</c:v>
                </c:pt>
                <c:pt idx="3357">
                  <c:v>#N/A</c:v>
                </c:pt>
                <c:pt idx="3358">
                  <c:v>2.77251</c:v>
                </c:pt>
                <c:pt idx="3359">
                  <c:v>3.47797</c:v>
                </c:pt>
                <c:pt idx="3360">
                  <c:v>3.3479399999999999</c:v>
                </c:pt>
                <c:pt idx="3361">
                  <c:v>#N/A</c:v>
                </c:pt>
                <c:pt idx="3362">
                  <c:v>2.1391100000000001</c:v>
                </c:pt>
                <c:pt idx="3363">
                  <c:v>2.0842900000000002</c:v>
                </c:pt>
                <c:pt idx="3364">
                  <c:v>#N/A</c:v>
                </c:pt>
                <c:pt idx="3365">
                  <c:v>1.8194900000000001</c:v>
                </c:pt>
                <c:pt idx="3366">
                  <c:v>1.91167</c:v>
                </c:pt>
                <c:pt idx="3367">
                  <c:v>2.1315900000000001</c:v>
                </c:pt>
                <c:pt idx="3368">
                  <c:v>#N/A</c:v>
                </c:pt>
                <c:pt idx="3369">
                  <c:v>1.9723999999999999</c:v>
                </c:pt>
                <c:pt idx="3370">
                  <c:v>2.1453799999999998</c:v>
                </c:pt>
                <c:pt idx="3371">
                  <c:v>#N/A</c:v>
                </c:pt>
                <c:pt idx="3372">
                  <c:v>2.6239699999999999</c:v>
                </c:pt>
                <c:pt idx="3373">
                  <c:v>1.8486400000000001</c:v>
                </c:pt>
                <c:pt idx="3374">
                  <c:v>1.8508899999999999</c:v>
                </c:pt>
                <c:pt idx="3375">
                  <c:v>#N/A</c:v>
                </c:pt>
                <c:pt idx="3376">
                  <c:v>1.21336</c:v>
                </c:pt>
                <c:pt idx="3377">
                  <c:v>#N/A</c:v>
                </c:pt>
                <c:pt idx="3378">
                  <c:v>2.17923</c:v>
                </c:pt>
                <c:pt idx="3379">
                  <c:v>2.2932899999999998</c:v>
                </c:pt>
                <c:pt idx="3380">
                  <c:v>2.6248800000000001</c:v>
                </c:pt>
                <c:pt idx="3381">
                  <c:v>#N/A</c:v>
                </c:pt>
                <c:pt idx="3382">
                  <c:v>2.4966900000000001</c:v>
                </c:pt>
                <c:pt idx="3383">
                  <c:v>2.3125499999999999</c:v>
                </c:pt>
                <c:pt idx="3384">
                  <c:v>2.4486500000000002</c:v>
                </c:pt>
                <c:pt idx="3385">
                  <c:v>#N/A</c:v>
                </c:pt>
                <c:pt idx="3386">
                  <c:v>2.5913900000000001</c:v>
                </c:pt>
                <c:pt idx="3387">
                  <c:v>2.21685</c:v>
                </c:pt>
                <c:pt idx="3388">
                  <c:v>#N/A</c:v>
                </c:pt>
                <c:pt idx="3389">
                  <c:v>2.1683699999999999</c:v>
                </c:pt>
                <c:pt idx="3390">
                  <c:v>1.8229299999999999</c:v>
                </c:pt>
                <c:pt idx="3391">
                  <c:v>1.98488</c:v>
                </c:pt>
                <c:pt idx="3392">
                  <c:v>#N/A</c:v>
                </c:pt>
                <c:pt idx="3393">
                  <c:v>1.91682</c:v>
                </c:pt>
                <c:pt idx="3394">
                  <c:v>1.81169</c:v>
                </c:pt>
                <c:pt idx="3395">
                  <c:v>1.7561100000000001</c:v>
                </c:pt>
                <c:pt idx="3396">
                  <c:v>#N/A</c:v>
                </c:pt>
                <c:pt idx="3397">
                  <c:v>1.9339500000000001</c:v>
                </c:pt>
                <c:pt idx="3398">
                  <c:v>2.6340699999999999</c:v>
                </c:pt>
                <c:pt idx="3399">
                  <c:v>2.6863100000000002</c:v>
                </c:pt>
                <c:pt idx="3400">
                  <c:v>#N/A</c:v>
                </c:pt>
                <c:pt idx="3401">
                  <c:v>2.8526400000000001</c:v>
                </c:pt>
                <c:pt idx="3402">
                  <c:v>2.1573699999999998</c:v>
                </c:pt>
                <c:pt idx="3403">
                  <c:v>1.8211999999999999</c:v>
                </c:pt>
                <c:pt idx="3404">
                  <c:v>#N/A</c:v>
                </c:pt>
                <c:pt idx="3405">
                  <c:v>1.5121199999999999</c:v>
                </c:pt>
                <c:pt idx="3406">
                  <c:v>2.40686</c:v>
                </c:pt>
                <c:pt idx="3407">
                  <c:v>1.9491000000000001</c:v>
                </c:pt>
                <c:pt idx="3408">
                  <c:v>#N/A</c:v>
                </c:pt>
                <c:pt idx="3409">
                  <c:v>3.2398199999999999</c:v>
                </c:pt>
                <c:pt idx="3410">
                  <c:v>2.8662700000000001</c:v>
                </c:pt>
                <c:pt idx="3411">
                  <c:v>3.0204499999999999</c:v>
                </c:pt>
                <c:pt idx="3412">
                  <c:v>#N/A</c:v>
                </c:pt>
                <c:pt idx="3413">
                  <c:v>2.0831499999999998</c:v>
                </c:pt>
                <c:pt idx="3414">
                  <c:v>1.2475799999999999</c:v>
                </c:pt>
                <c:pt idx="3415">
                  <c:v>1.4301299999999999</c:v>
                </c:pt>
                <c:pt idx="3416">
                  <c:v>#N/A</c:v>
                </c:pt>
                <c:pt idx="3417">
                  <c:v>1.3812599999999999</c:v>
                </c:pt>
                <c:pt idx="3418">
                  <c:v>2.1442100000000002</c:v>
                </c:pt>
                <c:pt idx="3419">
                  <c:v>2.44042</c:v>
                </c:pt>
                <c:pt idx="3420">
                  <c:v>#N/A</c:v>
                </c:pt>
                <c:pt idx="3421">
                  <c:v>3.6267399999999999</c:v>
                </c:pt>
                <c:pt idx="3422">
                  <c:v>3.4133399999999998</c:v>
                </c:pt>
                <c:pt idx="3423">
                  <c:v>#N/A</c:v>
                </c:pt>
                <c:pt idx="3424">
                  <c:v>2.3253300000000001</c:v>
                </c:pt>
                <c:pt idx="3425">
                  <c:v>1.4367799999999999</c:v>
                </c:pt>
                <c:pt idx="3426">
                  <c:v>1.8546</c:v>
                </c:pt>
                <c:pt idx="3427">
                  <c:v>#N/A</c:v>
                </c:pt>
                <c:pt idx="3428">
                  <c:v>1.70363</c:v>
                </c:pt>
                <c:pt idx="3429">
                  <c:v>2.42198</c:v>
                </c:pt>
                <c:pt idx="3430">
                  <c:v>2.6393399999999998</c:v>
                </c:pt>
                <c:pt idx="3431">
                  <c:v>#N/A</c:v>
                </c:pt>
                <c:pt idx="3432">
                  <c:v>2.7494999999999998</c:v>
                </c:pt>
                <c:pt idx="3433">
                  <c:v>2.66832</c:v>
                </c:pt>
                <c:pt idx="3434">
                  <c:v>2.5099300000000002</c:v>
                </c:pt>
                <c:pt idx="3435">
                  <c:v>#N/A</c:v>
                </c:pt>
                <c:pt idx="3436">
                  <c:v>2.3574799999999998</c:v>
                </c:pt>
                <c:pt idx="3437">
                  <c:v>1.55871</c:v>
                </c:pt>
                <c:pt idx="3438">
                  <c:v>2.0985499999999999</c:v>
                </c:pt>
                <c:pt idx="3439">
                  <c:v>#N/A</c:v>
                </c:pt>
                <c:pt idx="3440">
                  <c:v>1.9333100000000001</c:v>
                </c:pt>
                <c:pt idx="3441">
                  <c:v>2.9894599999999998</c:v>
                </c:pt>
                <c:pt idx="3442">
                  <c:v>3.2166999999999999</c:v>
                </c:pt>
                <c:pt idx="3443">
                  <c:v>#N/A</c:v>
                </c:pt>
                <c:pt idx="3444">
                  <c:v>2.8219799999999999</c:v>
                </c:pt>
                <c:pt idx="3445">
                  <c:v>2.8639100000000002</c:v>
                </c:pt>
                <c:pt idx="3446">
                  <c:v>#N/A</c:v>
                </c:pt>
                <c:pt idx="3447">
                  <c:v>2.22296</c:v>
                </c:pt>
                <c:pt idx="3448">
                  <c:v>2.1303399999999999</c:v>
                </c:pt>
                <c:pt idx="3449">
                  <c:v>2.1762999999999999</c:v>
                </c:pt>
                <c:pt idx="3450">
                  <c:v>#N/A</c:v>
                </c:pt>
                <c:pt idx="3451">
                  <c:v>2.67347</c:v>
                </c:pt>
                <c:pt idx="3452">
                  <c:v>#N/A</c:v>
                </c:pt>
                <c:pt idx="3453">
                  <c:v>2.64717</c:v>
                </c:pt>
                <c:pt idx="3454">
                  <c:v>2.2344499999999998</c:v>
                </c:pt>
                <c:pt idx="3455">
                  <c:v>#N/A</c:v>
                </c:pt>
                <c:pt idx="3456">
                  <c:v>1.8001499999999999</c:v>
                </c:pt>
                <c:pt idx="3457">
                  <c:v>1.8702099999999999</c:v>
                </c:pt>
                <c:pt idx="3458">
                  <c:v>1.96306</c:v>
                </c:pt>
                <c:pt idx="3459">
                  <c:v>#N/A</c:v>
                </c:pt>
                <c:pt idx="3460">
                  <c:v>1.8324499999999999</c:v>
                </c:pt>
                <c:pt idx="3461">
                  <c:v>2.30084</c:v>
                </c:pt>
                <c:pt idx="3462">
                  <c:v>2.3747199999999999</c:v>
                </c:pt>
                <c:pt idx="3463">
                  <c:v>#N/A</c:v>
                </c:pt>
                <c:pt idx="3464">
                  <c:v>2.9582600000000001</c:v>
                </c:pt>
                <c:pt idx="3465">
                  <c:v>2.3526799999999999</c:v>
                </c:pt>
                <c:pt idx="3466">
                  <c:v>2.2969900000000001</c:v>
                </c:pt>
                <c:pt idx="3467">
                  <c:v>#N/A</c:v>
                </c:pt>
                <c:pt idx="3468">
                  <c:v>1.83216</c:v>
                </c:pt>
                <c:pt idx="3469">
                  <c:v>2.0113099999999999</c:v>
                </c:pt>
                <c:pt idx="3470">
                  <c:v>2.4027099999999999</c:v>
                </c:pt>
                <c:pt idx="3471">
                  <c:v>#N/A</c:v>
                </c:pt>
                <c:pt idx="3472">
                  <c:v>2.30063</c:v>
                </c:pt>
                <c:pt idx="3473">
                  <c:v>2.09354</c:v>
                </c:pt>
                <c:pt idx="3474">
                  <c:v>2.30179</c:v>
                </c:pt>
                <c:pt idx="3475">
                  <c:v>#N/A</c:v>
                </c:pt>
                <c:pt idx="3476">
                  <c:v>2.3077200000000002</c:v>
                </c:pt>
                <c:pt idx="3477">
                  <c:v>1.4098900000000001</c:v>
                </c:pt>
                <c:pt idx="3478">
                  <c:v>1.68937</c:v>
                </c:pt>
                <c:pt idx="3479">
                  <c:v>#N/A</c:v>
                </c:pt>
                <c:pt idx="3480">
                  <c:v>1.7131700000000001</c:v>
                </c:pt>
                <c:pt idx="3481">
                  <c:v>2.7547199999999998</c:v>
                </c:pt>
                <c:pt idx="3482">
                  <c:v>#N/A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#N/A</c:v>
                </c:pt>
                <c:pt idx="3492">
                  <c:v>#N/A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#N/A</c:v>
                </c:pt>
                <c:pt idx="3499">
                  <c:v>#N/A</c:v>
                </c:pt>
                <c:pt idx="3500">
                  <c:v>#N/A</c:v>
                </c:pt>
                <c:pt idx="3501">
                  <c:v>#N/A</c:v>
                </c:pt>
                <c:pt idx="3502">
                  <c:v>#N/A</c:v>
                </c:pt>
                <c:pt idx="3503">
                  <c:v>#N/A</c:v>
                </c:pt>
                <c:pt idx="3504">
                  <c:v>#N/A</c:v>
                </c:pt>
                <c:pt idx="3505">
                  <c:v>2.7277300000000002</c:v>
                </c:pt>
                <c:pt idx="3506">
                  <c:v>2.9614600000000002</c:v>
                </c:pt>
                <c:pt idx="3507">
                  <c:v>#N/A</c:v>
                </c:pt>
                <c:pt idx="3508">
                  <c:v>2.1435599999999999</c:v>
                </c:pt>
                <c:pt idx="3509">
                  <c:v>1.9483600000000001</c:v>
                </c:pt>
                <c:pt idx="3510">
                  <c:v>#N/A</c:v>
                </c:pt>
                <c:pt idx="3511">
                  <c:v>1.8965700000000001</c:v>
                </c:pt>
                <c:pt idx="3512">
                  <c:v>2.47119</c:v>
                </c:pt>
                <c:pt idx="3513">
                  <c:v>2.6516799999999998</c:v>
                </c:pt>
                <c:pt idx="3514">
                  <c:v>#N/A</c:v>
                </c:pt>
                <c:pt idx="3515">
                  <c:v>2.8808400000000001</c:v>
                </c:pt>
                <c:pt idx="3516">
                  <c:v>3.0794000000000001</c:v>
                </c:pt>
                <c:pt idx="3517">
                  <c:v>2.6737700000000002</c:v>
                </c:pt>
                <c:pt idx="3518">
                  <c:v>#N/A</c:v>
                </c:pt>
                <c:pt idx="3519">
                  <c:v>2.4718300000000002</c:v>
                </c:pt>
                <c:pt idx="3520">
                  <c:v>1.98706</c:v>
                </c:pt>
                <c:pt idx="3521">
                  <c:v>#N/A</c:v>
                </c:pt>
                <c:pt idx="3522">
                  <c:v>2.0938500000000002</c:v>
                </c:pt>
                <c:pt idx="3523">
                  <c:v>2.0487199999999999</c:v>
                </c:pt>
                <c:pt idx="3524">
                  <c:v>2.8479399999999999</c:v>
                </c:pt>
                <c:pt idx="3525">
                  <c:v>#N/A</c:v>
                </c:pt>
                <c:pt idx="3526">
                  <c:v>2.3172600000000001</c:v>
                </c:pt>
                <c:pt idx="3527">
                  <c:v>2.5974400000000002</c:v>
                </c:pt>
                <c:pt idx="3528">
                  <c:v>2.7482799999999998</c:v>
                </c:pt>
                <c:pt idx="3529">
                  <c:v>#N/A</c:v>
                </c:pt>
                <c:pt idx="3530">
                  <c:v>2.2075</c:v>
                </c:pt>
                <c:pt idx="3531">
                  <c:v>2.33704</c:v>
                </c:pt>
                <c:pt idx="3532">
                  <c:v>#N/A</c:v>
                </c:pt>
                <c:pt idx="3533">
                  <c:v>2.1345200000000002</c:v>
                </c:pt>
                <c:pt idx="3534">
                  <c:v>2.1340599999999998</c:v>
                </c:pt>
                <c:pt idx="3535">
                  <c:v>2.3755799999999998</c:v>
                </c:pt>
                <c:pt idx="3536">
                  <c:v>#N/A</c:v>
                </c:pt>
                <c:pt idx="3537">
                  <c:v>2.5241600000000002</c:v>
                </c:pt>
                <c:pt idx="3538">
                  <c:v>1.87104</c:v>
                </c:pt>
                <c:pt idx="3539">
                  <c:v>1.45627</c:v>
                </c:pt>
                <c:pt idx="3540">
                  <c:v>#N/A</c:v>
                </c:pt>
                <c:pt idx="3541">
                  <c:v>1.78888</c:v>
                </c:pt>
                <c:pt idx="3542">
                  <c:v>2.4164099999999999</c:v>
                </c:pt>
                <c:pt idx="3543">
                  <c:v>2.9676399999999998</c:v>
                </c:pt>
                <c:pt idx="3544">
                  <c:v>#N/A</c:v>
                </c:pt>
                <c:pt idx="3545">
                  <c:v>2.8886400000000001</c:v>
                </c:pt>
                <c:pt idx="3546">
                  <c:v>2.7172200000000002</c:v>
                </c:pt>
                <c:pt idx="3547">
                  <c:v>#N/A</c:v>
                </c:pt>
                <c:pt idx="3548">
                  <c:v>2.5473599999999998</c:v>
                </c:pt>
                <c:pt idx="3549">
                  <c:v>2.9214099999999998</c:v>
                </c:pt>
                <c:pt idx="3550">
                  <c:v>2.5181100000000001</c:v>
                </c:pt>
                <c:pt idx="3551">
                  <c:v>#N/A</c:v>
                </c:pt>
                <c:pt idx="3552">
                  <c:v>2.1786599999999998</c:v>
                </c:pt>
                <c:pt idx="3553">
                  <c:v>2.1740900000000001</c:v>
                </c:pt>
                <c:pt idx="3554">
                  <c:v>2.9766599999999999</c:v>
                </c:pt>
                <c:pt idx="3555">
                  <c:v>#N/A</c:v>
                </c:pt>
                <c:pt idx="3556">
                  <c:v>3.3010000000000002</c:v>
                </c:pt>
                <c:pt idx="3557">
                  <c:v>2.5723799999999999</c:v>
                </c:pt>
                <c:pt idx="3558">
                  <c:v>1.6798200000000001</c:v>
                </c:pt>
                <c:pt idx="3559">
                  <c:v>#N/A</c:v>
                </c:pt>
                <c:pt idx="3560">
                  <c:v>1.87049</c:v>
                </c:pt>
                <c:pt idx="3561">
                  <c:v>1.7385900000000001</c:v>
                </c:pt>
                <c:pt idx="3562">
                  <c:v>1.2123200000000001</c:v>
                </c:pt>
                <c:pt idx="3563">
                  <c:v>#N/A</c:v>
                </c:pt>
                <c:pt idx="3564">
                  <c:v>2.0131199999999998</c:v>
                </c:pt>
                <c:pt idx="3565">
                  <c:v>2.74214</c:v>
                </c:pt>
                <c:pt idx="3566">
                  <c:v>3.7522099999999998</c:v>
                </c:pt>
                <c:pt idx="3567">
                  <c:v>#N/A</c:v>
                </c:pt>
                <c:pt idx="3568">
                  <c:v>3.8151099999999998</c:v>
                </c:pt>
                <c:pt idx="3569">
                  <c:v>2.5428799999999998</c:v>
                </c:pt>
                <c:pt idx="3570">
                  <c:v>2.0236800000000001</c:v>
                </c:pt>
                <c:pt idx="3571">
                  <c:v>#N/A</c:v>
                </c:pt>
                <c:pt idx="3572">
                  <c:v>1.76485</c:v>
                </c:pt>
                <c:pt idx="3573">
                  <c:v>2.2610899999999998</c:v>
                </c:pt>
                <c:pt idx="3574">
                  <c:v>#N/A</c:v>
                </c:pt>
                <c:pt idx="3575">
                  <c:v>2.3052700000000002</c:v>
                </c:pt>
                <c:pt idx="3576">
                  <c:v>2.70411</c:v>
                </c:pt>
                <c:pt idx="3577">
                  <c:v>3.3764599999999998</c:v>
                </c:pt>
                <c:pt idx="3578">
                  <c:v>#N/A</c:v>
                </c:pt>
                <c:pt idx="3579">
                  <c:v>2.9909400000000002</c:v>
                </c:pt>
                <c:pt idx="3580">
                  <c:v>2.7302200000000001</c:v>
                </c:pt>
                <c:pt idx="3581">
                  <c:v>1.976</c:v>
                </c:pt>
                <c:pt idx="3582">
                  <c:v>#N/A</c:v>
                </c:pt>
                <c:pt idx="3583">
                  <c:v>2.04203</c:v>
                </c:pt>
                <c:pt idx="3584">
                  <c:v>1.4398</c:v>
                </c:pt>
                <c:pt idx="3585">
                  <c:v>2.57165</c:v>
                </c:pt>
                <c:pt idx="3586">
                  <c:v>#N/A</c:v>
                </c:pt>
                <c:pt idx="3587">
                  <c:v>2.3493200000000001</c:v>
                </c:pt>
                <c:pt idx="3588">
                  <c:v>2.43872</c:v>
                </c:pt>
                <c:pt idx="3589">
                  <c:v>#N/A</c:v>
                </c:pt>
                <c:pt idx="3590">
                  <c:v>2.5696599999999998</c:v>
                </c:pt>
                <c:pt idx="3591">
                  <c:v>2.85331</c:v>
                </c:pt>
                <c:pt idx="3592">
                  <c:v>2.7668900000000001</c:v>
                </c:pt>
                <c:pt idx="3593">
                  <c:v>#N/A</c:v>
                </c:pt>
                <c:pt idx="3594">
                  <c:v>1.91086</c:v>
                </c:pt>
                <c:pt idx="3595">
                  <c:v>1.6822600000000001</c:v>
                </c:pt>
                <c:pt idx="3596">
                  <c:v>2.4065500000000002</c:v>
                </c:pt>
                <c:pt idx="3597">
                  <c:v>#N/A</c:v>
                </c:pt>
                <c:pt idx="3598">
                  <c:v>2.56134</c:v>
                </c:pt>
                <c:pt idx="3599">
                  <c:v>3.01268</c:v>
                </c:pt>
                <c:pt idx="3600">
                  <c:v>#N/A</c:v>
                </c:pt>
                <c:pt idx="3601">
                  <c:v>2.45499</c:v>
                </c:pt>
                <c:pt idx="3602">
                  <c:v>2.5497200000000002</c:v>
                </c:pt>
                <c:pt idx="3603">
                  <c:v>#N/A</c:v>
                </c:pt>
                <c:pt idx="3604">
                  <c:v>1.9864200000000001</c:v>
                </c:pt>
                <c:pt idx="3605">
                  <c:v>2.1043799999999999</c:v>
                </c:pt>
                <c:pt idx="3606">
                  <c:v>#N/A</c:v>
                </c:pt>
                <c:pt idx="3607">
                  <c:v>2.37791</c:v>
                </c:pt>
                <c:pt idx="3608">
                  <c:v>2.9353600000000002</c:v>
                </c:pt>
                <c:pt idx="3609">
                  <c:v>#N/A</c:v>
                </c:pt>
                <c:pt idx="3610">
                  <c:v>3.0068899999999998</c:v>
                </c:pt>
                <c:pt idx="3611">
                  <c:v>2.6936200000000001</c:v>
                </c:pt>
                <c:pt idx="3612">
                  <c:v>2.3554200000000001</c:v>
                </c:pt>
                <c:pt idx="3613">
                  <c:v>#N/A</c:v>
                </c:pt>
                <c:pt idx="3614">
                  <c:v>2.1185900000000002</c:v>
                </c:pt>
                <c:pt idx="3615">
                  <c:v>2.4900600000000002</c:v>
                </c:pt>
                <c:pt idx="3616">
                  <c:v>2.4561899999999999</c:v>
                </c:pt>
                <c:pt idx="3617">
                  <c:v>#N/A</c:v>
                </c:pt>
                <c:pt idx="3618">
                  <c:v>2.6469299999999998</c:v>
                </c:pt>
                <c:pt idx="3619">
                  <c:v>2.6697700000000002</c:v>
                </c:pt>
                <c:pt idx="3620">
                  <c:v>#N/A</c:v>
                </c:pt>
                <c:pt idx="3621">
                  <c:v>2.8473799999999998</c:v>
                </c:pt>
                <c:pt idx="3622">
                  <c:v>2.0889199999999999</c:v>
                </c:pt>
                <c:pt idx="3623">
                  <c:v>1.71628</c:v>
                </c:pt>
                <c:pt idx="3624">
                  <c:v>#N/A</c:v>
                </c:pt>
                <c:pt idx="3625">
                  <c:v>1.6536500000000001</c:v>
                </c:pt>
                <c:pt idx="3626">
                  <c:v>1.9774799999999999</c:v>
                </c:pt>
                <c:pt idx="3627">
                  <c:v>3.0579399999999999</c:v>
                </c:pt>
                <c:pt idx="3628">
                  <c:v>#N/A</c:v>
                </c:pt>
                <c:pt idx="3629">
                  <c:v>3.5203000000000002</c:v>
                </c:pt>
                <c:pt idx="3630">
                  <c:v>3.49153</c:v>
                </c:pt>
                <c:pt idx="3631">
                  <c:v>3.0655999999999999</c:v>
                </c:pt>
                <c:pt idx="3632">
                  <c:v>#N/A</c:v>
                </c:pt>
                <c:pt idx="3633">
                  <c:v>2.9016899999999999</c:v>
                </c:pt>
                <c:pt idx="3634">
                  <c:v>2.4758900000000001</c:v>
                </c:pt>
                <c:pt idx="3635">
                  <c:v>1.9175500000000001</c:v>
                </c:pt>
                <c:pt idx="3636">
                  <c:v>#N/A</c:v>
                </c:pt>
                <c:pt idx="3637">
                  <c:v>2.16805</c:v>
                </c:pt>
                <c:pt idx="3638">
                  <c:v>2.9192300000000002</c:v>
                </c:pt>
                <c:pt idx="3639">
                  <c:v>#N/A</c:v>
                </c:pt>
                <c:pt idx="3640">
                  <c:v>3.6406499999999999</c:v>
                </c:pt>
                <c:pt idx="3641">
                  <c:v>3.0354100000000002</c:v>
                </c:pt>
                <c:pt idx="3642">
                  <c:v>2.6536499999999998</c:v>
                </c:pt>
                <c:pt idx="3643">
                  <c:v>#N/A</c:v>
                </c:pt>
                <c:pt idx="3644">
                  <c:v>2.0300600000000002</c:v>
                </c:pt>
                <c:pt idx="3645">
                  <c:v>1.5028900000000001</c:v>
                </c:pt>
                <c:pt idx="3646">
                  <c:v>2.0098699999999998</c:v>
                </c:pt>
                <c:pt idx="3647">
                  <c:v>#N/A</c:v>
                </c:pt>
                <c:pt idx="3648">
                  <c:v>2.01844</c:v>
                </c:pt>
                <c:pt idx="3649">
                  <c:v>2.7882899999999999</c:v>
                </c:pt>
                <c:pt idx="3650">
                  <c:v>3.2074600000000002</c:v>
                </c:pt>
                <c:pt idx="3651">
                  <c:v>#N/A</c:v>
                </c:pt>
                <c:pt idx="3652">
                  <c:v>3.7145700000000001</c:v>
                </c:pt>
                <c:pt idx="3653">
                  <c:v>2.9009299999999998</c:v>
                </c:pt>
                <c:pt idx="3654">
                  <c:v>2.45844</c:v>
                </c:pt>
                <c:pt idx="3655">
                  <c:v>#N/A</c:v>
                </c:pt>
                <c:pt idx="3656">
                  <c:v>2.2051500000000002</c:v>
                </c:pt>
                <c:pt idx="3657">
                  <c:v>2.0152199999999998</c:v>
                </c:pt>
                <c:pt idx="3658">
                  <c:v>2.0421800000000001</c:v>
                </c:pt>
                <c:pt idx="3659">
                  <c:v>#N/A</c:v>
                </c:pt>
                <c:pt idx="3660">
                  <c:v>2.6777500000000001</c:v>
                </c:pt>
                <c:pt idx="3661">
                  <c:v>2.7460800000000001</c:v>
                </c:pt>
                <c:pt idx="3662">
                  <c:v>#N/A</c:v>
                </c:pt>
                <c:pt idx="3663">
                  <c:v>3.0662500000000001</c:v>
                </c:pt>
                <c:pt idx="3664">
                  <c:v>3.1463299999999998</c:v>
                </c:pt>
                <c:pt idx="3665">
                  <c:v>2.5942500000000002</c:v>
                </c:pt>
                <c:pt idx="3666">
                  <c:v>#N/A</c:v>
                </c:pt>
                <c:pt idx="3667">
                  <c:v>2.0209600000000001</c:v>
                </c:pt>
                <c:pt idx="3668">
                  <c:v>2.12921</c:v>
                </c:pt>
                <c:pt idx="3669">
                  <c:v>2.8349299999999999</c:v>
                </c:pt>
                <c:pt idx="3670">
                  <c:v>#N/A</c:v>
                </c:pt>
                <c:pt idx="3671">
                  <c:v>3.4535</c:v>
                </c:pt>
                <c:pt idx="3672">
                  <c:v>3.80071</c:v>
                </c:pt>
                <c:pt idx="3673">
                  <c:v>3.14161</c:v>
                </c:pt>
                <c:pt idx="3674">
                  <c:v>#N/A</c:v>
                </c:pt>
                <c:pt idx="3675">
                  <c:v>#N/A</c:v>
                </c:pt>
                <c:pt idx="3676">
                  <c:v>2.8367900000000001</c:v>
                </c:pt>
                <c:pt idx="3677">
                  <c:v>2.4588199999999998</c:v>
                </c:pt>
                <c:pt idx="3678">
                  <c:v>2.7069399999999999</c:v>
                </c:pt>
                <c:pt idx="3679">
                  <c:v>#N/A</c:v>
                </c:pt>
                <c:pt idx="3680">
                  <c:v>2.7936700000000001</c:v>
                </c:pt>
                <c:pt idx="3681">
                  <c:v>2.8004500000000001</c:v>
                </c:pt>
                <c:pt idx="3682">
                  <c:v>2.8357299999999999</c:v>
                </c:pt>
                <c:pt idx="3683">
                  <c:v>#N/A</c:v>
                </c:pt>
                <c:pt idx="3684">
                  <c:v>2.5618400000000001</c:v>
                </c:pt>
                <c:pt idx="3685">
                  <c:v>2.5124300000000002</c:v>
                </c:pt>
                <c:pt idx="3686">
                  <c:v>2.0253299999999999</c:v>
                </c:pt>
                <c:pt idx="3687">
                  <c:v>#N/A</c:v>
                </c:pt>
                <c:pt idx="3688">
                  <c:v>2.0922000000000001</c:v>
                </c:pt>
                <c:pt idx="3689">
                  <c:v>2.0290499999999998</c:v>
                </c:pt>
                <c:pt idx="3690">
                  <c:v>2.7185800000000002</c:v>
                </c:pt>
                <c:pt idx="3691">
                  <c:v>#N/A</c:v>
                </c:pt>
                <c:pt idx="3692">
                  <c:v>3.7062300000000001</c:v>
                </c:pt>
                <c:pt idx="3693">
                  <c:v>3.5678999999999998</c:v>
                </c:pt>
                <c:pt idx="3694">
                  <c:v>2.9632800000000001</c:v>
                </c:pt>
                <c:pt idx="3695">
                  <c:v>#N/A</c:v>
                </c:pt>
                <c:pt idx="3696">
                  <c:v>2.6157699999999999</c:v>
                </c:pt>
                <c:pt idx="3697">
                  <c:v>2.1319400000000002</c:v>
                </c:pt>
                <c:pt idx="3698">
                  <c:v>#N/A</c:v>
                </c:pt>
                <c:pt idx="3699">
                  <c:v>2.4866199999999998</c:v>
                </c:pt>
                <c:pt idx="3700">
                  <c:v>2.8217599999999998</c:v>
                </c:pt>
                <c:pt idx="3701">
                  <c:v>2.93757</c:v>
                </c:pt>
                <c:pt idx="3702">
                  <c:v>#N/A</c:v>
                </c:pt>
                <c:pt idx="3703">
                  <c:v>3.2825899999999999</c:v>
                </c:pt>
                <c:pt idx="3704">
                  <c:v>3.0146600000000001</c:v>
                </c:pt>
                <c:pt idx="3705">
                  <c:v>2.6742499999999998</c:v>
                </c:pt>
                <c:pt idx="3706">
                  <c:v>#N/A</c:v>
                </c:pt>
                <c:pt idx="3707">
                  <c:v>2.2160199999999999</c:v>
                </c:pt>
                <c:pt idx="3708">
                  <c:v>1.7470399999999999</c:v>
                </c:pt>
                <c:pt idx="3709">
                  <c:v>2.3553600000000001</c:v>
                </c:pt>
                <c:pt idx="3710">
                  <c:v>#N/A</c:v>
                </c:pt>
                <c:pt idx="3711">
                  <c:v>2.77826</c:v>
                </c:pt>
                <c:pt idx="3712">
                  <c:v>2.96218</c:v>
                </c:pt>
                <c:pt idx="3713">
                  <c:v>3.2852800000000002</c:v>
                </c:pt>
                <c:pt idx="3714">
                  <c:v>#N/A</c:v>
                </c:pt>
                <c:pt idx="3715">
                  <c:v>3.34964</c:v>
                </c:pt>
                <c:pt idx="3716">
                  <c:v>2.7804500000000001</c:v>
                </c:pt>
                <c:pt idx="3717">
                  <c:v>2.3410600000000001</c:v>
                </c:pt>
                <c:pt idx="3718">
                  <c:v>#N/A</c:v>
                </c:pt>
                <c:pt idx="3719">
                  <c:v>1.83826</c:v>
                </c:pt>
                <c:pt idx="3720">
                  <c:v>2.0902799999999999</c:v>
                </c:pt>
                <c:pt idx="3721">
                  <c:v>#N/A</c:v>
                </c:pt>
                <c:pt idx="3722">
                  <c:v>2.5422899999999999</c:v>
                </c:pt>
                <c:pt idx="3723">
                  <c:v>3.2649300000000001</c:v>
                </c:pt>
                <c:pt idx="3724">
                  <c:v>3.1411899999999999</c:v>
                </c:pt>
                <c:pt idx="3725">
                  <c:v>#N/A</c:v>
                </c:pt>
                <c:pt idx="3726">
                  <c:v>2.9378099999999998</c:v>
                </c:pt>
                <c:pt idx="3727">
                  <c:v>2.2288899999999998</c:v>
                </c:pt>
                <c:pt idx="3728">
                  <c:v>2.2126700000000001</c:v>
                </c:pt>
                <c:pt idx="3729">
                  <c:v>#N/A</c:v>
                </c:pt>
                <c:pt idx="3730">
                  <c:v>1.73546</c:v>
                </c:pt>
                <c:pt idx="3731">
                  <c:v>2.3366699999999998</c:v>
                </c:pt>
                <c:pt idx="3732">
                  <c:v>2.9015</c:v>
                </c:pt>
                <c:pt idx="3733">
                  <c:v>#N/A</c:v>
                </c:pt>
                <c:pt idx="3734">
                  <c:v>3.1477599999999999</c:v>
                </c:pt>
                <c:pt idx="3735">
                  <c:v>3.35311</c:v>
                </c:pt>
                <c:pt idx="3736">
                  <c:v>#N/A</c:v>
                </c:pt>
                <c:pt idx="3737">
                  <c:v>3.2208899999999998</c:v>
                </c:pt>
                <c:pt idx="3738">
                  <c:v>2.5758200000000002</c:v>
                </c:pt>
                <c:pt idx="3739">
                  <c:v>2.3732000000000002</c:v>
                </c:pt>
                <c:pt idx="3740">
                  <c:v>#N/A</c:v>
                </c:pt>
                <c:pt idx="3741">
                  <c:v>3.0142600000000002</c:v>
                </c:pt>
                <c:pt idx="3742">
                  <c:v>2.5643699999999998</c:v>
                </c:pt>
                <c:pt idx="3743">
                  <c:v>3.0364599999999999</c:v>
                </c:pt>
                <c:pt idx="3744">
                  <c:v>#N/A</c:v>
                </c:pt>
                <c:pt idx="3745">
                  <c:v>2.4386199999999998</c:v>
                </c:pt>
                <c:pt idx="3746">
                  <c:v>3.2164100000000002</c:v>
                </c:pt>
                <c:pt idx="3747">
                  <c:v>2.7626400000000002</c:v>
                </c:pt>
                <c:pt idx="3748">
                  <c:v>#N/A</c:v>
                </c:pt>
                <c:pt idx="3749">
                  <c:v>2.9876999999999998</c:v>
                </c:pt>
                <c:pt idx="3750">
                  <c:v>2.4356900000000001</c:v>
                </c:pt>
                <c:pt idx="3751">
                  <c:v>2.4079199999999998</c:v>
                </c:pt>
                <c:pt idx="3752">
                  <c:v>#N/A</c:v>
                </c:pt>
                <c:pt idx="3753">
                  <c:v>2.7910499999999998</c:v>
                </c:pt>
                <c:pt idx="3754">
                  <c:v>3.0477400000000001</c:v>
                </c:pt>
                <c:pt idx="3755">
                  <c:v>3.4401099999999998</c:v>
                </c:pt>
                <c:pt idx="3756">
                  <c:v>#N/A</c:v>
                </c:pt>
                <c:pt idx="3757">
                  <c:v>3.2221199999999999</c:v>
                </c:pt>
                <c:pt idx="3758">
                  <c:v>2.85433</c:v>
                </c:pt>
                <c:pt idx="3759">
                  <c:v>2.54067</c:v>
                </c:pt>
                <c:pt idx="3760">
                  <c:v>#N/A</c:v>
                </c:pt>
                <c:pt idx="3761">
                  <c:v>2.7734399999999999</c:v>
                </c:pt>
                <c:pt idx="3762">
                  <c:v>2.7873000000000001</c:v>
                </c:pt>
                <c:pt idx="3763">
                  <c:v>3.2795800000000002</c:v>
                </c:pt>
                <c:pt idx="3764">
                  <c:v>#N/A</c:v>
                </c:pt>
                <c:pt idx="3765">
                  <c:v>2.8577900000000001</c:v>
                </c:pt>
                <c:pt idx="3766">
                  <c:v>2.9892599999999998</c:v>
                </c:pt>
                <c:pt idx="3767">
                  <c:v>#N/A</c:v>
                </c:pt>
                <c:pt idx="3768">
                  <c:v>2.5711900000000001</c:v>
                </c:pt>
                <c:pt idx="3769">
                  <c:v>2.3268300000000002</c:v>
                </c:pt>
                <c:pt idx="3770">
                  <c:v>2.18838</c:v>
                </c:pt>
                <c:pt idx="3771">
                  <c:v>#N/A</c:v>
                </c:pt>
                <c:pt idx="3772">
                  <c:v>2.25807</c:v>
                </c:pt>
                <c:pt idx="3773">
                  <c:v>2.3068499999999998</c:v>
                </c:pt>
                <c:pt idx="3774">
                  <c:v>3.0702799999999999</c:v>
                </c:pt>
                <c:pt idx="3775">
                  <c:v>#N/A</c:v>
                </c:pt>
                <c:pt idx="3776">
                  <c:v>3.5234700000000001</c:v>
                </c:pt>
                <c:pt idx="3777">
                  <c:v>3.7136999999999998</c:v>
                </c:pt>
                <c:pt idx="3778">
                  <c:v>2.9910399999999999</c:v>
                </c:pt>
                <c:pt idx="3779">
                  <c:v>#N/A</c:v>
                </c:pt>
                <c:pt idx="3780">
                  <c:v>2.5191400000000002</c:v>
                </c:pt>
                <c:pt idx="3781">
                  <c:v>2.1636799999999998</c:v>
                </c:pt>
                <c:pt idx="3782">
                  <c:v>#N/A</c:v>
                </c:pt>
                <c:pt idx="3783">
                  <c:v>2.32551</c:v>
                </c:pt>
                <c:pt idx="3784">
                  <c:v>2.7437299999999998</c:v>
                </c:pt>
                <c:pt idx="3785">
                  <c:v>2.9709099999999999</c:v>
                </c:pt>
                <c:pt idx="3786">
                  <c:v>#N/A</c:v>
                </c:pt>
                <c:pt idx="3787">
                  <c:v>3.5355799999999999</c:v>
                </c:pt>
                <c:pt idx="3788">
                  <c:v>3.6465999999999998</c:v>
                </c:pt>
                <c:pt idx="3789">
                  <c:v>3.3950399999999998</c:v>
                </c:pt>
                <c:pt idx="3790">
                  <c:v>#N/A</c:v>
                </c:pt>
                <c:pt idx="3791">
                  <c:v>1.9899500000000001</c:v>
                </c:pt>
                <c:pt idx="3792">
                  <c:v>1.6980299999999999</c:v>
                </c:pt>
                <c:pt idx="3793">
                  <c:v>1.9994700000000001</c:v>
                </c:pt>
                <c:pt idx="3794">
                  <c:v>#N/A</c:v>
                </c:pt>
                <c:pt idx="3795">
                  <c:v>2.6705899999999998</c:v>
                </c:pt>
                <c:pt idx="3796">
                  <c:v>3.26362</c:v>
                </c:pt>
                <c:pt idx="3797">
                  <c:v>3.4852400000000001</c:v>
                </c:pt>
                <c:pt idx="3798">
                  <c:v>#N/A</c:v>
                </c:pt>
                <c:pt idx="3799">
                  <c:v>2.9068200000000002</c:v>
                </c:pt>
                <c:pt idx="3800">
                  <c:v>2.3991199999999999</c:v>
                </c:pt>
                <c:pt idx="3801">
                  <c:v>2.5142899999999999</c:v>
                </c:pt>
                <c:pt idx="3802">
                  <c:v>#N/A</c:v>
                </c:pt>
                <c:pt idx="3803">
                  <c:v>2.2460399999999998</c:v>
                </c:pt>
                <c:pt idx="3804">
                  <c:v>2.5321400000000001</c:v>
                </c:pt>
                <c:pt idx="3805">
                  <c:v>2.7145700000000001</c:v>
                </c:pt>
                <c:pt idx="3806">
                  <c:v>#N/A</c:v>
                </c:pt>
                <c:pt idx="3807">
                  <c:v>3.1705299999999998</c:v>
                </c:pt>
                <c:pt idx="3808">
                  <c:v>3.1387399999999999</c:v>
                </c:pt>
                <c:pt idx="3809">
                  <c:v>3.1743600000000001</c:v>
                </c:pt>
                <c:pt idx="3810">
                  <c:v>#N/A</c:v>
                </c:pt>
                <c:pt idx="3811">
                  <c:v>2.7627600000000001</c:v>
                </c:pt>
                <c:pt idx="3812">
                  <c:v>2.6193</c:v>
                </c:pt>
                <c:pt idx="3813">
                  <c:v>#N/A</c:v>
                </c:pt>
                <c:pt idx="3814">
                  <c:v>2.0198100000000001</c:v>
                </c:pt>
                <c:pt idx="3815">
                  <c:v>2.2358600000000002</c:v>
                </c:pt>
                <c:pt idx="3816">
                  <c:v>2.94136</c:v>
                </c:pt>
                <c:pt idx="3817">
                  <c:v>#N/A</c:v>
                </c:pt>
                <c:pt idx="3818">
                  <c:v>3.3890699999999998</c:v>
                </c:pt>
                <c:pt idx="3819">
                  <c:v>2.8237700000000001</c:v>
                </c:pt>
                <c:pt idx="3820">
                  <c:v>3.2642699999999998</c:v>
                </c:pt>
                <c:pt idx="3821">
                  <c:v>#N/A</c:v>
                </c:pt>
                <c:pt idx="3822">
                  <c:v>2.8828499999999999</c:v>
                </c:pt>
                <c:pt idx="3823">
                  <c:v>2.9319299999999999</c:v>
                </c:pt>
                <c:pt idx="3824">
                  <c:v>#N/A</c:v>
                </c:pt>
                <c:pt idx="3825">
                  <c:v>2.8273100000000002</c:v>
                </c:pt>
                <c:pt idx="3826">
                  <c:v>#N/A</c:v>
                </c:pt>
                <c:pt idx="3827">
                  <c:v>2.79915</c:v>
                </c:pt>
                <c:pt idx="3828">
                  <c:v>2.8693399999999998</c:v>
                </c:pt>
                <c:pt idx="3829">
                  <c:v>#N/A</c:v>
                </c:pt>
                <c:pt idx="3830">
                  <c:v>2.98976</c:v>
                </c:pt>
                <c:pt idx="3831">
                  <c:v>2.48746</c:v>
                </c:pt>
                <c:pt idx="3832">
                  <c:v>2.51423</c:v>
                </c:pt>
                <c:pt idx="3833">
                  <c:v>#N/A</c:v>
                </c:pt>
                <c:pt idx="3834">
                  <c:v>2.2277300000000002</c:v>
                </c:pt>
                <c:pt idx="3835">
                  <c:v>1.9224300000000001</c:v>
                </c:pt>
                <c:pt idx="3836">
                  <c:v>2.4403800000000002</c:v>
                </c:pt>
                <c:pt idx="3837">
                  <c:v>#N/A</c:v>
                </c:pt>
                <c:pt idx="3838">
                  <c:v>3.0746099999999998</c:v>
                </c:pt>
                <c:pt idx="3839">
                  <c:v>3.03403</c:v>
                </c:pt>
                <c:pt idx="3840">
                  <c:v>#N/A</c:v>
                </c:pt>
                <c:pt idx="3841">
                  <c:v>2.7787299999999999</c:v>
                </c:pt>
                <c:pt idx="3842">
                  <c:v>2.5125700000000002</c:v>
                </c:pt>
                <c:pt idx="3843">
                  <c:v>1.70404</c:v>
                </c:pt>
                <c:pt idx="3844">
                  <c:v>#N/A</c:v>
                </c:pt>
                <c:pt idx="3845">
                  <c:v>2.0668099999999998</c:v>
                </c:pt>
                <c:pt idx="3846">
                  <c:v>2.5245700000000002</c:v>
                </c:pt>
                <c:pt idx="3847">
                  <c:v>3.32518</c:v>
                </c:pt>
                <c:pt idx="3848">
                  <c:v>#N/A</c:v>
                </c:pt>
                <c:pt idx="3849">
                  <c:v>3.8087599999999999</c:v>
                </c:pt>
                <c:pt idx="3850">
                  <c:v>3.8174299999999999</c:v>
                </c:pt>
                <c:pt idx="3851">
                  <c:v>#N/A</c:v>
                </c:pt>
                <c:pt idx="3852">
                  <c:v>2.9248599999999998</c:v>
                </c:pt>
                <c:pt idx="3853">
                  <c:v>2.51024</c:v>
                </c:pt>
                <c:pt idx="3854">
                  <c:v>1.9962599999999999</c:v>
                </c:pt>
                <c:pt idx="3855">
                  <c:v>#N/A</c:v>
                </c:pt>
                <c:pt idx="3856">
                  <c:v>2.4067699999999999</c:v>
                </c:pt>
                <c:pt idx="3857">
                  <c:v>2.8729499999999999</c:v>
                </c:pt>
                <c:pt idx="3858">
                  <c:v>3.74383</c:v>
                </c:pt>
                <c:pt idx="3859">
                  <c:v>#N/A</c:v>
                </c:pt>
                <c:pt idx="3860">
                  <c:v>4.0984299999999996</c:v>
                </c:pt>
                <c:pt idx="3861">
                  <c:v>3.7799399999999999</c:v>
                </c:pt>
                <c:pt idx="3862">
                  <c:v>3.0017299999999998</c:v>
                </c:pt>
                <c:pt idx="3863">
                  <c:v>#N/A</c:v>
                </c:pt>
                <c:pt idx="3864">
                  <c:v>2.6950099999999999</c:v>
                </c:pt>
                <c:pt idx="3865">
                  <c:v>2.37845</c:v>
                </c:pt>
                <c:pt idx="3866">
                  <c:v>1.79376</c:v>
                </c:pt>
                <c:pt idx="3867">
                  <c:v>#N/A</c:v>
                </c:pt>
                <c:pt idx="3868">
                  <c:v>2.03782</c:v>
                </c:pt>
                <c:pt idx="3869">
                  <c:v>2.9719899999999999</c:v>
                </c:pt>
                <c:pt idx="3870">
                  <c:v>3.6569799999999999</c:v>
                </c:pt>
                <c:pt idx="3871">
                  <c:v>#N/A</c:v>
                </c:pt>
                <c:pt idx="3872">
                  <c:v>3.5647799999999998</c:v>
                </c:pt>
                <c:pt idx="3873">
                  <c:v>2.81331</c:v>
                </c:pt>
                <c:pt idx="3874">
                  <c:v>2.4156599999999999</c:v>
                </c:pt>
                <c:pt idx="3875">
                  <c:v>#N/A</c:v>
                </c:pt>
                <c:pt idx="3876">
                  <c:v>2.1077499999999998</c:v>
                </c:pt>
                <c:pt idx="3877">
                  <c:v>2.5112899999999998</c:v>
                </c:pt>
                <c:pt idx="3878">
                  <c:v>3.1552799999999999</c:v>
                </c:pt>
                <c:pt idx="3879">
                  <c:v>#N/A</c:v>
                </c:pt>
                <c:pt idx="3880">
                  <c:v>3.6452599999999999</c:v>
                </c:pt>
                <c:pt idx="3881">
                  <c:v>4.0091299999999999</c:v>
                </c:pt>
                <c:pt idx="3882">
                  <c:v>#N/A</c:v>
                </c:pt>
                <c:pt idx="3883">
                  <c:v>3.6375199999999999</c:v>
                </c:pt>
                <c:pt idx="3884">
                  <c:v>3.0910199999999999</c:v>
                </c:pt>
                <c:pt idx="3885">
                  <c:v>2.6379899999999998</c:v>
                </c:pt>
                <c:pt idx="3886">
                  <c:v>#N/A</c:v>
                </c:pt>
                <c:pt idx="3887">
                  <c:v>2.5761500000000002</c:v>
                </c:pt>
                <c:pt idx="3888">
                  <c:v>2.39371</c:v>
                </c:pt>
                <c:pt idx="3889">
                  <c:v>2.8672900000000001</c:v>
                </c:pt>
                <c:pt idx="3890">
                  <c:v>#N/A</c:v>
                </c:pt>
                <c:pt idx="3891">
                  <c:v>3.1966800000000002</c:v>
                </c:pt>
                <c:pt idx="3892">
                  <c:v>2.9851899999999998</c:v>
                </c:pt>
                <c:pt idx="3893">
                  <c:v>2.9167200000000002</c:v>
                </c:pt>
                <c:pt idx="3894">
                  <c:v>#N/A</c:v>
                </c:pt>
                <c:pt idx="3895">
                  <c:v>3.1715499999999999</c:v>
                </c:pt>
                <c:pt idx="3896">
                  <c:v>2.3768199999999999</c:v>
                </c:pt>
                <c:pt idx="3897">
                  <c:v>2.56297</c:v>
                </c:pt>
                <c:pt idx="3898">
                  <c:v>#N/A</c:v>
                </c:pt>
                <c:pt idx="3899">
                  <c:v>2.7390099999999999</c:v>
                </c:pt>
                <c:pt idx="3900">
                  <c:v>2.8227099999999998</c:v>
                </c:pt>
                <c:pt idx="3901">
                  <c:v>3.1683500000000002</c:v>
                </c:pt>
                <c:pt idx="3902">
                  <c:v>#N/A</c:v>
                </c:pt>
                <c:pt idx="3903">
                  <c:v>2.7007099999999999</c:v>
                </c:pt>
                <c:pt idx="3904">
                  <c:v>2.6923300000000001</c:v>
                </c:pt>
                <c:pt idx="3905">
                  <c:v>2.6158399999999999</c:v>
                </c:pt>
                <c:pt idx="3906">
                  <c:v>#N/A</c:v>
                </c:pt>
                <c:pt idx="3907">
                  <c:v>3.11307</c:v>
                </c:pt>
                <c:pt idx="3908">
                  <c:v>3.1952199999999999</c:v>
                </c:pt>
                <c:pt idx="3909">
                  <c:v>#N/A</c:v>
                </c:pt>
                <c:pt idx="3910">
                  <c:v>3.08121</c:v>
                </c:pt>
                <c:pt idx="3911">
                  <c:v>2.9685800000000002</c:v>
                </c:pt>
                <c:pt idx="3912">
                  <c:v>2.5834899999999998</c:v>
                </c:pt>
                <c:pt idx="3913">
                  <c:v>#N/A</c:v>
                </c:pt>
                <c:pt idx="3914">
                  <c:v>3.3721399999999999</c:v>
                </c:pt>
                <c:pt idx="3915">
                  <c:v>2.33182</c:v>
                </c:pt>
                <c:pt idx="3916">
                  <c:v>2.4742999999999999</c:v>
                </c:pt>
                <c:pt idx="3917">
                  <c:v>#N/A</c:v>
                </c:pt>
                <c:pt idx="3918">
                  <c:v>2.59612</c:v>
                </c:pt>
                <c:pt idx="3919">
                  <c:v>2.56914</c:v>
                </c:pt>
                <c:pt idx="3920">
                  <c:v>2.9821</c:v>
                </c:pt>
                <c:pt idx="3921">
                  <c:v>#N/A</c:v>
                </c:pt>
                <c:pt idx="3922">
                  <c:v>3.2437499999999999</c:v>
                </c:pt>
                <c:pt idx="3923">
                  <c:v>3.0150600000000001</c:v>
                </c:pt>
                <c:pt idx="3924">
                  <c:v>2.4880300000000002</c:v>
                </c:pt>
                <c:pt idx="3925">
                  <c:v>#N/A</c:v>
                </c:pt>
                <c:pt idx="3926">
                  <c:v>2.8997099999999998</c:v>
                </c:pt>
                <c:pt idx="3927">
                  <c:v>2.2034699999999998</c:v>
                </c:pt>
                <c:pt idx="3928">
                  <c:v>2.3980700000000001</c:v>
                </c:pt>
                <c:pt idx="3929">
                  <c:v>#N/A</c:v>
                </c:pt>
                <c:pt idx="3930">
                  <c:v>2.46292</c:v>
                </c:pt>
                <c:pt idx="3931">
                  <c:v>3.0828500000000001</c:v>
                </c:pt>
                <c:pt idx="3932">
                  <c:v>3.2345000000000002</c:v>
                </c:pt>
                <c:pt idx="3933">
                  <c:v>#N/A</c:v>
                </c:pt>
                <c:pt idx="3934">
                  <c:v>2.94556</c:v>
                </c:pt>
                <c:pt idx="3935">
                  <c:v>3.0396200000000002</c:v>
                </c:pt>
                <c:pt idx="3936">
                  <c:v>2.5844399999999998</c:v>
                </c:pt>
                <c:pt idx="3937">
                  <c:v>#N/A</c:v>
                </c:pt>
                <c:pt idx="3938">
                  <c:v>2.5218600000000002</c:v>
                </c:pt>
                <c:pt idx="3939">
                  <c:v>2.1899500000000001</c:v>
                </c:pt>
                <c:pt idx="3940">
                  <c:v>2.2189100000000002</c:v>
                </c:pt>
                <c:pt idx="3941">
                  <c:v>#N/A</c:v>
                </c:pt>
                <c:pt idx="3942">
                  <c:v>2.9279199999999999</c:v>
                </c:pt>
                <c:pt idx="3943">
                  <c:v>3.62344</c:v>
                </c:pt>
                <c:pt idx="3944">
                  <c:v>#N/A</c:v>
                </c:pt>
                <c:pt idx="3945">
                  <c:v>3.6625700000000001</c:v>
                </c:pt>
                <c:pt idx="3946">
                  <c:v>3.48997</c:v>
                </c:pt>
                <c:pt idx="3947">
                  <c:v>2.5327099999999998</c:v>
                </c:pt>
                <c:pt idx="3948">
                  <c:v>#N/A</c:v>
                </c:pt>
                <c:pt idx="3949">
                  <c:v>1.9195599999999999</c:v>
                </c:pt>
                <c:pt idx="3950">
                  <c:v>1.8447800000000001</c:v>
                </c:pt>
                <c:pt idx="3951">
                  <c:v>2.0490400000000002</c:v>
                </c:pt>
                <c:pt idx="3952">
                  <c:v>#N/A</c:v>
                </c:pt>
                <c:pt idx="3953">
                  <c:v>2.8158799999999999</c:v>
                </c:pt>
                <c:pt idx="3954">
                  <c:v>2.6761400000000002</c:v>
                </c:pt>
                <c:pt idx="3955">
                  <c:v>3.2852299999999999</c:v>
                </c:pt>
                <c:pt idx="3956">
                  <c:v>#N/A</c:v>
                </c:pt>
                <c:pt idx="3957">
                  <c:v>2.75983</c:v>
                </c:pt>
                <c:pt idx="3958">
                  <c:v>2.0010699999999999</c:v>
                </c:pt>
                <c:pt idx="3959">
                  <c:v>1.7926299999999999</c:v>
                </c:pt>
                <c:pt idx="3960">
                  <c:v>#N/A</c:v>
                </c:pt>
                <c:pt idx="3961">
                  <c:v>2.3125300000000002</c:v>
                </c:pt>
                <c:pt idx="3962">
                  <c:v>2.4300600000000001</c:v>
                </c:pt>
                <c:pt idx="3963">
                  <c:v>2.88089</c:v>
                </c:pt>
                <c:pt idx="3964">
                  <c:v>#N/A</c:v>
                </c:pt>
                <c:pt idx="3965">
                  <c:v>3.5207600000000001</c:v>
                </c:pt>
                <c:pt idx="3966">
                  <c:v>3.1645599999999998</c:v>
                </c:pt>
                <c:pt idx="3967">
                  <c:v>3.76763</c:v>
                </c:pt>
                <c:pt idx="3968">
                  <c:v>#N/A</c:v>
                </c:pt>
                <c:pt idx="3969">
                  <c:v>3.0269499999999998</c:v>
                </c:pt>
                <c:pt idx="3970">
                  <c:v>2.6288800000000001</c:v>
                </c:pt>
                <c:pt idx="3971">
                  <c:v>2.3586999999999998</c:v>
                </c:pt>
                <c:pt idx="3972">
                  <c:v>#N/A</c:v>
                </c:pt>
                <c:pt idx="3973">
                  <c:v>3.0687899999999999</c:v>
                </c:pt>
                <c:pt idx="3974">
                  <c:v>#N/A</c:v>
                </c:pt>
                <c:pt idx="3975">
                  <c:v>2.5623100000000001</c:v>
                </c:pt>
                <c:pt idx="3976">
                  <c:v>#N/A</c:v>
                </c:pt>
                <c:pt idx="3977">
                  <c:v>2.1765300000000001</c:v>
                </c:pt>
                <c:pt idx="3978">
                  <c:v>1.7570600000000001</c:v>
                </c:pt>
                <c:pt idx="3979">
                  <c:v>#N/A</c:v>
                </c:pt>
                <c:pt idx="3980">
                  <c:v>2.34571</c:v>
                </c:pt>
                <c:pt idx="3981">
                  <c:v>2.03213</c:v>
                </c:pt>
                <c:pt idx="3982">
                  <c:v>#N/A</c:v>
                </c:pt>
                <c:pt idx="3983">
                  <c:v>2.6152099999999998</c:v>
                </c:pt>
                <c:pt idx="3984">
                  <c:v>3.0049299999999999</c:v>
                </c:pt>
                <c:pt idx="3985">
                  <c:v>2.9881199999999999</c:v>
                </c:pt>
                <c:pt idx="3986">
                  <c:v>#N/A</c:v>
                </c:pt>
                <c:pt idx="3987">
                  <c:v>3.3638499999999998</c:v>
                </c:pt>
                <c:pt idx="3988">
                  <c:v>2.9799199999999999</c:v>
                </c:pt>
                <c:pt idx="3989">
                  <c:v>2.5603199999999999</c:v>
                </c:pt>
                <c:pt idx="3990">
                  <c:v>#N/A</c:v>
                </c:pt>
                <c:pt idx="3991">
                  <c:v>2.3626200000000002</c:v>
                </c:pt>
                <c:pt idx="3992">
                  <c:v>2.8057099999999999</c:v>
                </c:pt>
                <c:pt idx="3993">
                  <c:v>3.2028400000000001</c:v>
                </c:pt>
                <c:pt idx="3994">
                  <c:v>#N/A</c:v>
                </c:pt>
                <c:pt idx="3995">
                  <c:v>2.89534</c:v>
                </c:pt>
                <c:pt idx="3996">
                  <c:v>3.07273</c:v>
                </c:pt>
                <c:pt idx="3997">
                  <c:v>2.9944799999999998</c:v>
                </c:pt>
                <c:pt idx="3998">
                  <c:v>#N/A</c:v>
                </c:pt>
                <c:pt idx="3999">
                  <c:v>2.97072</c:v>
                </c:pt>
                <c:pt idx="4000">
                  <c:v>2.0386799999999998</c:v>
                </c:pt>
                <c:pt idx="4001">
                  <c:v>2.0260799999999999</c:v>
                </c:pt>
                <c:pt idx="4002">
                  <c:v>#N/A</c:v>
                </c:pt>
                <c:pt idx="4003">
                  <c:v>2.8447300000000002</c:v>
                </c:pt>
                <c:pt idx="4004">
                  <c:v>3.4618000000000002</c:v>
                </c:pt>
                <c:pt idx="4005">
                  <c:v>3.5215800000000002</c:v>
                </c:pt>
                <c:pt idx="4006">
                  <c:v>#N/A</c:v>
                </c:pt>
                <c:pt idx="4007">
                  <c:v>3.2913700000000001</c:v>
                </c:pt>
                <c:pt idx="4008">
                  <c:v>2.9899</c:v>
                </c:pt>
                <c:pt idx="4009">
                  <c:v>2.04745</c:v>
                </c:pt>
                <c:pt idx="4010">
                  <c:v>#N/A</c:v>
                </c:pt>
                <c:pt idx="4011">
                  <c:v>2.1466099999999999</c:v>
                </c:pt>
                <c:pt idx="4012">
                  <c:v>1.9796800000000001</c:v>
                </c:pt>
                <c:pt idx="4013">
                  <c:v>#N/A</c:v>
                </c:pt>
                <c:pt idx="4014">
                  <c:v>2.1810700000000001</c:v>
                </c:pt>
                <c:pt idx="4015">
                  <c:v>2.5360499999999999</c:v>
                </c:pt>
                <c:pt idx="4016">
                  <c:v>3.3774999999999999</c:v>
                </c:pt>
                <c:pt idx="4017">
                  <c:v>#N/A</c:v>
                </c:pt>
                <c:pt idx="4018">
                  <c:v>2.95546</c:v>
                </c:pt>
                <c:pt idx="4019">
                  <c:v>2.6081400000000001</c:v>
                </c:pt>
                <c:pt idx="4020">
                  <c:v>1.79261</c:v>
                </c:pt>
                <c:pt idx="4021">
                  <c:v>#N/A</c:v>
                </c:pt>
                <c:pt idx="4022">
                  <c:v>1.7668200000000001</c:v>
                </c:pt>
                <c:pt idx="4023">
                  <c:v>2.04834</c:v>
                </c:pt>
                <c:pt idx="4024">
                  <c:v>2.0286</c:v>
                </c:pt>
                <c:pt idx="4025">
                  <c:v>#N/A</c:v>
                </c:pt>
                <c:pt idx="4026">
                  <c:v>2.8162799999999999</c:v>
                </c:pt>
                <c:pt idx="4027">
                  <c:v>3.1698400000000002</c:v>
                </c:pt>
                <c:pt idx="4028">
                  <c:v>3.68818</c:v>
                </c:pt>
                <c:pt idx="4029">
                  <c:v>#N/A</c:v>
                </c:pt>
                <c:pt idx="4030">
                  <c:v>3.4123399999999999</c:v>
                </c:pt>
                <c:pt idx="4031">
                  <c:v>2.5888599999999999</c:v>
                </c:pt>
                <c:pt idx="4032">
                  <c:v>2.13443</c:v>
                </c:pt>
                <c:pt idx="4033">
                  <c:v>#N/A</c:v>
                </c:pt>
                <c:pt idx="4034">
                  <c:v>2.21299</c:v>
                </c:pt>
                <c:pt idx="4035">
                  <c:v>2.5250300000000001</c:v>
                </c:pt>
                <c:pt idx="4036">
                  <c:v>2.53342</c:v>
                </c:pt>
                <c:pt idx="4037">
                  <c:v>#N/A</c:v>
                </c:pt>
                <c:pt idx="4038">
                  <c:v>2.31894</c:v>
                </c:pt>
                <c:pt idx="4039">
                  <c:v>2.4567600000000001</c:v>
                </c:pt>
                <c:pt idx="4040">
                  <c:v>2.4841299999999999</c:v>
                </c:pt>
                <c:pt idx="4041">
                  <c:v>#N/A</c:v>
                </c:pt>
                <c:pt idx="4042">
                  <c:v>1.95807</c:v>
                </c:pt>
                <c:pt idx="4043">
                  <c:v>1.76475</c:v>
                </c:pt>
                <c:pt idx="4044">
                  <c:v>#N/A</c:v>
                </c:pt>
                <c:pt idx="4045">
                  <c:v>1.6728499999999999</c:v>
                </c:pt>
                <c:pt idx="4046">
                  <c:v>2.0504199999999999</c:v>
                </c:pt>
                <c:pt idx="4047">
                  <c:v>3.5279799999999999</c:v>
                </c:pt>
                <c:pt idx="4048">
                  <c:v>#N/A</c:v>
                </c:pt>
                <c:pt idx="4049">
                  <c:v>2.3697300000000001</c:v>
                </c:pt>
                <c:pt idx="4050">
                  <c:v>2.7049300000000001</c:v>
                </c:pt>
                <c:pt idx="4051">
                  <c:v>#N/A</c:v>
                </c:pt>
                <c:pt idx="4052">
                  <c:v>2.63463</c:v>
                </c:pt>
                <c:pt idx="4053">
                  <c:v>2.3141099999999999</c:v>
                </c:pt>
                <c:pt idx="4054">
                  <c:v>#N/A</c:v>
                </c:pt>
                <c:pt idx="4055">
                  <c:v>2.3551799999999998</c:v>
                </c:pt>
                <c:pt idx="4056">
                  <c:v>2.8468599999999999</c:v>
                </c:pt>
                <c:pt idx="4057">
                  <c:v>3.0446200000000001</c:v>
                </c:pt>
                <c:pt idx="4058">
                  <c:v>#N/A</c:v>
                </c:pt>
                <c:pt idx="4059">
                  <c:v>2.9176500000000001</c:v>
                </c:pt>
                <c:pt idx="4060">
                  <c:v>2.2563499999999999</c:v>
                </c:pt>
                <c:pt idx="4061">
                  <c:v>#N/A</c:v>
                </c:pt>
                <c:pt idx="4062">
                  <c:v>1.3985700000000001</c:v>
                </c:pt>
                <c:pt idx="4063">
                  <c:v>1.5228600000000001</c:v>
                </c:pt>
                <c:pt idx="4064">
                  <c:v>1.9673400000000001</c:v>
                </c:pt>
                <c:pt idx="4065">
                  <c:v>#N/A</c:v>
                </c:pt>
                <c:pt idx="4066">
                  <c:v>2.3323</c:v>
                </c:pt>
                <c:pt idx="4067">
                  <c:v>3.1275300000000001</c:v>
                </c:pt>
                <c:pt idx="4068">
                  <c:v>3.6296200000000001</c:v>
                </c:pt>
                <c:pt idx="4069">
                  <c:v>#N/A</c:v>
                </c:pt>
                <c:pt idx="4070">
                  <c:v>3.0555099999999999</c:v>
                </c:pt>
                <c:pt idx="4071">
                  <c:v>2.8077399999999999</c:v>
                </c:pt>
                <c:pt idx="4072">
                  <c:v>#N/A</c:v>
                </c:pt>
                <c:pt idx="4073">
                  <c:v>2.0101499999999999</c:v>
                </c:pt>
                <c:pt idx="4074">
                  <c:v>2.14785</c:v>
                </c:pt>
                <c:pt idx="4075">
                  <c:v>2.09063</c:v>
                </c:pt>
                <c:pt idx="4076">
                  <c:v>#N/A</c:v>
                </c:pt>
                <c:pt idx="4077">
                  <c:v>2.8644599999999998</c:v>
                </c:pt>
                <c:pt idx="4078">
                  <c:v>3.2484899999999999</c:v>
                </c:pt>
                <c:pt idx="4079">
                  <c:v>2.8367800000000001</c:v>
                </c:pt>
                <c:pt idx="4080">
                  <c:v>#N/A</c:v>
                </c:pt>
                <c:pt idx="4081">
                  <c:v>3.0076299999999998</c:v>
                </c:pt>
                <c:pt idx="4082">
                  <c:v>2.2180300000000002</c:v>
                </c:pt>
                <c:pt idx="4083">
                  <c:v>2.0769099999999998</c:v>
                </c:pt>
                <c:pt idx="4084">
                  <c:v>#N/A</c:v>
                </c:pt>
                <c:pt idx="4085">
                  <c:v>1.4321600000000001</c:v>
                </c:pt>
                <c:pt idx="4086">
                  <c:v>1.6531199999999999</c:v>
                </c:pt>
                <c:pt idx="4087">
                  <c:v>2.8623599999999998</c:v>
                </c:pt>
                <c:pt idx="4088">
                  <c:v>#N/A</c:v>
                </c:pt>
                <c:pt idx="4089">
                  <c:v>3.1611099999999999</c:v>
                </c:pt>
                <c:pt idx="4090">
                  <c:v>3.9398499999999999</c:v>
                </c:pt>
                <c:pt idx="4091">
                  <c:v>3.2123400000000002</c:v>
                </c:pt>
                <c:pt idx="4092">
                  <c:v>#N/A</c:v>
                </c:pt>
                <c:pt idx="4093">
                  <c:v>2.5892499999999998</c:v>
                </c:pt>
                <c:pt idx="4094">
                  <c:v>2.3410500000000001</c:v>
                </c:pt>
                <c:pt idx="4095">
                  <c:v>2.4106800000000002</c:v>
                </c:pt>
                <c:pt idx="4096">
                  <c:v>#N/A</c:v>
                </c:pt>
                <c:pt idx="4097">
                  <c:v>2.34</c:v>
                </c:pt>
                <c:pt idx="4098">
                  <c:v>2.4322499999999998</c:v>
                </c:pt>
                <c:pt idx="4099">
                  <c:v>#N/A</c:v>
                </c:pt>
                <c:pt idx="4100">
                  <c:v>3.0403199999999999</c:v>
                </c:pt>
                <c:pt idx="4101">
                  <c:v>2.9439199999999999</c:v>
                </c:pt>
                <c:pt idx="4102">
                  <c:v>2.8422399999999999</c:v>
                </c:pt>
                <c:pt idx="4103">
                  <c:v>#N/A</c:v>
                </c:pt>
                <c:pt idx="4104">
                  <c:v>1.73197</c:v>
                </c:pt>
                <c:pt idx="4105">
                  <c:v>1.85839</c:v>
                </c:pt>
                <c:pt idx="4106">
                  <c:v>1.9003000000000001</c:v>
                </c:pt>
                <c:pt idx="4107">
                  <c:v>#N/A</c:v>
                </c:pt>
                <c:pt idx="4108">
                  <c:v>2.4287700000000001</c:v>
                </c:pt>
                <c:pt idx="4109">
                  <c:v>2.90571</c:v>
                </c:pt>
                <c:pt idx="4110">
                  <c:v>2.8732099999999998</c:v>
                </c:pt>
                <c:pt idx="4111">
                  <c:v>#N/A</c:v>
                </c:pt>
                <c:pt idx="4112">
                  <c:v>3.1785999999999999</c:v>
                </c:pt>
                <c:pt idx="4113">
                  <c:v>3.4129399999999999</c:v>
                </c:pt>
                <c:pt idx="4114">
                  <c:v>3.0122300000000002</c:v>
                </c:pt>
                <c:pt idx="4115">
                  <c:v>#N/A</c:v>
                </c:pt>
                <c:pt idx="4116">
                  <c:v>2.3863599999999998</c:v>
                </c:pt>
                <c:pt idx="4117">
                  <c:v>2.8350499999999998</c:v>
                </c:pt>
                <c:pt idx="4118">
                  <c:v>2.2912699999999999</c:v>
                </c:pt>
                <c:pt idx="4119">
                  <c:v>#N/A</c:v>
                </c:pt>
                <c:pt idx="4120">
                  <c:v>3.3048299999999999</c:v>
                </c:pt>
                <c:pt idx="4121">
                  <c:v>2.6011500000000001</c:v>
                </c:pt>
                <c:pt idx="4122">
                  <c:v>#N/A</c:v>
                </c:pt>
                <c:pt idx="4123">
                  <c:v>3.15862</c:v>
                </c:pt>
                <c:pt idx="4124">
                  <c:v>2.8387099999999998</c:v>
                </c:pt>
                <c:pt idx="4125">
                  <c:v>#N/A</c:v>
                </c:pt>
                <c:pt idx="4126">
                  <c:v>2.9472999999999998</c:v>
                </c:pt>
                <c:pt idx="4127">
                  <c:v>2.2712400000000001</c:v>
                </c:pt>
                <c:pt idx="4128">
                  <c:v>#N/A</c:v>
                </c:pt>
                <c:pt idx="4129">
                  <c:v>2.7927900000000001</c:v>
                </c:pt>
                <c:pt idx="4130">
                  <c:v>2.7422599999999999</c:v>
                </c:pt>
                <c:pt idx="4131">
                  <c:v>#N/A</c:v>
                </c:pt>
                <c:pt idx="4132">
                  <c:v>2.5731899999999999</c:v>
                </c:pt>
                <c:pt idx="4133">
                  <c:v>2.5773899999999998</c:v>
                </c:pt>
                <c:pt idx="4134">
                  <c:v>2.7645599999999999</c:v>
                </c:pt>
                <c:pt idx="4135">
                  <c:v>#N/A</c:v>
                </c:pt>
                <c:pt idx="4136">
                  <c:v>2.4666100000000002</c:v>
                </c:pt>
                <c:pt idx="4137">
                  <c:v>2.3925200000000002</c:v>
                </c:pt>
                <c:pt idx="4138">
                  <c:v>2.67821</c:v>
                </c:pt>
                <c:pt idx="4139">
                  <c:v>#N/A</c:v>
                </c:pt>
                <c:pt idx="4140">
                  <c:v>2.7949000000000002</c:v>
                </c:pt>
                <c:pt idx="4141">
                  <c:v>2.8528199999999999</c:v>
                </c:pt>
                <c:pt idx="4142">
                  <c:v>#N/A</c:v>
                </c:pt>
                <c:pt idx="4143">
                  <c:v>2.7487699999999999</c:v>
                </c:pt>
                <c:pt idx="4144">
                  <c:v>2.4961899999999999</c:v>
                </c:pt>
                <c:pt idx="4145">
                  <c:v>2.28782</c:v>
                </c:pt>
                <c:pt idx="4146">
                  <c:v>#N/A</c:v>
                </c:pt>
                <c:pt idx="4147">
                  <c:v>1.9989399999999999</c:v>
                </c:pt>
                <c:pt idx="4148">
                  <c:v>1.9513100000000001</c:v>
                </c:pt>
                <c:pt idx="4149">
                  <c:v>2.8571300000000002</c:v>
                </c:pt>
                <c:pt idx="4150">
                  <c:v>#N/A</c:v>
                </c:pt>
                <c:pt idx="4151">
                  <c:v>3.5568499999999998</c:v>
                </c:pt>
                <c:pt idx="4152">
                  <c:v>3.7000299999999999</c:v>
                </c:pt>
                <c:pt idx="4153">
                  <c:v>3.4923000000000002</c:v>
                </c:pt>
                <c:pt idx="4154">
                  <c:v>#N/A</c:v>
                </c:pt>
                <c:pt idx="4155">
                  <c:v>3.3131499999999998</c:v>
                </c:pt>
                <c:pt idx="4156">
                  <c:v>2.2652800000000002</c:v>
                </c:pt>
                <c:pt idx="4157">
                  <c:v>2.2374499999999999</c:v>
                </c:pt>
                <c:pt idx="4158">
                  <c:v>#N/A</c:v>
                </c:pt>
                <c:pt idx="4159">
                  <c:v>2.3628399999999998</c:v>
                </c:pt>
                <c:pt idx="4160">
                  <c:v>2.4617900000000001</c:v>
                </c:pt>
                <c:pt idx="4161">
                  <c:v>3.1128999999999998</c:v>
                </c:pt>
                <c:pt idx="4162">
                  <c:v>#N/A</c:v>
                </c:pt>
                <c:pt idx="4163">
                  <c:v>3.1914600000000002</c:v>
                </c:pt>
                <c:pt idx="4164">
                  <c:v>2.95838</c:v>
                </c:pt>
                <c:pt idx="4165">
                  <c:v>2.37304</c:v>
                </c:pt>
                <c:pt idx="4166">
                  <c:v>#N/A</c:v>
                </c:pt>
                <c:pt idx="4167">
                  <c:v>2.1832099999999999</c:v>
                </c:pt>
                <c:pt idx="4168">
                  <c:v>1.7134499999999999</c:v>
                </c:pt>
                <c:pt idx="4169">
                  <c:v>#N/A</c:v>
                </c:pt>
                <c:pt idx="4170">
                  <c:v>2.0793300000000001</c:v>
                </c:pt>
                <c:pt idx="4171">
                  <c:v>2.32315</c:v>
                </c:pt>
                <c:pt idx="4172">
                  <c:v>3.0169600000000001</c:v>
                </c:pt>
                <c:pt idx="4173">
                  <c:v>#N/A</c:v>
                </c:pt>
                <c:pt idx="4174">
                  <c:v>3.3437199999999998</c:v>
                </c:pt>
                <c:pt idx="4175">
                  <c:v>3.64838</c:v>
                </c:pt>
                <c:pt idx="4176">
                  <c:v>3.3862299999999999</c:v>
                </c:pt>
                <c:pt idx="4177">
                  <c:v>#N/A</c:v>
                </c:pt>
                <c:pt idx="4178">
                  <c:v>2.5330499999999998</c:v>
                </c:pt>
                <c:pt idx="4179">
                  <c:v>2.28078</c:v>
                </c:pt>
                <c:pt idx="4180">
                  <c:v>2.63836</c:v>
                </c:pt>
                <c:pt idx="4181">
                  <c:v>#N/A</c:v>
                </c:pt>
                <c:pt idx="4182">
                  <c:v>3.35778</c:v>
                </c:pt>
                <c:pt idx="4183">
                  <c:v>3.66669</c:v>
                </c:pt>
                <c:pt idx="4184">
                  <c:v>3.1625100000000002</c:v>
                </c:pt>
                <c:pt idx="4185">
                  <c:v>#N/A</c:v>
                </c:pt>
                <c:pt idx="4186">
                  <c:v>3.0497100000000001</c:v>
                </c:pt>
                <c:pt idx="4187">
                  <c:v>3.2595900000000002</c:v>
                </c:pt>
                <c:pt idx="4188">
                  <c:v>2.2919499999999999</c:v>
                </c:pt>
                <c:pt idx="4189">
                  <c:v>#N/A</c:v>
                </c:pt>
                <c:pt idx="4190">
                  <c:v>2.3757600000000001</c:v>
                </c:pt>
                <c:pt idx="4191">
                  <c:v>2.6950599999999998</c:v>
                </c:pt>
                <c:pt idx="4192">
                  <c:v>3.4968599999999999</c:v>
                </c:pt>
                <c:pt idx="4193">
                  <c:v>#N/A</c:v>
                </c:pt>
                <c:pt idx="4194">
                  <c:v>3.6810800000000001</c:v>
                </c:pt>
                <c:pt idx="4195">
                  <c:v>3.5175100000000001</c:v>
                </c:pt>
                <c:pt idx="4196">
                  <c:v>3.1648299999999998</c:v>
                </c:pt>
                <c:pt idx="4197">
                  <c:v>#N/A</c:v>
                </c:pt>
                <c:pt idx="4198">
                  <c:v>2.6488200000000002</c:v>
                </c:pt>
                <c:pt idx="4199">
                  <c:v>2.15062</c:v>
                </c:pt>
                <c:pt idx="4200">
                  <c:v>#N/A</c:v>
                </c:pt>
                <c:pt idx="4201">
                  <c:v>2.1745899999999998</c:v>
                </c:pt>
                <c:pt idx="4202">
                  <c:v>#N/A</c:v>
                </c:pt>
                <c:pt idx="4203">
                  <c:v>2.4014099999999998</c:v>
                </c:pt>
                <c:pt idx="4204">
                  <c:v>2.9191799999999999</c:v>
                </c:pt>
                <c:pt idx="4205">
                  <c:v>2.9859800000000001</c:v>
                </c:pt>
                <c:pt idx="4206">
                  <c:v>#N/A</c:v>
                </c:pt>
                <c:pt idx="4207">
                  <c:v>2.5377900000000002</c:v>
                </c:pt>
                <c:pt idx="4208">
                  <c:v>1.9981899999999999</c:v>
                </c:pt>
                <c:pt idx="4209">
                  <c:v>#N/A</c:v>
                </c:pt>
                <c:pt idx="4210">
                  <c:v>2.2284199999999998</c:v>
                </c:pt>
                <c:pt idx="4211">
                  <c:v>3.1808800000000002</c:v>
                </c:pt>
                <c:pt idx="4212">
                  <c:v>3.3555799999999998</c:v>
                </c:pt>
                <c:pt idx="4213">
                  <c:v>#N/A</c:v>
                </c:pt>
                <c:pt idx="4214">
                  <c:v>3.60209</c:v>
                </c:pt>
                <c:pt idx="4215">
                  <c:v>3.7705299999999999</c:v>
                </c:pt>
                <c:pt idx="4216">
                  <c:v>3.9822500000000001</c:v>
                </c:pt>
                <c:pt idx="4217">
                  <c:v>#N/A</c:v>
                </c:pt>
                <c:pt idx="4218">
                  <c:v>3.3007499999999999</c:v>
                </c:pt>
                <c:pt idx="4219">
                  <c:v>2.9216899999999999</c:v>
                </c:pt>
                <c:pt idx="4220">
                  <c:v>2.52895</c:v>
                </c:pt>
                <c:pt idx="4221">
                  <c:v>#N/A</c:v>
                </c:pt>
                <c:pt idx="4222">
                  <c:v>2.41852</c:v>
                </c:pt>
                <c:pt idx="4223">
                  <c:v>2.8083</c:v>
                </c:pt>
                <c:pt idx="4224">
                  <c:v>3.3659599999999998</c:v>
                </c:pt>
                <c:pt idx="4225">
                  <c:v>#N/A</c:v>
                </c:pt>
                <c:pt idx="4226">
                  <c:v>3.18899</c:v>
                </c:pt>
                <c:pt idx="4227">
                  <c:v>3.20174</c:v>
                </c:pt>
                <c:pt idx="4228">
                  <c:v>3.0722399999999999</c:v>
                </c:pt>
                <c:pt idx="4229">
                  <c:v>#N/A</c:v>
                </c:pt>
                <c:pt idx="4230">
                  <c:v>2.2862399999999998</c:v>
                </c:pt>
                <c:pt idx="4231">
                  <c:v>1.82222</c:v>
                </c:pt>
                <c:pt idx="4232">
                  <c:v>1.78423</c:v>
                </c:pt>
                <c:pt idx="4233">
                  <c:v>#N/A</c:v>
                </c:pt>
                <c:pt idx="4234">
                  <c:v>2.4748399999999999</c:v>
                </c:pt>
                <c:pt idx="4235">
                  <c:v>3.0441099999999999</c:v>
                </c:pt>
                <c:pt idx="4236">
                  <c:v>3.91296</c:v>
                </c:pt>
                <c:pt idx="4237">
                  <c:v>#N/A</c:v>
                </c:pt>
                <c:pt idx="4238">
                  <c:v>3.1170499999999999</c:v>
                </c:pt>
                <c:pt idx="4239">
                  <c:v>3.33839</c:v>
                </c:pt>
                <c:pt idx="4240">
                  <c:v>2.9194499999999999</c:v>
                </c:pt>
                <c:pt idx="4241">
                  <c:v>#N/A</c:v>
                </c:pt>
                <c:pt idx="4242">
                  <c:v>2.5941200000000002</c:v>
                </c:pt>
                <c:pt idx="4243">
                  <c:v>2.79888</c:v>
                </c:pt>
                <c:pt idx="4244">
                  <c:v>#N/A</c:v>
                </c:pt>
                <c:pt idx="4245">
                  <c:v>2.9412799999999999</c:v>
                </c:pt>
                <c:pt idx="4246">
                  <c:v>3.6329600000000002</c:v>
                </c:pt>
                <c:pt idx="4247">
                  <c:v>3.8259400000000001</c:v>
                </c:pt>
                <c:pt idx="4248">
                  <c:v>#N/A</c:v>
                </c:pt>
                <c:pt idx="4249">
                  <c:v>3.69645</c:v>
                </c:pt>
                <c:pt idx="4250">
                  <c:v>3.6311900000000001</c:v>
                </c:pt>
                <c:pt idx="4251">
                  <c:v>2.4582099999999998</c:v>
                </c:pt>
                <c:pt idx="4252">
                  <c:v>#N/A</c:v>
                </c:pt>
                <c:pt idx="4253">
                  <c:v>2.3509699999999998</c:v>
                </c:pt>
                <c:pt idx="4254">
                  <c:v>2.5231699999999999</c:v>
                </c:pt>
                <c:pt idx="4255">
                  <c:v>3.0724800000000001</c:v>
                </c:pt>
                <c:pt idx="4256">
                  <c:v>#N/A</c:v>
                </c:pt>
                <c:pt idx="4257">
                  <c:v>3.3299799999999999</c:v>
                </c:pt>
                <c:pt idx="4258">
                  <c:v>3.1508799999999999</c:v>
                </c:pt>
                <c:pt idx="4259">
                  <c:v>3.1789900000000002</c:v>
                </c:pt>
                <c:pt idx="4260">
                  <c:v>#N/A</c:v>
                </c:pt>
                <c:pt idx="4261">
                  <c:v>2.1623000000000001</c:v>
                </c:pt>
                <c:pt idx="4262">
                  <c:v>2.1898900000000001</c:v>
                </c:pt>
                <c:pt idx="4263">
                  <c:v>2.23488</c:v>
                </c:pt>
                <c:pt idx="4264">
                  <c:v>#N/A</c:v>
                </c:pt>
                <c:pt idx="4265">
                  <c:v>2.5305599999999999</c:v>
                </c:pt>
                <c:pt idx="4266">
                  <c:v>2.8439800000000002</c:v>
                </c:pt>
                <c:pt idx="4267">
                  <c:v>#N/A</c:v>
                </c:pt>
                <c:pt idx="4268">
                  <c:v>2.6684299999999999</c:v>
                </c:pt>
                <c:pt idx="4269">
                  <c:v>2.4307300000000001</c:v>
                </c:pt>
                <c:pt idx="4270">
                  <c:v>2.3953000000000002</c:v>
                </c:pt>
                <c:pt idx="4271">
                  <c:v>#N/A</c:v>
                </c:pt>
                <c:pt idx="4272">
                  <c:v>2.4592200000000002</c:v>
                </c:pt>
                <c:pt idx="4273">
                  <c:v>2.31298</c:v>
                </c:pt>
                <c:pt idx="4274">
                  <c:v>#N/A</c:v>
                </c:pt>
                <c:pt idx="4275">
                  <c:v>2.8090899999999999</c:v>
                </c:pt>
                <c:pt idx="4276">
                  <c:v>3.1707900000000002</c:v>
                </c:pt>
                <c:pt idx="4277">
                  <c:v>#N/A</c:v>
                </c:pt>
                <c:pt idx="4278">
                  <c:v>3.2173600000000002</c:v>
                </c:pt>
                <c:pt idx="4279">
                  <c:v>2.5299999999999998</c:v>
                </c:pt>
                <c:pt idx="4280">
                  <c:v>#N/A</c:v>
                </c:pt>
                <c:pt idx="4281">
                  <c:v>2.8296700000000001</c:v>
                </c:pt>
                <c:pt idx="4282">
                  <c:v>2.1756000000000002</c:v>
                </c:pt>
                <c:pt idx="4283">
                  <c:v>2.0825</c:v>
                </c:pt>
                <c:pt idx="4284">
                  <c:v>#N/A</c:v>
                </c:pt>
                <c:pt idx="4285">
                  <c:v>2.5494599999999998</c:v>
                </c:pt>
                <c:pt idx="4286">
                  <c:v>2.9028700000000001</c:v>
                </c:pt>
                <c:pt idx="4287">
                  <c:v>3.3322699999999998</c:v>
                </c:pt>
                <c:pt idx="4288">
                  <c:v>#N/A</c:v>
                </c:pt>
                <c:pt idx="4289">
                  <c:v>3.2091599999999998</c:v>
                </c:pt>
                <c:pt idx="4290">
                  <c:v>2.6558999999999999</c:v>
                </c:pt>
                <c:pt idx="4291">
                  <c:v>2.0617999999999999</c:v>
                </c:pt>
                <c:pt idx="4292">
                  <c:v>#N/A</c:v>
                </c:pt>
                <c:pt idx="4293">
                  <c:v>2.3148399999999998</c:v>
                </c:pt>
                <c:pt idx="4294">
                  <c:v>2.5269300000000001</c:v>
                </c:pt>
                <c:pt idx="4295">
                  <c:v>2.6096699999999999</c:v>
                </c:pt>
                <c:pt idx="4296">
                  <c:v>#N/A</c:v>
                </c:pt>
                <c:pt idx="4297">
                  <c:v>2.8059799999999999</c:v>
                </c:pt>
                <c:pt idx="4298">
                  <c:v>3.3628300000000002</c:v>
                </c:pt>
                <c:pt idx="4299">
                  <c:v>3.2055600000000002</c:v>
                </c:pt>
                <c:pt idx="4300">
                  <c:v>#N/A</c:v>
                </c:pt>
                <c:pt idx="4301">
                  <c:v>3.3654600000000001</c:v>
                </c:pt>
                <c:pt idx="4302">
                  <c:v>3.1136900000000001</c:v>
                </c:pt>
                <c:pt idx="4303">
                  <c:v>#N/A</c:v>
                </c:pt>
                <c:pt idx="4304">
                  <c:v>2.6179800000000002</c:v>
                </c:pt>
                <c:pt idx="4305">
                  <c:v>2.6305399999999999</c:v>
                </c:pt>
                <c:pt idx="4306">
                  <c:v>2.9435600000000002</c:v>
                </c:pt>
                <c:pt idx="4307">
                  <c:v>#N/A</c:v>
                </c:pt>
                <c:pt idx="4308">
                  <c:v>3.3736000000000002</c:v>
                </c:pt>
                <c:pt idx="4309">
                  <c:v>3.38809</c:v>
                </c:pt>
                <c:pt idx="4310">
                  <c:v>3.4911599999999998</c:v>
                </c:pt>
                <c:pt idx="4311">
                  <c:v>#N/A</c:v>
                </c:pt>
                <c:pt idx="4312">
                  <c:v>2.72268</c:v>
                </c:pt>
                <c:pt idx="4313">
                  <c:v>2.0585100000000001</c:v>
                </c:pt>
                <c:pt idx="4314">
                  <c:v>#N/A</c:v>
                </c:pt>
                <c:pt idx="4315">
                  <c:v>1.88869</c:v>
                </c:pt>
                <c:pt idx="4316">
                  <c:v>2.15828</c:v>
                </c:pt>
                <c:pt idx="4317">
                  <c:v>2.8955899999999999</c:v>
                </c:pt>
                <c:pt idx="4318">
                  <c:v>#N/A</c:v>
                </c:pt>
                <c:pt idx="4319">
                  <c:v>3.2087699999999999</c:v>
                </c:pt>
                <c:pt idx="4320">
                  <c:v>4.1648699999999996</c:v>
                </c:pt>
                <c:pt idx="4321">
                  <c:v>3.20791</c:v>
                </c:pt>
                <c:pt idx="4322">
                  <c:v>#N/A</c:v>
                </c:pt>
                <c:pt idx="4323">
                  <c:v>2.90408</c:v>
                </c:pt>
                <c:pt idx="4324">
                  <c:v>2.7058900000000001</c:v>
                </c:pt>
                <c:pt idx="4325">
                  <c:v>2.2318799999999999</c:v>
                </c:pt>
                <c:pt idx="4326">
                  <c:v>#N/A</c:v>
                </c:pt>
                <c:pt idx="4327">
                  <c:v>1.9339200000000001</c:v>
                </c:pt>
                <c:pt idx="4328">
                  <c:v>2.5538799999999999</c:v>
                </c:pt>
                <c:pt idx="4329">
                  <c:v>2.4756499999999999</c:v>
                </c:pt>
                <c:pt idx="4330">
                  <c:v>#N/A</c:v>
                </c:pt>
                <c:pt idx="4331">
                  <c:v>2.8859400000000002</c:v>
                </c:pt>
                <c:pt idx="4332">
                  <c:v>2.45783</c:v>
                </c:pt>
                <c:pt idx="4333">
                  <c:v>#N/A</c:v>
                </c:pt>
                <c:pt idx="4334">
                  <c:v>#N/A</c:v>
                </c:pt>
                <c:pt idx="4335">
                  <c:v>2.3921899999999998</c:v>
                </c:pt>
                <c:pt idx="4336">
                  <c:v>#N/A</c:v>
                </c:pt>
                <c:pt idx="4337">
                  <c:v>2.6730800000000001</c:v>
                </c:pt>
                <c:pt idx="4338">
                  <c:v>3.0331000000000001</c:v>
                </c:pt>
                <c:pt idx="4339">
                  <c:v>2.76126</c:v>
                </c:pt>
                <c:pt idx="4340">
                  <c:v>#N/A</c:v>
                </c:pt>
                <c:pt idx="4341">
                  <c:v>2.8349199999999999</c:v>
                </c:pt>
                <c:pt idx="4342">
                  <c:v>2.7949700000000002</c:v>
                </c:pt>
                <c:pt idx="4343">
                  <c:v>3.1961599999999999</c:v>
                </c:pt>
                <c:pt idx="4344">
                  <c:v>#N/A</c:v>
                </c:pt>
                <c:pt idx="4345">
                  <c:v>2.9618600000000002</c:v>
                </c:pt>
                <c:pt idx="4346">
                  <c:v>2.6011199999999999</c:v>
                </c:pt>
                <c:pt idx="4347">
                  <c:v>2.3298899999999998</c:v>
                </c:pt>
                <c:pt idx="4348">
                  <c:v>#N/A</c:v>
                </c:pt>
                <c:pt idx="4349">
                  <c:v>2.90219</c:v>
                </c:pt>
                <c:pt idx="4350">
                  <c:v>2.8209</c:v>
                </c:pt>
                <c:pt idx="4351">
                  <c:v>3.0612699999999999</c:v>
                </c:pt>
                <c:pt idx="4352">
                  <c:v>#N/A</c:v>
                </c:pt>
                <c:pt idx="4353">
                  <c:v>2.2800199999999999</c:v>
                </c:pt>
                <c:pt idx="4354">
                  <c:v>2.0453999999999999</c:v>
                </c:pt>
                <c:pt idx="4355">
                  <c:v>#N/A</c:v>
                </c:pt>
                <c:pt idx="4356">
                  <c:v>2.35588</c:v>
                </c:pt>
                <c:pt idx="4357">
                  <c:v>2.2480899999999999</c:v>
                </c:pt>
                <c:pt idx="4358">
                  <c:v>2.7248000000000001</c:v>
                </c:pt>
                <c:pt idx="4359">
                  <c:v>#N/A</c:v>
                </c:pt>
                <c:pt idx="4360">
                  <c:v>3.1394500000000001</c:v>
                </c:pt>
                <c:pt idx="4361">
                  <c:v>3.72302</c:v>
                </c:pt>
                <c:pt idx="4362">
                  <c:v>3.4257599999999999</c:v>
                </c:pt>
                <c:pt idx="4363">
                  <c:v>#N/A</c:v>
                </c:pt>
                <c:pt idx="4364">
                  <c:v>3.3559800000000002</c:v>
                </c:pt>
                <c:pt idx="4365">
                  <c:v>2.2553700000000001</c:v>
                </c:pt>
                <c:pt idx="4366">
                  <c:v>2.29</c:v>
                </c:pt>
                <c:pt idx="4367">
                  <c:v>#N/A</c:v>
                </c:pt>
                <c:pt idx="4368">
                  <c:v>2.89697</c:v>
                </c:pt>
                <c:pt idx="4369">
                  <c:v>2.90299</c:v>
                </c:pt>
                <c:pt idx="4370">
                  <c:v>3.15083</c:v>
                </c:pt>
                <c:pt idx="4371">
                  <c:v>#N/A</c:v>
                </c:pt>
                <c:pt idx="4372">
                  <c:v>3.4093399999999998</c:v>
                </c:pt>
                <c:pt idx="4373">
                  <c:v>3.31948</c:v>
                </c:pt>
                <c:pt idx="4374">
                  <c:v>2.7420100000000001</c:v>
                </c:pt>
                <c:pt idx="4375">
                  <c:v>#N/A</c:v>
                </c:pt>
                <c:pt idx="4376">
                  <c:v>2.43092</c:v>
                </c:pt>
                <c:pt idx="4377">
                  <c:v>2.1732999999999998</c:v>
                </c:pt>
                <c:pt idx="4378">
                  <c:v>2.1407799999999999</c:v>
                </c:pt>
                <c:pt idx="4379">
                  <c:v>#N/A</c:v>
                </c:pt>
                <c:pt idx="4380">
                  <c:v>2.0222600000000002</c:v>
                </c:pt>
                <c:pt idx="4381">
                  <c:v>3.24221</c:v>
                </c:pt>
                <c:pt idx="4382">
                  <c:v>2.9524400000000002</c:v>
                </c:pt>
                <c:pt idx="4383">
                  <c:v>#N/A</c:v>
                </c:pt>
                <c:pt idx="4384">
                  <c:v>3.0280200000000002</c:v>
                </c:pt>
                <c:pt idx="4385">
                  <c:v>2.9162400000000002</c:v>
                </c:pt>
                <c:pt idx="4386">
                  <c:v>#N/A</c:v>
                </c:pt>
                <c:pt idx="4387">
                  <c:v>2.7353700000000001</c:v>
                </c:pt>
                <c:pt idx="4388">
                  <c:v>1.9522999999999999</c:v>
                </c:pt>
                <c:pt idx="4389">
                  <c:v>2.1302500000000002</c:v>
                </c:pt>
                <c:pt idx="4390">
                  <c:v>#N/A</c:v>
                </c:pt>
                <c:pt idx="4391">
                  <c:v>2.6836600000000002</c:v>
                </c:pt>
                <c:pt idx="4392">
                  <c:v>3.24234</c:v>
                </c:pt>
                <c:pt idx="4393">
                  <c:v>#N/A</c:v>
                </c:pt>
                <c:pt idx="4394">
                  <c:v>3.1556999999999999</c:v>
                </c:pt>
                <c:pt idx="4395">
                  <c:v>2.3870200000000001</c:v>
                </c:pt>
                <c:pt idx="4396">
                  <c:v>2.3879600000000001</c:v>
                </c:pt>
                <c:pt idx="4397">
                  <c:v>#N/A</c:v>
                </c:pt>
                <c:pt idx="4398">
                  <c:v>2.1969400000000001</c:v>
                </c:pt>
                <c:pt idx="4399">
                  <c:v>2.5692300000000001</c:v>
                </c:pt>
                <c:pt idx="4400">
                  <c:v>2.39418</c:v>
                </c:pt>
                <c:pt idx="4401">
                  <c:v>#N/A</c:v>
                </c:pt>
                <c:pt idx="4402">
                  <c:v>2.5552800000000002</c:v>
                </c:pt>
                <c:pt idx="4403">
                  <c:v>2.9233899999999999</c:v>
                </c:pt>
                <c:pt idx="4404">
                  <c:v>3.7578399999999998</c:v>
                </c:pt>
                <c:pt idx="4405">
                  <c:v>#N/A</c:v>
                </c:pt>
                <c:pt idx="4406">
                  <c:v>3.20303</c:v>
                </c:pt>
                <c:pt idx="4407">
                  <c:v>2.4706100000000002</c:v>
                </c:pt>
                <c:pt idx="4408">
                  <c:v>2.2943899999999999</c:v>
                </c:pt>
                <c:pt idx="4409">
                  <c:v>#N/A</c:v>
                </c:pt>
                <c:pt idx="4410">
                  <c:v>2.5965799999999999</c:v>
                </c:pt>
                <c:pt idx="4411">
                  <c:v>2.2843499999999999</c:v>
                </c:pt>
                <c:pt idx="4412">
                  <c:v>2.2911899999999998</c:v>
                </c:pt>
                <c:pt idx="4413">
                  <c:v>#N/A</c:v>
                </c:pt>
                <c:pt idx="4414">
                  <c:v>2.8392499999999998</c:v>
                </c:pt>
                <c:pt idx="4415">
                  <c:v>2.9408599999999998</c:v>
                </c:pt>
                <c:pt idx="4416">
                  <c:v>2.67991</c:v>
                </c:pt>
                <c:pt idx="4417">
                  <c:v>#N/A</c:v>
                </c:pt>
                <c:pt idx="4418">
                  <c:v>2.7562899999999999</c:v>
                </c:pt>
                <c:pt idx="4419">
                  <c:v>1.9970600000000001</c:v>
                </c:pt>
                <c:pt idx="4420">
                  <c:v>#N/A</c:v>
                </c:pt>
                <c:pt idx="4421">
                  <c:v>1.9874099999999999</c:v>
                </c:pt>
                <c:pt idx="4422">
                  <c:v>2.8099500000000002</c:v>
                </c:pt>
                <c:pt idx="4423">
                  <c:v>3.95411</c:v>
                </c:pt>
                <c:pt idx="4424">
                  <c:v>#N/A</c:v>
                </c:pt>
                <c:pt idx="4425">
                  <c:v>3.7996500000000002</c:v>
                </c:pt>
                <c:pt idx="4426">
                  <c:v>#N/A</c:v>
                </c:pt>
                <c:pt idx="4427">
                  <c:v>3.08324</c:v>
                </c:pt>
                <c:pt idx="4428">
                  <c:v>2.6656499999999999</c:v>
                </c:pt>
                <c:pt idx="4429">
                  <c:v>#N/A</c:v>
                </c:pt>
                <c:pt idx="4430">
                  <c:v>2.92049</c:v>
                </c:pt>
                <c:pt idx="4431">
                  <c:v>2.9325000000000001</c:v>
                </c:pt>
                <c:pt idx="4432">
                  <c:v>3.06332</c:v>
                </c:pt>
                <c:pt idx="4433">
                  <c:v>#N/A</c:v>
                </c:pt>
                <c:pt idx="4434">
                  <c:v>3.1504599999999998</c:v>
                </c:pt>
                <c:pt idx="4435">
                  <c:v>3.0771500000000001</c:v>
                </c:pt>
                <c:pt idx="4436">
                  <c:v>3.3452799999999998</c:v>
                </c:pt>
                <c:pt idx="4437">
                  <c:v>#N/A</c:v>
                </c:pt>
                <c:pt idx="4438">
                  <c:v>2.5991599999999999</c:v>
                </c:pt>
                <c:pt idx="4439">
                  <c:v>2.0725799999999999</c:v>
                </c:pt>
                <c:pt idx="4440">
                  <c:v>1.92808</c:v>
                </c:pt>
                <c:pt idx="4441">
                  <c:v>#N/A</c:v>
                </c:pt>
                <c:pt idx="4442">
                  <c:v>2.1140300000000001</c:v>
                </c:pt>
                <c:pt idx="4443">
                  <c:v>2.8252199999999998</c:v>
                </c:pt>
                <c:pt idx="4444">
                  <c:v>3.4976400000000001</c:v>
                </c:pt>
                <c:pt idx="4445">
                  <c:v>#N/A</c:v>
                </c:pt>
                <c:pt idx="4446">
                  <c:v>3.5677400000000001</c:v>
                </c:pt>
                <c:pt idx="4447">
                  <c:v>3.1231399999999998</c:v>
                </c:pt>
                <c:pt idx="4448">
                  <c:v>3.2130299999999998</c:v>
                </c:pt>
                <c:pt idx="4449">
                  <c:v>#N/A</c:v>
                </c:pt>
                <c:pt idx="4450">
                  <c:v>2.1548099999999999</c:v>
                </c:pt>
                <c:pt idx="4451">
                  <c:v>2.44598</c:v>
                </c:pt>
                <c:pt idx="4452">
                  <c:v>2.4254799999999999</c:v>
                </c:pt>
                <c:pt idx="4453">
                  <c:v>#N/A</c:v>
                </c:pt>
                <c:pt idx="4454">
                  <c:v>3.0552600000000001</c:v>
                </c:pt>
                <c:pt idx="4455">
                  <c:v>3.1541600000000001</c:v>
                </c:pt>
                <c:pt idx="4456">
                  <c:v>3.0156999999999998</c:v>
                </c:pt>
                <c:pt idx="4457">
                  <c:v>#N/A</c:v>
                </c:pt>
                <c:pt idx="4458">
                  <c:v>2.8426200000000001</c:v>
                </c:pt>
                <c:pt idx="4459">
                  <c:v>2.70844</c:v>
                </c:pt>
                <c:pt idx="4460">
                  <c:v>#N/A</c:v>
                </c:pt>
                <c:pt idx="4461">
                  <c:v>2.3638400000000002</c:v>
                </c:pt>
                <c:pt idx="4462">
                  <c:v>1.9917800000000001</c:v>
                </c:pt>
                <c:pt idx="4463">
                  <c:v>2.0102099999999998</c:v>
                </c:pt>
                <c:pt idx="4464">
                  <c:v>#N/A</c:v>
                </c:pt>
                <c:pt idx="4465">
                  <c:v>2.5748099999999998</c:v>
                </c:pt>
                <c:pt idx="4466">
                  <c:v>3.0476899999999998</c:v>
                </c:pt>
                <c:pt idx="4467">
                  <c:v>3.2941199999999999</c:v>
                </c:pt>
                <c:pt idx="4468">
                  <c:v>#N/A</c:v>
                </c:pt>
                <c:pt idx="4469">
                  <c:v>3.2336499999999999</c:v>
                </c:pt>
                <c:pt idx="4470">
                  <c:v>2.8023199999999999</c:v>
                </c:pt>
                <c:pt idx="4471">
                  <c:v>2.4089999999999998</c:v>
                </c:pt>
                <c:pt idx="4472">
                  <c:v>#N/A</c:v>
                </c:pt>
                <c:pt idx="4473">
                  <c:v>2.2291099999999999</c:v>
                </c:pt>
                <c:pt idx="4474">
                  <c:v>2.3168000000000002</c:v>
                </c:pt>
                <c:pt idx="4475">
                  <c:v>2.6526800000000001</c:v>
                </c:pt>
                <c:pt idx="4476">
                  <c:v>#N/A</c:v>
                </c:pt>
                <c:pt idx="4477">
                  <c:v>2.73244</c:v>
                </c:pt>
                <c:pt idx="4478">
                  <c:v>2.6987700000000001</c:v>
                </c:pt>
                <c:pt idx="4479">
                  <c:v>2.4908199999999998</c:v>
                </c:pt>
                <c:pt idx="4480">
                  <c:v>#N/A</c:v>
                </c:pt>
                <c:pt idx="4481">
                  <c:v>2.1032600000000001</c:v>
                </c:pt>
                <c:pt idx="4482">
                  <c:v>1.96445</c:v>
                </c:pt>
                <c:pt idx="4483">
                  <c:v>#N/A</c:v>
                </c:pt>
                <c:pt idx="4484">
                  <c:v>2.19997</c:v>
                </c:pt>
                <c:pt idx="4485">
                  <c:v>2.5604900000000002</c:v>
                </c:pt>
                <c:pt idx="4486">
                  <c:v>2.7442799999999998</c:v>
                </c:pt>
                <c:pt idx="4487">
                  <c:v>#N/A</c:v>
                </c:pt>
                <c:pt idx="4488">
                  <c:v>2.9489399999999999</c:v>
                </c:pt>
                <c:pt idx="4489">
                  <c:v>2.5314999999999999</c:v>
                </c:pt>
                <c:pt idx="4490">
                  <c:v>3.1363300000000001</c:v>
                </c:pt>
                <c:pt idx="4491">
                  <c:v>#N/A</c:v>
                </c:pt>
                <c:pt idx="4492">
                  <c:v>2.4118400000000002</c:v>
                </c:pt>
                <c:pt idx="4493">
                  <c:v>2.2193100000000001</c:v>
                </c:pt>
                <c:pt idx="4494">
                  <c:v>2.4690500000000002</c:v>
                </c:pt>
                <c:pt idx="4495">
                  <c:v>#N/A</c:v>
                </c:pt>
                <c:pt idx="4496">
                  <c:v>2.7040899999999999</c:v>
                </c:pt>
                <c:pt idx="4497">
                  <c:v>3.43336</c:v>
                </c:pt>
                <c:pt idx="4498">
                  <c:v>3.0017999999999998</c:v>
                </c:pt>
                <c:pt idx="4499">
                  <c:v>#N/A</c:v>
                </c:pt>
                <c:pt idx="4500">
                  <c:v>2.3186900000000001</c:v>
                </c:pt>
                <c:pt idx="4501">
                  <c:v>#N/A</c:v>
                </c:pt>
                <c:pt idx="4502">
                  <c:v>1.82779</c:v>
                </c:pt>
                <c:pt idx="4503">
                  <c:v>#N/A</c:v>
                </c:pt>
                <c:pt idx="4504">
                  <c:v>2.0685600000000002</c:v>
                </c:pt>
                <c:pt idx="4505">
                  <c:v>2.45194</c:v>
                </c:pt>
                <c:pt idx="4506">
                  <c:v>2.8065500000000001</c:v>
                </c:pt>
                <c:pt idx="4507">
                  <c:v>#N/A</c:v>
                </c:pt>
                <c:pt idx="4508">
                  <c:v>3.3637000000000001</c:v>
                </c:pt>
                <c:pt idx="4509">
                  <c:v>3.1829900000000002</c:v>
                </c:pt>
                <c:pt idx="4510">
                  <c:v>2.5752799999999998</c:v>
                </c:pt>
                <c:pt idx="4511">
                  <c:v>#N/A</c:v>
                </c:pt>
                <c:pt idx="4512">
                  <c:v>2.6121699999999999</c:v>
                </c:pt>
                <c:pt idx="4513">
                  <c:v>2.2221299999999999</c:v>
                </c:pt>
                <c:pt idx="4514">
                  <c:v>#N/A</c:v>
                </c:pt>
                <c:pt idx="4515">
                  <c:v>2.2898299999999998</c:v>
                </c:pt>
                <c:pt idx="4516">
                  <c:v>3.0701900000000002</c:v>
                </c:pt>
                <c:pt idx="4517">
                  <c:v>3.0369100000000002</c:v>
                </c:pt>
                <c:pt idx="4518">
                  <c:v>#N/A</c:v>
                </c:pt>
                <c:pt idx="4519">
                  <c:v>2.9452699999999998</c:v>
                </c:pt>
                <c:pt idx="4520">
                  <c:v>3.4943</c:v>
                </c:pt>
                <c:pt idx="4521">
                  <c:v>2.8555199999999998</c:v>
                </c:pt>
                <c:pt idx="4522">
                  <c:v>#N/A</c:v>
                </c:pt>
                <c:pt idx="4523">
                  <c:v>2.3981499999999998</c:v>
                </c:pt>
                <c:pt idx="4524">
                  <c:v>1.9057500000000001</c:v>
                </c:pt>
                <c:pt idx="4525">
                  <c:v>2.9167399999999999</c:v>
                </c:pt>
                <c:pt idx="4526">
                  <c:v>#N/A</c:v>
                </c:pt>
                <c:pt idx="4527">
                  <c:v>2.83473</c:v>
                </c:pt>
                <c:pt idx="4528">
                  <c:v>3.6331099999999998</c:v>
                </c:pt>
                <c:pt idx="4529">
                  <c:v>3.3138200000000002</c:v>
                </c:pt>
                <c:pt idx="4530">
                  <c:v>#N/A</c:v>
                </c:pt>
                <c:pt idx="4531">
                  <c:v>2.8211599999999999</c:v>
                </c:pt>
                <c:pt idx="4532">
                  <c:v>2.7857699999999999</c:v>
                </c:pt>
                <c:pt idx="4533">
                  <c:v>#N/A</c:v>
                </c:pt>
                <c:pt idx="4534">
                  <c:v>2.34212</c:v>
                </c:pt>
                <c:pt idx="4535">
                  <c:v>1.9345699999999999</c:v>
                </c:pt>
                <c:pt idx="4536">
                  <c:v>2.1513599999999999</c:v>
                </c:pt>
                <c:pt idx="4537">
                  <c:v>#N/A</c:v>
                </c:pt>
                <c:pt idx="4538">
                  <c:v>2.8302700000000001</c:v>
                </c:pt>
                <c:pt idx="4539">
                  <c:v>3.7054</c:v>
                </c:pt>
                <c:pt idx="4540">
                  <c:v>3.43621</c:v>
                </c:pt>
                <c:pt idx="4541">
                  <c:v>#N/A</c:v>
                </c:pt>
                <c:pt idx="4542">
                  <c:v>2.7040899999999999</c:v>
                </c:pt>
                <c:pt idx="4543">
                  <c:v>2.0986400000000001</c:v>
                </c:pt>
                <c:pt idx="4544">
                  <c:v>2.20377</c:v>
                </c:pt>
                <c:pt idx="4545">
                  <c:v>#N/A</c:v>
                </c:pt>
                <c:pt idx="4546">
                  <c:v>2.7686199999999999</c:v>
                </c:pt>
                <c:pt idx="4547">
                  <c:v>2.9569899999999998</c:v>
                </c:pt>
                <c:pt idx="4548">
                  <c:v>3.1831800000000001</c:v>
                </c:pt>
                <c:pt idx="4549">
                  <c:v>#N/A</c:v>
                </c:pt>
                <c:pt idx="4550">
                  <c:v>3.6218900000000001</c:v>
                </c:pt>
                <c:pt idx="4551">
                  <c:v>3.8081700000000001</c:v>
                </c:pt>
                <c:pt idx="4552">
                  <c:v>#N/A</c:v>
                </c:pt>
                <c:pt idx="4553">
                  <c:v>2.9950199999999998</c:v>
                </c:pt>
                <c:pt idx="4554">
                  <c:v>2.8125</c:v>
                </c:pt>
                <c:pt idx="4555">
                  <c:v>2.3149799999999998</c:v>
                </c:pt>
                <c:pt idx="4556">
                  <c:v>#N/A</c:v>
                </c:pt>
                <c:pt idx="4557">
                  <c:v>2.6445599999999998</c:v>
                </c:pt>
                <c:pt idx="4558">
                  <c:v>3.1799900000000001</c:v>
                </c:pt>
                <c:pt idx="4559">
                  <c:v>2.3995000000000002</c:v>
                </c:pt>
                <c:pt idx="4560">
                  <c:v>#N/A</c:v>
                </c:pt>
                <c:pt idx="4561">
                  <c:v>2.9290500000000002</c:v>
                </c:pt>
                <c:pt idx="4562">
                  <c:v>2.7077499999999999</c:v>
                </c:pt>
                <c:pt idx="4563">
                  <c:v>2.9235899999999999</c:v>
                </c:pt>
                <c:pt idx="4564">
                  <c:v>#N/A</c:v>
                </c:pt>
                <c:pt idx="4565">
                  <c:v>2.3793199999999999</c:v>
                </c:pt>
                <c:pt idx="4566">
                  <c:v>1.95557</c:v>
                </c:pt>
                <c:pt idx="4567">
                  <c:v>2.4425599999999998</c:v>
                </c:pt>
                <c:pt idx="4568">
                  <c:v>#N/A</c:v>
                </c:pt>
                <c:pt idx="4569">
                  <c:v>2.5341200000000002</c:v>
                </c:pt>
                <c:pt idx="4570">
                  <c:v>3.3491499999999998</c:v>
                </c:pt>
                <c:pt idx="4571">
                  <c:v>3.10392</c:v>
                </c:pt>
                <c:pt idx="4572">
                  <c:v>#N/A</c:v>
                </c:pt>
                <c:pt idx="4573">
                  <c:v>2.8008199999999999</c:v>
                </c:pt>
                <c:pt idx="4574">
                  <c:v>2.2795299999999998</c:v>
                </c:pt>
                <c:pt idx="4575">
                  <c:v>#N/A</c:v>
                </c:pt>
                <c:pt idx="4576">
                  <c:v>2.6238100000000002</c:v>
                </c:pt>
                <c:pt idx="4577">
                  <c:v>2.2770000000000001</c:v>
                </c:pt>
                <c:pt idx="4578">
                  <c:v>2.6267800000000001</c:v>
                </c:pt>
                <c:pt idx="4579">
                  <c:v>#N/A</c:v>
                </c:pt>
                <c:pt idx="4580">
                  <c:v>2.7572399999999999</c:v>
                </c:pt>
                <c:pt idx="4581">
                  <c:v>3.0089700000000001</c:v>
                </c:pt>
                <c:pt idx="4582">
                  <c:v>2.5768300000000002</c:v>
                </c:pt>
                <c:pt idx="4583">
                  <c:v>#N/A</c:v>
                </c:pt>
                <c:pt idx="4584">
                  <c:v>2.3758599999999999</c:v>
                </c:pt>
                <c:pt idx="4585">
                  <c:v>2.0358700000000001</c:v>
                </c:pt>
                <c:pt idx="4586">
                  <c:v>#N/A</c:v>
                </c:pt>
                <c:pt idx="4587">
                  <c:v>1.92435</c:v>
                </c:pt>
                <c:pt idx="4588">
                  <c:v>2.03634</c:v>
                </c:pt>
                <c:pt idx="4589">
                  <c:v>2.6964000000000001</c:v>
                </c:pt>
                <c:pt idx="4590">
                  <c:v>#N/A</c:v>
                </c:pt>
                <c:pt idx="4591">
                  <c:v>3.3232300000000001</c:v>
                </c:pt>
                <c:pt idx="4592">
                  <c:v>3.29237</c:v>
                </c:pt>
                <c:pt idx="4593">
                  <c:v>3.29393</c:v>
                </c:pt>
                <c:pt idx="4594">
                  <c:v>#N/A</c:v>
                </c:pt>
                <c:pt idx="4595">
                  <c:v>2.9610300000000001</c:v>
                </c:pt>
                <c:pt idx="4596">
                  <c:v>2.0779399999999999</c:v>
                </c:pt>
                <c:pt idx="4597">
                  <c:v>1.7912699999999999</c:v>
                </c:pt>
                <c:pt idx="4598">
                  <c:v>#N/A</c:v>
                </c:pt>
                <c:pt idx="4599">
                  <c:v>1.90568</c:v>
                </c:pt>
                <c:pt idx="4600">
                  <c:v>2.8023099999999999</c:v>
                </c:pt>
                <c:pt idx="4601">
                  <c:v>2.9546600000000001</c:v>
                </c:pt>
                <c:pt idx="4602">
                  <c:v>#N/A</c:v>
                </c:pt>
                <c:pt idx="4603">
                  <c:v>3.0802200000000002</c:v>
                </c:pt>
                <c:pt idx="4604">
                  <c:v>3.0922200000000002</c:v>
                </c:pt>
                <c:pt idx="4605">
                  <c:v>#N/A</c:v>
                </c:pt>
                <c:pt idx="4606">
                  <c:v>2.2031100000000001</c:v>
                </c:pt>
                <c:pt idx="4607">
                  <c:v>2.42936</c:v>
                </c:pt>
                <c:pt idx="4608">
                  <c:v>1.7104900000000001</c:v>
                </c:pt>
                <c:pt idx="4609">
                  <c:v>#N/A</c:v>
                </c:pt>
                <c:pt idx="4610">
                  <c:v>2.36842</c:v>
                </c:pt>
                <c:pt idx="4611">
                  <c:v>3.0325099999999998</c:v>
                </c:pt>
                <c:pt idx="4612">
                  <c:v>3.4999699999999998</c:v>
                </c:pt>
                <c:pt idx="4613">
                  <c:v>#N/A</c:v>
                </c:pt>
                <c:pt idx="4614">
                  <c:v>3.3256399999999999</c:v>
                </c:pt>
                <c:pt idx="4615">
                  <c:v>2.5620500000000002</c:v>
                </c:pt>
                <c:pt idx="4616">
                  <c:v>#N/A</c:v>
                </c:pt>
                <c:pt idx="4617">
                  <c:v>1.99072</c:v>
                </c:pt>
                <c:pt idx="4618">
                  <c:v>2.0002200000000001</c:v>
                </c:pt>
                <c:pt idx="4619">
                  <c:v>2.2692700000000001</c:v>
                </c:pt>
                <c:pt idx="4620">
                  <c:v>#N/A</c:v>
                </c:pt>
                <c:pt idx="4621">
                  <c:v>2.5662500000000001</c:v>
                </c:pt>
                <c:pt idx="4622">
                  <c:v>2.4950899999999998</c:v>
                </c:pt>
                <c:pt idx="4623">
                  <c:v>2.7210700000000001</c:v>
                </c:pt>
                <c:pt idx="4624">
                  <c:v>#N/A</c:v>
                </c:pt>
                <c:pt idx="4625">
                  <c:v>2.6280600000000001</c:v>
                </c:pt>
                <c:pt idx="4626">
                  <c:v>2.3723800000000002</c:v>
                </c:pt>
                <c:pt idx="4627">
                  <c:v>2.0681400000000001</c:v>
                </c:pt>
                <c:pt idx="4628">
                  <c:v>#N/A</c:v>
                </c:pt>
                <c:pt idx="4629">
                  <c:v>2.1240399999999999</c:v>
                </c:pt>
                <c:pt idx="4630">
                  <c:v>2.35338</c:v>
                </c:pt>
                <c:pt idx="4631">
                  <c:v>2.6313499999999999</c:v>
                </c:pt>
                <c:pt idx="4632">
                  <c:v>#N/A</c:v>
                </c:pt>
                <c:pt idx="4633">
                  <c:v>2.7749299999999999</c:v>
                </c:pt>
                <c:pt idx="4634">
                  <c:v>2.7067299999999999</c:v>
                </c:pt>
                <c:pt idx="4635">
                  <c:v>#N/A</c:v>
                </c:pt>
                <c:pt idx="4636">
                  <c:v>3.0897600000000001</c:v>
                </c:pt>
                <c:pt idx="4637">
                  <c:v>2.6194199999999999</c:v>
                </c:pt>
                <c:pt idx="4638">
                  <c:v>2.10697</c:v>
                </c:pt>
                <c:pt idx="4639">
                  <c:v>#N/A</c:v>
                </c:pt>
                <c:pt idx="4640">
                  <c:v>2.3415699999999999</c:v>
                </c:pt>
                <c:pt idx="4641">
                  <c:v>2.2937400000000001</c:v>
                </c:pt>
                <c:pt idx="4642">
                  <c:v>2.5001799999999998</c:v>
                </c:pt>
                <c:pt idx="4643">
                  <c:v>#N/A</c:v>
                </c:pt>
                <c:pt idx="4644">
                  <c:v>2.7004899999999998</c:v>
                </c:pt>
                <c:pt idx="4645">
                  <c:v>3.0508600000000001</c:v>
                </c:pt>
                <c:pt idx="4646">
                  <c:v>2.40951</c:v>
                </c:pt>
                <c:pt idx="4647">
                  <c:v>#N/A</c:v>
                </c:pt>
                <c:pt idx="4648">
                  <c:v>1.8701000000000001</c:v>
                </c:pt>
                <c:pt idx="4649">
                  <c:v>2.0607899999999999</c:v>
                </c:pt>
                <c:pt idx="4650">
                  <c:v>2.38042</c:v>
                </c:pt>
                <c:pt idx="4651">
                  <c:v>#N/A</c:v>
                </c:pt>
                <c:pt idx="4652">
                  <c:v>2.77271</c:v>
                </c:pt>
                <c:pt idx="4653">
                  <c:v>#N/A</c:v>
                </c:pt>
                <c:pt idx="4654">
                  <c:v>3.1676700000000002</c:v>
                </c:pt>
                <c:pt idx="4655">
                  <c:v>3.4327100000000002</c:v>
                </c:pt>
                <c:pt idx="4656">
                  <c:v>#N/A</c:v>
                </c:pt>
                <c:pt idx="4657">
                  <c:v>2.7485400000000002</c:v>
                </c:pt>
                <c:pt idx="4658">
                  <c:v>2.1825299999999999</c:v>
                </c:pt>
                <c:pt idx="4659">
                  <c:v>#N/A</c:v>
                </c:pt>
                <c:pt idx="4660">
                  <c:v>1.98624</c:v>
                </c:pt>
                <c:pt idx="4661">
                  <c:v>1.9975000000000001</c:v>
                </c:pt>
                <c:pt idx="4662">
                  <c:v>2.5556899999999998</c:v>
                </c:pt>
                <c:pt idx="4663">
                  <c:v>#N/A</c:v>
                </c:pt>
                <c:pt idx="4664">
                  <c:v>2.50658</c:v>
                </c:pt>
                <c:pt idx="4665">
                  <c:v>2.9735800000000001</c:v>
                </c:pt>
                <c:pt idx="4666">
                  <c:v>3.0635400000000002</c:v>
                </c:pt>
                <c:pt idx="4667">
                  <c:v>#N/A</c:v>
                </c:pt>
                <c:pt idx="4668">
                  <c:v>3.10948</c:v>
                </c:pt>
                <c:pt idx="4669">
                  <c:v>2.01451</c:v>
                </c:pt>
                <c:pt idx="4670">
                  <c:v>1.86873</c:v>
                </c:pt>
                <c:pt idx="4671">
                  <c:v>#N/A</c:v>
                </c:pt>
                <c:pt idx="4672">
                  <c:v>2.1230699999999998</c:v>
                </c:pt>
                <c:pt idx="4673">
                  <c:v>2.8073100000000002</c:v>
                </c:pt>
                <c:pt idx="4674">
                  <c:v>3.2080700000000002</c:v>
                </c:pt>
                <c:pt idx="4675">
                  <c:v>#N/A</c:v>
                </c:pt>
                <c:pt idx="4676">
                  <c:v>3.0555699999999999</c:v>
                </c:pt>
                <c:pt idx="4677">
                  <c:v>2.2924799999999999</c:v>
                </c:pt>
                <c:pt idx="4678">
                  <c:v>2.5184600000000001</c:v>
                </c:pt>
                <c:pt idx="4679">
                  <c:v>#N/A</c:v>
                </c:pt>
                <c:pt idx="4680">
                  <c:v>2.6575099999999998</c:v>
                </c:pt>
                <c:pt idx="4681">
                  <c:v>1.89564</c:v>
                </c:pt>
                <c:pt idx="4682">
                  <c:v>2.0222500000000001</c:v>
                </c:pt>
                <c:pt idx="4683">
                  <c:v>#N/A</c:v>
                </c:pt>
                <c:pt idx="4684">
                  <c:v>2.5932400000000002</c:v>
                </c:pt>
                <c:pt idx="4685">
                  <c:v>2.6501000000000001</c:v>
                </c:pt>
                <c:pt idx="4686">
                  <c:v>2.51275</c:v>
                </c:pt>
                <c:pt idx="4687">
                  <c:v>#N/A</c:v>
                </c:pt>
                <c:pt idx="4688">
                  <c:v>2.3715199999999999</c:v>
                </c:pt>
                <c:pt idx="4689">
                  <c:v>2.47221</c:v>
                </c:pt>
                <c:pt idx="4690">
                  <c:v>#N/A</c:v>
                </c:pt>
                <c:pt idx="4691">
                  <c:v>2.2001900000000001</c:v>
                </c:pt>
                <c:pt idx="4692">
                  <c:v>2.2013500000000001</c:v>
                </c:pt>
                <c:pt idx="4693">
                  <c:v>2.2730000000000001</c:v>
                </c:pt>
                <c:pt idx="4694">
                  <c:v>#N/A</c:v>
                </c:pt>
                <c:pt idx="4695">
                  <c:v>2.6953900000000002</c:v>
                </c:pt>
                <c:pt idx="4696">
                  <c:v>3.1703600000000001</c:v>
                </c:pt>
                <c:pt idx="4697">
                  <c:v>3.5435300000000001</c:v>
                </c:pt>
                <c:pt idx="4698">
                  <c:v>#N/A</c:v>
                </c:pt>
                <c:pt idx="4699">
                  <c:v>2.8619400000000002</c:v>
                </c:pt>
                <c:pt idx="4700">
                  <c:v>2.0537999999999998</c:v>
                </c:pt>
                <c:pt idx="4701">
                  <c:v>1.93072</c:v>
                </c:pt>
                <c:pt idx="4702">
                  <c:v>#N/A</c:v>
                </c:pt>
                <c:pt idx="4703">
                  <c:v>1.75376</c:v>
                </c:pt>
                <c:pt idx="4704">
                  <c:v>2.5516800000000002</c:v>
                </c:pt>
                <c:pt idx="4705">
                  <c:v>2.67761</c:v>
                </c:pt>
                <c:pt idx="4706">
                  <c:v>#N/A</c:v>
                </c:pt>
                <c:pt idx="4707">
                  <c:v>2.51824</c:v>
                </c:pt>
                <c:pt idx="4708">
                  <c:v>2.4750100000000002</c:v>
                </c:pt>
                <c:pt idx="4709">
                  <c:v>2.95505</c:v>
                </c:pt>
                <c:pt idx="4710">
                  <c:v>#N/A</c:v>
                </c:pt>
                <c:pt idx="4711">
                  <c:v>2.3536299999999999</c:v>
                </c:pt>
                <c:pt idx="4712">
                  <c:v>1.8444100000000001</c:v>
                </c:pt>
                <c:pt idx="4713">
                  <c:v>1.9859100000000001</c:v>
                </c:pt>
                <c:pt idx="4714">
                  <c:v>#N/A</c:v>
                </c:pt>
                <c:pt idx="4715">
                  <c:v>2.0659700000000001</c:v>
                </c:pt>
                <c:pt idx="4716">
                  <c:v>3.4228700000000001</c:v>
                </c:pt>
                <c:pt idx="4717">
                  <c:v>2.8422399999999999</c:v>
                </c:pt>
                <c:pt idx="4718">
                  <c:v>#N/A</c:v>
                </c:pt>
                <c:pt idx="4719">
                  <c:v>2.8851</c:v>
                </c:pt>
                <c:pt idx="4720">
                  <c:v>3.1463199999999998</c:v>
                </c:pt>
                <c:pt idx="4721">
                  <c:v>#N/A</c:v>
                </c:pt>
                <c:pt idx="4722">
                  <c:v>2.3255499999999998</c:v>
                </c:pt>
                <c:pt idx="4723">
                  <c:v>1.80643</c:v>
                </c:pt>
                <c:pt idx="4724">
                  <c:v>1.8062499999999999</c:v>
                </c:pt>
                <c:pt idx="4725">
                  <c:v>#N/A</c:v>
                </c:pt>
                <c:pt idx="4726">
                  <c:v>3.0256500000000002</c:v>
                </c:pt>
                <c:pt idx="4727">
                  <c:v>#N/A</c:v>
                </c:pt>
                <c:pt idx="4728">
                  <c:v>3.1153400000000002</c:v>
                </c:pt>
                <c:pt idx="4729">
                  <c:v>2.5400499999999999</c:v>
                </c:pt>
                <c:pt idx="4730">
                  <c:v>#N/A</c:v>
                </c:pt>
                <c:pt idx="4731">
                  <c:v>2.0442800000000001</c:v>
                </c:pt>
                <c:pt idx="4732">
                  <c:v>2.3635999999999999</c:v>
                </c:pt>
                <c:pt idx="4733">
                  <c:v>2.4434999999999998</c:v>
                </c:pt>
                <c:pt idx="4734">
                  <c:v>#N/A</c:v>
                </c:pt>
                <c:pt idx="4735">
                  <c:v>3.1327400000000001</c:v>
                </c:pt>
                <c:pt idx="4736">
                  <c:v>3.1527500000000002</c:v>
                </c:pt>
                <c:pt idx="4737">
                  <c:v>3.8098299999999998</c:v>
                </c:pt>
                <c:pt idx="4738">
                  <c:v>#N/A</c:v>
                </c:pt>
                <c:pt idx="4739">
                  <c:v>2.9128099999999999</c:v>
                </c:pt>
                <c:pt idx="4740">
                  <c:v>3.1104400000000001</c:v>
                </c:pt>
                <c:pt idx="4741">
                  <c:v>2.4746700000000001</c:v>
                </c:pt>
                <c:pt idx="4742">
                  <c:v>#N/A</c:v>
                </c:pt>
                <c:pt idx="4743">
                  <c:v>1.7739799999999999</c:v>
                </c:pt>
                <c:pt idx="4744">
                  <c:v>2.23237</c:v>
                </c:pt>
                <c:pt idx="4745">
                  <c:v>2.3837199999999998</c:v>
                </c:pt>
                <c:pt idx="4746">
                  <c:v>#N/A</c:v>
                </c:pt>
                <c:pt idx="4747">
                  <c:v>3.1190000000000002</c:v>
                </c:pt>
                <c:pt idx="4748">
                  <c:v>2.8896500000000001</c:v>
                </c:pt>
                <c:pt idx="4749">
                  <c:v>#N/A</c:v>
                </c:pt>
                <c:pt idx="4750">
                  <c:v>3.0367700000000002</c:v>
                </c:pt>
                <c:pt idx="4751">
                  <c:v>2.5474399999999999</c:v>
                </c:pt>
                <c:pt idx="4752">
                  <c:v>2.0727099999999998</c:v>
                </c:pt>
                <c:pt idx="4753">
                  <c:v>#N/A</c:v>
                </c:pt>
                <c:pt idx="4754">
                  <c:v>2.1071599999999999</c:v>
                </c:pt>
                <c:pt idx="4755">
                  <c:v>1.6998500000000001</c:v>
                </c:pt>
                <c:pt idx="4756">
                  <c:v>2.6022099999999999</c:v>
                </c:pt>
                <c:pt idx="4757">
                  <c:v>#N/A</c:v>
                </c:pt>
                <c:pt idx="4758">
                  <c:v>3.3190300000000001</c:v>
                </c:pt>
                <c:pt idx="4759">
                  <c:v>3.6405599999999998</c:v>
                </c:pt>
                <c:pt idx="4760">
                  <c:v>3.7049799999999999</c:v>
                </c:pt>
                <c:pt idx="4761">
                  <c:v>#N/A</c:v>
                </c:pt>
                <c:pt idx="4762">
                  <c:v>3.3628300000000002</c:v>
                </c:pt>
                <c:pt idx="4763">
                  <c:v>2.8438400000000001</c:v>
                </c:pt>
                <c:pt idx="4764">
                  <c:v>2.89506</c:v>
                </c:pt>
                <c:pt idx="4765">
                  <c:v>#N/A</c:v>
                </c:pt>
                <c:pt idx="4766">
                  <c:v>2.5990099999999998</c:v>
                </c:pt>
                <c:pt idx="4767">
                  <c:v>2.2975599999999998</c:v>
                </c:pt>
                <c:pt idx="4768">
                  <c:v>2.0862699999999998</c:v>
                </c:pt>
                <c:pt idx="4769">
                  <c:v>#N/A</c:v>
                </c:pt>
                <c:pt idx="4770">
                  <c:v>2.78911</c:v>
                </c:pt>
                <c:pt idx="4771">
                  <c:v>2.9746199999999998</c:v>
                </c:pt>
                <c:pt idx="4772">
                  <c:v>3.10663</c:v>
                </c:pt>
                <c:pt idx="4773">
                  <c:v>#N/A</c:v>
                </c:pt>
                <c:pt idx="4774">
                  <c:v>2.4405399999999999</c:v>
                </c:pt>
                <c:pt idx="4775">
                  <c:v>2.1216300000000001</c:v>
                </c:pt>
                <c:pt idx="4776">
                  <c:v>2.5522200000000002</c:v>
                </c:pt>
                <c:pt idx="4777">
                  <c:v>#N/A</c:v>
                </c:pt>
                <c:pt idx="4778">
                  <c:v>2.32498</c:v>
                </c:pt>
                <c:pt idx="4779">
                  <c:v>3.2222599999999999</c:v>
                </c:pt>
                <c:pt idx="4780">
                  <c:v>#N/A</c:v>
                </c:pt>
                <c:pt idx="4781">
                  <c:v>3.6102699999999999</c:v>
                </c:pt>
                <c:pt idx="4782">
                  <c:v>3.00413</c:v>
                </c:pt>
                <c:pt idx="4783">
                  <c:v>2.8589000000000002</c:v>
                </c:pt>
                <c:pt idx="4784">
                  <c:v>#N/A</c:v>
                </c:pt>
                <c:pt idx="4785">
                  <c:v>2.2656900000000002</c:v>
                </c:pt>
                <c:pt idx="4786">
                  <c:v>2.4037999999999999</c:v>
                </c:pt>
                <c:pt idx="4787">
                  <c:v>2.42605</c:v>
                </c:pt>
                <c:pt idx="4788">
                  <c:v>#N/A</c:v>
                </c:pt>
                <c:pt idx="4789">
                  <c:v>2.9598399999999998</c:v>
                </c:pt>
                <c:pt idx="4790">
                  <c:v>3.01945</c:v>
                </c:pt>
                <c:pt idx="4791">
                  <c:v>#N/A</c:v>
                </c:pt>
                <c:pt idx="4792">
                  <c:v>2.5839799999999999</c:v>
                </c:pt>
                <c:pt idx="4793">
                  <c:v>2.58866</c:v>
                </c:pt>
                <c:pt idx="4794">
                  <c:v>2.51207</c:v>
                </c:pt>
                <c:pt idx="4795">
                  <c:v>#N/A</c:v>
                </c:pt>
                <c:pt idx="4796">
                  <c:v>2.23908</c:v>
                </c:pt>
                <c:pt idx="4797">
                  <c:v>2.2951000000000001</c:v>
                </c:pt>
                <c:pt idx="4798">
                  <c:v>2.3703599999999998</c:v>
                </c:pt>
                <c:pt idx="4799">
                  <c:v>#N/A</c:v>
                </c:pt>
                <c:pt idx="4800">
                  <c:v>3.1293899999999999</c:v>
                </c:pt>
                <c:pt idx="4801">
                  <c:v>3.5026899999999999</c:v>
                </c:pt>
                <c:pt idx="4802">
                  <c:v>#N/A</c:v>
                </c:pt>
                <c:pt idx="4803">
                  <c:v>2.7020900000000001</c:v>
                </c:pt>
                <c:pt idx="4804">
                  <c:v>2.4447000000000001</c:v>
                </c:pt>
                <c:pt idx="4805">
                  <c:v>1.9735499999999999</c:v>
                </c:pt>
                <c:pt idx="4806">
                  <c:v>#N/A</c:v>
                </c:pt>
                <c:pt idx="4807">
                  <c:v>2.7367599999999999</c:v>
                </c:pt>
                <c:pt idx="4808">
                  <c:v>2.5278</c:v>
                </c:pt>
                <c:pt idx="4809">
                  <c:v>2.8858600000000001</c:v>
                </c:pt>
                <c:pt idx="4810">
                  <c:v>#N/A</c:v>
                </c:pt>
                <c:pt idx="4811">
                  <c:v>2.7028699999999999</c:v>
                </c:pt>
                <c:pt idx="4812">
                  <c:v>2.7941099999999999</c:v>
                </c:pt>
                <c:pt idx="4813">
                  <c:v>2.5186999999999999</c:v>
                </c:pt>
                <c:pt idx="4814">
                  <c:v>#N/A</c:v>
                </c:pt>
                <c:pt idx="4815">
                  <c:v>2.1070799999999998</c:v>
                </c:pt>
                <c:pt idx="4816">
                  <c:v>2.1620699999999999</c:v>
                </c:pt>
                <c:pt idx="4817">
                  <c:v>2.24946</c:v>
                </c:pt>
                <c:pt idx="4818">
                  <c:v>#N/A</c:v>
                </c:pt>
                <c:pt idx="4819">
                  <c:v>3.1695000000000002</c:v>
                </c:pt>
                <c:pt idx="4820">
                  <c:v>3.2429100000000002</c:v>
                </c:pt>
                <c:pt idx="4821">
                  <c:v>3.6431200000000001</c:v>
                </c:pt>
                <c:pt idx="4822">
                  <c:v>#N/A</c:v>
                </c:pt>
                <c:pt idx="4823">
                  <c:v>3.75407</c:v>
                </c:pt>
                <c:pt idx="4824">
                  <c:v>2.4075299999999999</c:v>
                </c:pt>
                <c:pt idx="4825">
                  <c:v>#N/A</c:v>
                </c:pt>
                <c:pt idx="4826">
                  <c:v>1.9919800000000001</c:v>
                </c:pt>
                <c:pt idx="4827">
                  <c:v>1.61181</c:v>
                </c:pt>
                <c:pt idx="4828">
                  <c:v>1.9573799999999999</c:v>
                </c:pt>
                <c:pt idx="4829">
                  <c:v>#N/A</c:v>
                </c:pt>
                <c:pt idx="4830">
                  <c:v>2.6414300000000002</c:v>
                </c:pt>
                <c:pt idx="4831">
                  <c:v>2.6128</c:v>
                </c:pt>
                <c:pt idx="4832">
                  <c:v>2.9441899999999999</c:v>
                </c:pt>
                <c:pt idx="4833">
                  <c:v>#N/A</c:v>
                </c:pt>
                <c:pt idx="4834">
                  <c:v>2.16919</c:v>
                </c:pt>
                <c:pt idx="4835">
                  <c:v>2.0869800000000001</c:v>
                </c:pt>
                <c:pt idx="4836">
                  <c:v>1.9771099999999999</c:v>
                </c:pt>
                <c:pt idx="4837">
                  <c:v>#N/A</c:v>
                </c:pt>
                <c:pt idx="4838">
                  <c:v>1.33616</c:v>
                </c:pt>
                <c:pt idx="4839">
                  <c:v>1.5861400000000001</c:v>
                </c:pt>
                <c:pt idx="4840">
                  <c:v>#N/A</c:v>
                </c:pt>
                <c:pt idx="4841">
                  <c:v>2.17822</c:v>
                </c:pt>
                <c:pt idx="4842">
                  <c:v>2.6406499999999999</c:v>
                </c:pt>
                <c:pt idx="4843">
                  <c:v>3.06196</c:v>
                </c:pt>
                <c:pt idx="4844">
                  <c:v>#N/A</c:v>
                </c:pt>
                <c:pt idx="4845">
                  <c:v>2.9939</c:v>
                </c:pt>
                <c:pt idx="4846">
                  <c:v>3.1953399999999998</c:v>
                </c:pt>
                <c:pt idx="4847">
                  <c:v>2.5420500000000001</c:v>
                </c:pt>
                <c:pt idx="4848">
                  <c:v>#N/A</c:v>
                </c:pt>
                <c:pt idx="4849">
                  <c:v>2.27033</c:v>
                </c:pt>
                <c:pt idx="4850">
                  <c:v>2.1171000000000002</c:v>
                </c:pt>
                <c:pt idx="4851">
                  <c:v>#N/A</c:v>
                </c:pt>
                <c:pt idx="4852">
                  <c:v>2.3623599999999998</c:v>
                </c:pt>
                <c:pt idx="4853">
                  <c:v>2.6303399999999999</c:v>
                </c:pt>
                <c:pt idx="4854">
                  <c:v>3.3499400000000001</c:v>
                </c:pt>
                <c:pt idx="4855">
                  <c:v>#N/A</c:v>
                </c:pt>
                <c:pt idx="4856">
                  <c:v>3.2385000000000002</c:v>
                </c:pt>
                <c:pt idx="4857">
                  <c:v>2.6561300000000001</c:v>
                </c:pt>
                <c:pt idx="4858">
                  <c:v>2.7932999999999999</c:v>
                </c:pt>
                <c:pt idx="4859">
                  <c:v>#N/A</c:v>
                </c:pt>
                <c:pt idx="4860">
                  <c:v>2.3511799999999998</c:v>
                </c:pt>
                <c:pt idx="4861">
                  <c:v>2.6446700000000001</c:v>
                </c:pt>
                <c:pt idx="4862">
                  <c:v>3.0472199999999998</c:v>
                </c:pt>
                <c:pt idx="4863">
                  <c:v>#N/A</c:v>
                </c:pt>
                <c:pt idx="4864">
                  <c:v>2.91961</c:v>
                </c:pt>
                <c:pt idx="4865">
                  <c:v>2.5222099999999998</c:v>
                </c:pt>
                <c:pt idx="4866">
                  <c:v>2.4463900000000001</c:v>
                </c:pt>
                <c:pt idx="4867">
                  <c:v>#N/A</c:v>
                </c:pt>
                <c:pt idx="4868">
                  <c:v>2.9602900000000001</c:v>
                </c:pt>
                <c:pt idx="4869">
                  <c:v>2.3410600000000001</c:v>
                </c:pt>
                <c:pt idx="4870">
                  <c:v>2.2928899999999999</c:v>
                </c:pt>
                <c:pt idx="4871">
                  <c:v>#N/A</c:v>
                </c:pt>
                <c:pt idx="4872">
                  <c:v>2.6840299999999999</c:v>
                </c:pt>
                <c:pt idx="4873">
                  <c:v>2.3817699999999999</c:v>
                </c:pt>
                <c:pt idx="4874">
                  <c:v>2.7399900000000001</c:v>
                </c:pt>
                <c:pt idx="4875">
                  <c:v>#N/A</c:v>
                </c:pt>
                <c:pt idx="4876">
                  <c:v>2.6244900000000002</c:v>
                </c:pt>
                <c:pt idx="4877">
                  <c:v>#N/A</c:v>
                </c:pt>
                <c:pt idx="4878">
                  <c:v>2.0698400000000001</c:v>
                </c:pt>
                <c:pt idx="4879">
                  <c:v>2.2583000000000002</c:v>
                </c:pt>
                <c:pt idx="4880">
                  <c:v>#N/A</c:v>
                </c:pt>
                <c:pt idx="4881">
                  <c:v>2.5134400000000001</c:v>
                </c:pt>
                <c:pt idx="4882">
                  <c:v>2.95275</c:v>
                </c:pt>
                <c:pt idx="4883">
                  <c:v>#N/A</c:v>
                </c:pt>
                <c:pt idx="4884">
                  <c:v>3.8332999999999999</c:v>
                </c:pt>
                <c:pt idx="4885">
                  <c:v>2.8898899999999998</c:v>
                </c:pt>
                <c:pt idx="4886">
                  <c:v>#N/A</c:v>
                </c:pt>
                <c:pt idx="4887">
                  <c:v>2.3199299999999998</c:v>
                </c:pt>
                <c:pt idx="4888">
                  <c:v>1.92801</c:v>
                </c:pt>
                <c:pt idx="4889">
                  <c:v>1.9187099999999999</c:v>
                </c:pt>
                <c:pt idx="4890">
                  <c:v>#N/A</c:v>
                </c:pt>
                <c:pt idx="4891">
                  <c:v>2.21577</c:v>
                </c:pt>
                <c:pt idx="4892">
                  <c:v>2.9005299999999998</c:v>
                </c:pt>
                <c:pt idx="4893">
                  <c:v>3.0034399999999999</c:v>
                </c:pt>
                <c:pt idx="4894">
                  <c:v>#N/A</c:v>
                </c:pt>
                <c:pt idx="4895">
                  <c:v>3.15205</c:v>
                </c:pt>
                <c:pt idx="4896">
                  <c:v>3.2347800000000002</c:v>
                </c:pt>
                <c:pt idx="4897">
                  <c:v>2.1442000000000001</c:v>
                </c:pt>
                <c:pt idx="4898">
                  <c:v>#N/A</c:v>
                </c:pt>
                <c:pt idx="4899">
                  <c:v>1.79392</c:v>
                </c:pt>
                <c:pt idx="4900">
                  <c:v>1.63558</c:v>
                </c:pt>
                <c:pt idx="4901">
                  <c:v>2.4818500000000001</c:v>
                </c:pt>
                <c:pt idx="4902">
                  <c:v>#N/A</c:v>
                </c:pt>
                <c:pt idx="4903">
                  <c:v>2.7002100000000002</c:v>
                </c:pt>
                <c:pt idx="4904">
                  <c:v>3.4316499999999999</c:v>
                </c:pt>
                <c:pt idx="4905">
                  <c:v>3.3795299999999999</c:v>
                </c:pt>
                <c:pt idx="4906">
                  <c:v>#N/A</c:v>
                </c:pt>
                <c:pt idx="4907">
                  <c:v>3.9127100000000001</c:v>
                </c:pt>
                <c:pt idx="4908">
                  <c:v>3.28912</c:v>
                </c:pt>
                <c:pt idx="4909">
                  <c:v>2.6826500000000002</c:v>
                </c:pt>
                <c:pt idx="4910">
                  <c:v>#N/A</c:v>
                </c:pt>
                <c:pt idx="4911">
                  <c:v>2.1337799999999998</c:v>
                </c:pt>
                <c:pt idx="4912">
                  <c:v>1.5099199999999999</c:v>
                </c:pt>
                <c:pt idx="4913">
                  <c:v>2.1324000000000001</c:v>
                </c:pt>
                <c:pt idx="4914">
                  <c:v>#N/A</c:v>
                </c:pt>
                <c:pt idx="4915">
                  <c:v>2.5207899999999999</c:v>
                </c:pt>
                <c:pt idx="4916">
                  <c:v>2.85025</c:v>
                </c:pt>
                <c:pt idx="4917">
                  <c:v>#N/A</c:v>
                </c:pt>
                <c:pt idx="4918">
                  <c:v>2.70668</c:v>
                </c:pt>
                <c:pt idx="4919">
                  <c:v>2.5175999999999998</c:v>
                </c:pt>
                <c:pt idx="4920">
                  <c:v>2.50014</c:v>
                </c:pt>
                <c:pt idx="4921">
                  <c:v>#N/A</c:v>
                </c:pt>
                <c:pt idx="4922">
                  <c:v>2.01627</c:v>
                </c:pt>
                <c:pt idx="4923">
                  <c:v>2.3996900000000001</c:v>
                </c:pt>
                <c:pt idx="4924">
                  <c:v>2.86232</c:v>
                </c:pt>
                <c:pt idx="4925">
                  <c:v>#N/A</c:v>
                </c:pt>
                <c:pt idx="4926">
                  <c:v>3.0803400000000001</c:v>
                </c:pt>
                <c:pt idx="4927">
                  <c:v>3.3303199999999999</c:v>
                </c:pt>
                <c:pt idx="4928">
                  <c:v>3.3176199999999998</c:v>
                </c:pt>
                <c:pt idx="4929">
                  <c:v>#N/A</c:v>
                </c:pt>
                <c:pt idx="4930">
                  <c:v>3.1796600000000002</c:v>
                </c:pt>
                <c:pt idx="4931">
                  <c:v>3.0369199999999998</c:v>
                </c:pt>
                <c:pt idx="4932">
                  <c:v>#N/A</c:v>
                </c:pt>
                <c:pt idx="4933">
                  <c:v>2.5885500000000001</c:v>
                </c:pt>
                <c:pt idx="4934">
                  <c:v>2.1749499999999999</c:v>
                </c:pt>
                <c:pt idx="4935">
                  <c:v>2.3827799999999999</c:v>
                </c:pt>
                <c:pt idx="4936">
                  <c:v>#N/A</c:v>
                </c:pt>
                <c:pt idx="4937">
                  <c:v>2.66791</c:v>
                </c:pt>
                <c:pt idx="4938">
                  <c:v>2.3506100000000001</c:v>
                </c:pt>
                <c:pt idx="4939">
                  <c:v>2.3853300000000002</c:v>
                </c:pt>
                <c:pt idx="4940">
                  <c:v>#N/A</c:v>
                </c:pt>
                <c:pt idx="4941">
                  <c:v>1.6319999999999999</c:v>
                </c:pt>
                <c:pt idx="4942">
                  <c:v>3.5318099999999998E-2</c:v>
                </c:pt>
                <c:pt idx="4943">
                  <c:v>#N/A</c:v>
                </c:pt>
                <c:pt idx="4944">
                  <c:v>-0.83252700000000002</c:v>
                </c:pt>
                <c:pt idx="4945">
                  <c:v>-3.5551300000000001</c:v>
                </c:pt>
                <c:pt idx="4946">
                  <c:v>-5.34375</c:v>
                </c:pt>
                <c:pt idx="4947">
                  <c:v>#N/A</c:v>
                </c:pt>
                <c:pt idx="4948">
                  <c:v>-7.1607500000000002</c:v>
                </c:pt>
                <c:pt idx="4949">
                  <c:v>-8.4838199999999997</c:v>
                </c:pt>
                <c:pt idx="4950">
                  <c:v>-10.848100000000001</c:v>
                </c:pt>
                <c:pt idx="4951">
                  <c:v>#N/A</c:v>
                </c:pt>
                <c:pt idx="4952">
                  <c:v>-12.531700000000001</c:v>
                </c:pt>
                <c:pt idx="4953">
                  <c:v>-13.8743</c:v>
                </c:pt>
                <c:pt idx="4954">
                  <c:v>-14.8018</c:v>
                </c:pt>
                <c:pt idx="4955">
                  <c:v>#N/A</c:v>
                </c:pt>
                <c:pt idx="4956">
                  <c:v>-16.195799999999998</c:v>
                </c:pt>
                <c:pt idx="4957">
                  <c:v>-16.921099999999999</c:v>
                </c:pt>
                <c:pt idx="4958">
                  <c:v>-17.056100000000001</c:v>
                </c:pt>
                <c:pt idx="4959">
                  <c:v>#N/A</c:v>
                </c:pt>
                <c:pt idx="4960">
                  <c:v>-17.633400000000002</c:v>
                </c:pt>
                <c:pt idx="4961">
                  <c:v>-16.587199999999999</c:v>
                </c:pt>
                <c:pt idx="4962">
                  <c:v>-15.0837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0.20864199999999999</c:v>
                </c:pt>
                <c:pt idx="5035">
                  <c:v>#N/A</c:v>
                </c:pt>
                <c:pt idx="5036">
                  <c:v>9.5684900000000003E-2</c:v>
                </c:pt>
                <c:pt idx="5037">
                  <c:v>0.26019399999999998</c:v>
                </c:pt>
                <c:pt idx="5038">
                  <c:v>1.3333599999999999E-2</c:v>
                </c:pt>
                <c:pt idx="5039">
                  <c:v>#N/A</c:v>
                </c:pt>
                <c:pt idx="5040">
                  <c:v>-5.1041700000000002E-2</c:v>
                </c:pt>
                <c:pt idx="5041">
                  <c:v>-0.106798</c:v>
                </c:pt>
                <c:pt idx="5042">
                  <c:v>-5.62748E-2</c:v>
                </c:pt>
                <c:pt idx="5043">
                  <c:v>#N/A</c:v>
                </c:pt>
                <c:pt idx="5044">
                  <c:v>-0.35580800000000001</c:v>
                </c:pt>
                <c:pt idx="5045">
                  <c:v>-0.35569800000000001</c:v>
                </c:pt>
                <c:pt idx="5046">
                  <c:v>#N/A</c:v>
                </c:pt>
                <c:pt idx="5047">
                  <c:v>-0.71973799999999999</c:v>
                </c:pt>
                <c:pt idx="5048">
                  <c:v>-0.47891</c:v>
                </c:pt>
                <c:pt idx="5049">
                  <c:v>-0.74851000000000001</c:v>
                </c:pt>
                <c:pt idx="5050">
                  <c:v>#N/A</c:v>
                </c:pt>
                <c:pt idx="5051">
                  <c:v>-2.6421999999999999</c:v>
                </c:pt>
                <c:pt idx="5052">
                  <c:v>-4.109</c:v>
                </c:pt>
                <c:pt idx="5053">
                  <c:v>-5.6842600000000001</c:v>
                </c:pt>
                <c:pt idx="5054">
                  <c:v>#N/A</c:v>
                </c:pt>
                <c:pt idx="5055">
                  <c:v>-7.0939800000000002</c:v>
                </c:pt>
                <c:pt idx="5056">
                  <c:v>-8.9533900000000006</c:v>
                </c:pt>
                <c:pt idx="5057">
                  <c:v>-10.2342</c:v>
                </c:pt>
                <c:pt idx="5058">
                  <c:v>#N/A</c:v>
                </c:pt>
                <c:pt idx="5059">
                  <c:v>-11.572100000000001</c:v>
                </c:pt>
                <c:pt idx="5060">
                  <c:v>-12.935700000000001</c:v>
                </c:pt>
                <c:pt idx="5061">
                  <c:v>-14.305899999999999</c:v>
                </c:pt>
                <c:pt idx="5062">
                  <c:v>#N/A</c:v>
                </c:pt>
                <c:pt idx="5063">
                  <c:v>-16.848199999999999</c:v>
                </c:pt>
                <c:pt idx="5064">
                  <c:v>-17.470300000000002</c:v>
                </c:pt>
                <c:pt idx="5065">
                  <c:v>-18.692599999999999</c:v>
                </c:pt>
                <c:pt idx="5066">
                  <c:v>#N/A</c:v>
                </c:pt>
                <c:pt idx="5067">
                  <c:v>-18.994700000000002</c:v>
                </c:pt>
                <c:pt idx="5068">
                  <c:v>-19.515000000000001</c:v>
                </c:pt>
                <c:pt idx="5069">
                  <c:v>-19.2088</c:v>
                </c:pt>
                <c:pt idx="5070">
                  <c:v>#N/A</c:v>
                </c:pt>
                <c:pt idx="5071">
                  <c:v>-19.5623</c:v>
                </c:pt>
                <c:pt idx="5072">
                  <c:v>-19.6035</c:v>
                </c:pt>
                <c:pt idx="5073">
                  <c:v>-18.174600000000002</c:v>
                </c:pt>
                <c:pt idx="5074">
                  <c:v>#N/A</c:v>
                </c:pt>
                <c:pt idx="5075">
                  <c:v>-17.724299999999999</c:v>
                </c:pt>
                <c:pt idx="5076">
                  <c:v>-17.876100000000001</c:v>
                </c:pt>
                <c:pt idx="5077">
                  <c:v>#N/A</c:v>
                </c:pt>
                <c:pt idx="5078">
                  <c:v>-16.967700000000001</c:v>
                </c:pt>
                <c:pt idx="5079">
                  <c:v>-16.9025</c:v>
                </c:pt>
                <c:pt idx="5080">
                  <c:v>-16.780899999999999</c:v>
                </c:pt>
                <c:pt idx="5081">
                  <c:v>#N/A</c:v>
                </c:pt>
                <c:pt idx="5082">
                  <c:v>-16.308800000000002</c:v>
                </c:pt>
                <c:pt idx="5083">
                  <c:v>-15.9869</c:v>
                </c:pt>
                <c:pt idx="5084">
                  <c:v>-14.324199999999999</c:v>
                </c:pt>
                <c:pt idx="5085">
                  <c:v>#N/A</c:v>
                </c:pt>
                <c:pt idx="5086">
                  <c:v>-12.533200000000001</c:v>
                </c:pt>
                <c:pt idx="5087">
                  <c:v>-11.166399999999999</c:v>
                </c:pt>
                <c:pt idx="5088">
                  <c:v>-8.7561999999999998</c:v>
                </c:pt>
                <c:pt idx="5089">
                  <c:v>#N/A</c:v>
                </c:pt>
                <c:pt idx="5090">
                  <c:v>-6.9710599999999996</c:v>
                </c:pt>
                <c:pt idx="5091">
                  <c:v>-6.2535699999999999</c:v>
                </c:pt>
                <c:pt idx="5092">
                  <c:v>-6.0350900000000003</c:v>
                </c:pt>
                <c:pt idx="5093">
                  <c:v>#N/A</c:v>
                </c:pt>
                <c:pt idx="5094">
                  <c:v>-4.6941100000000002</c:v>
                </c:pt>
                <c:pt idx="5095">
                  <c:v>-4.1389699999999996</c:v>
                </c:pt>
                <c:pt idx="5096">
                  <c:v>#N/A</c:v>
                </c:pt>
                <c:pt idx="5097">
                  <c:v>-3.5764499999999999</c:v>
                </c:pt>
                <c:pt idx="5098">
                  <c:v>-3.1265399999999999</c:v>
                </c:pt>
                <c:pt idx="5099">
                  <c:v>-1.7401</c:v>
                </c:pt>
                <c:pt idx="5100">
                  <c:v>#N/A</c:v>
                </c:pt>
                <c:pt idx="5101">
                  <c:v>-1.08049</c:v>
                </c:pt>
                <c:pt idx="5102">
                  <c:v>-2.1719400000000002</c:v>
                </c:pt>
                <c:pt idx="5103">
                  <c:v>#N/A</c:v>
                </c:pt>
                <c:pt idx="5104">
                  <c:v>-2.1855799999999999</c:v>
                </c:pt>
                <c:pt idx="5105">
                  <c:v>#N/A</c:v>
                </c:pt>
                <c:pt idx="5106">
                  <c:v>-1.9958199999999999</c:v>
                </c:pt>
                <c:pt idx="5107">
                  <c:v>-2.1709499999999999</c:v>
                </c:pt>
                <c:pt idx="5108">
                  <c:v>#N/A</c:v>
                </c:pt>
                <c:pt idx="5109">
                  <c:v>-2.6812</c:v>
                </c:pt>
                <c:pt idx="5110">
                  <c:v>-1.73624</c:v>
                </c:pt>
                <c:pt idx="5111">
                  <c:v>-1.53634</c:v>
                </c:pt>
                <c:pt idx="5112">
                  <c:v>#N/A</c:v>
                </c:pt>
                <c:pt idx="5113">
                  <c:v>-1.4240299999999999</c:v>
                </c:pt>
                <c:pt idx="5114">
                  <c:v>-1.41849</c:v>
                </c:pt>
                <c:pt idx="5115">
                  <c:v>-2.4529000000000001</c:v>
                </c:pt>
                <c:pt idx="5116">
                  <c:v>#N/A</c:v>
                </c:pt>
                <c:pt idx="5117">
                  <c:v>-2.9390299999999998</c:v>
                </c:pt>
                <c:pt idx="5118">
                  <c:v>-2.9459200000000001</c:v>
                </c:pt>
                <c:pt idx="5119">
                  <c:v>-2.48983</c:v>
                </c:pt>
                <c:pt idx="5120">
                  <c:v>#N/A</c:v>
                </c:pt>
                <c:pt idx="5121">
                  <c:v>-2.67496</c:v>
                </c:pt>
                <c:pt idx="5122">
                  <c:v>-2.4911400000000001</c:v>
                </c:pt>
                <c:pt idx="5123">
                  <c:v>-2.9670999999999998</c:v>
                </c:pt>
                <c:pt idx="5124">
                  <c:v>#N/A</c:v>
                </c:pt>
                <c:pt idx="5125">
                  <c:v>-3.2914099999999999</c:v>
                </c:pt>
                <c:pt idx="5126">
                  <c:v>-3.2674799999999999</c:v>
                </c:pt>
                <c:pt idx="5127">
                  <c:v>#N/A</c:v>
                </c:pt>
                <c:pt idx="5128">
                  <c:v>-3.1525300000000001</c:v>
                </c:pt>
                <c:pt idx="5129">
                  <c:v>-2.8325100000000001</c:v>
                </c:pt>
                <c:pt idx="5130">
                  <c:v>-2.69353</c:v>
                </c:pt>
                <c:pt idx="5131">
                  <c:v>#N/A</c:v>
                </c:pt>
                <c:pt idx="5132">
                  <c:v>-2.1800600000000001</c:v>
                </c:pt>
                <c:pt idx="5133">
                  <c:v>-2.1006399999999998</c:v>
                </c:pt>
                <c:pt idx="5134">
                  <c:v>-2.4485899999999998</c:v>
                </c:pt>
                <c:pt idx="5135">
                  <c:v>#N/A</c:v>
                </c:pt>
                <c:pt idx="5136">
                  <c:v>-2.7277</c:v>
                </c:pt>
                <c:pt idx="5137">
                  <c:v>-2.8643200000000002</c:v>
                </c:pt>
                <c:pt idx="5138">
                  <c:v>-3.3456999999999999</c:v>
                </c:pt>
                <c:pt idx="5139">
                  <c:v>#N/A</c:v>
                </c:pt>
                <c:pt idx="5140">
                  <c:v>-3.32979</c:v>
                </c:pt>
                <c:pt idx="5141">
                  <c:v>-2.59518</c:v>
                </c:pt>
                <c:pt idx="5142">
                  <c:v>-2.0209899999999998</c:v>
                </c:pt>
                <c:pt idx="5143">
                  <c:v>#N/A</c:v>
                </c:pt>
                <c:pt idx="5144">
                  <c:v>-1.7003900000000001</c:v>
                </c:pt>
                <c:pt idx="5145">
                  <c:v>-1.93771</c:v>
                </c:pt>
                <c:pt idx="5146">
                  <c:v>-2.54704</c:v>
                </c:pt>
                <c:pt idx="5147">
                  <c:v>#N/A</c:v>
                </c:pt>
                <c:pt idx="5148">
                  <c:v>-2.8091300000000001</c:v>
                </c:pt>
                <c:pt idx="5149">
                  <c:v>-3.3386399999999998</c:v>
                </c:pt>
                <c:pt idx="5150">
                  <c:v>-2.51546</c:v>
                </c:pt>
                <c:pt idx="5151">
                  <c:v>#N/A</c:v>
                </c:pt>
                <c:pt idx="5152">
                  <c:v>-2.6576499999999998</c:v>
                </c:pt>
                <c:pt idx="5153">
                  <c:v>-2.12547</c:v>
                </c:pt>
                <c:pt idx="5154">
                  <c:v>-1.4776800000000001</c:v>
                </c:pt>
                <c:pt idx="5155">
                  <c:v>#N/A</c:v>
                </c:pt>
                <c:pt idx="5156">
                  <c:v>-1.49234</c:v>
                </c:pt>
                <c:pt idx="5157">
                  <c:v>-2.7386200000000001</c:v>
                </c:pt>
                <c:pt idx="5158">
                  <c:v>-2.7106400000000002</c:v>
                </c:pt>
                <c:pt idx="5159">
                  <c:v>#N/A</c:v>
                </c:pt>
                <c:pt idx="5160">
                  <c:v>-3.03396</c:v>
                </c:pt>
                <c:pt idx="5161">
                  <c:v>-3.3049499999999998</c:v>
                </c:pt>
                <c:pt idx="5162">
                  <c:v>-2.6247600000000002</c:v>
                </c:pt>
                <c:pt idx="5163">
                  <c:v>#N/A</c:v>
                </c:pt>
                <c:pt idx="5164">
                  <c:v>-2.4538700000000002</c:v>
                </c:pt>
                <c:pt idx="5165">
                  <c:v>-2.14879</c:v>
                </c:pt>
                <c:pt idx="5166">
                  <c:v>-2.1629399999999999</c:v>
                </c:pt>
                <c:pt idx="5167">
                  <c:v>#N/A</c:v>
                </c:pt>
                <c:pt idx="5168">
                  <c:v>-2.0415299999999998</c:v>
                </c:pt>
                <c:pt idx="5169">
                  <c:v>-2.8180200000000002</c:v>
                </c:pt>
                <c:pt idx="5170">
                  <c:v>#N/A</c:v>
                </c:pt>
                <c:pt idx="5171">
                  <c:v>-2.9838300000000002</c:v>
                </c:pt>
                <c:pt idx="5172">
                  <c:v>-2.7209099999999999</c:v>
                </c:pt>
                <c:pt idx="5173">
                  <c:v>-2.5505399999999998</c:v>
                </c:pt>
                <c:pt idx="5174">
                  <c:v>#N/A</c:v>
                </c:pt>
                <c:pt idx="5175">
                  <c:v>-2.5031400000000001</c:v>
                </c:pt>
                <c:pt idx="5176">
                  <c:v>-1.8808499999999999</c:v>
                </c:pt>
                <c:pt idx="5177">
                  <c:v>#N/A</c:v>
                </c:pt>
                <c:pt idx="5178">
                  <c:v>-2.5879300000000001</c:v>
                </c:pt>
                <c:pt idx="5179">
                  <c:v>-2.46529</c:v>
                </c:pt>
                <c:pt idx="5180">
                  <c:v>#N/A</c:v>
                </c:pt>
                <c:pt idx="5181">
                  <c:v>-2.4123800000000002</c:v>
                </c:pt>
                <c:pt idx="5182">
                  <c:v>#N/A</c:v>
                </c:pt>
                <c:pt idx="5183">
                  <c:v>-2.3791899999999999</c:v>
                </c:pt>
                <c:pt idx="5184">
                  <c:v>-2.0755400000000002</c:v>
                </c:pt>
                <c:pt idx="5185">
                  <c:v>-1.7995099999999999</c:v>
                </c:pt>
                <c:pt idx="5186">
                  <c:v>#N/A</c:v>
                </c:pt>
                <c:pt idx="5187">
                  <c:v>-2.4827400000000002</c:v>
                </c:pt>
                <c:pt idx="5188">
                  <c:v>-2.9363000000000001</c:v>
                </c:pt>
                <c:pt idx="5189">
                  <c:v>-2.8054199999999998</c:v>
                </c:pt>
                <c:pt idx="5190">
                  <c:v>#N/A</c:v>
                </c:pt>
                <c:pt idx="5191">
                  <c:v>-2.45906</c:v>
                </c:pt>
                <c:pt idx="5192">
                  <c:v>-2.0636399999999999</c:v>
                </c:pt>
                <c:pt idx="5193">
                  <c:v>-2.0977999999999999</c:v>
                </c:pt>
                <c:pt idx="5194">
                  <c:v>#N/A</c:v>
                </c:pt>
                <c:pt idx="5195">
                  <c:v>-1.7402200000000001</c:v>
                </c:pt>
                <c:pt idx="5196">
                  <c:v>-2.15706</c:v>
                </c:pt>
                <c:pt idx="5197">
                  <c:v>-2.1319499999999998</c:v>
                </c:pt>
                <c:pt idx="5198">
                  <c:v>#N/A</c:v>
                </c:pt>
                <c:pt idx="5199">
                  <c:v>-3.4458000000000002</c:v>
                </c:pt>
                <c:pt idx="5200">
                  <c:v>-3.82437</c:v>
                </c:pt>
                <c:pt idx="5201">
                  <c:v>#N/A</c:v>
                </c:pt>
                <c:pt idx="5202">
                  <c:v>-3.53112</c:v>
                </c:pt>
                <c:pt idx="5203">
                  <c:v>-2.9934799999999999</c:v>
                </c:pt>
                <c:pt idx="5204">
                  <c:v>-2.1993499999999999</c:v>
                </c:pt>
                <c:pt idx="5205">
                  <c:v>#N/A</c:v>
                </c:pt>
                <c:pt idx="5206">
                  <c:v>-1.8817200000000001</c:v>
                </c:pt>
                <c:pt idx="5207">
                  <c:v>-2.5654599999999999</c:v>
                </c:pt>
                <c:pt idx="5208">
                  <c:v>-2.6406800000000001</c:v>
                </c:pt>
                <c:pt idx="5209">
                  <c:v>#N/A</c:v>
                </c:pt>
                <c:pt idx="5210">
                  <c:v>-3.47194</c:v>
                </c:pt>
                <c:pt idx="5211">
                  <c:v>-4.2286599999999996</c:v>
                </c:pt>
                <c:pt idx="5212">
                  <c:v>#N/A</c:v>
                </c:pt>
                <c:pt idx="5213">
                  <c:v>-4.05586</c:v>
                </c:pt>
                <c:pt idx="5214">
                  <c:v>-2.7038199999999999</c:v>
                </c:pt>
                <c:pt idx="5215">
                  <c:v>-1.7582199999999999</c:v>
                </c:pt>
                <c:pt idx="5216">
                  <c:v>#N/A</c:v>
                </c:pt>
                <c:pt idx="5217">
                  <c:v>-1.4939899999999999</c:v>
                </c:pt>
                <c:pt idx="5218">
                  <c:v>-2.14907</c:v>
                </c:pt>
                <c:pt idx="5219">
                  <c:v>-2.1084000000000001</c:v>
                </c:pt>
                <c:pt idx="5220">
                  <c:v>#N/A</c:v>
                </c:pt>
                <c:pt idx="5221">
                  <c:v>-3.4276</c:v>
                </c:pt>
                <c:pt idx="5222">
                  <c:v>-3.62052</c:v>
                </c:pt>
                <c:pt idx="5223">
                  <c:v>-2.8904100000000001</c:v>
                </c:pt>
                <c:pt idx="5224">
                  <c:v>#N/A</c:v>
                </c:pt>
                <c:pt idx="5225">
                  <c:v>-2.6823199999999998</c:v>
                </c:pt>
                <c:pt idx="5226">
                  <c:v>-2.5080399999999998</c:v>
                </c:pt>
                <c:pt idx="5227">
                  <c:v>-2.12717</c:v>
                </c:pt>
                <c:pt idx="5228">
                  <c:v>#N/A</c:v>
                </c:pt>
                <c:pt idx="5229">
                  <c:v>-1.66229</c:v>
                </c:pt>
                <c:pt idx="5230">
                  <c:v>-2.64697</c:v>
                </c:pt>
                <c:pt idx="5231">
                  <c:v>-2.9331100000000001</c:v>
                </c:pt>
                <c:pt idx="5232">
                  <c:v>#N/A</c:v>
                </c:pt>
                <c:pt idx="5233">
                  <c:v>-3.6867100000000002</c:v>
                </c:pt>
                <c:pt idx="5234">
                  <c:v>-2.9135499999999999</c:v>
                </c:pt>
                <c:pt idx="5235">
                  <c:v>-2.9387099999999999</c:v>
                </c:pt>
                <c:pt idx="5236">
                  <c:v>#N/A</c:v>
                </c:pt>
                <c:pt idx="5237">
                  <c:v>-2.16635</c:v>
                </c:pt>
                <c:pt idx="5238">
                  <c:v>-1.98983</c:v>
                </c:pt>
                <c:pt idx="5239">
                  <c:v>-1.8205499999999999</c:v>
                </c:pt>
                <c:pt idx="5240">
                  <c:v>#N/A</c:v>
                </c:pt>
                <c:pt idx="5241">
                  <c:v>-1.8152600000000001</c:v>
                </c:pt>
                <c:pt idx="5242">
                  <c:v>-3.0404499999999999</c:v>
                </c:pt>
                <c:pt idx="5243">
                  <c:v>#N/A</c:v>
                </c:pt>
                <c:pt idx="5244">
                  <c:v>-3.6885500000000002</c:v>
                </c:pt>
                <c:pt idx="5245">
                  <c:v>-3.5482100000000001</c:v>
                </c:pt>
                <c:pt idx="5246">
                  <c:v>-3.1918199999999999</c:v>
                </c:pt>
                <c:pt idx="5247">
                  <c:v>#N/A</c:v>
                </c:pt>
                <c:pt idx="5248">
                  <c:v>-2.4789099999999999</c:v>
                </c:pt>
                <c:pt idx="5249">
                  <c:v>-2.64019</c:v>
                </c:pt>
                <c:pt idx="5250">
                  <c:v>-2.7618499999999999</c:v>
                </c:pt>
                <c:pt idx="5251">
                  <c:v>#N/A</c:v>
                </c:pt>
                <c:pt idx="5252">
                  <c:v>-2.6675800000000001</c:v>
                </c:pt>
                <c:pt idx="5253">
                  <c:v>#N/A</c:v>
                </c:pt>
                <c:pt idx="5254">
                  <c:v>-3.09022</c:v>
                </c:pt>
                <c:pt idx="5255">
                  <c:v>-2.6991000000000001</c:v>
                </c:pt>
                <c:pt idx="5256">
                  <c:v>#N/A</c:v>
                </c:pt>
                <c:pt idx="5257">
                  <c:v>-1.9064000000000001</c:v>
                </c:pt>
                <c:pt idx="5258">
                  <c:v>-2.0324399999999998</c:v>
                </c:pt>
                <c:pt idx="5259">
                  <c:v>#N/A</c:v>
                </c:pt>
                <c:pt idx="5260">
                  <c:v>-2.7254200000000002</c:v>
                </c:pt>
                <c:pt idx="5261">
                  <c:v>-2.6765099999999999</c:v>
                </c:pt>
                <c:pt idx="5262">
                  <c:v>-2.8522799999999999</c:v>
                </c:pt>
                <c:pt idx="5263">
                  <c:v>#N/A</c:v>
                </c:pt>
                <c:pt idx="5264">
                  <c:v>-3.3776799999999998</c:v>
                </c:pt>
                <c:pt idx="5265">
                  <c:v>-2.0835599999999999</c:v>
                </c:pt>
                <c:pt idx="5266">
                  <c:v>-2.2930199999999998</c:v>
                </c:pt>
                <c:pt idx="5267">
                  <c:v>#N/A</c:v>
                </c:pt>
                <c:pt idx="5268">
                  <c:v>-1.6991099999999999</c:v>
                </c:pt>
                <c:pt idx="5269">
                  <c:v>-2.3628200000000001</c:v>
                </c:pt>
                <c:pt idx="5270">
                  <c:v>-2.3910399999999998</c:v>
                </c:pt>
                <c:pt idx="5271">
                  <c:v>#N/A</c:v>
                </c:pt>
                <c:pt idx="5272">
                  <c:v>-3.3698999999999999</c:v>
                </c:pt>
                <c:pt idx="5273">
                  <c:v>-3.6742300000000001</c:v>
                </c:pt>
                <c:pt idx="5274">
                  <c:v>#N/A</c:v>
                </c:pt>
                <c:pt idx="5275">
                  <c:v>-3.40402</c:v>
                </c:pt>
                <c:pt idx="5276">
                  <c:v>-2.3581799999999999</c:v>
                </c:pt>
                <c:pt idx="5277">
                  <c:v>-2.0541100000000001</c:v>
                </c:pt>
                <c:pt idx="5278">
                  <c:v>#N/A</c:v>
                </c:pt>
                <c:pt idx="5279">
                  <c:v>-1.8313600000000001</c:v>
                </c:pt>
                <c:pt idx="5280">
                  <c:v>-1.5501</c:v>
                </c:pt>
                <c:pt idx="5281">
                  <c:v>-2.4237799999999998</c:v>
                </c:pt>
                <c:pt idx="5282">
                  <c:v>#N/A</c:v>
                </c:pt>
                <c:pt idx="5283">
                  <c:v>-3.05321</c:v>
                </c:pt>
                <c:pt idx="5284">
                  <c:v>-3.2320799999999998</c:v>
                </c:pt>
                <c:pt idx="5285">
                  <c:v>-3.2658999999999998</c:v>
                </c:pt>
                <c:pt idx="5286">
                  <c:v>#N/A</c:v>
                </c:pt>
                <c:pt idx="5287">
                  <c:v>-2.67902</c:v>
                </c:pt>
                <c:pt idx="5288">
                  <c:v>-2.40618</c:v>
                </c:pt>
                <c:pt idx="5289">
                  <c:v>-1.7210799999999999</c:v>
                </c:pt>
                <c:pt idx="5290">
                  <c:v>#N/A</c:v>
                </c:pt>
                <c:pt idx="5291">
                  <c:v>-2.1094400000000002</c:v>
                </c:pt>
                <c:pt idx="5292">
                  <c:v>-2.8373200000000001</c:v>
                </c:pt>
                <c:pt idx="5293">
                  <c:v>#N/A</c:v>
                </c:pt>
                <c:pt idx="5294">
                  <c:v>-2.9353500000000001</c:v>
                </c:pt>
                <c:pt idx="5295">
                  <c:v>-3.4622799999999998</c:v>
                </c:pt>
                <c:pt idx="5296">
                  <c:v>-3.1316999999999999</c:v>
                </c:pt>
                <c:pt idx="5297">
                  <c:v>#N/A</c:v>
                </c:pt>
                <c:pt idx="5298">
                  <c:v>-2.6439300000000001</c:v>
                </c:pt>
                <c:pt idx="5299">
                  <c:v>-2.1715499999999999</c:v>
                </c:pt>
                <c:pt idx="5300">
                  <c:v>-1.6187100000000001</c:v>
                </c:pt>
                <c:pt idx="5301">
                  <c:v>#N/A</c:v>
                </c:pt>
                <c:pt idx="5302">
                  <c:v>-1.46722</c:v>
                </c:pt>
                <c:pt idx="5303">
                  <c:v>-2.4137900000000001</c:v>
                </c:pt>
                <c:pt idx="5304">
                  <c:v>-2.6834199999999999</c:v>
                </c:pt>
                <c:pt idx="5305">
                  <c:v>#N/A</c:v>
                </c:pt>
                <c:pt idx="5306">
                  <c:v>-3.0518299999999998</c:v>
                </c:pt>
                <c:pt idx="5307">
                  <c:v>-3.1881699999999999</c:v>
                </c:pt>
                <c:pt idx="5308">
                  <c:v>-2.9253900000000002</c:v>
                </c:pt>
                <c:pt idx="5309">
                  <c:v>#N/A</c:v>
                </c:pt>
                <c:pt idx="5310">
                  <c:v>-2.3564699999999998</c:v>
                </c:pt>
                <c:pt idx="5311">
                  <c:v>-2.2148599999999998</c:v>
                </c:pt>
                <c:pt idx="5312">
                  <c:v>-2.1024400000000001</c:v>
                </c:pt>
                <c:pt idx="5313">
                  <c:v>#N/A</c:v>
                </c:pt>
                <c:pt idx="5314">
                  <c:v>-2.6210499999999999</c:v>
                </c:pt>
                <c:pt idx="5315">
                  <c:v>-2.72797</c:v>
                </c:pt>
                <c:pt idx="5316">
                  <c:v>-2.8867699999999998</c:v>
                </c:pt>
                <c:pt idx="5317">
                  <c:v>#N/A</c:v>
                </c:pt>
                <c:pt idx="5318">
                  <c:v>-2.9193199999999999</c:v>
                </c:pt>
                <c:pt idx="5319">
                  <c:v>-2.2437999999999998</c:v>
                </c:pt>
                <c:pt idx="5320">
                  <c:v>#N/A</c:v>
                </c:pt>
                <c:pt idx="5321">
                  <c:v>-2.3753299999999999</c:v>
                </c:pt>
                <c:pt idx="5322">
                  <c:v>-2.1802299999999999</c:v>
                </c:pt>
                <c:pt idx="5323">
                  <c:v>-2.72248</c:v>
                </c:pt>
                <c:pt idx="5324">
                  <c:v>#N/A</c:v>
                </c:pt>
                <c:pt idx="5325">
                  <c:v>-2.8427699999999998</c:v>
                </c:pt>
                <c:pt idx="5326">
                  <c:v>-2.9139599999999999</c:v>
                </c:pt>
                <c:pt idx="5327">
                  <c:v>#N/A</c:v>
                </c:pt>
                <c:pt idx="5328">
                  <c:v>-2.6753100000000001</c:v>
                </c:pt>
                <c:pt idx="5329">
                  <c:v>-2.4856600000000002</c:v>
                </c:pt>
                <c:pt idx="5330">
                  <c:v>-2.7112400000000001</c:v>
                </c:pt>
                <c:pt idx="5331">
                  <c:v>#N/A</c:v>
                </c:pt>
                <c:pt idx="5332">
                  <c:v>-2.64622</c:v>
                </c:pt>
                <c:pt idx="5333">
                  <c:v>-2.7307399999999999</c:v>
                </c:pt>
                <c:pt idx="5334">
                  <c:v>-2.3898600000000001</c:v>
                </c:pt>
                <c:pt idx="5335">
                  <c:v>#N/A</c:v>
                </c:pt>
                <c:pt idx="5336">
                  <c:v>-3.2564500000000001</c:v>
                </c:pt>
                <c:pt idx="5337">
                  <c:v>-3.18899</c:v>
                </c:pt>
                <c:pt idx="5338">
                  <c:v>-2.3472499999999998</c:v>
                </c:pt>
                <c:pt idx="5339">
                  <c:v>#N/A</c:v>
                </c:pt>
                <c:pt idx="5340">
                  <c:v>-2.3656199999999998</c:v>
                </c:pt>
                <c:pt idx="5341">
                  <c:v>-1.93374</c:v>
                </c:pt>
                <c:pt idx="5342">
                  <c:v>-2.37249</c:v>
                </c:pt>
                <c:pt idx="5343">
                  <c:v>#N/A</c:v>
                </c:pt>
                <c:pt idx="5344">
                  <c:v>-1.8327899999999999</c:v>
                </c:pt>
                <c:pt idx="5345">
                  <c:v>-2.7361900000000001</c:v>
                </c:pt>
                <c:pt idx="5346">
                  <c:v>-3.0041000000000002</c:v>
                </c:pt>
                <c:pt idx="5347">
                  <c:v>#N/A</c:v>
                </c:pt>
                <c:pt idx="5348">
                  <c:v>-3.4919099999999998</c:v>
                </c:pt>
                <c:pt idx="5349">
                  <c:v>-2.5774699999999999</c:v>
                </c:pt>
                <c:pt idx="5350">
                  <c:v>#N/A</c:v>
                </c:pt>
                <c:pt idx="5351">
                  <c:v>-2.5341800000000001</c:v>
                </c:pt>
                <c:pt idx="5352">
                  <c:v>-2.1493799999999998</c:v>
                </c:pt>
                <c:pt idx="5353">
                  <c:v>-2.22797</c:v>
                </c:pt>
                <c:pt idx="5354">
                  <c:v>#N/A</c:v>
                </c:pt>
                <c:pt idx="5355">
                  <c:v>-2.7731699999999999</c:v>
                </c:pt>
                <c:pt idx="5356">
                  <c:v>-2.9555799999999999</c:v>
                </c:pt>
                <c:pt idx="5357">
                  <c:v>-3.20343</c:v>
                </c:pt>
                <c:pt idx="5358">
                  <c:v>#N/A</c:v>
                </c:pt>
                <c:pt idx="5359">
                  <c:v>-3.0655800000000002</c:v>
                </c:pt>
                <c:pt idx="5360">
                  <c:v>-2.7151299999999998</c:v>
                </c:pt>
                <c:pt idx="5361">
                  <c:v>-1.94476</c:v>
                </c:pt>
                <c:pt idx="5362">
                  <c:v>#N/A</c:v>
                </c:pt>
                <c:pt idx="5363">
                  <c:v>-1.5658399999999999</c:v>
                </c:pt>
                <c:pt idx="5364">
                  <c:v>-2.4375</c:v>
                </c:pt>
                <c:pt idx="5365">
                  <c:v>-3.1225499999999999</c:v>
                </c:pt>
                <c:pt idx="5366">
                  <c:v>#N/A</c:v>
                </c:pt>
                <c:pt idx="5367">
                  <c:v>-3.0524</c:v>
                </c:pt>
                <c:pt idx="5368">
                  <c:v>-3.56969</c:v>
                </c:pt>
                <c:pt idx="5369">
                  <c:v>-2.5782799999999999</c:v>
                </c:pt>
                <c:pt idx="5370">
                  <c:v>#N/A</c:v>
                </c:pt>
                <c:pt idx="5371">
                  <c:v>-2.4835500000000001</c:v>
                </c:pt>
                <c:pt idx="5372">
                  <c:v>-1.694</c:v>
                </c:pt>
                <c:pt idx="5373">
                  <c:v>-1.4202600000000001</c:v>
                </c:pt>
                <c:pt idx="5374">
                  <c:v>#N/A</c:v>
                </c:pt>
                <c:pt idx="5375">
                  <c:v>-1.76064</c:v>
                </c:pt>
                <c:pt idx="5376">
                  <c:v>-2.92618</c:v>
                </c:pt>
                <c:pt idx="5377">
                  <c:v>#N/A</c:v>
                </c:pt>
                <c:pt idx="5378">
                  <c:v>-3.21583</c:v>
                </c:pt>
                <c:pt idx="5379">
                  <c:v>-3.5188600000000001</c:v>
                </c:pt>
                <c:pt idx="5380">
                  <c:v>-2.6857799999999998</c:v>
                </c:pt>
                <c:pt idx="5381">
                  <c:v>#N/A</c:v>
                </c:pt>
                <c:pt idx="5382">
                  <c:v>-2.3554300000000001</c:v>
                </c:pt>
                <c:pt idx="5383">
                  <c:v>-2.1804100000000002</c:v>
                </c:pt>
                <c:pt idx="5384">
                  <c:v>-2.4877600000000002</c:v>
                </c:pt>
                <c:pt idx="5385">
                  <c:v>#N/A</c:v>
                </c:pt>
                <c:pt idx="5386">
                  <c:v>-2.49966</c:v>
                </c:pt>
                <c:pt idx="5387">
                  <c:v>-3.0741100000000001</c:v>
                </c:pt>
                <c:pt idx="5388">
                  <c:v>#N/A</c:v>
                </c:pt>
                <c:pt idx="5389">
                  <c:v>-3.3959600000000001</c:v>
                </c:pt>
                <c:pt idx="5390">
                  <c:v>-3.30375</c:v>
                </c:pt>
                <c:pt idx="5391">
                  <c:v>-3.1102799999999999</c:v>
                </c:pt>
                <c:pt idx="5392">
                  <c:v>#N/A</c:v>
                </c:pt>
                <c:pt idx="5393">
                  <c:v>-2.7437999999999998</c:v>
                </c:pt>
                <c:pt idx="5394">
                  <c:v>-2.34795</c:v>
                </c:pt>
                <c:pt idx="5395">
                  <c:v>-2.4882</c:v>
                </c:pt>
                <c:pt idx="5396">
                  <c:v>#N/A</c:v>
                </c:pt>
                <c:pt idx="5397">
                  <c:v>-2.9792700000000001</c:v>
                </c:pt>
                <c:pt idx="5398">
                  <c:v>-2.7134</c:v>
                </c:pt>
                <c:pt idx="5399">
                  <c:v>-3.0599500000000002</c:v>
                </c:pt>
                <c:pt idx="5400">
                  <c:v>#N/A</c:v>
                </c:pt>
                <c:pt idx="5401">
                  <c:v>-2.7254100000000001</c:v>
                </c:pt>
                <c:pt idx="5402">
                  <c:v>#N/A</c:v>
                </c:pt>
                <c:pt idx="5403">
                  <c:v>-2.2487900000000001</c:v>
                </c:pt>
                <c:pt idx="5404">
                  <c:v>-2.0811799999999998</c:v>
                </c:pt>
                <c:pt idx="5405">
                  <c:v>#N/A</c:v>
                </c:pt>
                <c:pt idx="5406">
                  <c:v>-1.9485699999999999</c:v>
                </c:pt>
                <c:pt idx="5407">
                  <c:v>-2.9230800000000001</c:v>
                </c:pt>
                <c:pt idx="5408">
                  <c:v>#N/A</c:v>
                </c:pt>
                <c:pt idx="5409">
                  <c:v>-3.3768600000000002</c:v>
                </c:pt>
                <c:pt idx="5410">
                  <c:v>-2.9371900000000002</c:v>
                </c:pt>
                <c:pt idx="5411">
                  <c:v>-2.6855600000000002</c:v>
                </c:pt>
                <c:pt idx="5412">
                  <c:v>#N/A</c:v>
                </c:pt>
                <c:pt idx="5413">
                  <c:v>-2.8483100000000001</c:v>
                </c:pt>
                <c:pt idx="5414">
                  <c:v>-2.6168800000000001</c:v>
                </c:pt>
                <c:pt idx="5415">
                  <c:v>-2.6798299999999999</c:v>
                </c:pt>
                <c:pt idx="5416">
                  <c:v>#N/A</c:v>
                </c:pt>
                <c:pt idx="5417">
                  <c:v>-2.9437099999999998</c:v>
                </c:pt>
                <c:pt idx="5418">
                  <c:v>-3.2627100000000002</c:v>
                </c:pt>
                <c:pt idx="5419">
                  <c:v>#N/A</c:v>
                </c:pt>
                <c:pt idx="5420">
                  <c:v>-3.3140900000000002</c:v>
                </c:pt>
                <c:pt idx="5421">
                  <c:v>-3.3212799999999998</c:v>
                </c:pt>
                <c:pt idx="5422">
                  <c:v>-3.03085</c:v>
                </c:pt>
                <c:pt idx="5423">
                  <c:v>#N/A</c:v>
                </c:pt>
                <c:pt idx="5424">
                  <c:v>-2.4053800000000001</c:v>
                </c:pt>
                <c:pt idx="5425">
                  <c:v>-2.3143199999999999</c:v>
                </c:pt>
                <c:pt idx="5426">
                  <c:v>-2.0153400000000001</c:v>
                </c:pt>
                <c:pt idx="5427">
                  <c:v>#N/A</c:v>
                </c:pt>
                <c:pt idx="5428">
                  <c:v>-3.1093600000000001</c:v>
                </c:pt>
                <c:pt idx="5429">
                  <c:v>-3.3999700000000002</c:v>
                </c:pt>
                <c:pt idx="5430">
                  <c:v>-3.6171799999999998</c:v>
                </c:pt>
                <c:pt idx="5431">
                  <c:v>#N/A</c:v>
                </c:pt>
                <c:pt idx="5432">
                  <c:v>-3.4500999999999999</c:v>
                </c:pt>
                <c:pt idx="5433">
                  <c:v>-3.1941799999999998</c:v>
                </c:pt>
                <c:pt idx="5434">
                  <c:v>-2.1969599999999998</c:v>
                </c:pt>
                <c:pt idx="5435">
                  <c:v>#N/A</c:v>
                </c:pt>
                <c:pt idx="5436">
                  <c:v>-2.2332100000000001</c:v>
                </c:pt>
                <c:pt idx="5437">
                  <c:v>-2.6005199999999999</c:v>
                </c:pt>
                <c:pt idx="5438">
                  <c:v>#N/A</c:v>
                </c:pt>
                <c:pt idx="5439">
                  <c:v>-3.1041300000000001</c:v>
                </c:pt>
                <c:pt idx="5440">
                  <c:v>-3.7485900000000001</c:v>
                </c:pt>
                <c:pt idx="5441">
                  <c:v>-3.6694499999999999</c:v>
                </c:pt>
                <c:pt idx="5442">
                  <c:v>#N/A</c:v>
                </c:pt>
                <c:pt idx="5443">
                  <c:v>-3.21347</c:v>
                </c:pt>
                <c:pt idx="5444">
                  <c:v>-2.7727900000000001</c:v>
                </c:pt>
                <c:pt idx="5445">
                  <c:v>-2.4019900000000001</c:v>
                </c:pt>
                <c:pt idx="5446">
                  <c:v>#N/A</c:v>
                </c:pt>
                <c:pt idx="5447">
                  <c:v>-2.2684500000000001</c:v>
                </c:pt>
                <c:pt idx="5448">
                  <c:v>-2.3251599999999999</c:v>
                </c:pt>
                <c:pt idx="5449">
                  <c:v>-2.8430800000000001</c:v>
                </c:pt>
                <c:pt idx="5450">
                  <c:v>#N/A</c:v>
                </c:pt>
                <c:pt idx="5451">
                  <c:v>-2.7521100000000001</c:v>
                </c:pt>
                <c:pt idx="5452">
                  <c:v>-3.2768899999999999</c:v>
                </c:pt>
                <c:pt idx="5453">
                  <c:v>-3.30891</c:v>
                </c:pt>
                <c:pt idx="5454">
                  <c:v>#N/A</c:v>
                </c:pt>
                <c:pt idx="5455">
                  <c:v>-2.9779100000000001</c:v>
                </c:pt>
                <c:pt idx="5456">
                  <c:v>-2.6177899999999998</c:v>
                </c:pt>
                <c:pt idx="5457">
                  <c:v>#N/A</c:v>
                </c:pt>
                <c:pt idx="5458">
                  <c:v>-2.9729399999999999</c:v>
                </c:pt>
                <c:pt idx="5459">
                  <c:v>-2.4737800000000001</c:v>
                </c:pt>
                <c:pt idx="5460">
                  <c:v>-2.9365199999999998</c:v>
                </c:pt>
                <c:pt idx="5461">
                  <c:v>#N/A</c:v>
                </c:pt>
                <c:pt idx="5462">
                  <c:v>-3.4410099999999999</c:v>
                </c:pt>
                <c:pt idx="5463">
                  <c:v>-3.3133900000000001</c:v>
                </c:pt>
                <c:pt idx="5464">
                  <c:v>#N/A</c:v>
                </c:pt>
                <c:pt idx="5465">
                  <c:v>-3.1051099999999998</c:v>
                </c:pt>
                <c:pt idx="5466">
                  <c:v>-2.6425999999999998</c:v>
                </c:pt>
                <c:pt idx="5467">
                  <c:v>-2.6448900000000002</c:v>
                </c:pt>
                <c:pt idx="5468">
                  <c:v>#N/A</c:v>
                </c:pt>
                <c:pt idx="5469">
                  <c:v>-2.5129299999999999</c:v>
                </c:pt>
                <c:pt idx="5470">
                  <c:v>-3.08</c:v>
                </c:pt>
                <c:pt idx="5471">
                  <c:v>-3.0670199999999999</c:v>
                </c:pt>
                <c:pt idx="5472">
                  <c:v>#N/A</c:v>
                </c:pt>
                <c:pt idx="5473">
                  <c:v>-3.75258</c:v>
                </c:pt>
                <c:pt idx="5474">
                  <c:v>-2.9636200000000001</c:v>
                </c:pt>
                <c:pt idx="5475">
                  <c:v>-2.9363600000000001</c:v>
                </c:pt>
                <c:pt idx="5476">
                  <c:v>#N/A</c:v>
                </c:pt>
                <c:pt idx="5477">
                  <c:v>#N/A</c:v>
                </c:pt>
                <c:pt idx="5478">
                  <c:v>-2.7054499999999999</c:v>
                </c:pt>
                <c:pt idx="5479">
                  <c:v>-2.7946399999999998</c:v>
                </c:pt>
                <c:pt idx="5480">
                  <c:v>-3.39961</c:v>
                </c:pt>
                <c:pt idx="5481">
                  <c:v>#N/A</c:v>
                </c:pt>
                <c:pt idx="5482">
                  <c:v>-3.5964800000000001</c:v>
                </c:pt>
                <c:pt idx="5483">
                  <c:v>-3.17591</c:v>
                </c:pt>
                <c:pt idx="5484">
                  <c:v>-3.0382600000000002</c:v>
                </c:pt>
                <c:pt idx="5485">
                  <c:v>#N/A</c:v>
                </c:pt>
                <c:pt idx="5486">
                  <c:v>-2.4273899999999999</c:v>
                </c:pt>
                <c:pt idx="5487">
                  <c:v>-2.8050199999999998</c:v>
                </c:pt>
                <c:pt idx="5488">
                  <c:v>#N/A</c:v>
                </c:pt>
                <c:pt idx="5489">
                  <c:v>-2.1918600000000001</c:v>
                </c:pt>
                <c:pt idx="5490">
                  <c:v>-2.8397299999999999</c:v>
                </c:pt>
                <c:pt idx="5491">
                  <c:v>-3.2423799999999998</c:v>
                </c:pt>
                <c:pt idx="5492">
                  <c:v>#N/A</c:v>
                </c:pt>
                <c:pt idx="5493">
                  <c:v>-3.5506099999999998</c:v>
                </c:pt>
                <c:pt idx="5494">
                  <c:v>-3.2956799999999999</c:v>
                </c:pt>
                <c:pt idx="5495">
                  <c:v>-2.6048499999999999</c:v>
                </c:pt>
                <c:pt idx="5496">
                  <c:v>#N/A</c:v>
                </c:pt>
                <c:pt idx="5497">
                  <c:v>-2.2803399999999998</c:v>
                </c:pt>
                <c:pt idx="5498">
                  <c:v>-2.25474</c:v>
                </c:pt>
                <c:pt idx="5499">
                  <c:v>#N/A</c:v>
                </c:pt>
                <c:pt idx="5500">
                  <c:v>-2.7056200000000001</c:v>
                </c:pt>
                <c:pt idx="5501">
                  <c:v>-3.2862499999999999</c:v>
                </c:pt>
                <c:pt idx="5502">
                  <c:v>-3.6953299999999998</c:v>
                </c:pt>
                <c:pt idx="5503">
                  <c:v>#N/A</c:v>
                </c:pt>
                <c:pt idx="5504">
                  <c:v>-3.7989099999999998</c:v>
                </c:pt>
                <c:pt idx="5505">
                  <c:v>-4.0059100000000001</c:v>
                </c:pt>
                <c:pt idx="5506">
                  <c:v>-3.2044999999999999</c:v>
                </c:pt>
                <c:pt idx="5507">
                  <c:v>#N/A</c:v>
                </c:pt>
                <c:pt idx="5508">
                  <c:v>-2.6328299999999998</c:v>
                </c:pt>
                <c:pt idx="5509">
                  <c:v>-2.2615400000000001</c:v>
                </c:pt>
                <c:pt idx="5510">
                  <c:v>-3.0361500000000001</c:v>
                </c:pt>
                <c:pt idx="5511">
                  <c:v>#N/A</c:v>
                </c:pt>
                <c:pt idx="5512">
                  <c:v>-2.7770299999999999</c:v>
                </c:pt>
                <c:pt idx="5513">
                  <c:v>-3.6489400000000001</c:v>
                </c:pt>
                <c:pt idx="5514">
                  <c:v>-3.7227000000000001</c:v>
                </c:pt>
                <c:pt idx="5515">
                  <c:v>#N/A</c:v>
                </c:pt>
                <c:pt idx="5516">
                  <c:v>-3.5595400000000001</c:v>
                </c:pt>
                <c:pt idx="5517">
                  <c:v>-3.2532299999999998</c:v>
                </c:pt>
                <c:pt idx="5518">
                  <c:v>-2.5401099999999999</c:v>
                </c:pt>
                <c:pt idx="5519">
                  <c:v>#N/A</c:v>
                </c:pt>
                <c:pt idx="5520">
                  <c:v>-2.4977900000000002</c:v>
                </c:pt>
                <c:pt idx="5521">
                  <c:v>-2.4924599999999999</c:v>
                </c:pt>
                <c:pt idx="5522">
                  <c:v>-2.9323899999999998</c:v>
                </c:pt>
                <c:pt idx="5523">
                  <c:v>#N/A</c:v>
                </c:pt>
                <c:pt idx="5524">
                  <c:v>-2.88035</c:v>
                </c:pt>
                <c:pt idx="5525">
                  <c:v>-3.7283900000000001</c:v>
                </c:pt>
                <c:pt idx="5526">
                  <c:v>-3.3944299999999998</c:v>
                </c:pt>
                <c:pt idx="5527">
                  <c:v>#N/A</c:v>
                </c:pt>
                <c:pt idx="5528">
                  <c:v>-3.4140199999999998</c:v>
                </c:pt>
                <c:pt idx="5529">
                  <c:v>-2.73698</c:v>
                </c:pt>
                <c:pt idx="5530">
                  <c:v>-2.21665</c:v>
                </c:pt>
                <c:pt idx="5531">
                  <c:v>#N/A</c:v>
                </c:pt>
                <c:pt idx="5532">
                  <c:v>-2.1932399999999999</c:v>
                </c:pt>
                <c:pt idx="5533">
                  <c:v>-3.03715</c:v>
                </c:pt>
                <c:pt idx="5534">
                  <c:v>-3.4430100000000001</c:v>
                </c:pt>
                <c:pt idx="5535">
                  <c:v>#N/A</c:v>
                </c:pt>
                <c:pt idx="5536">
                  <c:v>-3.8161299999999998</c:v>
                </c:pt>
                <c:pt idx="5537">
                  <c:v>-3.3357800000000002</c:v>
                </c:pt>
                <c:pt idx="5538">
                  <c:v>#N/A</c:v>
                </c:pt>
                <c:pt idx="5539">
                  <c:v>-3.17875</c:v>
                </c:pt>
                <c:pt idx="5540">
                  <c:v>-2.8908900000000002</c:v>
                </c:pt>
                <c:pt idx="5541">
                  <c:v>-3.1201099999999999</c:v>
                </c:pt>
                <c:pt idx="5542">
                  <c:v>#N/A</c:v>
                </c:pt>
                <c:pt idx="5543">
                  <c:v>-2.78111</c:v>
                </c:pt>
                <c:pt idx="5544">
                  <c:v>-3.2311100000000001</c:v>
                </c:pt>
                <c:pt idx="5545">
                  <c:v>-3.0458799999999999</c:v>
                </c:pt>
                <c:pt idx="5546">
                  <c:v>#N/A</c:v>
                </c:pt>
                <c:pt idx="5547">
                  <c:v>-3.0433500000000002</c:v>
                </c:pt>
                <c:pt idx="5548">
                  <c:v>-2.9868100000000002</c:v>
                </c:pt>
                <c:pt idx="5549">
                  <c:v>-2.2978299999999998</c:v>
                </c:pt>
                <c:pt idx="5550">
                  <c:v>#N/A</c:v>
                </c:pt>
                <c:pt idx="5551">
                  <c:v>-2.19102</c:v>
                </c:pt>
                <c:pt idx="5552">
                  <c:v>#N/A</c:v>
                </c:pt>
                <c:pt idx="5553">
                  <c:v>-2.2713800000000002</c:v>
                </c:pt>
                <c:pt idx="5554">
                  <c:v>#N/A</c:v>
                </c:pt>
                <c:pt idx="5555">
                  <c:v>-2.9765999999999999</c:v>
                </c:pt>
                <c:pt idx="5556">
                  <c:v>-3.2080500000000001</c:v>
                </c:pt>
                <c:pt idx="5557">
                  <c:v>-2.60161</c:v>
                </c:pt>
                <c:pt idx="5558">
                  <c:v>#N/A</c:v>
                </c:pt>
                <c:pt idx="5559">
                  <c:v>-2.4513199999999999</c:v>
                </c:pt>
                <c:pt idx="5560">
                  <c:v>-2.1758700000000002</c:v>
                </c:pt>
                <c:pt idx="5561">
                  <c:v>#N/A</c:v>
                </c:pt>
                <c:pt idx="5562">
                  <c:v>-2.18005</c:v>
                </c:pt>
                <c:pt idx="5563">
                  <c:v>-2.5198800000000001</c:v>
                </c:pt>
                <c:pt idx="5564">
                  <c:v>-3.0516200000000002</c:v>
                </c:pt>
                <c:pt idx="5565">
                  <c:v>#N/A</c:v>
                </c:pt>
                <c:pt idx="5566">
                  <c:v>-3.4216000000000002</c:v>
                </c:pt>
                <c:pt idx="5567">
                  <c:v>-3.2932299999999999</c:v>
                </c:pt>
                <c:pt idx="5568">
                  <c:v>-2.7561200000000001</c:v>
                </c:pt>
                <c:pt idx="5569">
                  <c:v>#N/A</c:v>
                </c:pt>
                <c:pt idx="5570">
                  <c:v>-2.5305800000000001</c:v>
                </c:pt>
                <c:pt idx="5571">
                  <c:v>-2.0145300000000002</c:v>
                </c:pt>
                <c:pt idx="5572">
                  <c:v>-2.5886300000000002</c:v>
                </c:pt>
                <c:pt idx="5573">
                  <c:v>#N/A</c:v>
                </c:pt>
                <c:pt idx="5574">
                  <c:v>-2.4701</c:v>
                </c:pt>
                <c:pt idx="5575">
                  <c:v>-3.24566</c:v>
                </c:pt>
                <c:pt idx="5576">
                  <c:v>-3.71225</c:v>
                </c:pt>
                <c:pt idx="5577">
                  <c:v>#N/A</c:v>
                </c:pt>
                <c:pt idx="5578">
                  <c:v>-3.4138099999999998</c:v>
                </c:pt>
                <c:pt idx="5579">
                  <c:v>-2.7739799999999999</c:v>
                </c:pt>
                <c:pt idx="5580">
                  <c:v>-2.3701400000000001</c:v>
                </c:pt>
                <c:pt idx="5581">
                  <c:v>#N/A</c:v>
                </c:pt>
                <c:pt idx="5582">
                  <c:v>-2.1815099999999998</c:v>
                </c:pt>
                <c:pt idx="5583">
                  <c:v>-2.2209099999999999</c:v>
                </c:pt>
                <c:pt idx="5584">
                  <c:v>-2.9749599999999998</c:v>
                </c:pt>
                <c:pt idx="5585">
                  <c:v>#N/A</c:v>
                </c:pt>
                <c:pt idx="5586">
                  <c:v>-3.2008200000000002</c:v>
                </c:pt>
                <c:pt idx="5587">
                  <c:v>-3.7179099999999998</c:v>
                </c:pt>
                <c:pt idx="5588">
                  <c:v>#N/A</c:v>
                </c:pt>
                <c:pt idx="5589">
                  <c:v>-3.4887899999999998</c:v>
                </c:pt>
                <c:pt idx="5590">
                  <c:v>-3.1496900000000001</c:v>
                </c:pt>
                <c:pt idx="5591">
                  <c:v>-2.1243300000000001</c:v>
                </c:pt>
                <c:pt idx="5592">
                  <c:v>#N/A</c:v>
                </c:pt>
                <c:pt idx="5593">
                  <c:v>-2.0085500000000001</c:v>
                </c:pt>
                <c:pt idx="5594">
                  <c:v>-2.4372799999999999</c:v>
                </c:pt>
                <c:pt idx="5595">
                  <c:v>-2.9229599999999998</c:v>
                </c:pt>
                <c:pt idx="5596">
                  <c:v>#N/A</c:v>
                </c:pt>
                <c:pt idx="5597">
                  <c:v>-3.1760100000000002</c:v>
                </c:pt>
                <c:pt idx="5598">
                  <c:v>-2.8646600000000002</c:v>
                </c:pt>
                <c:pt idx="5599">
                  <c:v>-3.4437500000000001</c:v>
                </c:pt>
                <c:pt idx="5600">
                  <c:v>#N/A</c:v>
                </c:pt>
                <c:pt idx="5601">
                  <c:v>-2.9487299999999999</c:v>
                </c:pt>
                <c:pt idx="5602">
                  <c:v>-2.7914699999999999</c:v>
                </c:pt>
                <c:pt idx="5603">
                  <c:v>-2.4672900000000002</c:v>
                </c:pt>
                <c:pt idx="5604">
                  <c:v>#N/A</c:v>
                </c:pt>
                <c:pt idx="5605">
                  <c:v>-2.64385</c:v>
                </c:pt>
                <c:pt idx="5606">
                  <c:v>-3.3042799999999999</c:v>
                </c:pt>
                <c:pt idx="5607">
                  <c:v>-3.1585999999999999</c:v>
                </c:pt>
                <c:pt idx="5608">
                  <c:v>#N/A</c:v>
                </c:pt>
                <c:pt idx="5609">
                  <c:v>-3.5459200000000002</c:v>
                </c:pt>
                <c:pt idx="5610">
                  <c:v>-3.3748900000000002</c:v>
                </c:pt>
                <c:pt idx="5611">
                  <c:v>-2.9673699999999998</c:v>
                </c:pt>
                <c:pt idx="5612">
                  <c:v>#N/A</c:v>
                </c:pt>
                <c:pt idx="5613">
                  <c:v>-2.65116</c:v>
                </c:pt>
                <c:pt idx="5614">
                  <c:v>-2.4940099999999998</c:v>
                </c:pt>
                <c:pt idx="5615">
                  <c:v>-2.41269</c:v>
                </c:pt>
                <c:pt idx="5616">
                  <c:v>#N/A</c:v>
                </c:pt>
                <c:pt idx="5617">
                  <c:v>-2.9092899999999999</c:v>
                </c:pt>
                <c:pt idx="5618">
                  <c:v>-3.4236399999999998</c:v>
                </c:pt>
                <c:pt idx="5619">
                  <c:v>-2.9125000000000001</c:v>
                </c:pt>
                <c:pt idx="5620">
                  <c:v>#N/A</c:v>
                </c:pt>
                <c:pt idx="5621">
                  <c:v>-2.5819999999999999</c:v>
                </c:pt>
                <c:pt idx="5622">
                  <c:v>-2.8450500000000001</c:v>
                </c:pt>
                <c:pt idx="5623">
                  <c:v>#N/A</c:v>
                </c:pt>
                <c:pt idx="5624">
                  <c:v>-2.6758099999999998</c:v>
                </c:pt>
                <c:pt idx="5625">
                  <c:v>-2.7034799999999999</c:v>
                </c:pt>
                <c:pt idx="5626">
                  <c:v>-2.8410099999999998</c:v>
                </c:pt>
                <c:pt idx="5627">
                  <c:v>#N/A</c:v>
                </c:pt>
                <c:pt idx="5628">
                  <c:v>#N/A</c:v>
                </c:pt>
                <c:pt idx="5629">
                  <c:v>-3.3010299999999999</c:v>
                </c:pt>
                <c:pt idx="5630">
                  <c:v>-3.1699600000000001</c:v>
                </c:pt>
                <c:pt idx="5631">
                  <c:v>-2.6586099999999999</c:v>
                </c:pt>
                <c:pt idx="5632">
                  <c:v>#N/A</c:v>
                </c:pt>
                <c:pt idx="5633">
                  <c:v>-2.5832799999999998</c:v>
                </c:pt>
                <c:pt idx="5634">
                  <c:v>-2.5134300000000001</c:v>
                </c:pt>
                <c:pt idx="5635">
                  <c:v>-2.1740699999999999</c:v>
                </c:pt>
                <c:pt idx="5636">
                  <c:v>#N/A</c:v>
                </c:pt>
                <c:pt idx="5637">
                  <c:v>-2.40449</c:v>
                </c:pt>
                <c:pt idx="5638">
                  <c:v>-2.7172100000000001</c:v>
                </c:pt>
                <c:pt idx="5639">
                  <c:v>-3.3343799999999999</c:v>
                </c:pt>
                <c:pt idx="5640">
                  <c:v>#N/A</c:v>
                </c:pt>
                <c:pt idx="5641">
                  <c:v>-3.1272600000000002</c:v>
                </c:pt>
                <c:pt idx="5642">
                  <c:v>-2.72871</c:v>
                </c:pt>
                <c:pt idx="5643">
                  <c:v>-2.1623100000000002</c:v>
                </c:pt>
                <c:pt idx="5644">
                  <c:v>#N/A</c:v>
                </c:pt>
                <c:pt idx="5645">
                  <c:v>-2.0059300000000002</c:v>
                </c:pt>
                <c:pt idx="5646">
                  <c:v>-2.5819899999999998</c:v>
                </c:pt>
                <c:pt idx="5647">
                  <c:v>#N/A</c:v>
                </c:pt>
                <c:pt idx="5648">
                  <c:v>-2.9721700000000002</c:v>
                </c:pt>
                <c:pt idx="5649">
                  <c:v>-3.5414300000000001</c:v>
                </c:pt>
                <c:pt idx="5650">
                  <c:v>-3.6514899999999999</c:v>
                </c:pt>
                <c:pt idx="5651">
                  <c:v>#N/A</c:v>
                </c:pt>
                <c:pt idx="5652">
                  <c:v>-3.2569699999999999</c:v>
                </c:pt>
                <c:pt idx="5653">
                  <c:v>-3.0870600000000001</c:v>
                </c:pt>
                <c:pt idx="5654">
                  <c:v>-2.4319799999999998</c:v>
                </c:pt>
                <c:pt idx="5655">
                  <c:v>#N/A</c:v>
                </c:pt>
                <c:pt idx="5656">
                  <c:v>-2.0705900000000002</c:v>
                </c:pt>
                <c:pt idx="5657">
                  <c:v>-2.8934099999999998</c:v>
                </c:pt>
                <c:pt idx="5658">
                  <c:v>-3.5322100000000001</c:v>
                </c:pt>
                <c:pt idx="5659">
                  <c:v>#N/A</c:v>
                </c:pt>
                <c:pt idx="5660">
                  <c:v>-3.73536</c:v>
                </c:pt>
                <c:pt idx="5661">
                  <c:v>-3.18309</c:v>
                </c:pt>
                <c:pt idx="5662">
                  <c:v>-3.0341499999999999</c:v>
                </c:pt>
                <c:pt idx="5663">
                  <c:v>#N/A</c:v>
                </c:pt>
                <c:pt idx="5664">
                  <c:v>-2.44129</c:v>
                </c:pt>
                <c:pt idx="5665">
                  <c:v>-2.2082899999999999</c:v>
                </c:pt>
                <c:pt idx="5666">
                  <c:v>-2.3368600000000002</c:v>
                </c:pt>
                <c:pt idx="5667">
                  <c:v>#N/A</c:v>
                </c:pt>
                <c:pt idx="5668">
                  <c:v>-2.1153499999999998</c:v>
                </c:pt>
                <c:pt idx="5669">
                  <c:v>-2.7426699999999999</c:v>
                </c:pt>
                <c:pt idx="5670">
                  <c:v>-3.34199</c:v>
                </c:pt>
                <c:pt idx="5671">
                  <c:v>#N/A</c:v>
                </c:pt>
                <c:pt idx="5672">
                  <c:v>-3.0533800000000002</c:v>
                </c:pt>
                <c:pt idx="5673">
                  <c:v>-2.52955</c:v>
                </c:pt>
                <c:pt idx="5674">
                  <c:v>-2.12025</c:v>
                </c:pt>
                <c:pt idx="5675">
                  <c:v>#N/A</c:v>
                </c:pt>
                <c:pt idx="5676">
                  <c:v>-2.2380200000000001</c:v>
                </c:pt>
                <c:pt idx="5677">
                  <c:v>-2.1549</c:v>
                </c:pt>
                <c:pt idx="5678">
                  <c:v>#N/A</c:v>
                </c:pt>
                <c:pt idx="5679">
                  <c:v>-1.9488700000000001</c:v>
                </c:pt>
                <c:pt idx="5680">
                  <c:v>-2.4427500000000002</c:v>
                </c:pt>
                <c:pt idx="5681">
                  <c:v>-3.6187100000000001</c:v>
                </c:pt>
                <c:pt idx="5682">
                  <c:v>#N/A</c:v>
                </c:pt>
                <c:pt idx="5683">
                  <c:v>-3.5895299999999999</c:v>
                </c:pt>
                <c:pt idx="5684">
                  <c:v>-2.6225900000000002</c:v>
                </c:pt>
                <c:pt idx="5685">
                  <c:v>-2.1426099999999999</c:v>
                </c:pt>
                <c:pt idx="5686">
                  <c:v>#N/A</c:v>
                </c:pt>
                <c:pt idx="5687">
                  <c:v>-2.2275700000000001</c:v>
                </c:pt>
                <c:pt idx="5688">
                  <c:v>-2.8387099999999998</c:v>
                </c:pt>
                <c:pt idx="5689">
                  <c:v>-2.9197199999999999</c:v>
                </c:pt>
                <c:pt idx="5690">
                  <c:v>#N/A</c:v>
                </c:pt>
                <c:pt idx="5691">
                  <c:v>-2.8486600000000002</c:v>
                </c:pt>
                <c:pt idx="5692">
                  <c:v>-2.9290099999999999</c:v>
                </c:pt>
                <c:pt idx="5693">
                  <c:v>#N/A</c:v>
                </c:pt>
                <c:pt idx="5694">
                  <c:v>-2.8768400000000001</c:v>
                </c:pt>
                <c:pt idx="5695">
                  <c:v>-2.5118100000000001</c:v>
                </c:pt>
                <c:pt idx="5696">
                  <c:v>-2.27752</c:v>
                </c:pt>
                <c:pt idx="5697">
                  <c:v>#N/A</c:v>
                </c:pt>
                <c:pt idx="5698">
                  <c:v>-2.04697</c:v>
                </c:pt>
                <c:pt idx="5699">
                  <c:v>-2.1906500000000002</c:v>
                </c:pt>
                <c:pt idx="5700">
                  <c:v>-2.70147</c:v>
                </c:pt>
                <c:pt idx="5701">
                  <c:v>#N/A</c:v>
                </c:pt>
                <c:pt idx="5702">
                  <c:v>-2.4346000000000001</c:v>
                </c:pt>
                <c:pt idx="5703">
                  <c:v>#N/A</c:v>
                </c:pt>
                <c:pt idx="5704">
                  <c:v>-2.6913900000000002</c:v>
                </c:pt>
                <c:pt idx="5705">
                  <c:v>-2.2741600000000002</c:v>
                </c:pt>
                <c:pt idx="5706">
                  <c:v>#N/A</c:v>
                </c:pt>
                <c:pt idx="5707">
                  <c:v>-2.5072899999999998</c:v>
                </c:pt>
                <c:pt idx="5708">
                  <c:v>-1.88734</c:v>
                </c:pt>
                <c:pt idx="5709">
                  <c:v>-2.2724099999999998</c:v>
                </c:pt>
                <c:pt idx="5710">
                  <c:v>#N/A</c:v>
                </c:pt>
                <c:pt idx="5711">
                  <c:v>-2.6493500000000001</c:v>
                </c:pt>
                <c:pt idx="5712">
                  <c:v>-3.1789000000000001</c:v>
                </c:pt>
                <c:pt idx="5713">
                  <c:v>-3.2991600000000001</c:v>
                </c:pt>
                <c:pt idx="5714">
                  <c:v>#N/A</c:v>
                </c:pt>
                <c:pt idx="5715">
                  <c:v>-2.93296</c:v>
                </c:pt>
                <c:pt idx="5716">
                  <c:v>-2.89188</c:v>
                </c:pt>
                <c:pt idx="5717">
                  <c:v>-2.5600399999999999</c:v>
                </c:pt>
                <c:pt idx="5718">
                  <c:v>#N/A</c:v>
                </c:pt>
                <c:pt idx="5719">
                  <c:v>-1.83273</c:v>
                </c:pt>
                <c:pt idx="5720">
                  <c:v>-2.3008700000000002</c:v>
                </c:pt>
                <c:pt idx="5721">
                  <c:v>-3.1539600000000001</c:v>
                </c:pt>
                <c:pt idx="5722">
                  <c:v>#N/A</c:v>
                </c:pt>
                <c:pt idx="5723">
                  <c:v>-3.4025500000000002</c:v>
                </c:pt>
                <c:pt idx="5724">
                  <c:v>-3.55585</c:v>
                </c:pt>
                <c:pt idx="5725">
                  <c:v>-2.9565999999999999</c:v>
                </c:pt>
                <c:pt idx="5726">
                  <c:v>#N/A</c:v>
                </c:pt>
                <c:pt idx="5727">
                  <c:v>-1.9017900000000001</c:v>
                </c:pt>
                <c:pt idx="5728">
                  <c:v>-1.9068400000000001</c:v>
                </c:pt>
                <c:pt idx="5729">
                  <c:v>-1.9786600000000001</c:v>
                </c:pt>
                <c:pt idx="5730">
                  <c:v>#N/A</c:v>
                </c:pt>
                <c:pt idx="5731">
                  <c:v>-1.9059200000000001</c:v>
                </c:pt>
                <c:pt idx="5732">
                  <c:v>-3.02529</c:v>
                </c:pt>
                <c:pt idx="5733">
                  <c:v>-3.5558000000000001</c:v>
                </c:pt>
                <c:pt idx="5734">
                  <c:v>#N/A</c:v>
                </c:pt>
                <c:pt idx="5735">
                  <c:v>-3.7062200000000001</c:v>
                </c:pt>
                <c:pt idx="5736">
                  <c:v>-2.74681</c:v>
                </c:pt>
                <c:pt idx="5737">
                  <c:v>#N/A</c:v>
                </c:pt>
                <c:pt idx="5738">
                  <c:v>-2.12148</c:v>
                </c:pt>
                <c:pt idx="5739">
                  <c:v>-1.5043599999999999</c:v>
                </c:pt>
                <c:pt idx="5740">
                  <c:v>-2.26064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#N/A</c:v>
                </c:pt>
                <c:pt idx="5745">
                  <c:v>#N/A</c:v>
                </c:pt>
                <c:pt idx="5746">
                  <c:v>#N/A</c:v>
                </c:pt>
                <c:pt idx="5747">
                  <c:v>#N/A</c:v>
                </c:pt>
                <c:pt idx="5748">
                  <c:v>#N/A</c:v>
                </c:pt>
                <c:pt idx="5749">
                  <c:v>#N/A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#N/A</c:v>
                </c:pt>
                <c:pt idx="5754">
                  <c:v>#N/A</c:v>
                </c:pt>
                <c:pt idx="5755">
                  <c:v>#N/A</c:v>
                </c:pt>
                <c:pt idx="5756">
                  <c:v>#N/A</c:v>
                </c:pt>
                <c:pt idx="5757">
                  <c:v>#N/A</c:v>
                </c:pt>
                <c:pt idx="5758">
                  <c:v>#N/A</c:v>
                </c:pt>
                <c:pt idx="5759">
                  <c:v>#N/A</c:v>
                </c:pt>
                <c:pt idx="5760">
                  <c:v>#N/A</c:v>
                </c:pt>
                <c:pt idx="5761">
                  <c:v>#N/A</c:v>
                </c:pt>
                <c:pt idx="5762">
                  <c:v>#N/A</c:v>
                </c:pt>
                <c:pt idx="5763">
                  <c:v>-2.7823799999999999</c:v>
                </c:pt>
                <c:pt idx="5764">
                  <c:v>-3.2803399999999998</c:v>
                </c:pt>
                <c:pt idx="5765">
                  <c:v>#N/A</c:v>
                </c:pt>
                <c:pt idx="5766">
                  <c:v>-3.2106599999999998</c:v>
                </c:pt>
                <c:pt idx="5767">
                  <c:v>-2.8394599999999999</c:v>
                </c:pt>
                <c:pt idx="5768">
                  <c:v>#N/A</c:v>
                </c:pt>
                <c:pt idx="5769">
                  <c:v>-2.8325100000000001</c:v>
                </c:pt>
                <c:pt idx="5770">
                  <c:v>-2.7416100000000001</c:v>
                </c:pt>
                <c:pt idx="5771">
                  <c:v>-2.6394199999999999</c:v>
                </c:pt>
                <c:pt idx="5772">
                  <c:v>#N/A</c:v>
                </c:pt>
                <c:pt idx="5773">
                  <c:v>-3.0273699999999999</c:v>
                </c:pt>
                <c:pt idx="5774">
                  <c:v>-3.2352300000000001</c:v>
                </c:pt>
                <c:pt idx="5775">
                  <c:v>-3.1067499999999999</c:v>
                </c:pt>
                <c:pt idx="5776">
                  <c:v>#N/A</c:v>
                </c:pt>
                <c:pt idx="5777">
                  <c:v>-3.4513600000000002</c:v>
                </c:pt>
                <c:pt idx="5778">
                  <c:v>-2.99349</c:v>
                </c:pt>
                <c:pt idx="5779">
                  <c:v>#N/A</c:v>
                </c:pt>
                <c:pt idx="5780">
                  <c:v>-2.8805499999999999</c:v>
                </c:pt>
                <c:pt idx="5781">
                  <c:v>-2.36233</c:v>
                </c:pt>
                <c:pt idx="5782">
                  <c:v>-2.7269100000000002</c:v>
                </c:pt>
                <c:pt idx="5783">
                  <c:v>#N/A</c:v>
                </c:pt>
                <c:pt idx="5784">
                  <c:v>-2.8820800000000002</c:v>
                </c:pt>
                <c:pt idx="5785">
                  <c:v>-3.34476</c:v>
                </c:pt>
                <c:pt idx="5786">
                  <c:v>-2.9164400000000001</c:v>
                </c:pt>
                <c:pt idx="5787">
                  <c:v>#N/A</c:v>
                </c:pt>
                <c:pt idx="5788">
                  <c:v>-2.71617</c:v>
                </c:pt>
                <c:pt idx="5789">
                  <c:v>-2.8569900000000001</c:v>
                </c:pt>
                <c:pt idx="5790">
                  <c:v>-2.3050600000000001</c:v>
                </c:pt>
                <c:pt idx="5791">
                  <c:v>#N/A</c:v>
                </c:pt>
                <c:pt idx="5792">
                  <c:v>-1.8274699999999999</c:v>
                </c:pt>
                <c:pt idx="5793">
                  <c:v>-2.4803799999999998</c:v>
                </c:pt>
                <c:pt idx="5794">
                  <c:v>-3.0672600000000001</c:v>
                </c:pt>
                <c:pt idx="5795">
                  <c:v>#N/A</c:v>
                </c:pt>
                <c:pt idx="5796">
                  <c:v>-3.28268</c:v>
                </c:pt>
                <c:pt idx="5797">
                  <c:v>-3.3400300000000001</c:v>
                </c:pt>
                <c:pt idx="5798">
                  <c:v>-2.6738400000000002</c:v>
                </c:pt>
                <c:pt idx="5799">
                  <c:v>#N/A</c:v>
                </c:pt>
                <c:pt idx="5800">
                  <c:v>-2.1831</c:v>
                </c:pt>
                <c:pt idx="5801">
                  <c:v>-2.0585200000000001</c:v>
                </c:pt>
                <c:pt idx="5802">
                  <c:v>-2.3464800000000001</c:v>
                </c:pt>
                <c:pt idx="5803">
                  <c:v>#N/A</c:v>
                </c:pt>
                <c:pt idx="5804">
                  <c:v>-2.3428100000000001</c:v>
                </c:pt>
                <c:pt idx="5805">
                  <c:v>-2.6804100000000002</c:v>
                </c:pt>
                <c:pt idx="5806">
                  <c:v>#N/A</c:v>
                </c:pt>
                <c:pt idx="5807">
                  <c:v>-3.2384400000000002</c:v>
                </c:pt>
                <c:pt idx="5808">
                  <c:v>-3.7162899999999999</c:v>
                </c:pt>
                <c:pt idx="5809">
                  <c:v>-2.9056799999999998</c:v>
                </c:pt>
                <c:pt idx="5810">
                  <c:v>#N/A</c:v>
                </c:pt>
                <c:pt idx="5811">
                  <c:v>-2.7555700000000001</c:v>
                </c:pt>
                <c:pt idx="5812">
                  <c:v>-1.89174</c:v>
                </c:pt>
                <c:pt idx="5813">
                  <c:v>#N/A</c:v>
                </c:pt>
                <c:pt idx="5814">
                  <c:v>-2.4937</c:v>
                </c:pt>
                <c:pt idx="5815">
                  <c:v>-2.29474</c:v>
                </c:pt>
                <c:pt idx="5816">
                  <c:v>-2.5489899999999999</c:v>
                </c:pt>
                <c:pt idx="5817">
                  <c:v>#N/A</c:v>
                </c:pt>
                <c:pt idx="5818">
                  <c:v>-2.90639</c:v>
                </c:pt>
                <c:pt idx="5819">
                  <c:v>-3.2055600000000002</c:v>
                </c:pt>
                <c:pt idx="5820">
                  <c:v>-2.8222299999999998</c:v>
                </c:pt>
                <c:pt idx="5821">
                  <c:v>#N/A</c:v>
                </c:pt>
                <c:pt idx="5822">
                  <c:v>-1.57724</c:v>
                </c:pt>
                <c:pt idx="5823">
                  <c:v>-2.1288399999999998</c:v>
                </c:pt>
                <c:pt idx="5824">
                  <c:v>-1.51918</c:v>
                </c:pt>
                <c:pt idx="5825">
                  <c:v>#N/A</c:v>
                </c:pt>
                <c:pt idx="5826">
                  <c:v>-2.1447400000000001</c:v>
                </c:pt>
                <c:pt idx="5827">
                  <c:v>-2.2472699999999999</c:v>
                </c:pt>
                <c:pt idx="5828">
                  <c:v>-3.4133800000000001</c:v>
                </c:pt>
                <c:pt idx="5829">
                  <c:v>#N/A</c:v>
                </c:pt>
                <c:pt idx="5830">
                  <c:v>-2.74716</c:v>
                </c:pt>
                <c:pt idx="5831">
                  <c:v>-2.9269799999999999</c:v>
                </c:pt>
                <c:pt idx="5832">
                  <c:v>-2.4513400000000001</c:v>
                </c:pt>
                <c:pt idx="5833">
                  <c:v>#N/A</c:v>
                </c:pt>
                <c:pt idx="5834">
                  <c:v>-2.0825100000000001</c:v>
                </c:pt>
                <c:pt idx="5835">
                  <c:v>-2.8432499999999998</c:v>
                </c:pt>
                <c:pt idx="5836">
                  <c:v>-3.05165</c:v>
                </c:pt>
                <c:pt idx="5837">
                  <c:v>#N/A</c:v>
                </c:pt>
                <c:pt idx="5838">
                  <c:v>-3.7952300000000001</c:v>
                </c:pt>
                <c:pt idx="5839">
                  <c:v>-3.3321399999999999</c:v>
                </c:pt>
                <c:pt idx="5840">
                  <c:v>-3.3057099999999999</c:v>
                </c:pt>
                <c:pt idx="5841">
                  <c:v>#N/A</c:v>
                </c:pt>
                <c:pt idx="5842">
                  <c:v>-2.7775799999999999</c:v>
                </c:pt>
                <c:pt idx="5843">
                  <c:v>-2.7612899999999998</c:v>
                </c:pt>
                <c:pt idx="5844">
                  <c:v>#N/A</c:v>
                </c:pt>
                <c:pt idx="5845">
                  <c:v>-2.25962</c:v>
                </c:pt>
                <c:pt idx="5846">
                  <c:v>-2.61015</c:v>
                </c:pt>
                <c:pt idx="5847">
                  <c:v>-2.5446</c:v>
                </c:pt>
                <c:pt idx="5848">
                  <c:v>#N/A</c:v>
                </c:pt>
                <c:pt idx="5849">
                  <c:v>-3.1869900000000002</c:v>
                </c:pt>
                <c:pt idx="5850">
                  <c:v>-2.9146999999999998</c:v>
                </c:pt>
                <c:pt idx="5851">
                  <c:v>-2.8599299999999999</c:v>
                </c:pt>
                <c:pt idx="5852">
                  <c:v>#N/A</c:v>
                </c:pt>
                <c:pt idx="5853">
                  <c:v>-1.9748000000000001</c:v>
                </c:pt>
                <c:pt idx="5854">
                  <c:v>#N/A</c:v>
                </c:pt>
                <c:pt idx="5855">
                  <c:v>-1.9240699999999999</c:v>
                </c:pt>
                <c:pt idx="5856">
                  <c:v>-2.0914899999999998</c:v>
                </c:pt>
                <c:pt idx="5857">
                  <c:v>#N/A</c:v>
                </c:pt>
                <c:pt idx="5858">
                  <c:v>-2.4335499999999999</c:v>
                </c:pt>
                <c:pt idx="5859">
                  <c:v>-2.9417399999999998</c:v>
                </c:pt>
                <c:pt idx="5860">
                  <c:v>#N/A</c:v>
                </c:pt>
                <c:pt idx="5861">
                  <c:v>-2.42401</c:v>
                </c:pt>
                <c:pt idx="5862">
                  <c:v>-2.2230799999999999</c:v>
                </c:pt>
                <c:pt idx="5863">
                  <c:v>#N/A</c:v>
                </c:pt>
                <c:pt idx="5864">
                  <c:v>-1.8754500000000001</c:v>
                </c:pt>
                <c:pt idx="5865">
                  <c:v>-2.0979199999999998</c:v>
                </c:pt>
                <c:pt idx="5866">
                  <c:v>-2.26736</c:v>
                </c:pt>
                <c:pt idx="5867">
                  <c:v>#N/A</c:v>
                </c:pt>
                <c:pt idx="5868">
                  <c:v>-3.2317</c:v>
                </c:pt>
                <c:pt idx="5869">
                  <c:v>-3.69293</c:v>
                </c:pt>
                <c:pt idx="5870">
                  <c:v>-3.19157</c:v>
                </c:pt>
                <c:pt idx="5871">
                  <c:v>#N/A</c:v>
                </c:pt>
                <c:pt idx="5872">
                  <c:v>-2.9901800000000001</c:v>
                </c:pt>
                <c:pt idx="5873">
                  <c:v>-2.0167299999999999</c:v>
                </c:pt>
                <c:pt idx="5874">
                  <c:v>-2.22621</c:v>
                </c:pt>
                <c:pt idx="5875">
                  <c:v>#N/A</c:v>
                </c:pt>
                <c:pt idx="5876">
                  <c:v>-2.6575500000000001</c:v>
                </c:pt>
                <c:pt idx="5877">
                  <c:v>-2.9231600000000002</c:v>
                </c:pt>
                <c:pt idx="5878">
                  <c:v>-3.03633</c:v>
                </c:pt>
                <c:pt idx="5879">
                  <c:v>#N/A</c:v>
                </c:pt>
                <c:pt idx="5880">
                  <c:v>-3.9802499999999998</c:v>
                </c:pt>
                <c:pt idx="5881">
                  <c:v>-3.31379</c:v>
                </c:pt>
                <c:pt idx="5882">
                  <c:v>-2.49038</c:v>
                </c:pt>
                <c:pt idx="5883">
                  <c:v>#N/A</c:v>
                </c:pt>
                <c:pt idx="5884">
                  <c:v>-2.0399799999999999</c:v>
                </c:pt>
                <c:pt idx="5885">
                  <c:v>-1.6855800000000001</c:v>
                </c:pt>
                <c:pt idx="5886">
                  <c:v>#N/A</c:v>
                </c:pt>
                <c:pt idx="5887">
                  <c:v>-1.9405399999999999</c:v>
                </c:pt>
                <c:pt idx="5888">
                  <c:v>-2.4454799999999999</c:v>
                </c:pt>
                <c:pt idx="5889">
                  <c:v>-2.8773300000000002</c:v>
                </c:pt>
                <c:pt idx="5890">
                  <c:v>#N/A</c:v>
                </c:pt>
                <c:pt idx="5891">
                  <c:v>-3.3520599999999998</c:v>
                </c:pt>
                <c:pt idx="5892">
                  <c:v>-3.5355400000000001</c:v>
                </c:pt>
                <c:pt idx="5893">
                  <c:v>-3.1022699999999999</c:v>
                </c:pt>
                <c:pt idx="5894">
                  <c:v>#N/A</c:v>
                </c:pt>
                <c:pt idx="5895">
                  <c:v>-2.1647500000000002</c:v>
                </c:pt>
                <c:pt idx="5896">
                  <c:v>-1.8418099999999999</c:v>
                </c:pt>
                <c:pt idx="5897">
                  <c:v>-1.8285400000000001</c:v>
                </c:pt>
                <c:pt idx="5898">
                  <c:v>#N/A</c:v>
                </c:pt>
                <c:pt idx="5899">
                  <c:v>-2.9483700000000002</c:v>
                </c:pt>
                <c:pt idx="5900">
                  <c:v>-3.3380800000000002</c:v>
                </c:pt>
                <c:pt idx="5901">
                  <c:v>-3.4383300000000001</c:v>
                </c:pt>
                <c:pt idx="5902">
                  <c:v>#N/A</c:v>
                </c:pt>
                <c:pt idx="5903">
                  <c:v>-3.4287299999999998</c:v>
                </c:pt>
                <c:pt idx="5904">
                  <c:v>-3.0661900000000002</c:v>
                </c:pt>
                <c:pt idx="5905">
                  <c:v>-2.24254</c:v>
                </c:pt>
                <c:pt idx="5906">
                  <c:v>#N/A</c:v>
                </c:pt>
                <c:pt idx="5907">
                  <c:v>-1.7441899999999999</c:v>
                </c:pt>
                <c:pt idx="5908">
                  <c:v>-2.01512</c:v>
                </c:pt>
                <c:pt idx="5909">
                  <c:v>-2.2292800000000002</c:v>
                </c:pt>
                <c:pt idx="5910">
                  <c:v>#N/A</c:v>
                </c:pt>
                <c:pt idx="5911">
                  <c:v>-2.9548800000000002</c:v>
                </c:pt>
                <c:pt idx="5912">
                  <c:v>-2.8350300000000002</c:v>
                </c:pt>
                <c:pt idx="5913">
                  <c:v>#N/A</c:v>
                </c:pt>
                <c:pt idx="5914">
                  <c:v>-2.95879</c:v>
                </c:pt>
                <c:pt idx="5915">
                  <c:v>-2.2766099999999998</c:v>
                </c:pt>
                <c:pt idx="5916">
                  <c:v>-2.3087800000000001</c:v>
                </c:pt>
                <c:pt idx="5917">
                  <c:v>#N/A</c:v>
                </c:pt>
                <c:pt idx="5918">
                  <c:v>-2.36347</c:v>
                </c:pt>
                <c:pt idx="5919">
                  <c:v>-2.7660399999999998</c:v>
                </c:pt>
                <c:pt idx="5920">
                  <c:v>#N/A</c:v>
                </c:pt>
                <c:pt idx="5921">
                  <c:v>-2.79834</c:v>
                </c:pt>
                <c:pt idx="5922">
                  <c:v>-2.5912299999999999</c:v>
                </c:pt>
                <c:pt idx="5923">
                  <c:v>-2.8218399999999999</c:v>
                </c:pt>
                <c:pt idx="5924">
                  <c:v>#N/A</c:v>
                </c:pt>
                <c:pt idx="5925">
                  <c:v>-2.6313399999999998</c:v>
                </c:pt>
                <c:pt idx="5926">
                  <c:v>-2.2789000000000001</c:v>
                </c:pt>
                <c:pt idx="5927">
                  <c:v>#N/A</c:v>
                </c:pt>
                <c:pt idx="5928">
                  <c:v>-2.5775600000000001</c:v>
                </c:pt>
                <c:pt idx="5929">
                  <c:v>#N/A</c:v>
                </c:pt>
                <c:pt idx="5930">
                  <c:v>-2.32504</c:v>
                </c:pt>
                <c:pt idx="5931">
                  <c:v>-2.7639399999999998</c:v>
                </c:pt>
                <c:pt idx="5932">
                  <c:v>-2.5296699999999999</c:v>
                </c:pt>
                <c:pt idx="5933">
                  <c:v>#N/A</c:v>
                </c:pt>
                <c:pt idx="5934">
                  <c:v>-2.4928699999999999</c:v>
                </c:pt>
                <c:pt idx="5935">
                  <c:v>-2.1755300000000002</c:v>
                </c:pt>
                <c:pt idx="5936">
                  <c:v>#N/A</c:v>
                </c:pt>
                <c:pt idx="5937">
                  <c:v>-2.0153699999999999</c:v>
                </c:pt>
                <c:pt idx="5938">
                  <c:v>-1.7747200000000001</c:v>
                </c:pt>
                <c:pt idx="5939">
                  <c:v>-2.52536</c:v>
                </c:pt>
                <c:pt idx="5940">
                  <c:v>#N/A</c:v>
                </c:pt>
                <c:pt idx="5941">
                  <c:v>-3.42231</c:v>
                </c:pt>
                <c:pt idx="5942">
                  <c:v>-3.69482</c:v>
                </c:pt>
                <c:pt idx="5943">
                  <c:v>-3.0738099999999999</c:v>
                </c:pt>
                <c:pt idx="5944">
                  <c:v>#N/A</c:v>
                </c:pt>
                <c:pt idx="5945">
                  <c:v>-3.1108699999999998</c:v>
                </c:pt>
                <c:pt idx="5946">
                  <c:v>-1.89089</c:v>
                </c:pt>
                <c:pt idx="5947">
                  <c:v>#N/A</c:v>
                </c:pt>
                <c:pt idx="5948">
                  <c:v>-2.0388799999999998</c:v>
                </c:pt>
                <c:pt idx="5949">
                  <c:v>-1.60026</c:v>
                </c:pt>
                <c:pt idx="5950">
                  <c:v>-2.38042</c:v>
                </c:pt>
                <c:pt idx="5951">
                  <c:v>#N/A</c:v>
                </c:pt>
                <c:pt idx="5952">
                  <c:v>-2.82491</c:v>
                </c:pt>
                <c:pt idx="5953">
                  <c:v>-3.7334999999999998</c:v>
                </c:pt>
                <c:pt idx="5954">
                  <c:v>-2.9727100000000002</c:v>
                </c:pt>
                <c:pt idx="5955">
                  <c:v>#N/A</c:v>
                </c:pt>
                <c:pt idx="5956">
                  <c:v>-2.6145399999999999</c:v>
                </c:pt>
                <c:pt idx="5957">
                  <c:v>-2.04582</c:v>
                </c:pt>
                <c:pt idx="5958">
                  <c:v>#N/A</c:v>
                </c:pt>
                <c:pt idx="5959">
                  <c:v>-1.8525</c:v>
                </c:pt>
                <c:pt idx="5960">
                  <c:v>-2.6494399999999998</c:v>
                </c:pt>
                <c:pt idx="5961">
                  <c:v>-2.3325</c:v>
                </c:pt>
                <c:pt idx="5962">
                  <c:v>#N/A</c:v>
                </c:pt>
                <c:pt idx="5963">
                  <c:v>-3.1663100000000002</c:v>
                </c:pt>
                <c:pt idx="5964">
                  <c:v>-3.2873199999999998</c:v>
                </c:pt>
                <c:pt idx="5965">
                  <c:v>-3.4428000000000001</c:v>
                </c:pt>
                <c:pt idx="5966">
                  <c:v>#N/A</c:v>
                </c:pt>
                <c:pt idx="5967">
                  <c:v>-2.9798200000000001</c:v>
                </c:pt>
                <c:pt idx="5968">
                  <c:v>-2.00413</c:v>
                </c:pt>
                <c:pt idx="5969">
                  <c:v>-1.52122</c:v>
                </c:pt>
                <c:pt idx="5970">
                  <c:v>#N/A</c:v>
                </c:pt>
                <c:pt idx="5971">
                  <c:v>-1.52834</c:v>
                </c:pt>
                <c:pt idx="5972">
                  <c:v>-2.5117500000000001</c:v>
                </c:pt>
                <c:pt idx="5973">
                  <c:v>-2.7998099999999999</c:v>
                </c:pt>
                <c:pt idx="5974">
                  <c:v>#N/A</c:v>
                </c:pt>
                <c:pt idx="5975">
                  <c:v>-3.11083</c:v>
                </c:pt>
                <c:pt idx="5976">
                  <c:v>-3.2174100000000001</c:v>
                </c:pt>
                <c:pt idx="5977">
                  <c:v>-3.1902699999999999</c:v>
                </c:pt>
                <c:pt idx="5978">
                  <c:v>#N/A</c:v>
                </c:pt>
                <c:pt idx="5979">
                  <c:v>-2.37514</c:v>
                </c:pt>
                <c:pt idx="5980">
                  <c:v>-2.2023700000000002</c:v>
                </c:pt>
                <c:pt idx="5981">
                  <c:v>-2.0545</c:v>
                </c:pt>
                <c:pt idx="5982">
                  <c:v>#N/A</c:v>
                </c:pt>
                <c:pt idx="5983">
                  <c:v>-1.6367499999999999</c:v>
                </c:pt>
                <c:pt idx="5984">
                  <c:v>-2.45485</c:v>
                </c:pt>
                <c:pt idx="5985">
                  <c:v>-3.36076</c:v>
                </c:pt>
                <c:pt idx="5986">
                  <c:v>#N/A</c:v>
                </c:pt>
                <c:pt idx="5987">
                  <c:v>-2.9906000000000001</c:v>
                </c:pt>
                <c:pt idx="5988">
                  <c:v>-2.87283</c:v>
                </c:pt>
                <c:pt idx="5989">
                  <c:v>-2.2685900000000001</c:v>
                </c:pt>
                <c:pt idx="5990">
                  <c:v>#N/A</c:v>
                </c:pt>
                <c:pt idx="5991">
                  <c:v>-1.90907</c:v>
                </c:pt>
                <c:pt idx="5992">
                  <c:v>-1.7002699999999999</c:v>
                </c:pt>
                <c:pt idx="5993">
                  <c:v>#N/A</c:v>
                </c:pt>
                <c:pt idx="5994">
                  <c:v>-2.3048700000000002</c:v>
                </c:pt>
                <c:pt idx="5995">
                  <c:v>-2.8273199999999998</c:v>
                </c:pt>
                <c:pt idx="5996">
                  <c:v>-3.1273499999999999</c:v>
                </c:pt>
                <c:pt idx="5997">
                  <c:v>#N/A</c:v>
                </c:pt>
                <c:pt idx="5998">
                  <c:v>-2.6852999999999998</c:v>
                </c:pt>
                <c:pt idx="5999">
                  <c:v>-2.6048</c:v>
                </c:pt>
                <c:pt idx="6000">
                  <c:v>-2.2812100000000002</c:v>
                </c:pt>
                <c:pt idx="6001">
                  <c:v>#N/A</c:v>
                </c:pt>
                <c:pt idx="6002">
                  <c:v>-2.6433900000000001</c:v>
                </c:pt>
                <c:pt idx="6003">
                  <c:v>-2.7209599999999998</c:v>
                </c:pt>
                <c:pt idx="6004">
                  <c:v>#N/A</c:v>
                </c:pt>
                <c:pt idx="6005">
                  <c:v>-3.0401199999999999</c:v>
                </c:pt>
                <c:pt idx="6006">
                  <c:v>#N/A</c:v>
                </c:pt>
                <c:pt idx="6007">
                  <c:v>-2.9305400000000001</c:v>
                </c:pt>
                <c:pt idx="6008">
                  <c:v>-2.5787499999999999</c:v>
                </c:pt>
                <c:pt idx="6009">
                  <c:v>-2.02772</c:v>
                </c:pt>
                <c:pt idx="6010">
                  <c:v>#N/A</c:v>
                </c:pt>
                <c:pt idx="6011">
                  <c:v>-2.1964399999999999</c:v>
                </c:pt>
                <c:pt idx="6012">
                  <c:v>-2.5166400000000002</c:v>
                </c:pt>
                <c:pt idx="6013">
                  <c:v>-2.4460600000000001</c:v>
                </c:pt>
                <c:pt idx="6014">
                  <c:v>#N/A</c:v>
                </c:pt>
                <c:pt idx="6015">
                  <c:v>-3.18329</c:v>
                </c:pt>
                <c:pt idx="6016">
                  <c:v>-3.2547299999999999</c:v>
                </c:pt>
                <c:pt idx="6017">
                  <c:v>#N/A</c:v>
                </c:pt>
                <c:pt idx="6018">
                  <c:v>-3.1884700000000001</c:v>
                </c:pt>
                <c:pt idx="6019">
                  <c:v>-2.7141600000000001</c:v>
                </c:pt>
                <c:pt idx="6020">
                  <c:v>-2.41398</c:v>
                </c:pt>
                <c:pt idx="6021">
                  <c:v>#N/A</c:v>
                </c:pt>
                <c:pt idx="6022">
                  <c:v>-2.1368399999999999</c:v>
                </c:pt>
                <c:pt idx="6023">
                  <c:v>-2.8819400000000002</c:v>
                </c:pt>
                <c:pt idx="6024">
                  <c:v>-3.3506499999999999</c:v>
                </c:pt>
                <c:pt idx="6025">
                  <c:v>#N/A</c:v>
                </c:pt>
                <c:pt idx="6026">
                  <c:v>-3.2588200000000001</c:v>
                </c:pt>
                <c:pt idx="6027">
                  <c:v>-3.2002600000000001</c:v>
                </c:pt>
                <c:pt idx="6028">
                  <c:v>-2.5750099999999998</c:v>
                </c:pt>
                <c:pt idx="6029">
                  <c:v>#N/A</c:v>
                </c:pt>
                <c:pt idx="6030">
                  <c:v>-2.2340300000000002</c:v>
                </c:pt>
                <c:pt idx="6031">
                  <c:v>-1.5959000000000001</c:v>
                </c:pt>
                <c:pt idx="6032">
                  <c:v>#N/A</c:v>
                </c:pt>
                <c:pt idx="6033">
                  <c:v>-2.22837</c:v>
                </c:pt>
                <c:pt idx="6034">
                  <c:v>-2.6244800000000001</c:v>
                </c:pt>
                <c:pt idx="6035">
                  <c:v>-3.1751800000000001</c:v>
                </c:pt>
                <c:pt idx="6036">
                  <c:v>#N/A</c:v>
                </c:pt>
                <c:pt idx="6037">
                  <c:v>-3.3370299999999999</c:v>
                </c:pt>
                <c:pt idx="6038">
                  <c:v>-3.1937700000000002</c:v>
                </c:pt>
                <c:pt idx="6039">
                  <c:v>-2.9281899999999998</c:v>
                </c:pt>
                <c:pt idx="6040">
                  <c:v>#N/A</c:v>
                </c:pt>
                <c:pt idx="6041">
                  <c:v>-2.0954600000000001</c:v>
                </c:pt>
                <c:pt idx="6042">
                  <c:v>-2.0819200000000002</c:v>
                </c:pt>
                <c:pt idx="6043">
                  <c:v>-2.0015800000000001</c:v>
                </c:pt>
                <c:pt idx="6044">
                  <c:v>#N/A</c:v>
                </c:pt>
                <c:pt idx="6045">
                  <c:v>-2.4195099999999998</c:v>
                </c:pt>
                <c:pt idx="6046">
                  <c:v>-2.5876999999999999</c:v>
                </c:pt>
                <c:pt idx="6047">
                  <c:v>-3.1518799999999998</c:v>
                </c:pt>
                <c:pt idx="6048">
                  <c:v>#N/A</c:v>
                </c:pt>
                <c:pt idx="6049">
                  <c:v>-3.5305</c:v>
                </c:pt>
                <c:pt idx="6050">
                  <c:v>-3.05097</c:v>
                </c:pt>
                <c:pt idx="6051">
                  <c:v>#N/A</c:v>
                </c:pt>
                <c:pt idx="6052">
                  <c:v>-2.1224599999999998</c:v>
                </c:pt>
                <c:pt idx="6053">
                  <c:v>-1.9467099999999999</c:v>
                </c:pt>
                <c:pt idx="6054">
                  <c:v>-2.3804099999999999</c:v>
                </c:pt>
                <c:pt idx="6055">
                  <c:v>#N/A</c:v>
                </c:pt>
                <c:pt idx="6056">
                  <c:v>-2.0493600000000001</c:v>
                </c:pt>
                <c:pt idx="6057">
                  <c:v>-2.62208</c:v>
                </c:pt>
                <c:pt idx="6058">
                  <c:v>-2.9769000000000001</c:v>
                </c:pt>
                <c:pt idx="6059">
                  <c:v>#N/A</c:v>
                </c:pt>
                <c:pt idx="6060">
                  <c:v>-3.1570399999999998</c:v>
                </c:pt>
                <c:pt idx="6061">
                  <c:v>-3.1687799999999999</c:v>
                </c:pt>
                <c:pt idx="6062">
                  <c:v>-3.0315300000000001</c:v>
                </c:pt>
                <c:pt idx="6063">
                  <c:v>#N/A</c:v>
                </c:pt>
                <c:pt idx="6064">
                  <c:v>-2.7562199999999999</c:v>
                </c:pt>
                <c:pt idx="6065">
                  <c:v>-2.22126</c:v>
                </c:pt>
                <c:pt idx="6066">
                  <c:v>-2.7092499999999999</c:v>
                </c:pt>
                <c:pt idx="6067">
                  <c:v>#N/A</c:v>
                </c:pt>
                <c:pt idx="6068">
                  <c:v>-2.45404</c:v>
                </c:pt>
                <c:pt idx="6069">
                  <c:v>-2.9295300000000002</c:v>
                </c:pt>
                <c:pt idx="6070">
                  <c:v>-2.8872599999999999</c:v>
                </c:pt>
                <c:pt idx="6071">
                  <c:v>#N/A</c:v>
                </c:pt>
                <c:pt idx="6072">
                  <c:v>-2.5706799999999999</c:v>
                </c:pt>
                <c:pt idx="6073">
                  <c:v>-2.19503</c:v>
                </c:pt>
                <c:pt idx="6074">
                  <c:v>-2.1776800000000001</c:v>
                </c:pt>
                <c:pt idx="6075">
                  <c:v>#N/A</c:v>
                </c:pt>
                <c:pt idx="6076">
                  <c:v>-1.71767</c:v>
                </c:pt>
                <c:pt idx="6077">
                  <c:v>-2.9905200000000001</c:v>
                </c:pt>
                <c:pt idx="6078">
                  <c:v>-2.5326300000000002</c:v>
                </c:pt>
                <c:pt idx="6079">
                  <c:v>#N/A</c:v>
                </c:pt>
                <c:pt idx="6080">
                  <c:v>#N/A</c:v>
                </c:pt>
                <c:pt idx="6081">
                  <c:v>-2.8010999999999999</c:v>
                </c:pt>
                <c:pt idx="6082">
                  <c:v>-2.45824</c:v>
                </c:pt>
                <c:pt idx="6083">
                  <c:v>-2.2058</c:v>
                </c:pt>
                <c:pt idx="6084">
                  <c:v>#N/A</c:v>
                </c:pt>
                <c:pt idx="6085">
                  <c:v>-2.6158000000000001</c:v>
                </c:pt>
                <c:pt idx="6086">
                  <c:v>-2.7468300000000001</c:v>
                </c:pt>
                <c:pt idx="6087">
                  <c:v>-3.85765</c:v>
                </c:pt>
                <c:pt idx="6088">
                  <c:v>#N/A</c:v>
                </c:pt>
                <c:pt idx="6089">
                  <c:v>-3.9104299999999999</c:v>
                </c:pt>
                <c:pt idx="6090">
                  <c:v>-3.5129899999999998</c:v>
                </c:pt>
                <c:pt idx="6091">
                  <c:v>-2.9910399999999999</c:v>
                </c:pt>
                <c:pt idx="6092">
                  <c:v>#N/A</c:v>
                </c:pt>
                <c:pt idx="6093">
                  <c:v>-2.10534</c:v>
                </c:pt>
                <c:pt idx="6094">
                  <c:v>-2.2712599999999998</c:v>
                </c:pt>
                <c:pt idx="6095">
                  <c:v>#N/A</c:v>
                </c:pt>
                <c:pt idx="6096">
                  <c:v>-2.02569</c:v>
                </c:pt>
                <c:pt idx="6097">
                  <c:v>-2.86361</c:v>
                </c:pt>
                <c:pt idx="6098">
                  <c:v>-3.4801700000000002</c:v>
                </c:pt>
                <c:pt idx="6099">
                  <c:v>#N/A</c:v>
                </c:pt>
                <c:pt idx="6100">
                  <c:v>-3.3231600000000001</c:v>
                </c:pt>
                <c:pt idx="6101">
                  <c:v>-3.5031699999999999</c:v>
                </c:pt>
                <c:pt idx="6102">
                  <c:v>-2.4772599999999998</c:v>
                </c:pt>
                <c:pt idx="6103">
                  <c:v>#N/A</c:v>
                </c:pt>
                <c:pt idx="6104">
                  <c:v>-1.76257</c:v>
                </c:pt>
                <c:pt idx="6105">
                  <c:v>-1.9054199999999999</c:v>
                </c:pt>
                <c:pt idx="6106">
                  <c:v>-2.3992599999999999</c:v>
                </c:pt>
                <c:pt idx="6107">
                  <c:v>#N/A</c:v>
                </c:pt>
                <c:pt idx="6108">
                  <c:v>-2.7677999999999998</c:v>
                </c:pt>
                <c:pt idx="6109">
                  <c:v>-3.0712700000000002</c:v>
                </c:pt>
                <c:pt idx="6110">
                  <c:v>#N/A</c:v>
                </c:pt>
                <c:pt idx="6111">
                  <c:v>-3.4507400000000001</c:v>
                </c:pt>
                <c:pt idx="6112">
                  <c:v>-2.9713599999999998</c:v>
                </c:pt>
                <c:pt idx="6113">
                  <c:v>-2.5941100000000001</c:v>
                </c:pt>
                <c:pt idx="6114">
                  <c:v>#N/A</c:v>
                </c:pt>
                <c:pt idx="6115">
                  <c:v>-2.6519599999999999</c:v>
                </c:pt>
                <c:pt idx="6116">
                  <c:v>-1.75485</c:v>
                </c:pt>
                <c:pt idx="6117">
                  <c:v>-2.20194</c:v>
                </c:pt>
                <c:pt idx="6118">
                  <c:v>#N/A</c:v>
                </c:pt>
                <c:pt idx="6119">
                  <c:v>-3.1039400000000001</c:v>
                </c:pt>
                <c:pt idx="6120">
                  <c:v>-3.4537</c:v>
                </c:pt>
                <c:pt idx="6121">
                  <c:v>-3.0136400000000001</c:v>
                </c:pt>
                <c:pt idx="6122">
                  <c:v>#N/A</c:v>
                </c:pt>
                <c:pt idx="6123">
                  <c:v>-3.1697199999999999</c:v>
                </c:pt>
                <c:pt idx="6124">
                  <c:v>-2.88632</c:v>
                </c:pt>
                <c:pt idx="6125">
                  <c:v>-2.51999</c:v>
                </c:pt>
                <c:pt idx="6126">
                  <c:v>#N/A</c:v>
                </c:pt>
                <c:pt idx="6127">
                  <c:v>-2.5339499999999999</c:v>
                </c:pt>
                <c:pt idx="6128">
                  <c:v>-1.97821</c:v>
                </c:pt>
                <c:pt idx="6129">
                  <c:v>-2.4209200000000002</c:v>
                </c:pt>
                <c:pt idx="6130">
                  <c:v>#N/A</c:v>
                </c:pt>
                <c:pt idx="6131">
                  <c:v>-2.4744199999999998</c:v>
                </c:pt>
                <c:pt idx="6132">
                  <c:v>-2.6775799999999998</c:v>
                </c:pt>
                <c:pt idx="6133">
                  <c:v>-2.4763199999999999</c:v>
                </c:pt>
                <c:pt idx="6134">
                  <c:v>#N/A</c:v>
                </c:pt>
                <c:pt idx="6135">
                  <c:v>-2.7736100000000001</c:v>
                </c:pt>
                <c:pt idx="6136">
                  <c:v>-2.19035</c:v>
                </c:pt>
                <c:pt idx="6137">
                  <c:v>-3.1012200000000001</c:v>
                </c:pt>
                <c:pt idx="6138">
                  <c:v>#N/A</c:v>
                </c:pt>
                <c:pt idx="6139">
                  <c:v>-2.5677699999999999</c:v>
                </c:pt>
                <c:pt idx="6140">
                  <c:v>-2.7154400000000001</c:v>
                </c:pt>
                <c:pt idx="6141">
                  <c:v>#N/A</c:v>
                </c:pt>
                <c:pt idx="6142">
                  <c:v>-3.2487699999999999</c:v>
                </c:pt>
                <c:pt idx="6143">
                  <c:v>-3.2696499999999999</c:v>
                </c:pt>
                <c:pt idx="6144">
                  <c:v>-2.8110400000000002</c:v>
                </c:pt>
                <c:pt idx="6145">
                  <c:v>#N/A</c:v>
                </c:pt>
                <c:pt idx="6146">
                  <c:v>-2.8456399999999999</c:v>
                </c:pt>
                <c:pt idx="6147">
                  <c:v>-2.52793</c:v>
                </c:pt>
                <c:pt idx="6148">
                  <c:v>-3.0029300000000001</c:v>
                </c:pt>
                <c:pt idx="6149">
                  <c:v>#N/A</c:v>
                </c:pt>
                <c:pt idx="6150">
                  <c:v>-2.6558999999999999</c:v>
                </c:pt>
                <c:pt idx="6151">
                  <c:v>-2.81481</c:v>
                </c:pt>
                <c:pt idx="6152">
                  <c:v>-2.5504899999999999</c:v>
                </c:pt>
                <c:pt idx="6153">
                  <c:v>#N/A</c:v>
                </c:pt>
                <c:pt idx="6154">
                  <c:v>-2.7589000000000001</c:v>
                </c:pt>
                <c:pt idx="6155">
                  <c:v>-2.2011400000000001</c:v>
                </c:pt>
                <c:pt idx="6156">
                  <c:v>#N/A</c:v>
                </c:pt>
                <c:pt idx="6157">
                  <c:v>-2.6560299999999999</c:v>
                </c:pt>
                <c:pt idx="6158">
                  <c:v>-2.23455</c:v>
                </c:pt>
                <c:pt idx="6159">
                  <c:v>-2.7139199999999999</c:v>
                </c:pt>
                <c:pt idx="6160">
                  <c:v>#N/A</c:v>
                </c:pt>
                <c:pt idx="6161">
                  <c:v>-3.1469200000000002</c:v>
                </c:pt>
                <c:pt idx="6162">
                  <c:v>-3.16283</c:v>
                </c:pt>
                <c:pt idx="6163">
                  <c:v>-3.4236499999999999</c:v>
                </c:pt>
                <c:pt idx="6164">
                  <c:v>#N/A</c:v>
                </c:pt>
                <c:pt idx="6165">
                  <c:v>-2.5426600000000001</c:v>
                </c:pt>
                <c:pt idx="6166">
                  <c:v>-2.3484099999999999</c:v>
                </c:pt>
                <c:pt idx="6167">
                  <c:v>-2.177</c:v>
                </c:pt>
                <c:pt idx="6168">
                  <c:v>#N/A</c:v>
                </c:pt>
                <c:pt idx="6169">
                  <c:v>-1.6592199999999999</c:v>
                </c:pt>
                <c:pt idx="6170">
                  <c:v>-2.3787500000000001</c:v>
                </c:pt>
                <c:pt idx="6171">
                  <c:v>-3.2872300000000001</c:v>
                </c:pt>
                <c:pt idx="6172">
                  <c:v>#N/A</c:v>
                </c:pt>
                <c:pt idx="6173">
                  <c:v>-3.50745</c:v>
                </c:pt>
                <c:pt idx="6174">
                  <c:v>-3.4546899999999998</c:v>
                </c:pt>
                <c:pt idx="6175">
                  <c:v>-2.5230399999999999</c:v>
                </c:pt>
                <c:pt idx="6176">
                  <c:v>#N/A</c:v>
                </c:pt>
                <c:pt idx="6177">
                  <c:v>-1.7979400000000001</c:v>
                </c:pt>
                <c:pt idx="6178">
                  <c:v>-1.79836</c:v>
                </c:pt>
                <c:pt idx="6179">
                  <c:v>#N/A</c:v>
                </c:pt>
                <c:pt idx="6180">
                  <c:v>-1.6916899999999999</c:v>
                </c:pt>
                <c:pt idx="6181">
                  <c:v>-2.2132299999999998</c:v>
                </c:pt>
                <c:pt idx="6182">
                  <c:v>-2.7478099999999999</c:v>
                </c:pt>
                <c:pt idx="6183">
                  <c:v>#N/A</c:v>
                </c:pt>
                <c:pt idx="6184">
                  <c:v>-3.2307600000000001</c:v>
                </c:pt>
                <c:pt idx="6185">
                  <c:v>-3.5465599999999999</c:v>
                </c:pt>
                <c:pt idx="6186">
                  <c:v>-3.1234000000000002</c:v>
                </c:pt>
                <c:pt idx="6187">
                  <c:v>#N/A</c:v>
                </c:pt>
                <c:pt idx="6188">
                  <c:v>-2.1222400000000001</c:v>
                </c:pt>
                <c:pt idx="6189">
                  <c:v>-1.70939</c:v>
                </c:pt>
                <c:pt idx="6190">
                  <c:v>-1.93892</c:v>
                </c:pt>
                <c:pt idx="6191">
                  <c:v>#N/A</c:v>
                </c:pt>
                <c:pt idx="6192">
                  <c:v>-2.4619300000000002</c:v>
                </c:pt>
                <c:pt idx="6193">
                  <c:v>-3.1468500000000001</c:v>
                </c:pt>
                <c:pt idx="6194">
                  <c:v>-3.3376100000000002</c:v>
                </c:pt>
                <c:pt idx="6195">
                  <c:v>#N/A</c:v>
                </c:pt>
                <c:pt idx="6196">
                  <c:v>-3.2344900000000001</c:v>
                </c:pt>
                <c:pt idx="6197">
                  <c:v>-2.77182</c:v>
                </c:pt>
                <c:pt idx="6198">
                  <c:v>-2.4634999999999998</c:v>
                </c:pt>
                <c:pt idx="6199">
                  <c:v>#N/A</c:v>
                </c:pt>
                <c:pt idx="6200">
                  <c:v>-2.1405400000000001</c:v>
                </c:pt>
                <c:pt idx="6201">
                  <c:v>-2.2719299999999998</c:v>
                </c:pt>
                <c:pt idx="6202">
                  <c:v>-3.7235399999999998</c:v>
                </c:pt>
                <c:pt idx="6203">
                  <c:v>#N/A</c:v>
                </c:pt>
                <c:pt idx="6204">
                  <c:v>-3.05396</c:v>
                </c:pt>
                <c:pt idx="6205">
                  <c:v>-3.2132399999999999</c:v>
                </c:pt>
                <c:pt idx="6206">
                  <c:v>-2.9730799999999999</c:v>
                </c:pt>
                <c:pt idx="6207">
                  <c:v>#N/A</c:v>
                </c:pt>
                <c:pt idx="6208">
                  <c:v>-2.7398099999999999</c:v>
                </c:pt>
                <c:pt idx="6209">
                  <c:v>-2.4115600000000001</c:v>
                </c:pt>
                <c:pt idx="6210">
                  <c:v>#N/A</c:v>
                </c:pt>
                <c:pt idx="6211">
                  <c:v>-3.0606100000000001</c:v>
                </c:pt>
                <c:pt idx="6212">
                  <c:v>-2.8990200000000002</c:v>
                </c:pt>
                <c:pt idx="6213">
                  <c:v>-2.4145500000000002</c:v>
                </c:pt>
                <c:pt idx="6214">
                  <c:v>#N/A</c:v>
                </c:pt>
                <c:pt idx="6215">
                  <c:v>-3.1148699999999998</c:v>
                </c:pt>
                <c:pt idx="6216">
                  <c:v>-3.1017100000000002</c:v>
                </c:pt>
                <c:pt idx="6217">
                  <c:v>-2.5626500000000001</c:v>
                </c:pt>
                <c:pt idx="6218">
                  <c:v>#N/A</c:v>
                </c:pt>
                <c:pt idx="6219">
                  <c:v>-2.0448499999999998</c:v>
                </c:pt>
                <c:pt idx="6220">
                  <c:v>-2.37418</c:v>
                </c:pt>
                <c:pt idx="6221">
                  <c:v>-2.1757599999999999</c:v>
                </c:pt>
                <c:pt idx="6222">
                  <c:v>#N/A</c:v>
                </c:pt>
                <c:pt idx="6223">
                  <c:v>-2.5451000000000001</c:v>
                </c:pt>
                <c:pt idx="6224">
                  <c:v>-2.7744599999999999</c:v>
                </c:pt>
                <c:pt idx="6225">
                  <c:v>-3.2559399999999998</c:v>
                </c:pt>
                <c:pt idx="6226">
                  <c:v>#N/A</c:v>
                </c:pt>
                <c:pt idx="6227">
                  <c:v>-2.6683400000000002</c:v>
                </c:pt>
                <c:pt idx="6228">
                  <c:v>-2.5043899999999999</c:v>
                </c:pt>
                <c:pt idx="6229">
                  <c:v>#N/A</c:v>
                </c:pt>
                <c:pt idx="6230">
                  <c:v>#N/A</c:v>
                </c:pt>
                <c:pt idx="6231">
                  <c:v>-2.08386</c:v>
                </c:pt>
                <c:pt idx="6232">
                  <c:v>-2.9285700000000001</c:v>
                </c:pt>
                <c:pt idx="6233">
                  <c:v>-3.1095299999999999</c:v>
                </c:pt>
                <c:pt idx="6234">
                  <c:v>#N/A</c:v>
                </c:pt>
                <c:pt idx="6235">
                  <c:v>-3.0930599999999999</c:v>
                </c:pt>
                <c:pt idx="6236">
                  <c:v>-2.9257200000000001</c:v>
                </c:pt>
                <c:pt idx="6237">
                  <c:v>-2.4178199999999999</c:v>
                </c:pt>
                <c:pt idx="6238">
                  <c:v>#N/A</c:v>
                </c:pt>
                <c:pt idx="6239">
                  <c:v>-2.3581500000000002</c:v>
                </c:pt>
                <c:pt idx="6240">
                  <c:v>-2.2294100000000001</c:v>
                </c:pt>
                <c:pt idx="6241">
                  <c:v>#N/A</c:v>
                </c:pt>
                <c:pt idx="6242">
                  <c:v>-2.00461</c:v>
                </c:pt>
                <c:pt idx="6243">
                  <c:v>-2.3436599999999999</c:v>
                </c:pt>
                <c:pt idx="6244">
                  <c:v>-3.3351299999999999</c:v>
                </c:pt>
                <c:pt idx="6245">
                  <c:v>#N/A</c:v>
                </c:pt>
                <c:pt idx="6246">
                  <c:v>-3.6208</c:v>
                </c:pt>
                <c:pt idx="6247">
                  <c:v>-3.3775599999999999</c:v>
                </c:pt>
                <c:pt idx="6248">
                  <c:v>-2.5741000000000001</c:v>
                </c:pt>
                <c:pt idx="6249">
                  <c:v>#N/A</c:v>
                </c:pt>
                <c:pt idx="6250">
                  <c:v>-2.0835400000000002</c:v>
                </c:pt>
                <c:pt idx="6251">
                  <c:v>-1.9984500000000001</c:v>
                </c:pt>
                <c:pt idx="6252">
                  <c:v>-1.7355499999999999</c:v>
                </c:pt>
                <c:pt idx="6253">
                  <c:v>#N/A</c:v>
                </c:pt>
                <c:pt idx="6254">
                  <c:v>-2.4572099999999999</c:v>
                </c:pt>
                <c:pt idx="6255">
                  <c:v>-2.4602400000000002</c:v>
                </c:pt>
                <c:pt idx="6256">
                  <c:v>#N/A</c:v>
                </c:pt>
                <c:pt idx="6257">
                  <c:v>-3.24824</c:v>
                </c:pt>
                <c:pt idx="6258">
                  <c:v>-3.86598</c:v>
                </c:pt>
                <c:pt idx="6259">
                  <c:v>-2.8847999999999998</c:v>
                </c:pt>
                <c:pt idx="6260">
                  <c:v>#N/A</c:v>
                </c:pt>
                <c:pt idx="6261">
                  <c:v>-2.1074000000000002</c:v>
                </c:pt>
                <c:pt idx="6262">
                  <c:v>-1.3249299999999999</c:v>
                </c:pt>
                <c:pt idx="6263">
                  <c:v>-2.0585399999999998</c:v>
                </c:pt>
                <c:pt idx="6264">
                  <c:v>#N/A</c:v>
                </c:pt>
                <c:pt idx="6265">
                  <c:v>-2.3663799999999999</c:v>
                </c:pt>
                <c:pt idx="6266">
                  <c:v>-2.9158499999999998</c:v>
                </c:pt>
                <c:pt idx="6267">
                  <c:v>-3.24288</c:v>
                </c:pt>
                <c:pt idx="6268">
                  <c:v>#N/A</c:v>
                </c:pt>
                <c:pt idx="6269">
                  <c:v>-2.6749200000000002</c:v>
                </c:pt>
                <c:pt idx="6270">
                  <c:v>-2.8096199999999998</c:v>
                </c:pt>
                <c:pt idx="6271">
                  <c:v>-2.2780300000000002</c:v>
                </c:pt>
                <c:pt idx="6272">
                  <c:v>#N/A</c:v>
                </c:pt>
                <c:pt idx="6273">
                  <c:v>-1.91021</c:v>
                </c:pt>
                <c:pt idx="6274">
                  <c:v>-1.78346</c:v>
                </c:pt>
                <c:pt idx="6275">
                  <c:v>-2.9704299999999999</c:v>
                </c:pt>
                <c:pt idx="6276">
                  <c:v>#N/A</c:v>
                </c:pt>
                <c:pt idx="6277">
                  <c:v>-3.1170499999999999</c:v>
                </c:pt>
                <c:pt idx="6278">
                  <c:v>-3.5419399999999999</c:v>
                </c:pt>
                <c:pt idx="6279">
                  <c:v>#N/A</c:v>
                </c:pt>
                <c:pt idx="6280">
                  <c:v>-3.0728300000000002</c:v>
                </c:pt>
                <c:pt idx="6281">
                  <c:v>-2.5883600000000002</c:v>
                </c:pt>
                <c:pt idx="6282">
                  <c:v>-2.0357400000000001</c:v>
                </c:pt>
                <c:pt idx="6283">
                  <c:v>#N/A</c:v>
                </c:pt>
                <c:pt idx="6284">
                  <c:v>-1.6031500000000001</c:v>
                </c:pt>
                <c:pt idx="6285">
                  <c:v>-2.0398700000000001</c:v>
                </c:pt>
                <c:pt idx="6286">
                  <c:v>-2.4459499999999998</c:v>
                </c:pt>
                <c:pt idx="6287">
                  <c:v>#N/A</c:v>
                </c:pt>
                <c:pt idx="6288">
                  <c:v>-3.03104</c:v>
                </c:pt>
                <c:pt idx="6289">
                  <c:v>-2.2993299999999999</c:v>
                </c:pt>
                <c:pt idx="6290">
                  <c:v>-2.4955099999999999</c:v>
                </c:pt>
                <c:pt idx="6291">
                  <c:v>#N/A</c:v>
                </c:pt>
                <c:pt idx="6292">
                  <c:v>-1.55122</c:v>
                </c:pt>
                <c:pt idx="6293">
                  <c:v>-1.9826900000000001</c:v>
                </c:pt>
                <c:pt idx="6294">
                  <c:v>-2.49458</c:v>
                </c:pt>
                <c:pt idx="6295">
                  <c:v>#N/A</c:v>
                </c:pt>
                <c:pt idx="6296">
                  <c:v>-2.6741299999999999</c:v>
                </c:pt>
                <c:pt idx="6297">
                  <c:v>-2.9178600000000001</c:v>
                </c:pt>
                <c:pt idx="6298">
                  <c:v>-3.1045799999999999</c:v>
                </c:pt>
                <c:pt idx="6299">
                  <c:v>#N/A</c:v>
                </c:pt>
                <c:pt idx="6300">
                  <c:v>-2.6806999999999999</c:v>
                </c:pt>
                <c:pt idx="6301">
                  <c:v>-2.0602399999999998</c:v>
                </c:pt>
                <c:pt idx="6302">
                  <c:v>-1.82311</c:v>
                </c:pt>
                <c:pt idx="6303">
                  <c:v>#N/A</c:v>
                </c:pt>
                <c:pt idx="6304">
                  <c:v>-1.9817499999999999</c:v>
                </c:pt>
                <c:pt idx="6305">
                  <c:v>#N/A</c:v>
                </c:pt>
                <c:pt idx="6306">
                  <c:v>-2.5499100000000001</c:v>
                </c:pt>
                <c:pt idx="6307">
                  <c:v>#N/A</c:v>
                </c:pt>
                <c:pt idx="6308">
                  <c:v>-2.9375</c:v>
                </c:pt>
                <c:pt idx="6309">
                  <c:v>-2.9679600000000002</c:v>
                </c:pt>
                <c:pt idx="6310">
                  <c:v>#N/A</c:v>
                </c:pt>
                <c:pt idx="6311">
                  <c:v>-2.6334900000000001</c:v>
                </c:pt>
                <c:pt idx="6312">
                  <c:v>-2.3846099999999999</c:v>
                </c:pt>
                <c:pt idx="6313">
                  <c:v>-2.2736999999999998</c:v>
                </c:pt>
                <c:pt idx="6314">
                  <c:v>#N/A</c:v>
                </c:pt>
                <c:pt idx="6315">
                  <c:v>-1.9234500000000001</c:v>
                </c:pt>
                <c:pt idx="6316">
                  <c:v>-2.78383</c:v>
                </c:pt>
                <c:pt idx="6317">
                  <c:v>-3.06833</c:v>
                </c:pt>
                <c:pt idx="6318">
                  <c:v>#N/A</c:v>
                </c:pt>
                <c:pt idx="6319">
                  <c:v>-3.0377700000000001</c:v>
                </c:pt>
                <c:pt idx="6320">
                  <c:v>-3.4053399999999998</c:v>
                </c:pt>
                <c:pt idx="6321">
                  <c:v>-2.5153099999999999</c:v>
                </c:pt>
                <c:pt idx="6322">
                  <c:v>#N/A</c:v>
                </c:pt>
                <c:pt idx="6323">
                  <c:v>-2.5815899999999998</c:v>
                </c:pt>
                <c:pt idx="6324">
                  <c:v>-2.8065899999999999</c:v>
                </c:pt>
                <c:pt idx="6325">
                  <c:v>-2.4905599999999999</c:v>
                </c:pt>
                <c:pt idx="6326">
                  <c:v>#N/A</c:v>
                </c:pt>
                <c:pt idx="6327">
                  <c:v>-1.9796100000000001</c:v>
                </c:pt>
                <c:pt idx="6328">
                  <c:v>-2.5779200000000002</c:v>
                </c:pt>
                <c:pt idx="6329">
                  <c:v>-3.0444800000000001</c:v>
                </c:pt>
                <c:pt idx="6330">
                  <c:v>#N/A</c:v>
                </c:pt>
                <c:pt idx="6331">
                  <c:v>-2.98752</c:v>
                </c:pt>
                <c:pt idx="6332">
                  <c:v>-2.5981700000000001</c:v>
                </c:pt>
                <c:pt idx="6333">
                  <c:v>-2.37582</c:v>
                </c:pt>
                <c:pt idx="6334">
                  <c:v>#N/A</c:v>
                </c:pt>
                <c:pt idx="6335">
                  <c:v>-2.0241099999999999</c:v>
                </c:pt>
                <c:pt idx="6336">
                  <c:v>-2.0485600000000002</c:v>
                </c:pt>
                <c:pt idx="6337">
                  <c:v>#N/A</c:v>
                </c:pt>
                <c:pt idx="6338">
                  <c:v>-2.9558599999999999</c:v>
                </c:pt>
                <c:pt idx="6339">
                  <c:v>-2.8708800000000001</c:v>
                </c:pt>
                <c:pt idx="6340">
                  <c:v>-2.84544</c:v>
                </c:pt>
                <c:pt idx="6341">
                  <c:v>#N/A</c:v>
                </c:pt>
                <c:pt idx="6342">
                  <c:v>-3.5746799999999999</c:v>
                </c:pt>
                <c:pt idx="6343">
                  <c:v>-2.6392099999999998</c:v>
                </c:pt>
                <c:pt idx="6344">
                  <c:v>-1.70133</c:v>
                </c:pt>
                <c:pt idx="6345">
                  <c:v>#N/A</c:v>
                </c:pt>
                <c:pt idx="6346">
                  <c:v>-1.6534599999999999</c:v>
                </c:pt>
                <c:pt idx="6347">
                  <c:v>-1.5980300000000001</c:v>
                </c:pt>
                <c:pt idx="6348">
                  <c:v>-2.3044199999999999</c:v>
                </c:pt>
                <c:pt idx="6349">
                  <c:v>#N/A</c:v>
                </c:pt>
                <c:pt idx="6350">
                  <c:v>-2.72071</c:v>
                </c:pt>
                <c:pt idx="6351">
                  <c:v>-2.6666400000000001</c:v>
                </c:pt>
                <c:pt idx="6352">
                  <c:v>-2.3088099999999998</c:v>
                </c:pt>
                <c:pt idx="6353">
                  <c:v>#N/A</c:v>
                </c:pt>
                <c:pt idx="6354">
                  <c:v>-2.4052600000000002</c:v>
                </c:pt>
                <c:pt idx="6355">
                  <c:v>-1.76864</c:v>
                </c:pt>
                <c:pt idx="6356">
                  <c:v>#N/A</c:v>
                </c:pt>
                <c:pt idx="6357">
                  <c:v>-1.7342900000000001</c:v>
                </c:pt>
                <c:pt idx="6358">
                  <c:v>-1.5495099999999999</c:v>
                </c:pt>
                <c:pt idx="6359">
                  <c:v>-2.2568199999999998</c:v>
                </c:pt>
                <c:pt idx="6360">
                  <c:v>#N/A</c:v>
                </c:pt>
                <c:pt idx="6361">
                  <c:v>-2.7624499999999999</c:v>
                </c:pt>
                <c:pt idx="6362">
                  <c:v>-2.7337699999999998</c:v>
                </c:pt>
                <c:pt idx="6363">
                  <c:v>-2.1309</c:v>
                </c:pt>
                <c:pt idx="6364">
                  <c:v>#N/A</c:v>
                </c:pt>
                <c:pt idx="6365">
                  <c:v>-2.2214900000000002</c:v>
                </c:pt>
                <c:pt idx="6366">
                  <c:v>-2.0643199999999999</c:v>
                </c:pt>
                <c:pt idx="6367">
                  <c:v>-2.43066</c:v>
                </c:pt>
                <c:pt idx="6368">
                  <c:v>#N/A</c:v>
                </c:pt>
                <c:pt idx="6369">
                  <c:v>-2.0236100000000001</c:v>
                </c:pt>
                <c:pt idx="6370">
                  <c:v>-2.6625899999999998</c:v>
                </c:pt>
                <c:pt idx="6371">
                  <c:v>-2.6229800000000001</c:v>
                </c:pt>
                <c:pt idx="6372">
                  <c:v>#N/A</c:v>
                </c:pt>
                <c:pt idx="6373">
                  <c:v>-2.76892</c:v>
                </c:pt>
                <c:pt idx="6374">
                  <c:v>-2.2663600000000002</c:v>
                </c:pt>
                <c:pt idx="6375">
                  <c:v>#N/A</c:v>
                </c:pt>
                <c:pt idx="6376">
                  <c:v>-1.51593</c:v>
                </c:pt>
                <c:pt idx="6377">
                  <c:v>-1.8771500000000001</c:v>
                </c:pt>
                <c:pt idx="6378">
                  <c:v>-2.68892</c:v>
                </c:pt>
                <c:pt idx="6379">
                  <c:v>#N/A</c:v>
                </c:pt>
                <c:pt idx="6380">
                  <c:v>-2.4544000000000001</c:v>
                </c:pt>
                <c:pt idx="6381">
                  <c:v>-2.6974499999999999</c:v>
                </c:pt>
                <c:pt idx="6382">
                  <c:v>-3.10873</c:v>
                </c:pt>
                <c:pt idx="6383">
                  <c:v>#N/A</c:v>
                </c:pt>
                <c:pt idx="6384">
                  <c:v>-3.28064</c:v>
                </c:pt>
                <c:pt idx="6385">
                  <c:v>-2.8629899999999999</c:v>
                </c:pt>
                <c:pt idx="6386">
                  <c:v>-2.20147</c:v>
                </c:pt>
                <c:pt idx="6387">
                  <c:v>#N/A</c:v>
                </c:pt>
                <c:pt idx="6388">
                  <c:v>-1.98702</c:v>
                </c:pt>
                <c:pt idx="6389">
                  <c:v>-1.81752</c:v>
                </c:pt>
                <c:pt idx="6390">
                  <c:v>-2.6448100000000001</c:v>
                </c:pt>
                <c:pt idx="6391">
                  <c:v>#N/A</c:v>
                </c:pt>
                <c:pt idx="6392">
                  <c:v>-3.3113899999999998</c:v>
                </c:pt>
                <c:pt idx="6393">
                  <c:v>-2.52989</c:v>
                </c:pt>
                <c:pt idx="6394">
                  <c:v>-2.3598599999999998</c:v>
                </c:pt>
                <c:pt idx="6395">
                  <c:v>#N/A</c:v>
                </c:pt>
                <c:pt idx="6396">
                  <c:v>-1.77902</c:v>
                </c:pt>
                <c:pt idx="6397">
                  <c:v>-1.8400399999999999</c:v>
                </c:pt>
                <c:pt idx="6398">
                  <c:v>#N/A</c:v>
                </c:pt>
                <c:pt idx="6399">
                  <c:v>-1.9228400000000001</c:v>
                </c:pt>
                <c:pt idx="6400">
                  <c:v>-1.8612899999999999</c:v>
                </c:pt>
                <c:pt idx="6401">
                  <c:v>-2.4656600000000002</c:v>
                </c:pt>
                <c:pt idx="6402">
                  <c:v>#N/A</c:v>
                </c:pt>
                <c:pt idx="6403">
                  <c:v>-2.8535200000000001</c:v>
                </c:pt>
                <c:pt idx="6404">
                  <c:v>-2.8685299999999998</c:v>
                </c:pt>
                <c:pt idx="6405">
                  <c:v>-2.11903</c:v>
                </c:pt>
                <c:pt idx="6406">
                  <c:v>#N/A</c:v>
                </c:pt>
                <c:pt idx="6407">
                  <c:v>-1.7294400000000001</c:v>
                </c:pt>
                <c:pt idx="6408">
                  <c:v>-1.5570900000000001</c:v>
                </c:pt>
                <c:pt idx="6409">
                  <c:v>-1.3404499999999999</c:v>
                </c:pt>
                <c:pt idx="6410">
                  <c:v>#N/A</c:v>
                </c:pt>
                <c:pt idx="6411">
                  <c:v>-2.5333399999999999</c:v>
                </c:pt>
                <c:pt idx="6412">
                  <c:v>-2.9471500000000002</c:v>
                </c:pt>
                <c:pt idx="6413">
                  <c:v>-3.0939199999999998</c:v>
                </c:pt>
                <c:pt idx="6414">
                  <c:v>#N/A</c:v>
                </c:pt>
                <c:pt idx="6415">
                  <c:v>-2.9774699999999998</c:v>
                </c:pt>
                <c:pt idx="6416">
                  <c:v>-2.6330300000000002</c:v>
                </c:pt>
                <c:pt idx="6417">
                  <c:v>#N/A</c:v>
                </c:pt>
                <c:pt idx="6418">
                  <c:v>-1.9038299999999999</c:v>
                </c:pt>
                <c:pt idx="6419">
                  <c:v>-2.0178699999999998</c:v>
                </c:pt>
                <c:pt idx="6420">
                  <c:v>-2.4413900000000002</c:v>
                </c:pt>
                <c:pt idx="6421">
                  <c:v>#N/A</c:v>
                </c:pt>
                <c:pt idx="6422">
                  <c:v>-2.8769300000000002</c:v>
                </c:pt>
                <c:pt idx="6423">
                  <c:v>-2.88767</c:v>
                </c:pt>
                <c:pt idx="6424">
                  <c:v>-3.3748399999999998</c:v>
                </c:pt>
                <c:pt idx="6425">
                  <c:v>#N/A</c:v>
                </c:pt>
                <c:pt idx="6426">
                  <c:v>-3.43615</c:v>
                </c:pt>
                <c:pt idx="6427">
                  <c:v>-2.49356</c:v>
                </c:pt>
                <c:pt idx="6428">
                  <c:v>-2.26064</c:v>
                </c:pt>
                <c:pt idx="6429">
                  <c:v>#N/A</c:v>
                </c:pt>
                <c:pt idx="6430">
                  <c:v>-2.00529</c:v>
                </c:pt>
                <c:pt idx="6431">
                  <c:v>-2.7852199999999998</c:v>
                </c:pt>
                <c:pt idx="6432">
                  <c:v>-2.6960700000000002</c:v>
                </c:pt>
                <c:pt idx="6433">
                  <c:v>#N/A</c:v>
                </c:pt>
                <c:pt idx="6434">
                  <c:v>-3.1463000000000001</c:v>
                </c:pt>
                <c:pt idx="6435">
                  <c:v>-2.34335</c:v>
                </c:pt>
                <c:pt idx="6436">
                  <c:v>-2.5470899999999999</c:v>
                </c:pt>
                <c:pt idx="6437">
                  <c:v>#N/A</c:v>
                </c:pt>
                <c:pt idx="6438">
                  <c:v>-2.1883900000000001</c:v>
                </c:pt>
                <c:pt idx="6439">
                  <c:v>-1.8870899999999999</c:v>
                </c:pt>
                <c:pt idx="6440">
                  <c:v>-1.7725599999999999</c:v>
                </c:pt>
                <c:pt idx="6441">
                  <c:v>#N/A</c:v>
                </c:pt>
                <c:pt idx="6442">
                  <c:v>-1.7557100000000001</c:v>
                </c:pt>
                <c:pt idx="6443">
                  <c:v>-2.5606399999999998</c:v>
                </c:pt>
                <c:pt idx="6444">
                  <c:v>-2.5398999999999998</c:v>
                </c:pt>
                <c:pt idx="6445">
                  <c:v>#N/A</c:v>
                </c:pt>
                <c:pt idx="6446">
                  <c:v>-2.7109000000000001</c:v>
                </c:pt>
                <c:pt idx="6447">
                  <c:v>-1.9410099999999999</c:v>
                </c:pt>
                <c:pt idx="6448">
                  <c:v>-2.2540200000000001</c:v>
                </c:pt>
                <c:pt idx="6449">
                  <c:v>#N/A</c:v>
                </c:pt>
                <c:pt idx="6450">
                  <c:v>-1.7146999999999999</c:v>
                </c:pt>
                <c:pt idx="6451">
                  <c:v>-2.2485599999999999</c:v>
                </c:pt>
                <c:pt idx="6452">
                  <c:v>#N/A</c:v>
                </c:pt>
                <c:pt idx="6453">
                  <c:v>-2.4088099999999999</c:v>
                </c:pt>
                <c:pt idx="6454">
                  <c:v>-2.83636</c:v>
                </c:pt>
                <c:pt idx="6455">
                  <c:v>-3.1252599999999999</c:v>
                </c:pt>
                <c:pt idx="6456">
                  <c:v>#N/A</c:v>
                </c:pt>
                <c:pt idx="6457">
                  <c:v>-3.31209</c:v>
                </c:pt>
                <c:pt idx="6458">
                  <c:v>-1.9523200000000001</c:v>
                </c:pt>
                <c:pt idx="6459">
                  <c:v>-1.68425</c:v>
                </c:pt>
                <c:pt idx="6460">
                  <c:v>#N/A</c:v>
                </c:pt>
                <c:pt idx="6461">
                  <c:v>-2.2198000000000002</c:v>
                </c:pt>
                <c:pt idx="6462">
                  <c:v>-2.2875000000000001</c:v>
                </c:pt>
                <c:pt idx="6463">
                  <c:v>-2.8738999999999999</c:v>
                </c:pt>
                <c:pt idx="6464">
                  <c:v>#N/A</c:v>
                </c:pt>
                <c:pt idx="6465">
                  <c:v>-2.7693300000000001</c:v>
                </c:pt>
                <c:pt idx="6466">
                  <c:v>-3.2536700000000001</c:v>
                </c:pt>
                <c:pt idx="6467">
                  <c:v>-2.4828399999999999</c:v>
                </c:pt>
                <c:pt idx="6468">
                  <c:v>#N/A</c:v>
                </c:pt>
                <c:pt idx="6469">
                  <c:v>-2.02176</c:v>
                </c:pt>
                <c:pt idx="6470">
                  <c:v>-1.3554600000000001</c:v>
                </c:pt>
                <c:pt idx="6471">
                  <c:v>#N/A</c:v>
                </c:pt>
                <c:pt idx="6472">
                  <c:v>-1.0346500000000001</c:v>
                </c:pt>
                <c:pt idx="6473">
                  <c:v>-1.2847200000000001</c:v>
                </c:pt>
                <c:pt idx="6474">
                  <c:v>-1.91967</c:v>
                </c:pt>
                <c:pt idx="6475">
                  <c:v>#N/A</c:v>
                </c:pt>
                <c:pt idx="6476">
                  <c:v>-2.8048299999999999</c:v>
                </c:pt>
                <c:pt idx="6477">
                  <c:v>-3.2341600000000001</c:v>
                </c:pt>
                <c:pt idx="6478">
                  <c:v>-2.5640700000000001</c:v>
                </c:pt>
                <c:pt idx="6479">
                  <c:v>#N/A</c:v>
                </c:pt>
                <c:pt idx="6480">
                  <c:v>-2.25318</c:v>
                </c:pt>
                <c:pt idx="6481">
                  <c:v>-1.61911</c:v>
                </c:pt>
                <c:pt idx="6482">
                  <c:v>-1.81718</c:v>
                </c:pt>
                <c:pt idx="6483">
                  <c:v>#N/A</c:v>
                </c:pt>
                <c:pt idx="6484">
                  <c:v>-1.2749200000000001</c:v>
                </c:pt>
                <c:pt idx="6485">
                  <c:v>-2.1839400000000002</c:v>
                </c:pt>
                <c:pt idx="6486">
                  <c:v>-2.69407</c:v>
                </c:pt>
                <c:pt idx="6487">
                  <c:v>#N/A</c:v>
                </c:pt>
                <c:pt idx="6488">
                  <c:v>-3.4464800000000002</c:v>
                </c:pt>
                <c:pt idx="6489">
                  <c:v>-2.8115299999999999</c:v>
                </c:pt>
                <c:pt idx="6490">
                  <c:v>-2.4738099999999998</c:v>
                </c:pt>
                <c:pt idx="6491">
                  <c:v>#N/A</c:v>
                </c:pt>
                <c:pt idx="6492">
                  <c:v>-2.3336000000000001</c:v>
                </c:pt>
                <c:pt idx="6493">
                  <c:v>-1.70851</c:v>
                </c:pt>
                <c:pt idx="6494">
                  <c:v>#N/A</c:v>
                </c:pt>
                <c:pt idx="6495">
                  <c:v>-2.41486</c:v>
                </c:pt>
                <c:pt idx="6496">
                  <c:v>-2.1272899999999999</c:v>
                </c:pt>
                <c:pt idx="6497">
                  <c:v>-2.3702999999999999</c:v>
                </c:pt>
                <c:pt idx="6498">
                  <c:v>#N/A</c:v>
                </c:pt>
                <c:pt idx="6499">
                  <c:v>-2.4616400000000001</c:v>
                </c:pt>
                <c:pt idx="6500">
                  <c:v>-2.6304599999999998</c:v>
                </c:pt>
                <c:pt idx="6501">
                  <c:v>#N/A</c:v>
                </c:pt>
                <c:pt idx="6502">
                  <c:v>-2.3164199999999999</c:v>
                </c:pt>
                <c:pt idx="6503">
                  <c:v>-2.4475799999999999</c:v>
                </c:pt>
                <c:pt idx="6504">
                  <c:v>-2.3015099999999999</c:v>
                </c:pt>
                <c:pt idx="6505">
                  <c:v>#N/A</c:v>
                </c:pt>
                <c:pt idx="6506">
                  <c:v>-2.6734900000000001</c:v>
                </c:pt>
                <c:pt idx="6507">
                  <c:v>-2.8883399999999999</c:v>
                </c:pt>
                <c:pt idx="6508">
                  <c:v>-2.6488999999999998</c:v>
                </c:pt>
                <c:pt idx="6509">
                  <c:v>#N/A</c:v>
                </c:pt>
                <c:pt idx="6510">
                  <c:v>-2.6660599999999999</c:v>
                </c:pt>
                <c:pt idx="6511">
                  <c:v>-1.91642</c:v>
                </c:pt>
                <c:pt idx="6512">
                  <c:v>-1.73824</c:v>
                </c:pt>
                <c:pt idx="6513">
                  <c:v>#N/A</c:v>
                </c:pt>
                <c:pt idx="6514">
                  <c:v>-1.8330500000000001</c:v>
                </c:pt>
                <c:pt idx="6515">
                  <c:v>-1.6622600000000001</c:v>
                </c:pt>
                <c:pt idx="6516">
                  <c:v>-2.4318599999999999</c:v>
                </c:pt>
                <c:pt idx="6517">
                  <c:v>#N/A</c:v>
                </c:pt>
                <c:pt idx="6518">
                  <c:v>-1.97881</c:v>
                </c:pt>
                <c:pt idx="6519">
                  <c:v>-2.3730000000000002</c:v>
                </c:pt>
                <c:pt idx="6520">
                  <c:v>-1.8927</c:v>
                </c:pt>
                <c:pt idx="6521">
                  <c:v>#N/A</c:v>
                </c:pt>
                <c:pt idx="6522">
                  <c:v>-2.05782</c:v>
                </c:pt>
                <c:pt idx="6523">
                  <c:v>-1.7055100000000001</c:v>
                </c:pt>
                <c:pt idx="6524">
                  <c:v>-2.355</c:v>
                </c:pt>
                <c:pt idx="6525">
                  <c:v>#N/A</c:v>
                </c:pt>
                <c:pt idx="6526">
                  <c:v>-2.35372</c:v>
                </c:pt>
                <c:pt idx="6527">
                  <c:v>-2.18038</c:v>
                </c:pt>
                <c:pt idx="6528">
                  <c:v>#N/A</c:v>
                </c:pt>
                <c:pt idx="6529">
                  <c:v>-2.6911</c:v>
                </c:pt>
                <c:pt idx="6530">
                  <c:v>-2.56915</c:v>
                </c:pt>
                <c:pt idx="6531">
                  <c:v>#N/A</c:v>
                </c:pt>
                <c:pt idx="6532">
                  <c:v>-1.7602100000000001</c:v>
                </c:pt>
                <c:pt idx="6533">
                  <c:v>-2.1485699999999999</c:v>
                </c:pt>
                <c:pt idx="6534">
                  <c:v>#N/A</c:v>
                </c:pt>
                <c:pt idx="6535">
                  <c:v>-2.0149400000000002</c:v>
                </c:pt>
                <c:pt idx="6536">
                  <c:v>-1.6437200000000001</c:v>
                </c:pt>
                <c:pt idx="6537">
                  <c:v>-2.6897500000000001</c:v>
                </c:pt>
                <c:pt idx="6538">
                  <c:v>#N/A</c:v>
                </c:pt>
                <c:pt idx="6539">
                  <c:v>-2.9752900000000002</c:v>
                </c:pt>
                <c:pt idx="6540">
                  <c:v>-3.2469199999999998</c:v>
                </c:pt>
                <c:pt idx="6541">
                  <c:v>-2.3251900000000001</c:v>
                </c:pt>
                <c:pt idx="6542">
                  <c:v>#N/A</c:v>
                </c:pt>
                <c:pt idx="6543">
                  <c:v>-1.9760899999999999</c:v>
                </c:pt>
                <c:pt idx="6544">
                  <c:v>-1.8150900000000001</c:v>
                </c:pt>
                <c:pt idx="6545">
                  <c:v>#N/A</c:v>
                </c:pt>
                <c:pt idx="6546">
                  <c:v>-2.45295</c:v>
                </c:pt>
                <c:pt idx="6547">
                  <c:v>-2.1375600000000001</c:v>
                </c:pt>
                <c:pt idx="6548">
                  <c:v>-3.2395399999999999</c:v>
                </c:pt>
                <c:pt idx="6549">
                  <c:v>#N/A</c:v>
                </c:pt>
                <c:pt idx="6550">
                  <c:v>-2.7757800000000001</c:v>
                </c:pt>
                <c:pt idx="6551">
                  <c:v>-2.6642000000000001</c:v>
                </c:pt>
                <c:pt idx="6552">
                  <c:v>-2.2682199999999999</c:v>
                </c:pt>
                <c:pt idx="6553">
                  <c:v>#N/A</c:v>
                </c:pt>
                <c:pt idx="6554">
                  <c:v>-1.11849</c:v>
                </c:pt>
                <c:pt idx="6555">
                  <c:v>-1.1114200000000001</c:v>
                </c:pt>
                <c:pt idx="6556">
                  <c:v>-1.30741</c:v>
                </c:pt>
                <c:pt idx="6557">
                  <c:v>#N/A</c:v>
                </c:pt>
                <c:pt idx="6558">
                  <c:v>-1.94737</c:v>
                </c:pt>
                <c:pt idx="6559">
                  <c:v>-2.2725200000000001</c:v>
                </c:pt>
                <c:pt idx="6560">
                  <c:v>-2.9288400000000001</c:v>
                </c:pt>
                <c:pt idx="6561">
                  <c:v>#N/A</c:v>
                </c:pt>
                <c:pt idx="6562">
                  <c:v>-2.9249200000000002</c:v>
                </c:pt>
                <c:pt idx="6563">
                  <c:v>-2.4977</c:v>
                </c:pt>
                <c:pt idx="6564">
                  <c:v>#N/A</c:v>
                </c:pt>
                <c:pt idx="6565">
                  <c:v>-2.2285300000000001</c:v>
                </c:pt>
                <c:pt idx="6566">
                  <c:v>-1.33324</c:v>
                </c:pt>
                <c:pt idx="6567">
                  <c:v>-2.0893099999999998</c:v>
                </c:pt>
                <c:pt idx="6568">
                  <c:v>#N/A</c:v>
                </c:pt>
                <c:pt idx="6569">
                  <c:v>-2.9462899999999999</c:v>
                </c:pt>
                <c:pt idx="6570">
                  <c:v>-3.24715</c:v>
                </c:pt>
                <c:pt idx="6571">
                  <c:v>#N/A</c:v>
                </c:pt>
                <c:pt idx="6572">
                  <c:v>-2.629</c:v>
                </c:pt>
                <c:pt idx="6573">
                  <c:v>#N/A</c:v>
                </c:pt>
                <c:pt idx="6574">
                  <c:v>-1.9714799999999999</c:v>
                </c:pt>
                <c:pt idx="6575">
                  <c:v>-1.5871900000000001</c:v>
                </c:pt>
                <c:pt idx="6576">
                  <c:v>#N/A</c:v>
                </c:pt>
                <c:pt idx="6577">
                  <c:v>-2.32308</c:v>
                </c:pt>
                <c:pt idx="6578">
                  <c:v>-1.47925</c:v>
                </c:pt>
                <c:pt idx="6579">
                  <c:v>-1.76014</c:v>
                </c:pt>
                <c:pt idx="6580">
                  <c:v>#N/A</c:v>
                </c:pt>
                <c:pt idx="6581">
                  <c:v>-2.59606</c:v>
                </c:pt>
                <c:pt idx="6582">
                  <c:v>-2.8129200000000001</c:v>
                </c:pt>
                <c:pt idx="6583">
                  <c:v>#N/A</c:v>
                </c:pt>
                <c:pt idx="6584">
                  <c:v>-2.5968399999999998</c:v>
                </c:pt>
                <c:pt idx="6585">
                  <c:v>-1.89835</c:v>
                </c:pt>
                <c:pt idx="6586">
                  <c:v>-2.0868600000000002</c:v>
                </c:pt>
                <c:pt idx="6587">
                  <c:v>#N/A</c:v>
                </c:pt>
                <c:pt idx="6588">
                  <c:v>-2.2006700000000001</c:v>
                </c:pt>
                <c:pt idx="6589">
                  <c:v>-2.4187799999999999</c:v>
                </c:pt>
                <c:pt idx="6590">
                  <c:v>-2.3375499999999998</c:v>
                </c:pt>
                <c:pt idx="6591">
                  <c:v>#N/A</c:v>
                </c:pt>
                <c:pt idx="6592">
                  <c:v>-2.4900899999999999</c:v>
                </c:pt>
                <c:pt idx="6593">
                  <c:v>-2.0705300000000002</c:v>
                </c:pt>
                <c:pt idx="6594">
                  <c:v>-2.0072199999999998</c:v>
                </c:pt>
                <c:pt idx="6595">
                  <c:v>#N/A</c:v>
                </c:pt>
                <c:pt idx="6596">
                  <c:v>-1.5140800000000001</c:v>
                </c:pt>
                <c:pt idx="6597">
                  <c:v>-1.5202599999999999</c:v>
                </c:pt>
                <c:pt idx="6598">
                  <c:v>-1.7126999999999999</c:v>
                </c:pt>
                <c:pt idx="6599">
                  <c:v>#N/A</c:v>
                </c:pt>
                <c:pt idx="6600">
                  <c:v>-2.4055200000000001</c:v>
                </c:pt>
                <c:pt idx="6601">
                  <c:v>-2.83169</c:v>
                </c:pt>
                <c:pt idx="6602">
                  <c:v>-2.22722</c:v>
                </c:pt>
                <c:pt idx="6603">
                  <c:v>#N/A</c:v>
                </c:pt>
                <c:pt idx="6604">
                  <c:v>-1.93279</c:v>
                </c:pt>
                <c:pt idx="6605">
                  <c:v>-1.6813499999999999</c:v>
                </c:pt>
                <c:pt idx="6606">
                  <c:v>#N/A</c:v>
                </c:pt>
                <c:pt idx="6607">
                  <c:v>-2.0518200000000002</c:v>
                </c:pt>
                <c:pt idx="6608">
                  <c:v>-2.1269300000000002</c:v>
                </c:pt>
                <c:pt idx="6609">
                  <c:v>#N/A</c:v>
                </c:pt>
                <c:pt idx="6610">
                  <c:v>-2.4275000000000002</c:v>
                </c:pt>
                <c:pt idx="6611">
                  <c:v>-2.8536600000000001</c:v>
                </c:pt>
                <c:pt idx="6612">
                  <c:v>-3.3323100000000001</c:v>
                </c:pt>
                <c:pt idx="6613">
                  <c:v>#N/A</c:v>
                </c:pt>
                <c:pt idx="6614">
                  <c:v>-3.4570099999999999</c:v>
                </c:pt>
                <c:pt idx="6615">
                  <c:v>-1.98664</c:v>
                </c:pt>
                <c:pt idx="6616">
                  <c:v>-1.4732000000000001</c:v>
                </c:pt>
                <c:pt idx="6617">
                  <c:v>#N/A</c:v>
                </c:pt>
                <c:pt idx="6618">
                  <c:v>-1.3020799999999999</c:v>
                </c:pt>
                <c:pt idx="6619">
                  <c:v>-1.8768899999999999</c:v>
                </c:pt>
                <c:pt idx="6620">
                  <c:v>-2.2112400000000001</c:v>
                </c:pt>
                <c:pt idx="6621">
                  <c:v>#N/A</c:v>
                </c:pt>
                <c:pt idx="6622">
                  <c:v>-3.0003899999999999</c:v>
                </c:pt>
                <c:pt idx="6623">
                  <c:v>-3.2173699999999998</c:v>
                </c:pt>
                <c:pt idx="6624">
                  <c:v>-2.8089</c:v>
                </c:pt>
                <c:pt idx="6625">
                  <c:v>#N/A</c:v>
                </c:pt>
                <c:pt idx="6626">
                  <c:v>-2.2398600000000002</c:v>
                </c:pt>
                <c:pt idx="6627">
                  <c:v>-1.56002</c:v>
                </c:pt>
                <c:pt idx="6628">
                  <c:v>-1.6862900000000001</c:v>
                </c:pt>
                <c:pt idx="6629">
                  <c:v>#N/A</c:v>
                </c:pt>
                <c:pt idx="6630">
                  <c:v>-1.68781</c:v>
                </c:pt>
                <c:pt idx="6631">
                  <c:v>-1.9374</c:v>
                </c:pt>
                <c:pt idx="6632">
                  <c:v>-2.7801900000000002</c:v>
                </c:pt>
                <c:pt idx="6633">
                  <c:v>#N/A</c:v>
                </c:pt>
                <c:pt idx="6634">
                  <c:v>-2.9442699999999999</c:v>
                </c:pt>
                <c:pt idx="6635">
                  <c:v>-2.6202999999999999</c:v>
                </c:pt>
                <c:pt idx="6636">
                  <c:v>#N/A</c:v>
                </c:pt>
                <c:pt idx="6637">
                  <c:v>-2.0251100000000002</c:v>
                </c:pt>
                <c:pt idx="6638">
                  <c:v>-1.7529999999999999</c:v>
                </c:pt>
                <c:pt idx="6639">
                  <c:v>-1.29148</c:v>
                </c:pt>
                <c:pt idx="6640">
                  <c:v>#N/A</c:v>
                </c:pt>
                <c:pt idx="6641">
                  <c:v>-1.5335799999999999</c:v>
                </c:pt>
                <c:pt idx="6642">
                  <c:v>-2.5940400000000001</c:v>
                </c:pt>
                <c:pt idx="6643">
                  <c:v>-3.4472900000000002</c:v>
                </c:pt>
                <c:pt idx="6644">
                  <c:v>#N/A</c:v>
                </c:pt>
                <c:pt idx="6645">
                  <c:v>-3.3207</c:v>
                </c:pt>
                <c:pt idx="6646">
                  <c:v>-2.9729100000000002</c:v>
                </c:pt>
                <c:pt idx="6647">
                  <c:v>-2.2995399999999999</c:v>
                </c:pt>
                <c:pt idx="6648">
                  <c:v>#N/A</c:v>
                </c:pt>
                <c:pt idx="6649">
                  <c:v>-2.1354600000000001</c:v>
                </c:pt>
                <c:pt idx="6650">
                  <c:v>-2.00902</c:v>
                </c:pt>
                <c:pt idx="6651">
                  <c:v>-1.89453</c:v>
                </c:pt>
                <c:pt idx="6652">
                  <c:v>#N/A</c:v>
                </c:pt>
                <c:pt idx="6653">
                  <c:v>-2.5044400000000002</c:v>
                </c:pt>
                <c:pt idx="6654">
                  <c:v>-2.78952</c:v>
                </c:pt>
                <c:pt idx="6655">
                  <c:v>#N/A</c:v>
                </c:pt>
                <c:pt idx="6656">
                  <c:v>-2.83142</c:v>
                </c:pt>
                <c:pt idx="6657">
                  <c:v>-1.96858</c:v>
                </c:pt>
                <c:pt idx="6658">
                  <c:v>-1.6802600000000001</c:v>
                </c:pt>
                <c:pt idx="6659">
                  <c:v>#N/A</c:v>
                </c:pt>
                <c:pt idx="6660">
                  <c:v>-1.75014</c:v>
                </c:pt>
                <c:pt idx="6661">
                  <c:v>-1.59144</c:v>
                </c:pt>
                <c:pt idx="6662">
                  <c:v>-2.3078400000000001</c:v>
                </c:pt>
                <c:pt idx="6663">
                  <c:v>#N/A</c:v>
                </c:pt>
                <c:pt idx="6664">
                  <c:v>-2.0696599999999998</c:v>
                </c:pt>
                <c:pt idx="6665">
                  <c:v>-2.0531600000000001</c:v>
                </c:pt>
                <c:pt idx="6666">
                  <c:v>-2.0256599999999998</c:v>
                </c:pt>
                <c:pt idx="6667">
                  <c:v>#N/A</c:v>
                </c:pt>
                <c:pt idx="6668">
                  <c:v>-1.9570700000000001</c:v>
                </c:pt>
                <c:pt idx="6669">
                  <c:v>-1.82152</c:v>
                </c:pt>
                <c:pt idx="6670">
                  <c:v>-2.55809</c:v>
                </c:pt>
                <c:pt idx="6671">
                  <c:v>#N/A</c:v>
                </c:pt>
                <c:pt idx="6672">
                  <c:v>-2.42441</c:v>
                </c:pt>
                <c:pt idx="6673">
                  <c:v>-2.79162</c:v>
                </c:pt>
                <c:pt idx="6674">
                  <c:v>-3.1486399999999999</c:v>
                </c:pt>
                <c:pt idx="6675">
                  <c:v>#N/A</c:v>
                </c:pt>
                <c:pt idx="6676">
                  <c:v>-1.9708000000000001</c:v>
                </c:pt>
                <c:pt idx="6677">
                  <c:v>-2.0224099999999998</c:v>
                </c:pt>
                <c:pt idx="6678">
                  <c:v>-1.9934799999999999</c:v>
                </c:pt>
                <c:pt idx="6679">
                  <c:v>#N/A</c:v>
                </c:pt>
                <c:pt idx="6680">
                  <c:v>-1.5855300000000001</c:v>
                </c:pt>
                <c:pt idx="6681">
                  <c:v>-2.11409</c:v>
                </c:pt>
                <c:pt idx="6682">
                  <c:v>-2.3604500000000002</c:v>
                </c:pt>
                <c:pt idx="6683">
                  <c:v>#N/A</c:v>
                </c:pt>
                <c:pt idx="6684">
                  <c:v>-2.8987400000000001</c:v>
                </c:pt>
                <c:pt idx="6685">
                  <c:v>-3.0638100000000001</c:v>
                </c:pt>
                <c:pt idx="6686">
                  <c:v>-2.4950199999999998</c:v>
                </c:pt>
                <c:pt idx="6687">
                  <c:v>#N/A</c:v>
                </c:pt>
                <c:pt idx="6688">
                  <c:v>-1.8266800000000001</c:v>
                </c:pt>
                <c:pt idx="6689">
                  <c:v>-1.7246699999999999</c:v>
                </c:pt>
                <c:pt idx="6690">
                  <c:v>#N/A</c:v>
                </c:pt>
                <c:pt idx="6691">
                  <c:v>-1.8312200000000001</c:v>
                </c:pt>
                <c:pt idx="6692">
                  <c:v>-1.9153500000000001</c:v>
                </c:pt>
                <c:pt idx="6693">
                  <c:v>-1.9238900000000001</c:v>
                </c:pt>
                <c:pt idx="6694">
                  <c:v>#N/A</c:v>
                </c:pt>
                <c:pt idx="6695">
                  <c:v>-2.5217700000000001</c:v>
                </c:pt>
                <c:pt idx="6696">
                  <c:v>-2.7175600000000002</c:v>
                </c:pt>
                <c:pt idx="6697">
                  <c:v>-2.4695</c:v>
                </c:pt>
                <c:pt idx="6698">
                  <c:v>#N/A</c:v>
                </c:pt>
                <c:pt idx="6699">
                  <c:v>-2.3978899999999999</c:v>
                </c:pt>
                <c:pt idx="6700">
                  <c:v>-1.2262299999999999</c:v>
                </c:pt>
                <c:pt idx="6701">
                  <c:v>#N/A</c:v>
                </c:pt>
                <c:pt idx="6702">
                  <c:v>-1.3752500000000001</c:v>
                </c:pt>
                <c:pt idx="6703">
                  <c:v>-1.3886400000000001</c:v>
                </c:pt>
                <c:pt idx="6704">
                  <c:v>-2.5923500000000002</c:v>
                </c:pt>
                <c:pt idx="6705">
                  <c:v>#N/A</c:v>
                </c:pt>
                <c:pt idx="6706">
                  <c:v>-2.5432199999999998</c:v>
                </c:pt>
                <c:pt idx="6707">
                  <c:v>-2.75936</c:v>
                </c:pt>
                <c:pt idx="6708">
                  <c:v>-2.5251000000000001</c:v>
                </c:pt>
                <c:pt idx="6709">
                  <c:v>#N/A</c:v>
                </c:pt>
                <c:pt idx="6710">
                  <c:v>-2.4870000000000001</c:v>
                </c:pt>
                <c:pt idx="6711">
                  <c:v>-1.67445</c:v>
                </c:pt>
                <c:pt idx="6712">
                  <c:v>-1.25501</c:v>
                </c:pt>
                <c:pt idx="6713">
                  <c:v>#N/A</c:v>
                </c:pt>
                <c:pt idx="6714">
                  <c:v>-1.27244</c:v>
                </c:pt>
                <c:pt idx="6715">
                  <c:v>-1.93452</c:v>
                </c:pt>
                <c:pt idx="6716">
                  <c:v>-2.5082200000000001</c:v>
                </c:pt>
                <c:pt idx="6717">
                  <c:v>#N/A</c:v>
                </c:pt>
                <c:pt idx="6718">
                  <c:v>-2.9796399999999998</c:v>
                </c:pt>
                <c:pt idx="6719">
                  <c:v>-2.5604300000000002</c:v>
                </c:pt>
                <c:pt idx="6720">
                  <c:v>-2.10589</c:v>
                </c:pt>
                <c:pt idx="6721">
                  <c:v>#N/A</c:v>
                </c:pt>
                <c:pt idx="6722">
                  <c:v>-2.0149499999999998</c:v>
                </c:pt>
                <c:pt idx="6723">
                  <c:v>-1.19794</c:v>
                </c:pt>
                <c:pt idx="6724">
                  <c:v>-1.86005</c:v>
                </c:pt>
                <c:pt idx="6725">
                  <c:v>#N/A</c:v>
                </c:pt>
                <c:pt idx="6726">
                  <c:v>-2.1821100000000002</c:v>
                </c:pt>
                <c:pt idx="6727">
                  <c:v>-2.7719499999999999</c:v>
                </c:pt>
                <c:pt idx="6728">
                  <c:v>#N/A</c:v>
                </c:pt>
                <c:pt idx="6729">
                  <c:v>-2.7118000000000002</c:v>
                </c:pt>
                <c:pt idx="6730">
                  <c:v>-2.66086</c:v>
                </c:pt>
                <c:pt idx="6731">
                  <c:v>-2.2930199999999998</c:v>
                </c:pt>
                <c:pt idx="6732">
                  <c:v>#N/A</c:v>
                </c:pt>
                <c:pt idx="6733">
                  <c:v>-1.81054</c:v>
                </c:pt>
                <c:pt idx="6734">
                  <c:v>-1.78342</c:v>
                </c:pt>
                <c:pt idx="6735">
                  <c:v>-2.2016300000000002</c:v>
                </c:pt>
                <c:pt idx="6736">
                  <c:v>#N/A</c:v>
                </c:pt>
                <c:pt idx="6737">
                  <c:v>-2.3294199999999998</c:v>
                </c:pt>
                <c:pt idx="6738">
                  <c:v>-2.6181199999999998</c:v>
                </c:pt>
                <c:pt idx="6739">
                  <c:v>-2.4597000000000002</c:v>
                </c:pt>
                <c:pt idx="6740">
                  <c:v>#N/A</c:v>
                </c:pt>
                <c:pt idx="6741">
                  <c:v>-1.9300200000000001</c:v>
                </c:pt>
                <c:pt idx="6742">
                  <c:v>-1.45228</c:v>
                </c:pt>
                <c:pt idx="6743">
                  <c:v>-1.3270500000000001</c:v>
                </c:pt>
                <c:pt idx="6744">
                  <c:v>#N/A</c:v>
                </c:pt>
                <c:pt idx="6745">
                  <c:v>-1.7408399999999999</c:v>
                </c:pt>
                <c:pt idx="6746">
                  <c:v>-2.3044799999999999</c:v>
                </c:pt>
                <c:pt idx="6747">
                  <c:v>-2.3200599999999998</c:v>
                </c:pt>
                <c:pt idx="6748">
                  <c:v>#N/A</c:v>
                </c:pt>
                <c:pt idx="6749">
                  <c:v>-2.0889799999999998</c:v>
                </c:pt>
                <c:pt idx="6750">
                  <c:v>-2.30471</c:v>
                </c:pt>
                <c:pt idx="6751">
                  <c:v>-1.9915099999999999</c:v>
                </c:pt>
                <c:pt idx="6752">
                  <c:v>#N/A</c:v>
                </c:pt>
                <c:pt idx="6753">
                  <c:v>-1.7000299999999999</c:v>
                </c:pt>
                <c:pt idx="6754">
                  <c:v>#N/A</c:v>
                </c:pt>
                <c:pt idx="6755">
                  <c:v>-2.1863100000000002</c:v>
                </c:pt>
                <c:pt idx="6756">
                  <c:v>#N/A</c:v>
                </c:pt>
                <c:pt idx="6757">
                  <c:v>-2.9308800000000002</c:v>
                </c:pt>
                <c:pt idx="6758">
                  <c:v>-2.9799899999999999</c:v>
                </c:pt>
                <c:pt idx="6759">
                  <c:v>#N/A</c:v>
                </c:pt>
                <c:pt idx="6760">
                  <c:v>-2.6031900000000001</c:v>
                </c:pt>
                <c:pt idx="6761">
                  <c:v>-1.8980699999999999</c:v>
                </c:pt>
                <c:pt idx="6762">
                  <c:v>-1.67774</c:v>
                </c:pt>
                <c:pt idx="6763">
                  <c:v>#N/A</c:v>
                </c:pt>
                <c:pt idx="6764">
                  <c:v>-1.7677700000000001</c:v>
                </c:pt>
                <c:pt idx="6765">
                  <c:v>-2.13009</c:v>
                </c:pt>
                <c:pt idx="6766">
                  <c:v>-2.38713</c:v>
                </c:pt>
                <c:pt idx="6767">
                  <c:v>#N/A</c:v>
                </c:pt>
                <c:pt idx="6768">
                  <c:v>-3.0682100000000001</c:v>
                </c:pt>
                <c:pt idx="6769">
                  <c:v>-2.3753899999999999</c:v>
                </c:pt>
                <c:pt idx="6770">
                  <c:v>-2.93479</c:v>
                </c:pt>
                <c:pt idx="6771">
                  <c:v>#N/A</c:v>
                </c:pt>
                <c:pt idx="6772">
                  <c:v>-1.4933000000000001</c:v>
                </c:pt>
                <c:pt idx="6773">
                  <c:v>-1.0457399999999999</c:v>
                </c:pt>
                <c:pt idx="6774">
                  <c:v>#N/A</c:v>
                </c:pt>
                <c:pt idx="6775">
                  <c:v>-1.1746000000000001</c:v>
                </c:pt>
                <c:pt idx="6776">
                  <c:v>-1.04715</c:v>
                </c:pt>
                <c:pt idx="6777">
                  <c:v>-1.91317</c:v>
                </c:pt>
                <c:pt idx="6778">
                  <c:v>#N/A</c:v>
                </c:pt>
                <c:pt idx="6779">
                  <c:v>-2.2080299999999999</c:v>
                </c:pt>
                <c:pt idx="6780">
                  <c:v>-2.9074</c:v>
                </c:pt>
                <c:pt idx="6781">
                  <c:v>-2.22601</c:v>
                </c:pt>
                <c:pt idx="6782">
                  <c:v>#N/A</c:v>
                </c:pt>
                <c:pt idx="6783">
                  <c:v>-2.0966499999999999</c:v>
                </c:pt>
                <c:pt idx="6784">
                  <c:v>-1.9159900000000001</c:v>
                </c:pt>
                <c:pt idx="6785">
                  <c:v>-1.08141</c:v>
                </c:pt>
                <c:pt idx="6786">
                  <c:v>#N/A</c:v>
                </c:pt>
                <c:pt idx="6787">
                  <c:v>-1.24688</c:v>
                </c:pt>
                <c:pt idx="6788">
                  <c:v>-1.9547099999999999</c:v>
                </c:pt>
                <c:pt idx="6789">
                  <c:v>-2.8530799999999998</c:v>
                </c:pt>
                <c:pt idx="6790">
                  <c:v>#N/A</c:v>
                </c:pt>
                <c:pt idx="6791">
                  <c:v>-2.4978199999999999</c:v>
                </c:pt>
                <c:pt idx="6792">
                  <c:v>-3.0561699999999998</c:v>
                </c:pt>
                <c:pt idx="6793">
                  <c:v>-2.44293</c:v>
                </c:pt>
                <c:pt idx="6794">
                  <c:v>#N/A</c:v>
                </c:pt>
                <c:pt idx="6795">
                  <c:v>-1.9418200000000001</c:v>
                </c:pt>
                <c:pt idx="6796">
                  <c:v>-0.96442600000000001</c:v>
                </c:pt>
                <c:pt idx="6797">
                  <c:v>-1.10893</c:v>
                </c:pt>
                <c:pt idx="6798">
                  <c:v>#N/A</c:v>
                </c:pt>
                <c:pt idx="6799">
                  <c:v>-1.1831400000000001</c:v>
                </c:pt>
                <c:pt idx="6800">
                  <c:v>-2.32416</c:v>
                </c:pt>
                <c:pt idx="6801">
                  <c:v>-2.2435900000000002</c:v>
                </c:pt>
                <c:pt idx="6802">
                  <c:v>#N/A</c:v>
                </c:pt>
                <c:pt idx="6803">
                  <c:v>-2.0200900000000002</c:v>
                </c:pt>
                <c:pt idx="6804">
                  <c:v>-2.11835</c:v>
                </c:pt>
                <c:pt idx="6805">
                  <c:v>-1.8019400000000001</c:v>
                </c:pt>
                <c:pt idx="6806">
                  <c:v>#N/A</c:v>
                </c:pt>
                <c:pt idx="6807">
                  <c:v>-2.00339</c:v>
                </c:pt>
                <c:pt idx="6808">
                  <c:v>-2.0492900000000001</c:v>
                </c:pt>
                <c:pt idx="6809">
                  <c:v>#N/A</c:v>
                </c:pt>
                <c:pt idx="6810">
                  <c:v>-2.1723699999999999</c:v>
                </c:pt>
                <c:pt idx="6811">
                  <c:v>-2.5009100000000002</c:v>
                </c:pt>
                <c:pt idx="6812">
                  <c:v>-2.6932800000000001</c:v>
                </c:pt>
                <c:pt idx="6813">
                  <c:v>#N/A</c:v>
                </c:pt>
                <c:pt idx="6814">
                  <c:v>-2.9180700000000002</c:v>
                </c:pt>
                <c:pt idx="6815">
                  <c:v>-1.90642</c:v>
                </c:pt>
                <c:pt idx="6816">
                  <c:v>-1.8952899999999999</c:v>
                </c:pt>
                <c:pt idx="6817">
                  <c:v>#N/A</c:v>
                </c:pt>
                <c:pt idx="6818">
                  <c:v>-2.33453</c:v>
                </c:pt>
                <c:pt idx="6819">
                  <c:v>-1.97624</c:v>
                </c:pt>
                <c:pt idx="6820">
                  <c:v>-2.28633</c:v>
                </c:pt>
                <c:pt idx="6821">
                  <c:v>#N/A</c:v>
                </c:pt>
                <c:pt idx="6822">
                  <c:v>-1.9054599999999999</c:v>
                </c:pt>
                <c:pt idx="6823">
                  <c:v>-1.90185</c:v>
                </c:pt>
                <c:pt idx="6824">
                  <c:v>-1.6996</c:v>
                </c:pt>
                <c:pt idx="6825">
                  <c:v>#N/A</c:v>
                </c:pt>
                <c:pt idx="6826">
                  <c:v>-1.9534100000000001</c:v>
                </c:pt>
                <c:pt idx="6827">
                  <c:v>-1.3369500000000001</c:v>
                </c:pt>
                <c:pt idx="6828">
                  <c:v>-1.77698</c:v>
                </c:pt>
                <c:pt idx="6829">
                  <c:v>#N/A</c:v>
                </c:pt>
                <c:pt idx="6830">
                  <c:v>-2.5882999999999998</c:v>
                </c:pt>
                <c:pt idx="6831">
                  <c:v>#N/A</c:v>
                </c:pt>
                <c:pt idx="6832">
                  <c:v>-2.6494800000000001</c:v>
                </c:pt>
                <c:pt idx="6833">
                  <c:v>-2.0349900000000001</c:v>
                </c:pt>
                <c:pt idx="6834">
                  <c:v>-1.7187699999999999</c:v>
                </c:pt>
                <c:pt idx="6835">
                  <c:v>#N/A</c:v>
                </c:pt>
                <c:pt idx="6836">
                  <c:v>-1.6002400000000001</c:v>
                </c:pt>
                <c:pt idx="6837">
                  <c:v>-1.1947700000000001</c:v>
                </c:pt>
                <c:pt idx="6838">
                  <c:v>-1.79549</c:v>
                </c:pt>
                <c:pt idx="6839">
                  <c:v>#N/A</c:v>
                </c:pt>
                <c:pt idx="6840">
                  <c:v>-2.2864499999999999</c:v>
                </c:pt>
                <c:pt idx="6841">
                  <c:v>-2.71407</c:v>
                </c:pt>
                <c:pt idx="6842">
                  <c:v>#N/A</c:v>
                </c:pt>
                <c:pt idx="6843">
                  <c:v>-2.8847299999999998</c:v>
                </c:pt>
                <c:pt idx="6844">
                  <c:v>-2.3860700000000001</c:v>
                </c:pt>
                <c:pt idx="6845">
                  <c:v>-2.1680799999999998</c:v>
                </c:pt>
                <c:pt idx="6846">
                  <c:v>#N/A</c:v>
                </c:pt>
                <c:pt idx="6847">
                  <c:v>-0.89646300000000001</c:v>
                </c:pt>
                <c:pt idx="6848">
                  <c:v>-1.01685</c:v>
                </c:pt>
                <c:pt idx="6849">
                  <c:v>-1.32561</c:v>
                </c:pt>
                <c:pt idx="6850">
                  <c:v>#N/A</c:v>
                </c:pt>
                <c:pt idx="6851">
                  <c:v>-2.0470799999999998</c:v>
                </c:pt>
                <c:pt idx="6852">
                  <c:v>-2.3953899999999999</c:v>
                </c:pt>
                <c:pt idx="6853">
                  <c:v>-2.7580100000000001</c:v>
                </c:pt>
                <c:pt idx="6854">
                  <c:v>#N/A</c:v>
                </c:pt>
                <c:pt idx="6855">
                  <c:v>-2.1588500000000002</c:v>
                </c:pt>
                <c:pt idx="6856">
                  <c:v>-1.8350200000000001</c:v>
                </c:pt>
                <c:pt idx="6857">
                  <c:v>-1.8403499999999999</c:v>
                </c:pt>
                <c:pt idx="6858">
                  <c:v>#N/A</c:v>
                </c:pt>
                <c:pt idx="6859">
                  <c:v>-1.1628499999999999</c:v>
                </c:pt>
                <c:pt idx="6860">
                  <c:v>-1.5685</c:v>
                </c:pt>
                <c:pt idx="6861">
                  <c:v>-2.6358000000000001</c:v>
                </c:pt>
                <c:pt idx="6862">
                  <c:v>#N/A</c:v>
                </c:pt>
                <c:pt idx="6863">
                  <c:v>-2.9175300000000002</c:v>
                </c:pt>
                <c:pt idx="6864">
                  <c:v>-3.4535399999999998</c:v>
                </c:pt>
                <c:pt idx="6865">
                  <c:v>-3.11957</c:v>
                </c:pt>
                <c:pt idx="6866">
                  <c:v>#N/A</c:v>
                </c:pt>
                <c:pt idx="6867">
                  <c:v>-2.0632799999999998</c:v>
                </c:pt>
                <c:pt idx="6868">
                  <c:v>-1.5727199999999999</c:v>
                </c:pt>
                <c:pt idx="6869">
                  <c:v>-1.7005300000000001</c:v>
                </c:pt>
                <c:pt idx="6870">
                  <c:v>#N/A</c:v>
                </c:pt>
                <c:pt idx="6871">
                  <c:v>-2.7772399999999999</c:v>
                </c:pt>
                <c:pt idx="6872">
                  <c:v>-2.61511</c:v>
                </c:pt>
                <c:pt idx="6873">
                  <c:v>#N/A</c:v>
                </c:pt>
                <c:pt idx="6874">
                  <c:v>-2.6717599999999999</c:v>
                </c:pt>
                <c:pt idx="6875">
                  <c:v>-3.2323400000000002</c:v>
                </c:pt>
                <c:pt idx="6876">
                  <c:v>-2.9088500000000002</c:v>
                </c:pt>
                <c:pt idx="6877">
                  <c:v>#N/A</c:v>
                </c:pt>
                <c:pt idx="6878">
                  <c:v>-2.4148200000000002</c:v>
                </c:pt>
                <c:pt idx="6879">
                  <c:v>-1.9705900000000001</c:v>
                </c:pt>
                <c:pt idx="6880">
                  <c:v>-1.92117</c:v>
                </c:pt>
                <c:pt idx="6881">
                  <c:v>#N/A</c:v>
                </c:pt>
                <c:pt idx="6882">
                  <c:v>-1.9603900000000001</c:v>
                </c:pt>
                <c:pt idx="6883">
                  <c:v>-2.3161900000000002</c:v>
                </c:pt>
                <c:pt idx="6884">
                  <c:v>-2.4443100000000002</c:v>
                </c:pt>
                <c:pt idx="6885">
                  <c:v>#N/A</c:v>
                </c:pt>
                <c:pt idx="6886">
                  <c:v>-2.4693399999999999</c:v>
                </c:pt>
                <c:pt idx="6887">
                  <c:v>-2.1422300000000001</c:v>
                </c:pt>
                <c:pt idx="6888">
                  <c:v>-1.83507</c:v>
                </c:pt>
                <c:pt idx="6889">
                  <c:v>#N/A</c:v>
                </c:pt>
                <c:pt idx="6890">
                  <c:v>-2.1271100000000001</c:v>
                </c:pt>
                <c:pt idx="6891">
                  <c:v>-2.1819700000000002</c:v>
                </c:pt>
                <c:pt idx="6892">
                  <c:v>-1.93211</c:v>
                </c:pt>
                <c:pt idx="6893">
                  <c:v>#N/A</c:v>
                </c:pt>
                <c:pt idx="6894">
                  <c:v>-2.5066099999999998</c:v>
                </c:pt>
                <c:pt idx="6895">
                  <c:v>-1.89513</c:v>
                </c:pt>
                <c:pt idx="6896">
                  <c:v>-1.86415</c:v>
                </c:pt>
                <c:pt idx="6897">
                  <c:v>#N/A</c:v>
                </c:pt>
                <c:pt idx="6898">
                  <c:v>-1.7134400000000001</c:v>
                </c:pt>
                <c:pt idx="6899">
                  <c:v>-1.5633600000000001</c:v>
                </c:pt>
                <c:pt idx="6900">
                  <c:v>-1.8392999999999999</c:v>
                </c:pt>
                <c:pt idx="6901">
                  <c:v>#N/A</c:v>
                </c:pt>
                <c:pt idx="6902">
                  <c:v>-1.8584099999999999</c:v>
                </c:pt>
                <c:pt idx="6903">
                  <c:v>-2.3054399999999999</c:v>
                </c:pt>
                <c:pt idx="6904">
                  <c:v>#N/A</c:v>
                </c:pt>
                <c:pt idx="6905">
                  <c:v>-2.2700300000000002</c:v>
                </c:pt>
                <c:pt idx="6906">
                  <c:v>#N/A</c:v>
                </c:pt>
                <c:pt idx="6907">
                  <c:v>-1.40621</c:v>
                </c:pt>
                <c:pt idx="6908">
                  <c:v>-1.60697</c:v>
                </c:pt>
                <c:pt idx="6909">
                  <c:v>#N/A</c:v>
                </c:pt>
                <c:pt idx="6910">
                  <c:v>-1.8433900000000001</c:v>
                </c:pt>
                <c:pt idx="6911">
                  <c:v>-2.0528499999999998</c:v>
                </c:pt>
                <c:pt idx="6912">
                  <c:v>-1.68675</c:v>
                </c:pt>
                <c:pt idx="6913">
                  <c:v>#N/A</c:v>
                </c:pt>
                <c:pt idx="6914">
                  <c:v>-2.9068499999999999</c:v>
                </c:pt>
                <c:pt idx="6915">
                  <c:v>-3.4385300000000001</c:v>
                </c:pt>
                <c:pt idx="6916">
                  <c:v>-3.1857000000000002</c:v>
                </c:pt>
                <c:pt idx="6917">
                  <c:v>#N/A</c:v>
                </c:pt>
                <c:pt idx="6918">
                  <c:v>-2.0901000000000001</c:v>
                </c:pt>
                <c:pt idx="6919">
                  <c:v>-1.32521</c:v>
                </c:pt>
                <c:pt idx="6920">
                  <c:v>-1.2713699999999999</c:v>
                </c:pt>
                <c:pt idx="6921">
                  <c:v>#N/A</c:v>
                </c:pt>
                <c:pt idx="6922">
                  <c:v>-1.94831</c:v>
                </c:pt>
                <c:pt idx="6923">
                  <c:v>-2.0862400000000001</c:v>
                </c:pt>
                <c:pt idx="6924">
                  <c:v>-2.5608900000000001</c:v>
                </c:pt>
                <c:pt idx="6925">
                  <c:v>#N/A</c:v>
                </c:pt>
                <c:pt idx="6926">
                  <c:v>-3.2255400000000001</c:v>
                </c:pt>
                <c:pt idx="6927">
                  <c:v>-2.9518599999999999</c:v>
                </c:pt>
                <c:pt idx="6928">
                  <c:v>-2.26912</c:v>
                </c:pt>
                <c:pt idx="6929">
                  <c:v>#N/A</c:v>
                </c:pt>
                <c:pt idx="6930">
                  <c:v>-1.3365400000000001</c:v>
                </c:pt>
                <c:pt idx="6931">
                  <c:v>-1.2674000000000001</c:v>
                </c:pt>
                <c:pt idx="6932">
                  <c:v>#N/A</c:v>
                </c:pt>
                <c:pt idx="6933">
                  <c:v>-1.6911700000000001</c:v>
                </c:pt>
                <c:pt idx="6934">
                  <c:v>-2.0458799999999999</c:v>
                </c:pt>
                <c:pt idx="6935">
                  <c:v>-2.7820999999999998</c:v>
                </c:pt>
                <c:pt idx="6936">
                  <c:v>#N/A</c:v>
                </c:pt>
                <c:pt idx="6937">
                  <c:v>-2.7341500000000001</c:v>
                </c:pt>
                <c:pt idx="6938">
                  <c:v>-2.8014199999999998</c:v>
                </c:pt>
                <c:pt idx="6939">
                  <c:v>-2.8949799999999999</c:v>
                </c:pt>
                <c:pt idx="6940">
                  <c:v>#N/A</c:v>
                </c:pt>
                <c:pt idx="6941">
                  <c:v>-2.2080600000000001</c:v>
                </c:pt>
                <c:pt idx="6942">
                  <c:v>-1.95279</c:v>
                </c:pt>
                <c:pt idx="6943">
                  <c:v>-2.0621399999999999</c:v>
                </c:pt>
                <c:pt idx="6944">
                  <c:v>#N/A</c:v>
                </c:pt>
                <c:pt idx="6945">
                  <c:v>-2.8290700000000002</c:v>
                </c:pt>
                <c:pt idx="6946">
                  <c:v>-3.1268699999999998</c:v>
                </c:pt>
                <c:pt idx="6947">
                  <c:v>-3.2855400000000001</c:v>
                </c:pt>
                <c:pt idx="6948">
                  <c:v>#N/A</c:v>
                </c:pt>
                <c:pt idx="6949">
                  <c:v>-3.0588600000000001</c:v>
                </c:pt>
                <c:pt idx="6950">
                  <c:v>-2.43031</c:v>
                </c:pt>
                <c:pt idx="6951">
                  <c:v>-2.2100499999999998</c:v>
                </c:pt>
                <c:pt idx="6952">
                  <c:v>#N/A</c:v>
                </c:pt>
                <c:pt idx="6953">
                  <c:v>-1.56073</c:v>
                </c:pt>
                <c:pt idx="6954">
                  <c:v>-1.60432</c:v>
                </c:pt>
                <c:pt idx="6955">
                  <c:v>-1.6441699999999999</c:v>
                </c:pt>
                <c:pt idx="6956">
                  <c:v>#N/A</c:v>
                </c:pt>
                <c:pt idx="6957">
                  <c:v>-2.4103500000000002</c:v>
                </c:pt>
                <c:pt idx="6958">
                  <c:v>-2.3009300000000001</c:v>
                </c:pt>
                <c:pt idx="6959">
                  <c:v>-1.6920200000000001</c:v>
                </c:pt>
                <c:pt idx="6960">
                  <c:v>#N/A</c:v>
                </c:pt>
                <c:pt idx="6961">
                  <c:v>-1.50912</c:v>
                </c:pt>
                <c:pt idx="6962">
                  <c:v>-1.7625999999999999</c:v>
                </c:pt>
                <c:pt idx="6963">
                  <c:v>#N/A</c:v>
                </c:pt>
                <c:pt idx="6964">
                  <c:v>-2.26918</c:v>
                </c:pt>
                <c:pt idx="6965">
                  <c:v>-2.12818</c:v>
                </c:pt>
                <c:pt idx="6966">
                  <c:v>-2.5822099999999999</c:v>
                </c:pt>
                <c:pt idx="6967">
                  <c:v>#N/A</c:v>
                </c:pt>
                <c:pt idx="6968">
                  <c:v>-2.4651900000000002</c:v>
                </c:pt>
                <c:pt idx="6969">
                  <c:v>-2.91838</c:v>
                </c:pt>
                <c:pt idx="6970">
                  <c:v>-2.5722200000000002</c:v>
                </c:pt>
                <c:pt idx="6971">
                  <c:v>#N/A</c:v>
                </c:pt>
                <c:pt idx="6972">
                  <c:v>-2.0652699999999999</c:v>
                </c:pt>
                <c:pt idx="6973">
                  <c:v>-2.0173399999999999</c:v>
                </c:pt>
                <c:pt idx="6974">
                  <c:v>#N/A</c:v>
                </c:pt>
                <c:pt idx="6975">
                  <c:v>-2.5691099999999998</c:v>
                </c:pt>
                <c:pt idx="6976">
                  <c:v>-2.96136</c:v>
                </c:pt>
                <c:pt idx="6977">
                  <c:v>-3.14438</c:v>
                </c:pt>
                <c:pt idx="6978">
                  <c:v>#N/A</c:v>
                </c:pt>
                <c:pt idx="6979">
                  <c:v>-3.18283</c:v>
                </c:pt>
                <c:pt idx="6980">
                  <c:v>-2.2893300000000001</c:v>
                </c:pt>
                <c:pt idx="6981">
                  <c:v>#N/A</c:v>
                </c:pt>
                <c:pt idx="6982">
                  <c:v>-1.8680399999999999</c:v>
                </c:pt>
                <c:pt idx="6983">
                  <c:v>#N/A</c:v>
                </c:pt>
                <c:pt idx="6984">
                  <c:v>-2.1110799999999998</c:v>
                </c:pt>
                <c:pt idx="6985">
                  <c:v>-2.5173000000000001</c:v>
                </c:pt>
                <c:pt idx="6986">
                  <c:v>-3.3560300000000001</c:v>
                </c:pt>
                <c:pt idx="6987">
                  <c:v>#N/A</c:v>
                </c:pt>
                <c:pt idx="6988">
                  <c:v>-3.2499400000000001</c:v>
                </c:pt>
                <c:pt idx="6989">
                  <c:v>-3.21835</c:v>
                </c:pt>
                <c:pt idx="6990">
                  <c:v>-2.4420600000000001</c:v>
                </c:pt>
                <c:pt idx="6991">
                  <c:v>#N/A</c:v>
                </c:pt>
                <c:pt idx="6992">
                  <c:v>-2.5071599999999998</c:v>
                </c:pt>
                <c:pt idx="6993">
                  <c:v>-2.4451900000000002</c:v>
                </c:pt>
                <c:pt idx="6994">
                  <c:v>#N/A</c:v>
                </c:pt>
                <c:pt idx="6995">
                  <c:v>-2.4223300000000001</c:v>
                </c:pt>
                <c:pt idx="6996">
                  <c:v>-2.9399299999999999</c:v>
                </c:pt>
                <c:pt idx="6997">
                  <c:v>-2.7330999999999999</c:v>
                </c:pt>
                <c:pt idx="6998">
                  <c:v>#N/A</c:v>
                </c:pt>
                <c:pt idx="6999">
                  <c:v>-3.5321799999999999</c:v>
                </c:pt>
                <c:pt idx="7000">
                  <c:v>-3.36259</c:v>
                </c:pt>
                <c:pt idx="7001">
                  <c:v>-2.51559</c:v>
                </c:pt>
                <c:pt idx="7002">
                  <c:v>#N/A</c:v>
                </c:pt>
                <c:pt idx="7003">
                  <c:v>-2.4459200000000001</c:v>
                </c:pt>
                <c:pt idx="7004">
                  <c:v>-1.6522399999999999</c:v>
                </c:pt>
                <c:pt idx="7005">
                  <c:v>-2.2568899999999998</c:v>
                </c:pt>
                <c:pt idx="7006">
                  <c:v>#N/A</c:v>
                </c:pt>
                <c:pt idx="7007">
                  <c:v>-2.4620500000000001</c:v>
                </c:pt>
                <c:pt idx="7008">
                  <c:v>-3.5832099999999998</c:v>
                </c:pt>
                <c:pt idx="7009">
                  <c:v>#N/A</c:v>
                </c:pt>
                <c:pt idx="7010">
                  <c:v>-3.5105300000000002</c:v>
                </c:pt>
                <c:pt idx="7011">
                  <c:v>-3.8003200000000001</c:v>
                </c:pt>
                <c:pt idx="7012">
                  <c:v>-3.25563</c:v>
                </c:pt>
                <c:pt idx="7013">
                  <c:v>#N/A</c:v>
                </c:pt>
                <c:pt idx="7014">
                  <c:v>-2.59334</c:v>
                </c:pt>
                <c:pt idx="7015">
                  <c:v>-2.2228300000000001</c:v>
                </c:pt>
                <c:pt idx="7016">
                  <c:v>-1.96174</c:v>
                </c:pt>
                <c:pt idx="7017">
                  <c:v>#N/A</c:v>
                </c:pt>
                <c:pt idx="7018">
                  <c:v>-2.5434399999999999</c:v>
                </c:pt>
                <c:pt idx="7019">
                  <c:v>-3.13489</c:v>
                </c:pt>
                <c:pt idx="7020">
                  <c:v>-3.2860499999999999</c:v>
                </c:pt>
                <c:pt idx="7021">
                  <c:v>#N/A</c:v>
                </c:pt>
                <c:pt idx="7022">
                  <c:v>-2.49403</c:v>
                </c:pt>
                <c:pt idx="7023">
                  <c:v>-2.7443499999999998</c:v>
                </c:pt>
                <c:pt idx="7024">
                  <c:v>-2.18798</c:v>
                </c:pt>
                <c:pt idx="7025">
                  <c:v>#N/A</c:v>
                </c:pt>
                <c:pt idx="7026">
                  <c:v>-2.1998099999999998</c:v>
                </c:pt>
                <c:pt idx="7027">
                  <c:v>-1.9336</c:v>
                </c:pt>
                <c:pt idx="7028">
                  <c:v>-1.8798900000000001</c:v>
                </c:pt>
                <c:pt idx="7029">
                  <c:v>#N/A</c:v>
                </c:pt>
                <c:pt idx="7030">
                  <c:v>-2.9598100000000001</c:v>
                </c:pt>
                <c:pt idx="7031">
                  <c:v>-3.01302</c:v>
                </c:pt>
                <c:pt idx="7032">
                  <c:v>#N/A</c:v>
                </c:pt>
                <c:pt idx="7033">
                  <c:v>-2.08047</c:v>
                </c:pt>
                <c:pt idx="7034">
                  <c:v>-2.28301</c:v>
                </c:pt>
                <c:pt idx="7035">
                  <c:v>-2.1023499999999999</c:v>
                </c:pt>
                <c:pt idx="7036">
                  <c:v>#N/A</c:v>
                </c:pt>
                <c:pt idx="7037">
                  <c:v>-2.7654200000000002</c:v>
                </c:pt>
                <c:pt idx="7038">
                  <c:v>-2.7509800000000002</c:v>
                </c:pt>
                <c:pt idx="7039">
                  <c:v>-3.0272000000000001</c:v>
                </c:pt>
                <c:pt idx="7040">
                  <c:v>#N/A</c:v>
                </c:pt>
                <c:pt idx="7041">
                  <c:v>-2.2920400000000001</c:v>
                </c:pt>
                <c:pt idx="7042">
                  <c:v>-2.8003399999999998</c:v>
                </c:pt>
                <c:pt idx="7043">
                  <c:v>-2.4957600000000002</c:v>
                </c:pt>
                <c:pt idx="7044">
                  <c:v>#N/A</c:v>
                </c:pt>
                <c:pt idx="7045">
                  <c:v>-1.9165399999999999</c:v>
                </c:pt>
                <c:pt idx="7046">
                  <c:v>-2.7426300000000001</c:v>
                </c:pt>
                <c:pt idx="7047">
                  <c:v>#N/A</c:v>
                </c:pt>
                <c:pt idx="7048">
                  <c:v>-3.1255000000000002</c:v>
                </c:pt>
                <c:pt idx="7049">
                  <c:v>-3.3495499999999998</c:v>
                </c:pt>
                <c:pt idx="7050">
                  <c:v>-3.0516700000000001</c:v>
                </c:pt>
                <c:pt idx="7051">
                  <c:v>#N/A</c:v>
                </c:pt>
                <c:pt idx="7052">
                  <c:v>-3.3711500000000001</c:v>
                </c:pt>
                <c:pt idx="7053">
                  <c:v>-3.1133199999999999</c:v>
                </c:pt>
                <c:pt idx="7054">
                  <c:v>-2.0828500000000001</c:v>
                </c:pt>
                <c:pt idx="7055">
                  <c:v>#N/A</c:v>
                </c:pt>
                <c:pt idx="7056">
                  <c:v>-2.1773600000000002</c:v>
                </c:pt>
                <c:pt idx="7057">
                  <c:v>#N/A</c:v>
                </c:pt>
                <c:pt idx="7058">
                  <c:v>-2.4471599999999998</c:v>
                </c:pt>
                <c:pt idx="7059">
                  <c:v>-2.4576099999999999</c:v>
                </c:pt>
                <c:pt idx="7060">
                  <c:v>-3.0569999999999999</c:v>
                </c:pt>
                <c:pt idx="7061">
                  <c:v>#N/A</c:v>
                </c:pt>
                <c:pt idx="7062">
                  <c:v>-3.12012</c:v>
                </c:pt>
                <c:pt idx="7063">
                  <c:v>-2.50935</c:v>
                </c:pt>
                <c:pt idx="7064">
                  <c:v>-2.4575999999999998</c:v>
                </c:pt>
                <c:pt idx="7065">
                  <c:v>#N/A</c:v>
                </c:pt>
                <c:pt idx="7066">
                  <c:v>-1.5746</c:v>
                </c:pt>
                <c:pt idx="7067">
                  <c:v>-1.83548</c:v>
                </c:pt>
                <c:pt idx="7068">
                  <c:v>-2.24342</c:v>
                </c:pt>
                <c:pt idx="7069">
                  <c:v>#N/A</c:v>
                </c:pt>
                <c:pt idx="7070">
                  <c:v>-2.8230300000000002</c:v>
                </c:pt>
                <c:pt idx="7071">
                  <c:v>-2.3718400000000002</c:v>
                </c:pt>
                <c:pt idx="7072">
                  <c:v>-2.7952900000000001</c:v>
                </c:pt>
                <c:pt idx="7073">
                  <c:v>#N/A</c:v>
                </c:pt>
                <c:pt idx="7074">
                  <c:v>-2.9890099999999999</c:v>
                </c:pt>
                <c:pt idx="7075">
                  <c:v>-2.4676399999999998</c:v>
                </c:pt>
                <c:pt idx="7076">
                  <c:v>-1.91381</c:v>
                </c:pt>
                <c:pt idx="7077">
                  <c:v>#N/A</c:v>
                </c:pt>
                <c:pt idx="7078">
                  <c:v>-1.4629000000000001</c:v>
                </c:pt>
                <c:pt idx="7079">
                  <c:v>-1.7287300000000001</c:v>
                </c:pt>
                <c:pt idx="7080">
                  <c:v>-2.3880499999999998</c:v>
                </c:pt>
                <c:pt idx="7081">
                  <c:v>#N/A</c:v>
                </c:pt>
                <c:pt idx="7082">
                  <c:v>-2.9911799999999999</c:v>
                </c:pt>
                <c:pt idx="7083">
                  <c:v>-2.8065099999999998</c:v>
                </c:pt>
                <c:pt idx="7084">
                  <c:v>#N/A</c:v>
                </c:pt>
                <c:pt idx="7085">
                  <c:v>-2.2988900000000001</c:v>
                </c:pt>
                <c:pt idx="7086">
                  <c:v>-2.4416600000000002</c:v>
                </c:pt>
                <c:pt idx="7087">
                  <c:v>-2.1649500000000002</c:v>
                </c:pt>
                <c:pt idx="7088">
                  <c:v>#N/A</c:v>
                </c:pt>
                <c:pt idx="7089">
                  <c:v>-1.90401</c:v>
                </c:pt>
                <c:pt idx="7090">
                  <c:v>-2.16222</c:v>
                </c:pt>
                <c:pt idx="7091">
                  <c:v>-2.4870299999999999</c:v>
                </c:pt>
                <c:pt idx="7092">
                  <c:v>#N/A</c:v>
                </c:pt>
                <c:pt idx="7093">
                  <c:v>-3.1346599999999998</c:v>
                </c:pt>
                <c:pt idx="7094">
                  <c:v>-3.2067899999999998</c:v>
                </c:pt>
                <c:pt idx="7095">
                  <c:v>-2.9012699999999998</c:v>
                </c:pt>
                <c:pt idx="7096">
                  <c:v>#N/A</c:v>
                </c:pt>
                <c:pt idx="7097">
                  <c:v>-1.8772599999999999</c:v>
                </c:pt>
                <c:pt idx="7098">
                  <c:v>-1.8792</c:v>
                </c:pt>
                <c:pt idx="7099">
                  <c:v>-2.33927</c:v>
                </c:pt>
                <c:pt idx="7100">
                  <c:v>#N/A</c:v>
                </c:pt>
                <c:pt idx="7101">
                  <c:v>-2.0177999999999998</c:v>
                </c:pt>
                <c:pt idx="7102">
                  <c:v>-3.2720400000000001</c:v>
                </c:pt>
                <c:pt idx="7103">
                  <c:v>-3.11124</c:v>
                </c:pt>
                <c:pt idx="7104">
                  <c:v>#N/A</c:v>
                </c:pt>
                <c:pt idx="7105">
                  <c:v>-3.1521300000000001</c:v>
                </c:pt>
                <c:pt idx="7106">
                  <c:v>-2.3272400000000002</c:v>
                </c:pt>
                <c:pt idx="7107">
                  <c:v>-2.2026599999999998</c:v>
                </c:pt>
                <c:pt idx="7108">
                  <c:v>#N/A</c:v>
                </c:pt>
                <c:pt idx="7109">
                  <c:v>-2.2519300000000002</c:v>
                </c:pt>
                <c:pt idx="7110">
                  <c:v>-2.4769299999999999</c:v>
                </c:pt>
                <c:pt idx="7111">
                  <c:v>-2.14324</c:v>
                </c:pt>
                <c:pt idx="7112">
                  <c:v>#N/A</c:v>
                </c:pt>
                <c:pt idx="7113">
                  <c:v>-2.7237900000000002</c:v>
                </c:pt>
                <c:pt idx="7114">
                  <c:v>-2.5108000000000001</c:v>
                </c:pt>
                <c:pt idx="7115">
                  <c:v>#N/A</c:v>
                </c:pt>
                <c:pt idx="7116">
                  <c:v>-2.7286800000000002</c:v>
                </c:pt>
                <c:pt idx="7117">
                  <c:v>-2.2718799999999999</c:v>
                </c:pt>
                <c:pt idx="7118">
                  <c:v>-2.1836700000000002</c:v>
                </c:pt>
                <c:pt idx="7119">
                  <c:v>#N/A</c:v>
                </c:pt>
                <c:pt idx="7120">
                  <c:v>-1.84823</c:v>
                </c:pt>
                <c:pt idx="7121">
                  <c:v>-1.9199200000000001</c:v>
                </c:pt>
                <c:pt idx="7122">
                  <c:v>-2.2593700000000001</c:v>
                </c:pt>
                <c:pt idx="7123">
                  <c:v>#N/A</c:v>
                </c:pt>
                <c:pt idx="7124">
                  <c:v>-2.4847199999999998</c:v>
                </c:pt>
                <c:pt idx="7125">
                  <c:v>-2.36693</c:v>
                </c:pt>
                <c:pt idx="7126">
                  <c:v>-2.2249699999999999</c:v>
                </c:pt>
                <c:pt idx="7127">
                  <c:v>#N/A</c:v>
                </c:pt>
                <c:pt idx="7128">
                  <c:v>-2.2971900000000001</c:v>
                </c:pt>
                <c:pt idx="7129">
                  <c:v>-1.74359</c:v>
                </c:pt>
                <c:pt idx="7130">
                  <c:v>#N/A</c:v>
                </c:pt>
                <c:pt idx="7131">
                  <c:v>-2.1412399999999998</c:v>
                </c:pt>
                <c:pt idx="7132">
                  <c:v>#N/A</c:v>
                </c:pt>
                <c:pt idx="7133">
                  <c:v>-2.6353900000000001</c:v>
                </c:pt>
                <c:pt idx="7134">
                  <c:v>-2.8550499999999999</c:v>
                </c:pt>
                <c:pt idx="7135">
                  <c:v>-3.4304800000000002</c:v>
                </c:pt>
                <c:pt idx="7136">
                  <c:v>#N/A</c:v>
                </c:pt>
                <c:pt idx="7137">
                  <c:v>-2.6501100000000002</c:v>
                </c:pt>
                <c:pt idx="7138">
                  <c:v>-1.5926199999999999</c:v>
                </c:pt>
                <c:pt idx="7139">
                  <c:v>-1.82534</c:v>
                </c:pt>
                <c:pt idx="7140">
                  <c:v>#N/A</c:v>
                </c:pt>
                <c:pt idx="7141">
                  <c:v>-1.3473299999999999</c:v>
                </c:pt>
                <c:pt idx="7142">
                  <c:v>-2.3902299999999999</c:v>
                </c:pt>
                <c:pt idx="7143">
                  <c:v>#N/A</c:v>
                </c:pt>
                <c:pt idx="7144">
                  <c:v>-2.39676</c:v>
                </c:pt>
                <c:pt idx="7145">
                  <c:v>-2.7839299999999998</c:v>
                </c:pt>
                <c:pt idx="7146">
                  <c:v>-2.5717599999999998</c:v>
                </c:pt>
                <c:pt idx="7147">
                  <c:v>#N/A</c:v>
                </c:pt>
                <c:pt idx="7148">
                  <c:v>-2.2115999999999998</c:v>
                </c:pt>
                <c:pt idx="7149">
                  <c:v>-1.7826500000000001</c:v>
                </c:pt>
                <c:pt idx="7150">
                  <c:v>-1.24027</c:v>
                </c:pt>
                <c:pt idx="7151">
                  <c:v>#N/A</c:v>
                </c:pt>
                <c:pt idx="7152">
                  <c:v>-2.2673000000000001</c:v>
                </c:pt>
                <c:pt idx="7153">
                  <c:v>-2.0658599999999998</c:v>
                </c:pt>
                <c:pt idx="7154">
                  <c:v>-2.3742899999999998</c:v>
                </c:pt>
                <c:pt idx="7155">
                  <c:v>#N/A</c:v>
                </c:pt>
                <c:pt idx="7156">
                  <c:v>-2.7209300000000001</c:v>
                </c:pt>
                <c:pt idx="7157">
                  <c:v>-3.21048</c:v>
                </c:pt>
                <c:pt idx="7158">
                  <c:v>-2.3443999999999998</c:v>
                </c:pt>
                <c:pt idx="7159">
                  <c:v>#N/A</c:v>
                </c:pt>
                <c:pt idx="7160">
                  <c:v>-2.1074700000000002</c:v>
                </c:pt>
                <c:pt idx="7161">
                  <c:v>-1.76857</c:v>
                </c:pt>
                <c:pt idx="7162">
                  <c:v>-2.5698099999999999</c:v>
                </c:pt>
                <c:pt idx="7163">
                  <c:v>#N/A</c:v>
                </c:pt>
                <c:pt idx="7164">
                  <c:v>-2.6963699999999999</c:v>
                </c:pt>
                <c:pt idx="7165">
                  <c:v>-2.5722999999999998</c:v>
                </c:pt>
                <c:pt idx="7166">
                  <c:v>-2.4451999999999998</c:v>
                </c:pt>
                <c:pt idx="7167">
                  <c:v>#N/A</c:v>
                </c:pt>
                <c:pt idx="7168">
                  <c:v>-2.8429700000000002</c:v>
                </c:pt>
                <c:pt idx="7169">
                  <c:v>-2.5165500000000001</c:v>
                </c:pt>
                <c:pt idx="7170">
                  <c:v>#N/A</c:v>
                </c:pt>
                <c:pt idx="7171">
                  <c:v>-2.28539</c:v>
                </c:pt>
                <c:pt idx="7172">
                  <c:v>-2.0504699999999998</c:v>
                </c:pt>
                <c:pt idx="7173">
                  <c:v>-1.60677</c:v>
                </c:pt>
                <c:pt idx="7174">
                  <c:v>#N/A</c:v>
                </c:pt>
                <c:pt idx="7175">
                  <c:v>-1.9484999999999999</c:v>
                </c:pt>
                <c:pt idx="7176">
                  <c:v>-2.9631599999999998</c:v>
                </c:pt>
                <c:pt idx="7177">
                  <c:v>-2.65618</c:v>
                </c:pt>
                <c:pt idx="7178">
                  <c:v>#N/A</c:v>
                </c:pt>
                <c:pt idx="7179">
                  <c:v>-2.3079999999999998</c:v>
                </c:pt>
                <c:pt idx="7180">
                  <c:v>-2.54169</c:v>
                </c:pt>
                <c:pt idx="7181">
                  <c:v>-2.1352099999999998</c:v>
                </c:pt>
                <c:pt idx="7182">
                  <c:v>#N/A</c:v>
                </c:pt>
                <c:pt idx="7183">
                  <c:v>-1.6614</c:v>
                </c:pt>
                <c:pt idx="7184">
                  <c:v>-1.52651</c:v>
                </c:pt>
                <c:pt idx="7185">
                  <c:v>-2.2654700000000001</c:v>
                </c:pt>
                <c:pt idx="7186">
                  <c:v>#N/A</c:v>
                </c:pt>
                <c:pt idx="7187">
                  <c:v>-2.4267400000000001</c:v>
                </c:pt>
                <c:pt idx="7188">
                  <c:v>-3.3197299999999998</c:v>
                </c:pt>
                <c:pt idx="7189">
                  <c:v>-2.4729299999999999</c:v>
                </c:pt>
                <c:pt idx="7190">
                  <c:v>#N/A</c:v>
                </c:pt>
                <c:pt idx="7191">
                  <c:v>-2.66656</c:v>
                </c:pt>
                <c:pt idx="7192">
                  <c:v>-1.6255599999999999</c:v>
                </c:pt>
                <c:pt idx="7193">
                  <c:v>-2.8046600000000002</c:v>
                </c:pt>
                <c:pt idx="7194">
                  <c:v>#N/A</c:v>
                </c:pt>
                <c:pt idx="7195">
                  <c:v>-2.4450599999999998</c:v>
                </c:pt>
                <c:pt idx="7196">
                  <c:v>-2.2438899999999999</c:v>
                </c:pt>
                <c:pt idx="7197">
                  <c:v>-2.93235</c:v>
                </c:pt>
                <c:pt idx="7198">
                  <c:v>#N/A</c:v>
                </c:pt>
                <c:pt idx="7199">
                  <c:v>-2.1552899999999999</c:v>
                </c:pt>
                <c:pt idx="7200">
                  <c:v>-2.3753099999999998</c:v>
                </c:pt>
                <c:pt idx="7201">
                  <c:v>-1.69337</c:v>
                </c:pt>
                <c:pt idx="7202">
                  <c:v>#N/A</c:v>
                </c:pt>
                <c:pt idx="7203">
                  <c:v>-2.0492499999999998</c:v>
                </c:pt>
                <c:pt idx="7204">
                  <c:v>-2.47465</c:v>
                </c:pt>
                <c:pt idx="7205">
                  <c:v>#N/A</c:v>
                </c:pt>
                <c:pt idx="7206">
                  <c:v>-2.7956799999999999</c:v>
                </c:pt>
                <c:pt idx="7207">
                  <c:v>#N/A</c:v>
                </c:pt>
                <c:pt idx="7208">
                  <c:v>-2.8734000000000002</c:v>
                </c:pt>
                <c:pt idx="7209">
                  <c:v>-2.7795700000000001</c:v>
                </c:pt>
                <c:pt idx="7210">
                  <c:v>#N/A</c:v>
                </c:pt>
                <c:pt idx="7211">
                  <c:v>-1.8033300000000001</c:v>
                </c:pt>
                <c:pt idx="7212">
                  <c:v>-1.5831200000000001</c:v>
                </c:pt>
                <c:pt idx="7213">
                  <c:v>-1.9583699999999999</c:v>
                </c:pt>
                <c:pt idx="7214">
                  <c:v>#N/A</c:v>
                </c:pt>
                <c:pt idx="7215">
                  <c:v>-2.2688100000000002</c:v>
                </c:pt>
                <c:pt idx="7216">
                  <c:v>-2.4384800000000002</c:v>
                </c:pt>
                <c:pt idx="7217">
                  <c:v>#N/A</c:v>
                </c:pt>
                <c:pt idx="7218">
                  <c:v>-3.15585</c:v>
                </c:pt>
                <c:pt idx="7219">
                  <c:v>-3.1680299999999999</c:v>
                </c:pt>
                <c:pt idx="7220">
                  <c:v>-2.3493499999999998</c:v>
                </c:pt>
                <c:pt idx="7221">
                  <c:v>#N/A</c:v>
                </c:pt>
                <c:pt idx="7222">
                  <c:v>-1.98102</c:v>
                </c:pt>
                <c:pt idx="7223">
                  <c:v>-1.99166</c:v>
                </c:pt>
                <c:pt idx="7224">
                  <c:v>-1.99522</c:v>
                </c:pt>
                <c:pt idx="7225">
                  <c:v>#N/A</c:v>
                </c:pt>
                <c:pt idx="7226">
                  <c:v>-1.84534</c:v>
                </c:pt>
                <c:pt idx="7227">
                  <c:v>-2.2827899999999999</c:v>
                </c:pt>
                <c:pt idx="7228">
                  <c:v>-2.68601</c:v>
                </c:pt>
                <c:pt idx="7229">
                  <c:v>#N/A</c:v>
                </c:pt>
                <c:pt idx="7230">
                  <c:v>-2.6600100000000002</c:v>
                </c:pt>
                <c:pt idx="7231">
                  <c:v>-2.6629499999999999</c:v>
                </c:pt>
                <c:pt idx="7232">
                  <c:v>#N/A</c:v>
                </c:pt>
                <c:pt idx="7233">
                  <c:v>-1.8035099999999999</c:v>
                </c:pt>
                <c:pt idx="7234">
                  <c:v>-1.6858299999999999</c:v>
                </c:pt>
                <c:pt idx="7235">
                  <c:v>#N/A</c:v>
                </c:pt>
                <c:pt idx="7236">
                  <c:v>-2.0788000000000002</c:v>
                </c:pt>
                <c:pt idx="7237">
                  <c:v>-2.2392599999999998</c:v>
                </c:pt>
                <c:pt idx="7238">
                  <c:v>-2.6398000000000001</c:v>
                </c:pt>
                <c:pt idx="7239">
                  <c:v>#N/A</c:v>
                </c:pt>
                <c:pt idx="7240">
                  <c:v>-2.9935</c:v>
                </c:pt>
                <c:pt idx="7241">
                  <c:v>-2.9329800000000001</c:v>
                </c:pt>
                <c:pt idx="7242">
                  <c:v>-2.42469</c:v>
                </c:pt>
                <c:pt idx="7243">
                  <c:v>#N/A</c:v>
                </c:pt>
                <c:pt idx="7244">
                  <c:v>-2.1158100000000002</c:v>
                </c:pt>
                <c:pt idx="7245">
                  <c:v>-1.5402199999999999</c:v>
                </c:pt>
                <c:pt idx="7246">
                  <c:v>#N/A</c:v>
                </c:pt>
                <c:pt idx="7247">
                  <c:v>-1.47045</c:v>
                </c:pt>
                <c:pt idx="7248">
                  <c:v>-2.2742</c:v>
                </c:pt>
                <c:pt idx="7249">
                  <c:v>-2.7716599999999998</c:v>
                </c:pt>
                <c:pt idx="7250">
                  <c:v>#N/A</c:v>
                </c:pt>
                <c:pt idx="7251">
                  <c:v>-2.2077599999999999</c:v>
                </c:pt>
                <c:pt idx="7252">
                  <c:v>-2.7102599999999999</c:v>
                </c:pt>
                <c:pt idx="7253">
                  <c:v>#N/A</c:v>
                </c:pt>
                <c:pt idx="7254">
                  <c:v>-2.0895000000000001</c:v>
                </c:pt>
                <c:pt idx="7255">
                  <c:v>-2.0921799999999999</c:v>
                </c:pt>
                <c:pt idx="7256">
                  <c:v>-1.8797200000000001</c:v>
                </c:pt>
                <c:pt idx="7257">
                  <c:v>#N/A</c:v>
                </c:pt>
                <c:pt idx="7258">
                  <c:v>-2.1129899999999999</c:v>
                </c:pt>
                <c:pt idx="7259">
                  <c:v>-2.3430300000000002</c:v>
                </c:pt>
                <c:pt idx="7260">
                  <c:v>-2.5078499999999999</c:v>
                </c:pt>
                <c:pt idx="7261">
                  <c:v>#N/A</c:v>
                </c:pt>
                <c:pt idx="7262">
                  <c:v>-2.72058</c:v>
                </c:pt>
                <c:pt idx="7263">
                  <c:v>-2.09124</c:v>
                </c:pt>
                <c:pt idx="7264">
                  <c:v>-1.8325</c:v>
                </c:pt>
                <c:pt idx="7265">
                  <c:v>#N/A</c:v>
                </c:pt>
                <c:pt idx="7266">
                  <c:v>-1.4508000000000001</c:v>
                </c:pt>
                <c:pt idx="7267">
                  <c:v>-2.1868699999999999</c:v>
                </c:pt>
                <c:pt idx="7268">
                  <c:v>-2.1531699999999998</c:v>
                </c:pt>
                <c:pt idx="7269">
                  <c:v>#N/A</c:v>
                </c:pt>
                <c:pt idx="7270">
                  <c:v>-2.96991</c:v>
                </c:pt>
                <c:pt idx="7271">
                  <c:v>-2.2613599999999998</c:v>
                </c:pt>
                <c:pt idx="7272">
                  <c:v>-2.62148</c:v>
                </c:pt>
                <c:pt idx="7273">
                  <c:v>#N/A</c:v>
                </c:pt>
                <c:pt idx="7274">
                  <c:v>-2.4654099999999999</c:v>
                </c:pt>
                <c:pt idx="7275">
                  <c:v>-1.6989300000000001</c:v>
                </c:pt>
                <c:pt idx="7276">
                  <c:v>-1.9799800000000001</c:v>
                </c:pt>
                <c:pt idx="7277">
                  <c:v>#N/A</c:v>
                </c:pt>
                <c:pt idx="7278">
                  <c:v>-2.4026700000000001</c:v>
                </c:pt>
                <c:pt idx="7279">
                  <c:v>-2.35168</c:v>
                </c:pt>
                <c:pt idx="7280">
                  <c:v>-2.9829699999999999</c:v>
                </c:pt>
                <c:pt idx="7281">
                  <c:v>#N/A</c:v>
                </c:pt>
                <c:pt idx="7282">
                  <c:v>-3.14378</c:v>
                </c:pt>
                <c:pt idx="7283">
                  <c:v>#N/A</c:v>
                </c:pt>
                <c:pt idx="7284">
                  <c:v>-2.5567199999999999</c:v>
                </c:pt>
                <c:pt idx="7285">
                  <c:v>-2.5122800000000001</c:v>
                </c:pt>
                <c:pt idx="7286">
                  <c:v>-1.6720299999999999</c:v>
                </c:pt>
                <c:pt idx="7287">
                  <c:v>#N/A</c:v>
                </c:pt>
                <c:pt idx="7288">
                  <c:v>-1.6291800000000001</c:v>
                </c:pt>
                <c:pt idx="7289">
                  <c:v>-1.98522</c:v>
                </c:pt>
                <c:pt idx="7290">
                  <c:v>-2.4284699999999999</c:v>
                </c:pt>
                <c:pt idx="7291">
                  <c:v>#N/A</c:v>
                </c:pt>
                <c:pt idx="7292">
                  <c:v>-3.2756500000000002</c:v>
                </c:pt>
                <c:pt idx="7293">
                  <c:v>-2.8423699999999998</c:v>
                </c:pt>
                <c:pt idx="7294">
                  <c:v>-2.48848</c:v>
                </c:pt>
                <c:pt idx="7295">
                  <c:v>#N/A</c:v>
                </c:pt>
                <c:pt idx="7296">
                  <c:v>-1.4133800000000001</c:v>
                </c:pt>
                <c:pt idx="7297">
                  <c:v>-1.12005</c:v>
                </c:pt>
                <c:pt idx="7298">
                  <c:v>-1.9632499999999999</c:v>
                </c:pt>
                <c:pt idx="7299">
                  <c:v>#N/A</c:v>
                </c:pt>
                <c:pt idx="7300">
                  <c:v>-2.4056899999999999</c:v>
                </c:pt>
                <c:pt idx="7301">
                  <c:v>-2.5324</c:v>
                </c:pt>
                <c:pt idx="7302">
                  <c:v>#N/A</c:v>
                </c:pt>
                <c:pt idx="7303">
                  <c:v>-3.2365599999999999</c:v>
                </c:pt>
                <c:pt idx="7304">
                  <c:v>-2.7463500000000001</c:v>
                </c:pt>
                <c:pt idx="7305">
                  <c:v>-2.2195900000000002</c:v>
                </c:pt>
                <c:pt idx="7306">
                  <c:v>#N/A</c:v>
                </c:pt>
                <c:pt idx="7307">
                  <c:v>-1.76969</c:v>
                </c:pt>
                <c:pt idx="7308">
                  <c:v>-1.53247</c:v>
                </c:pt>
                <c:pt idx="7309">
                  <c:v>#N/A</c:v>
                </c:pt>
                <c:pt idx="7310">
                  <c:v>-1.6552800000000001</c:v>
                </c:pt>
                <c:pt idx="7311">
                  <c:v>-2.3158099999999999</c:v>
                </c:pt>
                <c:pt idx="7312">
                  <c:v>-3.0130499999999998</c:v>
                </c:pt>
                <c:pt idx="7313">
                  <c:v>#N/A</c:v>
                </c:pt>
                <c:pt idx="7314">
                  <c:v>-3.0919400000000001</c:v>
                </c:pt>
                <c:pt idx="7315">
                  <c:v>-2.49613</c:v>
                </c:pt>
                <c:pt idx="7316">
                  <c:v>#N/A</c:v>
                </c:pt>
                <c:pt idx="7317">
                  <c:v>-1.9147799999999999</c:v>
                </c:pt>
                <c:pt idx="7318">
                  <c:v>#N/A</c:v>
                </c:pt>
                <c:pt idx="7319">
                  <c:v>-2.2698999999999998</c:v>
                </c:pt>
                <c:pt idx="7320">
                  <c:v>#N/A</c:v>
                </c:pt>
                <c:pt idx="7321">
                  <c:v>-2.4642900000000001</c:v>
                </c:pt>
                <c:pt idx="7322">
                  <c:v>-2.6205599999999998</c:v>
                </c:pt>
                <c:pt idx="7323">
                  <c:v>-2.9033000000000002</c:v>
                </c:pt>
                <c:pt idx="7324">
                  <c:v>#N/A</c:v>
                </c:pt>
                <c:pt idx="7325">
                  <c:v>-2.9560599999999999</c:v>
                </c:pt>
                <c:pt idx="7326">
                  <c:v>-2.5525500000000001</c:v>
                </c:pt>
                <c:pt idx="7327">
                  <c:v>-2.1150099999999998</c:v>
                </c:pt>
                <c:pt idx="7328">
                  <c:v>#N/A</c:v>
                </c:pt>
                <c:pt idx="7329">
                  <c:v>-1.94303</c:v>
                </c:pt>
                <c:pt idx="7330">
                  <c:v>-1.9344399999999999</c:v>
                </c:pt>
                <c:pt idx="7331">
                  <c:v>-1.77597</c:v>
                </c:pt>
                <c:pt idx="7332">
                  <c:v>#N/A</c:v>
                </c:pt>
                <c:pt idx="7333">
                  <c:v>-2.3329900000000001</c:v>
                </c:pt>
                <c:pt idx="7334">
                  <c:v>-2.19509</c:v>
                </c:pt>
                <c:pt idx="7335">
                  <c:v>-2.2603900000000001</c:v>
                </c:pt>
                <c:pt idx="7336">
                  <c:v>#N/A</c:v>
                </c:pt>
                <c:pt idx="7337">
                  <c:v>-2.38273</c:v>
                </c:pt>
                <c:pt idx="7338">
                  <c:v>-2.2061700000000002</c:v>
                </c:pt>
                <c:pt idx="7339">
                  <c:v>-2.3661099999999999</c:v>
                </c:pt>
                <c:pt idx="7340">
                  <c:v>#N/A</c:v>
                </c:pt>
                <c:pt idx="7341">
                  <c:v>-2.35921</c:v>
                </c:pt>
                <c:pt idx="7342">
                  <c:v>-2.6698300000000001</c:v>
                </c:pt>
                <c:pt idx="7343">
                  <c:v>#N/A</c:v>
                </c:pt>
                <c:pt idx="7344">
                  <c:v>-3.1257199999999998</c:v>
                </c:pt>
                <c:pt idx="7345">
                  <c:v>-3.6295799999999998</c:v>
                </c:pt>
                <c:pt idx="7346">
                  <c:v>-2.9254500000000001</c:v>
                </c:pt>
                <c:pt idx="7347">
                  <c:v>#N/A</c:v>
                </c:pt>
                <c:pt idx="7348">
                  <c:v>-2.23536</c:v>
                </c:pt>
                <c:pt idx="7349">
                  <c:v>-2.2292800000000002</c:v>
                </c:pt>
                <c:pt idx="7350">
                  <c:v>-2.7920799999999999</c:v>
                </c:pt>
                <c:pt idx="7351">
                  <c:v>#N/A</c:v>
                </c:pt>
                <c:pt idx="7352">
                  <c:v>-2.5803699999999998</c:v>
                </c:pt>
                <c:pt idx="7353">
                  <c:v>-2.6745999999999999</c:v>
                </c:pt>
                <c:pt idx="7354">
                  <c:v>-3.0512199999999998</c:v>
                </c:pt>
                <c:pt idx="7355">
                  <c:v>#N/A</c:v>
                </c:pt>
                <c:pt idx="7356">
                  <c:v>-2.89194</c:v>
                </c:pt>
                <c:pt idx="7357">
                  <c:v>-2.2823600000000002</c:v>
                </c:pt>
                <c:pt idx="7358">
                  <c:v>#N/A</c:v>
                </c:pt>
                <c:pt idx="7359">
                  <c:v>-2.1354500000000001</c:v>
                </c:pt>
                <c:pt idx="7360">
                  <c:v>-2.1155599999999999</c:v>
                </c:pt>
                <c:pt idx="7361">
                  <c:v>#N/A</c:v>
                </c:pt>
                <c:pt idx="7362">
                  <c:v>-2.9679000000000002</c:v>
                </c:pt>
                <c:pt idx="7363">
                  <c:v>-3.66649</c:v>
                </c:pt>
                <c:pt idx="7364">
                  <c:v>-3.53416</c:v>
                </c:pt>
                <c:pt idx="7365">
                  <c:v>#N/A</c:v>
                </c:pt>
                <c:pt idx="7366">
                  <c:v>-4.0757000000000003</c:v>
                </c:pt>
                <c:pt idx="7367">
                  <c:v>-2.9198400000000002</c:v>
                </c:pt>
                <c:pt idx="7368">
                  <c:v>-2.62094</c:v>
                </c:pt>
                <c:pt idx="7369">
                  <c:v>#N/A</c:v>
                </c:pt>
                <c:pt idx="7370">
                  <c:v>-2.6714199999999999</c:v>
                </c:pt>
                <c:pt idx="7371">
                  <c:v>-2.9240599999999999</c:v>
                </c:pt>
                <c:pt idx="7372">
                  <c:v>-2.7367499999999998</c:v>
                </c:pt>
                <c:pt idx="7373">
                  <c:v>#N/A</c:v>
                </c:pt>
                <c:pt idx="7374">
                  <c:v>-3.27121</c:v>
                </c:pt>
                <c:pt idx="7375">
                  <c:v>-4.3120399999999997</c:v>
                </c:pt>
                <c:pt idx="7376">
                  <c:v>-3.9426899999999998</c:v>
                </c:pt>
                <c:pt idx="7377">
                  <c:v>#N/A</c:v>
                </c:pt>
                <c:pt idx="7378">
                  <c:v>-3.4203700000000001</c:v>
                </c:pt>
                <c:pt idx="7379">
                  <c:v>-2.7943099999999998</c:v>
                </c:pt>
                <c:pt idx="7380">
                  <c:v>-2.5939199999999998</c:v>
                </c:pt>
                <c:pt idx="7381">
                  <c:v>#N/A</c:v>
                </c:pt>
                <c:pt idx="7382">
                  <c:v>-2.3627799999999999</c:v>
                </c:pt>
                <c:pt idx="7383">
                  <c:v>-3.2747799999999998</c:v>
                </c:pt>
                <c:pt idx="7384">
                  <c:v>-3.6353800000000001</c:v>
                </c:pt>
                <c:pt idx="7385">
                  <c:v>#N/A</c:v>
                </c:pt>
                <c:pt idx="7386">
                  <c:v>-4.6739600000000001</c:v>
                </c:pt>
                <c:pt idx="7387">
                  <c:v>-4.6411300000000004</c:v>
                </c:pt>
                <c:pt idx="7388">
                  <c:v>#N/A</c:v>
                </c:pt>
                <c:pt idx="7389">
                  <c:v>-3.7537500000000001</c:v>
                </c:pt>
                <c:pt idx="7390">
                  <c:v>-2.8029299999999999</c:v>
                </c:pt>
                <c:pt idx="7391">
                  <c:v>-2.1514099999999998</c:v>
                </c:pt>
                <c:pt idx="7392">
                  <c:v>#N/A</c:v>
                </c:pt>
                <c:pt idx="7393">
                  <c:v>-2.46339</c:v>
                </c:pt>
                <c:pt idx="7394">
                  <c:v>-3.5407299999999999</c:v>
                </c:pt>
                <c:pt idx="7395">
                  <c:v>-3.5993300000000001</c:v>
                </c:pt>
                <c:pt idx="7396">
                  <c:v>#N/A</c:v>
                </c:pt>
                <c:pt idx="7397">
                  <c:v>-3.9324400000000002</c:v>
                </c:pt>
                <c:pt idx="7398">
                  <c:v>-3.84971</c:v>
                </c:pt>
                <c:pt idx="7399">
                  <c:v>-3.0388500000000001</c:v>
                </c:pt>
                <c:pt idx="7400">
                  <c:v>#N/A</c:v>
                </c:pt>
                <c:pt idx="7401">
                  <c:v>-3.05193</c:v>
                </c:pt>
                <c:pt idx="7402">
                  <c:v>-3.0686200000000001</c:v>
                </c:pt>
                <c:pt idx="7403">
                  <c:v>-3.04223</c:v>
                </c:pt>
                <c:pt idx="7404">
                  <c:v>#N/A</c:v>
                </c:pt>
                <c:pt idx="7405">
                  <c:v>-3.2748699999999999</c:v>
                </c:pt>
                <c:pt idx="7406">
                  <c:v>-4.5131699999999997</c:v>
                </c:pt>
                <c:pt idx="7407">
                  <c:v>-4.0869299999999997</c:v>
                </c:pt>
                <c:pt idx="7408">
                  <c:v>#N/A</c:v>
                </c:pt>
                <c:pt idx="7409">
                  <c:v>-3.59727</c:v>
                </c:pt>
                <c:pt idx="7410">
                  <c:v>-2.7501600000000002</c:v>
                </c:pt>
                <c:pt idx="7411">
                  <c:v>#N/A</c:v>
                </c:pt>
                <c:pt idx="7412">
                  <c:v>-3.2032500000000002</c:v>
                </c:pt>
                <c:pt idx="7413">
                  <c:v>-3.1772499999999999</c:v>
                </c:pt>
                <c:pt idx="7414">
                  <c:v>-3.0214599999999998</c:v>
                </c:pt>
                <c:pt idx="7415">
                  <c:v>#N/A</c:v>
                </c:pt>
                <c:pt idx="7416">
                  <c:v>-3.9898600000000002</c:v>
                </c:pt>
                <c:pt idx="7417">
                  <c:v>-3.9223699999999999</c:v>
                </c:pt>
                <c:pt idx="7418">
                  <c:v>-3.9346800000000002</c:v>
                </c:pt>
                <c:pt idx="7419">
                  <c:v>#N/A</c:v>
                </c:pt>
                <c:pt idx="7420">
                  <c:v>-2.97464</c:v>
                </c:pt>
                <c:pt idx="7421">
                  <c:v>-2.6589999999999998</c:v>
                </c:pt>
                <c:pt idx="7422">
                  <c:v>-2.7286199999999998</c:v>
                </c:pt>
                <c:pt idx="7423">
                  <c:v>#N/A</c:v>
                </c:pt>
                <c:pt idx="7424">
                  <c:v>-3.59226</c:v>
                </c:pt>
                <c:pt idx="7425">
                  <c:v>-3.6306600000000002</c:v>
                </c:pt>
                <c:pt idx="7426">
                  <c:v>-3.7140300000000002</c:v>
                </c:pt>
                <c:pt idx="7427">
                  <c:v>#N/A</c:v>
                </c:pt>
                <c:pt idx="7428">
                  <c:v>-3.67672</c:v>
                </c:pt>
                <c:pt idx="7429">
                  <c:v>-3.3250799999999998</c:v>
                </c:pt>
                <c:pt idx="7430">
                  <c:v>#N/A</c:v>
                </c:pt>
                <c:pt idx="7431">
                  <c:v>-2.5401500000000001</c:v>
                </c:pt>
                <c:pt idx="7432">
                  <c:v>-2.5635400000000002</c:v>
                </c:pt>
                <c:pt idx="7433">
                  <c:v>#N/A</c:v>
                </c:pt>
                <c:pt idx="7434">
                  <c:v>-3.2398699999999998</c:v>
                </c:pt>
                <c:pt idx="7435">
                  <c:v>-3.5437699999999999</c:v>
                </c:pt>
                <c:pt idx="7436">
                  <c:v>#N/A</c:v>
                </c:pt>
                <c:pt idx="7437">
                  <c:v>-3.3822199999999998</c:v>
                </c:pt>
                <c:pt idx="7438">
                  <c:v>-3.7410899999999998</c:v>
                </c:pt>
                <c:pt idx="7439">
                  <c:v>#N/A</c:v>
                </c:pt>
                <c:pt idx="7440">
                  <c:v>-3.57186</c:v>
                </c:pt>
                <c:pt idx="7441">
                  <c:v>-2.8546200000000002</c:v>
                </c:pt>
                <c:pt idx="7442">
                  <c:v>-2.2831199999999998</c:v>
                </c:pt>
                <c:pt idx="7443">
                  <c:v>#N/A</c:v>
                </c:pt>
                <c:pt idx="7444">
                  <c:v>-2.4177900000000001</c:v>
                </c:pt>
                <c:pt idx="7445">
                  <c:v>-2.7586499999999998</c:v>
                </c:pt>
                <c:pt idx="7446">
                  <c:v>-3.4525700000000001</c:v>
                </c:pt>
                <c:pt idx="7447">
                  <c:v>#N/A</c:v>
                </c:pt>
                <c:pt idx="7448">
                  <c:v>-3.81108</c:v>
                </c:pt>
                <c:pt idx="7449">
                  <c:v>-3.68832</c:v>
                </c:pt>
                <c:pt idx="7450">
                  <c:v>-3.1070899999999999</c:v>
                </c:pt>
                <c:pt idx="7451">
                  <c:v>#N/A</c:v>
                </c:pt>
                <c:pt idx="7452">
                  <c:v>-2.7628900000000001</c:v>
                </c:pt>
                <c:pt idx="7453">
                  <c:v>-2.6956500000000001</c:v>
                </c:pt>
                <c:pt idx="7454">
                  <c:v>-1.9650300000000001</c:v>
                </c:pt>
                <c:pt idx="7455">
                  <c:v>#N/A</c:v>
                </c:pt>
                <c:pt idx="7456">
                  <c:v>-2.1218400000000002</c:v>
                </c:pt>
                <c:pt idx="7457">
                  <c:v>-3.1538300000000001</c:v>
                </c:pt>
                <c:pt idx="7458">
                  <c:v>-3.4475600000000002</c:v>
                </c:pt>
                <c:pt idx="7459">
                  <c:v>#N/A</c:v>
                </c:pt>
                <c:pt idx="7460">
                  <c:v>-3.6199499999999998</c:v>
                </c:pt>
                <c:pt idx="7461">
                  <c:v>-3.1295600000000001</c:v>
                </c:pt>
                <c:pt idx="7462">
                  <c:v>-2.7687499999999998</c:v>
                </c:pt>
                <c:pt idx="7463">
                  <c:v>#N/A</c:v>
                </c:pt>
                <c:pt idx="7464">
                  <c:v>-2.4610799999999999</c:v>
                </c:pt>
                <c:pt idx="7465">
                  <c:v>-2.47655</c:v>
                </c:pt>
                <c:pt idx="7466">
                  <c:v>#N/A</c:v>
                </c:pt>
                <c:pt idx="7467">
                  <c:v>-3.85493</c:v>
                </c:pt>
                <c:pt idx="7468">
                  <c:v>-3.8506</c:v>
                </c:pt>
                <c:pt idx="7469">
                  <c:v>-3.8197100000000002</c:v>
                </c:pt>
                <c:pt idx="7470">
                  <c:v>#N/A</c:v>
                </c:pt>
                <c:pt idx="7471">
                  <c:v>-4.4216199999999999</c:v>
                </c:pt>
                <c:pt idx="7472">
                  <c:v>-3.4338500000000001</c:v>
                </c:pt>
                <c:pt idx="7473">
                  <c:v>-2.93852</c:v>
                </c:pt>
                <c:pt idx="7474">
                  <c:v>#N/A</c:v>
                </c:pt>
                <c:pt idx="7475">
                  <c:v>-2.2578900000000002</c:v>
                </c:pt>
                <c:pt idx="7476">
                  <c:v>-1.91428</c:v>
                </c:pt>
                <c:pt idx="7477">
                  <c:v>#N/A</c:v>
                </c:pt>
                <c:pt idx="7478">
                  <c:v>-2.8769399999999998</c:v>
                </c:pt>
                <c:pt idx="7479">
                  <c:v>-3.10989</c:v>
                </c:pt>
                <c:pt idx="7480">
                  <c:v>-3.2628200000000001</c:v>
                </c:pt>
                <c:pt idx="7481">
                  <c:v>#N/A</c:v>
                </c:pt>
                <c:pt idx="7482">
                  <c:v>-3.0655000000000001</c:v>
                </c:pt>
                <c:pt idx="7483">
                  <c:v>-2.97214</c:v>
                </c:pt>
                <c:pt idx="7484">
                  <c:v>-2.5930300000000002</c:v>
                </c:pt>
                <c:pt idx="7485">
                  <c:v>#N/A</c:v>
                </c:pt>
                <c:pt idx="7486">
                  <c:v>-2.79705</c:v>
                </c:pt>
                <c:pt idx="7487">
                  <c:v>-2.8366199999999999</c:v>
                </c:pt>
                <c:pt idx="7488">
                  <c:v>#N/A</c:v>
                </c:pt>
                <c:pt idx="7489">
                  <c:v>-3.1988400000000001</c:v>
                </c:pt>
                <c:pt idx="7490">
                  <c:v>-3.6238800000000002</c:v>
                </c:pt>
                <c:pt idx="7491">
                  <c:v>-3.42232</c:v>
                </c:pt>
                <c:pt idx="7492">
                  <c:v>#N/A</c:v>
                </c:pt>
                <c:pt idx="7493">
                  <c:v>-2.9924200000000001</c:v>
                </c:pt>
                <c:pt idx="7494">
                  <c:v>-3.0245899999999999</c:v>
                </c:pt>
                <c:pt idx="7495">
                  <c:v>-2.6890900000000002</c:v>
                </c:pt>
                <c:pt idx="7496">
                  <c:v>#N/A</c:v>
                </c:pt>
                <c:pt idx="7497">
                  <c:v>-2.78972</c:v>
                </c:pt>
                <c:pt idx="7498">
                  <c:v>-3.0583200000000001</c:v>
                </c:pt>
                <c:pt idx="7499">
                  <c:v>-3.7294200000000002</c:v>
                </c:pt>
                <c:pt idx="7500">
                  <c:v>#N/A</c:v>
                </c:pt>
                <c:pt idx="7501">
                  <c:v>-3.9199299999999999</c:v>
                </c:pt>
                <c:pt idx="7502">
                  <c:v>-3.7439</c:v>
                </c:pt>
                <c:pt idx="7503">
                  <c:v>-2.85303</c:v>
                </c:pt>
                <c:pt idx="7504">
                  <c:v>#N/A</c:v>
                </c:pt>
                <c:pt idx="7505">
                  <c:v>-2.6103399999999999</c:v>
                </c:pt>
                <c:pt idx="7506">
                  <c:v>-2.5840999999999998</c:v>
                </c:pt>
                <c:pt idx="7507">
                  <c:v>#N/A</c:v>
                </c:pt>
                <c:pt idx="7508">
                  <c:v>-3.3440799999999999</c:v>
                </c:pt>
                <c:pt idx="7509">
                  <c:v>#N/A</c:v>
                </c:pt>
                <c:pt idx="7510">
                  <c:v>-3.22628</c:v>
                </c:pt>
                <c:pt idx="7511">
                  <c:v>-3.5156499999999999</c:v>
                </c:pt>
                <c:pt idx="7512">
                  <c:v>-3.1347499999999999</c:v>
                </c:pt>
                <c:pt idx="7513">
                  <c:v>#N/A</c:v>
                </c:pt>
                <c:pt idx="7514">
                  <c:v>-3.0164800000000001</c:v>
                </c:pt>
                <c:pt idx="7515">
                  <c:v>-1.9395500000000001</c:v>
                </c:pt>
                <c:pt idx="7516">
                  <c:v>-2.5109300000000001</c:v>
                </c:pt>
                <c:pt idx="7517">
                  <c:v>#N/A</c:v>
                </c:pt>
                <c:pt idx="7518">
                  <c:v>-2.6137000000000001</c:v>
                </c:pt>
                <c:pt idx="7519">
                  <c:v>-3.0107699999999999</c:v>
                </c:pt>
                <c:pt idx="7520">
                  <c:v>#N/A</c:v>
                </c:pt>
                <c:pt idx="7521">
                  <c:v>-3.3292000000000002</c:v>
                </c:pt>
                <c:pt idx="7522">
                  <c:v>-3.5813600000000001</c:v>
                </c:pt>
                <c:pt idx="7523">
                  <c:v>-3.3807999999999998</c:v>
                </c:pt>
                <c:pt idx="7524">
                  <c:v>#N/A</c:v>
                </c:pt>
                <c:pt idx="7525">
                  <c:v>-3.4043199999999998</c:v>
                </c:pt>
                <c:pt idx="7526">
                  <c:v>-2.6137000000000001</c:v>
                </c:pt>
                <c:pt idx="7527">
                  <c:v>-2.6223100000000001</c:v>
                </c:pt>
                <c:pt idx="7528">
                  <c:v>#N/A</c:v>
                </c:pt>
                <c:pt idx="7529">
                  <c:v>-2.91614</c:v>
                </c:pt>
                <c:pt idx="7530">
                  <c:v>-3.2747000000000002</c:v>
                </c:pt>
                <c:pt idx="7531">
                  <c:v>-3.9662799999999998</c:v>
                </c:pt>
                <c:pt idx="7532">
                  <c:v>#N/A</c:v>
                </c:pt>
                <c:pt idx="7533">
                  <c:v>-3.89052</c:v>
                </c:pt>
                <c:pt idx="7534">
                  <c:v>-2.9414600000000002</c:v>
                </c:pt>
                <c:pt idx="7535">
                  <c:v>-2.8086199999999999</c:v>
                </c:pt>
                <c:pt idx="7536">
                  <c:v>#N/A</c:v>
                </c:pt>
                <c:pt idx="7537">
                  <c:v>-2.52982</c:v>
                </c:pt>
                <c:pt idx="7538">
                  <c:v>-2.0306299999999999</c:v>
                </c:pt>
                <c:pt idx="7539">
                  <c:v>-1.8707</c:v>
                </c:pt>
                <c:pt idx="7540">
                  <c:v>#N/A</c:v>
                </c:pt>
                <c:pt idx="7541">
                  <c:v>-2.3472599999999999</c:v>
                </c:pt>
                <c:pt idx="7542">
                  <c:v>-3.0933899999999999</c:v>
                </c:pt>
                <c:pt idx="7543">
                  <c:v>-3.2405900000000001</c:v>
                </c:pt>
                <c:pt idx="7544">
                  <c:v>#N/A</c:v>
                </c:pt>
                <c:pt idx="7545">
                  <c:v>-2.8073999999999999</c:v>
                </c:pt>
                <c:pt idx="7546">
                  <c:v>-2.8915500000000001</c:v>
                </c:pt>
                <c:pt idx="7547">
                  <c:v>-2.41221</c:v>
                </c:pt>
                <c:pt idx="7548">
                  <c:v>#N/A</c:v>
                </c:pt>
                <c:pt idx="7549">
                  <c:v>-2.3540899999999998</c:v>
                </c:pt>
                <c:pt idx="7550">
                  <c:v>-2.14194</c:v>
                </c:pt>
                <c:pt idx="7551">
                  <c:v>-2.8466300000000002</c:v>
                </c:pt>
                <c:pt idx="7552">
                  <c:v>#N/A</c:v>
                </c:pt>
                <c:pt idx="7553">
                  <c:v>-3.0898599999999998</c:v>
                </c:pt>
                <c:pt idx="7554">
                  <c:v>-3.1862900000000001</c:v>
                </c:pt>
                <c:pt idx="7555">
                  <c:v>-3.0378599999999998</c:v>
                </c:pt>
                <c:pt idx="7556">
                  <c:v>#N/A</c:v>
                </c:pt>
                <c:pt idx="7557">
                  <c:v>-2.66235</c:v>
                </c:pt>
                <c:pt idx="7558">
                  <c:v>-2.7141500000000001</c:v>
                </c:pt>
                <c:pt idx="7559">
                  <c:v>-2.87616</c:v>
                </c:pt>
                <c:pt idx="7560">
                  <c:v>#N/A</c:v>
                </c:pt>
                <c:pt idx="7561">
                  <c:v>-2.6663700000000001</c:v>
                </c:pt>
                <c:pt idx="7562">
                  <c:v>-3.0348999999999999</c:v>
                </c:pt>
                <c:pt idx="7563">
                  <c:v>#N/A</c:v>
                </c:pt>
                <c:pt idx="7564">
                  <c:v>-2.8446400000000001</c:v>
                </c:pt>
                <c:pt idx="7565">
                  <c:v>-3.3203299999999998</c:v>
                </c:pt>
                <c:pt idx="7566">
                  <c:v>-2.7978399999999999</c:v>
                </c:pt>
                <c:pt idx="7567">
                  <c:v>#N/A</c:v>
                </c:pt>
                <c:pt idx="7568">
                  <c:v>-2.3011699999999999</c:v>
                </c:pt>
                <c:pt idx="7569">
                  <c:v>-2.1074099999999998</c:v>
                </c:pt>
                <c:pt idx="7570">
                  <c:v>-2.8198300000000001</c:v>
                </c:pt>
                <c:pt idx="7571">
                  <c:v>#N/A</c:v>
                </c:pt>
                <c:pt idx="7572">
                  <c:v>-2.9478</c:v>
                </c:pt>
                <c:pt idx="7573">
                  <c:v>-3.71245</c:v>
                </c:pt>
                <c:pt idx="7574">
                  <c:v>-3.3753199999999999</c:v>
                </c:pt>
                <c:pt idx="7575">
                  <c:v>#N/A</c:v>
                </c:pt>
                <c:pt idx="7576">
                  <c:v>-2.8525100000000001</c:v>
                </c:pt>
                <c:pt idx="7577">
                  <c:v>-2.8821599999999998</c:v>
                </c:pt>
                <c:pt idx="7578">
                  <c:v>-2.1388199999999999</c:v>
                </c:pt>
                <c:pt idx="7579">
                  <c:v>#N/A</c:v>
                </c:pt>
                <c:pt idx="7580">
                  <c:v>-2.7039800000000001</c:v>
                </c:pt>
                <c:pt idx="7581">
                  <c:v>-3.1633599999999999</c:v>
                </c:pt>
                <c:pt idx="7582">
                  <c:v>#N/A</c:v>
                </c:pt>
                <c:pt idx="7583">
                  <c:v>-3.7406199999999998</c:v>
                </c:pt>
                <c:pt idx="7584">
                  <c:v>-3.9843000000000002</c:v>
                </c:pt>
                <c:pt idx="7585">
                  <c:v>#N/A</c:v>
                </c:pt>
                <c:pt idx="7586">
                  <c:v>-3.7215099999999999</c:v>
                </c:pt>
                <c:pt idx="7587">
                  <c:v>-3.2600899999999999</c:v>
                </c:pt>
                <c:pt idx="7588">
                  <c:v>-2.7624499999999999</c:v>
                </c:pt>
                <c:pt idx="7589">
                  <c:v>#N/A</c:v>
                </c:pt>
                <c:pt idx="7590">
                  <c:v>-2.7338</c:v>
                </c:pt>
                <c:pt idx="7591">
                  <c:v>-2.8003399999999998</c:v>
                </c:pt>
                <c:pt idx="7592">
                  <c:v>-3.3455400000000002</c:v>
                </c:pt>
                <c:pt idx="7593">
                  <c:v>#N/A</c:v>
                </c:pt>
                <c:pt idx="7594">
                  <c:v>-3.8044199999999999</c:v>
                </c:pt>
                <c:pt idx="7595">
                  <c:v>-4.6728699999999996</c:v>
                </c:pt>
                <c:pt idx="7596">
                  <c:v>-3.64629</c:v>
                </c:pt>
                <c:pt idx="7597">
                  <c:v>#N/A</c:v>
                </c:pt>
                <c:pt idx="7598">
                  <c:v>-3.1128399999999998</c:v>
                </c:pt>
                <c:pt idx="7599">
                  <c:v>-1.9967600000000001</c:v>
                </c:pt>
                <c:pt idx="7600">
                  <c:v>#N/A</c:v>
                </c:pt>
                <c:pt idx="7601">
                  <c:v>-2.1399300000000001</c:v>
                </c:pt>
                <c:pt idx="7602">
                  <c:v>-2.3287599999999999</c:v>
                </c:pt>
                <c:pt idx="7603">
                  <c:v>#N/A</c:v>
                </c:pt>
                <c:pt idx="7604">
                  <c:v>-3.4571800000000001</c:v>
                </c:pt>
                <c:pt idx="7605">
                  <c:v>-3.6685400000000001</c:v>
                </c:pt>
                <c:pt idx="7606">
                  <c:v>-3.5281500000000001</c:v>
                </c:pt>
                <c:pt idx="7607">
                  <c:v>#N/A</c:v>
                </c:pt>
                <c:pt idx="7608">
                  <c:v>-3.0861000000000001</c:v>
                </c:pt>
                <c:pt idx="7609">
                  <c:v>-3.1668799999999999</c:v>
                </c:pt>
                <c:pt idx="7610">
                  <c:v>-2.7850299999999999</c:v>
                </c:pt>
                <c:pt idx="7611">
                  <c:v>#N/A</c:v>
                </c:pt>
                <c:pt idx="7612">
                  <c:v>-2.6996600000000002</c:v>
                </c:pt>
                <c:pt idx="7613">
                  <c:v>-2.5541</c:v>
                </c:pt>
                <c:pt idx="7614">
                  <c:v>-3.0792099999999998</c:v>
                </c:pt>
                <c:pt idx="7615">
                  <c:v>#N/A</c:v>
                </c:pt>
                <c:pt idx="7616">
                  <c:v>-3.78633</c:v>
                </c:pt>
                <c:pt idx="7617">
                  <c:v>-3.93431</c:v>
                </c:pt>
                <c:pt idx="7618">
                  <c:v>#N/A</c:v>
                </c:pt>
                <c:pt idx="7619">
                  <c:v>-3.6071800000000001</c:v>
                </c:pt>
                <c:pt idx="7620">
                  <c:v>-2.6052900000000001</c:v>
                </c:pt>
                <c:pt idx="7621">
                  <c:v>-2.55139</c:v>
                </c:pt>
                <c:pt idx="7622">
                  <c:v>#N/A</c:v>
                </c:pt>
                <c:pt idx="7623">
                  <c:v>-2.68866</c:v>
                </c:pt>
                <c:pt idx="7624">
                  <c:v>-2.7959700000000001</c:v>
                </c:pt>
                <c:pt idx="7625">
                  <c:v>-3.2685900000000001</c:v>
                </c:pt>
                <c:pt idx="7626">
                  <c:v>#N/A</c:v>
                </c:pt>
                <c:pt idx="7627">
                  <c:v>-2.7267700000000001</c:v>
                </c:pt>
                <c:pt idx="7628">
                  <c:v>-3.27738</c:v>
                </c:pt>
                <c:pt idx="7629">
                  <c:v>-2.7701500000000001</c:v>
                </c:pt>
                <c:pt idx="7630">
                  <c:v>#N/A</c:v>
                </c:pt>
                <c:pt idx="7631">
                  <c:v>-3.1070000000000002</c:v>
                </c:pt>
                <c:pt idx="7632">
                  <c:v>-2.6758600000000001</c:v>
                </c:pt>
                <c:pt idx="7633">
                  <c:v>#N/A</c:v>
                </c:pt>
                <c:pt idx="7634">
                  <c:v>-2.8961199999999998</c:v>
                </c:pt>
                <c:pt idx="7635">
                  <c:v>-3.36714</c:v>
                </c:pt>
                <c:pt idx="7636">
                  <c:v>-2.9851999999999999</c:v>
                </c:pt>
                <c:pt idx="7637">
                  <c:v>#N/A</c:v>
                </c:pt>
                <c:pt idx="7638">
                  <c:v>-3.2096200000000001</c:v>
                </c:pt>
                <c:pt idx="7639">
                  <c:v>-2.8438099999999999</c:v>
                </c:pt>
                <c:pt idx="7640">
                  <c:v>-2.6426799999999999</c:v>
                </c:pt>
                <c:pt idx="7641">
                  <c:v>#N/A</c:v>
                </c:pt>
                <c:pt idx="7642">
                  <c:v>-2.9523299999999999</c:v>
                </c:pt>
                <c:pt idx="7643">
                  <c:v>-3.0593400000000002</c:v>
                </c:pt>
                <c:pt idx="7644">
                  <c:v>-2.6612100000000001</c:v>
                </c:pt>
                <c:pt idx="7645">
                  <c:v>#N/A</c:v>
                </c:pt>
                <c:pt idx="7646">
                  <c:v>-3.1963900000000001</c:v>
                </c:pt>
                <c:pt idx="7647">
                  <c:v>-3.4266299999999998</c:v>
                </c:pt>
                <c:pt idx="7648">
                  <c:v>-3.19834</c:v>
                </c:pt>
                <c:pt idx="7649">
                  <c:v>#N/A</c:v>
                </c:pt>
                <c:pt idx="7650">
                  <c:v>-2.9950000000000001</c:v>
                </c:pt>
                <c:pt idx="7651">
                  <c:v>-1.97818</c:v>
                </c:pt>
                <c:pt idx="7652">
                  <c:v>-2.0600999999999998</c:v>
                </c:pt>
                <c:pt idx="7653">
                  <c:v>#N/A</c:v>
                </c:pt>
                <c:pt idx="7654">
                  <c:v>-2.87202</c:v>
                </c:pt>
                <c:pt idx="7655">
                  <c:v>-3.1128499999999999</c:v>
                </c:pt>
                <c:pt idx="7656">
                  <c:v>-3.6343200000000002</c:v>
                </c:pt>
                <c:pt idx="7657">
                  <c:v>#N/A</c:v>
                </c:pt>
                <c:pt idx="7658">
                  <c:v>-3.4199000000000002</c:v>
                </c:pt>
                <c:pt idx="7659">
                  <c:v>#N/A</c:v>
                </c:pt>
                <c:pt idx="7660">
                  <c:v>-3.2626900000000001</c:v>
                </c:pt>
                <c:pt idx="7661">
                  <c:v>-3.2067399999999999</c:v>
                </c:pt>
                <c:pt idx="7662">
                  <c:v>#N/A</c:v>
                </c:pt>
                <c:pt idx="7663">
                  <c:v>-2.3637800000000002</c:v>
                </c:pt>
                <c:pt idx="7664">
                  <c:v>-3.1539100000000002</c:v>
                </c:pt>
                <c:pt idx="7665">
                  <c:v>#N/A</c:v>
                </c:pt>
                <c:pt idx="7666">
                  <c:v>-3.4081600000000001</c:v>
                </c:pt>
                <c:pt idx="7667">
                  <c:v>-3.15848</c:v>
                </c:pt>
                <c:pt idx="7668">
                  <c:v>-3.3876499999999998</c:v>
                </c:pt>
                <c:pt idx="7669">
                  <c:v>#N/A</c:v>
                </c:pt>
                <c:pt idx="7670">
                  <c:v>-2.9325299999999999</c:v>
                </c:pt>
                <c:pt idx="7671">
                  <c:v>-2.1505299999999998</c:v>
                </c:pt>
                <c:pt idx="7672">
                  <c:v>-1.6137699999999999</c:v>
                </c:pt>
                <c:pt idx="7673">
                  <c:v>#N/A</c:v>
                </c:pt>
                <c:pt idx="7674">
                  <c:v>-1.8976299999999999</c:v>
                </c:pt>
                <c:pt idx="7675">
                  <c:v>-2.1809099999999999</c:v>
                </c:pt>
                <c:pt idx="7676">
                  <c:v>-2.8382999999999998</c:v>
                </c:pt>
                <c:pt idx="7677">
                  <c:v>#N/A</c:v>
                </c:pt>
                <c:pt idx="7678">
                  <c:v>-3.5834000000000001</c:v>
                </c:pt>
                <c:pt idx="7679">
                  <c:v>-3.0527099999999998</c:v>
                </c:pt>
                <c:pt idx="7680">
                  <c:v>-2.9257200000000001</c:v>
                </c:pt>
                <c:pt idx="7681">
                  <c:v>#N/A</c:v>
                </c:pt>
                <c:pt idx="7682">
                  <c:v>-2.1514899999999999</c:v>
                </c:pt>
                <c:pt idx="7683">
                  <c:v>-1.8111699999999999</c:v>
                </c:pt>
                <c:pt idx="7684">
                  <c:v>-1.51373</c:v>
                </c:pt>
                <c:pt idx="7685">
                  <c:v>#N/A</c:v>
                </c:pt>
                <c:pt idx="7686">
                  <c:v>-2.04643</c:v>
                </c:pt>
                <c:pt idx="7687">
                  <c:v>-2.6348600000000002</c:v>
                </c:pt>
                <c:pt idx="7688">
                  <c:v>-3.1451899999999999</c:v>
                </c:pt>
                <c:pt idx="7689">
                  <c:v>#N/A</c:v>
                </c:pt>
                <c:pt idx="7690">
                  <c:v>-3.4245800000000002</c:v>
                </c:pt>
                <c:pt idx="7691">
                  <c:v>-2.4912200000000002</c:v>
                </c:pt>
                <c:pt idx="7692">
                  <c:v>#N/A</c:v>
                </c:pt>
                <c:pt idx="7693">
                  <c:v>-2.6011000000000002</c:v>
                </c:pt>
                <c:pt idx="7694">
                  <c:v>-2.07402</c:v>
                </c:pt>
                <c:pt idx="7695">
                  <c:v>-2.44651</c:v>
                </c:pt>
                <c:pt idx="7696">
                  <c:v>#N/A</c:v>
                </c:pt>
                <c:pt idx="7697">
                  <c:v>-2.2400600000000002</c:v>
                </c:pt>
                <c:pt idx="7698">
                  <c:v>-3.0974300000000001</c:v>
                </c:pt>
                <c:pt idx="7699">
                  <c:v>-2.8668999999999998</c:v>
                </c:pt>
                <c:pt idx="7700">
                  <c:v>#N/A</c:v>
                </c:pt>
                <c:pt idx="7701">
                  <c:v>-3.2567499999999998</c:v>
                </c:pt>
                <c:pt idx="7702">
                  <c:v>-3.0999099999999999</c:v>
                </c:pt>
                <c:pt idx="7703">
                  <c:v>-2.5763400000000001</c:v>
                </c:pt>
                <c:pt idx="7704">
                  <c:v>#N/A</c:v>
                </c:pt>
                <c:pt idx="7705">
                  <c:v>-1.98417</c:v>
                </c:pt>
                <c:pt idx="7706">
                  <c:v>-2.2286700000000002</c:v>
                </c:pt>
                <c:pt idx="7707">
                  <c:v>-2.92679</c:v>
                </c:pt>
                <c:pt idx="7708">
                  <c:v>#N/A</c:v>
                </c:pt>
                <c:pt idx="7709">
                  <c:v>-3.0106199999999999</c:v>
                </c:pt>
                <c:pt idx="7710">
                  <c:v>-2.9046799999999999</c:v>
                </c:pt>
                <c:pt idx="7711">
                  <c:v>-2.9310100000000001</c:v>
                </c:pt>
                <c:pt idx="7712">
                  <c:v>#N/A</c:v>
                </c:pt>
                <c:pt idx="7713">
                  <c:v>-3.1278000000000001</c:v>
                </c:pt>
                <c:pt idx="7714">
                  <c:v>-3.0663100000000001</c:v>
                </c:pt>
                <c:pt idx="7715">
                  <c:v>#N/A</c:v>
                </c:pt>
                <c:pt idx="7716">
                  <c:v>-2.7259799999999998</c:v>
                </c:pt>
                <c:pt idx="7717">
                  <c:v>-2.8294700000000002</c:v>
                </c:pt>
                <c:pt idx="7718">
                  <c:v>-2.70438</c:v>
                </c:pt>
                <c:pt idx="7719">
                  <c:v>#N/A</c:v>
                </c:pt>
                <c:pt idx="7720">
                  <c:v>-3.1799499999999998</c:v>
                </c:pt>
                <c:pt idx="7721">
                  <c:v>-3.3618199999999998</c:v>
                </c:pt>
                <c:pt idx="7722">
                  <c:v>-3.3108300000000002</c:v>
                </c:pt>
                <c:pt idx="7723">
                  <c:v>#N/A</c:v>
                </c:pt>
                <c:pt idx="7724">
                  <c:v>-2.94387</c:v>
                </c:pt>
                <c:pt idx="7725">
                  <c:v>-2.61809</c:v>
                </c:pt>
                <c:pt idx="7726">
                  <c:v>-3.0437799999999999</c:v>
                </c:pt>
                <c:pt idx="7727">
                  <c:v>#N/A</c:v>
                </c:pt>
                <c:pt idx="7728">
                  <c:v>-2.3622100000000001</c:v>
                </c:pt>
                <c:pt idx="7729">
                  <c:v>-2.8212600000000001</c:v>
                </c:pt>
                <c:pt idx="7730">
                  <c:v>#N/A</c:v>
                </c:pt>
                <c:pt idx="7731">
                  <c:v>-2.8914</c:v>
                </c:pt>
                <c:pt idx="7732">
                  <c:v>-2.6775000000000002</c:v>
                </c:pt>
                <c:pt idx="7733">
                  <c:v>#N/A</c:v>
                </c:pt>
                <c:pt idx="7734">
                  <c:v>-2.71468</c:v>
                </c:pt>
                <c:pt idx="7735">
                  <c:v>-2.4146700000000001</c:v>
                </c:pt>
                <c:pt idx="7736">
                  <c:v>#N/A</c:v>
                </c:pt>
                <c:pt idx="7737">
                  <c:v>-2.33053</c:v>
                </c:pt>
                <c:pt idx="7738">
                  <c:v>-2.3086700000000002</c:v>
                </c:pt>
                <c:pt idx="7739">
                  <c:v>-3.1436099999999998</c:v>
                </c:pt>
                <c:pt idx="7740">
                  <c:v>#N/A</c:v>
                </c:pt>
                <c:pt idx="7741">
                  <c:v>-3.4541900000000001</c:v>
                </c:pt>
                <c:pt idx="7742">
                  <c:v>-3.1715100000000001</c:v>
                </c:pt>
                <c:pt idx="7743">
                  <c:v>-2.7920099999999999</c:v>
                </c:pt>
                <c:pt idx="7744">
                  <c:v>#N/A</c:v>
                </c:pt>
                <c:pt idx="7745">
                  <c:v>-2.0437400000000001</c:v>
                </c:pt>
                <c:pt idx="7746">
                  <c:v>-2.1120899999999998</c:v>
                </c:pt>
                <c:pt idx="7747">
                  <c:v>#N/A</c:v>
                </c:pt>
                <c:pt idx="7748">
                  <c:v>-2.4051200000000001</c:v>
                </c:pt>
                <c:pt idx="7749">
                  <c:v>-2.5239600000000002</c:v>
                </c:pt>
                <c:pt idx="7750">
                  <c:v>-3.5800700000000001</c:v>
                </c:pt>
                <c:pt idx="7751">
                  <c:v>#N/A</c:v>
                </c:pt>
                <c:pt idx="7752">
                  <c:v>-3.7193100000000001</c:v>
                </c:pt>
                <c:pt idx="7753">
                  <c:v>-4.0627199999999997</c:v>
                </c:pt>
                <c:pt idx="7754">
                  <c:v>-3.2105600000000001</c:v>
                </c:pt>
                <c:pt idx="7755">
                  <c:v>#N/A</c:v>
                </c:pt>
                <c:pt idx="7756">
                  <c:v>-2.4636800000000001</c:v>
                </c:pt>
                <c:pt idx="7757">
                  <c:v>-2.0067200000000001</c:v>
                </c:pt>
                <c:pt idx="7758">
                  <c:v>-2.5239199999999999</c:v>
                </c:pt>
                <c:pt idx="7759">
                  <c:v>#N/A</c:v>
                </c:pt>
                <c:pt idx="7760">
                  <c:v>-2.9272100000000001</c:v>
                </c:pt>
                <c:pt idx="7761">
                  <c:v>-3.19652</c:v>
                </c:pt>
                <c:pt idx="7762">
                  <c:v>-3.4198400000000002</c:v>
                </c:pt>
                <c:pt idx="7763">
                  <c:v>#N/A</c:v>
                </c:pt>
                <c:pt idx="7764">
                  <c:v>-3.7275800000000001</c:v>
                </c:pt>
                <c:pt idx="7765">
                  <c:v>-3.21366</c:v>
                </c:pt>
                <c:pt idx="7766">
                  <c:v>-2.3749099999999999</c:v>
                </c:pt>
                <c:pt idx="7767">
                  <c:v>#N/A</c:v>
                </c:pt>
                <c:pt idx="7768">
                  <c:v>-1.9443299999999999</c:v>
                </c:pt>
                <c:pt idx="7769">
                  <c:v>-2.2114600000000002</c:v>
                </c:pt>
                <c:pt idx="7770">
                  <c:v>-2.2757800000000001</c:v>
                </c:pt>
                <c:pt idx="7771">
                  <c:v>#N/A</c:v>
                </c:pt>
                <c:pt idx="7772">
                  <c:v>-2.9224899999999998</c:v>
                </c:pt>
                <c:pt idx="7773">
                  <c:v>-3.0929799999999998</c:v>
                </c:pt>
                <c:pt idx="7774">
                  <c:v>-3.3684400000000001</c:v>
                </c:pt>
                <c:pt idx="7775">
                  <c:v>#N/A</c:v>
                </c:pt>
                <c:pt idx="7776">
                  <c:v>-3.7455400000000001</c:v>
                </c:pt>
                <c:pt idx="7777">
                  <c:v>-2.7226599999999999</c:v>
                </c:pt>
                <c:pt idx="7778">
                  <c:v>#N/A</c:v>
                </c:pt>
                <c:pt idx="7779">
                  <c:v>-2.5926200000000001</c:v>
                </c:pt>
                <c:pt idx="7780">
                  <c:v>-2.2793000000000001</c:v>
                </c:pt>
                <c:pt idx="7781">
                  <c:v>-2.9192</c:v>
                </c:pt>
                <c:pt idx="7782">
                  <c:v>#N/A</c:v>
                </c:pt>
                <c:pt idx="7783">
                  <c:v>-2.7850700000000002</c:v>
                </c:pt>
                <c:pt idx="7784">
                  <c:v>-2.9526500000000002</c:v>
                </c:pt>
                <c:pt idx="7785">
                  <c:v>#N/A</c:v>
                </c:pt>
                <c:pt idx="7786">
                  <c:v>-2.3115100000000002</c:v>
                </c:pt>
                <c:pt idx="7787">
                  <c:v>-2.4415200000000001</c:v>
                </c:pt>
                <c:pt idx="7788">
                  <c:v>-2.5191499999999998</c:v>
                </c:pt>
                <c:pt idx="7789">
                  <c:v>#N/A</c:v>
                </c:pt>
                <c:pt idx="7790">
                  <c:v>-2.8461400000000001</c:v>
                </c:pt>
                <c:pt idx="7791">
                  <c:v>-2.7830599999999999</c:v>
                </c:pt>
                <c:pt idx="7792">
                  <c:v>-2.6871299999999998</c:v>
                </c:pt>
                <c:pt idx="7793">
                  <c:v>#N/A</c:v>
                </c:pt>
                <c:pt idx="7794">
                  <c:v>-2.3447499999999999</c:v>
                </c:pt>
                <c:pt idx="7795">
                  <c:v>-2.3787799999999999</c:v>
                </c:pt>
                <c:pt idx="7796">
                  <c:v>-2.4037700000000002</c:v>
                </c:pt>
                <c:pt idx="7797">
                  <c:v>#N/A</c:v>
                </c:pt>
                <c:pt idx="7798">
                  <c:v>-1.6508400000000001</c:v>
                </c:pt>
                <c:pt idx="7799">
                  <c:v>-2.2590300000000001</c:v>
                </c:pt>
                <c:pt idx="7800">
                  <c:v>-2.6299899999999998</c:v>
                </c:pt>
                <c:pt idx="7801">
                  <c:v>#N/A</c:v>
                </c:pt>
                <c:pt idx="7802">
                  <c:v>-2.7092299999999998</c:v>
                </c:pt>
                <c:pt idx="7803">
                  <c:v>-3.0711200000000001</c:v>
                </c:pt>
                <c:pt idx="7804">
                  <c:v>-2.6458900000000001</c:v>
                </c:pt>
                <c:pt idx="7805">
                  <c:v>#N/A</c:v>
                </c:pt>
                <c:pt idx="7806">
                  <c:v>-2.1583100000000002</c:v>
                </c:pt>
                <c:pt idx="7807">
                  <c:v>-2.2551299999999999</c:v>
                </c:pt>
                <c:pt idx="7808">
                  <c:v>#N/A</c:v>
                </c:pt>
                <c:pt idx="7809">
                  <c:v>-1.4863999999999999</c:v>
                </c:pt>
                <c:pt idx="7810">
                  <c:v>#N/A</c:v>
                </c:pt>
                <c:pt idx="7811">
                  <c:v>-2.1001599999999998</c:v>
                </c:pt>
                <c:pt idx="7812">
                  <c:v>-2.7155100000000001</c:v>
                </c:pt>
                <c:pt idx="7813">
                  <c:v>-3.1487799999999999</c:v>
                </c:pt>
                <c:pt idx="7814">
                  <c:v>#N/A</c:v>
                </c:pt>
                <c:pt idx="7815">
                  <c:v>-3.0773700000000002</c:v>
                </c:pt>
                <c:pt idx="7816">
                  <c:v>-2.8778899999999998</c:v>
                </c:pt>
                <c:pt idx="7817">
                  <c:v>-2.6862300000000001</c:v>
                </c:pt>
                <c:pt idx="7818">
                  <c:v>#N/A</c:v>
                </c:pt>
                <c:pt idx="7819">
                  <c:v>-1.40117</c:v>
                </c:pt>
                <c:pt idx="7820">
                  <c:v>-2.07063</c:v>
                </c:pt>
                <c:pt idx="7821">
                  <c:v>-1.62096</c:v>
                </c:pt>
                <c:pt idx="7822">
                  <c:v>#N/A</c:v>
                </c:pt>
                <c:pt idx="7823">
                  <c:v>-2.07585</c:v>
                </c:pt>
                <c:pt idx="7824">
                  <c:v>-2.9756100000000001</c:v>
                </c:pt>
                <c:pt idx="7825">
                  <c:v>-3.5298699999999998</c:v>
                </c:pt>
                <c:pt idx="7826">
                  <c:v>#N/A</c:v>
                </c:pt>
                <c:pt idx="7827">
                  <c:v>-2.6607099999999999</c:v>
                </c:pt>
                <c:pt idx="7828">
                  <c:v>-2.8910100000000001</c:v>
                </c:pt>
                <c:pt idx="7829">
                  <c:v>-1.99461</c:v>
                </c:pt>
                <c:pt idx="7830">
                  <c:v>#N/A</c:v>
                </c:pt>
                <c:pt idx="7831">
                  <c:v>-1.1669799999999999</c:v>
                </c:pt>
                <c:pt idx="7832">
                  <c:v>-1.50688</c:v>
                </c:pt>
                <c:pt idx="7833">
                  <c:v>-1.9100200000000001</c:v>
                </c:pt>
                <c:pt idx="7834">
                  <c:v>#N/A</c:v>
                </c:pt>
                <c:pt idx="7835">
                  <c:v>-2.3975499999999998</c:v>
                </c:pt>
                <c:pt idx="7836">
                  <c:v>-3.0149599999999999</c:v>
                </c:pt>
                <c:pt idx="7837">
                  <c:v>#N/A</c:v>
                </c:pt>
                <c:pt idx="7838">
                  <c:v>-2.9727000000000001</c:v>
                </c:pt>
                <c:pt idx="7839">
                  <c:v>-2.4564699999999999</c:v>
                </c:pt>
                <c:pt idx="7840">
                  <c:v>-2.46739</c:v>
                </c:pt>
                <c:pt idx="7841">
                  <c:v>#N/A</c:v>
                </c:pt>
                <c:pt idx="7842">
                  <c:v>-2.25082</c:v>
                </c:pt>
                <c:pt idx="7843">
                  <c:v>-1.94059</c:v>
                </c:pt>
                <c:pt idx="7844">
                  <c:v>-2.1265399999999999</c:v>
                </c:pt>
                <c:pt idx="7845">
                  <c:v>#N/A</c:v>
                </c:pt>
                <c:pt idx="7846">
                  <c:v>-2.20892</c:v>
                </c:pt>
                <c:pt idx="7847">
                  <c:v>-2.68445</c:v>
                </c:pt>
                <c:pt idx="7848">
                  <c:v>-2.5832099999999998</c:v>
                </c:pt>
                <c:pt idx="7849">
                  <c:v>#N/A</c:v>
                </c:pt>
                <c:pt idx="7850">
                  <c:v>-2.3496299999999999</c:v>
                </c:pt>
                <c:pt idx="7851">
                  <c:v>-2.1989100000000001</c:v>
                </c:pt>
                <c:pt idx="7852">
                  <c:v>#N/A</c:v>
                </c:pt>
                <c:pt idx="7853">
                  <c:v>-2.1683300000000001</c:v>
                </c:pt>
                <c:pt idx="7854">
                  <c:v>-2.8549899999999999</c:v>
                </c:pt>
                <c:pt idx="7855">
                  <c:v>-2.5854599999999999</c:v>
                </c:pt>
                <c:pt idx="7856">
                  <c:v>#N/A</c:v>
                </c:pt>
                <c:pt idx="7857">
                  <c:v>-2.4354499999999999</c:v>
                </c:pt>
                <c:pt idx="7858">
                  <c:v>-2.4181499999999998</c:v>
                </c:pt>
                <c:pt idx="7859">
                  <c:v>-2.3989600000000002</c:v>
                </c:pt>
                <c:pt idx="7860">
                  <c:v>#N/A</c:v>
                </c:pt>
                <c:pt idx="7861">
                  <c:v>-2.2271200000000002</c:v>
                </c:pt>
                <c:pt idx="7862">
                  <c:v>-2.4314399999999998</c:v>
                </c:pt>
                <c:pt idx="7863">
                  <c:v>-2.3052100000000002</c:v>
                </c:pt>
                <c:pt idx="7864">
                  <c:v>#N/A</c:v>
                </c:pt>
                <c:pt idx="7865">
                  <c:v>-3.1631399999999998</c:v>
                </c:pt>
                <c:pt idx="7866">
                  <c:v>-2.71461</c:v>
                </c:pt>
                <c:pt idx="7867">
                  <c:v>-2.3170500000000001</c:v>
                </c:pt>
                <c:pt idx="7868">
                  <c:v>#N/A</c:v>
                </c:pt>
                <c:pt idx="7869">
                  <c:v>-1.9119299999999999</c:v>
                </c:pt>
                <c:pt idx="7870">
                  <c:v>-1.7386299999999999</c:v>
                </c:pt>
                <c:pt idx="7871">
                  <c:v>-1.6485099999999999</c:v>
                </c:pt>
                <c:pt idx="7872">
                  <c:v>#N/A</c:v>
                </c:pt>
                <c:pt idx="7873">
                  <c:v>-2.1168900000000002</c:v>
                </c:pt>
                <c:pt idx="7874">
                  <c:v>-2.2882400000000001</c:v>
                </c:pt>
                <c:pt idx="7875">
                  <c:v>-2.8756400000000002</c:v>
                </c:pt>
                <c:pt idx="7876">
                  <c:v>#N/A</c:v>
                </c:pt>
                <c:pt idx="7877">
                  <c:v>-3.29312</c:v>
                </c:pt>
                <c:pt idx="7878">
                  <c:v>-2.8034599999999998</c:v>
                </c:pt>
                <c:pt idx="7879">
                  <c:v>-2.1142799999999999</c:v>
                </c:pt>
                <c:pt idx="7880">
                  <c:v>#N/A</c:v>
                </c:pt>
                <c:pt idx="7881">
                  <c:v>-2.2048000000000001</c:v>
                </c:pt>
                <c:pt idx="7882">
                  <c:v>-1.62697</c:v>
                </c:pt>
                <c:pt idx="7883">
                  <c:v>#N/A</c:v>
                </c:pt>
                <c:pt idx="7884">
                  <c:v>-2.05348</c:v>
                </c:pt>
                <c:pt idx="7885">
                  <c:v>#N/A</c:v>
                </c:pt>
                <c:pt idx="7886">
                  <c:v>-2.9346000000000001</c:v>
                </c:pt>
                <c:pt idx="7887">
                  <c:v>-3.4426299999999999</c:v>
                </c:pt>
                <c:pt idx="7888">
                  <c:v>#N/A</c:v>
                </c:pt>
                <c:pt idx="7889">
                  <c:v>-3.0645500000000001</c:v>
                </c:pt>
                <c:pt idx="7890">
                  <c:v>-2.6109200000000001</c:v>
                </c:pt>
                <c:pt idx="7891">
                  <c:v>-2.1941899999999999</c:v>
                </c:pt>
                <c:pt idx="7892">
                  <c:v>#N/A</c:v>
                </c:pt>
                <c:pt idx="7893">
                  <c:v>-1.4055</c:v>
                </c:pt>
                <c:pt idx="7894">
                  <c:v>-1.6932499999999999</c:v>
                </c:pt>
                <c:pt idx="7895">
                  <c:v>-1.9978</c:v>
                </c:pt>
                <c:pt idx="7896">
                  <c:v>#N/A</c:v>
                </c:pt>
                <c:pt idx="7897">
                  <c:v>-2.2870499999999998</c:v>
                </c:pt>
                <c:pt idx="7898">
                  <c:v>-3.0627200000000001</c:v>
                </c:pt>
                <c:pt idx="7899">
                  <c:v>-3.2845399999999998</c:v>
                </c:pt>
                <c:pt idx="7900">
                  <c:v>#N/A</c:v>
                </c:pt>
                <c:pt idx="7901">
                  <c:v>-2.7933300000000001</c:v>
                </c:pt>
                <c:pt idx="7902">
                  <c:v>-2.4478499999999999</c:v>
                </c:pt>
                <c:pt idx="7903">
                  <c:v>-1.83535</c:v>
                </c:pt>
                <c:pt idx="7904">
                  <c:v>#N/A</c:v>
                </c:pt>
                <c:pt idx="7905">
                  <c:v>-2.0308199999999998</c:v>
                </c:pt>
                <c:pt idx="7906">
                  <c:v>-2.0750500000000001</c:v>
                </c:pt>
                <c:pt idx="7907">
                  <c:v>#N/A</c:v>
                </c:pt>
                <c:pt idx="7908">
                  <c:v>-2.6631499999999999</c:v>
                </c:pt>
                <c:pt idx="7909">
                  <c:v>-3.3138800000000002</c:v>
                </c:pt>
                <c:pt idx="7910">
                  <c:v>-2.88097</c:v>
                </c:pt>
                <c:pt idx="7911">
                  <c:v>#N/A</c:v>
                </c:pt>
                <c:pt idx="7912">
                  <c:v>-2.6942699999999999</c:v>
                </c:pt>
                <c:pt idx="7913">
                  <c:v>-2.1464300000000001</c:v>
                </c:pt>
                <c:pt idx="7914">
                  <c:v>-1.7730999999999999</c:v>
                </c:pt>
                <c:pt idx="7915">
                  <c:v>#N/A</c:v>
                </c:pt>
                <c:pt idx="7916">
                  <c:v>-1.45105</c:v>
                </c:pt>
                <c:pt idx="7917">
                  <c:v>-2.18377</c:v>
                </c:pt>
                <c:pt idx="7918">
                  <c:v>-2.4384899999999998</c:v>
                </c:pt>
                <c:pt idx="7919">
                  <c:v>#N/A</c:v>
                </c:pt>
                <c:pt idx="7920">
                  <c:v>-2.4471799999999999</c:v>
                </c:pt>
                <c:pt idx="7921">
                  <c:v>-2.4843299999999999</c:v>
                </c:pt>
                <c:pt idx="7922">
                  <c:v>-2.5228999999999999</c:v>
                </c:pt>
                <c:pt idx="7923">
                  <c:v>#N/A</c:v>
                </c:pt>
                <c:pt idx="7924">
                  <c:v>-1.88957</c:v>
                </c:pt>
                <c:pt idx="7925">
                  <c:v>-2.2757100000000001</c:v>
                </c:pt>
                <c:pt idx="7926">
                  <c:v>-1.9406000000000001</c:v>
                </c:pt>
                <c:pt idx="7927">
                  <c:v>#N/A</c:v>
                </c:pt>
                <c:pt idx="7928">
                  <c:v>-2.3351099999999998</c:v>
                </c:pt>
                <c:pt idx="7929">
                  <c:v>-2.6752600000000002</c:v>
                </c:pt>
                <c:pt idx="7930">
                  <c:v>#N/A</c:v>
                </c:pt>
                <c:pt idx="7931">
                  <c:v>-2.8776000000000002</c:v>
                </c:pt>
                <c:pt idx="7932">
                  <c:v>-1.94638</c:v>
                </c:pt>
                <c:pt idx="7933">
                  <c:v>-2.2275900000000002</c:v>
                </c:pt>
                <c:pt idx="7934">
                  <c:v>#N/A</c:v>
                </c:pt>
                <c:pt idx="7935">
                  <c:v>-2.2014399999999998</c:v>
                </c:pt>
                <c:pt idx="7936">
                  <c:v>-2.2177099999999998</c:v>
                </c:pt>
                <c:pt idx="7937">
                  <c:v>-2.7618499999999999</c:v>
                </c:pt>
                <c:pt idx="7938">
                  <c:v>#N/A</c:v>
                </c:pt>
                <c:pt idx="7939">
                  <c:v>-2.6824499999999998</c:v>
                </c:pt>
                <c:pt idx="7940">
                  <c:v>-3.1626599999999998</c:v>
                </c:pt>
                <c:pt idx="7941">
                  <c:v>-2.6775099999999998</c:v>
                </c:pt>
                <c:pt idx="7942">
                  <c:v>#N/A</c:v>
                </c:pt>
                <c:pt idx="7943">
                  <c:v>-2.25664</c:v>
                </c:pt>
                <c:pt idx="7944">
                  <c:v>-1.8726100000000001</c:v>
                </c:pt>
                <c:pt idx="7945">
                  <c:v>-1.6874</c:v>
                </c:pt>
                <c:pt idx="7946">
                  <c:v>#N/A</c:v>
                </c:pt>
                <c:pt idx="7947">
                  <c:v>-2.6206</c:v>
                </c:pt>
                <c:pt idx="7948">
                  <c:v>-3.2364299999999999</c:v>
                </c:pt>
                <c:pt idx="7949">
                  <c:v>-2.6781299999999999</c:v>
                </c:pt>
                <c:pt idx="7950">
                  <c:v>#N/A</c:v>
                </c:pt>
                <c:pt idx="7951">
                  <c:v>-3.0154299999999998</c:v>
                </c:pt>
                <c:pt idx="7952">
                  <c:v>-2.7487699999999999</c:v>
                </c:pt>
                <c:pt idx="7953">
                  <c:v>-1.60788</c:v>
                </c:pt>
                <c:pt idx="7954">
                  <c:v>#N/A</c:v>
                </c:pt>
                <c:pt idx="7955">
                  <c:v>-1.3060799999999999</c:v>
                </c:pt>
                <c:pt idx="7956">
                  <c:v>-1.3717900000000001</c:v>
                </c:pt>
                <c:pt idx="7957">
                  <c:v>-1.6190100000000001</c:v>
                </c:pt>
                <c:pt idx="7958">
                  <c:v>#N/A</c:v>
                </c:pt>
                <c:pt idx="7959">
                  <c:v>-3.0000599999999999</c:v>
                </c:pt>
                <c:pt idx="7960">
                  <c:v>#N/A</c:v>
                </c:pt>
                <c:pt idx="7961">
                  <c:v>-3.0887500000000001</c:v>
                </c:pt>
                <c:pt idx="7962">
                  <c:v>-3.3455599999999999</c:v>
                </c:pt>
                <c:pt idx="7963">
                  <c:v>#N/A</c:v>
                </c:pt>
                <c:pt idx="7964">
                  <c:v>-2.46305</c:v>
                </c:pt>
                <c:pt idx="7965">
                  <c:v>-1.9066799999999999</c:v>
                </c:pt>
                <c:pt idx="7966">
                  <c:v>-1.7708299999999999</c:v>
                </c:pt>
                <c:pt idx="7967">
                  <c:v>#N/A</c:v>
                </c:pt>
                <c:pt idx="7968">
                  <c:v>-2.5928</c:v>
                </c:pt>
                <c:pt idx="7969">
                  <c:v>-3.1721200000000001</c:v>
                </c:pt>
                <c:pt idx="7970">
                  <c:v>-3.1401500000000002</c:v>
                </c:pt>
                <c:pt idx="7971">
                  <c:v>#N/A</c:v>
                </c:pt>
                <c:pt idx="7972">
                  <c:v>-3.0494599999999998</c:v>
                </c:pt>
                <c:pt idx="7973">
                  <c:v>-2.6692399999999998</c:v>
                </c:pt>
                <c:pt idx="7974">
                  <c:v>-2.1408999999999998</c:v>
                </c:pt>
                <c:pt idx="7975">
                  <c:v>#N/A</c:v>
                </c:pt>
                <c:pt idx="7976">
                  <c:v>-2.0068000000000001</c:v>
                </c:pt>
                <c:pt idx="7977">
                  <c:v>-1.7390300000000001</c:v>
                </c:pt>
                <c:pt idx="7978">
                  <c:v>-1.5634699999999999</c:v>
                </c:pt>
                <c:pt idx="7979">
                  <c:v>#N/A</c:v>
                </c:pt>
                <c:pt idx="7980">
                  <c:v>-2.1587000000000001</c:v>
                </c:pt>
                <c:pt idx="7981">
                  <c:v>-2.4542799999999998</c:v>
                </c:pt>
                <c:pt idx="7982">
                  <c:v>#N/A</c:v>
                </c:pt>
                <c:pt idx="7983">
                  <c:v>-3.11741</c:v>
                </c:pt>
                <c:pt idx="7984">
                  <c:v>-2.5556199999999998</c:v>
                </c:pt>
                <c:pt idx="7985">
                  <c:v>-2.3751899999999999</c:v>
                </c:pt>
                <c:pt idx="7986">
                  <c:v>#N/A</c:v>
                </c:pt>
                <c:pt idx="7987">
                  <c:v>-2.07809</c:v>
                </c:pt>
                <c:pt idx="7988">
                  <c:v>-1.58693</c:v>
                </c:pt>
                <c:pt idx="7989">
                  <c:v>-1.93682</c:v>
                </c:pt>
                <c:pt idx="7990">
                  <c:v>#N/A</c:v>
                </c:pt>
                <c:pt idx="7991">
                  <c:v>-2.0298799999999999</c:v>
                </c:pt>
                <c:pt idx="7992">
                  <c:v>-2.6682800000000002</c:v>
                </c:pt>
                <c:pt idx="7993">
                  <c:v>#N/A</c:v>
                </c:pt>
                <c:pt idx="7994">
                  <c:v>-2.92719</c:v>
                </c:pt>
                <c:pt idx="7995">
                  <c:v>-2.6175199999999998</c:v>
                </c:pt>
                <c:pt idx="7996">
                  <c:v>-2.0666099999999998</c:v>
                </c:pt>
                <c:pt idx="7997">
                  <c:v>#N/A</c:v>
                </c:pt>
                <c:pt idx="7998">
                  <c:v>-2.5232600000000001</c:v>
                </c:pt>
                <c:pt idx="7999">
                  <c:v>#N/A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#N/A</c:v>
                </c:pt>
                <c:pt idx="8013">
                  <c:v>#N/A</c:v>
                </c:pt>
                <c:pt idx="8014">
                  <c:v>#N/A</c:v>
                </c:pt>
                <c:pt idx="8015">
                  <c:v>#N/A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#N/A</c:v>
                </c:pt>
                <c:pt idx="8020">
                  <c:v>#N/A</c:v>
                </c:pt>
                <c:pt idx="8021">
                  <c:v>#N/A</c:v>
                </c:pt>
                <c:pt idx="8022">
                  <c:v>#N/A</c:v>
                </c:pt>
                <c:pt idx="8023">
                  <c:v>-3.0283199999999999</c:v>
                </c:pt>
                <c:pt idx="8024">
                  <c:v>#N/A</c:v>
                </c:pt>
                <c:pt idx="8025">
                  <c:v>-3.0238</c:v>
                </c:pt>
                <c:pt idx="8026">
                  <c:v>-2.5818599999999998</c:v>
                </c:pt>
                <c:pt idx="8027">
                  <c:v>-1.9697899999999999</c:v>
                </c:pt>
                <c:pt idx="8028">
                  <c:v>#N/A</c:v>
                </c:pt>
                <c:pt idx="8029">
                  <c:v>-1.98776</c:v>
                </c:pt>
                <c:pt idx="8030">
                  <c:v>-2.13781</c:v>
                </c:pt>
                <c:pt idx="8031">
                  <c:v>-2.3714400000000002</c:v>
                </c:pt>
                <c:pt idx="8032">
                  <c:v>#N/A</c:v>
                </c:pt>
                <c:pt idx="8033">
                  <c:v>-2.7892100000000002</c:v>
                </c:pt>
                <c:pt idx="8034">
                  <c:v>#N/A</c:v>
                </c:pt>
                <c:pt idx="8035">
                  <c:v>-3.1676000000000002</c:v>
                </c:pt>
                <c:pt idx="8036">
                  <c:v>-2.80322</c:v>
                </c:pt>
                <c:pt idx="8037">
                  <c:v>#N/A</c:v>
                </c:pt>
                <c:pt idx="8038">
                  <c:v>-2.1361400000000001</c:v>
                </c:pt>
                <c:pt idx="8039">
                  <c:v>-2.0537100000000001</c:v>
                </c:pt>
                <c:pt idx="8040">
                  <c:v>-2.4861599999999999</c:v>
                </c:pt>
                <c:pt idx="8041">
                  <c:v>#N/A</c:v>
                </c:pt>
                <c:pt idx="8042">
                  <c:v>-2.4337599999999999</c:v>
                </c:pt>
                <c:pt idx="8043">
                  <c:v>-2.5401199999999999</c:v>
                </c:pt>
                <c:pt idx="8044">
                  <c:v>#N/A</c:v>
                </c:pt>
                <c:pt idx="8045">
                  <c:v>-2.5434700000000001</c:v>
                </c:pt>
                <c:pt idx="8046">
                  <c:v>-2.4903</c:v>
                </c:pt>
                <c:pt idx="8047">
                  <c:v>-2.4556300000000002</c:v>
                </c:pt>
                <c:pt idx="8048">
                  <c:v>#N/A</c:v>
                </c:pt>
                <c:pt idx="8049">
                  <c:v>-2.0796299999999999</c:v>
                </c:pt>
                <c:pt idx="8050">
                  <c:v>-1.6228</c:v>
                </c:pt>
                <c:pt idx="8051">
                  <c:v>#N/A</c:v>
                </c:pt>
                <c:pt idx="8052">
                  <c:v>-1.86107</c:v>
                </c:pt>
                <c:pt idx="8053">
                  <c:v>-2.4131399999999998</c:v>
                </c:pt>
                <c:pt idx="8054">
                  <c:v>-2.9476499999999999</c:v>
                </c:pt>
                <c:pt idx="8055">
                  <c:v>#N/A</c:v>
                </c:pt>
                <c:pt idx="8056">
                  <c:v>-3.47234</c:v>
                </c:pt>
                <c:pt idx="8057">
                  <c:v>-2.8059599999999998</c:v>
                </c:pt>
                <c:pt idx="8058">
                  <c:v>-2.4217200000000001</c:v>
                </c:pt>
                <c:pt idx="8059">
                  <c:v>#N/A</c:v>
                </c:pt>
                <c:pt idx="8060">
                  <c:v>-2.2807900000000001</c:v>
                </c:pt>
                <c:pt idx="8061">
                  <c:v>-2.21095</c:v>
                </c:pt>
                <c:pt idx="8062">
                  <c:v>-2.0289700000000002</c:v>
                </c:pt>
                <c:pt idx="8063">
                  <c:v>#N/A</c:v>
                </c:pt>
                <c:pt idx="8064">
                  <c:v>-2.7163900000000001</c:v>
                </c:pt>
                <c:pt idx="8065">
                  <c:v>-2.9999099999999999</c:v>
                </c:pt>
                <c:pt idx="8066">
                  <c:v>#N/A</c:v>
                </c:pt>
                <c:pt idx="8067">
                  <c:v>-3.4351400000000001</c:v>
                </c:pt>
                <c:pt idx="8068">
                  <c:v>-2.8896999999999999</c:v>
                </c:pt>
                <c:pt idx="8069">
                  <c:v>-2.7721</c:v>
                </c:pt>
                <c:pt idx="8070">
                  <c:v>#N/A</c:v>
                </c:pt>
                <c:pt idx="8071">
                  <c:v>-1.57917</c:v>
                </c:pt>
                <c:pt idx="8072">
                  <c:v>-2.4751400000000001</c:v>
                </c:pt>
                <c:pt idx="8073">
                  <c:v>-2.5066600000000001</c:v>
                </c:pt>
                <c:pt idx="8074">
                  <c:v>#N/A</c:v>
                </c:pt>
                <c:pt idx="8075">
                  <c:v>-2.7242999999999999</c:v>
                </c:pt>
                <c:pt idx="8076">
                  <c:v>-2.7812700000000001</c:v>
                </c:pt>
                <c:pt idx="8077">
                  <c:v>-2.60846</c:v>
                </c:pt>
                <c:pt idx="8078">
                  <c:v>#N/A</c:v>
                </c:pt>
                <c:pt idx="8079">
                  <c:v>-2.8138899999999998</c:v>
                </c:pt>
                <c:pt idx="8080">
                  <c:v>-2.6585299999999998</c:v>
                </c:pt>
                <c:pt idx="8081">
                  <c:v>-2.2983699999999998</c:v>
                </c:pt>
                <c:pt idx="8082">
                  <c:v>#N/A</c:v>
                </c:pt>
                <c:pt idx="8083">
                  <c:v>-2.31541</c:v>
                </c:pt>
                <c:pt idx="8084">
                  <c:v>-2.64134</c:v>
                </c:pt>
                <c:pt idx="8085">
                  <c:v>-3.2127699999999999</c:v>
                </c:pt>
                <c:pt idx="8086">
                  <c:v>#N/A</c:v>
                </c:pt>
                <c:pt idx="8087">
                  <c:v>-2.7267299999999999</c:v>
                </c:pt>
                <c:pt idx="8088">
                  <c:v>-2.7841399999999998</c:v>
                </c:pt>
                <c:pt idx="8089">
                  <c:v>#N/A</c:v>
                </c:pt>
                <c:pt idx="8090">
                  <c:v>-2.7342599999999999</c:v>
                </c:pt>
                <c:pt idx="8091">
                  <c:v>-2.43031</c:v>
                </c:pt>
                <c:pt idx="8092">
                  <c:v>-2.2727900000000001</c:v>
                </c:pt>
                <c:pt idx="8093">
                  <c:v>#N/A</c:v>
                </c:pt>
                <c:pt idx="8094">
                  <c:v>-2.3469500000000001</c:v>
                </c:pt>
                <c:pt idx="8095">
                  <c:v>-2.7300499999999999</c:v>
                </c:pt>
                <c:pt idx="8096">
                  <c:v>-2.8161499999999999</c:v>
                </c:pt>
                <c:pt idx="8097">
                  <c:v>#N/A</c:v>
                </c:pt>
                <c:pt idx="8098">
                  <c:v>-2.8904800000000002</c:v>
                </c:pt>
                <c:pt idx="8099">
                  <c:v>-2.1425999999999998</c:v>
                </c:pt>
                <c:pt idx="8100">
                  <c:v>-1.9735100000000001</c:v>
                </c:pt>
                <c:pt idx="8101">
                  <c:v>#N/A</c:v>
                </c:pt>
                <c:pt idx="8102">
                  <c:v>-1.75813</c:v>
                </c:pt>
                <c:pt idx="8103">
                  <c:v>-2.5334099999999999</c:v>
                </c:pt>
                <c:pt idx="8104">
                  <c:v>-2.0765699999999998</c:v>
                </c:pt>
                <c:pt idx="8105">
                  <c:v>#N/A</c:v>
                </c:pt>
                <c:pt idx="8106">
                  <c:v>-2.4293900000000002</c:v>
                </c:pt>
                <c:pt idx="8107">
                  <c:v>-3.04061</c:v>
                </c:pt>
                <c:pt idx="8108">
                  <c:v>#N/A</c:v>
                </c:pt>
                <c:pt idx="8109">
                  <c:v>-2.9066200000000002</c:v>
                </c:pt>
                <c:pt idx="8110">
                  <c:v>-2.1256499999999998</c:v>
                </c:pt>
                <c:pt idx="8111">
                  <c:v>#N/A</c:v>
                </c:pt>
                <c:pt idx="8112">
                  <c:v>-1.63489</c:v>
                </c:pt>
                <c:pt idx="8113">
                  <c:v>-1.67113</c:v>
                </c:pt>
                <c:pt idx="8114">
                  <c:v>-1.7801499999999999</c:v>
                </c:pt>
                <c:pt idx="8115">
                  <c:v>#N/A</c:v>
                </c:pt>
                <c:pt idx="8116">
                  <c:v>-2.8024399999999998</c:v>
                </c:pt>
                <c:pt idx="8117">
                  <c:v>-2.8690099999999998</c:v>
                </c:pt>
                <c:pt idx="8118">
                  <c:v>-3.0718000000000001</c:v>
                </c:pt>
                <c:pt idx="8119">
                  <c:v>#N/A</c:v>
                </c:pt>
                <c:pt idx="8120">
                  <c:v>-2.4068999999999998</c:v>
                </c:pt>
                <c:pt idx="8121">
                  <c:v>-2.1490200000000002</c:v>
                </c:pt>
                <c:pt idx="8122">
                  <c:v>#N/A</c:v>
                </c:pt>
                <c:pt idx="8123">
                  <c:v>-1.77091</c:v>
                </c:pt>
                <c:pt idx="8124">
                  <c:v>-1.87113</c:v>
                </c:pt>
                <c:pt idx="8125">
                  <c:v>-1.54705</c:v>
                </c:pt>
                <c:pt idx="8126">
                  <c:v>#N/A</c:v>
                </c:pt>
                <c:pt idx="8127">
                  <c:v>-2.3696899999999999</c:v>
                </c:pt>
                <c:pt idx="8128">
                  <c:v>-2.8258299999999998</c:v>
                </c:pt>
                <c:pt idx="8129">
                  <c:v>-3.16195</c:v>
                </c:pt>
                <c:pt idx="8130">
                  <c:v>#N/A</c:v>
                </c:pt>
                <c:pt idx="8131">
                  <c:v>-2.1451600000000002</c:v>
                </c:pt>
                <c:pt idx="8132">
                  <c:v>-1.88307</c:v>
                </c:pt>
                <c:pt idx="8133">
                  <c:v>-1.5965499999999999</c:v>
                </c:pt>
                <c:pt idx="8134">
                  <c:v>#N/A</c:v>
                </c:pt>
                <c:pt idx="8135">
                  <c:v>-1.8344</c:v>
                </c:pt>
                <c:pt idx="8136">
                  <c:v>-2.3071299999999999</c:v>
                </c:pt>
                <c:pt idx="8137">
                  <c:v>-2.3897200000000001</c:v>
                </c:pt>
                <c:pt idx="8138">
                  <c:v>#N/A</c:v>
                </c:pt>
                <c:pt idx="8139">
                  <c:v>-3.0763099999999999</c:v>
                </c:pt>
                <c:pt idx="8140">
                  <c:v>-2.6544699999999999</c:v>
                </c:pt>
                <c:pt idx="8141">
                  <c:v>#N/A</c:v>
                </c:pt>
                <c:pt idx="8142">
                  <c:v>-2.4507400000000001</c:v>
                </c:pt>
                <c:pt idx="8143">
                  <c:v>-1.9719899999999999</c:v>
                </c:pt>
                <c:pt idx="8144">
                  <c:v>-1.63808</c:v>
                </c:pt>
                <c:pt idx="8145">
                  <c:v>#N/A</c:v>
                </c:pt>
                <c:pt idx="8146">
                  <c:v>-1.8317399999999999</c:v>
                </c:pt>
                <c:pt idx="8147">
                  <c:v>-2.9738199999999999</c:v>
                </c:pt>
                <c:pt idx="8148">
                  <c:v>#N/A</c:v>
                </c:pt>
                <c:pt idx="8149">
                  <c:v>-3.4803600000000001</c:v>
                </c:pt>
                <c:pt idx="8150">
                  <c:v>-3.0341100000000001</c:v>
                </c:pt>
                <c:pt idx="8151">
                  <c:v>-2.5475400000000001</c:v>
                </c:pt>
                <c:pt idx="8152">
                  <c:v>#N/A</c:v>
                </c:pt>
                <c:pt idx="8153">
                  <c:v>-2.2484600000000001</c:v>
                </c:pt>
                <c:pt idx="8154">
                  <c:v>-2.5186299999999999</c:v>
                </c:pt>
                <c:pt idx="8155">
                  <c:v>-2.8783599999999998</c:v>
                </c:pt>
                <c:pt idx="8156">
                  <c:v>#N/A</c:v>
                </c:pt>
                <c:pt idx="8157">
                  <c:v>-2.74871</c:v>
                </c:pt>
                <c:pt idx="8158">
                  <c:v>-2.5929700000000002</c:v>
                </c:pt>
                <c:pt idx="8159">
                  <c:v>-2.9752900000000002</c:v>
                </c:pt>
                <c:pt idx="8160">
                  <c:v>#N/A</c:v>
                </c:pt>
                <c:pt idx="8161">
                  <c:v>-3.0312000000000001</c:v>
                </c:pt>
                <c:pt idx="8162">
                  <c:v>-2.22661</c:v>
                </c:pt>
                <c:pt idx="8163">
                  <c:v>-2.25143</c:v>
                </c:pt>
                <c:pt idx="8164">
                  <c:v>#N/A</c:v>
                </c:pt>
                <c:pt idx="8165">
                  <c:v>-2.2883900000000001</c:v>
                </c:pt>
                <c:pt idx="8166">
                  <c:v>-2.46455</c:v>
                </c:pt>
                <c:pt idx="8167">
                  <c:v>#N/A</c:v>
                </c:pt>
                <c:pt idx="8168">
                  <c:v>-2.2475299999999998</c:v>
                </c:pt>
                <c:pt idx="8169">
                  <c:v>-2.1941299999999999</c:v>
                </c:pt>
                <c:pt idx="8170">
                  <c:v>-2.4199099999999998</c:v>
                </c:pt>
                <c:pt idx="8171">
                  <c:v>#N/A</c:v>
                </c:pt>
                <c:pt idx="8172">
                  <c:v>-2.5967099999999999</c:v>
                </c:pt>
                <c:pt idx="8173">
                  <c:v>-2.9206099999999999</c:v>
                </c:pt>
                <c:pt idx="8174">
                  <c:v>-2.0553699999999999</c:v>
                </c:pt>
                <c:pt idx="8175">
                  <c:v>#N/A</c:v>
                </c:pt>
                <c:pt idx="8176">
                  <c:v>-2.46875</c:v>
                </c:pt>
                <c:pt idx="8177">
                  <c:v>-2.6493600000000002</c:v>
                </c:pt>
                <c:pt idx="8178">
                  <c:v>-3.0084900000000001</c:v>
                </c:pt>
                <c:pt idx="8179">
                  <c:v>#N/A</c:v>
                </c:pt>
                <c:pt idx="8180">
                  <c:v>-3.0559400000000001</c:v>
                </c:pt>
                <c:pt idx="8181">
                  <c:v>-3.25895</c:v>
                </c:pt>
                <c:pt idx="8182">
                  <c:v>#N/A</c:v>
                </c:pt>
                <c:pt idx="8183">
                  <c:v>-2.3403700000000001</c:v>
                </c:pt>
                <c:pt idx="8184">
                  <c:v>#N/A</c:v>
                </c:pt>
                <c:pt idx="8185">
                  <c:v>-2.30403</c:v>
                </c:pt>
                <c:pt idx="8186">
                  <c:v>#N/A</c:v>
                </c:pt>
                <c:pt idx="8187">
                  <c:v>-2.2721200000000001</c:v>
                </c:pt>
                <c:pt idx="8188">
                  <c:v>-2.2967599999999999</c:v>
                </c:pt>
                <c:pt idx="8189">
                  <c:v>-3.1242999999999999</c:v>
                </c:pt>
                <c:pt idx="8190">
                  <c:v>#N/A</c:v>
                </c:pt>
                <c:pt idx="8191">
                  <c:v>-3.8129900000000001</c:v>
                </c:pt>
                <c:pt idx="8192">
                  <c:v>-3.4211299999999998</c:v>
                </c:pt>
                <c:pt idx="8193">
                  <c:v>-2.5704199999999999</c:v>
                </c:pt>
                <c:pt idx="8194">
                  <c:v>#N/A</c:v>
                </c:pt>
                <c:pt idx="8195">
                  <c:v>-2.6211000000000002</c:v>
                </c:pt>
                <c:pt idx="8196">
                  <c:v>-2.01031</c:v>
                </c:pt>
                <c:pt idx="8197">
                  <c:v>-2.1549900000000002</c:v>
                </c:pt>
                <c:pt idx="8198">
                  <c:v>#N/A</c:v>
                </c:pt>
                <c:pt idx="8199">
                  <c:v>-2.3805999999999998</c:v>
                </c:pt>
                <c:pt idx="8200">
                  <c:v>-2.6264699999999999</c:v>
                </c:pt>
                <c:pt idx="8201">
                  <c:v>-3.4432800000000001</c:v>
                </c:pt>
                <c:pt idx="8202">
                  <c:v>#N/A</c:v>
                </c:pt>
                <c:pt idx="8203">
                  <c:v>-3.2519399999999998</c:v>
                </c:pt>
                <c:pt idx="8204">
                  <c:v>-2.7627899999999999</c:v>
                </c:pt>
                <c:pt idx="8205">
                  <c:v>#N/A</c:v>
                </c:pt>
                <c:pt idx="8206">
                  <c:v>-2.0321099999999999</c:v>
                </c:pt>
                <c:pt idx="8207">
                  <c:v>-1.95723</c:v>
                </c:pt>
                <c:pt idx="8208">
                  <c:v>-2.0601799999999999</c:v>
                </c:pt>
                <c:pt idx="8209">
                  <c:v>#N/A</c:v>
                </c:pt>
                <c:pt idx="8210">
                  <c:v>-2.8761700000000001</c:v>
                </c:pt>
                <c:pt idx="8211">
                  <c:v>-3.1671</c:v>
                </c:pt>
                <c:pt idx="8212">
                  <c:v>-3.6249600000000002</c:v>
                </c:pt>
                <c:pt idx="8213">
                  <c:v>#N/A</c:v>
                </c:pt>
                <c:pt idx="8214">
                  <c:v>-2.9860000000000002</c:v>
                </c:pt>
                <c:pt idx="8215">
                  <c:v>-2.92414</c:v>
                </c:pt>
                <c:pt idx="8216">
                  <c:v>-2.33405</c:v>
                </c:pt>
                <c:pt idx="8217">
                  <c:v>#N/A</c:v>
                </c:pt>
                <c:pt idx="8218">
                  <c:v>-1.7808299999999999</c:v>
                </c:pt>
                <c:pt idx="8219">
                  <c:v>-1.9368300000000001</c:v>
                </c:pt>
                <c:pt idx="8220">
                  <c:v>-2.4893900000000002</c:v>
                </c:pt>
                <c:pt idx="8221">
                  <c:v>#N/A</c:v>
                </c:pt>
                <c:pt idx="8222">
                  <c:v>-2.9219900000000001</c:v>
                </c:pt>
                <c:pt idx="8223">
                  <c:v>-3.0584799999999999</c:v>
                </c:pt>
                <c:pt idx="8224">
                  <c:v>#N/A</c:v>
                </c:pt>
                <c:pt idx="8225">
                  <c:v>-2.3639999999999999</c:v>
                </c:pt>
                <c:pt idx="8226">
                  <c:v>-2.5156999999999998</c:v>
                </c:pt>
                <c:pt idx="8227">
                  <c:v>-2.2086899999999998</c:v>
                </c:pt>
                <c:pt idx="8228">
                  <c:v>#N/A</c:v>
                </c:pt>
                <c:pt idx="8229">
                  <c:v>-1.9973399999999999</c:v>
                </c:pt>
                <c:pt idx="8230">
                  <c:v>-1.83951</c:v>
                </c:pt>
                <c:pt idx="8231">
                  <c:v>-2.45879</c:v>
                </c:pt>
                <c:pt idx="8232">
                  <c:v>#N/A</c:v>
                </c:pt>
                <c:pt idx="8233">
                  <c:v>-2.7841300000000002</c:v>
                </c:pt>
                <c:pt idx="8234">
                  <c:v>-2.7298900000000001</c:v>
                </c:pt>
                <c:pt idx="8235">
                  <c:v>-2.6293000000000002</c:v>
                </c:pt>
                <c:pt idx="8236">
                  <c:v>#N/A</c:v>
                </c:pt>
                <c:pt idx="8237">
                  <c:v>-2.0637599999999998</c:v>
                </c:pt>
                <c:pt idx="8238">
                  <c:v>-2.08744</c:v>
                </c:pt>
                <c:pt idx="8239">
                  <c:v>-2.9735200000000002</c:v>
                </c:pt>
                <c:pt idx="8240">
                  <c:v>#N/A</c:v>
                </c:pt>
                <c:pt idx="8241">
                  <c:v>-2.6427900000000002</c:v>
                </c:pt>
                <c:pt idx="8242">
                  <c:v>-3.0188199999999998</c:v>
                </c:pt>
                <c:pt idx="8243">
                  <c:v>-3.2435200000000002</c:v>
                </c:pt>
                <c:pt idx="8244">
                  <c:v>#N/A</c:v>
                </c:pt>
                <c:pt idx="8245">
                  <c:v>-2.2180499999999999</c:v>
                </c:pt>
                <c:pt idx="8246">
                  <c:v>-2.2413799999999999</c:v>
                </c:pt>
                <c:pt idx="8247">
                  <c:v>-1.5039400000000001</c:v>
                </c:pt>
                <c:pt idx="8248">
                  <c:v>#N/A</c:v>
                </c:pt>
                <c:pt idx="8249">
                  <c:v>-1.82917</c:v>
                </c:pt>
                <c:pt idx="8250">
                  <c:v>-2.1759599999999999</c:v>
                </c:pt>
                <c:pt idx="8251">
                  <c:v>-3.1052599999999999</c:v>
                </c:pt>
                <c:pt idx="8252">
                  <c:v>#N/A</c:v>
                </c:pt>
                <c:pt idx="8253">
                  <c:v>-3.0861299999999998</c:v>
                </c:pt>
                <c:pt idx="8254">
                  <c:v>-2.2840400000000001</c:v>
                </c:pt>
                <c:pt idx="8255">
                  <c:v>#N/A</c:v>
                </c:pt>
                <c:pt idx="8256">
                  <c:v>-2.0446399999999998</c:v>
                </c:pt>
                <c:pt idx="8257">
                  <c:v>-1.7206699999999999</c:v>
                </c:pt>
                <c:pt idx="8258">
                  <c:v>-1.42249</c:v>
                </c:pt>
                <c:pt idx="8259">
                  <c:v>#N/A</c:v>
                </c:pt>
                <c:pt idx="8260">
                  <c:v>-2.1568499999999999</c:v>
                </c:pt>
                <c:pt idx="8261">
                  <c:v>#N/A</c:v>
                </c:pt>
                <c:pt idx="8262">
                  <c:v>-2.8019699999999998</c:v>
                </c:pt>
                <c:pt idx="8263">
                  <c:v>-3.1049699999999998</c:v>
                </c:pt>
                <c:pt idx="8264">
                  <c:v>-3.3086099999999998</c:v>
                </c:pt>
                <c:pt idx="8265">
                  <c:v>#N/A</c:v>
                </c:pt>
                <c:pt idx="8266">
                  <c:v>-2.5750799999999998</c:v>
                </c:pt>
                <c:pt idx="8267">
                  <c:v>-2.2920199999999999</c:v>
                </c:pt>
                <c:pt idx="8268">
                  <c:v>-2.5557799999999999</c:v>
                </c:pt>
                <c:pt idx="8269">
                  <c:v>#N/A</c:v>
                </c:pt>
                <c:pt idx="8270">
                  <c:v>-2.5829800000000001</c:v>
                </c:pt>
                <c:pt idx="8271">
                  <c:v>-2.1186500000000001</c:v>
                </c:pt>
                <c:pt idx="8272">
                  <c:v>#N/A</c:v>
                </c:pt>
                <c:pt idx="8273">
                  <c:v>-3.1769799999999999</c:v>
                </c:pt>
                <c:pt idx="8274">
                  <c:v>-3.0464899999999999</c:v>
                </c:pt>
                <c:pt idx="8275">
                  <c:v>-3.3010299999999999</c:v>
                </c:pt>
                <c:pt idx="8276">
                  <c:v>#N/A</c:v>
                </c:pt>
                <c:pt idx="8277">
                  <c:v>-2.0922900000000002</c:v>
                </c:pt>
                <c:pt idx="8278">
                  <c:v>-2.1512099999999998</c:v>
                </c:pt>
                <c:pt idx="8279">
                  <c:v>#N/A</c:v>
                </c:pt>
                <c:pt idx="8280">
                  <c:v>-1.49983</c:v>
                </c:pt>
                <c:pt idx="8281">
                  <c:v>-1.55315</c:v>
                </c:pt>
                <c:pt idx="8282">
                  <c:v>-2.51037</c:v>
                </c:pt>
                <c:pt idx="8283">
                  <c:v>#N/A</c:v>
                </c:pt>
                <c:pt idx="8284">
                  <c:v>-2.91676</c:v>
                </c:pt>
                <c:pt idx="8285">
                  <c:v>-3.0268799999999998</c:v>
                </c:pt>
                <c:pt idx="8286">
                  <c:v>-2.6620599999999999</c:v>
                </c:pt>
                <c:pt idx="8287">
                  <c:v>#N/A</c:v>
                </c:pt>
                <c:pt idx="8288">
                  <c:v>-2.6348099999999999</c:v>
                </c:pt>
                <c:pt idx="8289">
                  <c:v>-1.8823799999999999</c:v>
                </c:pt>
                <c:pt idx="8290">
                  <c:v>-1.5023299999999999</c:v>
                </c:pt>
                <c:pt idx="8291">
                  <c:v>#N/A</c:v>
                </c:pt>
                <c:pt idx="8292">
                  <c:v>-1.0997600000000001</c:v>
                </c:pt>
                <c:pt idx="8293">
                  <c:v>-1.5962499999999999</c:v>
                </c:pt>
                <c:pt idx="8294">
                  <c:v>#N/A</c:v>
                </c:pt>
                <c:pt idx="8295">
                  <c:v>-2.7582599999999999</c:v>
                </c:pt>
                <c:pt idx="8296">
                  <c:v>-3.09944</c:v>
                </c:pt>
                <c:pt idx="8297">
                  <c:v>-2.8448699999999998</c:v>
                </c:pt>
                <c:pt idx="8298">
                  <c:v>#N/A</c:v>
                </c:pt>
                <c:pt idx="8299">
                  <c:v>-2.6079500000000002</c:v>
                </c:pt>
                <c:pt idx="8300">
                  <c:v>-2.7047400000000001</c:v>
                </c:pt>
                <c:pt idx="8301">
                  <c:v>-2.71143</c:v>
                </c:pt>
                <c:pt idx="8302">
                  <c:v>#N/A</c:v>
                </c:pt>
                <c:pt idx="8303">
                  <c:v>-2.6562399999999999</c:v>
                </c:pt>
                <c:pt idx="8304">
                  <c:v>-2.36015</c:v>
                </c:pt>
                <c:pt idx="8305">
                  <c:v>-2.4646599999999999</c:v>
                </c:pt>
                <c:pt idx="8306">
                  <c:v>#N/A</c:v>
                </c:pt>
                <c:pt idx="8307">
                  <c:v>-2.7132900000000002</c:v>
                </c:pt>
                <c:pt idx="8308">
                  <c:v>-2.3384999999999998</c:v>
                </c:pt>
                <c:pt idx="8309">
                  <c:v>-2.0070100000000002</c:v>
                </c:pt>
                <c:pt idx="8310">
                  <c:v>#N/A</c:v>
                </c:pt>
                <c:pt idx="8311">
                  <c:v>-2.20926</c:v>
                </c:pt>
                <c:pt idx="8312">
                  <c:v>-3.6017399999999999</c:v>
                </c:pt>
                <c:pt idx="8313">
                  <c:v>#N/A</c:v>
                </c:pt>
                <c:pt idx="8314">
                  <c:v>-2.9317500000000001</c:v>
                </c:pt>
                <c:pt idx="8315">
                  <c:v>-3.1656</c:v>
                </c:pt>
                <c:pt idx="8316">
                  <c:v>-2.9710299999999998</c:v>
                </c:pt>
                <c:pt idx="8317">
                  <c:v>#N/A</c:v>
                </c:pt>
                <c:pt idx="8318">
                  <c:v>-2.1222099999999999</c:v>
                </c:pt>
                <c:pt idx="8319">
                  <c:v>-2.0697700000000001</c:v>
                </c:pt>
                <c:pt idx="8320">
                  <c:v>-1.8752899999999999</c:v>
                </c:pt>
                <c:pt idx="8321">
                  <c:v>#N/A</c:v>
                </c:pt>
                <c:pt idx="8322">
                  <c:v>-2.04155</c:v>
                </c:pt>
                <c:pt idx="8323">
                  <c:v>-2.6276299999999999</c:v>
                </c:pt>
                <c:pt idx="8324">
                  <c:v>-2.9788600000000001</c:v>
                </c:pt>
                <c:pt idx="8325">
                  <c:v>#N/A</c:v>
                </c:pt>
                <c:pt idx="8326">
                  <c:v>-3.2298200000000001</c:v>
                </c:pt>
                <c:pt idx="8327">
                  <c:v>-3.0735600000000001</c:v>
                </c:pt>
                <c:pt idx="8328">
                  <c:v>-2.4367999999999999</c:v>
                </c:pt>
                <c:pt idx="8329">
                  <c:v>#N/A</c:v>
                </c:pt>
                <c:pt idx="8330">
                  <c:v>-2.1479300000000001</c:v>
                </c:pt>
                <c:pt idx="8331">
                  <c:v>-2.45614</c:v>
                </c:pt>
                <c:pt idx="8332">
                  <c:v>#N/A</c:v>
                </c:pt>
                <c:pt idx="8333">
                  <c:v>-1.74533</c:v>
                </c:pt>
                <c:pt idx="8334">
                  <c:v>-2.9774400000000001</c:v>
                </c:pt>
                <c:pt idx="8335">
                  <c:v>#N/A</c:v>
                </c:pt>
                <c:pt idx="8336">
                  <c:v>-3.3716499999999998</c:v>
                </c:pt>
                <c:pt idx="8337">
                  <c:v>-3.2835200000000002</c:v>
                </c:pt>
                <c:pt idx="8338">
                  <c:v>#N/A</c:v>
                </c:pt>
                <c:pt idx="8339">
                  <c:v>-2.6335899999999999</c:v>
                </c:pt>
                <c:pt idx="8340">
                  <c:v>-2.2268500000000002</c:v>
                </c:pt>
                <c:pt idx="8341">
                  <c:v>#N/A</c:v>
                </c:pt>
                <c:pt idx="8342">
                  <c:v>-1.74366</c:v>
                </c:pt>
                <c:pt idx="8343">
                  <c:v>-1.66858</c:v>
                </c:pt>
                <c:pt idx="8344">
                  <c:v>-2.4099300000000001</c:v>
                </c:pt>
                <c:pt idx="8345">
                  <c:v>#N/A</c:v>
                </c:pt>
                <c:pt idx="8346">
                  <c:v>-3.0689899999999999</c:v>
                </c:pt>
                <c:pt idx="8347">
                  <c:v>-2.67577</c:v>
                </c:pt>
                <c:pt idx="8348">
                  <c:v>#N/A</c:v>
                </c:pt>
                <c:pt idx="8349">
                  <c:v>-3.8759800000000002</c:v>
                </c:pt>
                <c:pt idx="8350">
                  <c:v>-2.55721</c:v>
                </c:pt>
                <c:pt idx="8351">
                  <c:v>-1.98343</c:v>
                </c:pt>
                <c:pt idx="8352">
                  <c:v>#N/A</c:v>
                </c:pt>
                <c:pt idx="8353">
                  <c:v>-1.8878999999999999</c:v>
                </c:pt>
                <c:pt idx="8354">
                  <c:v>-1.2746200000000001</c:v>
                </c:pt>
                <c:pt idx="8355">
                  <c:v>-2.0539499999999999</c:v>
                </c:pt>
                <c:pt idx="8356">
                  <c:v>#N/A</c:v>
                </c:pt>
                <c:pt idx="8357">
                  <c:v>-2.3231299999999999</c:v>
                </c:pt>
                <c:pt idx="8358">
                  <c:v>-2.8709600000000002</c:v>
                </c:pt>
                <c:pt idx="8359">
                  <c:v>-2.8476900000000001</c:v>
                </c:pt>
                <c:pt idx="8360">
                  <c:v>#N/A</c:v>
                </c:pt>
                <c:pt idx="8361">
                  <c:v>-2.47837</c:v>
                </c:pt>
                <c:pt idx="8362">
                  <c:v>-1.71811</c:v>
                </c:pt>
                <c:pt idx="8363">
                  <c:v>#N/A</c:v>
                </c:pt>
                <c:pt idx="8364">
                  <c:v>-1.90326</c:v>
                </c:pt>
                <c:pt idx="8365">
                  <c:v>-2.1373700000000002</c:v>
                </c:pt>
                <c:pt idx="8366">
                  <c:v>-2.51294</c:v>
                </c:pt>
                <c:pt idx="8367">
                  <c:v>#N/A</c:v>
                </c:pt>
                <c:pt idx="8368">
                  <c:v>-2.8069999999999999</c:v>
                </c:pt>
                <c:pt idx="8369">
                  <c:v>-2.8875600000000001</c:v>
                </c:pt>
                <c:pt idx="8370">
                  <c:v>-2.8550200000000001</c:v>
                </c:pt>
                <c:pt idx="8371">
                  <c:v>#N/A</c:v>
                </c:pt>
                <c:pt idx="8372">
                  <c:v>-2.5911900000000001</c:v>
                </c:pt>
                <c:pt idx="8373">
                  <c:v>-2.3189299999999999</c:v>
                </c:pt>
                <c:pt idx="8374">
                  <c:v>-2.45418</c:v>
                </c:pt>
                <c:pt idx="8375">
                  <c:v>#N/A</c:v>
                </c:pt>
                <c:pt idx="8376">
                  <c:v>-1.94184</c:v>
                </c:pt>
                <c:pt idx="8377">
                  <c:v>-2.23265</c:v>
                </c:pt>
                <c:pt idx="8378">
                  <c:v>-2.2473999999999998</c:v>
                </c:pt>
                <c:pt idx="8379">
                  <c:v>#N/A</c:v>
                </c:pt>
                <c:pt idx="8380">
                  <c:v>-2.52372</c:v>
                </c:pt>
                <c:pt idx="8381">
                  <c:v>-2.26153</c:v>
                </c:pt>
                <c:pt idx="8382">
                  <c:v>-2.0618300000000001</c:v>
                </c:pt>
                <c:pt idx="8383">
                  <c:v>#N/A</c:v>
                </c:pt>
                <c:pt idx="8384">
                  <c:v>-1.8658300000000001</c:v>
                </c:pt>
                <c:pt idx="8385">
                  <c:v>-2.6762000000000001</c:v>
                </c:pt>
                <c:pt idx="8386">
                  <c:v>#N/A</c:v>
                </c:pt>
                <c:pt idx="8387">
                  <c:v>-2.4588999999999999</c:v>
                </c:pt>
                <c:pt idx="8388">
                  <c:v>-2.7607200000000001</c:v>
                </c:pt>
                <c:pt idx="8389">
                  <c:v>-2.8946399999999999</c:v>
                </c:pt>
                <c:pt idx="8390">
                  <c:v>#N/A</c:v>
                </c:pt>
                <c:pt idx="8391">
                  <c:v>-3.0076000000000001</c:v>
                </c:pt>
                <c:pt idx="8392">
                  <c:v>-3.0690499999999998</c:v>
                </c:pt>
                <c:pt idx="8393">
                  <c:v>-2.1415999999999999</c:v>
                </c:pt>
                <c:pt idx="8394">
                  <c:v>#N/A</c:v>
                </c:pt>
                <c:pt idx="8395">
                  <c:v>-2.3681700000000001</c:v>
                </c:pt>
                <c:pt idx="8396">
                  <c:v>-2.47621</c:v>
                </c:pt>
                <c:pt idx="8397">
                  <c:v>-2.9078900000000001</c:v>
                </c:pt>
                <c:pt idx="8398">
                  <c:v>#N/A</c:v>
                </c:pt>
                <c:pt idx="8399">
                  <c:v>-3.1047899999999999</c:v>
                </c:pt>
                <c:pt idx="8400">
                  <c:v>-3.6356899999999999</c:v>
                </c:pt>
                <c:pt idx="8401">
                  <c:v>-2.30382</c:v>
                </c:pt>
                <c:pt idx="8402">
                  <c:v>#N/A</c:v>
                </c:pt>
                <c:pt idx="8403">
                  <c:v>-1.9675499999999999</c:v>
                </c:pt>
                <c:pt idx="8404">
                  <c:v>-1.3687100000000001</c:v>
                </c:pt>
                <c:pt idx="8405">
                  <c:v>-1.7117800000000001</c:v>
                </c:pt>
                <c:pt idx="8406">
                  <c:v>#N/A</c:v>
                </c:pt>
                <c:pt idx="8407">
                  <c:v>-2.26674</c:v>
                </c:pt>
                <c:pt idx="8408">
                  <c:v>-2.5443500000000001</c:v>
                </c:pt>
                <c:pt idx="8409">
                  <c:v>-3.4956100000000001</c:v>
                </c:pt>
                <c:pt idx="8410">
                  <c:v>#N/A</c:v>
                </c:pt>
                <c:pt idx="8411">
                  <c:v>-3.1474799999999998</c:v>
                </c:pt>
                <c:pt idx="8412">
                  <c:v>#N/A</c:v>
                </c:pt>
                <c:pt idx="8413">
                  <c:v>-2.2361300000000002</c:v>
                </c:pt>
                <c:pt idx="8414">
                  <c:v>-1.7278500000000001</c:v>
                </c:pt>
                <c:pt idx="8415">
                  <c:v>-1.2231099999999999</c:v>
                </c:pt>
                <c:pt idx="8416">
                  <c:v>#N/A</c:v>
                </c:pt>
                <c:pt idx="8417">
                  <c:v>-2.42774</c:v>
                </c:pt>
                <c:pt idx="8418">
                  <c:v>-1.96774</c:v>
                </c:pt>
                <c:pt idx="8419">
                  <c:v>-2.83555</c:v>
                </c:pt>
                <c:pt idx="8420">
                  <c:v>#N/A</c:v>
                </c:pt>
                <c:pt idx="8421">
                  <c:v>-3.1023100000000001</c:v>
                </c:pt>
                <c:pt idx="8422">
                  <c:v>-3.14263</c:v>
                </c:pt>
                <c:pt idx="8423">
                  <c:v>-2.76579</c:v>
                </c:pt>
                <c:pt idx="8424">
                  <c:v>#N/A</c:v>
                </c:pt>
                <c:pt idx="8425">
                  <c:v>-1.7351700000000001</c:v>
                </c:pt>
                <c:pt idx="8426">
                  <c:v>-1.8409599999999999</c:v>
                </c:pt>
                <c:pt idx="8427">
                  <c:v>-1.7902199999999999</c:v>
                </c:pt>
                <c:pt idx="8428">
                  <c:v>#N/A</c:v>
                </c:pt>
                <c:pt idx="8429">
                  <c:v>-2.8477199999999998</c:v>
                </c:pt>
                <c:pt idx="8430">
                  <c:v>-2.99871</c:v>
                </c:pt>
                <c:pt idx="8431">
                  <c:v>#N/A</c:v>
                </c:pt>
                <c:pt idx="8432">
                  <c:v>-3.0573700000000001</c:v>
                </c:pt>
                <c:pt idx="8433">
                  <c:v>-2.8644500000000002</c:v>
                </c:pt>
                <c:pt idx="8434">
                  <c:v>-2.6758600000000001</c:v>
                </c:pt>
                <c:pt idx="8435">
                  <c:v>#N/A</c:v>
                </c:pt>
                <c:pt idx="8436">
                  <c:v>-2.4043399999999999</c:v>
                </c:pt>
                <c:pt idx="8437">
                  <c:v>-1.9359</c:v>
                </c:pt>
                <c:pt idx="8438">
                  <c:v>-1.85788</c:v>
                </c:pt>
                <c:pt idx="8439">
                  <c:v>#N/A</c:v>
                </c:pt>
                <c:pt idx="8440">
                  <c:v>-1.8563799999999999</c:v>
                </c:pt>
                <c:pt idx="8441">
                  <c:v>-2.6947299999999998</c:v>
                </c:pt>
                <c:pt idx="8442">
                  <c:v>-3.0504500000000001</c:v>
                </c:pt>
                <c:pt idx="8443">
                  <c:v>#N/A</c:v>
                </c:pt>
                <c:pt idx="8444">
                  <c:v>-2.4861</c:v>
                </c:pt>
                <c:pt idx="8445">
                  <c:v>-1.94476</c:v>
                </c:pt>
                <c:pt idx="8446">
                  <c:v>-2.5359699999999998</c:v>
                </c:pt>
                <c:pt idx="8447">
                  <c:v>#N/A</c:v>
                </c:pt>
                <c:pt idx="8448">
                  <c:v>-1.7110000000000001</c:v>
                </c:pt>
                <c:pt idx="8449">
                  <c:v>-2.0930399999999998</c:v>
                </c:pt>
                <c:pt idx="8450">
                  <c:v>-2.44936</c:v>
                </c:pt>
                <c:pt idx="8451">
                  <c:v>#N/A</c:v>
                </c:pt>
                <c:pt idx="8452">
                  <c:v>-2.9448599999999998</c:v>
                </c:pt>
                <c:pt idx="8453">
                  <c:v>-3.1306500000000002</c:v>
                </c:pt>
                <c:pt idx="8454">
                  <c:v>-2.3276400000000002</c:v>
                </c:pt>
                <c:pt idx="8455">
                  <c:v>#N/A</c:v>
                </c:pt>
                <c:pt idx="8456">
                  <c:v>-2.3897300000000001</c:v>
                </c:pt>
                <c:pt idx="8457">
                  <c:v>-1.5602400000000001</c:v>
                </c:pt>
                <c:pt idx="8458">
                  <c:v>-1.8678600000000001</c:v>
                </c:pt>
                <c:pt idx="8459">
                  <c:v>#N/A</c:v>
                </c:pt>
                <c:pt idx="8460">
                  <c:v>-2.0891799999999998</c:v>
                </c:pt>
                <c:pt idx="8461">
                  <c:v>-2.2570600000000001</c:v>
                </c:pt>
                <c:pt idx="8462">
                  <c:v>#N/A</c:v>
                </c:pt>
                <c:pt idx="8463">
                  <c:v>-2.7282299999999999</c:v>
                </c:pt>
                <c:pt idx="8464">
                  <c:v>-2.49444</c:v>
                </c:pt>
                <c:pt idx="8465">
                  <c:v>-2.37934</c:v>
                </c:pt>
                <c:pt idx="8466">
                  <c:v>#N/A</c:v>
                </c:pt>
                <c:pt idx="8467">
                  <c:v>-1.95722</c:v>
                </c:pt>
                <c:pt idx="8468">
                  <c:v>-1.8895999999999999</c:v>
                </c:pt>
                <c:pt idx="8469">
                  <c:v>-2.3447399999999998</c:v>
                </c:pt>
                <c:pt idx="8470">
                  <c:v>#N/A</c:v>
                </c:pt>
                <c:pt idx="8471">
                  <c:v>-2.30247</c:v>
                </c:pt>
                <c:pt idx="8472">
                  <c:v>-2.7930100000000002</c:v>
                </c:pt>
                <c:pt idx="8473">
                  <c:v>-2.3982299999999999</c:v>
                </c:pt>
                <c:pt idx="8474">
                  <c:v>#N/A</c:v>
                </c:pt>
                <c:pt idx="8475">
                  <c:v>-2.0358100000000001</c:v>
                </c:pt>
                <c:pt idx="8476">
                  <c:v>-1.4328399999999999</c:v>
                </c:pt>
                <c:pt idx="8477">
                  <c:v>-0.98709100000000005</c:v>
                </c:pt>
                <c:pt idx="8478">
                  <c:v>#N/A</c:v>
                </c:pt>
                <c:pt idx="8479">
                  <c:v>-1.48315</c:v>
                </c:pt>
                <c:pt idx="8480">
                  <c:v>-1.5074000000000001</c:v>
                </c:pt>
                <c:pt idx="8481">
                  <c:v>#N/A</c:v>
                </c:pt>
                <c:pt idx="8482">
                  <c:v>-2.7659400000000001</c:v>
                </c:pt>
                <c:pt idx="8483">
                  <c:v>-2.8575599999999999</c:v>
                </c:pt>
                <c:pt idx="8484">
                  <c:v>-2.9495200000000001</c:v>
                </c:pt>
                <c:pt idx="8485">
                  <c:v>#N/A</c:v>
                </c:pt>
                <c:pt idx="8486">
                  <c:v>-2.4140600000000001</c:v>
                </c:pt>
                <c:pt idx="8487">
                  <c:v>#N/A</c:v>
                </c:pt>
                <c:pt idx="8488">
                  <c:v>-1.1799500000000001</c:v>
                </c:pt>
                <c:pt idx="8489">
                  <c:v>-1.3404700000000001</c:v>
                </c:pt>
                <c:pt idx="8490">
                  <c:v>#N/A</c:v>
                </c:pt>
                <c:pt idx="8491">
                  <c:v>-2.08277</c:v>
                </c:pt>
                <c:pt idx="8492">
                  <c:v>-2.7673299999999998</c:v>
                </c:pt>
                <c:pt idx="8493">
                  <c:v>#N/A</c:v>
                </c:pt>
                <c:pt idx="8494">
                  <c:v>-2.7747700000000002</c:v>
                </c:pt>
                <c:pt idx="8495">
                  <c:v>-3.5136799999999999</c:v>
                </c:pt>
                <c:pt idx="8496">
                  <c:v>-2.39398</c:v>
                </c:pt>
                <c:pt idx="8497">
                  <c:v>#N/A</c:v>
                </c:pt>
                <c:pt idx="8498">
                  <c:v>-1.24152</c:v>
                </c:pt>
                <c:pt idx="8499">
                  <c:v>-1.2512399999999999</c:v>
                </c:pt>
                <c:pt idx="8500">
                  <c:v>#N/A</c:v>
                </c:pt>
                <c:pt idx="8501">
                  <c:v>-1.3235600000000001</c:v>
                </c:pt>
                <c:pt idx="8502">
                  <c:v>-1.84598</c:v>
                </c:pt>
                <c:pt idx="8503">
                  <c:v>-2.2187100000000002</c:v>
                </c:pt>
                <c:pt idx="8504">
                  <c:v>#N/A</c:v>
                </c:pt>
                <c:pt idx="8505">
                  <c:v>-2.9855299999999998</c:v>
                </c:pt>
                <c:pt idx="8506">
                  <c:v>-2.8260800000000001</c:v>
                </c:pt>
                <c:pt idx="8507">
                  <c:v>-2.4196300000000002</c:v>
                </c:pt>
                <c:pt idx="8508">
                  <c:v>#N/A</c:v>
                </c:pt>
                <c:pt idx="8509">
                  <c:v>-1.65635</c:v>
                </c:pt>
                <c:pt idx="8510">
                  <c:v>-1.3634500000000001</c:v>
                </c:pt>
                <c:pt idx="8511">
                  <c:v>-1.09243</c:v>
                </c:pt>
                <c:pt idx="8512">
                  <c:v>#N/A</c:v>
                </c:pt>
                <c:pt idx="8513">
                  <c:v>-2.43499</c:v>
                </c:pt>
                <c:pt idx="8514">
                  <c:v>-3.03694</c:v>
                </c:pt>
                <c:pt idx="8515">
                  <c:v>-2.6654200000000001</c:v>
                </c:pt>
                <c:pt idx="8516">
                  <c:v>#N/A</c:v>
                </c:pt>
                <c:pt idx="8517">
                  <c:v>-3.0449999999999999</c:v>
                </c:pt>
                <c:pt idx="8518">
                  <c:v>-2.4394999999999998</c:v>
                </c:pt>
                <c:pt idx="8519">
                  <c:v>-2.3855900000000001</c:v>
                </c:pt>
                <c:pt idx="8520">
                  <c:v>#N/A</c:v>
                </c:pt>
                <c:pt idx="8521">
                  <c:v>-2.1691500000000001</c:v>
                </c:pt>
                <c:pt idx="8522">
                  <c:v>-2.1005199999999999</c:v>
                </c:pt>
                <c:pt idx="8523">
                  <c:v>-2.4762599999999999</c:v>
                </c:pt>
                <c:pt idx="8524">
                  <c:v>#N/A</c:v>
                </c:pt>
                <c:pt idx="8525">
                  <c:v>-2.2187700000000001</c:v>
                </c:pt>
                <c:pt idx="8526">
                  <c:v>-2.3858100000000002</c:v>
                </c:pt>
                <c:pt idx="8527">
                  <c:v>-2.4118499999999998</c:v>
                </c:pt>
                <c:pt idx="8528">
                  <c:v>#N/A</c:v>
                </c:pt>
                <c:pt idx="8529">
                  <c:v>-2.0128900000000001</c:v>
                </c:pt>
                <c:pt idx="8530">
                  <c:v>-1.70167</c:v>
                </c:pt>
                <c:pt idx="8531">
                  <c:v>-1.92039</c:v>
                </c:pt>
                <c:pt idx="8532">
                  <c:v>#N/A</c:v>
                </c:pt>
                <c:pt idx="8533">
                  <c:v>-1.35758</c:v>
                </c:pt>
                <c:pt idx="8534">
                  <c:v>-2.1741199999999998</c:v>
                </c:pt>
                <c:pt idx="8535">
                  <c:v>-1.98366</c:v>
                </c:pt>
                <c:pt idx="8536">
                  <c:v>#N/A</c:v>
                </c:pt>
                <c:pt idx="8537">
                  <c:v>-1.48638</c:v>
                </c:pt>
                <c:pt idx="8538">
                  <c:v>-1.4669700000000001</c:v>
                </c:pt>
                <c:pt idx="8539">
                  <c:v>-1.6713800000000001</c:v>
                </c:pt>
                <c:pt idx="8540">
                  <c:v>#N/A</c:v>
                </c:pt>
                <c:pt idx="8541">
                  <c:v>-1.33125</c:v>
                </c:pt>
                <c:pt idx="8542">
                  <c:v>-2.0595400000000001</c:v>
                </c:pt>
                <c:pt idx="8543">
                  <c:v>#N/A</c:v>
                </c:pt>
                <c:pt idx="8544">
                  <c:v>-1.7422200000000001</c:v>
                </c:pt>
                <c:pt idx="8545">
                  <c:v>-2.3109999999999999</c:v>
                </c:pt>
                <c:pt idx="8546">
                  <c:v>-2.4654500000000001</c:v>
                </c:pt>
                <c:pt idx="8547">
                  <c:v>#N/A</c:v>
                </c:pt>
                <c:pt idx="8548">
                  <c:v>-2.8548</c:v>
                </c:pt>
                <c:pt idx="8549">
                  <c:v>-1.87785</c:v>
                </c:pt>
                <c:pt idx="8550">
                  <c:v>-1.6002799999999999</c:v>
                </c:pt>
                <c:pt idx="8551">
                  <c:v>#N/A</c:v>
                </c:pt>
                <c:pt idx="8552">
                  <c:v>-1.7909900000000001</c:v>
                </c:pt>
                <c:pt idx="8553">
                  <c:v>-2.2432699999999999</c:v>
                </c:pt>
                <c:pt idx="8554">
                  <c:v>-2.0342099999999999</c:v>
                </c:pt>
                <c:pt idx="8555">
                  <c:v>#N/A</c:v>
                </c:pt>
                <c:pt idx="8556">
                  <c:v>-3.1709900000000002</c:v>
                </c:pt>
                <c:pt idx="8557">
                  <c:v>-2.9443199999999998</c:v>
                </c:pt>
                <c:pt idx="8558">
                  <c:v>-2.2715100000000001</c:v>
                </c:pt>
                <c:pt idx="8559">
                  <c:v>#N/A</c:v>
                </c:pt>
                <c:pt idx="8560">
                  <c:v>-1.99699</c:v>
                </c:pt>
                <c:pt idx="8561">
                  <c:v>-1.11208</c:v>
                </c:pt>
                <c:pt idx="8562">
                  <c:v>-0.84394400000000003</c:v>
                </c:pt>
                <c:pt idx="8563">
                  <c:v>#N/A</c:v>
                </c:pt>
                <c:pt idx="8564">
                  <c:v>-1.19346</c:v>
                </c:pt>
                <c:pt idx="8565">
                  <c:v>-2.3700600000000001</c:v>
                </c:pt>
                <c:pt idx="8566">
                  <c:v>#N/A</c:v>
                </c:pt>
                <c:pt idx="8567">
                  <c:v>-2.7937400000000001</c:v>
                </c:pt>
                <c:pt idx="8568">
                  <c:v>-2.59171</c:v>
                </c:pt>
                <c:pt idx="8569">
                  <c:v>-1.9406600000000001</c:v>
                </c:pt>
                <c:pt idx="8570">
                  <c:v>#N/A</c:v>
                </c:pt>
                <c:pt idx="8571">
                  <c:v>-1.94218</c:v>
                </c:pt>
                <c:pt idx="8572">
                  <c:v>-0.940141</c:v>
                </c:pt>
                <c:pt idx="8573">
                  <c:v>-1.43946</c:v>
                </c:pt>
                <c:pt idx="8574">
                  <c:v>#N/A</c:v>
                </c:pt>
                <c:pt idx="8575">
                  <c:v>-2.1575799999999998</c:v>
                </c:pt>
                <c:pt idx="8576">
                  <c:v>-2.6080899999999998</c:v>
                </c:pt>
                <c:pt idx="8577">
                  <c:v>-3.0520399999999999</c:v>
                </c:pt>
                <c:pt idx="8578">
                  <c:v>#N/A</c:v>
                </c:pt>
                <c:pt idx="8579">
                  <c:v>-2.7757200000000002</c:v>
                </c:pt>
                <c:pt idx="8580">
                  <c:v>-2.5112299999999999</c:v>
                </c:pt>
                <c:pt idx="8581">
                  <c:v>-2.0606200000000001</c:v>
                </c:pt>
                <c:pt idx="8582">
                  <c:v>#N/A</c:v>
                </c:pt>
                <c:pt idx="8583">
                  <c:v>-0.947434</c:v>
                </c:pt>
                <c:pt idx="8584">
                  <c:v>-1.36788</c:v>
                </c:pt>
                <c:pt idx="8585">
                  <c:v>-1.17519</c:v>
                </c:pt>
                <c:pt idx="8586">
                  <c:v>#N/A</c:v>
                </c:pt>
                <c:pt idx="8587">
                  <c:v>-2.4847000000000001</c:v>
                </c:pt>
                <c:pt idx="8588">
                  <c:v>-3.0159799999999999</c:v>
                </c:pt>
                <c:pt idx="8589">
                  <c:v>-2.65381</c:v>
                </c:pt>
                <c:pt idx="8590">
                  <c:v>#N/A</c:v>
                </c:pt>
                <c:pt idx="8591">
                  <c:v>-2.0162399999999998</c:v>
                </c:pt>
                <c:pt idx="8592">
                  <c:v>-2.48915</c:v>
                </c:pt>
                <c:pt idx="8593">
                  <c:v>-1.1943299999999999</c:v>
                </c:pt>
                <c:pt idx="8594">
                  <c:v>#N/A</c:v>
                </c:pt>
                <c:pt idx="8595">
                  <c:v>-1.7864500000000001</c:v>
                </c:pt>
                <c:pt idx="8596">
                  <c:v>-1.70624</c:v>
                </c:pt>
                <c:pt idx="8597">
                  <c:v>#N/A</c:v>
                </c:pt>
                <c:pt idx="8598">
                  <c:v>-1.3906499999999999</c:v>
                </c:pt>
                <c:pt idx="8599">
                  <c:v>-2.65097</c:v>
                </c:pt>
                <c:pt idx="8600">
                  <c:v>-2.4006400000000001</c:v>
                </c:pt>
                <c:pt idx="8601">
                  <c:v>#N/A</c:v>
                </c:pt>
                <c:pt idx="8602">
                  <c:v>-1.5417400000000001</c:v>
                </c:pt>
                <c:pt idx="8603">
                  <c:v>-1.21919</c:v>
                </c:pt>
                <c:pt idx="8604">
                  <c:v>-1.4591700000000001</c:v>
                </c:pt>
                <c:pt idx="8605">
                  <c:v>#N/A</c:v>
                </c:pt>
                <c:pt idx="8606">
                  <c:v>-1.36121</c:v>
                </c:pt>
                <c:pt idx="8607">
                  <c:v>-2.1242000000000001</c:v>
                </c:pt>
                <c:pt idx="8608">
                  <c:v>#N/A</c:v>
                </c:pt>
                <c:pt idx="8609">
                  <c:v>-2.3143400000000001</c:v>
                </c:pt>
                <c:pt idx="8610">
                  <c:v>-1.7310099999999999</c:v>
                </c:pt>
                <c:pt idx="8611">
                  <c:v>-1.88161</c:v>
                </c:pt>
                <c:pt idx="8612">
                  <c:v>#N/A</c:v>
                </c:pt>
                <c:pt idx="8613">
                  <c:v>-1.72814</c:v>
                </c:pt>
                <c:pt idx="8614">
                  <c:v>-1.9807900000000001</c:v>
                </c:pt>
                <c:pt idx="8615">
                  <c:v>-2.50501</c:v>
                </c:pt>
                <c:pt idx="8616">
                  <c:v>#N/A</c:v>
                </c:pt>
                <c:pt idx="8617">
                  <c:v>-3.3052199999999998</c:v>
                </c:pt>
                <c:pt idx="8618">
                  <c:v>-2.7925</c:v>
                </c:pt>
                <c:pt idx="8619">
                  <c:v>-3.0241099999999999</c:v>
                </c:pt>
                <c:pt idx="8620">
                  <c:v>#N/A</c:v>
                </c:pt>
                <c:pt idx="8621">
                  <c:v>-2.6488100000000001</c:v>
                </c:pt>
                <c:pt idx="8622">
                  <c:v>-1.62981</c:v>
                </c:pt>
                <c:pt idx="8623">
                  <c:v>-1.5748200000000001</c:v>
                </c:pt>
                <c:pt idx="8624">
                  <c:v>#N/A</c:v>
                </c:pt>
                <c:pt idx="8625">
                  <c:v>-1.06853</c:v>
                </c:pt>
                <c:pt idx="8626">
                  <c:v>-1.64293</c:v>
                </c:pt>
                <c:pt idx="8627">
                  <c:v>#N/A</c:v>
                </c:pt>
                <c:pt idx="8628">
                  <c:v>-1.80175</c:v>
                </c:pt>
                <c:pt idx="8629">
                  <c:v>-2.7841499999999999</c:v>
                </c:pt>
                <c:pt idx="8630">
                  <c:v>-2.66953</c:v>
                </c:pt>
                <c:pt idx="8631">
                  <c:v>#N/A</c:v>
                </c:pt>
                <c:pt idx="8632">
                  <c:v>-2.0122599999999999</c:v>
                </c:pt>
                <c:pt idx="8633">
                  <c:v>-1.7317100000000001</c:v>
                </c:pt>
                <c:pt idx="8634">
                  <c:v>-1.0928</c:v>
                </c:pt>
                <c:pt idx="8635">
                  <c:v>#N/A</c:v>
                </c:pt>
                <c:pt idx="8636">
                  <c:v>-1.7596000000000001</c:v>
                </c:pt>
                <c:pt idx="8637">
                  <c:v>-2.02068</c:v>
                </c:pt>
                <c:pt idx="8638">
                  <c:v>-2.5088300000000001</c:v>
                </c:pt>
                <c:pt idx="8639">
                  <c:v>#N/A</c:v>
                </c:pt>
                <c:pt idx="8640">
                  <c:v>-2.1738</c:v>
                </c:pt>
                <c:pt idx="8641">
                  <c:v>-2.86802</c:v>
                </c:pt>
                <c:pt idx="8642">
                  <c:v>-2.2067600000000001</c:v>
                </c:pt>
                <c:pt idx="8643">
                  <c:v>#N/A</c:v>
                </c:pt>
                <c:pt idx="8644">
                  <c:v>-1.7486299999999999</c:v>
                </c:pt>
                <c:pt idx="8645">
                  <c:v>-1.2956700000000001</c:v>
                </c:pt>
                <c:pt idx="8646">
                  <c:v>-1.5653699999999999</c:v>
                </c:pt>
                <c:pt idx="8647">
                  <c:v>#N/A</c:v>
                </c:pt>
                <c:pt idx="8648">
                  <c:v>-1.6486499999999999</c:v>
                </c:pt>
                <c:pt idx="8649">
                  <c:v>-2.44048</c:v>
                </c:pt>
                <c:pt idx="8650">
                  <c:v>#N/A</c:v>
                </c:pt>
                <c:pt idx="8651">
                  <c:v>-2.78633</c:v>
                </c:pt>
                <c:pt idx="8652">
                  <c:v>-2.9940000000000002</c:v>
                </c:pt>
                <c:pt idx="8653">
                  <c:v>-2.5419800000000001</c:v>
                </c:pt>
                <c:pt idx="8654">
                  <c:v>#N/A</c:v>
                </c:pt>
                <c:pt idx="8655">
                  <c:v>-1.7812699999999999</c:v>
                </c:pt>
                <c:pt idx="8656">
                  <c:v>-1.54315</c:v>
                </c:pt>
                <c:pt idx="8657">
                  <c:v>-0.95814600000000005</c:v>
                </c:pt>
                <c:pt idx="8658">
                  <c:v>#N/A</c:v>
                </c:pt>
                <c:pt idx="8659">
                  <c:v>-1.1552</c:v>
                </c:pt>
                <c:pt idx="8660">
                  <c:v>-2.4332699999999998</c:v>
                </c:pt>
                <c:pt idx="8661">
                  <c:v>-2.5225499999999998</c:v>
                </c:pt>
                <c:pt idx="8662">
                  <c:v>#N/A</c:v>
                </c:pt>
                <c:pt idx="8663">
                  <c:v>-2.8299099999999999</c:v>
                </c:pt>
                <c:pt idx="8664">
                  <c:v>-2.0474000000000001</c:v>
                </c:pt>
                <c:pt idx="8665">
                  <c:v>-1.13476</c:v>
                </c:pt>
                <c:pt idx="8666">
                  <c:v>#N/A</c:v>
                </c:pt>
                <c:pt idx="8667">
                  <c:v>-1.1540999999999999</c:v>
                </c:pt>
                <c:pt idx="8668">
                  <c:v>-1.72878</c:v>
                </c:pt>
                <c:pt idx="8669">
                  <c:v>-2.0598999999999998</c:v>
                </c:pt>
                <c:pt idx="8670">
                  <c:v>#N/A</c:v>
                </c:pt>
                <c:pt idx="8671">
                  <c:v>-2.30498</c:v>
                </c:pt>
                <c:pt idx="8672">
                  <c:v>-2.1658400000000002</c:v>
                </c:pt>
                <c:pt idx="8673">
                  <c:v>#N/A</c:v>
                </c:pt>
                <c:pt idx="8674">
                  <c:v>-2.0212300000000001</c:v>
                </c:pt>
                <c:pt idx="8675">
                  <c:v>-1.92038</c:v>
                </c:pt>
                <c:pt idx="8676">
                  <c:v>-1.4177299999999999</c:v>
                </c:pt>
                <c:pt idx="8677">
                  <c:v>#N/A</c:v>
                </c:pt>
                <c:pt idx="8678">
                  <c:v>-2.06304</c:v>
                </c:pt>
                <c:pt idx="8679">
                  <c:v>-2.3097099999999999</c:v>
                </c:pt>
                <c:pt idx="8680">
                  <c:v>-2.3529399999999998</c:v>
                </c:pt>
                <c:pt idx="8681">
                  <c:v>#N/A</c:v>
                </c:pt>
                <c:pt idx="8682">
                  <c:v>-2.51363</c:v>
                </c:pt>
                <c:pt idx="8683">
                  <c:v>-2.1664699999999999</c:v>
                </c:pt>
                <c:pt idx="8684">
                  <c:v>-1.5943700000000001</c:v>
                </c:pt>
                <c:pt idx="8685">
                  <c:v>#N/A</c:v>
                </c:pt>
                <c:pt idx="8686">
                  <c:v>-2.0465900000000001</c:v>
                </c:pt>
                <c:pt idx="8687">
                  <c:v>-1.5713299999999999</c:v>
                </c:pt>
                <c:pt idx="8688">
                  <c:v>-1.6713100000000001</c:v>
                </c:pt>
                <c:pt idx="8689">
                  <c:v>#N/A</c:v>
                </c:pt>
                <c:pt idx="8690">
                  <c:v>-2.3851300000000002</c:v>
                </c:pt>
                <c:pt idx="8691">
                  <c:v>-2.1108099999999999</c:v>
                </c:pt>
                <c:pt idx="8692">
                  <c:v>-2.4792900000000002</c:v>
                </c:pt>
                <c:pt idx="8693">
                  <c:v>#N/A</c:v>
                </c:pt>
                <c:pt idx="8694">
                  <c:v>-2.0709499999999998</c:v>
                </c:pt>
                <c:pt idx="8695">
                  <c:v>-2.1865100000000002</c:v>
                </c:pt>
                <c:pt idx="8696">
                  <c:v>-1.9379299999999999</c:v>
                </c:pt>
                <c:pt idx="8697">
                  <c:v>#N/A</c:v>
                </c:pt>
                <c:pt idx="8698">
                  <c:v>-1.9344699999999999</c:v>
                </c:pt>
                <c:pt idx="8699">
                  <c:v>-2.17144</c:v>
                </c:pt>
                <c:pt idx="8700">
                  <c:v>-2.4141900000000001</c:v>
                </c:pt>
                <c:pt idx="8701">
                  <c:v>#N/A</c:v>
                </c:pt>
                <c:pt idx="8702">
                  <c:v>-2.2548900000000001</c:v>
                </c:pt>
                <c:pt idx="8703">
                  <c:v>-2.5276800000000001</c:v>
                </c:pt>
                <c:pt idx="8704">
                  <c:v>#N/A</c:v>
                </c:pt>
                <c:pt idx="8705">
                  <c:v>-2.1936</c:v>
                </c:pt>
                <c:pt idx="8706">
                  <c:v>-1.9332499999999999</c:v>
                </c:pt>
                <c:pt idx="8707">
                  <c:v>-1.04881</c:v>
                </c:pt>
                <c:pt idx="8708">
                  <c:v>#N/A</c:v>
                </c:pt>
                <c:pt idx="8709">
                  <c:v>-1.84948</c:v>
                </c:pt>
                <c:pt idx="8710">
                  <c:v>-2.3270900000000001</c:v>
                </c:pt>
                <c:pt idx="8711">
                  <c:v>#N/A</c:v>
                </c:pt>
                <c:pt idx="8712">
                  <c:v>#N/A</c:v>
                </c:pt>
                <c:pt idx="8713">
                  <c:v>-2.8131200000000001</c:v>
                </c:pt>
                <c:pt idx="8714">
                  <c:v>-2.8736000000000002</c:v>
                </c:pt>
                <c:pt idx="8715">
                  <c:v>-2.36557</c:v>
                </c:pt>
                <c:pt idx="8716">
                  <c:v>#N/A</c:v>
                </c:pt>
                <c:pt idx="8717">
                  <c:v>-1.9686600000000001</c:v>
                </c:pt>
                <c:pt idx="8718">
                  <c:v>-1.46837</c:v>
                </c:pt>
                <c:pt idx="8719">
                  <c:v>#N/A</c:v>
                </c:pt>
                <c:pt idx="8720">
                  <c:v>-0.92074500000000004</c:v>
                </c:pt>
                <c:pt idx="8721">
                  <c:v>-1.5824400000000001</c:v>
                </c:pt>
                <c:pt idx="8722">
                  <c:v>-2.4136099999999998</c:v>
                </c:pt>
                <c:pt idx="8723">
                  <c:v>#N/A</c:v>
                </c:pt>
                <c:pt idx="8724">
                  <c:v>-2.4243399999999999</c:v>
                </c:pt>
                <c:pt idx="8725">
                  <c:v>-3.0992500000000001</c:v>
                </c:pt>
                <c:pt idx="8726">
                  <c:v>-2.3534999999999999</c:v>
                </c:pt>
                <c:pt idx="8727">
                  <c:v>#N/A</c:v>
                </c:pt>
                <c:pt idx="8728">
                  <c:v>-1.57741</c:v>
                </c:pt>
                <c:pt idx="8729">
                  <c:v>-1.6701600000000001</c:v>
                </c:pt>
                <c:pt idx="8730">
                  <c:v>-1.41442</c:v>
                </c:pt>
                <c:pt idx="8731">
                  <c:v>#N/A</c:v>
                </c:pt>
                <c:pt idx="8732">
                  <c:v>-1.04637</c:v>
                </c:pt>
                <c:pt idx="8733">
                  <c:v>-1.79392</c:v>
                </c:pt>
                <c:pt idx="8734">
                  <c:v>-3.1776300000000002</c:v>
                </c:pt>
                <c:pt idx="8735">
                  <c:v>#N/A</c:v>
                </c:pt>
                <c:pt idx="8736">
                  <c:v>-2.77244</c:v>
                </c:pt>
                <c:pt idx="8737">
                  <c:v>-2.1424300000000001</c:v>
                </c:pt>
                <c:pt idx="8738">
                  <c:v>-1.83819</c:v>
                </c:pt>
                <c:pt idx="8739">
                  <c:v>#N/A</c:v>
                </c:pt>
                <c:pt idx="8740">
                  <c:v>-1.89899</c:v>
                </c:pt>
                <c:pt idx="8741">
                  <c:v>-1.95974</c:v>
                </c:pt>
                <c:pt idx="8742">
                  <c:v>#N/A</c:v>
                </c:pt>
                <c:pt idx="8743">
                  <c:v>-2.0561400000000001</c:v>
                </c:pt>
                <c:pt idx="8744">
                  <c:v>-2.2001300000000001</c:v>
                </c:pt>
                <c:pt idx="8745">
                  <c:v>-2.43737</c:v>
                </c:pt>
                <c:pt idx="8746">
                  <c:v>#N/A</c:v>
                </c:pt>
                <c:pt idx="8747">
                  <c:v>-2.7433900000000002</c:v>
                </c:pt>
                <c:pt idx="8748">
                  <c:v>-2.4468399999999999</c:v>
                </c:pt>
                <c:pt idx="8749">
                  <c:v>-2.16526</c:v>
                </c:pt>
                <c:pt idx="8750">
                  <c:v>#N/A</c:v>
                </c:pt>
                <c:pt idx="8751">
                  <c:v>-1.8306899999999999</c:v>
                </c:pt>
                <c:pt idx="8752">
                  <c:v>-1.9188499999999999</c:v>
                </c:pt>
                <c:pt idx="8753">
                  <c:v>-2.2052900000000002</c:v>
                </c:pt>
                <c:pt idx="8754">
                  <c:v>#N/A</c:v>
                </c:pt>
                <c:pt idx="8755">
                  <c:v>-2.19157</c:v>
                </c:pt>
                <c:pt idx="8756">
                  <c:v>-2.38043</c:v>
                </c:pt>
                <c:pt idx="8757">
                  <c:v>-2.4278900000000001</c:v>
                </c:pt>
                <c:pt idx="8758">
                  <c:v>#N/A</c:v>
                </c:pt>
                <c:pt idx="8759">
                  <c:v>-2.5834700000000002</c:v>
                </c:pt>
                <c:pt idx="8760">
                  <c:v>-1.6928399999999999</c:v>
                </c:pt>
                <c:pt idx="8761">
                  <c:v>-1.9413400000000001</c:v>
                </c:pt>
                <c:pt idx="8762">
                  <c:v>#N/A</c:v>
                </c:pt>
                <c:pt idx="8763">
                  <c:v>-1.46675</c:v>
                </c:pt>
                <c:pt idx="8764">
                  <c:v>-2.2544499999999998</c:v>
                </c:pt>
                <c:pt idx="8765">
                  <c:v>-2.5783700000000001</c:v>
                </c:pt>
                <c:pt idx="8766">
                  <c:v>#N/A</c:v>
                </c:pt>
                <c:pt idx="8767">
                  <c:v>-2.9243299999999999</c:v>
                </c:pt>
                <c:pt idx="8768">
                  <c:v>-1.62097</c:v>
                </c:pt>
                <c:pt idx="8769">
                  <c:v>-1.8180799999999999</c:v>
                </c:pt>
                <c:pt idx="8770">
                  <c:v>#N/A</c:v>
                </c:pt>
                <c:pt idx="8771">
                  <c:v>-1.35057</c:v>
                </c:pt>
                <c:pt idx="8772">
                  <c:v>-1.89009</c:v>
                </c:pt>
                <c:pt idx="8773">
                  <c:v>#N/A</c:v>
                </c:pt>
                <c:pt idx="8774">
                  <c:v>-2.0703999999999998</c:v>
                </c:pt>
                <c:pt idx="8775">
                  <c:v>-2.58108</c:v>
                </c:pt>
                <c:pt idx="8776">
                  <c:v>-2.6243400000000001</c:v>
                </c:pt>
                <c:pt idx="8777">
                  <c:v>#N/A</c:v>
                </c:pt>
                <c:pt idx="8778">
                  <c:v>-2.5434800000000002</c:v>
                </c:pt>
                <c:pt idx="8779">
                  <c:v>-1.9236899999999999</c:v>
                </c:pt>
                <c:pt idx="8780">
                  <c:v>-1.17805</c:v>
                </c:pt>
                <c:pt idx="8781">
                  <c:v>#N/A</c:v>
                </c:pt>
                <c:pt idx="8782">
                  <c:v>-1.2028099999999999</c:v>
                </c:pt>
                <c:pt idx="8783">
                  <c:v>-1.8214600000000001</c:v>
                </c:pt>
                <c:pt idx="8784">
                  <c:v>#N/A</c:v>
                </c:pt>
                <c:pt idx="8785">
                  <c:v>-2.13964</c:v>
                </c:pt>
                <c:pt idx="8786">
                  <c:v>-2.9434800000000001</c:v>
                </c:pt>
                <c:pt idx="8787">
                  <c:v>#N/A</c:v>
                </c:pt>
                <c:pt idx="8788">
                  <c:v>-2.4268700000000001</c:v>
                </c:pt>
                <c:pt idx="8789">
                  <c:v>#N/A</c:v>
                </c:pt>
                <c:pt idx="8790">
                  <c:v>-2.2193999999999998</c:v>
                </c:pt>
                <c:pt idx="8791">
                  <c:v>-1.1032500000000001</c:v>
                </c:pt>
                <c:pt idx="8792">
                  <c:v>-1.1090500000000001</c:v>
                </c:pt>
                <c:pt idx="8793">
                  <c:v>#N/A</c:v>
                </c:pt>
                <c:pt idx="8794">
                  <c:v>-0.86218499999999998</c:v>
                </c:pt>
                <c:pt idx="8795">
                  <c:v>-2.2824</c:v>
                </c:pt>
                <c:pt idx="8796">
                  <c:v>#N/A</c:v>
                </c:pt>
                <c:pt idx="8797">
                  <c:v>-2.5868099999999998</c:v>
                </c:pt>
                <c:pt idx="8798">
                  <c:v>-2.8694000000000002</c:v>
                </c:pt>
                <c:pt idx="8799">
                  <c:v>-2.54583</c:v>
                </c:pt>
                <c:pt idx="8800">
                  <c:v>#N/A</c:v>
                </c:pt>
                <c:pt idx="8801">
                  <c:v>-2.3986499999999999</c:v>
                </c:pt>
                <c:pt idx="8802">
                  <c:v>-1.9321299999999999</c:v>
                </c:pt>
                <c:pt idx="8803">
                  <c:v>-1.69882</c:v>
                </c:pt>
                <c:pt idx="8804">
                  <c:v>#N/A</c:v>
                </c:pt>
                <c:pt idx="8805">
                  <c:v>-1.4833499999999999</c:v>
                </c:pt>
                <c:pt idx="8806">
                  <c:v>-1.4991000000000001</c:v>
                </c:pt>
                <c:pt idx="8807">
                  <c:v>-2.7429000000000001</c:v>
                </c:pt>
                <c:pt idx="8808">
                  <c:v>#N/A</c:v>
                </c:pt>
                <c:pt idx="8809">
                  <c:v>-2.1661000000000001</c:v>
                </c:pt>
                <c:pt idx="8810">
                  <c:v>#N/A</c:v>
                </c:pt>
                <c:pt idx="8811">
                  <c:v>#N/A</c:v>
                </c:pt>
                <c:pt idx="8812">
                  <c:v>-2.1903999999999999</c:v>
                </c:pt>
                <c:pt idx="8813">
                  <c:v>-1.62625</c:v>
                </c:pt>
                <c:pt idx="8814">
                  <c:v>-1.7241599999999999</c:v>
                </c:pt>
                <c:pt idx="8815">
                  <c:v>#N/A</c:v>
                </c:pt>
                <c:pt idx="8816">
                  <c:v>-1.71556</c:v>
                </c:pt>
                <c:pt idx="8817">
                  <c:v>-2.16439</c:v>
                </c:pt>
                <c:pt idx="8818">
                  <c:v>-2.4725199999999998</c:v>
                </c:pt>
                <c:pt idx="8819">
                  <c:v>#N/A</c:v>
                </c:pt>
                <c:pt idx="8820">
                  <c:v>-2.65123</c:v>
                </c:pt>
                <c:pt idx="8821">
                  <c:v>-2.5193699999999999</c:v>
                </c:pt>
                <c:pt idx="8822">
                  <c:v>-2.30789</c:v>
                </c:pt>
                <c:pt idx="8823">
                  <c:v>#N/A</c:v>
                </c:pt>
                <c:pt idx="8824">
                  <c:v>-1.66008</c:v>
                </c:pt>
                <c:pt idx="8825">
                  <c:v>-2.0935299999999999</c:v>
                </c:pt>
                <c:pt idx="8826">
                  <c:v>-1.9839500000000001</c:v>
                </c:pt>
                <c:pt idx="8827">
                  <c:v>#N/A</c:v>
                </c:pt>
                <c:pt idx="8828">
                  <c:v>-1.9337</c:v>
                </c:pt>
                <c:pt idx="8829">
                  <c:v>-2.2545999999999999</c:v>
                </c:pt>
                <c:pt idx="8830">
                  <c:v>-1.8785000000000001</c:v>
                </c:pt>
                <c:pt idx="8831">
                  <c:v>#N/A</c:v>
                </c:pt>
                <c:pt idx="8832">
                  <c:v>-1.8065</c:v>
                </c:pt>
                <c:pt idx="8833">
                  <c:v>-1.4649700000000001</c:v>
                </c:pt>
                <c:pt idx="8834">
                  <c:v>-1.4406000000000001</c:v>
                </c:pt>
                <c:pt idx="8835">
                  <c:v>#N/A</c:v>
                </c:pt>
                <c:pt idx="8836">
                  <c:v>-1.5665100000000001</c:v>
                </c:pt>
                <c:pt idx="8837">
                  <c:v>-2.82193</c:v>
                </c:pt>
                <c:pt idx="8838">
                  <c:v>-2.8740800000000002</c:v>
                </c:pt>
                <c:pt idx="8839">
                  <c:v>#N/A</c:v>
                </c:pt>
                <c:pt idx="8840">
                  <c:v>-2.3933200000000001</c:v>
                </c:pt>
                <c:pt idx="8841">
                  <c:v>-1.74115</c:v>
                </c:pt>
                <c:pt idx="8842">
                  <c:v>#N/A</c:v>
                </c:pt>
                <c:pt idx="8843">
                  <c:v>-1.60659</c:v>
                </c:pt>
                <c:pt idx="8844">
                  <c:v>-1.2448300000000001</c:v>
                </c:pt>
                <c:pt idx="8845">
                  <c:v>-1.94425</c:v>
                </c:pt>
                <c:pt idx="8846">
                  <c:v>#N/A</c:v>
                </c:pt>
                <c:pt idx="8847">
                  <c:v>-2.5239500000000001</c:v>
                </c:pt>
                <c:pt idx="8848">
                  <c:v>-2.7995999999999999</c:v>
                </c:pt>
                <c:pt idx="8849">
                  <c:v>-3.23394</c:v>
                </c:pt>
                <c:pt idx="8850">
                  <c:v>#N/A</c:v>
                </c:pt>
                <c:pt idx="8851">
                  <c:v>-2.8062800000000001</c:v>
                </c:pt>
                <c:pt idx="8852">
                  <c:v>-1.6697200000000001</c:v>
                </c:pt>
                <c:pt idx="8853">
                  <c:v>-1.0090699999999999</c:v>
                </c:pt>
                <c:pt idx="8854">
                  <c:v>#N/A</c:v>
                </c:pt>
                <c:pt idx="8855">
                  <c:v>-1.0382100000000001</c:v>
                </c:pt>
                <c:pt idx="8856">
                  <c:v>-1.5205900000000001</c:v>
                </c:pt>
                <c:pt idx="8857">
                  <c:v>-2.0599599999999998</c:v>
                </c:pt>
                <c:pt idx="8858">
                  <c:v>#N/A</c:v>
                </c:pt>
                <c:pt idx="8859">
                  <c:v>-3.1591999999999998</c:v>
                </c:pt>
                <c:pt idx="8860">
                  <c:v>#N/A</c:v>
                </c:pt>
                <c:pt idx="8861">
                  <c:v>-3.1412100000000001</c:v>
                </c:pt>
                <c:pt idx="8862">
                  <c:v>-2.4459200000000001</c:v>
                </c:pt>
                <c:pt idx="8863">
                  <c:v>#N/A</c:v>
                </c:pt>
                <c:pt idx="8864">
                  <c:v>-1.8067200000000001</c:v>
                </c:pt>
                <c:pt idx="8865">
                  <c:v>-1.1282099999999999</c:v>
                </c:pt>
                <c:pt idx="8866">
                  <c:v>-1.55297</c:v>
                </c:pt>
                <c:pt idx="8867">
                  <c:v>#N/A</c:v>
                </c:pt>
                <c:pt idx="8868">
                  <c:v>-1.8071200000000001</c:v>
                </c:pt>
                <c:pt idx="8869">
                  <c:v>-2.46306</c:v>
                </c:pt>
                <c:pt idx="8870">
                  <c:v>#N/A</c:v>
                </c:pt>
                <c:pt idx="8871">
                  <c:v>-2.82612</c:v>
                </c:pt>
                <c:pt idx="8872">
                  <c:v>-2.9323600000000001</c:v>
                </c:pt>
                <c:pt idx="8873">
                  <c:v>-2.5210900000000001</c:v>
                </c:pt>
                <c:pt idx="8874">
                  <c:v>#N/A</c:v>
                </c:pt>
                <c:pt idx="8875">
                  <c:v>-1.74956</c:v>
                </c:pt>
                <c:pt idx="8876">
                  <c:v>-2.20234</c:v>
                </c:pt>
                <c:pt idx="8877">
                  <c:v>-2.72309</c:v>
                </c:pt>
                <c:pt idx="8878">
                  <c:v>#N/A</c:v>
                </c:pt>
                <c:pt idx="8879">
                  <c:v>-3.09456</c:v>
                </c:pt>
                <c:pt idx="8880">
                  <c:v>-2.5497399999999999</c:v>
                </c:pt>
                <c:pt idx="8881">
                  <c:v>-2.6095000000000002</c:v>
                </c:pt>
                <c:pt idx="8882">
                  <c:v>#N/A</c:v>
                </c:pt>
                <c:pt idx="8883">
                  <c:v>-2.1023499999999999</c:v>
                </c:pt>
                <c:pt idx="8884">
                  <c:v>-1.81199</c:v>
                </c:pt>
                <c:pt idx="8885">
                  <c:v>#N/A</c:v>
                </c:pt>
                <c:pt idx="8886">
                  <c:v>-0.98488100000000001</c:v>
                </c:pt>
                <c:pt idx="8887">
                  <c:v>-1.22041</c:v>
                </c:pt>
                <c:pt idx="8888">
                  <c:v>-1.2899799999999999</c:v>
                </c:pt>
                <c:pt idx="8889">
                  <c:v>#N/A</c:v>
                </c:pt>
                <c:pt idx="8890">
                  <c:v>-1.54416</c:v>
                </c:pt>
                <c:pt idx="8891">
                  <c:v>-1.7461</c:v>
                </c:pt>
                <c:pt idx="8892">
                  <c:v>-2.1664699999999999</c:v>
                </c:pt>
                <c:pt idx="8893">
                  <c:v>#N/A</c:v>
                </c:pt>
                <c:pt idx="8894">
                  <c:v>-1.54312</c:v>
                </c:pt>
                <c:pt idx="8895">
                  <c:v>-1.79918</c:v>
                </c:pt>
                <c:pt idx="8896">
                  <c:v>-1.77159</c:v>
                </c:pt>
                <c:pt idx="8897">
                  <c:v>#N/A</c:v>
                </c:pt>
                <c:pt idx="8898">
                  <c:v>-1.9481200000000001</c:v>
                </c:pt>
                <c:pt idx="8899">
                  <c:v>-2.0556000000000001</c:v>
                </c:pt>
                <c:pt idx="8900">
                  <c:v>-2.2467299999999999</c:v>
                </c:pt>
                <c:pt idx="8901">
                  <c:v>#N/A</c:v>
                </c:pt>
                <c:pt idx="8902">
                  <c:v>-2.4739100000000001</c:v>
                </c:pt>
                <c:pt idx="8903">
                  <c:v>-2.4167800000000002</c:v>
                </c:pt>
                <c:pt idx="8904">
                  <c:v>#N/A</c:v>
                </c:pt>
                <c:pt idx="8905">
                  <c:v>-2.1875100000000001</c:v>
                </c:pt>
                <c:pt idx="8906">
                  <c:v>-2.0354800000000002</c:v>
                </c:pt>
                <c:pt idx="8907">
                  <c:v>-2.2477399999999998</c:v>
                </c:pt>
                <c:pt idx="8908">
                  <c:v>#N/A</c:v>
                </c:pt>
                <c:pt idx="8909">
                  <c:v>-2.4245700000000001</c:v>
                </c:pt>
                <c:pt idx="8910">
                  <c:v>-1.95563</c:v>
                </c:pt>
                <c:pt idx="8911">
                  <c:v>-1.99573</c:v>
                </c:pt>
                <c:pt idx="8912">
                  <c:v>#N/A</c:v>
                </c:pt>
                <c:pt idx="8913">
                  <c:v>-1.7221599999999999</c:v>
                </c:pt>
                <c:pt idx="8914">
                  <c:v>-1.5257400000000001</c:v>
                </c:pt>
                <c:pt idx="8915">
                  <c:v>#N/A</c:v>
                </c:pt>
                <c:pt idx="8916">
                  <c:v>-1.3365100000000001</c:v>
                </c:pt>
                <c:pt idx="8917">
                  <c:v>-1.31934</c:v>
                </c:pt>
                <c:pt idx="8918">
                  <c:v>-1.3859900000000001</c:v>
                </c:pt>
                <c:pt idx="8919">
                  <c:v>#N/A</c:v>
                </c:pt>
                <c:pt idx="8920">
                  <c:v>-1.80308</c:v>
                </c:pt>
                <c:pt idx="8921">
                  <c:v>-2.6305800000000001</c:v>
                </c:pt>
                <c:pt idx="8922">
                  <c:v>-2.82498</c:v>
                </c:pt>
                <c:pt idx="8923">
                  <c:v>#N/A</c:v>
                </c:pt>
                <c:pt idx="8924">
                  <c:v>-2.4250099999999999</c:v>
                </c:pt>
                <c:pt idx="8925">
                  <c:v>-2.06623</c:v>
                </c:pt>
                <c:pt idx="8926">
                  <c:v>-2.4509599999999998</c:v>
                </c:pt>
                <c:pt idx="8927">
                  <c:v>#N/A</c:v>
                </c:pt>
                <c:pt idx="8928">
                  <c:v>-1.9865299999999999</c:v>
                </c:pt>
                <c:pt idx="8929">
                  <c:v>-2.2314400000000001</c:v>
                </c:pt>
                <c:pt idx="8930">
                  <c:v>-1.98193</c:v>
                </c:pt>
                <c:pt idx="8931">
                  <c:v>#N/A</c:v>
                </c:pt>
                <c:pt idx="8932">
                  <c:v>-2.4407999999999999</c:v>
                </c:pt>
                <c:pt idx="8933">
                  <c:v>-3.1120700000000001</c:v>
                </c:pt>
                <c:pt idx="8934">
                  <c:v>-2.9145699999999999</c:v>
                </c:pt>
                <c:pt idx="8935">
                  <c:v>#N/A</c:v>
                </c:pt>
                <c:pt idx="8936">
                  <c:v>-2.1189399999999998</c:v>
                </c:pt>
                <c:pt idx="8937">
                  <c:v>-0.78523399999999999</c:v>
                </c:pt>
                <c:pt idx="8938">
                  <c:v>#N/A</c:v>
                </c:pt>
                <c:pt idx="8939">
                  <c:v>-0.58707500000000001</c:v>
                </c:pt>
                <c:pt idx="8940">
                  <c:v>-1.0731299999999999</c:v>
                </c:pt>
                <c:pt idx="8941">
                  <c:v>-1.9762</c:v>
                </c:pt>
                <c:pt idx="8942">
                  <c:v>#N/A</c:v>
                </c:pt>
                <c:pt idx="8943">
                  <c:v>-2.9308100000000001</c:v>
                </c:pt>
                <c:pt idx="8944">
                  <c:v>-2.9297900000000001</c:v>
                </c:pt>
                <c:pt idx="8945">
                  <c:v>-2.5902599999999998</c:v>
                </c:pt>
                <c:pt idx="8946">
                  <c:v>#N/A</c:v>
                </c:pt>
                <c:pt idx="8947">
                  <c:v>-2.3245900000000002</c:v>
                </c:pt>
                <c:pt idx="8948">
                  <c:v>-1.77115</c:v>
                </c:pt>
                <c:pt idx="8949">
                  <c:v>-1.0873999999999999</c:v>
                </c:pt>
                <c:pt idx="8950">
                  <c:v>#N/A</c:v>
                </c:pt>
                <c:pt idx="8951">
                  <c:v>-1.5089300000000001</c:v>
                </c:pt>
                <c:pt idx="8952">
                  <c:v>-2.5517599999999998</c:v>
                </c:pt>
                <c:pt idx="8953">
                  <c:v>-2.8487399999999998</c:v>
                </c:pt>
                <c:pt idx="8954">
                  <c:v>#N/A</c:v>
                </c:pt>
                <c:pt idx="8955">
                  <c:v>-2.73929</c:v>
                </c:pt>
                <c:pt idx="8956">
                  <c:v>-2.5381200000000002</c:v>
                </c:pt>
                <c:pt idx="8957">
                  <c:v>-2.5861499999999999</c:v>
                </c:pt>
                <c:pt idx="8958">
                  <c:v>#N/A</c:v>
                </c:pt>
                <c:pt idx="8959">
                  <c:v>-2.0259299999999998</c:v>
                </c:pt>
                <c:pt idx="8960">
                  <c:v>-1.9149499999999999</c:v>
                </c:pt>
                <c:pt idx="8961">
                  <c:v>-1.7386900000000001</c:v>
                </c:pt>
                <c:pt idx="8962">
                  <c:v>#N/A</c:v>
                </c:pt>
                <c:pt idx="8963">
                  <c:v>-1.9275</c:v>
                </c:pt>
                <c:pt idx="8964">
                  <c:v>-2.1169099999999998</c:v>
                </c:pt>
                <c:pt idx="8965">
                  <c:v>-2.6475399999999998</c:v>
                </c:pt>
                <c:pt idx="8966">
                  <c:v>#N/A</c:v>
                </c:pt>
                <c:pt idx="8967">
                  <c:v>-2.1041799999999999</c:v>
                </c:pt>
                <c:pt idx="8968">
                  <c:v>-2.3633899999999999</c:v>
                </c:pt>
                <c:pt idx="8969">
                  <c:v>#N/A</c:v>
                </c:pt>
                <c:pt idx="8970">
                  <c:v>-1.9535100000000001</c:v>
                </c:pt>
                <c:pt idx="8971">
                  <c:v>-2.1123500000000002</c:v>
                </c:pt>
                <c:pt idx="8972">
                  <c:v>-2.1436099999999998</c:v>
                </c:pt>
                <c:pt idx="8973">
                  <c:v>#N/A</c:v>
                </c:pt>
                <c:pt idx="8974">
                  <c:v>-1.6676</c:v>
                </c:pt>
                <c:pt idx="8975">
                  <c:v>-2.2811599999999999</c:v>
                </c:pt>
                <c:pt idx="8976">
                  <c:v>-2.1434600000000001</c:v>
                </c:pt>
                <c:pt idx="8977">
                  <c:v>#N/A</c:v>
                </c:pt>
                <c:pt idx="8978">
                  <c:v>-2.0447799999999998</c:v>
                </c:pt>
                <c:pt idx="8979">
                  <c:v>-1.97082</c:v>
                </c:pt>
                <c:pt idx="8980">
                  <c:v>-1.8765000000000001</c:v>
                </c:pt>
                <c:pt idx="8981">
                  <c:v>#N/A</c:v>
                </c:pt>
                <c:pt idx="8982">
                  <c:v>-2.44652</c:v>
                </c:pt>
                <c:pt idx="8983">
                  <c:v>-2.62479</c:v>
                </c:pt>
                <c:pt idx="8984">
                  <c:v>-2.49715</c:v>
                </c:pt>
                <c:pt idx="8985">
                  <c:v>#N/A</c:v>
                </c:pt>
                <c:pt idx="8986">
                  <c:v>-2.0663399999999998</c:v>
                </c:pt>
                <c:pt idx="8987">
                  <c:v>-2.2543000000000002</c:v>
                </c:pt>
                <c:pt idx="8988">
                  <c:v>-2.33921</c:v>
                </c:pt>
                <c:pt idx="8989">
                  <c:v>#N/A</c:v>
                </c:pt>
                <c:pt idx="8990">
                  <c:v>-1.9521299999999999</c:v>
                </c:pt>
                <c:pt idx="8991">
                  <c:v>-1.89483</c:v>
                </c:pt>
                <c:pt idx="8992">
                  <c:v>-2.2157499999999999</c:v>
                </c:pt>
                <c:pt idx="8993">
                  <c:v>#N/A</c:v>
                </c:pt>
                <c:pt idx="8994">
                  <c:v>-2.5146799999999998</c:v>
                </c:pt>
                <c:pt idx="8995">
                  <c:v>-2.7383500000000001</c:v>
                </c:pt>
                <c:pt idx="8996">
                  <c:v>#N/A</c:v>
                </c:pt>
                <c:pt idx="8997">
                  <c:v>-2.9765000000000001</c:v>
                </c:pt>
                <c:pt idx="8998">
                  <c:v>-1.6058300000000001</c:v>
                </c:pt>
                <c:pt idx="8999">
                  <c:v>-1.60991</c:v>
                </c:pt>
                <c:pt idx="9000">
                  <c:v>#N/A</c:v>
                </c:pt>
                <c:pt idx="9001">
                  <c:v>-1.27711</c:v>
                </c:pt>
                <c:pt idx="9002">
                  <c:v>-1.46631</c:v>
                </c:pt>
                <c:pt idx="9003">
                  <c:v>-1.68123</c:v>
                </c:pt>
                <c:pt idx="9004">
                  <c:v>#N/A</c:v>
                </c:pt>
                <c:pt idx="9005">
                  <c:v>-2.49973</c:v>
                </c:pt>
                <c:pt idx="9006">
                  <c:v>-2.8219400000000001</c:v>
                </c:pt>
                <c:pt idx="9007">
                  <c:v>-2.5191400000000002</c:v>
                </c:pt>
                <c:pt idx="9008">
                  <c:v>#N/A</c:v>
                </c:pt>
                <c:pt idx="9009">
                  <c:v>-2.4525000000000001</c:v>
                </c:pt>
                <c:pt idx="9010">
                  <c:v>#N/A</c:v>
                </c:pt>
                <c:pt idx="9011">
                  <c:v>-1.12843</c:v>
                </c:pt>
                <c:pt idx="9012">
                  <c:v>#N/A</c:v>
                </c:pt>
                <c:pt idx="9013">
                  <c:v>-1.62544</c:v>
                </c:pt>
                <c:pt idx="9014">
                  <c:v>-2.58175</c:v>
                </c:pt>
                <c:pt idx="9015">
                  <c:v>#N/A</c:v>
                </c:pt>
                <c:pt idx="9016">
                  <c:v>-2.8155000000000001</c:v>
                </c:pt>
                <c:pt idx="9017">
                  <c:v>-3.5096699999999998</c:v>
                </c:pt>
                <c:pt idx="9018">
                  <c:v>-3.1956500000000001</c:v>
                </c:pt>
                <c:pt idx="9019">
                  <c:v>#N/A</c:v>
                </c:pt>
                <c:pt idx="9020">
                  <c:v>-2.6491799999999999</c:v>
                </c:pt>
                <c:pt idx="9021">
                  <c:v>-1.73333</c:v>
                </c:pt>
                <c:pt idx="9022">
                  <c:v>-1.19052</c:v>
                </c:pt>
                <c:pt idx="9023">
                  <c:v>#N/A</c:v>
                </c:pt>
                <c:pt idx="9024">
                  <c:v>-1.6246799999999999</c:v>
                </c:pt>
                <c:pt idx="9025">
                  <c:v>-1.5692200000000001</c:v>
                </c:pt>
                <c:pt idx="9026">
                  <c:v>-2.2993899999999998</c:v>
                </c:pt>
                <c:pt idx="9027">
                  <c:v>#N/A</c:v>
                </c:pt>
                <c:pt idx="9028">
                  <c:v>-2.0167899999999999</c:v>
                </c:pt>
                <c:pt idx="9029">
                  <c:v>-2.4028299999999998</c:v>
                </c:pt>
                <c:pt idx="9030">
                  <c:v>-2.5079400000000001</c:v>
                </c:pt>
                <c:pt idx="9031">
                  <c:v>#N/A</c:v>
                </c:pt>
                <c:pt idx="9032">
                  <c:v>-1.98299</c:v>
                </c:pt>
                <c:pt idx="9033">
                  <c:v>-1.6734599999999999</c:v>
                </c:pt>
                <c:pt idx="9034">
                  <c:v>-1.85544</c:v>
                </c:pt>
                <c:pt idx="9035">
                  <c:v>#N/A</c:v>
                </c:pt>
                <c:pt idx="9036">
                  <c:v>-2.18031</c:v>
                </c:pt>
                <c:pt idx="9037">
                  <c:v>-2.11741</c:v>
                </c:pt>
                <c:pt idx="9038">
                  <c:v>-2.7698299999999998</c:v>
                </c:pt>
                <c:pt idx="9039">
                  <c:v>#N/A</c:v>
                </c:pt>
                <c:pt idx="9040">
                  <c:v>-2.1815699999999998</c:v>
                </c:pt>
                <c:pt idx="9041">
                  <c:v>-2.3230499999999998</c:v>
                </c:pt>
                <c:pt idx="9042">
                  <c:v>-2.5257000000000001</c:v>
                </c:pt>
                <c:pt idx="9043">
                  <c:v>#N/A</c:v>
                </c:pt>
                <c:pt idx="9044">
                  <c:v>-2.0462699999999998</c:v>
                </c:pt>
                <c:pt idx="9045">
                  <c:v>-1.8993</c:v>
                </c:pt>
                <c:pt idx="9046">
                  <c:v>#N/A</c:v>
                </c:pt>
                <c:pt idx="9047">
                  <c:v>-2.3111999999999999</c:v>
                </c:pt>
                <c:pt idx="9048">
                  <c:v>-3.7835100000000002</c:v>
                </c:pt>
                <c:pt idx="9049">
                  <c:v>-3.3348300000000002</c:v>
                </c:pt>
                <c:pt idx="9050">
                  <c:v>#N/A</c:v>
                </c:pt>
                <c:pt idx="9051">
                  <c:v>-2.4240400000000002</c:v>
                </c:pt>
                <c:pt idx="9052">
                  <c:v>-2.0239500000000001</c:v>
                </c:pt>
                <c:pt idx="9053">
                  <c:v>-2.4100899999999998</c:v>
                </c:pt>
                <c:pt idx="9054">
                  <c:v>#N/A</c:v>
                </c:pt>
                <c:pt idx="9055">
                  <c:v>-3.0674199999999998</c:v>
                </c:pt>
                <c:pt idx="9056">
                  <c:v>-2.44556</c:v>
                </c:pt>
                <c:pt idx="9057">
                  <c:v>-2.5833900000000001</c:v>
                </c:pt>
                <c:pt idx="9058">
                  <c:v>#N/A</c:v>
                </c:pt>
                <c:pt idx="9059">
                  <c:v>-2.55965</c:v>
                </c:pt>
                <c:pt idx="9060">
                  <c:v>-2.06515</c:v>
                </c:pt>
                <c:pt idx="9061">
                  <c:v>#N/A</c:v>
                </c:pt>
                <c:pt idx="9062">
                  <c:v>-2.3157999999999999</c:v>
                </c:pt>
                <c:pt idx="9063">
                  <c:v>-2.11808</c:v>
                </c:pt>
                <c:pt idx="9064">
                  <c:v>-1.3207899999999999</c:v>
                </c:pt>
                <c:pt idx="9065">
                  <c:v>#N/A</c:v>
                </c:pt>
                <c:pt idx="9066">
                  <c:v>-2.0055399999999999</c:v>
                </c:pt>
                <c:pt idx="9067">
                  <c:v>-2.5455199999999998</c:v>
                </c:pt>
                <c:pt idx="9068">
                  <c:v>-2.5800200000000002</c:v>
                </c:pt>
                <c:pt idx="9069">
                  <c:v>#N/A</c:v>
                </c:pt>
                <c:pt idx="9070">
                  <c:v>-2.2613699999999999</c:v>
                </c:pt>
                <c:pt idx="9071">
                  <c:v>-2.11755</c:v>
                </c:pt>
                <c:pt idx="9072">
                  <c:v>-1.7965</c:v>
                </c:pt>
                <c:pt idx="9073">
                  <c:v>#N/A</c:v>
                </c:pt>
                <c:pt idx="9074">
                  <c:v>-2.2386499999999998</c:v>
                </c:pt>
                <c:pt idx="9075">
                  <c:v>-1.9679500000000001</c:v>
                </c:pt>
                <c:pt idx="9076">
                  <c:v>-2.1760700000000002</c:v>
                </c:pt>
                <c:pt idx="9077">
                  <c:v>#N/A</c:v>
                </c:pt>
                <c:pt idx="9078">
                  <c:v>-3.3873600000000001</c:v>
                </c:pt>
                <c:pt idx="9079">
                  <c:v>-3.3958200000000001</c:v>
                </c:pt>
                <c:pt idx="9080">
                  <c:v>-3.2482799999999998</c:v>
                </c:pt>
                <c:pt idx="9081">
                  <c:v>#N/A</c:v>
                </c:pt>
                <c:pt idx="9082">
                  <c:v>-2.6437499999999998</c:v>
                </c:pt>
                <c:pt idx="9083">
                  <c:v>-2.32891</c:v>
                </c:pt>
                <c:pt idx="9084">
                  <c:v>#N/A</c:v>
                </c:pt>
                <c:pt idx="9085">
                  <c:v>-1.8535299999999999</c:v>
                </c:pt>
                <c:pt idx="9086">
                  <c:v>-2.3211400000000002</c:v>
                </c:pt>
                <c:pt idx="9087">
                  <c:v>-2.1558600000000001</c:v>
                </c:pt>
                <c:pt idx="9088">
                  <c:v>#N/A</c:v>
                </c:pt>
                <c:pt idx="9089">
                  <c:v>-3.0140899999999999</c:v>
                </c:pt>
                <c:pt idx="9090">
                  <c:v>-3.5351699999999999</c:v>
                </c:pt>
                <c:pt idx="9091">
                  <c:v>-3.5326399999999998</c:v>
                </c:pt>
                <c:pt idx="9092">
                  <c:v>#N/A</c:v>
                </c:pt>
                <c:pt idx="9093">
                  <c:v>-2.6393300000000002</c:v>
                </c:pt>
                <c:pt idx="9094">
                  <c:v>-2.30131</c:v>
                </c:pt>
                <c:pt idx="9095">
                  <c:v>-1.9605900000000001</c:v>
                </c:pt>
                <c:pt idx="9096">
                  <c:v>#N/A</c:v>
                </c:pt>
                <c:pt idx="9097">
                  <c:v>-2.5160100000000001</c:v>
                </c:pt>
                <c:pt idx="9098">
                  <c:v>-2.93364</c:v>
                </c:pt>
                <c:pt idx="9099">
                  <c:v>-2.9955500000000002</c:v>
                </c:pt>
                <c:pt idx="9100">
                  <c:v>#N/A</c:v>
                </c:pt>
                <c:pt idx="9101">
                  <c:v>-3.2922099999999999</c:v>
                </c:pt>
                <c:pt idx="9102">
                  <c:v>-3.3426499999999999</c:v>
                </c:pt>
                <c:pt idx="9103">
                  <c:v>#N/A</c:v>
                </c:pt>
                <c:pt idx="9104">
                  <c:v>-2.8533200000000001</c:v>
                </c:pt>
                <c:pt idx="9105">
                  <c:v>-2.7282600000000001</c:v>
                </c:pt>
                <c:pt idx="9106">
                  <c:v>-2.35121</c:v>
                </c:pt>
                <c:pt idx="9107">
                  <c:v>#N/A</c:v>
                </c:pt>
                <c:pt idx="9108">
                  <c:v>-2.2242000000000002</c:v>
                </c:pt>
                <c:pt idx="9109">
                  <c:v>-3.4256799999999998</c:v>
                </c:pt>
                <c:pt idx="9110">
                  <c:v>-3.6735099999999998</c:v>
                </c:pt>
                <c:pt idx="9111">
                  <c:v>#N/A</c:v>
                </c:pt>
                <c:pt idx="9112">
                  <c:v>-3.07335</c:v>
                </c:pt>
                <c:pt idx="9113">
                  <c:v>-2.33955</c:v>
                </c:pt>
                <c:pt idx="9114">
                  <c:v>-2.4901300000000002</c:v>
                </c:pt>
                <c:pt idx="9115">
                  <c:v>#N/A</c:v>
                </c:pt>
                <c:pt idx="9116">
                  <c:v>-2.1387100000000001</c:v>
                </c:pt>
                <c:pt idx="9117">
                  <c:v>-2.2756500000000002</c:v>
                </c:pt>
                <c:pt idx="9118">
                  <c:v>-2.3175599999999998</c:v>
                </c:pt>
                <c:pt idx="9119">
                  <c:v>#N/A</c:v>
                </c:pt>
                <c:pt idx="9120">
                  <c:v>-2.4641899999999999</c:v>
                </c:pt>
                <c:pt idx="9121">
                  <c:v>-2.94746</c:v>
                </c:pt>
                <c:pt idx="9122">
                  <c:v>#N/A</c:v>
                </c:pt>
                <c:pt idx="9123">
                  <c:v>-3.2167400000000002</c:v>
                </c:pt>
                <c:pt idx="9124">
                  <c:v>-2.7624599999999999</c:v>
                </c:pt>
                <c:pt idx="9125">
                  <c:v>-2.4504899999999998</c:v>
                </c:pt>
                <c:pt idx="9126">
                  <c:v>#N/A</c:v>
                </c:pt>
                <c:pt idx="9127">
                  <c:v>-2.35548</c:v>
                </c:pt>
                <c:pt idx="9128">
                  <c:v>-3.0214699999999999</c:v>
                </c:pt>
                <c:pt idx="9129">
                  <c:v>-3.00481</c:v>
                </c:pt>
                <c:pt idx="9130">
                  <c:v>#N/A</c:v>
                </c:pt>
                <c:pt idx="9131">
                  <c:v>-3.45817</c:v>
                </c:pt>
                <c:pt idx="9132">
                  <c:v>-2.98881</c:v>
                </c:pt>
                <c:pt idx="9133">
                  <c:v>-2.8285499999999999</c:v>
                </c:pt>
                <c:pt idx="9134">
                  <c:v>#N/A</c:v>
                </c:pt>
                <c:pt idx="9135">
                  <c:v>-2.8316699999999999</c:v>
                </c:pt>
                <c:pt idx="9136">
                  <c:v>-2.53295</c:v>
                </c:pt>
                <c:pt idx="9137">
                  <c:v>-2.6957800000000001</c:v>
                </c:pt>
                <c:pt idx="9138">
                  <c:v>#N/A</c:v>
                </c:pt>
                <c:pt idx="9139">
                  <c:v>-3.0689099999999998</c:v>
                </c:pt>
                <c:pt idx="9140">
                  <c:v>-2.7529300000000001</c:v>
                </c:pt>
                <c:pt idx="9141">
                  <c:v>-2.75102</c:v>
                </c:pt>
                <c:pt idx="9142">
                  <c:v>#N/A</c:v>
                </c:pt>
                <c:pt idx="9143">
                  <c:v>-2.9296700000000002</c:v>
                </c:pt>
                <c:pt idx="9144">
                  <c:v>-2.6784699999999999</c:v>
                </c:pt>
                <c:pt idx="9145">
                  <c:v>-2.3004899999999999</c:v>
                </c:pt>
                <c:pt idx="9146">
                  <c:v>#N/A</c:v>
                </c:pt>
                <c:pt idx="9147">
                  <c:v>-2.1899799999999998</c:v>
                </c:pt>
                <c:pt idx="9148">
                  <c:v>-1.76745</c:v>
                </c:pt>
                <c:pt idx="9149">
                  <c:v>#N/A</c:v>
                </c:pt>
                <c:pt idx="9150">
                  <c:v>-1.9746300000000001</c:v>
                </c:pt>
                <c:pt idx="9151">
                  <c:v>-3.1974999999999998</c:v>
                </c:pt>
                <c:pt idx="9152">
                  <c:v>-3.38266</c:v>
                </c:pt>
                <c:pt idx="9153">
                  <c:v>#N/A</c:v>
                </c:pt>
                <c:pt idx="9154">
                  <c:v>-3.5030999999999999</c:v>
                </c:pt>
                <c:pt idx="9155">
                  <c:v>-3.0878299999999999</c:v>
                </c:pt>
                <c:pt idx="9156">
                  <c:v>-2.6564899999999998</c:v>
                </c:pt>
                <c:pt idx="9157">
                  <c:v>#N/A</c:v>
                </c:pt>
                <c:pt idx="9158">
                  <c:v>-2.34741</c:v>
                </c:pt>
                <c:pt idx="9159">
                  <c:v>-2.7301899999999999</c:v>
                </c:pt>
                <c:pt idx="9160">
                  <c:v>#N/A</c:v>
                </c:pt>
                <c:pt idx="9161">
                  <c:v>-3.7892899999999998</c:v>
                </c:pt>
                <c:pt idx="9162">
                  <c:v>#N/A</c:v>
                </c:pt>
                <c:pt idx="9163">
                  <c:v>-4.1597400000000002</c:v>
                </c:pt>
                <c:pt idx="9164">
                  <c:v>-4.1253799999999998</c:v>
                </c:pt>
                <c:pt idx="9165">
                  <c:v>-3.5297000000000001</c:v>
                </c:pt>
                <c:pt idx="9166">
                  <c:v>#N/A</c:v>
                </c:pt>
                <c:pt idx="9167">
                  <c:v>-3.2154600000000002</c:v>
                </c:pt>
                <c:pt idx="9168">
                  <c:v>-2.3172700000000002</c:v>
                </c:pt>
                <c:pt idx="9169">
                  <c:v>-2.5076999999999998</c:v>
                </c:pt>
                <c:pt idx="9170">
                  <c:v>#N/A</c:v>
                </c:pt>
                <c:pt idx="9171">
                  <c:v>-3.2072099999999999</c:v>
                </c:pt>
                <c:pt idx="9172">
                  <c:v>-3.71529</c:v>
                </c:pt>
                <c:pt idx="9173">
                  <c:v>-4.1336199999999996</c:v>
                </c:pt>
                <c:pt idx="9174">
                  <c:v>#N/A</c:v>
                </c:pt>
                <c:pt idx="9175">
                  <c:v>-4.5310899999999998</c:v>
                </c:pt>
                <c:pt idx="9176">
                  <c:v>-3.5748199999999999</c:v>
                </c:pt>
                <c:pt idx="9177">
                  <c:v>#N/A</c:v>
                </c:pt>
                <c:pt idx="9178">
                  <c:v>-3.7599399999999998</c:v>
                </c:pt>
                <c:pt idx="9179">
                  <c:v>-2.8917700000000002</c:v>
                </c:pt>
                <c:pt idx="9180">
                  <c:v>-3.3742899999999998</c:v>
                </c:pt>
                <c:pt idx="9181">
                  <c:v>#N/A</c:v>
                </c:pt>
                <c:pt idx="9182">
                  <c:v>-3.3486400000000001</c:v>
                </c:pt>
                <c:pt idx="9183">
                  <c:v>-3.9177</c:v>
                </c:pt>
                <c:pt idx="9184">
                  <c:v>-4.0509300000000001</c:v>
                </c:pt>
                <c:pt idx="9185">
                  <c:v>#N/A</c:v>
                </c:pt>
                <c:pt idx="9186">
                  <c:v>-4.0939300000000003</c:v>
                </c:pt>
                <c:pt idx="9187">
                  <c:v>-4.0098399999999996</c:v>
                </c:pt>
                <c:pt idx="9188">
                  <c:v>-3.5037400000000001</c:v>
                </c:pt>
                <c:pt idx="9189">
                  <c:v>#N/A</c:v>
                </c:pt>
                <c:pt idx="9190">
                  <c:v>-3.0973700000000002</c:v>
                </c:pt>
                <c:pt idx="9191">
                  <c:v>-3.1237499999999998</c:v>
                </c:pt>
                <c:pt idx="9192">
                  <c:v>-3.7162199999999999</c:v>
                </c:pt>
                <c:pt idx="9193">
                  <c:v>#N/A</c:v>
                </c:pt>
                <c:pt idx="9194">
                  <c:v>-3.47926</c:v>
                </c:pt>
                <c:pt idx="9195">
                  <c:v>-4.2427099999999998</c:v>
                </c:pt>
                <c:pt idx="9196">
                  <c:v>-4.1808899999999998</c:v>
                </c:pt>
                <c:pt idx="9197">
                  <c:v>#N/A</c:v>
                </c:pt>
                <c:pt idx="9198">
                  <c:v>-3.7839800000000001</c:v>
                </c:pt>
                <c:pt idx="9199">
                  <c:v>-3.69706</c:v>
                </c:pt>
                <c:pt idx="9200">
                  <c:v>-3.7281300000000002</c:v>
                </c:pt>
                <c:pt idx="9201">
                  <c:v>#N/A</c:v>
                </c:pt>
                <c:pt idx="9202">
                  <c:v>-3.80626</c:v>
                </c:pt>
                <c:pt idx="9203">
                  <c:v>-3.99133</c:v>
                </c:pt>
                <c:pt idx="9204">
                  <c:v>-3.7975099999999999</c:v>
                </c:pt>
                <c:pt idx="9205">
                  <c:v>#N/A</c:v>
                </c:pt>
                <c:pt idx="9206">
                  <c:v>-4.2850000000000001</c:v>
                </c:pt>
                <c:pt idx="9207">
                  <c:v>-3.5809299999999999</c:v>
                </c:pt>
                <c:pt idx="9208">
                  <c:v>#N/A</c:v>
                </c:pt>
                <c:pt idx="9209">
                  <c:v>-3.8682099999999999</c:v>
                </c:pt>
                <c:pt idx="9210">
                  <c:v>-3.79305</c:v>
                </c:pt>
                <c:pt idx="9211">
                  <c:v>-3.5911400000000002</c:v>
                </c:pt>
                <c:pt idx="9212">
                  <c:v>#N/A</c:v>
                </c:pt>
                <c:pt idx="9213">
                  <c:v>-3.6669</c:v>
                </c:pt>
                <c:pt idx="9214">
                  <c:v>-4.2465099999999998</c:v>
                </c:pt>
                <c:pt idx="9215">
                  <c:v>-4.3282299999999996</c:v>
                </c:pt>
                <c:pt idx="9216">
                  <c:v>#N/A</c:v>
                </c:pt>
                <c:pt idx="9217">
                  <c:v>-4.3227399999999996</c:v>
                </c:pt>
                <c:pt idx="9218">
                  <c:v>-3.66717</c:v>
                </c:pt>
                <c:pt idx="9219">
                  <c:v>#N/A</c:v>
                </c:pt>
                <c:pt idx="9220">
                  <c:v>-3.45573</c:v>
                </c:pt>
                <c:pt idx="9221">
                  <c:v>-3.15029</c:v>
                </c:pt>
                <c:pt idx="9222">
                  <c:v>-4.0379699999999996</c:v>
                </c:pt>
                <c:pt idx="9223">
                  <c:v>#N/A</c:v>
                </c:pt>
                <c:pt idx="9224">
                  <c:v>-3.7090299999999998</c:v>
                </c:pt>
                <c:pt idx="9225">
                  <c:v>-4.8009199999999996</c:v>
                </c:pt>
                <c:pt idx="9226">
                  <c:v>-4.8425799999999999</c:v>
                </c:pt>
                <c:pt idx="9227">
                  <c:v>#N/A</c:v>
                </c:pt>
                <c:pt idx="9228">
                  <c:v>-4.4472899999999997</c:v>
                </c:pt>
                <c:pt idx="9229">
                  <c:v>-3.9728400000000001</c:v>
                </c:pt>
                <c:pt idx="9230">
                  <c:v>-2.98278</c:v>
                </c:pt>
                <c:pt idx="9231">
                  <c:v>#N/A</c:v>
                </c:pt>
                <c:pt idx="9232">
                  <c:v>-3.4683299999999999</c:v>
                </c:pt>
                <c:pt idx="9233">
                  <c:v>-3.25928</c:v>
                </c:pt>
                <c:pt idx="9234">
                  <c:v>#N/A</c:v>
                </c:pt>
                <c:pt idx="9235">
                  <c:v>-4.7974899999999998</c:v>
                </c:pt>
                <c:pt idx="9236">
                  <c:v>-5.6464100000000004</c:v>
                </c:pt>
                <c:pt idx="9237">
                  <c:v>#N/A</c:v>
                </c:pt>
                <c:pt idx="9238">
                  <c:v>-4.8246099999999998</c:v>
                </c:pt>
                <c:pt idx="9239">
                  <c:v>-4.4551800000000004</c:v>
                </c:pt>
                <c:pt idx="9240">
                  <c:v>#N/A</c:v>
                </c:pt>
                <c:pt idx="9241">
                  <c:v>-4.04948</c:v>
                </c:pt>
                <c:pt idx="9242">
                  <c:v>-3.23305</c:v>
                </c:pt>
                <c:pt idx="9243">
                  <c:v>-3.7115</c:v>
                </c:pt>
                <c:pt idx="9244">
                  <c:v>#N/A</c:v>
                </c:pt>
                <c:pt idx="9245">
                  <c:v>-3.6991299999999998</c:v>
                </c:pt>
                <c:pt idx="9246">
                  <c:v>-4.3917999999999999</c:v>
                </c:pt>
                <c:pt idx="9247">
                  <c:v>-4.3019800000000004</c:v>
                </c:pt>
                <c:pt idx="9248">
                  <c:v>#N/A</c:v>
                </c:pt>
                <c:pt idx="9249">
                  <c:v>-4.8746700000000001</c:v>
                </c:pt>
                <c:pt idx="9250">
                  <c:v>-4.3588399999999998</c:v>
                </c:pt>
                <c:pt idx="9251">
                  <c:v>-3.55897</c:v>
                </c:pt>
                <c:pt idx="9252">
                  <c:v>#N/A</c:v>
                </c:pt>
                <c:pt idx="9253">
                  <c:v>-3.67699</c:v>
                </c:pt>
                <c:pt idx="9254">
                  <c:v>-3.4194800000000001</c:v>
                </c:pt>
                <c:pt idx="9255">
                  <c:v>-3.8050099999999998</c:v>
                </c:pt>
                <c:pt idx="9256">
                  <c:v>#N/A</c:v>
                </c:pt>
                <c:pt idx="9257">
                  <c:v>-4.2758200000000004</c:v>
                </c:pt>
                <c:pt idx="9258">
                  <c:v>-4.5114200000000002</c:v>
                </c:pt>
                <c:pt idx="9259">
                  <c:v>-4.0456399999999997</c:v>
                </c:pt>
                <c:pt idx="9260">
                  <c:v>#N/A</c:v>
                </c:pt>
                <c:pt idx="9261">
                  <c:v>-4.6138399999999997</c:v>
                </c:pt>
                <c:pt idx="9262">
                  <c:v>-4.5406700000000004</c:v>
                </c:pt>
                <c:pt idx="9263">
                  <c:v>-4.4070900000000002</c:v>
                </c:pt>
                <c:pt idx="9264">
                  <c:v>#N/A</c:v>
                </c:pt>
                <c:pt idx="9265">
                  <c:v>-3.7699199999999999</c:v>
                </c:pt>
                <c:pt idx="9266">
                  <c:v>-4.0986799999999999</c:v>
                </c:pt>
                <c:pt idx="9267">
                  <c:v>#N/A</c:v>
                </c:pt>
                <c:pt idx="9268">
                  <c:v>-4.3660899999999998</c:v>
                </c:pt>
                <c:pt idx="9269">
                  <c:v>-3.9811200000000002</c:v>
                </c:pt>
                <c:pt idx="9270">
                  <c:v>-3.5645500000000001</c:v>
                </c:pt>
                <c:pt idx="9271">
                  <c:v>#N/A</c:v>
                </c:pt>
                <c:pt idx="9272">
                  <c:v>-3.50088</c:v>
                </c:pt>
                <c:pt idx="9273">
                  <c:v>-3.5549300000000001</c:v>
                </c:pt>
                <c:pt idx="9274">
                  <c:v>-3.6291899999999999</c:v>
                </c:pt>
                <c:pt idx="9275">
                  <c:v>#N/A</c:v>
                </c:pt>
                <c:pt idx="9276">
                  <c:v>-4.2388000000000003</c:v>
                </c:pt>
                <c:pt idx="9277">
                  <c:v>-4.0912699999999997</c:v>
                </c:pt>
                <c:pt idx="9278">
                  <c:v>-3.6319400000000002</c:v>
                </c:pt>
                <c:pt idx="9279">
                  <c:v>#N/A</c:v>
                </c:pt>
                <c:pt idx="9280">
                  <c:v>-3.7427299999999999</c:v>
                </c:pt>
                <c:pt idx="9281">
                  <c:v>-3.3452799999999998</c:v>
                </c:pt>
                <c:pt idx="9282">
                  <c:v>-3.4909500000000002</c:v>
                </c:pt>
                <c:pt idx="9283">
                  <c:v>#N/A</c:v>
                </c:pt>
                <c:pt idx="9284">
                  <c:v>-3.12256</c:v>
                </c:pt>
                <c:pt idx="9285">
                  <c:v>-3.9084500000000002</c:v>
                </c:pt>
                <c:pt idx="9286">
                  <c:v>-4.3525</c:v>
                </c:pt>
                <c:pt idx="9287">
                  <c:v>#N/A</c:v>
                </c:pt>
                <c:pt idx="9288">
                  <c:v>-4.6815899999999999</c:v>
                </c:pt>
                <c:pt idx="9289">
                  <c:v>-4.6957500000000003</c:v>
                </c:pt>
                <c:pt idx="9290">
                  <c:v>#N/A</c:v>
                </c:pt>
                <c:pt idx="9291">
                  <c:v>-3.4959600000000002</c:v>
                </c:pt>
                <c:pt idx="9292">
                  <c:v>-3.9405199999999998</c:v>
                </c:pt>
                <c:pt idx="9293">
                  <c:v>-2.9552700000000001</c:v>
                </c:pt>
                <c:pt idx="9294">
                  <c:v>#N/A</c:v>
                </c:pt>
                <c:pt idx="9295">
                  <c:v>-2.98306</c:v>
                </c:pt>
                <c:pt idx="9296">
                  <c:v>-2.9977</c:v>
                </c:pt>
                <c:pt idx="9297">
                  <c:v>-3.5696400000000001</c:v>
                </c:pt>
                <c:pt idx="9298">
                  <c:v>#N/A</c:v>
                </c:pt>
                <c:pt idx="9299">
                  <c:v>-4.1357699999999999</c:v>
                </c:pt>
                <c:pt idx="9300">
                  <c:v>-4.0478100000000001</c:v>
                </c:pt>
                <c:pt idx="9301">
                  <c:v>#N/A</c:v>
                </c:pt>
                <c:pt idx="9302">
                  <c:v>-3.5187300000000001</c:v>
                </c:pt>
                <c:pt idx="9303">
                  <c:v>-2.6229100000000001</c:v>
                </c:pt>
                <c:pt idx="9304">
                  <c:v>-2.40707</c:v>
                </c:pt>
                <c:pt idx="9305">
                  <c:v>#N/A</c:v>
                </c:pt>
                <c:pt idx="9306">
                  <c:v>-2.8147000000000002</c:v>
                </c:pt>
                <c:pt idx="9307">
                  <c:v>-3.00034</c:v>
                </c:pt>
                <c:pt idx="9308">
                  <c:v>-3.33386</c:v>
                </c:pt>
                <c:pt idx="9309">
                  <c:v>#N/A</c:v>
                </c:pt>
                <c:pt idx="9310">
                  <c:v>-3.7236699999999998</c:v>
                </c:pt>
                <c:pt idx="9311">
                  <c:v>#N/A</c:v>
                </c:pt>
                <c:pt idx="9312">
                  <c:v>-3.4979499999999999</c:v>
                </c:pt>
                <c:pt idx="9313">
                  <c:v>#N/A</c:v>
                </c:pt>
                <c:pt idx="9314">
                  <c:v>-2.9341400000000002</c:v>
                </c:pt>
                <c:pt idx="9315">
                  <c:v>-2.68276</c:v>
                </c:pt>
                <c:pt idx="9316">
                  <c:v>-3.1025100000000001</c:v>
                </c:pt>
                <c:pt idx="9317">
                  <c:v>#N/A</c:v>
                </c:pt>
                <c:pt idx="9318">
                  <c:v>-3.32484</c:v>
                </c:pt>
                <c:pt idx="9319">
                  <c:v>-3.20058</c:v>
                </c:pt>
                <c:pt idx="9320">
                  <c:v>-3.26749</c:v>
                </c:pt>
                <c:pt idx="9321">
                  <c:v>#N/A</c:v>
                </c:pt>
                <c:pt idx="9322">
                  <c:v>-3.6266699999999998</c:v>
                </c:pt>
                <c:pt idx="9323">
                  <c:v>-3.3247</c:v>
                </c:pt>
                <c:pt idx="9324">
                  <c:v>-2.5228700000000002</c:v>
                </c:pt>
                <c:pt idx="9325">
                  <c:v>#N/A</c:v>
                </c:pt>
                <c:pt idx="9326">
                  <c:v>-2.3677700000000002</c:v>
                </c:pt>
                <c:pt idx="9327">
                  <c:v>-2.6414300000000002</c:v>
                </c:pt>
                <c:pt idx="9328">
                  <c:v>-2.8768699999999998</c:v>
                </c:pt>
                <c:pt idx="9329">
                  <c:v>#N/A</c:v>
                </c:pt>
                <c:pt idx="9330">
                  <c:v>-3.1969099999999999</c:v>
                </c:pt>
                <c:pt idx="9331">
                  <c:v>-3.1511200000000001</c:v>
                </c:pt>
                <c:pt idx="9332">
                  <c:v>-2.9620899999999999</c:v>
                </c:pt>
                <c:pt idx="9333">
                  <c:v>#N/A</c:v>
                </c:pt>
                <c:pt idx="9334">
                  <c:v>-2.2252800000000001</c:v>
                </c:pt>
                <c:pt idx="9335">
                  <c:v>-1.9145799999999999</c:v>
                </c:pt>
                <c:pt idx="9336">
                  <c:v>#N/A</c:v>
                </c:pt>
                <c:pt idx="9337">
                  <c:v>-2.2790900000000001</c:v>
                </c:pt>
                <c:pt idx="9338">
                  <c:v>-2.4348299999999998</c:v>
                </c:pt>
                <c:pt idx="9339">
                  <c:v>-2.9193099999999998</c:v>
                </c:pt>
                <c:pt idx="9340">
                  <c:v>#N/A</c:v>
                </c:pt>
                <c:pt idx="9341">
                  <c:v>-3.3045399999999998</c:v>
                </c:pt>
                <c:pt idx="9342">
                  <c:v>-2.7101999999999999</c:v>
                </c:pt>
                <c:pt idx="9343">
                  <c:v>-2.1370900000000002</c:v>
                </c:pt>
                <c:pt idx="9344">
                  <c:v>#N/A</c:v>
                </c:pt>
                <c:pt idx="9345">
                  <c:v>-2.11957</c:v>
                </c:pt>
                <c:pt idx="9346">
                  <c:v>-2.0975700000000002</c:v>
                </c:pt>
                <c:pt idx="9347">
                  <c:v>-3.37723</c:v>
                </c:pt>
                <c:pt idx="9348">
                  <c:v>#N/A</c:v>
                </c:pt>
                <c:pt idx="9349">
                  <c:v>-2.9513400000000001</c:v>
                </c:pt>
                <c:pt idx="9350">
                  <c:v>-3.2687400000000002</c:v>
                </c:pt>
                <c:pt idx="9351">
                  <c:v>-3.6482399999999999</c:v>
                </c:pt>
                <c:pt idx="9352">
                  <c:v>#N/A</c:v>
                </c:pt>
                <c:pt idx="9353">
                  <c:v>-3.5828199999999999</c:v>
                </c:pt>
                <c:pt idx="9354">
                  <c:v>-2.9654600000000002</c:v>
                </c:pt>
                <c:pt idx="9355">
                  <c:v>-2.42828</c:v>
                </c:pt>
                <c:pt idx="9356">
                  <c:v>#N/A</c:v>
                </c:pt>
                <c:pt idx="9357">
                  <c:v>-2.1598700000000002</c:v>
                </c:pt>
                <c:pt idx="9358">
                  <c:v>-2.6632500000000001</c:v>
                </c:pt>
                <c:pt idx="9359">
                  <c:v>#N/A</c:v>
                </c:pt>
                <c:pt idx="9360">
                  <c:v>-2.6669200000000002</c:v>
                </c:pt>
                <c:pt idx="9361">
                  <c:v>-3.1729500000000002</c:v>
                </c:pt>
                <c:pt idx="9362">
                  <c:v>-2.6194799999999998</c:v>
                </c:pt>
                <c:pt idx="9363">
                  <c:v>#N/A</c:v>
                </c:pt>
                <c:pt idx="9364">
                  <c:v>-3.0812599999999999</c:v>
                </c:pt>
                <c:pt idx="9365">
                  <c:v>-2.9396200000000001</c:v>
                </c:pt>
                <c:pt idx="9366">
                  <c:v>-2.2211500000000002</c:v>
                </c:pt>
                <c:pt idx="9367">
                  <c:v>#N/A</c:v>
                </c:pt>
                <c:pt idx="9368">
                  <c:v>-1.7876300000000001</c:v>
                </c:pt>
                <c:pt idx="9369">
                  <c:v>-2.2304900000000001</c:v>
                </c:pt>
                <c:pt idx="9370">
                  <c:v>-2.6490900000000002</c:v>
                </c:pt>
                <c:pt idx="9371">
                  <c:v>#N/A</c:v>
                </c:pt>
                <c:pt idx="9372">
                  <c:v>-2.9190499999999999</c:v>
                </c:pt>
                <c:pt idx="9373">
                  <c:v>-3.2924699999999998</c:v>
                </c:pt>
                <c:pt idx="9374">
                  <c:v>#N/A</c:v>
                </c:pt>
                <c:pt idx="9375">
                  <c:v>-3.1813099999999999</c:v>
                </c:pt>
                <c:pt idx="9376">
                  <c:v>-2.7297799999999999</c:v>
                </c:pt>
                <c:pt idx="9377">
                  <c:v>-2.50176</c:v>
                </c:pt>
                <c:pt idx="9378">
                  <c:v>#N/A</c:v>
                </c:pt>
                <c:pt idx="9379">
                  <c:v>-2.2787999999999999</c:v>
                </c:pt>
                <c:pt idx="9380">
                  <c:v>-2.4387300000000001</c:v>
                </c:pt>
                <c:pt idx="9381">
                  <c:v>-2.9157700000000002</c:v>
                </c:pt>
                <c:pt idx="9382">
                  <c:v>#N/A</c:v>
                </c:pt>
                <c:pt idx="9383">
                  <c:v>-3.73061</c:v>
                </c:pt>
                <c:pt idx="9384">
                  <c:v>-3.3199900000000002</c:v>
                </c:pt>
                <c:pt idx="9385">
                  <c:v>#N/A</c:v>
                </c:pt>
                <c:pt idx="9386">
                  <c:v>-2.8443299999999998</c:v>
                </c:pt>
                <c:pt idx="9387">
                  <c:v>-2.3435100000000002</c:v>
                </c:pt>
                <c:pt idx="9388">
                  <c:v>#N/A</c:v>
                </c:pt>
                <c:pt idx="9389">
                  <c:v>-2.5324</c:v>
                </c:pt>
                <c:pt idx="9390">
                  <c:v>-2.9783400000000002</c:v>
                </c:pt>
                <c:pt idx="9391">
                  <c:v>#N/A</c:v>
                </c:pt>
                <c:pt idx="9392">
                  <c:v>-3.14438</c:v>
                </c:pt>
                <c:pt idx="9393">
                  <c:v>-3.5882800000000001</c:v>
                </c:pt>
                <c:pt idx="9394">
                  <c:v>-3.83466</c:v>
                </c:pt>
                <c:pt idx="9395">
                  <c:v>#N/A</c:v>
                </c:pt>
                <c:pt idx="9396">
                  <c:v>-3.0167099999999998</c:v>
                </c:pt>
                <c:pt idx="9397">
                  <c:v>-2.51044</c:v>
                </c:pt>
                <c:pt idx="9398">
                  <c:v>-2.21705</c:v>
                </c:pt>
                <c:pt idx="9399">
                  <c:v>#N/A</c:v>
                </c:pt>
                <c:pt idx="9400">
                  <c:v>-2.8976199999999999</c:v>
                </c:pt>
                <c:pt idx="9401">
                  <c:v>-2.75698</c:v>
                </c:pt>
                <c:pt idx="9402">
                  <c:v>-3.9740500000000001</c:v>
                </c:pt>
                <c:pt idx="9403">
                  <c:v>#N/A</c:v>
                </c:pt>
                <c:pt idx="9404">
                  <c:v>-4.1045400000000001</c:v>
                </c:pt>
                <c:pt idx="9405">
                  <c:v>-4.0035100000000003</c:v>
                </c:pt>
                <c:pt idx="9406">
                  <c:v>-3.4219300000000001</c:v>
                </c:pt>
                <c:pt idx="9407">
                  <c:v>#N/A</c:v>
                </c:pt>
                <c:pt idx="9408">
                  <c:v>-2.3908999999999998</c:v>
                </c:pt>
                <c:pt idx="9409">
                  <c:v>-2.68207</c:v>
                </c:pt>
                <c:pt idx="9410">
                  <c:v>#N/A</c:v>
                </c:pt>
                <c:pt idx="9411">
                  <c:v>-2.7356199999999999</c:v>
                </c:pt>
                <c:pt idx="9412">
                  <c:v>-3.3597999999999999</c:v>
                </c:pt>
                <c:pt idx="9413">
                  <c:v>-4.5734899999999996</c:v>
                </c:pt>
                <c:pt idx="9414">
                  <c:v>#N/A</c:v>
                </c:pt>
                <c:pt idx="9415">
                  <c:v>-4.1159299999999996</c:v>
                </c:pt>
                <c:pt idx="9416">
                  <c:v>-3.62683</c:v>
                </c:pt>
                <c:pt idx="9417">
                  <c:v>-3.32233</c:v>
                </c:pt>
                <c:pt idx="9418">
                  <c:v>#N/A</c:v>
                </c:pt>
                <c:pt idx="9419">
                  <c:v>-2.7423799999999998</c:v>
                </c:pt>
                <c:pt idx="9420">
                  <c:v>-2.5731199999999999</c:v>
                </c:pt>
                <c:pt idx="9421">
                  <c:v>-2.5115400000000001</c:v>
                </c:pt>
                <c:pt idx="9422">
                  <c:v>#N/A</c:v>
                </c:pt>
                <c:pt idx="9423">
                  <c:v>-3.06969</c:v>
                </c:pt>
                <c:pt idx="9424">
                  <c:v>-3.2043900000000001</c:v>
                </c:pt>
                <c:pt idx="9425">
                  <c:v>-3.5743200000000002</c:v>
                </c:pt>
                <c:pt idx="9426">
                  <c:v>#N/A</c:v>
                </c:pt>
                <c:pt idx="9427">
                  <c:v>-3.2448000000000001</c:v>
                </c:pt>
                <c:pt idx="9428">
                  <c:v>-2.7565200000000001</c:v>
                </c:pt>
                <c:pt idx="9429">
                  <c:v>-2.7962899999999999</c:v>
                </c:pt>
                <c:pt idx="9430">
                  <c:v>#N/A</c:v>
                </c:pt>
                <c:pt idx="9431">
                  <c:v>-3.1071499999999999</c:v>
                </c:pt>
                <c:pt idx="9432">
                  <c:v>-2.9479799999999998</c:v>
                </c:pt>
                <c:pt idx="9433">
                  <c:v>#N/A</c:v>
                </c:pt>
                <c:pt idx="9434">
                  <c:v>-2.9558499999999999</c:v>
                </c:pt>
                <c:pt idx="9435">
                  <c:v>-3.5408300000000001</c:v>
                </c:pt>
                <c:pt idx="9436">
                  <c:v>-3.3645299999999998</c:v>
                </c:pt>
                <c:pt idx="9437">
                  <c:v>#N/A</c:v>
                </c:pt>
                <c:pt idx="9438">
                  <c:v>-2.4653700000000001</c:v>
                </c:pt>
                <c:pt idx="9439">
                  <c:v>-2.3444099999999999</c:v>
                </c:pt>
                <c:pt idx="9440">
                  <c:v>-2.3018100000000001</c:v>
                </c:pt>
                <c:pt idx="9441">
                  <c:v>#N/A</c:v>
                </c:pt>
                <c:pt idx="9442">
                  <c:v>-2.7561100000000001</c:v>
                </c:pt>
                <c:pt idx="9443">
                  <c:v>-3.3531599999999999</c:v>
                </c:pt>
                <c:pt idx="9444">
                  <c:v>-3.7854999999999999</c:v>
                </c:pt>
                <c:pt idx="9445">
                  <c:v>#N/A</c:v>
                </c:pt>
                <c:pt idx="9446">
                  <c:v>-2.9893999999999998</c:v>
                </c:pt>
                <c:pt idx="9447">
                  <c:v>-2.7579199999999999</c:v>
                </c:pt>
                <c:pt idx="9448">
                  <c:v>-2.4289900000000002</c:v>
                </c:pt>
                <c:pt idx="9449">
                  <c:v>#N/A</c:v>
                </c:pt>
                <c:pt idx="9450">
                  <c:v>-1.82517</c:v>
                </c:pt>
                <c:pt idx="9451">
                  <c:v>-1.9028099999999999</c:v>
                </c:pt>
                <c:pt idx="9452">
                  <c:v>-2.4901300000000002</c:v>
                </c:pt>
                <c:pt idx="9453">
                  <c:v>#N/A</c:v>
                </c:pt>
                <c:pt idx="9454">
                  <c:v>-3.2029100000000001</c:v>
                </c:pt>
                <c:pt idx="9455">
                  <c:v>-3.0181</c:v>
                </c:pt>
                <c:pt idx="9456">
                  <c:v>-3.9308399999999999</c:v>
                </c:pt>
                <c:pt idx="9457">
                  <c:v>#N/A</c:v>
                </c:pt>
                <c:pt idx="9458">
                  <c:v>-3.3100499999999999</c:v>
                </c:pt>
                <c:pt idx="9459">
                  <c:v>-2.1220300000000001</c:v>
                </c:pt>
                <c:pt idx="9460">
                  <c:v>#N/A</c:v>
                </c:pt>
                <c:pt idx="9461">
                  <c:v>-2.2332000000000001</c:v>
                </c:pt>
                <c:pt idx="9462">
                  <c:v>#N/A</c:v>
                </c:pt>
                <c:pt idx="9463">
                  <c:v>-1.6745699999999999</c:v>
                </c:pt>
                <c:pt idx="9464">
                  <c:v>-2.8644400000000001</c:v>
                </c:pt>
                <c:pt idx="9465">
                  <c:v>#N/A</c:v>
                </c:pt>
                <c:pt idx="9466">
                  <c:v>-3.6322000000000001</c:v>
                </c:pt>
                <c:pt idx="9467">
                  <c:v>-3.8573900000000001</c:v>
                </c:pt>
                <c:pt idx="9468">
                  <c:v>-3.29359</c:v>
                </c:pt>
                <c:pt idx="9469">
                  <c:v>#N/A</c:v>
                </c:pt>
                <c:pt idx="9470">
                  <c:v>-3.3469000000000002</c:v>
                </c:pt>
                <c:pt idx="9471">
                  <c:v>-2.8166000000000002</c:v>
                </c:pt>
                <c:pt idx="9472">
                  <c:v>#N/A</c:v>
                </c:pt>
                <c:pt idx="9473">
                  <c:v>-2.27135</c:v>
                </c:pt>
                <c:pt idx="9474">
                  <c:v>-2.2724500000000001</c:v>
                </c:pt>
                <c:pt idx="9475">
                  <c:v>-2.76302</c:v>
                </c:pt>
                <c:pt idx="9476">
                  <c:v>#N/A</c:v>
                </c:pt>
                <c:pt idx="9477">
                  <c:v>-3.1506699999999999</c:v>
                </c:pt>
                <c:pt idx="9478">
                  <c:v>-3.75048</c:v>
                </c:pt>
                <c:pt idx="9479">
                  <c:v>-3.5922100000000001</c:v>
                </c:pt>
                <c:pt idx="9480">
                  <c:v>#N/A</c:v>
                </c:pt>
                <c:pt idx="9481">
                  <c:v>-2.6929699999999999</c:v>
                </c:pt>
                <c:pt idx="9482">
                  <c:v>-2.5117500000000001</c:v>
                </c:pt>
                <c:pt idx="9483">
                  <c:v>#N/A</c:v>
                </c:pt>
                <c:pt idx="9484">
                  <c:v>-3.1078100000000002</c:v>
                </c:pt>
                <c:pt idx="9485">
                  <c:v>-3.5043600000000001</c:v>
                </c:pt>
                <c:pt idx="9486">
                  <c:v>-3.7047500000000002</c:v>
                </c:pt>
                <c:pt idx="9487">
                  <c:v>#N/A</c:v>
                </c:pt>
                <c:pt idx="9488">
                  <c:v>-3.6608100000000001</c:v>
                </c:pt>
                <c:pt idx="9489">
                  <c:v>-3.2147800000000002</c:v>
                </c:pt>
                <c:pt idx="9490">
                  <c:v>-3.2056</c:v>
                </c:pt>
                <c:pt idx="9491">
                  <c:v>#N/A</c:v>
                </c:pt>
                <c:pt idx="9492">
                  <c:v>-2.9742000000000002</c:v>
                </c:pt>
                <c:pt idx="9493">
                  <c:v>-2.2077</c:v>
                </c:pt>
                <c:pt idx="9494">
                  <c:v>-2.3979400000000002</c:v>
                </c:pt>
                <c:pt idx="9495">
                  <c:v>#N/A</c:v>
                </c:pt>
                <c:pt idx="9496">
                  <c:v>-2.8790499999999999</c:v>
                </c:pt>
                <c:pt idx="9497">
                  <c:v>-2.4449100000000001</c:v>
                </c:pt>
                <c:pt idx="9498">
                  <c:v>-2.6715599999999999</c:v>
                </c:pt>
                <c:pt idx="9499">
                  <c:v>#N/A</c:v>
                </c:pt>
                <c:pt idx="9500">
                  <c:v>-2.14663</c:v>
                </c:pt>
                <c:pt idx="9501">
                  <c:v>-1.92127</c:v>
                </c:pt>
                <c:pt idx="9502">
                  <c:v>-1.7778400000000001</c:v>
                </c:pt>
                <c:pt idx="9503">
                  <c:v>#N/A</c:v>
                </c:pt>
                <c:pt idx="9504">
                  <c:v>-1.9988600000000001</c:v>
                </c:pt>
                <c:pt idx="9505">
                  <c:v>-2.7095500000000001</c:v>
                </c:pt>
                <c:pt idx="9506">
                  <c:v>-2.8349000000000002</c:v>
                </c:pt>
                <c:pt idx="9507">
                  <c:v>#N/A</c:v>
                </c:pt>
                <c:pt idx="9508">
                  <c:v>-3.3227899999999999</c:v>
                </c:pt>
                <c:pt idx="9509">
                  <c:v>-2.8741099999999999</c:v>
                </c:pt>
                <c:pt idx="9510">
                  <c:v>-2.5367700000000002</c:v>
                </c:pt>
                <c:pt idx="9511">
                  <c:v>#N/A</c:v>
                </c:pt>
                <c:pt idx="9512">
                  <c:v>-2.13666</c:v>
                </c:pt>
                <c:pt idx="9513">
                  <c:v>-2.2751100000000002</c:v>
                </c:pt>
                <c:pt idx="9514">
                  <c:v>#N/A</c:v>
                </c:pt>
                <c:pt idx="9515">
                  <c:v>-2.24519</c:v>
                </c:pt>
                <c:pt idx="9516">
                  <c:v>-3.0556800000000002</c:v>
                </c:pt>
                <c:pt idx="9517">
                  <c:v>-3.3290500000000001</c:v>
                </c:pt>
                <c:pt idx="9518">
                  <c:v>#N/A</c:v>
                </c:pt>
                <c:pt idx="9519">
                  <c:v>-3.4396300000000002</c:v>
                </c:pt>
                <c:pt idx="9520">
                  <c:v>-3.0062099999999998</c:v>
                </c:pt>
                <c:pt idx="9521">
                  <c:v>-2.3957099999999998</c:v>
                </c:pt>
                <c:pt idx="9522">
                  <c:v>#N/A</c:v>
                </c:pt>
                <c:pt idx="9523">
                  <c:v>-1.5176499999999999</c:v>
                </c:pt>
                <c:pt idx="9524">
                  <c:v>-1.2651399999999999</c:v>
                </c:pt>
                <c:pt idx="9525">
                  <c:v>-2.1749800000000001</c:v>
                </c:pt>
                <c:pt idx="9526">
                  <c:v>#N/A</c:v>
                </c:pt>
                <c:pt idx="9527">
                  <c:v>-2.6729400000000001</c:v>
                </c:pt>
                <c:pt idx="9528">
                  <c:v>-2.8451900000000001</c:v>
                </c:pt>
                <c:pt idx="9529">
                  <c:v>-2.9896500000000001</c:v>
                </c:pt>
                <c:pt idx="9530">
                  <c:v>#N/A</c:v>
                </c:pt>
                <c:pt idx="9531">
                  <c:v>-3.0519799999999999</c:v>
                </c:pt>
                <c:pt idx="9532">
                  <c:v>-2.7353800000000001</c:v>
                </c:pt>
                <c:pt idx="9533">
                  <c:v>-1.8910100000000001</c:v>
                </c:pt>
                <c:pt idx="9534">
                  <c:v>#N/A</c:v>
                </c:pt>
                <c:pt idx="9535">
                  <c:v>-1.67252</c:v>
                </c:pt>
                <c:pt idx="9536">
                  <c:v>-2.1796000000000002</c:v>
                </c:pt>
                <c:pt idx="9537">
                  <c:v>#N/A</c:v>
                </c:pt>
                <c:pt idx="9538">
                  <c:v>-2.42435</c:v>
                </c:pt>
                <c:pt idx="9539">
                  <c:v>-2.89269</c:v>
                </c:pt>
                <c:pt idx="9540">
                  <c:v>-3.1309</c:v>
                </c:pt>
                <c:pt idx="9541">
                  <c:v>#N/A</c:v>
                </c:pt>
                <c:pt idx="9542">
                  <c:v>-2.62066</c:v>
                </c:pt>
                <c:pt idx="9543">
                  <c:v>-2.37846</c:v>
                </c:pt>
                <c:pt idx="9544">
                  <c:v>#N/A</c:v>
                </c:pt>
                <c:pt idx="9545">
                  <c:v>-2.39927</c:v>
                </c:pt>
                <c:pt idx="9546">
                  <c:v>-1.9335899999999999</c:v>
                </c:pt>
                <c:pt idx="9547">
                  <c:v>-2.1760600000000001</c:v>
                </c:pt>
                <c:pt idx="9548">
                  <c:v>#N/A</c:v>
                </c:pt>
                <c:pt idx="9549">
                  <c:v>-3.0351699999999999</c:v>
                </c:pt>
                <c:pt idx="9550">
                  <c:v>-2.8843399999999999</c:v>
                </c:pt>
                <c:pt idx="9551">
                  <c:v>-3.2246899999999998</c:v>
                </c:pt>
                <c:pt idx="9552">
                  <c:v>#N/A</c:v>
                </c:pt>
                <c:pt idx="9553">
                  <c:v>-2.9719199999999999</c:v>
                </c:pt>
                <c:pt idx="9554">
                  <c:v>-2.1098499999999998</c:v>
                </c:pt>
                <c:pt idx="9555">
                  <c:v>-2.0121699999999998</c:v>
                </c:pt>
                <c:pt idx="9556">
                  <c:v>#N/A</c:v>
                </c:pt>
                <c:pt idx="9557">
                  <c:v>-2.23935</c:v>
                </c:pt>
                <c:pt idx="9558">
                  <c:v>-2.2593899999999998</c:v>
                </c:pt>
                <c:pt idx="9559">
                  <c:v>#N/A</c:v>
                </c:pt>
                <c:pt idx="9560">
                  <c:v>-2.8988299999999998</c:v>
                </c:pt>
                <c:pt idx="9561">
                  <c:v>-2.75325</c:v>
                </c:pt>
                <c:pt idx="9562">
                  <c:v>#N/A</c:v>
                </c:pt>
                <c:pt idx="9563">
                  <c:v>-2.4554499999999999</c:v>
                </c:pt>
                <c:pt idx="9564">
                  <c:v>-2.3446099999999999</c:v>
                </c:pt>
                <c:pt idx="9565">
                  <c:v>-2.0261100000000001</c:v>
                </c:pt>
                <c:pt idx="9566">
                  <c:v>#N/A</c:v>
                </c:pt>
                <c:pt idx="9567">
                  <c:v>-1.8076000000000001</c:v>
                </c:pt>
                <c:pt idx="9568">
                  <c:v>-1.7587299999999999</c:v>
                </c:pt>
                <c:pt idx="9569">
                  <c:v>-2.47722</c:v>
                </c:pt>
                <c:pt idx="9570">
                  <c:v>#N/A</c:v>
                </c:pt>
                <c:pt idx="9571">
                  <c:v>-2.34551</c:v>
                </c:pt>
                <c:pt idx="9572">
                  <c:v>-2.3107099999999998</c:v>
                </c:pt>
                <c:pt idx="9573">
                  <c:v>-1.87934</c:v>
                </c:pt>
                <c:pt idx="9574">
                  <c:v>#N/A</c:v>
                </c:pt>
                <c:pt idx="9575">
                  <c:v>-2.5073300000000001</c:v>
                </c:pt>
                <c:pt idx="9576">
                  <c:v>-1.8710599999999999</c:v>
                </c:pt>
                <c:pt idx="9577">
                  <c:v>-3.1605300000000001</c:v>
                </c:pt>
                <c:pt idx="9578">
                  <c:v>#N/A</c:v>
                </c:pt>
                <c:pt idx="9579">
                  <c:v>-2.5067200000000001</c:v>
                </c:pt>
                <c:pt idx="9580">
                  <c:v>-2.1514500000000001</c:v>
                </c:pt>
                <c:pt idx="9581">
                  <c:v>-2.5714199999999998</c:v>
                </c:pt>
                <c:pt idx="9582">
                  <c:v>#N/A</c:v>
                </c:pt>
                <c:pt idx="9583">
                  <c:v>-2.5318999999999998</c:v>
                </c:pt>
                <c:pt idx="9584">
                  <c:v>-2.2966600000000001</c:v>
                </c:pt>
                <c:pt idx="9585">
                  <c:v>-1.5292699999999999</c:v>
                </c:pt>
                <c:pt idx="9586">
                  <c:v>#N/A</c:v>
                </c:pt>
                <c:pt idx="9587">
                  <c:v>-1.94234</c:v>
                </c:pt>
                <c:pt idx="9588">
                  <c:v>-2.3065099999999998</c:v>
                </c:pt>
                <c:pt idx="9589">
                  <c:v>-2.9834499999999999</c:v>
                </c:pt>
                <c:pt idx="9590">
                  <c:v>#N/A</c:v>
                </c:pt>
                <c:pt idx="9591">
                  <c:v>-2.5946500000000001</c:v>
                </c:pt>
                <c:pt idx="9592">
                  <c:v>-3.2402799999999998</c:v>
                </c:pt>
                <c:pt idx="9593">
                  <c:v>#N/A</c:v>
                </c:pt>
                <c:pt idx="9594">
                  <c:v>-2.2403400000000002</c:v>
                </c:pt>
                <c:pt idx="9595">
                  <c:v>-2.1810800000000001</c:v>
                </c:pt>
                <c:pt idx="9596">
                  <c:v>-1.4458800000000001</c:v>
                </c:pt>
                <c:pt idx="9597">
                  <c:v>#N/A</c:v>
                </c:pt>
                <c:pt idx="9598">
                  <c:v>-1.6879999999999999</c:v>
                </c:pt>
                <c:pt idx="9599">
                  <c:v>-1.8273900000000001</c:v>
                </c:pt>
                <c:pt idx="9600">
                  <c:v>-2.7783600000000002</c:v>
                </c:pt>
                <c:pt idx="9601">
                  <c:v>#N/A</c:v>
                </c:pt>
                <c:pt idx="9602">
                  <c:v>-3.1199599999999998</c:v>
                </c:pt>
                <c:pt idx="9603">
                  <c:v>-2.8727499999999999</c:v>
                </c:pt>
                <c:pt idx="9604">
                  <c:v>-2.4094799999999998</c:v>
                </c:pt>
                <c:pt idx="9605">
                  <c:v>#N/A</c:v>
                </c:pt>
                <c:pt idx="9606">
                  <c:v>-2.1454200000000001</c:v>
                </c:pt>
                <c:pt idx="9607">
                  <c:v>-2.28498</c:v>
                </c:pt>
                <c:pt idx="9608">
                  <c:v>-2.2133699999999998</c:v>
                </c:pt>
                <c:pt idx="9609">
                  <c:v>#N/A</c:v>
                </c:pt>
                <c:pt idx="9610">
                  <c:v>#N/A</c:v>
                </c:pt>
                <c:pt idx="9611">
                  <c:v>-2.0731299999999999</c:v>
                </c:pt>
                <c:pt idx="9612">
                  <c:v>-3.32924</c:v>
                </c:pt>
                <c:pt idx="9613">
                  <c:v>#N/A</c:v>
                </c:pt>
                <c:pt idx="9614">
                  <c:v>-3.2913199999999998</c:v>
                </c:pt>
                <c:pt idx="9615">
                  <c:v>-2.70181</c:v>
                </c:pt>
                <c:pt idx="9616">
                  <c:v>#N/A</c:v>
                </c:pt>
                <c:pt idx="9617">
                  <c:v>-2.3896999999999999</c:v>
                </c:pt>
                <c:pt idx="9618">
                  <c:v>-1.8493599999999999</c:v>
                </c:pt>
                <c:pt idx="9619">
                  <c:v>-1.7318899999999999</c:v>
                </c:pt>
                <c:pt idx="9620">
                  <c:v>#N/A</c:v>
                </c:pt>
                <c:pt idx="9621">
                  <c:v>-2.4118900000000001</c:v>
                </c:pt>
                <c:pt idx="9622">
                  <c:v>-2.7065100000000002</c:v>
                </c:pt>
                <c:pt idx="9623">
                  <c:v>-3.1275200000000001</c:v>
                </c:pt>
                <c:pt idx="9624">
                  <c:v>#N/A</c:v>
                </c:pt>
                <c:pt idx="9625">
                  <c:v>-2.9679199999999999</c:v>
                </c:pt>
                <c:pt idx="9626">
                  <c:v>-2.7002899999999999</c:v>
                </c:pt>
                <c:pt idx="9627">
                  <c:v>-1.9434</c:v>
                </c:pt>
                <c:pt idx="9628">
                  <c:v>#N/A</c:v>
                </c:pt>
                <c:pt idx="9629">
                  <c:v>-1.8615600000000001</c:v>
                </c:pt>
                <c:pt idx="9630">
                  <c:v>-1.9086700000000001</c:v>
                </c:pt>
                <c:pt idx="9631">
                  <c:v>-1.6854100000000001</c:v>
                </c:pt>
                <c:pt idx="9632">
                  <c:v>#N/A</c:v>
                </c:pt>
                <c:pt idx="9633">
                  <c:v>-2.2597100000000001</c:v>
                </c:pt>
                <c:pt idx="9634">
                  <c:v>-2.5767099999999998</c:v>
                </c:pt>
                <c:pt idx="9635">
                  <c:v>-2.4649999999999999</c:v>
                </c:pt>
                <c:pt idx="9636">
                  <c:v>#N/A</c:v>
                </c:pt>
                <c:pt idx="9637">
                  <c:v>-2.5722200000000002</c:v>
                </c:pt>
                <c:pt idx="9638">
                  <c:v>-2.26709</c:v>
                </c:pt>
                <c:pt idx="9639">
                  <c:v>-2.15713</c:v>
                </c:pt>
                <c:pt idx="9640">
                  <c:v>#N/A</c:v>
                </c:pt>
                <c:pt idx="9641">
                  <c:v>-2.1034600000000001</c:v>
                </c:pt>
                <c:pt idx="9642">
                  <c:v>-2.6421700000000001</c:v>
                </c:pt>
                <c:pt idx="9643">
                  <c:v>-2.5028899999999998</c:v>
                </c:pt>
                <c:pt idx="9644">
                  <c:v>#N/A</c:v>
                </c:pt>
                <c:pt idx="9645">
                  <c:v>-2.7407599999999999</c:v>
                </c:pt>
                <c:pt idx="9646">
                  <c:v>-2.2822900000000002</c:v>
                </c:pt>
                <c:pt idx="9647">
                  <c:v>#N/A</c:v>
                </c:pt>
                <c:pt idx="9648">
                  <c:v>-2.3799800000000002</c:v>
                </c:pt>
                <c:pt idx="9649">
                  <c:v>-2.1926299999999999</c:v>
                </c:pt>
                <c:pt idx="9650">
                  <c:v>-2.0881599999999998</c:v>
                </c:pt>
                <c:pt idx="9651">
                  <c:v>#N/A</c:v>
                </c:pt>
                <c:pt idx="9652">
                  <c:v>-2.2128700000000001</c:v>
                </c:pt>
                <c:pt idx="9653">
                  <c:v>-2.3068599999999999</c:v>
                </c:pt>
                <c:pt idx="9654">
                  <c:v>-2.6326800000000001</c:v>
                </c:pt>
                <c:pt idx="9655">
                  <c:v>#N/A</c:v>
                </c:pt>
                <c:pt idx="9656">
                  <c:v>-2.1565300000000001</c:v>
                </c:pt>
                <c:pt idx="9657">
                  <c:v>-2.0586500000000001</c:v>
                </c:pt>
                <c:pt idx="9658">
                  <c:v>-2.1358199999999998</c:v>
                </c:pt>
                <c:pt idx="9659">
                  <c:v>#N/A</c:v>
                </c:pt>
                <c:pt idx="9660">
                  <c:v>-1.9692400000000001</c:v>
                </c:pt>
                <c:pt idx="9661">
                  <c:v>-1.7070099999999999</c:v>
                </c:pt>
                <c:pt idx="9662">
                  <c:v>-2.6084000000000001</c:v>
                </c:pt>
                <c:pt idx="9663">
                  <c:v>#N/A</c:v>
                </c:pt>
                <c:pt idx="9664">
                  <c:v>-2.968</c:v>
                </c:pt>
                <c:pt idx="9665">
                  <c:v>-3.3922500000000002</c:v>
                </c:pt>
                <c:pt idx="9666">
                  <c:v>-3.2393800000000001</c:v>
                </c:pt>
                <c:pt idx="9667">
                  <c:v>#N/A</c:v>
                </c:pt>
                <c:pt idx="9668">
                  <c:v>-3.0686499999999999</c:v>
                </c:pt>
                <c:pt idx="9669">
                  <c:v>-2.21793</c:v>
                </c:pt>
                <c:pt idx="9670">
                  <c:v>#N/A</c:v>
                </c:pt>
                <c:pt idx="9671">
                  <c:v>-1.6977899999999999</c:v>
                </c:pt>
                <c:pt idx="9672">
                  <c:v>-2.48231</c:v>
                </c:pt>
                <c:pt idx="9673">
                  <c:v>-2.5070199999999998</c:v>
                </c:pt>
                <c:pt idx="9674">
                  <c:v>#N/A</c:v>
                </c:pt>
                <c:pt idx="9675">
                  <c:v>-2.7766700000000002</c:v>
                </c:pt>
                <c:pt idx="9676">
                  <c:v>-2.8240799999999999</c:v>
                </c:pt>
                <c:pt idx="9677">
                  <c:v>-1.9711700000000001</c:v>
                </c:pt>
                <c:pt idx="9678">
                  <c:v>#N/A</c:v>
                </c:pt>
                <c:pt idx="9679">
                  <c:v>-1.7169700000000001</c:v>
                </c:pt>
                <c:pt idx="9680">
                  <c:v>-1.7019</c:v>
                </c:pt>
                <c:pt idx="9681">
                  <c:v>-1.74488</c:v>
                </c:pt>
                <c:pt idx="9682">
                  <c:v>#N/A</c:v>
                </c:pt>
                <c:pt idx="9683">
                  <c:v>-1.6178999999999999</c:v>
                </c:pt>
                <c:pt idx="9684">
                  <c:v>-2.2137600000000002</c:v>
                </c:pt>
                <c:pt idx="9685">
                  <c:v>#N/A</c:v>
                </c:pt>
                <c:pt idx="9686">
                  <c:v>-2.9771100000000001</c:v>
                </c:pt>
                <c:pt idx="9687">
                  <c:v>#N/A</c:v>
                </c:pt>
                <c:pt idx="9688">
                  <c:v>-2.4509699999999999</c:v>
                </c:pt>
                <c:pt idx="9689">
                  <c:v>-2.29392</c:v>
                </c:pt>
                <c:pt idx="9690">
                  <c:v>#N/A</c:v>
                </c:pt>
                <c:pt idx="9691">
                  <c:v>-1.52955</c:v>
                </c:pt>
                <c:pt idx="9692">
                  <c:v>-1.47102</c:v>
                </c:pt>
                <c:pt idx="9693">
                  <c:v>-1.54308</c:v>
                </c:pt>
                <c:pt idx="9694">
                  <c:v>#N/A</c:v>
                </c:pt>
                <c:pt idx="9695">
                  <c:v>-2.5438000000000001</c:v>
                </c:pt>
                <c:pt idx="9696">
                  <c:v>-3.16276</c:v>
                </c:pt>
                <c:pt idx="9697">
                  <c:v>#N/A</c:v>
                </c:pt>
                <c:pt idx="9698">
                  <c:v>-3.3136899999999998</c:v>
                </c:pt>
                <c:pt idx="9699">
                  <c:v>-2.7646999999999999</c:v>
                </c:pt>
                <c:pt idx="9700">
                  <c:v>-1.8312200000000001</c:v>
                </c:pt>
                <c:pt idx="9701">
                  <c:v>#N/A</c:v>
                </c:pt>
                <c:pt idx="9702">
                  <c:v>-1.70157</c:v>
                </c:pt>
                <c:pt idx="9703">
                  <c:v>-2.1011600000000001</c:v>
                </c:pt>
                <c:pt idx="9704">
                  <c:v>-2.12358</c:v>
                </c:pt>
                <c:pt idx="9705">
                  <c:v>#N/A</c:v>
                </c:pt>
                <c:pt idx="9706">
                  <c:v>-2.7121</c:v>
                </c:pt>
                <c:pt idx="9707">
                  <c:v>-2.4569100000000001</c:v>
                </c:pt>
                <c:pt idx="9708">
                  <c:v>-2.6796700000000002</c:v>
                </c:pt>
                <c:pt idx="9709">
                  <c:v>#N/A</c:v>
                </c:pt>
                <c:pt idx="9710">
                  <c:v>-2.00935</c:v>
                </c:pt>
                <c:pt idx="9711">
                  <c:v>-2.08555</c:v>
                </c:pt>
                <c:pt idx="9712">
                  <c:v>-1.9577599999999999</c:v>
                </c:pt>
                <c:pt idx="9713">
                  <c:v>#N/A</c:v>
                </c:pt>
                <c:pt idx="9714">
                  <c:v>-2.2523300000000002</c:v>
                </c:pt>
                <c:pt idx="9715">
                  <c:v>-2.28695</c:v>
                </c:pt>
                <c:pt idx="9716">
                  <c:v>#N/A</c:v>
                </c:pt>
                <c:pt idx="9717">
                  <c:v>-2.4155199999999999</c:v>
                </c:pt>
                <c:pt idx="9718">
                  <c:v>-2.2345999999999999</c:v>
                </c:pt>
                <c:pt idx="9719">
                  <c:v>-2.4300199999999998</c:v>
                </c:pt>
                <c:pt idx="9720">
                  <c:v>#N/A</c:v>
                </c:pt>
                <c:pt idx="9721">
                  <c:v>-2.4608599999999998</c:v>
                </c:pt>
                <c:pt idx="9722">
                  <c:v>-2.3075199999999998</c:v>
                </c:pt>
                <c:pt idx="9723">
                  <c:v>-2.1473100000000001</c:v>
                </c:pt>
                <c:pt idx="9724">
                  <c:v>#N/A</c:v>
                </c:pt>
                <c:pt idx="9725">
                  <c:v>-2.2098800000000001</c:v>
                </c:pt>
                <c:pt idx="9726">
                  <c:v>-2.2680400000000001</c:v>
                </c:pt>
                <c:pt idx="9727">
                  <c:v>-2.6525099999999999</c:v>
                </c:pt>
                <c:pt idx="9728">
                  <c:v>#N/A</c:v>
                </c:pt>
                <c:pt idx="9729">
                  <c:v>-2.95512</c:v>
                </c:pt>
                <c:pt idx="9730">
                  <c:v>-2.7229199999999998</c:v>
                </c:pt>
                <c:pt idx="9731">
                  <c:v>-1.92143</c:v>
                </c:pt>
                <c:pt idx="9732">
                  <c:v>#N/A</c:v>
                </c:pt>
                <c:pt idx="9733">
                  <c:v>-2.15584</c:v>
                </c:pt>
                <c:pt idx="9734">
                  <c:v>-2.5485699999999998</c:v>
                </c:pt>
                <c:pt idx="9735">
                  <c:v>-1.9504699999999999</c:v>
                </c:pt>
                <c:pt idx="9736">
                  <c:v>#N/A</c:v>
                </c:pt>
                <c:pt idx="9737">
                  <c:v>-2.8253900000000001</c:v>
                </c:pt>
                <c:pt idx="9738">
                  <c:v>-2.7238199999999999</c:v>
                </c:pt>
                <c:pt idx="9739">
                  <c:v>-2.7774399999999999</c:v>
                </c:pt>
                <c:pt idx="9740">
                  <c:v>#N/A</c:v>
                </c:pt>
                <c:pt idx="9741">
                  <c:v>-2.19834</c:v>
                </c:pt>
                <c:pt idx="9742">
                  <c:v>-1.9752799999999999</c:v>
                </c:pt>
                <c:pt idx="9743">
                  <c:v>-1.8643700000000001</c:v>
                </c:pt>
                <c:pt idx="9744">
                  <c:v>#N/A</c:v>
                </c:pt>
                <c:pt idx="9745">
                  <c:v>-1.91568</c:v>
                </c:pt>
                <c:pt idx="9746">
                  <c:v>-2.4577</c:v>
                </c:pt>
                <c:pt idx="9747">
                  <c:v>#N/A</c:v>
                </c:pt>
                <c:pt idx="9748">
                  <c:v>-2.89167</c:v>
                </c:pt>
                <c:pt idx="9749">
                  <c:v>-2.5205500000000001</c:v>
                </c:pt>
                <c:pt idx="9750">
                  <c:v>-2.1452</c:v>
                </c:pt>
                <c:pt idx="9751">
                  <c:v>#N/A</c:v>
                </c:pt>
                <c:pt idx="9752">
                  <c:v>-1.93092</c:v>
                </c:pt>
                <c:pt idx="9753">
                  <c:v>-1.8898600000000001</c:v>
                </c:pt>
                <c:pt idx="9754">
                  <c:v>-1.5418700000000001</c:v>
                </c:pt>
                <c:pt idx="9755">
                  <c:v>#N/A</c:v>
                </c:pt>
                <c:pt idx="9756">
                  <c:v>-1.68194</c:v>
                </c:pt>
                <c:pt idx="9757">
                  <c:v>-2.5021599999999999</c:v>
                </c:pt>
                <c:pt idx="9758">
                  <c:v>#N/A</c:v>
                </c:pt>
                <c:pt idx="9759">
                  <c:v>-3.1601699999999999</c:v>
                </c:pt>
                <c:pt idx="9760">
                  <c:v>#N/A</c:v>
                </c:pt>
                <c:pt idx="9761">
                  <c:v>-2.9844900000000001</c:v>
                </c:pt>
                <c:pt idx="9762">
                  <c:v>-2.4449000000000001</c:v>
                </c:pt>
                <c:pt idx="9763">
                  <c:v>-1.9430499999999999</c:v>
                </c:pt>
                <c:pt idx="9764">
                  <c:v>#N/A</c:v>
                </c:pt>
                <c:pt idx="9765">
                  <c:v>-1.57195</c:v>
                </c:pt>
                <c:pt idx="9766">
                  <c:v>-1.86429</c:v>
                </c:pt>
                <c:pt idx="9767">
                  <c:v>-1.96576</c:v>
                </c:pt>
                <c:pt idx="9768">
                  <c:v>#N/A</c:v>
                </c:pt>
                <c:pt idx="9769">
                  <c:v>-2.9729999999999999</c:v>
                </c:pt>
                <c:pt idx="9770">
                  <c:v>-3.0301900000000002</c:v>
                </c:pt>
                <c:pt idx="9771">
                  <c:v>-3.1642700000000001</c:v>
                </c:pt>
                <c:pt idx="9772">
                  <c:v>#N/A</c:v>
                </c:pt>
                <c:pt idx="9773">
                  <c:v>-2.31725</c:v>
                </c:pt>
                <c:pt idx="9774">
                  <c:v>-2.0790099999999998</c:v>
                </c:pt>
                <c:pt idx="9775">
                  <c:v>-1.56748</c:v>
                </c:pt>
                <c:pt idx="9776">
                  <c:v>#N/A</c:v>
                </c:pt>
                <c:pt idx="9777">
                  <c:v>-1.3343799999999999</c:v>
                </c:pt>
                <c:pt idx="9778">
                  <c:v>-2.5187599999999999</c:v>
                </c:pt>
                <c:pt idx="9779">
                  <c:v>-2.77278</c:v>
                </c:pt>
                <c:pt idx="9780">
                  <c:v>#N/A</c:v>
                </c:pt>
                <c:pt idx="9781">
                  <c:v>-2.5860599999999998</c:v>
                </c:pt>
                <c:pt idx="9782">
                  <c:v>-2.3115700000000001</c:v>
                </c:pt>
                <c:pt idx="9783">
                  <c:v>-2.1990500000000002</c:v>
                </c:pt>
                <c:pt idx="9784">
                  <c:v>#N/A</c:v>
                </c:pt>
                <c:pt idx="9785">
                  <c:v>-1.8964099999999999</c:v>
                </c:pt>
                <c:pt idx="9786">
                  <c:v>-2.1006</c:v>
                </c:pt>
                <c:pt idx="9787">
                  <c:v>#N/A</c:v>
                </c:pt>
                <c:pt idx="9788">
                  <c:v>-2.36896</c:v>
                </c:pt>
                <c:pt idx="9789">
                  <c:v>-2.64513</c:v>
                </c:pt>
                <c:pt idx="9790">
                  <c:v>-3.72919</c:v>
                </c:pt>
                <c:pt idx="9791">
                  <c:v>#N/A</c:v>
                </c:pt>
                <c:pt idx="9792">
                  <c:v>-3.3450700000000002</c:v>
                </c:pt>
                <c:pt idx="9793">
                  <c:v>-2.8097300000000001</c:v>
                </c:pt>
                <c:pt idx="9794">
                  <c:v>-2.33297</c:v>
                </c:pt>
                <c:pt idx="9795">
                  <c:v>#N/A</c:v>
                </c:pt>
                <c:pt idx="9796">
                  <c:v>-2.1398199999999998</c:v>
                </c:pt>
                <c:pt idx="9797">
                  <c:v>-2.3878699999999999</c:v>
                </c:pt>
                <c:pt idx="9798">
                  <c:v>-2.5340500000000001</c:v>
                </c:pt>
                <c:pt idx="9799">
                  <c:v>#N/A</c:v>
                </c:pt>
                <c:pt idx="9800">
                  <c:v>-2.3762699999999999</c:v>
                </c:pt>
                <c:pt idx="9801">
                  <c:v>-2.3712900000000001</c:v>
                </c:pt>
                <c:pt idx="9802">
                  <c:v>-2.4052699999999998</c:v>
                </c:pt>
                <c:pt idx="9803">
                  <c:v>#N/A</c:v>
                </c:pt>
                <c:pt idx="9804">
                  <c:v>-2.2805900000000001</c:v>
                </c:pt>
                <c:pt idx="9805">
                  <c:v>-2.17624</c:v>
                </c:pt>
                <c:pt idx="9806">
                  <c:v>-2.1335199999999999</c:v>
                </c:pt>
                <c:pt idx="9807">
                  <c:v>#N/A</c:v>
                </c:pt>
                <c:pt idx="9808">
                  <c:v>-2.7303000000000002</c:v>
                </c:pt>
                <c:pt idx="9809">
                  <c:v>-2.5733700000000002</c:v>
                </c:pt>
                <c:pt idx="9810">
                  <c:v>#N/A</c:v>
                </c:pt>
                <c:pt idx="9811">
                  <c:v>-2.6987299999999999</c:v>
                </c:pt>
                <c:pt idx="9812">
                  <c:v>-2.5035699999999999</c:v>
                </c:pt>
                <c:pt idx="9813">
                  <c:v>-1.93872</c:v>
                </c:pt>
                <c:pt idx="9814">
                  <c:v>#N/A</c:v>
                </c:pt>
                <c:pt idx="9815">
                  <c:v>-1.99763</c:v>
                </c:pt>
                <c:pt idx="9816">
                  <c:v>-1.31738</c:v>
                </c:pt>
                <c:pt idx="9817">
                  <c:v>-2.0231400000000002</c:v>
                </c:pt>
                <c:pt idx="9818">
                  <c:v>#N/A</c:v>
                </c:pt>
                <c:pt idx="9819">
                  <c:v>-2.2458999999999998</c:v>
                </c:pt>
                <c:pt idx="9820">
                  <c:v>-3.0133800000000002</c:v>
                </c:pt>
                <c:pt idx="9821">
                  <c:v>-2.9729399999999999</c:v>
                </c:pt>
                <c:pt idx="9822">
                  <c:v>#N/A</c:v>
                </c:pt>
                <c:pt idx="9823">
                  <c:v>-3.3268300000000002</c:v>
                </c:pt>
                <c:pt idx="9824">
                  <c:v>-2.1006100000000001</c:v>
                </c:pt>
                <c:pt idx="9825">
                  <c:v>-1.9761200000000001</c:v>
                </c:pt>
                <c:pt idx="9826">
                  <c:v>#N/A</c:v>
                </c:pt>
                <c:pt idx="9827">
                  <c:v>-1.90489</c:v>
                </c:pt>
                <c:pt idx="9828">
                  <c:v>-2.0898599999999998</c:v>
                </c:pt>
                <c:pt idx="9829">
                  <c:v>-2.2541199999999999</c:v>
                </c:pt>
                <c:pt idx="9830">
                  <c:v>#N/A</c:v>
                </c:pt>
                <c:pt idx="9831">
                  <c:v>-2.6770700000000001</c:v>
                </c:pt>
                <c:pt idx="9832">
                  <c:v>-3.1124499999999999</c:v>
                </c:pt>
                <c:pt idx="9833">
                  <c:v>-3.2091500000000002</c:v>
                </c:pt>
                <c:pt idx="9834">
                  <c:v>#N/A</c:v>
                </c:pt>
                <c:pt idx="9835">
                  <c:v>-2.1354000000000002</c:v>
                </c:pt>
                <c:pt idx="9836">
                  <c:v>#N/A</c:v>
                </c:pt>
                <c:pt idx="9837">
                  <c:v>-1.8003199999999999</c:v>
                </c:pt>
                <c:pt idx="9838">
                  <c:v>#N/A</c:v>
                </c:pt>
                <c:pt idx="9839">
                  <c:v>-2.3791099999999998</c:v>
                </c:pt>
                <c:pt idx="9840">
                  <c:v>-2.5762100000000001</c:v>
                </c:pt>
                <c:pt idx="9841">
                  <c:v>#N/A</c:v>
                </c:pt>
                <c:pt idx="9842">
                  <c:v>-2.84619</c:v>
                </c:pt>
                <c:pt idx="9843">
                  <c:v>-2.9676399999999998</c:v>
                </c:pt>
                <c:pt idx="9844">
                  <c:v>-3.3105199999999999</c:v>
                </c:pt>
                <c:pt idx="9845">
                  <c:v>#N/A</c:v>
                </c:pt>
                <c:pt idx="9846">
                  <c:v>-2.87541</c:v>
                </c:pt>
                <c:pt idx="9847">
                  <c:v>-2.09795</c:v>
                </c:pt>
                <c:pt idx="9848">
                  <c:v>-1.8579000000000001</c:v>
                </c:pt>
                <c:pt idx="9849">
                  <c:v>#N/A</c:v>
                </c:pt>
                <c:pt idx="9850">
                  <c:v>-2.1886700000000001</c:v>
                </c:pt>
                <c:pt idx="9851">
                  <c:v>-3.5730200000000001</c:v>
                </c:pt>
                <c:pt idx="9852">
                  <c:v>-3.4879699999999998</c:v>
                </c:pt>
                <c:pt idx="9853">
                  <c:v>#N/A</c:v>
                </c:pt>
                <c:pt idx="9854">
                  <c:v>-3.2028099999999999</c:v>
                </c:pt>
                <c:pt idx="9855">
                  <c:v>-2.9191799999999999</c:v>
                </c:pt>
                <c:pt idx="9856">
                  <c:v>-2.7176100000000001</c:v>
                </c:pt>
                <c:pt idx="9857">
                  <c:v>#N/A</c:v>
                </c:pt>
                <c:pt idx="9858">
                  <c:v>-2.0548999999999999</c:v>
                </c:pt>
                <c:pt idx="9859">
                  <c:v>-1.91598</c:v>
                </c:pt>
                <c:pt idx="9860">
                  <c:v>-1.91472</c:v>
                </c:pt>
                <c:pt idx="9861">
                  <c:v>#N/A</c:v>
                </c:pt>
                <c:pt idx="9862">
                  <c:v>-2.76098</c:v>
                </c:pt>
                <c:pt idx="9863">
                  <c:v>-3.2033700000000001</c:v>
                </c:pt>
                <c:pt idx="9864">
                  <c:v>#N/A</c:v>
                </c:pt>
                <c:pt idx="9865">
                  <c:v>-3.05186</c:v>
                </c:pt>
                <c:pt idx="9866">
                  <c:v>-2.9670299999999998</c:v>
                </c:pt>
                <c:pt idx="9867">
                  <c:v>-2.2506400000000002</c:v>
                </c:pt>
                <c:pt idx="9868">
                  <c:v>#N/A</c:v>
                </c:pt>
                <c:pt idx="9869">
                  <c:v>-2.1271399999999998</c:v>
                </c:pt>
                <c:pt idx="9870">
                  <c:v>-1.9315500000000001</c:v>
                </c:pt>
                <c:pt idx="9871">
                  <c:v>-2.11232</c:v>
                </c:pt>
                <c:pt idx="9872">
                  <c:v>#N/A</c:v>
                </c:pt>
                <c:pt idx="9873">
                  <c:v>-2.5631300000000001</c:v>
                </c:pt>
                <c:pt idx="9874">
                  <c:v>-2.4733200000000002</c:v>
                </c:pt>
                <c:pt idx="9875">
                  <c:v>#N/A</c:v>
                </c:pt>
                <c:pt idx="9876">
                  <c:v>-2.7981500000000001</c:v>
                </c:pt>
                <c:pt idx="9877">
                  <c:v>-1.9812000000000001</c:v>
                </c:pt>
                <c:pt idx="9878">
                  <c:v>-1.6313800000000001</c:v>
                </c:pt>
                <c:pt idx="9879">
                  <c:v>#N/A</c:v>
                </c:pt>
                <c:pt idx="9880">
                  <c:v>-1.68598</c:v>
                </c:pt>
                <c:pt idx="9881">
                  <c:v>-3.0089800000000002</c:v>
                </c:pt>
                <c:pt idx="9882">
                  <c:v>-2.7433299999999998</c:v>
                </c:pt>
                <c:pt idx="9883">
                  <c:v>#N/A</c:v>
                </c:pt>
                <c:pt idx="9884">
                  <c:v>-2.7528800000000002</c:v>
                </c:pt>
                <c:pt idx="9885">
                  <c:v>-2.6064500000000002</c:v>
                </c:pt>
                <c:pt idx="9886">
                  <c:v>-2.6167799999999999</c:v>
                </c:pt>
                <c:pt idx="9887">
                  <c:v>#N/A</c:v>
                </c:pt>
                <c:pt idx="9888">
                  <c:v>-1.84033</c:v>
                </c:pt>
                <c:pt idx="9889">
                  <c:v>-2.1786500000000002</c:v>
                </c:pt>
                <c:pt idx="9890">
                  <c:v>-2.0788099999999998</c:v>
                </c:pt>
                <c:pt idx="9891">
                  <c:v>#N/A</c:v>
                </c:pt>
                <c:pt idx="9892">
                  <c:v>-2.32206</c:v>
                </c:pt>
                <c:pt idx="9893">
                  <c:v>-2.8393600000000001</c:v>
                </c:pt>
                <c:pt idx="9894">
                  <c:v>-2.8254600000000001</c:v>
                </c:pt>
                <c:pt idx="9895">
                  <c:v>#N/A</c:v>
                </c:pt>
                <c:pt idx="9896">
                  <c:v>-2.52651</c:v>
                </c:pt>
                <c:pt idx="9897">
                  <c:v>-2.5773600000000001</c:v>
                </c:pt>
                <c:pt idx="9898">
                  <c:v>-1.5210999999999999</c:v>
                </c:pt>
                <c:pt idx="9899">
                  <c:v>#N/A</c:v>
                </c:pt>
                <c:pt idx="9900">
                  <c:v>-1.7901499999999999</c:v>
                </c:pt>
                <c:pt idx="9901">
                  <c:v>-1.7901</c:v>
                </c:pt>
                <c:pt idx="9902">
                  <c:v>-1.5626800000000001</c:v>
                </c:pt>
                <c:pt idx="9903">
                  <c:v>#N/A</c:v>
                </c:pt>
                <c:pt idx="9904">
                  <c:v>-2.3706100000000001</c:v>
                </c:pt>
                <c:pt idx="9905">
                  <c:v>-3.3504700000000001</c:v>
                </c:pt>
                <c:pt idx="9906">
                  <c:v>#N/A</c:v>
                </c:pt>
                <c:pt idx="9907">
                  <c:v>-3.2230400000000001</c:v>
                </c:pt>
                <c:pt idx="9908">
                  <c:v>-2.44238</c:v>
                </c:pt>
                <c:pt idx="9909">
                  <c:v>-2.0364399999999998</c:v>
                </c:pt>
                <c:pt idx="9910">
                  <c:v>#N/A</c:v>
                </c:pt>
                <c:pt idx="9911">
                  <c:v>-2.3297099999999999</c:v>
                </c:pt>
                <c:pt idx="9912">
                  <c:v>-3.1466400000000001</c:v>
                </c:pt>
                <c:pt idx="9913">
                  <c:v>-2.7626900000000001</c:v>
                </c:pt>
                <c:pt idx="9914">
                  <c:v>#N/A</c:v>
                </c:pt>
                <c:pt idx="9915">
                  <c:v>-3.4624799999999998</c:v>
                </c:pt>
                <c:pt idx="9916">
                  <c:v>-3.5314999999999999</c:v>
                </c:pt>
                <c:pt idx="9917">
                  <c:v>-3.3938899999999999</c:v>
                </c:pt>
                <c:pt idx="9918">
                  <c:v>#N/A</c:v>
                </c:pt>
                <c:pt idx="9919">
                  <c:v>-2.8886099999999999</c:v>
                </c:pt>
                <c:pt idx="9920">
                  <c:v>-2.0897899999999998</c:v>
                </c:pt>
                <c:pt idx="9921">
                  <c:v>-1.7586900000000001</c:v>
                </c:pt>
                <c:pt idx="9922">
                  <c:v>#N/A</c:v>
                </c:pt>
                <c:pt idx="9923">
                  <c:v>-2.0735000000000001</c:v>
                </c:pt>
                <c:pt idx="9924">
                  <c:v>-2.8697400000000002</c:v>
                </c:pt>
                <c:pt idx="9925">
                  <c:v>-3.27671</c:v>
                </c:pt>
                <c:pt idx="9926">
                  <c:v>#N/A</c:v>
                </c:pt>
                <c:pt idx="9927">
                  <c:v>-2.7864300000000002</c:v>
                </c:pt>
                <c:pt idx="9928">
                  <c:v>-3.00684</c:v>
                </c:pt>
                <c:pt idx="9929">
                  <c:v>-2.8407</c:v>
                </c:pt>
                <c:pt idx="9930">
                  <c:v>#N/A</c:v>
                </c:pt>
                <c:pt idx="9931">
                  <c:v>-2.0977100000000002</c:v>
                </c:pt>
                <c:pt idx="9932">
                  <c:v>-1.87856</c:v>
                </c:pt>
                <c:pt idx="9933">
                  <c:v>-1.8441399999999999</c:v>
                </c:pt>
                <c:pt idx="9934">
                  <c:v>#N/A</c:v>
                </c:pt>
                <c:pt idx="9935">
                  <c:v>-2.34836</c:v>
                </c:pt>
                <c:pt idx="9936">
                  <c:v>-2.8827199999999999</c:v>
                </c:pt>
                <c:pt idx="9937">
                  <c:v>#N/A</c:v>
                </c:pt>
                <c:pt idx="9938">
                  <c:v>-2.4181499999999998</c:v>
                </c:pt>
                <c:pt idx="9939">
                  <c:v>-2.1401500000000002</c:v>
                </c:pt>
                <c:pt idx="9940">
                  <c:v>-2.44103</c:v>
                </c:pt>
                <c:pt idx="9941">
                  <c:v>#N/A</c:v>
                </c:pt>
                <c:pt idx="9942">
                  <c:v>-2.1477499999999998</c:v>
                </c:pt>
                <c:pt idx="9943">
                  <c:v>-2.0415999999999999</c:v>
                </c:pt>
                <c:pt idx="9944">
                  <c:v>-1.5410299999999999</c:v>
                </c:pt>
                <c:pt idx="9945">
                  <c:v>#N/A</c:v>
                </c:pt>
                <c:pt idx="9946">
                  <c:v>-2.0363000000000002</c:v>
                </c:pt>
                <c:pt idx="9947">
                  <c:v>-2.3879700000000001</c:v>
                </c:pt>
                <c:pt idx="9948">
                  <c:v>-2.9683700000000002</c:v>
                </c:pt>
                <c:pt idx="9949">
                  <c:v>#N/A</c:v>
                </c:pt>
                <c:pt idx="9950">
                  <c:v>-2.6004499999999999</c:v>
                </c:pt>
                <c:pt idx="9951">
                  <c:v>-2.0393400000000002</c:v>
                </c:pt>
                <c:pt idx="9952">
                  <c:v>-2.0855100000000002</c:v>
                </c:pt>
                <c:pt idx="9953">
                  <c:v>#N/A</c:v>
                </c:pt>
                <c:pt idx="9954">
                  <c:v>-2.6221700000000001</c:v>
                </c:pt>
                <c:pt idx="9955">
                  <c:v>-2.5461999999999998</c:v>
                </c:pt>
                <c:pt idx="9956">
                  <c:v>#N/A</c:v>
                </c:pt>
                <c:pt idx="9957">
                  <c:v>-2.4216899999999999</c:v>
                </c:pt>
                <c:pt idx="9958">
                  <c:v>-2.9575499999999999</c:v>
                </c:pt>
                <c:pt idx="9959">
                  <c:v>-2.38917</c:v>
                </c:pt>
                <c:pt idx="9960">
                  <c:v>#N/A</c:v>
                </c:pt>
                <c:pt idx="9961">
                  <c:v>-2.3630100000000001</c:v>
                </c:pt>
                <c:pt idx="9962">
                  <c:v>-1.6300600000000001</c:v>
                </c:pt>
                <c:pt idx="9963">
                  <c:v>-1.69668</c:v>
                </c:pt>
                <c:pt idx="9964">
                  <c:v>#N/A</c:v>
                </c:pt>
                <c:pt idx="9965">
                  <c:v>-2.03573</c:v>
                </c:pt>
                <c:pt idx="9966">
                  <c:v>-2.85507</c:v>
                </c:pt>
                <c:pt idx="9967">
                  <c:v>-2.6481400000000002</c:v>
                </c:pt>
                <c:pt idx="9968">
                  <c:v>#N/A</c:v>
                </c:pt>
                <c:pt idx="9969">
                  <c:v>-2.9395199999999999</c:v>
                </c:pt>
                <c:pt idx="9970">
                  <c:v>-2.2511100000000002</c:v>
                </c:pt>
                <c:pt idx="9971">
                  <c:v>-2.36496</c:v>
                </c:pt>
                <c:pt idx="9972">
                  <c:v>#N/A</c:v>
                </c:pt>
                <c:pt idx="9973">
                  <c:v>-2.0311400000000002</c:v>
                </c:pt>
                <c:pt idx="9974">
                  <c:v>-1.7305699999999999</c:v>
                </c:pt>
                <c:pt idx="9975">
                  <c:v>-2.3268800000000001</c:v>
                </c:pt>
                <c:pt idx="9976">
                  <c:v>#N/A</c:v>
                </c:pt>
                <c:pt idx="9977">
                  <c:v>-2.6411199999999999</c:v>
                </c:pt>
                <c:pt idx="9978">
                  <c:v>-2.27718</c:v>
                </c:pt>
                <c:pt idx="9979">
                  <c:v>-0.73669799999999996</c:v>
                </c:pt>
                <c:pt idx="9980">
                  <c:v>#N/A</c:v>
                </c:pt>
                <c:pt idx="9981">
                  <c:v>1.3657699999999999</c:v>
                </c:pt>
                <c:pt idx="9982">
                  <c:v>4.31562</c:v>
                </c:pt>
                <c:pt idx="9983">
                  <c:v>6.9329499999999999</c:v>
                </c:pt>
                <c:pt idx="9984">
                  <c:v>#N/A</c:v>
                </c:pt>
                <c:pt idx="9985">
                  <c:v>9.1225400000000008</c:v>
                </c:pt>
                <c:pt idx="9986">
                  <c:v>10.4291</c:v>
                </c:pt>
                <c:pt idx="9987">
                  <c:v>10.7926</c:v>
                </c:pt>
                <c:pt idx="9988">
                  <c:v>#N/A</c:v>
                </c:pt>
                <c:pt idx="9989">
                  <c:v>11.7776</c:v>
                </c:pt>
                <c:pt idx="9990">
                  <c:v>12.694800000000001</c:v>
                </c:pt>
                <c:pt idx="9991">
                  <c:v>13.6646</c:v>
                </c:pt>
                <c:pt idx="9992">
                  <c:v>#N/A</c:v>
                </c:pt>
                <c:pt idx="9993">
                  <c:v>14.4298</c:v>
                </c:pt>
                <c:pt idx="9994">
                  <c:v>16.073699999999999</c:v>
                </c:pt>
                <c:pt idx="9995">
                  <c:v>16.937799999999999</c:v>
                </c:pt>
                <c:pt idx="9996">
                  <c:v>#N/A</c:v>
                </c:pt>
                <c:pt idx="9997">
                  <c:v>17.629899999999999</c:v>
                </c:pt>
                <c:pt idx="9998">
                  <c:v>17.119499999999999</c:v>
                </c:pt>
                <c:pt idx="9999">
                  <c:v>15.3607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FF-4F49-8804-0688C45994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600018703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v>xaxis</c:v>
                </c:tx>
                <c:spPr>
                  <a:ln w="0">
                    <a:solidFill>
                      <a:schemeClr val="tx1"/>
                    </a:solidFill>
                  </a:ln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Data!$C$3:$C$10002</c15:sqref>
                        </c15:formulaRef>
                      </c:ext>
                    </c:extLst>
                    <c:numCache>
                      <c:formatCode>General</c:formatCode>
                      <c:ptCount val="1000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0</c:v>
                      </c:pt>
                      <c:pt idx="1151">
                        <c:v>0</c:v>
                      </c:pt>
                      <c:pt idx="1152">
                        <c:v>0</c:v>
                      </c:pt>
                      <c:pt idx="1153">
                        <c:v>0</c:v>
                      </c:pt>
                      <c:pt idx="1154">
                        <c:v>0</c:v>
                      </c:pt>
                      <c:pt idx="1155">
                        <c:v>0</c:v>
                      </c:pt>
                      <c:pt idx="1156">
                        <c:v>0</c:v>
                      </c:pt>
                      <c:pt idx="1157">
                        <c:v>0</c:v>
                      </c:pt>
                      <c:pt idx="1158">
                        <c:v>0</c:v>
                      </c:pt>
                      <c:pt idx="1159">
                        <c:v>0</c:v>
                      </c:pt>
                      <c:pt idx="1160">
                        <c:v>0</c:v>
                      </c:pt>
                      <c:pt idx="1161">
                        <c:v>0</c:v>
                      </c:pt>
                      <c:pt idx="1162">
                        <c:v>0</c:v>
                      </c:pt>
                      <c:pt idx="1163">
                        <c:v>0</c:v>
                      </c:pt>
                      <c:pt idx="1164">
                        <c:v>0</c:v>
                      </c:pt>
                      <c:pt idx="1165">
                        <c:v>0</c:v>
                      </c:pt>
                      <c:pt idx="1166">
                        <c:v>0</c:v>
                      </c:pt>
                      <c:pt idx="1167">
                        <c:v>0</c:v>
                      </c:pt>
                      <c:pt idx="1168">
                        <c:v>0</c:v>
                      </c:pt>
                      <c:pt idx="1169">
                        <c:v>0</c:v>
                      </c:pt>
                      <c:pt idx="1170">
                        <c:v>0</c:v>
                      </c:pt>
                      <c:pt idx="1171">
                        <c:v>0</c:v>
                      </c:pt>
                      <c:pt idx="1172">
                        <c:v>0</c:v>
                      </c:pt>
                      <c:pt idx="1173">
                        <c:v>0</c:v>
                      </c:pt>
                      <c:pt idx="1174">
                        <c:v>0</c:v>
                      </c:pt>
                      <c:pt idx="1175">
                        <c:v>0</c:v>
                      </c:pt>
                      <c:pt idx="1176">
                        <c:v>0</c:v>
                      </c:pt>
                      <c:pt idx="1177">
                        <c:v>0</c:v>
                      </c:pt>
                      <c:pt idx="1178">
                        <c:v>0</c:v>
                      </c:pt>
                      <c:pt idx="1179">
                        <c:v>0</c:v>
                      </c:pt>
                      <c:pt idx="1180">
                        <c:v>0</c:v>
                      </c:pt>
                      <c:pt idx="1181">
                        <c:v>0</c:v>
                      </c:pt>
                      <c:pt idx="1182">
                        <c:v>0</c:v>
                      </c:pt>
                      <c:pt idx="1183">
                        <c:v>0</c:v>
                      </c:pt>
                      <c:pt idx="1184">
                        <c:v>0</c:v>
                      </c:pt>
                      <c:pt idx="1185">
                        <c:v>0</c:v>
                      </c:pt>
                      <c:pt idx="1186">
                        <c:v>0</c:v>
                      </c:pt>
                      <c:pt idx="1187">
                        <c:v>0</c:v>
                      </c:pt>
                      <c:pt idx="1188">
                        <c:v>0</c:v>
                      </c:pt>
                      <c:pt idx="1189">
                        <c:v>0</c:v>
                      </c:pt>
                      <c:pt idx="1190">
                        <c:v>0</c:v>
                      </c:pt>
                      <c:pt idx="1191">
                        <c:v>0</c:v>
                      </c:pt>
                      <c:pt idx="1192">
                        <c:v>0</c:v>
                      </c:pt>
                      <c:pt idx="1193">
                        <c:v>0</c:v>
                      </c:pt>
                      <c:pt idx="1194">
                        <c:v>0</c:v>
                      </c:pt>
                      <c:pt idx="1195">
                        <c:v>0</c:v>
                      </c:pt>
                      <c:pt idx="1196">
                        <c:v>0</c:v>
                      </c:pt>
                      <c:pt idx="1197">
                        <c:v>0</c:v>
                      </c:pt>
                      <c:pt idx="1198">
                        <c:v>0</c:v>
                      </c:pt>
                      <c:pt idx="1199">
                        <c:v>0</c:v>
                      </c:pt>
                      <c:pt idx="1200">
                        <c:v>0</c:v>
                      </c:pt>
                      <c:pt idx="1201">
                        <c:v>0</c:v>
                      </c:pt>
                      <c:pt idx="1202">
                        <c:v>0</c:v>
                      </c:pt>
                      <c:pt idx="1203">
                        <c:v>0</c:v>
                      </c:pt>
                      <c:pt idx="1204">
                        <c:v>0</c:v>
                      </c:pt>
                      <c:pt idx="1205">
                        <c:v>0</c:v>
                      </c:pt>
                      <c:pt idx="1206">
                        <c:v>0</c:v>
                      </c:pt>
                      <c:pt idx="1207">
                        <c:v>0</c:v>
                      </c:pt>
                      <c:pt idx="1208">
                        <c:v>0</c:v>
                      </c:pt>
                      <c:pt idx="1209">
                        <c:v>0</c:v>
                      </c:pt>
                      <c:pt idx="1210">
                        <c:v>0</c:v>
                      </c:pt>
                      <c:pt idx="1211">
                        <c:v>0</c:v>
                      </c:pt>
                      <c:pt idx="1212">
                        <c:v>0</c:v>
                      </c:pt>
                      <c:pt idx="1213">
                        <c:v>0</c:v>
                      </c:pt>
                      <c:pt idx="1214">
                        <c:v>0</c:v>
                      </c:pt>
                      <c:pt idx="1215">
                        <c:v>0</c:v>
                      </c:pt>
                      <c:pt idx="1216">
                        <c:v>0</c:v>
                      </c:pt>
                      <c:pt idx="1217">
                        <c:v>0</c:v>
                      </c:pt>
                      <c:pt idx="1218">
                        <c:v>0</c:v>
                      </c:pt>
                      <c:pt idx="1219">
                        <c:v>0</c:v>
                      </c:pt>
                      <c:pt idx="1220">
                        <c:v>0</c:v>
                      </c:pt>
                      <c:pt idx="1221">
                        <c:v>0</c:v>
                      </c:pt>
                      <c:pt idx="1222">
                        <c:v>0</c:v>
                      </c:pt>
                      <c:pt idx="1223">
                        <c:v>0</c:v>
                      </c:pt>
                      <c:pt idx="1224">
                        <c:v>0</c:v>
                      </c:pt>
                      <c:pt idx="1225">
                        <c:v>0</c:v>
                      </c:pt>
                      <c:pt idx="1226">
                        <c:v>0</c:v>
                      </c:pt>
                      <c:pt idx="1227">
                        <c:v>0</c:v>
                      </c:pt>
                      <c:pt idx="1228">
                        <c:v>0</c:v>
                      </c:pt>
                      <c:pt idx="1229">
                        <c:v>0</c:v>
                      </c:pt>
                      <c:pt idx="1230">
                        <c:v>0</c:v>
                      </c:pt>
                      <c:pt idx="1231">
                        <c:v>0</c:v>
                      </c:pt>
                      <c:pt idx="1232">
                        <c:v>0</c:v>
                      </c:pt>
                      <c:pt idx="1233">
                        <c:v>0</c:v>
                      </c:pt>
                      <c:pt idx="1234">
                        <c:v>0</c:v>
                      </c:pt>
                      <c:pt idx="1235">
                        <c:v>0</c:v>
                      </c:pt>
                      <c:pt idx="1236">
                        <c:v>0</c:v>
                      </c:pt>
                      <c:pt idx="1237">
                        <c:v>0</c:v>
                      </c:pt>
                      <c:pt idx="1238">
                        <c:v>0</c:v>
                      </c:pt>
                      <c:pt idx="1239">
                        <c:v>0</c:v>
                      </c:pt>
                      <c:pt idx="1240">
                        <c:v>0</c:v>
                      </c:pt>
                      <c:pt idx="1241">
                        <c:v>0</c:v>
                      </c:pt>
                      <c:pt idx="1242">
                        <c:v>0</c:v>
                      </c:pt>
                      <c:pt idx="1243">
                        <c:v>0</c:v>
                      </c:pt>
                      <c:pt idx="1244">
                        <c:v>0</c:v>
                      </c:pt>
                      <c:pt idx="1245">
                        <c:v>0</c:v>
                      </c:pt>
                      <c:pt idx="1246">
                        <c:v>0</c:v>
                      </c:pt>
                      <c:pt idx="1247">
                        <c:v>0</c:v>
                      </c:pt>
                      <c:pt idx="1248">
                        <c:v>0</c:v>
                      </c:pt>
                      <c:pt idx="1249">
                        <c:v>0</c:v>
                      </c:pt>
                      <c:pt idx="1250">
                        <c:v>0</c:v>
                      </c:pt>
                      <c:pt idx="1251">
                        <c:v>0</c:v>
                      </c:pt>
                      <c:pt idx="1252">
                        <c:v>0</c:v>
                      </c:pt>
                      <c:pt idx="1253">
                        <c:v>0</c:v>
                      </c:pt>
                      <c:pt idx="1254">
                        <c:v>0</c:v>
                      </c:pt>
                      <c:pt idx="1255">
                        <c:v>0</c:v>
                      </c:pt>
                      <c:pt idx="1256">
                        <c:v>0</c:v>
                      </c:pt>
                      <c:pt idx="1257">
                        <c:v>0</c:v>
                      </c:pt>
                      <c:pt idx="1258">
                        <c:v>0</c:v>
                      </c:pt>
                      <c:pt idx="1259">
                        <c:v>0</c:v>
                      </c:pt>
                      <c:pt idx="1260">
                        <c:v>0</c:v>
                      </c:pt>
                      <c:pt idx="1261">
                        <c:v>0</c:v>
                      </c:pt>
                      <c:pt idx="1262">
                        <c:v>0</c:v>
                      </c:pt>
                      <c:pt idx="1263">
                        <c:v>0</c:v>
                      </c:pt>
                      <c:pt idx="1264">
                        <c:v>0</c:v>
                      </c:pt>
                      <c:pt idx="1265">
                        <c:v>0</c:v>
                      </c:pt>
                      <c:pt idx="1266">
                        <c:v>0</c:v>
                      </c:pt>
                      <c:pt idx="1267">
                        <c:v>0</c:v>
                      </c:pt>
                      <c:pt idx="1268">
                        <c:v>0</c:v>
                      </c:pt>
                      <c:pt idx="1269">
                        <c:v>0</c:v>
                      </c:pt>
                      <c:pt idx="1270">
                        <c:v>0</c:v>
                      </c:pt>
                      <c:pt idx="1271">
                        <c:v>0</c:v>
                      </c:pt>
                      <c:pt idx="1272">
                        <c:v>0</c:v>
                      </c:pt>
                      <c:pt idx="1273">
                        <c:v>0</c:v>
                      </c:pt>
                      <c:pt idx="1274">
                        <c:v>0</c:v>
                      </c:pt>
                      <c:pt idx="1275">
                        <c:v>0</c:v>
                      </c:pt>
                      <c:pt idx="1276">
                        <c:v>0</c:v>
                      </c:pt>
                      <c:pt idx="1277">
                        <c:v>0</c:v>
                      </c:pt>
                      <c:pt idx="1278">
                        <c:v>0</c:v>
                      </c:pt>
                      <c:pt idx="1279">
                        <c:v>0</c:v>
                      </c:pt>
                      <c:pt idx="1280">
                        <c:v>0</c:v>
                      </c:pt>
                      <c:pt idx="1281">
                        <c:v>0</c:v>
                      </c:pt>
                      <c:pt idx="1282">
                        <c:v>0</c:v>
                      </c:pt>
                      <c:pt idx="1283">
                        <c:v>0</c:v>
                      </c:pt>
                      <c:pt idx="1284">
                        <c:v>0</c:v>
                      </c:pt>
                      <c:pt idx="1285">
                        <c:v>0</c:v>
                      </c:pt>
                      <c:pt idx="1286">
                        <c:v>0</c:v>
                      </c:pt>
                      <c:pt idx="1287">
                        <c:v>0</c:v>
                      </c:pt>
                      <c:pt idx="1288">
                        <c:v>0</c:v>
                      </c:pt>
                      <c:pt idx="1289">
                        <c:v>0</c:v>
                      </c:pt>
                      <c:pt idx="1290">
                        <c:v>0</c:v>
                      </c:pt>
                      <c:pt idx="1291">
                        <c:v>0</c:v>
                      </c:pt>
                      <c:pt idx="1292">
                        <c:v>0</c:v>
                      </c:pt>
                      <c:pt idx="1293">
                        <c:v>0</c:v>
                      </c:pt>
                      <c:pt idx="1294">
                        <c:v>0</c:v>
                      </c:pt>
                      <c:pt idx="1295">
                        <c:v>0</c:v>
                      </c:pt>
                      <c:pt idx="1296">
                        <c:v>0</c:v>
                      </c:pt>
                      <c:pt idx="1297">
                        <c:v>0</c:v>
                      </c:pt>
                      <c:pt idx="1298">
                        <c:v>0</c:v>
                      </c:pt>
                      <c:pt idx="1299">
                        <c:v>0</c:v>
                      </c:pt>
                      <c:pt idx="1300">
                        <c:v>0</c:v>
                      </c:pt>
                      <c:pt idx="1301">
                        <c:v>0</c:v>
                      </c:pt>
                      <c:pt idx="1302">
                        <c:v>0</c:v>
                      </c:pt>
                      <c:pt idx="1303">
                        <c:v>0</c:v>
                      </c:pt>
                      <c:pt idx="1304">
                        <c:v>0</c:v>
                      </c:pt>
                      <c:pt idx="1305">
                        <c:v>0</c:v>
                      </c:pt>
                      <c:pt idx="1306">
                        <c:v>0</c:v>
                      </c:pt>
                      <c:pt idx="1307">
                        <c:v>0</c:v>
                      </c:pt>
                      <c:pt idx="1308">
                        <c:v>0</c:v>
                      </c:pt>
                      <c:pt idx="1309">
                        <c:v>0</c:v>
                      </c:pt>
                      <c:pt idx="1310">
                        <c:v>0</c:v>
                      </c:pt>
                      <c:pt idx="1311">
                        <c:v>0</c:v>
                      </c:pt>
                      <c:pt idx="1312">
                        <c:v>0</c:v>
                      </c:pt>
                      <c:pt idx="1313">
                        <c:v>0</c:v>
                      </c:pt>
                      <c:pt idx="1314">
                        <c:v>0</c:v>
                      </c:pt>
                      <c:pt idx="1315">
                        <c:v>0</c:v>
                      </c:pt>
                      <c:pt idx="1316">
                        <c:v>0</c:v>
                      </c:pt>
                      <c:pt idx="1317">
                        <c:v>0</c:v>
                      </c:pt>
                      <c:pt idx="1318">
                        <c:v>0</c:v>
                      </c:pt>
                      <c:pt idx="1319">
                        <c:v>0</c:v>
                      </c:pt>
                      <c:pt idx="1320">
                        <c:v>0</c:v>
                      </c:pt>
                      <c:pt idx="1321">
                        <c:v>0</c:v>
                      </c:pt>
                      <c:pt idx="1322">
                        <c:v>0</c:v>
                      </c:pt>
                      <c:pt idx="1323">
                        <c:v>0</c:v>
                      </c:pt>
                      <c:pt idx="1324">
                        <c:v>0</c:v>
                      </c:pt>
                      <c:pt idx="1325">
                        <c:v>0</c:v>
                      </c:pt>
                      <c:pt idx="1326">
                        <c:v>0</c:v>
                      </c:pt>
                      <c:pt idx="1327">
                        <c:v>0</c:v>
                      </c:pt>
                      <c:pt idx="1328">
                        <c:v>0</c:v>
                      </c:pt>
                      <c:pt idx="1329">
                        <c:v>0</c:v>
                      </c:pt>
                      <c:pt idx="1330">
                        <c:v>0</c:v>
                      </c:pt>
                      <c:pt idx="1331">
                        <c:v>0</c:v>
                      </c:pt>
                      <c:pt idx="1332">
                        <c:v>0</c:v>
                      </c:pt>
                      <c:pt idx="1333">
                        <c:v>0</c:v>
                      </c:pt>
                      <c:pt idx="1334">
                        <c:v>0</c:v>
                      </c:pt>
                      <c:pt idx="1335">
                        <c:v>0</c:v>
                      </c:pt>
                      <c:pt idx="1336">
                        <c:v>0</c:v>
                      </c:pt>
                      <c:pt idx="1337">
                        <c:v>0</c:v>
                      </c:pt>
                      <c:pt idx="1338">
                        <c:v>0</c:v>
                      </c:pt>
                      <c:pt idx="1339">
                        <c:v>0</c:v>
                      </c:pt>
                      <c:pt idx="1340">
                        <c:v>0</c:v>
                      </c:pt>
                      <c:pt idx="1341">
                        <c:v>0</c:v>
                      </c:pt>
                      <c:pt idx="1342">
                        <c:v>0</c:v>
                      </c:pt>
                      <c:pt idx="1343">
                        <c:v>0</c:v>
                      </c:pt>
                      <c:pt idx="1344">
                        <c:v>0</c:v>
                      </c:pt>
                      <c:pt idx="1345">
                        <c:v>0</c:v>
                      </c:pt>
                      <c:pt idx="1346">
                        <c:v>0</c:v>
                      </c:pt>
                      <c:pt idx="1347">
                        <c:v>0</c:v>
                      </c:pt>
                      <c:pt idx="1348">
                        <c:v>0</c:v>
                      </c:pt>
                      <c:pt idx="1349">
                        <c:v>0</c:v>
                      </c:pt>
                      <c:pt idx="1350">
                        <c:v>0</c:v>
                      </c:pt>
                      <c:pt idx="1351">
                        <c:v>0</c:v>
                      </c:pt>
                      <c:pt idx="1352">
                        <c:v>0</c:v>
                      </c:pt>
                      <c:pt idx="1353">
                        <c:v>0</c:v>
                      </c:pt>
                      <c:pt idx="1354">
                        <c:v>0</c:v>
                      </c:pt>
                      <c:pt idx="1355">
                        <c:v>0</c:v>
                      </c:pt>
                      <c:pt idx="1356">
                        <c:v>0</c:v>
                      </c:pt>
                      <c:pt idx="1357">
                        <c:v>0</c:v>
                      </c:pt>
                      <c:pt idx="1358">
                        <c:v>0</c:v>
                      </c:pt>
                      <c:pt idx="1359">
                        <c:v>0</c:v>
                      </c:pt>
                      <c:pt idx="1360">
                        <c:v>0</c:v>
                      </c:pt>
                      <c:pt idx="1361">
                        <c:v>0</c:v>
                      </c:pt>
                      <c:pt idx="1362">
                        <c:v>0</c:v>
                      </c:pt>
                      <c:pt idx="1363">
                        <c:v>0</c:v>
                      </c:pt>
                      <c:pt idx="1364">
                        <c:v>0</c:v>
                      </c:pt>
                      <c:pt idx="1365">
                        <c:v>0</c:v>
                      </c:pt>
                      <c:pt idx="1366">
                        <c:v>0</c:v>
                      </c:pt>
                      <c:pt idx="1367">
                        <c:v>0</c:v>
                      </c:pt>
                      <c:pt idx="1368">
                        <c:v>0</c:v>
                      </c:pt>
                      <c:pt idx="1369">
                        <c:v>0</c:v>
                      </c:pt>
                      <c:pt idx="1370">
                        <c:v>0</c:v>
                      </c:pt>
                      <c:pt idx="1371">
                        <c:v>0</c:v>
                      </c:pt>
                      <c:pt idx="1372">
                        <c:v>0</c:v>
                      </c:pt>
                      <c:pt idx="1373">
                        <c:v>0</c:v>
                      </c:pt>
                      <c:pt idx="1374">
                        <c:v>0</c:v>
                      </c:pt>
                      <c:pt idx="1375">
                        <c:v>0</c:v>
                      </c:pt>
                      <c:pt idx="1376">
                        <c:v>0</c:v>
                      </c:pt>
                      <c:pt idx="1377">
                        <c:v>0</c:v>
                      </c:pt>
                      <c:pt idx="1378">
                        <c:v>0</c:v>
                      </c:pt>
                      <c:pt idx="1379">
                        <c:v>0</c:v>
                      </c:pt>
                      <c:pt idx="1380">
                        <c:v>0</c:v>
                      </c:pt>
                      <c:pt idx="1381">
                        <c:v>0</c:v>
                      </c:pt>
                      <c:pt idx="1382">
                        <c:v>0</c:v>
                      </c:pt>
                      <c:pt idx="1383">
                        <c:v>0</c:v>
                      </c:pt>
                      <c:pt idx="1384">
                        <c:v>0</c:v>
                      </c:pt>
                      <c:pt idx="1385">
                        <c:v>0</c:v>
                      </c:pt>
                      <c:pt idx="1386">
                        <c:v>0</c:v>
                      </c:pt>
                      <c:pt idx="1387">
                        <c:v>0</c:v>
                      </c:pt>
                      <c:pt idx="1388">
                        <c:v>0</c:v>
                      </c:pt>
                      <c:pt idx="1389">
                        <c:v>0</c:v>
                      </c:pt>
                      <c:pt idx="1390">
                        <c:v>0</c:v>
                      </c:pt>
                      <c:pt idx="1391">
                        <c:v>0</c:v>
                      </c:pt>
                      <c:pt idx="1392">
                        <c:v>0</c:v>
                      </c:pt>
                      <c:pt idx="1393">
                        <c:v>0</c:v>
                      </c:pt>
                      <c:pt idx="1394">
                        <c:v>0</c:v>
                      </c:pt>
                      <c:pt idx="1395">
                        <c:v>0</c:v>
                      </c:pt>
                      <c:pt idx="1396">
                        <c:v>0</c:v>
                      </c:pt>
                      <c:pt idx="1397">
                        <c:v>0</c:v>
                      </c:pt>
                      <c:pt idx="1398">
                        <c:v>0</c:v>
                      </c:pt>
                      <c:pt idx="1399">
                        <c:v>0</c:v>
                      </c:pt>
                      <c:pt idx="1400">
                        <c:v>0</c:v>
                      </c:pt>
                      <c:pt idx="1401">
                        <c:v>0</c:v>
                      </c:pt>
                      <c:pt idx="1402">
                        <c:v>0</c:v>
                      </c:pt>
                      <c:pt idx="1403">
                        <c:v>0</c:v>
                      </c:pt>
                      <c:pt idx="1404">
                        <c:v>0</c:v>
                      </c:pt>
                      <c:pt idx="1405">
                        <c:v>0</c:v>
                      </c:pt>
                      <c:pt idx="1406">
                        <c:v>0</c:v>
                      </c:pt>
                      <c:pt idx="1407">
                        <c:v>0</c:v>
                      </c:pt>
                      <c:pt idx="1408">
                        <c:v>0</c:v>
                      </c:pt>
                      <c:pt idx="1409">
                        <c:v>0</c:v>
                      </c:pt>
                      <c:pt idx="1410">
                        <c:v>0</c:v>
                      </c:pt>
                      <c:pt idx="1411">
                        <c:v>0</c:v>
                      </c:pt>
                      <c:pt idx="1412">
                        <c:v>0</c:v>
                      </c:pt>
                      <c:pt idx="1413">
                        <c:v>0</c:v>
                      </c:pt>
                      <c:pt idx="1414">
                        <c:v>0</c:v>
                      </c:pt>
                      <c:pt idx="1415">
                        <c:v>0</c:v>
                      </c:pt>
                      <c:pt idx="1416">
                        <c:v>0</c:v>
                      </c:pt>
                      <c:pt idx="1417">
                        <c:v>0</c:v>
                      </c:pt>
                      <c:pt idx="1418">
                        <c:v>0</c:v>
                      </c:pt>
                      <c:pt idx="1419">
                        <c:v>0</c:v>
                      </c:pt>
                      <c:pt idx="1420">
                        <c:v>0</c:v>
                      </c:pt>
                      <c:pt idx="1421">
                        <c:v>0</c:v>
                      </c:pt>
                      <c:pt idx="1422">
                        <c:v>0</c:v>
                      </c:pt>
                      <c:pt idx="1423">
                        <c:v>0</c:v>
                      </c:pt>
                      <c:pt idx="1424">
                        <c:v>0</c:v>
                      </c:pt>
                      <c:pt idx="1425">
                        <c:v>0</c:v>
                      </c:pt>
                      <c:pt idx="1426">
                        <c:v>0</c:v>
                      </c:pt>
                      <c:pt idx="1427">
                        <c:v>0</c:v>
                      </c:pt>
                      <c:pt idx="1428">
                        <c:v>0</c:v>
                      </c:pt>
                      <c:pt idx="1429">
                        <c:v>0</c:v>
                      </c:pt>
                      <c:pt idx="1430">
                        <c:v>0</c:v>
                      </c:pt>
                      <c:pt idx="1431">
                        <c:v>0</c:v>
                      </c:pt>
                      <c:pt idx="1432">
                        <c:v>0</c:v>
                      </c:pt>
                      <c:pt idx="1433">
                        <c:v>0</c:v>
                      </c:pt>
                      <c:pt idx="1434">
                        <c:v>0</c:v>
                      </c:pt>
                      <c:pt idx="1435">
                        <c:v>0</c:v>
                      </c:pt>
                      <c:pt idx="1436">
                        <c:v>0</c:v>
                      </c:pt>
                      <c:pt idx="1437">
                        <c:v>0</c:v>
                      </c:pt>
                      <c:pt idx="1438">
                        <c:v>0</c:v>
                      </c:pt>
                      <c:pt idx="1439">
                        <c:v>0</c:v>
                      </c:pt>
                      <c:pt idx="1440">
                        <c:v>0</c:v>
                      </c:pt>
                      <c:pt idx="1441">
                        <c:v>0</c:v>
                      </c:pt>
                      <c:pt idx="1442">
                        <c:v>0</c:v>
                      </c:pt>
                      <c:pt idx="1443">
                        <c:v>0</c:v>
                      </c:pt>
                      <c:pt idx="1444">
                        <c:v>0</c:v>
                      </c:pt>
                      <c:pt idx="1445">
                        <c:v>0</c:v>
                      </c:pt>
                      <c:pt idx="1446">
                        <c:v>0</c:v>
                      </c:pt>
                      <c:pt idx="1447">
                        <c:v>0</c:v>
                      </c:pt>
                      <c:pt idx="1448">
                        <c:v>0</c:v>
                      </c:pt>
                      <c:pt idx="1449">
                        <c:v>0</c:v>
                      </c:pt>
                      <c:pt idx="1450">
                        <c:v>0</c:v>
                      </c:pt>
                      <c:pt idx="1451">
                        <c:v>0</c:v>
                      </c:pt>
                      <c:pt idx="1452">
                        <c:v>0</c:v>
                      </c:pt>
                      <c:pt idx="1453">
                        <c:v>0</c:v>
                      </c:pt>
                      <c:pt idx="1454">
                        <c:v>0</c:v>
                      </c:pt>
                      <c:pt idx="1455">
                        <c:v>0</c:v>
                      </c:pt>
                      <c:pt idx="1456">
                        <c:v>0</c:v>
                      </c:pt>
                      <c:pt idx="1457">
                        <c:v>0</c:v>
                      </c:pt>
                      <c:pt idx="1458">
                        <c:v>0</c:v>
                      </c:pt>
                      <c:pt idx="1459">
                        <c:v>0</c:v>
                      </c:pt>
                      <c:pt idx="1460">
                        <c:v>0</c:v>
                      </c:pt>
                      <c:pt idx="1461">
                        <c:v>0</c:v>
                      </c:pt>
                      <c:pt idx="1462">
                        <c:v>0</c:v>
                      </c:pt>
                      <c:pt idx="1463">
                        <c:v>0</c:v>
                      </c:pt>
                      <c:pt idx="1464">
                        <c:v>0</c:v>
                      </c:pt>
                      <c:pt idx="1465">
                        <c:v>0</c:v>
                      </c:pt>
                      <c:pt idx="1466">
                        <c:v>0</c:v>
                      </c:pt>
                      <c:pt idx="1467">
                        <c:v>0</c:v>
                      </c:pt>
                      <c:pt idx="1468">
                        <c:v>0</c:v>
                      </c:pt>
                      <c:pt idx="1469">
                        <c:v>0</c:v>
                      </c:pt>
                      <c:pt idx="1470">
                        <c:v>0</c:v>
                      </c:pt>
                      <c:pt idx="1471">
                        <c:v>0</c:v>
                      </c:pt>
                      <c:pt idx="1472">
                        <c:v>0</c:v>
                      </c:pt>
                      <c:pt idx="1473">
                        <c:v>0</c:v>
                      </c:pt>
                      <c:pt idx="1474">
                        <c:v>0</c:v>
                      </c:pt>
                      <c:pt idx="1475">
                        <c:v>0</c:v>
                      </c:pt>
                      <c:pt idx="1476">
                        <c:v>0</c:v>
                      </c:pt>
                      <c:pt idx="1477">
                        <c:v>0</c:v>
                      </c:pt>
                      <c:pt idx="1478">
                        <c:v>0</c:v>
                      </c:pt>
                      <c:pt idx="1479">
                        <c:v>0</c:v>
                      </c:pt>
                      <c:pt idx="1480">
                        <c:v>0</c:v>
                      </c:pt>
                      <c:pt idx="1481">
                        <c:v>0</c:v>
                      </c:pt>
                      <c:pt idx="1482">
                        <c:v>0</c:v>
                      </c:pt>
                      <c:pt idx="1483">
                        <c:v>0</c:v>
                      </c:pt>
                      <c:pt idx="1484">
                        <c:v>0</c:v>
                      </c:pt>
                      <c:pt idx="1485">
                        <c:v>0</c:v>
                      </c:pt>
                      <c:pt idx="1486">
                        <c:v>0</c:v>
                      </c:pt>
                      <c:pt idx="1487">
                        <c:v>0</c:v>
                      </c:pt>
                      <c:pt idx="1488">
                        <c:v>0</c:v>
                      </c:pt>
                      <c:pt idx="1489">
                        <c:v>0</c:v>
                      </c:pt>
                      <c:pt idx="1490">
                        <c:v>0</c:v>
                      </c:pt>
                      <c:pt idx="1491">
                        <c:v>0</c:v>
                      </c:pt>
                      <c:pt idx="1492">
                        <c:v>0</c:v>
                      </c:pt>
                      <c:pt idx="1493">
                        <c:v>0</c:v>
                      </c:pt>
                      <c:pt idx="1494">
                        <c:v>0</c:v>
                      </c:pt>
                      <c:pt idx="1495">
                        <c:v>0</c:v>
                      </c:pt>
                      <c:pt idx="1496">
                        <c:v>0</c:v>
                      </c:pt>
                      <c:pt idx="1497">
                        <c:v>0</c:v>
                      </c:pt>
                      <c:pt idx="1498">
                        <c:v>0</c:v>
                      </c:pt>
                      <c:pt idx="1499">
                        <c:v>0</c:v>
                      </c:pt>
                      <c:pt idx="1500">
                        <c:v>0</c:v>
                      </c:pt>
                      <c:pt idx="1501">
                        <c:v>0</c:v>
                      </c:pt>
                      <c:pt idx="1502">
                        <c:v>0</c:v>
                      </c:pt>
                      <c:pt idx="1503">
                        <c:v>0</c:v>
                      </c:pt>
                      <c:pt idx="1504">
                        <c:v>0</c:v>
                      </c:pt>
                      <c:pt idx="1505">
                        <c:v>0</c:v>
                      </c:pt>
                      <c:pt idx="1506">
                        <c:v>0</c:v>
                      </c:pt>
                      <c:pt idx="1507">
                        <c:v>0</c:v>
                      </c:pt>
                      <c:pt idx="1508">
                        <c:v>0</c:v>
                      </c:pt>
                      <c:pt idx="1509">
                        <c:v>0</c:v>
                      </c:pt>
                      <c:pt idx="1510">
                        <c:v>0</c:v>
                      </c:pt>
                      <c:pt idx="1511">
                        <c:v>0</c:v>
                      </c:pt>
                      <c:pt idx="1512">
                        <c:v>0</c:v>
                      </c:pt>
                      <c:pt idx="1513">
                        <c:v>0</c:v>
                      </c:pt>
                      <c:pt idx="1514">
                        <c:v>0</c:v>
                      </c:pt>
                      <c:pt idx="1515">
                        <c:v>0</c:v>
                      </c:pt>
                      <c:pt idx="1516">
                        <c:v>0</c:v>
                      </c:pt>
                      <c:pt idx="1517">
                        <c:v>0</c:v>
                      </c:pt>
                      <c:pt idx="1518">
                        <c:v>0</c:v>
                      </c:pt>
                      <c:pt idx="1519">
                        <c:v>0</c:v>
                      </c:pt>
                      <c:pt idx="1520">
                        <c:v>0</c:v>
                      </c:pt>
                      <c:pt idx="1521">
                        <c:v>0</c:v>
                      </c:pt>
                      <c:pt idx="1522">
                        <c:v>0</c:v>
                      </c:pt>
                      <c:pt idx="1523">
                        <c:v>0</c:v>
                      </c:pt>
                      <c:pt idx="1524">
                        <c:v>0</c:v>
                      </c:pt>
                      <c:pt idx="1525">
                        <c:v>0</c:v>
                      </c:pt>
                      <c:pt idx="1526">
                        <c:v>0</c:v>
                      </c:pt>
                      <c:pt idx="1527">
                        <c:v>0</c:v>
                      </c:pt>
                      <c:pt idx="1528">
                        <c:v>0</c:v>
                      </c:pt>
                      <c:pt idx="1529">
                        <c:v>0</c:v>
                      </c:pt>
                      <c:pt idx="1530">
                        <c:v>0</c:v>
                      </c:pt>
                      <c:pt idx="1531">
                        <c:v>0</c:v>
                      </c:pt>
                      <c:pt idx="1532">
                        <c:v>0</c:v>
                      </c:pt>
                      <c:pt idx="1533">
                        <c:v>0</c:v>
                      </c:pt>
                      <c:pt idx="1534">
                        <c:v>0</c:v>
                      </c:pt>
                      <c:pt idx="1535">
                        <c:v>0</c:v>
                      </c:pt>
                      <c:pt idx="1536">
                        <c:v>0</c:v>
                      </c:pt>
                      <c:pt idx="1537">
                        <c:v>0</c:v>
                      </c:pt>
                      <c:pt idx="1538">
                        <c:v>0</c:v>
                      </c:pt>
                      <c:pt idx="1539">
                        <c:v>0</c:v>
                      </c:pt>
                      <c:pt idx="1540">
                        <c:v>0</c:v>
                      </c:pt>
                      <c:pt idx="1541">
                        <c:v>0</c:v>
                      </c:pt>
                      <c:pt idx="1542">
                        <c:v>0</c:v>
                      </c:pt>
                      <c:pt idx="1543">
                        <c:v>0</c:v>
                      </c:pt>
                      <c:pt idx="1544">
                        <c:v>0</c:v>
                      </c:pt>
                      <c:pt idx="1545">
                        <c:v>0</c:v>
                      </c:pt>
                      <c:pt idx="1546">
                        <c:v>0</c:v>
                      </c:pt>
                      <c:pt idx="1547">
                        <c:v>0</c:v>
                      </c:pt>
                      <c:pt idx="1548">
                        <c:v>0</c:v>
                      </c:pt>
                      <c:pt idx="1549">
                        <c:v>0</c:v>
                      </c:pt>
                      <c:pt idx="1550">
                        <c:v>0</c:v>
                      </c:pt>
                      <c:pt idx="1551">
                        <c:v>0</c:v>
                      </c:pt>
                      <c:pt idx="1552">
                        <c:v>0</c:v>
                      </c:pt>
                      <c:pt idx="1553">
                        <c:v>0</c:v>
                      </c:pt>
                      <c:pt idx="1554">
                        <c:v>0</c:v>
                      </c:pt>
                      <c:pt idx="1555">
                        <c:v>0</c:v>
                      </c:pt>
                      <c:pt idx="1556">
                        <c:v>0</c:v>
                      </c:pt>
                      <c:pt idx="1557">
                        <c:v>0</c:v>
                      </c:pt>
                      <c:pt idx="1558">
                        <c:v>0</c:v>
                      </c:pt>
                      <c:pt idx="1559">
                        <c:v>0</c:v>
                      </c:pt>
                      <c:pt idx="1560">
                        <c:v>0</c:v>
                      </c:pt>
                      <c:pt idx="1561">
                        <c:v>0</c:v>
                      </c:pt>
                      <c:pt idx="1562">
                        <c:v>0</c:v>
                      </c:pt>
                      <c:pt idx="1563">
                        <c:v>0</c:v>
                      </c:pt>
                      <c:pt idx="1564">
                        <c:v>0</c:v>
                      </c:pt>
                      <c:pt idx="1565">
                        <c:v>0</c:v>
                      </c:pt>
                      <c:pt idx="1566">
                        <c:v>0</c:v>
                      </c:pt>
                      <c:pt idx="1567">
                        <c:v>0</c:v>
                      </c:pt>
                      <c:pt idx="1568">
                        <c:v>0</c:v>
                      </c:pt>
                      <c:pt idx="1569">
                        <c:v>0</c:v>
                      </c:pt>
                      <c:pt idx="1570">
                        <c:v>0</c:v>
                      </c:pt>
                      <c:pt idx="1571">
                        <c:v>0</c:v>
                      </c:pt>
                      <c:pt idx="1572">
                        <c:v>0</c:v>
                      </c:pt>
                      <c:pt idx="1573">
                        <c:v>0</c:v>
                      </c:pt>
                      <c:pt idx="1574">
                        <c:v>0</c:v>
                      </c:pt>
                      <c:pt idx="1575">
                        <c:v>0</c:v>
                      </c:pt>
                      <c:pt idx="1576">
                        <c:v>0</c:v>
                      </c:pt>
                      <c:pt idx="1577">
                        <c:v>0</c:v>
                      </c:pt>
                      <c:pt idx="1578">
                        <c:v>0</c:v>
                      </c:pt>
                      <c:pt idx="1579">
                        <c:v>0</c:v>
                      </c:pt>
                      <c:pt idx="1580">
                        <c:v>0</c:v>
                      </c:pt>
                      <c:pt idx="1581">
                        <c:v>0</c:v>
                      </c:pt>
                      <c:pt idx="1582">
                        <c:v>0</c:v>
                      </c:pt>
                      <c:pt idx="1583">
                        <c:v>0</c:v>
                      </c:pt>
                      <c:pt idx="1584">
                        <c:v>0</c:v>
                      </c:pt>
                      <c:pt idx="1585">
                        <c:v>0</c:v>
                      </c:pt>
                      <c:pt idx="1586">
                        <c:v>0</c:v>
                      </c:pt>
                      <c:pt idx="1587">
                        <c:v>0</c:v>
                      </c:pt>
                      <c:pt idx="1588">
                        <c:v>0</c:v>
                      </c:pt>
                      <c:pt idx="1589">
                        <c:v>0</c:v>
                      </c:pt>
                      <c:pt idx="1590">
                        <c:v>0</c:v>
                      </c:pt>
                      <c:pt idx="1591">
                        <c:v>0</c:v>
                      </c:pt>
                      <c:pt idx="1592">
                        <c:v>0</c:v>
                      </c:pt>
                      <c:pt idx="1593">
                        <c:v>0</c:v>
                      </c:pt>
                      <c:pt idx="1594">
                        <c:v>0</c:v>
                      </c:pt>
                      <c:pt idx="1595">
                        <c:v>0</c:v>
                      </c:pt>
                      <c:pt idx="1596">
                        <c:v>0</c:v>
                      </c:pt>
                      <c:pt idx="1597">
                        <c:v>0</c:v>
                      </c:pt>
                      <c:pt idx="1598">
                        <c:v>0</c:v>
                      </c:pt>
                      <c:pt idx="1599">
                        <c:v>0</c:v>
                      </c:pt>
                      <c:pt idx="1600">
                        <c:v>0</c:v>
                      </c:pt>
                      <c:pt idx="1601">
                        <c:v>0</c:v>
                      </c:pt>
                      <c:pt idx="1602">
                        <c:v>0</c:v>
                      </c:pt>
                      <c:pt idx="1603">
                        <c:v>0</c:v>
                      </c:pt>
                      <c:pt idx="1604">
                        <c:v>0</c:v>
                      </c:pt>
                      <c:pt idx="1605">
                        <c:v>0</c:v>
                      </c:pt>
                      <c:pt idx="1606">
                        <c:v>0</c:v>
                      </c:pt>
                      <c:pt idx="1607">
                        <c:v>0</c:v>
                      </c:pt>
                      <c:pt idx="1608">
                        <c:v>0</c:v>
                      </c:pt>
                      <c:pt idx="1609">
                        <c:v>0</c:v>
                      </c:pt>
                      <c:pt idx="1610">
                        <c:v>0</c:v>
                      </c:pt>
                      <c:pt idx="1611">
                        <c:v>0</c:v>
                      </c:pt>
                      <c:pt idx="1612">
                        <c:v>0</c:v>
                      </c:pt>
                      <c:pt idx="1613">
                        <c:v>0</c:v>
                      </c:pt>
                      <c:pt idx="1614">
                        <c:v>0</c:v>
                      </c:pt>
                      <c:pt idx="1615">
                        <c:v>0</c:v>
                      </c:pt>
                      <c:pt idx="1616">
                        <c:v>0</c:v>
                      </c:pt>
                      <c:pt idx="1617">
                        <c:v>0</c:v>
                      </c:pt>
                      <c:pt idx="1618">
                        <c:v>0</c:v>
                      </c:pt>
                      <c:pt idx="1619">
                        <c:v>0</c:v>
                      </c:pt>
                      <c:pt idx="1620">
                        <c:v>0</c:v>
                      </c:pt>
                      <c:pt idx="1621">
                        <c:v>0</c:v>
                      </c:pt>
                      <c:pt idx="1622">
                        <c:v>0</c:v>
                      </c:pt>
                      <c:pt idx="1623">
                        <c:v>0</c:v>
                      </c:pt>
                      <c:pt idx="1624">
                        <c:v>0</c:v>
                      </c:pt>
                      <c:pt idx="1625">
                        <c:v>0</c:v>
                      </c:pt>
                      <c:pt idx="1626">
                        <c:v>0</c:v>
                      </c:pt>
                      <c:pt idx="1627">
                        <c:v>0</c:v>
                      </c:pt>
                      <c:pt idx="1628">
                        <c:v>0</c:v>
                      </c:pt>
                      <c:pt idx="1629">
                        <c:v>0</c:v>
                      </c:pt>
                      <c:pt idx="1630">
                        <c:v>0</c:v>
                      </c:pt>
                      <c:pt idx="1631">
                        <c:v>0</c:v>
                      </c:pt>
                      <c:pt idx="1632">
                        <c:v>0</c:v>
                      </c:pt>
                      <c:pt idx="1633">
                        <c:v>0</c:v>
                      </c:pt>
                      <c:pt idx="1634">
                        <c:v>0</c:v>
                      </c:pt>
                      <c:pt idx="1635">
                        <c:v>0</c:v>
                      </c:pt>
                      <c:pt idx="1636">
                        <c:v>0</c:v>
                      </c:pt>
                      <c:pt idx="1637">
                        <c:v>0</c:v>
                      </c:pt>
                      <c:pt idx="1638">
                        <c:v>0</c:v>
                      </c:pt>
                      <c:pt idx="1639">
                        <c:v>0</c:v>
                      </c:pt>
                      <c:pt idx="1640">
                        <c:v>0</c:v>
                      </c:pt>
                      <c:pt idx="1641">
                        <c:v>0</c:v>
                      </c:pt>
                      <c:pt idx="1642">
                        <c:v>0</c:v>
                      </c:pt>
                      <c:pt idx="1643">
                        <c:v>0</c:v>
                      </c:pt>
                      <c:pt idx="1644">
                        <c:v>0</c:v>
                      </c:pt>
                      <c:pt idx="1645">
                        <c:v>0</c:v>
                      </c:pt>
                      <c:pt idx="1646">
                        <c:v>0</c:v>
                      </c:pt>
                      <c:pt idx="1647">
                        <c:v>0</c:v>
                      </c:pt>
                      <c:pt idx="1648">
                        <c:v>0</c:v>
                      </c:pt>
                      <c:pt idx="1649">
                        <c:v>0</c:v>
                      </c:pt>
                      <c:pt idx="1650">
                        <c:v>0</c:v>
                      </c:pt>
                      <c:pt idx="1651">
                        <c:v>0</c:v>
                      </c:pt>
                      <c:pt idx="1652">
                        <c:v>0</c:v>
                      </c:pt>
                      <c:pt idx="1653">
                        <c:v>0</c:v>
                      </c:pt>
                      <c:pt idx="1654">
                        <c:v>0</c:v>
                      </c:pt>
                      <c:pt idx="1655">
                        <c:v>0</c:v>
                      </c:pt>
                      <c:pt idx="1656">
                        <c:v>0</c:v>
                      </c:pt>
                      <c:pt idx="1657">
                        <c:v>0</c:v>
                      </c:pt>
                      <c:pt idx="1658">
                        <c:v>0</c:v>
                      </c:pt>
                      <c:pt idx="1659">
                        <c:v>0</c:v>
                      </c:pt>
                      <c:pt idx="1660">
                        <c:v>0</c:v>
                      </c:pt>
                      <c:pt idx="1661">
                        <c:v>0</c:v>
                      </c:pt>
                      <c:pt idx="1662">
                        <c:v>0</c:v>
                      </c:pt>
                      <c:pt idx="1663">
                        <c:v>0</c:v>
                      </c:pt>
                      <c:pt idx="1664">
                        <c:v>0</c:v>
                      </c:pt>
                      <c:pt idx="1665">
                        <c:v>0</c:v>
                      </c:pt>
                      <c:pt idx="1666">
                        <c:v>0</c:v>
                      </c:pt>
                      <c:pt idx="1667">
                        <c:v>0</c:v>
                      </c:pt>
                      <c:pt idx="1668">
                        <c:v>0</c:v>
                      </c:pt>
                      <c:pt idx="1669">
                        <c:v>0</c:v>
                      </c:pt>
                      <c:pt idx="1670">
                        <c:v>0</c:v>
                      </c:pt>
                      <c:pt idx="1671">
                        <c:v>0</c:v>
                      </c:pt>
                      <c:pt idx="1672">
                        <c:v>0</c:v>
                      </c:pt>
                      <c:pt idx="1673">
                        <c:v>0</c:v>
                      </c:pt>
                      <c:pt idx="1674">
                        <c:v>0</c:v>
                      </c:pt>
                      <c:pt idx="1675">
                        <c:v>0</c:v>
                      </c:pt>
                      <c:pt idx="1676">
                        <c:v>0</c:v>
                      </c:pt>
                      <c:pt idx="1677">
                        <c:v>0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0</c:v>
                      </c:pt>
                      <c:pt idx="1717">
                        <c:v>0</c:v>
                      </c:pt>
                      <c:pt idx="1718">
                        <c:v>0</c:v>
                      </c:pt>
                      <c:pt idx="1719">
                        <c:v>0</c:v>
                      </c:pt>
                      <c:pt idx="1720">
                        <c:v>0</c:v>
                      </c:pt>
                      <c:pt idx="1721">
                        <c:v>0</c:v>
                      </c:pt>
                      <c:pt idx="1722">
                        <c:v>0</c:v>
                      </c:pt>
                      <c:pt idx="1723">
                        <c:v>0</c:v>
                      </c:pt>
                      <c:pt idx="1724">
                        <c:v>0</c:v>
                      </c:pt>
                      <c:pt idx="1725">
                        <c:v>0</c:v>
                      </c:pt>
                      <c:pt idx="1726">
                        <c:v>0</c:v>
                      </c:pt>
                      <c:pt idx="1727">
                        <c:v>0</c:v>
                      </c:pt>
                      <c:pt idx="1728">
                        <c:v>0</c:v>
                      </c:pt>
                      <c:pt idx="1729">
                        <c:v>0</c:v>
                      </c:pt>
                      <c:pt idx="1730">
                        <c:v>0</c:v>
                      </c:pt>
                      <c:pt idx="1731">
                        <c:v>0</c:v>
                      </c:pt>
                      <c:pt idx="1732">
                        <c:v>0</c:v>
                      </c:pt>
                      <c:pt idx="1733">
                        <c:v>0</c:v>
                      </c:pt>
                      <c:pt idx="1734">
                        <c:v>0</c:v>
                      </c:pt>
                      <c:pt idx="1735">
                        <c:v>0</c:v>
                      </c:pt>
                      <c:pt idx="1736">
                        <c:v>0</c:v>
                      </c:pt>
                      <c:pt idx="1737">
                        <c:v>0</c:v>
                      </c:pt>
                      <c:pt idx="1738">
                        <c:v>0</c:v>
                      </c:pt>
                      <c:pt idx="1739">
                        <c:v>0</c:v>
                      </c:pt>
                      <c:pt idx="1740">
                        <c:v>0</c:v>
                      </c:pt>
                      <c:pt idx="1741">
                        <c:v>0</c:v>
                      </c:pt>
                      <c:pt idx="1742">
                        <c:v>0</c:v>
                      </c:pt>
                      <c:pt idx="1743">
                        <c:v>0</c:v>
                      </c:pt>
                      <c:pt idx="1744">
                        <c:v>0</c:v>
                      </c:pt>
                      <c:pt idx="1745">
                        <c:v>0</c:v>
                      </c:pt>
                      <c:pt idx="1746">
                        <c:v>0</c:v>
                      </c:pt>
                      <c:pt idx="1747">
                        <c:v>0</c:v>
                      </c:pt>
                      <c:pt idx="1748">
                        <c:v>0</c:v>
                      </c:pt>
                      <c:pt idx="1749">
                        <c:v>0</c:v>
                      </c:pt>
                      <c:pt idx="1750">
                        <c:v>0</c:v>
                      </c:pt>
                      <c:pt idx="1751">
                        <c:v>0</c:v>
                      </c:pt>
                      <c:pt idx="1752">
                        <c:v>0</c:v>
                      </c:pt>
                      <c:pt idx="1753">
                        <c:v>0</c:v>
                      </c:pt>
                      <c:pt idx="1754">
                        <c:v>0</c:v>
                      </c:pt>
                      <c:pt idx="1755">
                        <c:v>0</c:v>
                      </c:pt>
                      <c:pt idx="1756">
                        <c:v>0</c:v>
                      </c:pt>
                      <c:pt idx="1757">
                        <c:v>0</c:v>
                      </c:pt>
                      <c:pt idx="1758">
                        <c:v>0</c:v>
                      </c:pt>
                      <c:pt idx="1759">
                        <c:v>0</c:v>
                      </c:pt>
                      <c:pt idx="1760">
                        <c:v>0</c:v>
                      </c:pt>
                      <c:pt idx="1761">
                        <c:v>0</c:v>
                      </c:pt>
                      <c:pt idx="1762">
                        <c:v>0</c:v>
                      </c:pt>
                      <c:pt idx="1763">
                        <c:v>0</c:v>
                      </c:pt>
                      <c:pt idx="1764">
                        <c:v>0</c:v>
                      </c:pt>
                      <c:pt idx="1765">
                        <c:v>0</c:v>
                      </c:pt>
                      <c:pt idx="1766">
                        <c:v>0</c:v>
                      </c:pt>
                      <c:pt idx="1767">
                        <c:v>0</c:v>
                      </c:pt>
                      <c:pt idx="1768">
                        <c:v>0</c:v>
                      </c:pt>
                      <c:pt idx="1769">
                        <c:v>0</c:v>
                      </c:pt>
                      <c:pt idx="1770">
                        <c:v>0</c:v>
                      </c:pt>
                      <c:pt idx="1771">
                        <c:v>0</c:v>
                      </c:pt>
                      <c:pt idx="1772">
                        <c:v>0</c:v>
                      </c:pt>
                      <c:pt idx="1773">
                        <c:v>0</c:v>
                      </c:pt>
                      <c:pt idx="1774">
                        <c:v>0</c:v>
                      </c:pt>
                      <c:pt idx="1775">
                        <c:v>0</c:v>
                      </c:pt>
                      <c:pt idx="1776">
                        <c:v>0</c:v>
                      </c:pt>
                      <c:pt idx="1777">
                        <c:v>0</c:v>
                      </c:pt>
                      <c:pt idx="1778">
                        <c:v>0</c:v>
                      </c:pt>
                      <c:pt idx="1779">
                        <c:v>0</c:v>
                      </c:pt>
                      <c:pt idx="1780">
                        <c:v>0</c:v>
                      </c:pt>
                      <c:pt idx="1781">
                        <c:v>0</c:v>
                      </c:pt>
                      <c:pt idx="1782">
                        <c:v>0</c:v>
                      </c:pt>
                      <c:pt idx="1783">
                        <c:v>0</c:v>
                      </c:pt>
                      <c:pt idx="1784">
                        <c:v>0</c:v>
                      </c:pt>
                      <c:pt idx="1785">
                        <c:v>0</c:v>
                      </c:pt>
                      <c:pt idx="1786">
                        <c:v>0</c:v>
                      </c:pt>
                      <c:pt idx="1787">
                        <c:v>0</c:v>
                      </c:pt>
                      <c:pt idx="1788">
                        <c:v>0</c:v>
                      </c:pt>
                      <c:pt idx="1789">
                        <c:v>0</c:v>
                      </c:pt>
                      <c:pt idx="1790">
                        <c:v>0</c:v>
                      </c:pt>
                      <c:pt idx="1791">
                        <c:v>0</c:v>
                      </c:pt>
                      <c:pt idx="1792">
                        <c:v>0</c:v>
                      </c:pt>
                      <c:pt idx="1793">
                        <c:v>0</c:v>
                      </c:pt>
                      <c:pt idx="1794">
                        <c:v>0</c:v>
                      </c:pt>
                      <c:pt idx="1795">
                        <c:v>0</c:v>
                      </c:pt>
                      <c:pt idx="1796">
                        <c:v>0</c:v>
                      </c:pt>
                      <c:pt idx="1797">
                        <c:v>0</c:v>
                      </c:pt>
                      <c:pt idx="1798">
                        <c:v>0</c:v>
                      </c:pt>
                      <c:pt idx="1799">
                        <c:v>0</c:v>
                      </c:pt>
                      <c:pt idx="1800">
                        <c:v>0</c:v>
                      </c:pt>
                      <c:pt idx="1801">
                        <c:v>0</c:v>
                      </c:pt>
                      <c:pt idx="1802">
                        <c:v>0</c:v>
                      </c:pt>
                      <c:pt idx="1803">
                        <c:v>0</c:v>
                      </c:pt>
                      <c:pt idx="1804">
                        <c:v>0</c:v>
                      </c:pt>
                      <c:pt idx="1805">
                        <c:v>0</c:v>
                      </c:pt>
                      <c:pt idx="1806">
                        <c:v>0</c:v>
                      </c:pt>
                      <c:pt idx="1807">
                        <c:v>0</c:v>
                      </c:pt>
                      <c:pt idx="1808">
                        <c:v>0</c:v>
                      </c:pt>
                      <c:pt idx="1809">
                        <c:v>0</c:v>
                      </c:pt>
                      <c:pt idx="1810">
                        <c:v>0</c:v>
                      </c:pt>
                      <c:pt idx="1811">
                        <c:v>0</c:v>
                      </c:pt>
                      <c:pt idx="1812">
                        <c:v>0</c:v>
                      </c:pt>
                      <c:pt idx="1813">
                        <c:v>0</c:v>
                      </c:pt>
                      <c:pt idx="1814">
                        <c:v>0</c:v>
                      </c:pt>
                      <c:pt idx="1815">
                        <c:v>0</c:v>
                      </c:pt>
                      <c:pt idx="1816">
                        <c:v>0</c:v>
                      </c:pt>
                      <c:pt idx="1817">
                        <c:v>0</c:v>
                      </c:pt>
                      <c:pt idx="1818">
                        <c:v>0</c:v>
                      </c:pt>
                      <c:pt idx="1819">
                        <c:v>0</c:v>
                      </c:pt>
                      <c:pt idx="1820">
                        <c:v>0</c:v>
                      </c:pt>
                      <c:pt idx="1821">
                        <c:v>0</c:v>
                      </c:pt>
                      <c:pt idx="1822">
                        <c:v>0</c:v>
                      </c:pt>
                      <c:pt idx="1823">
                        <c:v>0</c:v>
                      </c:pt>
                      <c:pt idx="1824">
                        <c:v>0</c:v>
                      </c:pt>
                      <c:pt idx="1825">
                        <c:v>0</c:v>
                      </c:pt>
                      <c:pt idx="1826">
                        <c:v>0</c:v>
                      </c:pt>
                      <c:pt idx="1827">
                        <c:v>0</c:v>
                      </c:pt>
                      <c:pt idx="1828">
                        <c:v>0</c:v>
                      </c:pt>
                      <c:pt idx="1829">
                        <c:v>0</c:v>
                      </c:pt>
                      <c:pt idx="1830">
                        <c:v>0</c:v>
                      </c:pt>
                      <c:pt idx="1831">
                        <c:v>0</c:v>
                      </c:pt>
                      <c:pt idx="1832">
                        <c:v>0</c:v>
                      </c:pt>
                      <c:pt idx="1833">
                        <c:v>0</c:v>
                      </c:pt>
                      <c:pt idx="1834">
                        <c:v>0</c:v>
                      </c:pt>
                      <c:pt idx="1835">
                        <c:v>0</c:v>
                      </c:pt>
                      <c:pt idx="1836">
                        <c:v>0</c:v>
                      </c:pt>
                      <c:pt idx="1837">
                        <c:v>0</c:v>
                      </c:pt>
                      <c:pt idx="1838">
                        <c:v>0</c:v>
                      </c:pt>
                      <c:pt idx="1839">
                        <c:v>0</c:v>
                      </c:pt>
                      <c:pt idx="1840">
                        <c:v>0</c:v>
                      </c:pt>
                      <c:pt idx="1841">
                        <c:v>0</c:v>
                      </c:pt>
                      <c:pt idx="1842">
                        <c:v>0</c:v>
                      </c:pt>
                      <c:pt idx="1843">
                        <c:v>0</c:v>
                      </c:pt>
                      <c:pt idx="1844">
                        <c:v>0</c:v>
                      </c:pt>
                      <c:pt idx="1845">
                        <c:v>0</c:v>
                      </c:pt>
                      <c:pt idx="1846">
                        <c:v>0</c:v>
                      </c:pt>
                      <c:pt idx="1847">
                        <c:v>0</c:v>
                      </c:pt>
                      <c:pt idx="1848">
                        <c:v>0</c:v>
                      </c:pt>
                      <c:pt idx="1849">
                        <c:v>0</c:v>
                      </c:pt>
                      <c:pt idx="1850">
                        <c:v>0</c:v>
                      </c:pt>
                      <c:pt idx="1851">
                        <c:v>0</c:v>
                      </c:pt>
                      <c:pt idx="1852">
                        <c:v>0</c:v>
                      </c:pt>
                      <c:pt idx="1853">
                        <c:v>0</c:v>
                      </c:pt>
                      <c:pt idx="1854">
                        <c:v>0</c:v>
                      </c:pt>
                      <c:pt idx="1855">
                        <c:v>0</c:v>
                      </c:pt>
                      <c:pt idx="1856">
                        <c:v>0</c:v>
                      </c:pt>
                      <c:pt idx="1857">
                        <c:v>0</c:v>
                      </c:pt>
                      <c:pt idx="1858">
                        <c:v>0</c:v>
                      </c:pt>
                      <c:pt idx="1859">
                        <c:v>0</c:v>
                      </c:pt>
                      <c:pt idx="1860">
                        <c:v>0</c:v>
                      </c:pt>
                      <c:pt idx="1861">
                        <c:v>0</c:v>
                      </c:pt>
                      <c:pt idx="1862">
                        <c:v>0</c:v>
                      </c:pt>
                      <c:pt idx="1863">
                        <c:v>0</c:v>
                      </c:pt>
                      <c:pt idx="1864">
                        <c:v>0</c:v>
                      </c:pt>
                      <c:pt idx="1865">
                        <c:v>0</c:v>
                      </c:pt>
                      <c:pt idx="1866">
                        <c:v>0</c:v>
                      </c:pt>
                      <c:pt idx="1867">
                        <c:v>0</c:v>
                      </c:pt>
                      <c:pt idx="1868">
                        <c:v>0</c:v>
                      </c:pt>
                      <c:pt idx="1869">
                        <c:v>0</c:v>
                      </c:pt>
                      <c:pt idx="1870">
                        <c:v>0</c:v>
                      </c:pt>
                      <c:pt idx="1871">
                        <c:v>0</c:v>
                      </c:pt>
                      <c:pt idx="1872">
                        <c:v>0</c:v>
                      </c:pt>
                      <c:pt idx="1873">
                        <c:v>0</c:v>
                      </c:pt>
                      <c:pt idx="1874">
                        <c:v>0</c:v>
                      </c:pt>
                      <c:pt idx="1875">
                        <c:v>0</c:v>
                      </c:pt>
                      <c:pt idx="1876">
                        <c:v>0</c:v>
                      </c:pt>
                      <c:pt idx="1877">
                        <c:v>0</c:v>
                      </c:pt>
                      <c:pt idx="1878">
                        <c:v>0</c:v>
                      </c:pt>
                      <c:pt idx="1879">
                        <c:v>0</c:v>
                      </c:pt>
                      <c:pt idx="1880">
                        <c:v>0</c:v>
                      </c:pt>
                      <c:pt idx="1881">
                        <c:v>0</c:v>
                      </c:pt>
                      <c:pt idx="1882">
                        <c:v>0</c:v>
                      </c:pt>
                      <c:pt idx="1883">
                        <c:v>0</c:v>
                      </c:pt>
                      <c:pt idx="1884">
                        <c:v>0</c:v>
                      </c:pt>
                      <c:pt idx="1885">
                        <c:v>0</c:v>
                      </c:pt>
                      <c:pt idx="1886">
                        <c:v>0</c:v>
                      </c:pt>
                      <c:pt idx="1887">
                        <c:v>0</c:v>
                      </c:pt>
                      <c:pt idx="1888">
                        <c:v>0</c:v>
                      </c:pt>
                      <c:pt idx="1889">
                        <c:v>0</c:v>
                      </c:pt>
                      <c:pt idx="1890">
                        <c:v>0</c:v>
                      </c:pt>
                      <c:pt idx="1891">
                        <c:v>0</c:v>
                      </c:pt>
                      <c:pt idx="1892">
                        <c:v>0</c:v>
                      </c:pt>
                      <c:pt idx="1893">
                        <c:v>0</c:v>
                      </c:pt>
                      <c:pt idx="1894">
                        <c:v>0</c:v>
                      </c:pt>
                      <c:pt idx="1895">
                        <c:v>0</c:v>
                      </c:pt>
                      <c:pt idx="1896">
                        <c:v>0</c:v>
                      </c:pt>
                      <c:pt idx="1897">
                        <c:v>0</c:v>
                      </c:pt>
                      <c:pt idx="1898">
                        <c:v>0</c:v>
                      </c:pt>
                      <c:pt idx="1899">
                        <c:v>0</c:v>
                      </c:pt>
                      <c:pt idx="1900">
                        <c:v>0</c:v>
                      </c:pt>
                      <c:pt idx="1901">
                        <c:v>0</c:v>
                      </c:pt>
                      <c:pt idx="1902">
                        <c:v>0</c:v>
                      </c:pt>
                      <c:pt idx="1903">
                        <c:v>0</c:v>
                      </c:pt>
                      <c:pt idx="1904">
                        <c:v>0</c:v>
                      </c:pt>
                      <c:pt idx="1905">
                        <c:v>0</c:v>
                      </c:pt>
                      <c:pt idx="1906">
                        <c:v>0</c:v>
                      </c:pt>
                      <c:pt idx="1907">
                        <c:v>0</c:v>
                      </c:pt>
                      <c:pt idx="1908">
                        <c:v>0</c:v>
                      </c:pt>
                      <c:pt idx="1909">
                        <c:v>0</c:v>
                      </c:pt>
                      <c:pt idx="1910">
                        <c:v>0</c:v>
                      </c:pt>
                      <c:pt idx="1911">
                        <c:v>0</c:v>
                      </c:pt>
                      <c:pt idx="1912">
                        <c:v>0</c:v>
                      </c:pt>
                      <c:pt idx="1913">
                        <c:v>0</c:v>
                      </c:pt>
                      <c:pt idx="1914">
                        <c:v>0</c:v>
                      </c:pt>
                      <c:pt idx="1915">
                        <c:v>0</c:v>
                      </c:pt>
                      <c:pt idx="1916">
                        <c:v>0</c:v>
                      </c:pt>
                      <c:pt idx="1917">
                        <c:v>0</c:v>
                      </c:pt>
                      <c:pt idx="1918">
                        <c:v>0</c:v>
                      </c:pt>
                      <c:pt idx="1919">
                        <c:v>0</c:v>
                      </c:pt>
                      <c:pt idx="1920">
                        <c:v>0</c:v>
                      </c:pt>
                      <c:pt idx="1921">
                        <c:v>0</c:v>
                      </c:pt>
                      <c:pt idx="1922">
                        <c:v>0</c:v>
                      </c:pt>
                      <c:pt idx="1923">
                        <c:v>0</c:v>
                      </c:pt>
                      <c:pt idx="1924">
                        <c:v>0</c:v>
                      </c:pt>
                      <c:pt idx="1925">
                        <c:v>0</c:v>
                      </c:pt>
                      <c:pt idx="1926">
                        <c:v>0</c:v>
                      </c:pt>
                      <c:pt idx="1927">
                        <c:v>0</c:v>
                      </c:pt>
                      <c:pt idx="1928">
                        <c:v>0</c:v>
                      </c:pt>
                      <c:pt idx="1929">
                        <c:v>0</c:v>
                      </c:pt>
                      <c:pt idx="1930">
                        <c:v>0</c:v>
                      </c:pt>
                      <c:pt idx="1931">
                        <c:v>0</c:v>
                      </c:pt>
                      <c:pt idx="1932">
                        <c:v>0</c:v>
                      </c:pt>
                      <c:pt idx="1933">
                        <c:v>0</c:v>
                      </c:pt>
                      <c:pt idx="1934">
                        <c:v>0</c:v>
                      </c:pt>
                      <c:pt idx="1935">
                        <c:v>0</c:v>
                      </c:pt>
                      <c:pt idx="1936">
                        <c:v>0</c:v>
                      </c:pt>
                      <c:pt idx="1937">
                        <c:v>0</c:v>
                      </c:pt>
                      <c:pt idx="1938">
                        <c:v>0</c:v>
                      </c:pt>
                      <c:pt idx="1939">
                        <c:v>0</c:v>
                      </c:pt>
                      <c:pt idx="1940">
                        <c:v>0</c:v>
                      </c:pt>
                      <c:pt idx="1941">
                        <c:v>0</c:v>
                      </c:pt>
                      <c:pt idx="1942">
                        <c:v>0</c:v>
                      </c:pt>
                      <c:pt idx="1943">
                        <c:v>0</c:v>
                      </c:pt>
                      <c:pt idx="1944">
                        <c:v>0</c:v>
                      </c:pt>
                      <c:pt idx="1945">
                        <c:v>0</c:v>
                      </c:pt>
                      <c:pt idx="1946">
                        <c:v>0</c:v>
                      </c:pt>
                      <c:pt idx="1947">
                        <c:v>0</c:v>
                      </c:pt>
                      <c:pt idx="1948">
                        <c:v>0</c:v>
                      </c:pt>
                      <c:pt idx="1949">
                        <c:v>0</c:v>
                      </c:pt>
                      <c:pt idx="1950">
                        <c:v>0</c:v>
                      </c:pt>
                      <c:pt idx="1951">
                        <c:v>0</c:v>
                      </c:pt>
                      <c:pt idx="1952">
                        <c:v>0</c:v>
                      </c:pt>
                      <c:pt idx="1953">
                        <c:v>0</c:v>
                      </c:pt>
                      <c:pt idx="1954">
                        <c:v>0</c:v>
                      </c:pt>
                      <c:pt idx="1955">
                        <c:v>0</c:v>
                      </c:pt>
                      <c:pt idx="1956">
                        <c:v>0</c:v>
                      </c:pt>
                      <c:pt idx="1957">
                        <c:v>0</c:v>
                      </c:pt>
                      <c:pt idx="1958">
                        <c:v>0</c:v>
                      </c:pt>
                      <c:pt idx="1959">
                        <c:v>0</c:v>
                      </c:pt>
                      <c:pt idx="1960">
                        <c:v>0</c:v>
                      </c:pt>
                      <c:pt idx="1961">
                        <c:v>0</c:v>
                      </c:pt>
                      <c:pt idx="1962">
                        <c:v>0</c:v>
                      </c:pt>
                      <c:pt idx="1963">
                        <c:v>0</c:v>
                      </c:pt>
                      <c:pt idx="1964">
                        <c:v>0</c:v>
                      </c:pt>
                      <c:pt idx="1965">
                        <c:v>0</c:v>
                      </c:pt>
                      <c:pt idx="1966">
                        <c:v>0</c:v>
                      </c:pt>
                      <c:pt idx="1967">
                        <c:v>0</c:v>
                      </c:pt>
                      <c:pt idx="1968">
                        <c:v>0</c:v>
                      </c:pt>
                      <c:pt idx="1969">
                        <c:v>0</c:v>
                      </c:pt>
                      <c:pt idx="1970">
                        <c:v>0</c:v>
                      </c:pt>
                      <c:pt idx="1971">
                        <c:v>0</c:v>
                      </c:pt>
                      <c:pt idx="1972">
                        <c:v>0</c:v>
                      </c:pt>
                      <c:pt idx="1973">
                        <c:v>0</c:v>
                      </c:pt>
                      <c:pt idx="1974">
                        <c:v>0</c:v>
                      </c:pt>
                      <c:pt idx="1975">
                        <c:v>0</c:v>
                      </c:pt>
                      <c:pt idx="1976">
                        <c:v>0</c:v>
                      </c:pt>
                      <c:pt idx="1977">
                        <c:v>0</c:v>
                      </c:pt>
                      <c:pt idx="1978">
                        <c:v>0</c:v>
                      </c:pt>
                      <c:pt idx="1979">
                        <c:v>0</c:v>
                      </c:pt>
                      <c:pt idx="1980">
                        <c:v>0</c:v>
                      </c:pt>
                      <c:pt idx="1981">
                        <c:v>0</c:v>
                      </c:pt>
                      <c:pt idx="1982">
                        <c:v>0</c:v>
                      </c:pt>
                      <c:pt idx="1983">
                        <c:v>0</c:v>
                      </c:pt>
                      <c:pt idx="1984">
                        <c:v>0</c:v>
                      </c:pt>
                      <c:pt idx="1985">
                        <c:v>0</c:v>
                      </c:pt>
                      <c:pt idx="1986">
                        <c:v>0</c:v>
                      </c:pt>
                      <c:pt idx="1987">
                        <c:v>0</c:v>
                      </c:pt>
                      <c:pt idx="1988">
                        <c:v>0</c:v>
                      </c:pt>
                      <c:pt idx="1989">
                        <c:v>0</c:v>
                      </c:pt>
                      <c:pt idx="1990">
                        <c:v>0</c:v>
                      </c:pt>
                      <c:pt idx="1991">
                        <c:v>0</c:v>
                      </c:pt>
                      <c:pt idx="1992">
                        <c:v>0</c:v>
                      </c:pt>
                      <c:pt idx="1993">
                        <c:v>0</c:v>
                      </c:pt>
                      <c:pt idx="1994">
                        <c:v>0</c:v>
                      </c:pt>
                      <c:pt idx="1995">
                        <c:v>0</c:v>
                      </c:pt>
                      <c:pt idx="1996">
                        <c:v>0</c:v>
                      </c:pt>
                      <c:pt idx="1997">
                        <c:v>0</c:v>
                      </c:pt>
                      <c:pt idx="1998">
                        <c:v>0</c:v>
                      </c:pt>
                      <c:pt idx="1999">
                        <c:v>0</c:v>
                      </c:pt>
                      <c:pt idx="2000">
                        <c:v>0</c:v>
                      </c:pt>
                      <c:pt idx="2001">
                        <c:v>0</c:v>
                      </c:pt>
                      <c:pt idx="2002">
                        <c:v>0</c:v>
                      </c:pt>
                      <c:pt idx="2003">
                        <c:v>0</c:v>
                      </c:pt>
                      <c:pt idx="2004">
                        <c:v>0</c:v>
                      </c:pt>
                      <c:pt idx="2005">
                        <c:v>0</c:v>
                      </c:pt>
                      <c:pt idx="2006">
                        <c:v>0</c:v>
                      </c:pt>
                      <c:pt idx="2007">
                        <c:v>0</c:v>
                      </c:pt>
                      <c:pt idx="2008">
                        <c:v>0</c:v>
                      </c:pt>
                      <c:pt idx="2009">
                        <c:v>0</c:v>
                      </c:pt>
                      <c:pt idx="2010">
                        <c:v>0</c:v>
                      </c:pt>
                      <c:pt idx="2011">
                        <c:v>0</c:v>
                      </c:pt>
                      <c:pt idx="2012">
                        <c:v>0</c:v>
                      </c:pt>
                      <c:pt idx="2013">
                        <c:v>0</c:v>
                      </c:pt>
                      <c:pt idx="2014">
                        <c:v>0</c:v>
                      </c:pt>
                      <c:pt idx="2015">
                        <c:v>0</c:v>
                      </c:pt>
                      <c:pt idx="2016">
                        <c:v>0</c:v>
                      </c:pt>
                      <c:pt idx="2017">
                        <c:v>0</c:v>
                      </c:pt>
                      <c:pt idx="2018">
                        <c:v>0</c:v>
                      </c:pt>
                      <c:pt idx="2019">
                        <c:v>0</c:v>
                      </c:pt>
                      <c:pt idx="2020">
                        <c:v>0</c:v>
                      </c:pt>
                      <c:pt idx="2021">
                        <c:v>0</c:v>
                      </c:pt>
                      <c:pt idx="2022">
                        <c:v>0</c:v>
                      </c:pt>
                      <c:pt idx="2023">
                        <c:v>0</c:v>
                      </c:pt>
                      <c:pt idx="2024">
                        <c:v>0</c:v>
                      </c:pt>
                      <c:pt idx="2025">
                        <c:v>0</c:v>
                      </c:pt>
                      <c:pt idx="2026">
                        <c:v>0</c:v>
                      </c:pt>
                      <c:pt idx="2027">
                        <c:v>0</c:v>
                      </c:pt>
                      <c:pt idx="2028">
                        <c:v>0</c:v>
                      </c:pt>
                      <c:pt idx="2029">
                        <c:v>0</c:v>
                      </c:pt>
                      <c:pt idx="2030">
                        <c:v>0</c:v>
                      </c:pt>
                      <c:pt idx="2031">
                        <c:v>0</c:v>
                      </c:pt>
                      <c:pt idx="2032">
                        <c:v>0</c:v>
                      </c:pt>
                      <c:pt idx="2033">
                        <c:v>0</c:v>
                      </c:pt>
                      <c:pt idx="2034">
                        <c:v>0</c:v>
                      </c:pt>
                      <c:pt idx="2035">
                        <c:v>0</c:v>
                      </c:pt>
                      <c:pt idx="2036">
                        <c:v>0</c:v>
                      </c:pt>
                      <c:pt idx="2037">
                        <c:v>0</c:v>
                      </c:pt>
                      <c:pt idx="2038">
                        <c:v>0</c:v>
                      </c:pt>
                      <c:pt idx="2039">
                        <c:v>0</c:v>
                      </c:pt>
                      <c:pt idx="2040">
                        <c:v>0</c:v>
                      </c:pt>
                      <c:pt idx="2041">
                        <c:v>0</c:v>
                      </c:pt>
                      <c:pt idx="2042">
                        <c:v>0</c:v>
                      </c:pt>
                      <c:pt idx="2043">
                        <c:v>0</c:v>
                      </c:pt>
                      <c:pt idx="2044">
                        <c:v>0</c:v>
                      </c:pt>
                      <c:pt idx="2045">
                        <c:v>0</c:v>
                      </c:pt>
                      <c:pt idx="2046">
                        <c:v>0</c:v>
                      </c:pt>
                      <c:pt idx="2047">
                        <c:v>0</c:v>
                      </c:pt>
                      <c:pt idx="2048">
                        <c:v>0</c:v>
                      </c:pt>
                      <c:pt idx="2049">
                        <c:v>0</c:v>
                      </c:pt>
                      <c:pt idx="2050">
                        <c:v>0</c:v>
                      </c:pt>
                      <c:pt idx="2051">
                        <c:v>0</c:v>
                      </c:pt>
                      <c:pt idx="2052">
                        <c:v>0</c:v>
                      </c:pt>
                      <c:pt idx="2053">
                        <c:v>0</c:v>
                      </c:pt>
                      <c:pt idx="2054">
                        <c:v>0</c:v>
                      </c:pt>
                      <c:pt idx="2055">
                        <c:v>0</c:v>
                      </c:pt>
                      <c:pt idx="2056">
                        <c:v>0</c:v>
                      </c:pt>
                      <c:pt idx="2057">
                        <c:v>0</c:v>
                      </c:pt>
                      <c:pt idx="2058">
                        <c:v>0</c:v>
                      </c:pt>
                      <c:pt idx="2059">
                        <c:v>0</c:v>
                      </c:pt>
                      <c:pt idx="2060">
                        <c:v>0</c:v>
                      </c:pt>
                      <c:pt idx="2061">
                        <c:v>0</c:v>
                      </c:pt>
                      <c:pt idx="2062">
                        <c:v>0</c:v>
                      </c:pt>
                      <c:pt idx="2063">
                        <c:v>0</c:v>
                      </c:pt>
                      <c:pt idx="2064">
                        <c:v>0</c:v>
                      </c:pt>
                      <c:pt idx="2065">
                        <c:v>0</c:v>
                      </c:pt>
                      <c:pt idx="2066">
                        <c:v>0</c:v>
                      </c:pt>
                      <c:pt idx="2067">
                        <c:v>0</c:v>
                      </c:pt>
                      <c:pt idx="2068">
                        <c:v>0</c:v>
                      </c:pt>
                      <c:pt idx="2069">
                        <c:v>0</c:v>
                      </c:pt>
                      <c:pt idx="2070">
                        <c:v>0</c:v>
                      </c:pt>
                      <c:pt idx="2071">
                        <c:v>0</c:v>
                      </c:pt>
                      <c:pt idx="2072">
                        <c:v>0</c:v>
                      </c:pt>
                      <c:pt idx="2073">
                        <c:v>0</c:v>
                      </c:pt>
                      <c:pt idx="2074">
                        <c:v>0</c:v>
                      </c:pt>
                      <c:pt idx="2075">
                        <c:v>0</c:v>
                      </c:pt>
                      <c:pt idx="2076">
                        <c:v>0</c:v>
                      </c:pt>
                      <c:pt idx="2077">
                        <c:v>0</c:v>
                      </c:pt>
                      <c:pt idx="2078">
                        <c:v>0</c:v>
                      </c:pt>
                      <c:pt idx="2079">
                        <c:v>0</c:v>
                      </c:pt>
                      <c:pt idx="2080">
                        <c:v>0</c:v>
                      </c:pt>
                      <c:pt idx="2081">
                        <c:v>0</c:v>
                      </c:pt>
                      <c:pt idx="2082">
                        <c:v>0</c:v>
                      </c:pt>
                      <c:pt idx="2083">
                        <c:v>0</c:v>
                      </c:pt>
                      <c:pt idx="2084">
                        <c:v>0</c:v>
                      </c:pt>
                      <c:pt idx="2085">
                        <c:v>0</c:v>
                      </c:pt>
                      <c:pt idx="2086">
                        <c:v>0</c:v>
                      </c:pt>
                      <c:pt idx="2087">
                        <c:v>0</c:v>
                      </c:pt>
                      <c:pt idx="2088">
                        <c:v>0</c:v>
                      </c:pt>
                      <c:pt idx="2089">
                        <c:v>0</c:v>
                      </c:pt>
                      <c:pt idx="2090">
                        <c:v>0</c:v>
                      </c:pt>
                      <c:pt idx="2091">
                        <c:v>0</c:v>
                      </c:pt>
                      <c:pt idx="2092">
                        <c:v>0</c:v>
                      </c:pt>
                      <c:pt idx="2093">
                        <c:v>0</c:v>
                      </c:pt>
                      <c:pt idx="2094">
                        <c:v>0</c:v>
                      </c:pt>
                      <c:pt idx="2095">
                        <c:v>0</c:v>
                      </c:pt>
                      <c:pt idx="2096">
                        <c:v>0</c:v>
                      </c:pt>
                      <c:pt idx="2097">
                        <c:v>0</c:v>
                      </c:pt>
                      <c:pt idx="2098">
                        <c:v>0</c:v>
                      </c:pt>
                      <c:pt idx="2099">
                        <c:v>0</c:v>
                      </c:pt>
                      <c:pt idx="2100">
                        <c:v>0</c:v>
                      </c:pt>
                      <c:pt idx="2101">
                        <c:v>0</c:v>
                      </c:pt>
                      <c:pt idx="2102">
                        <c:v>0</c:v>
                      </c:pt>
                      <c:pt idx="2103">
                        <c:v>0</c:v>
                      </c:pt>
                      <c:pt idx="2104">
                        <c:v>0</c:v>
                      </c:pt>
                      <c:pt idx="2105">
                        <c:v>0</c:v>
                      </c:pt>
                      <c:pt idx="2106">
                        <c:v>0</c:v>
                      </c:pt>
                      <c:pt idx="2107">
                        <c:v>0</c:v>
                      </c:pt>
                      <c:pt idx="2108">
                        <c:v>0</c:v>
                      </c:pt>
                      <c:pt idx="2109">
                        <c:v>0</c:v>
                      </c:pt>
                      <c:pt idx="2110">
                        <c:v>0</c:v>
                      </c:pt>
                      <c:pt idx="2111">
                        <c:v>0</c:v>
                      </c:pt>
                      <c:pt idx="2112">
                        <c:v>0</c:v>
                      </c:pt>
                      <c:pt idx="2113">
                        <c:v>0</c:v>
                      </c:pt>
                      <c:pt idx="2114">
                        <c:v>0</c:v>
                      </c:pt>
                      <c:pt idx="2115">
                        <c:v>0</c:v>
                      </c:pt>
                      <c:pt idx="2116">
                        <c:v>0</c:v>
                      </c:pt>
                      <c:pt idx="2117">
                        <c:v>0</c:v>
                      </c:pt>
                      <c:pt idx="2118">
                        <c:v>0</c:v>
                      </c:pt>
                      <c:pt idx="2119">
                        <c:v>0</c:v>
                      </c:pt>
                      <c:pt idx="2120">
                        <c:v>0</c:v>
                      </c:pt>
                      <c:pt idx="2121">
                        <c:v>0</c:v>
                      </c:pt>
                      <c:pt idx="2122">
                        <c:v>0</c:v>
                      </c:pt>
                      <c:pt idx="2123">
                        <c:v>0</c:v>
                      </c:pt>
                      <c:pt idx="2124">
                        <c:v>0</c:v>
                      </c:pt>
                      <c:pt idx="2125">
                        <c:v>0</c:v>
                      </c:pt>
                      <c:pt idx="2126">
                        <c:v>0</c:v>
                      </c:pt>
                      <c:pt idx="2127">
                        <c:v>0</c:v>
                      </c:pt>
                      <c:pt idx="2128">
                        <c:v>0</c:v>
                      </c:pt>
                      <c:pt idx="2129">
                        <c:v>0</c:v>
                      </c:pt>
                      <c:pt idx="2130">
                        <c:v>0</c:v>
                      </c:pt>
                      <c:pt idx="2131">
                        <c:v>0</c:v>
                      </c:pt>
                      <c:pt idx="2132">
                        <c:v>0</c:v>
                      </c:pt>
                      <c:pt idx="2133">
                        <c:v>0</c:v>
                      </c:pt>
                      <c:pt idx="2134">
                        <c:v>0</c:v>
                      </c:pt>
                      <c:pt idx="2135">
                        <c:v>0</c:v>
                      </c:pt>
                      <c:pt idx="2136">
                        <c:v>0</c:v>
                      </c:pt>
                      <c:pt idx="2137">
                        <c:v>0</c:v>
                      </c:pt>
                      <c:pt idx="2138">
                        <c:v>0</c:v>
                      </c:pt>
                      <c:pt idx="2139">
                        <c:v>0</c:v>
                      </c:pt>
                      <c:pt idx="2140">
                        <c:v>0</c:v>
                      </c:pt>
                      <c:pt idx="2141">
                        <c:v>0</c:v>
                      </c:pt>
                      <c:pt idx="2142">
                        <c:v>0</c:v>
                      </c:pt>
                      <c:pt idx="2143">
                        <c:v>0</c:v>
                      </c:pt>
                      <c:pt idx="2144">
                        <c:v>0</c:v>
                      </c:pt>
                      <c:pt idx="2145">
                        <c:v>0</c:v>
                      </c:pt>
                      <c:pt idx="2146">
                        <c:v>0</c:v>
                      </c:pt>
                      <c:pt idx="2147">
                        <c:v>0</c:v>
                      </c:pt>
                      <c:pt idx="2148">
                        <c:v>0</c:v>
                      </c:pt>
                      <c:pt idx="2149">
                        <c:v>0</c:v>
                      </c:pt>
                      <c:pt idx="2150">
                        <c:v>0</c:v>
                      </c:pt>
                      <c:pt idx="2151">
                        <c:v>0</c:v>
                      </c:pt>
                      <c:pt idx="2152">
                        <c:v>0</c:v>
                      </c:pt>
                      <c:pt idx="2153">
                        <c:v>0</c:v>
                      </c:pt>
                      <c:pt idx="2154">
                        <c:v>0</c:v>
                      </c:pt>
                      <c:pt idx="2155">
                        <c:v>0</c:v>
                      </c:pt>
                      <c:pt idx="2156">
                        <c:v>0</c:v>
                      </c:pt>
                      <c:pt idx="2157">
                        <c:v>0</c:v>
                      </c:pt>
                      <c:pt idx="2158">
                        <c:v>0</c:v>
                      </c:pt>
                      <c:pt idx="2159">
                        <c:v>0</c:v>
                      </c:pt>
                      <c:pt idx="2160">
                        <c:v>0</c:v>
                      </c:pt>
                      <c:pt idx="2161">
                        <c:v>0</c:v>
                      </c:pt>
                      <c:pt idx="2162">
                        <c:v>0</c:v>
                      </c:pt>
                      <c:pt idx="2163">
                        <c:v>0</c:v>
                      </c:pt>
                      <c:pt idx="2164">
                        <c:v>0</c:v>
                      </c:pt>
                      <c:pt idx="2165">
                        <c:v>0</c:v>
                      </c:pt>
                      <c:pt idx="2166">
                        <c:v>0</c:v>
                      </c:pt>
                      <c:pt idx="2167">
                        <c:v>0</c:v>
                      </c:pt>
                      <c:pt idx="2168">
                        <c:v>0</c:v>
                      </c:pt>
                      <c:pt idx="2169">
                        <c:v>0</c:v>
                      </c:pt>
                      <c:pt idx="2170">
                        <c:v>0</c:v>
                      </c:pt>
                      <c:pt idx="2171">
                        <c:v>0</c:v>
                      </c:pt>
                      <c:pt idx="2172">
                        <c:v>0</c:v>
                      </c:pt>
                      <c:pt idx="2173">
                        <c:v>0</c:v>
                      </c:pt>
                      <c:pt idx="2174">
                        <c:v>0</c:v>
                      </c:pt>
                      <c:pt idx="2175">
                        <c:v>0</c:v>
                      </c:pt>
                      <c:pt idx="2176">
                        <c:v>0</c:v>
                      </c:pt>
                      <c:pt idx="2177">
                        <c:v>0</c:v>
                      </c:pt>
                      <c:pt idx="2178">
                        <c:v>0</c:v>
                      </c:pt>
                      <c:pt idx="2179">
                        <c:v>0</c:v>
                      </c:pt>
                      <c:pt idx="2180">
                        <c:v>0</c:v>
                      </c:pt>
                      <c:pt idx="2181">
                        <c:v>0</c:v>
                      </c:pt>
                      <c:pt idx="2182">
                        <c:v>0</c:v>
                      </c:pt>
                      <c:pt idx="2183">
                        <c:v>0</c:v>
                      </c:pt>
                      <c:pt idx="2184">
                        <c:v>0</c:v>
                      </c:pt>
                      <c:pt idx="2185">
                        <c:v>0</c:v>
                      </c:pt>
                      <c:pt idx="2186">
                        <c:v>0</c:v>
                      </c:pt>
                      <c:pt idx="2187">
                        <c:v>0</c:v>
                      </c:pt>
                      <c:pt idx="2188">
                        <c:v>0</c:v>
                      </c:pt>
                      <c:pt idx="2189">
                        <c:v>0</c:v>
                      </c:pt>
                      <c:pt idx="2190">
                        <c:v>0</c:v>
                      </c:pt>
                      <c:pt idx="2191">
                        <c:v>0</c:v>
                      </c:pt>
                      <c:pt idx="2192">
                        <c:v>0</c:v>
                      </c:pt>
                      <c:pt idx="2193">
                        <c:v>0</c:v>
                      </c:pt>
                      <c:pt idx="2194">
                        <c:v>0</c:v>
                      </c:pt>
                      <c:pt idx="2195">
                        <c:v>0</c:v>
                      </c:pt>
                      <c:pt idx="2196">
                        <c:v>0</c:v>
                      </c:pt>
                      <c:pt idx="2197">
                        <c:v>0</c:v>
                      </c:pt>
                      <c:pt idx="2198">
                        <c:v>0</c:v>
                      </c:pt>
                      <c:pt idx="2199">
                        <c:v>0</c:v>
                      </c:pt>
                      <c:pt idx="2200">
                        <c:v>0</c:v>
                      </c:pt>
                      <c:pt idx="2201">
                        <c:v>0</c:v>
                      </c:pt>
                      <c:pt idx="2202">
                        <c:v>0</c:v>
                      </c:pt>
                      <c:pt idx="2203">
                        <c:v>0</c:v>
                      </c:pt>
                      <c:pt idx="2204">
                        <c:v>0</c:v>
                      </c:pt>
                      <c:pt idx="2205">
                        <c:v>0</c:v>
                      </c:pt>
                      <c:pt idx="2206">
                        <c:v>0</c:v>
                      </c:pt>
                      <c:pt idx="2207">
                        <c:v>0</c:v>
                      </c:pt>
                      <c:pt idx="2208">
                        <c:v>0</c:v>
                      </c:pt>
                      <c:pt idx="2209">
                        <c:v>0</c:v>
                      </c:pt>
                      <c:pt idx="2210">
                        <c:v>0</c:v>
                      </c:pt>
                      <c:pt idx="2211">
                        <c:v>0</c:v>
                      </c:pt>
                      <c:pt idx="2212">
                        <c:v>0</c:v>
                      </c:pt>
                      <c:pt idx="2213">
                        <c:v>0</c:v>
                      </c:pt>
                      <c:pt idx="2214">
                        <c:v>0</c:v>
                      </c:pt>
                      <c:pt idx="2215">
                        <c:v>0</c:v>
                      </c:pt>
                      <c:pt idx="2216">
                        <c:v>0</c:v>
                      </c:pt>
                      <c:pt idx="2217">
                        <c:v>0</c:v>
                      </c:pt>
                      <c:pt idx="2218">
                        <c:v>0</c:v>
                      </c:pt>
                      <c:pt idx="2219">
                        <c:v>0</c:v>
                      </c:pt>
                      <c:pt idx="2220">
                        <c:v>0</c:v>
                      </c:pt>
                      <c:pt idx="2221">
                        <c:v>0</c:v>
                      </c:pt>
                      <c:pt idx="2222">
                        <c:v>0</c:v>
                      </c:pt>
                      <c:pt idx="2223">
                        <c:v>0</c:v>
                      </c:pt>
                      <c:pt idx="2224">
                        <c:v>0</c:v>
                      </c:pt>
                      <c:pt idx="2225">
                        <c:v>0</c:v>
                      </c:pt>
                      <c:pt idx="2226">
                        <c:v>0</c:v>
                      </c:pt>
                      <c:pt idx="2227">
                        <c:v>0</c:v>
                      </c:pt>
                      <c:pt idx="2228">
                        <c:v>0</c:v>
                      </c:pt>
                      <c:pt idx="2229">
                        <c:v>0</c:v>
                      </c:pt>
                      <c:pt idx="2230">
                        <c:v>0</c:v>
                      </c:pt>
                      <c:pt idx="2231">
                        <c:v>0</c:v>
                      </c:pt>
                      <c:pt idx="2232">
                        <c:v>0</c:v>
                      </c:pt>
                      <c:pt idx="2233">
                        <c:v>0</c:v>
                      </c:pt>
                      <c:pt idx="2234">
                        <c:v>0</c:v>
                      </c:pt>
                      <c:pt idx="2235">
                        <c:v>0</c:v>
                      </c:pt>
                      <c:pt idx="2236">
                        <c:v>0</c:v>
                      </c:pt>
                      <c:pt idx="2237">
                        <c:v>0</c:v>
                      </c:pt>
                      <c:pt idx="2238">
                        <c:v>0</c:v>
                      </c:pt>
                      <c:pt idx="2239">
                        <c:v>0</c:v>
                      </c:pt>
                      <c:pt idx="2240">
                        <c:v>0</c:v>
                      </c:pt>
                      <c:pt idx="2241">
                        <c:v>0</c:v>
                      </c:pt>
                      <c:pt idx="2242">
                        <c:v>0</c:v>
                      </c:pt>
                      <c:pt idx="2243">
                        <c:v>0</c:v>
                      </c:pt>
                      <c:pt idx="2244">
                        <c:v>0</c:v>
                      </c:pt>
                      <c:pt idx="2245">
                        <c:v>0</c:v>
                      </c:pt>
                      <c:pt idx="2246">
                        <c:v>0</c:v>
                      </c:pt>
                      <c:pt idx="2247">
                        <c:v>0</c:v>
                      </c:pt>
                      <c:pt idx="2248">
                        <c:v>0</c:v>
                      </c:pt>
                      <c:pt idx="2249">
                        <c:v>0</c:v>
                      </c:pt>
                      <c:pt idx="2250">
                        <c:v>0</c:v>
                      </c:pt>
                      <c:pt idx="2251">
                        <c:v>0</c:v>
                      </c:pt>
                      <c:pt idx="2252">
                        <c:v>0</c:v>
                      </c:pt>
                      <c:pt idx="2253">
                        <c:v>0</c:v>
                      </c:pt>
                      <c:pt idx="2254">
                        <c:v>0</c:v>
                      </c:pt>
                      <c:pt idx="2255">
                        <c:v>0</c:v>
                      </c:pt>
                      <c:pt idx="2256">
                        <c:v>0</c:v>
                      </c:pt>
                      <c:pt idx="2257">
                        <c:v>0</c:v>
                      </c:pt>
                      <c:pt idx="2258">
                        <c:v>0</c:v>
                      </c:pt>
                      <c:pt idx="2259">
                        <c:v>0</c:v>
                      </c:pt>
                      <c:pt idx="2260">
                        <c:v>0</c:v>
                      </c:pt>
                      <c:pt idx="2261">
                        <c:v>0</c:v>
                      </c:pt>
                      <c:pt idx="2262">
                        <c:v>0</c:v>
                      </c:pt>
                      <c:pt idx="2263">
                        <c:v>0</c:v>
                      </c:pt>
                      <c:pt idx="2264">
                        <c:v>0</c:v>
                      </c:pt>
                      <c:pt idx="2265">
                        <c:v>0</c:v>
                      </c:pt>
                      <c:pt idx="2266">
                        <c:v>0</c:v>
                      </c:pt>
                      <c:pt idx="2267">
                        <c:v>0</c:v>
                      </c:pt>
                      <c:pt idx="2268">
                        <c:v>0</c:v>
                      </c:pt>
                      <c:pt idx="2269">
                        <c:v>0</c:v>
                      </c:pt>
                      <c:pt idx="2270">
                        <c:v>0</c:v>
                      </c:pt>
                      <c:pt idx="2271">
                        <c:v>0</c:v>
                      </c:pt>
                      <c:pt idx="2272">
                        <c:v>0</c:v>
                      </c:pt>
                      <c:pt idx="2273">
                        <c:v>0</c:v>
                      </c:pt>
                      <c:pt idx="2274">
                        <c:v>0</c:v>
                      </c:pt>
                      <c:pt idx="2275">
                        <c:v>0</c:v>
                      </c:pt>
                      <c:pt idx="2276">
                        <c:v>0</c:v>
                      </c:pt>
                      <c:pt idx="2277">
                        <c:v>0</c:v>
                      </c:pt>
                      <c:pt idx="2278">
                        <c:v>0</c:v>
                      </c:pt>
                      <c:pt idx="2279">
                        <c:v>0</c:v>
                      </c:pt>
                      <c:pt idx="2280">
                        <c:v>0</c:v>
                      </c:pt>
                      <c:pt idx="2281">
                        <c:v>0</c:v>
                      </c:pt>
                      <c:pt idx="2282">
                        <c:v>0</c:v>
                      </c:pt>
                      <c:pt idx="2283">
                        <c:v>0</c:v>
                      </c:pt>
                      <c:pt idx="2284">
                        <c:v>0</c:v>
                      </c:pt>
                      <c:pt idx="2285">
                        <c:v>0</c:v>
                      </c:pt>
                      <c:pt idx="2286">
                        <c:v>0</c:v>
                      </c:pt>
                      <c:pt idx="2287">
                        <c:v>0</c:v>
                      </c:pt>
                      <c:pt idx="2288">
                        <c:v>0</c:v>
                      </c:pt>
                      <c:pt idx="2289">
                        <c:v>0</c:v>
                      </c:pt>
                      <c:pt idx="2290">
                        <c:v>0</c:v>
                      </c:pt>
                      <c:pt idx="2291">
                        <c:v>0</c:v>
                      </c:pt>
                      <c:pt idx="2292">
                        <c:v>0</c:v>
                      </c:pt>
                      <c:pt idx="2293">
                        <c:v>0</c:v>
                      </c:pt>
                      <c:pt idx="2294">
                        <c:v>0</c:v>
                      </c:pt>
                      <c:pt idx="2295">
                        <c:v>0</c:v>
                      </c:pt>
                      <c:pt idx="2296">
                        <c:v>0</c:v>
                      </c:pt>
                      <c:pt idx="2297">
                        <c:v>0</c:v>
                      </c:pt>
                      <c:pt idx="2298">
                        <c:v>0</c:v>
                      </c:pt>
                      <c:pt idx="2299">
                        <c:v>0</c:v>
                      </c:pt>
                      <c:pt idx="2300">
                        <c:v>0</c:v>
                      </c:pt>
                      <c:pt idx="2301">
                        <c:v>0</c:v>
                      </c:pt>
                      <c:pt idx="2302">
                        <c:v>0</c:v>
                      </c:pt>
                      <c:pt idx="2303">
                        <c:v>0</c:v>
                      </c:pt>
                      <c:pt idx="2304">
                        <c:v>0</c:v>
                      </c:pt>
                      <c:pt idx="2305">
                        <c:v>0</c:v>
                      </c:pt>
                      <c:pt idx="2306">
                        <c:v>0</c:v>
                      </c:pt>
                      <c:pt idx="2307">
                        <c:v>0</c:v>
                      </c:pt>
                      <c:pt idx="2308">
                        <c:v>0</c:v>
                      </c:pt>
                      <c:pt idx="2309">
                        <c:v>0</c:v>
                      </c:pt>
                      <c:pt idx="2310">
                        <c:v>0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0</c:v>
                      </c:pt>
                      <c:pt idx="2336">
                        <c:v>0</c:v>
                      </c:pt>
                      <c:pt idx="2337">
                        <c:v>0</c:v>
                      </c:pt>
                      <c:pt idx="2338">
                        <c:v>0</c:v>
                      </c:pt>
                      <c:pt idx="2339">
                        <c:v>0</c:v>
                      </c:pt>
                      <c:pt idx="2340">
                        <c:v>0</c:v>
                      </c:pt>
                      <c:pt idx="2341">
                        <c:v>0</c:v>
                      </c:pt>
                      <c:pt idx="2342">
                        <c:v>0</c:v>
                      </c:pt>
                      <c:pt idx="2343">
                        <c:v>0</c:v>
                      </c:pt>
                      <c:pt idx="2344">
                        <c:v>0</c:v>
                      </c:pt>
                      <c:pt idx="2345">
                        <c:v>0</c:v>
                      </c:pt>
                      <c:pt idx="2346">
                        <c:v>0</c:v>
                      </c:pt>
                      <c:pt idx="2347">
                        <c:v>0</c:v>
                      </c:pt>
                      <c:pt idx="2348">
                        <c:v>0</c:v>
                      </c:pt>
                      <c:pt idx="2349">
                        <c:v>0</c:v>
                      </c:pt>
                      <c:pt idx="2350">
                        <c:v>0</c:v>
                      </c:pt>
                      <c:pt idx="2351">
                        <c:v>0</c:v>
                      </c:pt>
                      <c:pt idx="2352">
                        <c:v>0</c:v>
                      </c:pt>
                      <c:pt idx="2353">
                        <c:v>0</c:v>
                      </c:pt>
                      <c:pt idx="2354">
                        <c:v>0</c:v>
                      </c:pt>
                      <c:pt idx="2355">
                        <c:v>0</c:v>
                      </c:pt>
                      <c:pt idx="2356">
                        <c:v>0</c:v>
                      </c:pt>
                      <c:pt idx="2357">
                        <c:v>0</c:v>
                      </c:pt>
                      <c:pt idx="2358">
                        <c:v>0</c:v>
                      </c:pt>
                      <c:pt idx="2359">
                        <c:v>0</c:v>
                      </c:pt>
                      <c:pt idx="2360">
                        <c:v>0</c:v>
                      </c:pt>
                      <c:pt idx="2361">
                        <c:v>0</c:v>
                      </c:pt>
                      <c:pt idx="2362">
                        <c:v>0</c:v>
                      </c:pt>
                      <c:pt idx="2363">
                        <c:v>0</c:v>
                      </c:pt>
                      <c:pt idx="2364">
                        <c:v>0</c:v>
                      </c:pt>
                      <c:pt idx="2365">
                        <c:v>0</c:v>
                      </c:pt>
                      <c:pt idx="2366">
                        <c:v>0</c:v>
                      </c:pt>
                      <c:pt idx="2367">
                        <c:v>0</c:v>
                      </c:pt>
                      <c:pt idx="2368">
                        <c:v>0</c:v>
                      </c:pt>
                      <c:pt idx="2369">
                        <c:v>0</c:v>
                      </c:pt>
                      <c:pt idx="2370">
                        <c:v>0</c:v>
                      </c:pt>
                      <c:pt idx="2371">
                        <c:v>0</c:v>
                      </c:pt>
                      <c:pt idx="2372">
                        <c:v>0</c:v>
                      </c:pt>
                      <c:pt idx="2373">
                        <c:v>0</c:v>
                      </c:pt>
                      <c:pt idx="2374">
                        <c:v>0</c:v>
                      </c:pt>
                      <c:pt idx="2375">
                        <c:v>0</c:v>
                      </c:pt>
                      <c:pt idx="2376">
                        <c:v>0</c:v>
                      </c:pt>
                      <c:pt idx="2377">
                        <c:v>0</c:v>
                      </c:pt>
                      <c:pt idx="2378">
                        <c:v>0</c:v>
                      </c:pt>
                      <c:pt idx="2379">
                        <c:v>0</c:v>
                      </c:pt>
                      <c:pt idx="2380">
                        <c:v>0</c:v>
                      </c:pt>
                      <c:pt idx="2381">
                        <c:v>0</c:v>
                      </c:pt>
                      <c:pt idx="2382">
                        <c:v>0</c:v>
                      </c:pt>
                      <c:pt idx="2383">
                        <c:v>0</c:v>
                      </c:pt>
                      <c:pt idx="2384">
                        <c:v>0</c:v>
                      </c:pt>
                      <c:pt idx="2385">
                        <c:v>0</c:v>
                      </c:pt>
                      <c:pt idx="2386">
                        <c:v>0</c:v>
                      </c:pt>
                      <c:pt idx="2387">
                        <c:v>0</c:v>
                      </c:pt>
                      <c:pt idx="2388">
                        <c:v>0</c:v>
                      </c:pt>
                      <c:pt idx="2389">
                        <c:v>0</c:v>
                      </c:pt>
                      <c:pt idx="2390">
                        <c:v>0</c:v>
                      </c:pt>
                      <c:pt idx="2391">
                        <c:v>0</c:v>
                      </c:pt>
                      <c:pt idx="2392">
                        <c:v>0</c:v>
                      </c:pt>
                      <c:pt idx="2393">
                        <c:v>0</c:v>
                      </c:pt>
                      <c:pt idx="2394">
                        <c:v>0</c:v>
                      </c:pt>
                      <c:pt idx="2395">
                        <c:v>0</c:v>
                      </c:pt>
                      <c:pt idx="2396">
                        <c:v>0</c:v>
                      </c:pt>
                      <c:pt idx="2397">
                        <c:v>0</c:v>
                      </c:pt>
                      <c:pt idx="2398">
                        <c:v>0</c:v>
                      </c:pt>
                      <c:pt idx="2399">
                        <c:v>0</c:v>
                      </c:pt>
                      <c:pt idx="2400">
                        <c:v>0</c:v>
                      </c:pt>
                      <c:pt idx="2401">
                        <c:v>0</c:v>
                      </c:pt>
                      <c:pt idx="2402">
                        <c:v>0</c:v>
                      </c:pt>
                      <c:pt idx="2403">
                        <c:v>0</c:v>
                      </c:pt>
                      <c:pt idx="2404">
                        <c:v>0</c:v>
                      </c:pt>
                      <c:pt idx="2405">
                        <c:v>0</c:v>
                      </c:pt>
                      <c:pt idx="2406">
                        <c:v>0</c:v>
                      </c:pt>
                      <c:pt idx="2407">
                        <c:v>0</c:v>
                      </c:pt>
                      <c:pt idx="2408">
                        <c:v>0</c:v>
                      </c:pt>
                      <c:pt idx="2409">
                        <c:v>0</c:v>
                      </c:pt>
                      <c:pt idx="2410">
                        <c:v>0</c:v>
                      </c:pt>
                      <c:pt idx="2411">
                        <c:v>0</c:v>
                      </c:pt>
                      <c:pt idx="2412">
                        <c:v>0</c:v>
                      </c:pt>
                      <c:pt idx="2413">
                        <c:v>0</c:v>
                      </c:pt>
                      <c:pt idx="2414">
                        <c:v>0</c:v>
                      </c:pt>
                      <c:pt idx="2415">
                        <c:v>0</c:v>
                      </c:pt>
                      <c:pt idx="2416">
                        <c:v>0</c:v>
                      </c:pt>
                      <c:pt idx="2417">
                        <c:v>0</c:v>
                      </c:pt>
                      <c:pt idx="2418">
                        <c:v>0</c:v>
                      </c:pt>
                      <c:pt idx="2419">
                        <c:v>0</c:v>
                      </c:pt>
                      <c:pt idx="2420">
                        <c:v>0</c:v>
                      </c:pt>
                      <c:pt idx="2421">
                        <c:v>0</c:v>
                      </c:pt>
                      <c:pt idx="2422">
                        <c:v>0</c:v>
                      </c:pt>
                      <c:pt idx="2423">
                        <c:v>0</c:v>
                      </c:pt>
                      <c:pt idx="2424">
                        <c:v>0</c:v>
                      </c:pt>
                      <c:pt idx="2425">
                        <c:v>0</c:v>
                      </c:pt>
                      <c:pt idx="2426">
                        <c:v>0</c:v>
                      </c:pt>
                      <c:pt idx="2427">
                        <c:v>0</c:v>
                      </c:pt>
                      <c:pt idx="2428">
                        <c:v>0</c:v>
                      </c:pt>
                      <c:pt idx="2429">
                        <c:v>0</c:v>
                      </c:pt>
                      <c:pt idx="2430">
                        <c:v>0</c:v>
                      </c:pt>
                      <c:pt idx="2431">
                        <c:v>0</c:v>
                      </c:pt>
                      <c:pt idx="2432">
                        <c:v>0</c:v>
                      </c:pt>
                      <c:pt idx="2433">
                        <c:v>0</c:v>
                      </c:pt>
                      <c:pt idx="2434">
                        <c:v>0</c:v>
                      </c:pt>
                      <c:pt idx="2435">
                        <c:v>0</c:v>
                      </c:pt>
                      <c:pt idx="2436">
                        <c:v>0</c:v>
                      </c:pt>
                      <c:pt idx="2437">
                        <c:v>0</c:v>
                      </c:pt>
                      <c:pt idx="2438">
                        <c:v>0</c:v>
                      </c:pt>
                      <c:pt idx="2439">
                        <c:v>0</c:v>
                      </c:pt>
                      <c:pt idx="2440">
                        <c:v>0</c:v>
                      </c:pt>
                      <c:pt idx="2441">
                        <c:v>0</c:v>
                      </c:pt>
                      <c:pt idx="2442">
                        <c:v>0</c:v>
                      </c:pt>
                      <c:pt idx="2443">
                        <c:v>0</c:v>
                      </c:pt>
                      <c:pt idx="2444">
                        <c:v>0</c:v>
                      </c:pt>
                      <c:pt idx="2445">
                        <c:v>0</c:v>
                      </c:pt>
                      <c:pt idx="2446">
                        <c:v>0</c:v>
                      </c:pt>
                      <c:pt idx="2447">
                        <c:v>0</c:v>
                      </c:pt>
                      <c:pt idx="2448">
                        <c:v>0</c:v>
                      </c:pt>
                      <c:pt idx="2449">
                        <c:v>0</c:v>
                      </c:pt>
                      <c:pt idx="2450">
                        <c:v>0</c:v>
                      </c:pt>
                      <c:pt idx="2451">
                        <c:v>0</c:v>
                      </c:pt>
                      <c:pt idx="2452">
                        <c:v>0</c:v>
                      </c:pt>
                      <c:pt idx="2453">
                        <c:v>0</c:v>
                      </c:pt>
                      <c:pt idx="2454">
                        <c:v>0</c:v>
                      </c:pt>
                      <c:pt idx="2455">
                        <c:v>0</c:v>
                      </c:pt>
                      <c:pt idx="2456">
                        <c:v>0</c:v>
                      </c:pt>
                      <c:pt idx="2457">
                        <c:v>0</c:v>
                      </c:pt>
                      <c:pt idx="2458">
                        <c:v>0</c:v>
                      </c:pt>
                      <c:pt idx="2459">
                        <c:v>0</c:v>
                      </c:pt>
                      <c:pt idx="2460">
                        <c:v>0</c:v>
                      </c:pt>
                      <c:pt idx="2461">
                        <c:v>0</c:v>
                      </c:pt>
                      <c:pt idx="2462">
                        <c:v>0</c:v>
                      </c:pt>
                      <c:pt idx="2463">
                        <c:v>0</c:v>
                      </c:pt>
                      <c:pt idx="2464">
                        <c:v>0</c:v>
                      </c:pt>
                      <c:pt idx="2465">
                        <c:v>0</c:v>
                      </c:pt>
                      <c:pt idx="2466">
                        <c:v>0</c:v>
                      </c:pt>
                      <c:pt idx="2467">
                        <c:v>0</c:v>
                      </c:pt>
                      <c:pt idx="2468">
                        <c:v>0</c:v>
                      </c:pt>
                      <c:pt idx="2469">
                        <c:v>0</c:v>
                      </c:pt>
                      <c:pt idx="2470">
                        <c:v>0</c:v>
                      </c:pt>
                      <c:pt idx="2471">
                        <c:v>0</c:v>
                      </c:pt>
                      <c:pt idx="2472">
                        <c:v>0</c:v>
                      </c:pt>
                      <c:pt idx="2473">
                        <c:v>0</c:v>
                      </c:pt>
                      <c:pt idx="2474">
                        <c:v>0</c:v>
                      </c:pt>
                      <c:pt idx="2475">
                        <c:v>0</c:v>
                      </c:pt>
                      <c:pt idx="2476">
                        <c:v>0</c:v>
                      </c:pt>
                      <c:pt idx="2477">
                        <c:v>0</c:v>
                      </c:pt>
                      <c:pt idx="2478">
                        <c:v>0</c:v>
                      </c:pt>
                      <c:pt idx="2479">
                        <c:v>0</c:v>
                      </c:pt>
                      <c:pt idx="2480">
                        <c:v>0</c:v>
                      </c:pt>
                      <c:pt idx="2481">
                        <c:v>0</c:v>
                      </c:pt>
                      <c:pt idx="2482">
                        <c:v>0</c:v>
                      </c:pt>
                      <c:pt idx="2483">
                        <c:v>0</c:v>
                      </c:pt>
                      <c:pt idx="2484">
                        <c:v>0</c:v>
                      </c:pt>
                      <c:pt idx="2485">
                        <c:v>0</c:v>
                      </c:pt>
                      <c:pt idx="2486">
                        <c:v>0</c:v>
                      </c:pt>
                      <c:pt idx="2487">
                        <c:v>0</c:v>
                      </c:pt>
                      <c:pt idx="2488">
                        <c:v>0</c:v>
                      </c:pt>
                      <c:pt idx="2489">
                        <c:v>0</c:v>
                      </c:pt>
                      <c:pt idx="2490">
                        <c:v>0</c:v>
                      </c:pt>
                      <c:pt idx="2491">
                        <c:v>0</c:v>
                      </c:pt>
                      <c:pt idx="2492">
                        <c:v>0</c:v>
                      </c:pt>
                      <c:pt idx="2493">
                        <c:v>0</c:v>
                      </c:pt>
                      <c:pt idx="2494">
                        <c:v>0</c:v>
                      </c:pt>
                      <c:pt idx="2495">
                        <c:v>0</c:v>
                      </c:pt>
                      <c:pt idx="2496">
                        <c:v>0</c:v>
                      </c:pt>
                      <c:pt idx="2497">
                        <c:v>0</c:v>
                      </c:pt>
                      <c:pt idx="2498">
                        <c:v>0</c:v>
                      </c:pt>
                      <c:pt idx="2499">
                        <c:v>0</c:v>
                      </c:pt>
                      <c:pt idx="2500">
                        <c:v>0</c:v>
                      </c:pt>
                      <c:pt idx="2501">
                        <c:v>0</c:v>
                      </c:pt>
                      <c:pt idx="2502">
                        <c:v>0</c:v>
                      </c:pt>
                      <c:pt idx="2503">
                        <c:v>0</c:v>
                      </c:pt>
                      <c:pt idx="2504">
                        <c:v>0</c:v>
                      </c:pt>
                      <c:pt idx="2505">
                        <c:v>0</c:v>
                      </c:pt>
                      <c:pt idx="2506">
                        <c:v>0</c:v>
                      </c:pt>
                      <c:pt idx="2507">
                        <c:v>0</c:v>
                      </c:pt>
                      <c:pt idx="2508">
                        <c:v>0</c:v>
                      </c:pt>
                      <c:pt idx="2509">
                        <c:v>0</c:v>
                      </c:pt>
                      <c:pt idx="2510">
                        <c:v>0</c:v>
                      </c:pt>
                      <c:pt idx="2511">
                        <c:v>0</c:v>
                      </c:pt>
                      <c:pt idx="2512">
                        <c:v>0</c:v>
                      </c:pt>
                      <c:pt idx="2513">
                        <c:v>0</c:v>
                      </c:pt>
                      <c:pt idx="2514">
                        <c:v>0</c:v>
                      </c:pt>
                      <c:pt idx="2515">
                        <c:v>0</c:v>
                      </c:pt>
                      <c:pt idx="2516">
                        <c:v>0</c:v>
                      </c:pt>
                      <c:pt idx="2517">
                        <c:v>0</c:v>
                      </c:pt>
                      <c:pt idx="2518">
                        <c:v>0</c:v>
                      </c:pt>
                      <c:pt idx="2519">
                        <c:v>0</c:v>
                      </c:pt>
                      <c:pt idx="2520">
                        <c:v>0</c:v>
                      </c:pt>
                      <c:pt idx="2521">
                        <c:v>0</c:v>
                      </c:pt>
                      <c:pt idx="2522">
                        <c:v>0</c:v>
                      </c:pt>
                      <c:pt idx="2523">
                        <c:v>0</c:v>
                      </c:pt>
                      <c:pt idx="2524">
                        <c:v>0</c:v>
                      </c:pt>
                      <c:pt idx="2525">
                        <c:v>0</c:v>
                      </c:pt>
                      <c:pt idx="2526">
                        <c:v>0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0</c:v>
                      </c:pt>
                      <c:pt idx="2535">
                        <c:v>0</c:v>
                      </c:pt>
                      <c:pt idx="2536">
                        <c:v>0</c:v>
                      </c:pt>
                      <c:pt idx="2537">
                        <c:v>0</c:v>
                      </c:pt>
                      <c:pt idx="2538">
                        <c:v>0</c:v>
                      </c:pt>
                      <c:pt idx="2539">
                        <c:v>0</c:v>
                      </c:pt>
                      <c:pt idx="2540">
                        <c:v>0</c:v>
                      </c:pt>
                      <c:pt idx="2541">
                        <c:v>0</c:v>
                      </c:pt>
                      <c:pt idx="2542">
                        <c:v>0</c:v>
                      </c:pt>
                      <c:pt idx="2543">
                        <c:v>0</c:v>
                      </c:pt>
                      <c:pt idx="2544">
                        <c:v>0</c:v>
                      </c:pt>
                      <c:pt idx="2545">
                        <c:v>0</c:v>
                      </c:pt>
                      <c:pt idx="2546">
                        <c:v>0</c:v>
                      </c:pt>
                      <c:pt idx="2547">
                        <c:v>0</c:v>
                      </c:pt>
                      <c:pt idx="2548">
                        <c:v>0</c:v>
                      </c:pt>
                      <c:pt idx="2549">
                        <c:v>0</c:v>
                      </c:pt>
                      <c:pt idx="2550">
                        <c:v>0</c:v>
                      </c:pt>
                      <c:pt idx="2551">
                        <c:v>0</c:v>
                      </c:pt>
                      <c:pt idx="2552">
                        <c:v>0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0</c:v>
                      </c:pt>
                      <c:pt idx="2559">
                        <c:v>0</c:v>
                      </c:pt>
                      <c:pt idx="2560">
                        <c:v>0</c:v>
                      </c:pt>
                      <c:pt idx="2561">
                        <c:v>0</c:v>
                      </c:pt>
                      <c:pt idx="2562">
                        <c:v>0</c:v>
                      </c:pt>
                      <c:pt idx="2563">
                        <c:v>0</c:v>
                      </c:pt>
                      <c:pt idx="2564">
                        <c:v>0</c:v>
                      </c:pt>
                      <c:pt idx="2565">
                        <c:v>0</c:v>
                      </c:pt>
                      <c:pt idx="2566">
                        <c:v>0</c:v>
                      </c:pt>
                      <c:pt idx="2567">
                        <c:v>0</c:v>
                      </c:pt>
                      <c:pt idx="2568">
                        <c:v>0</c:v>
                      </c:pt>
                      <c:pt idx="2569">
                        <c:v>0</c:v>
                      </c:pt>
                      <c:pt idx="2570">
                        <c:v>0</c:v>
                      </c:pt>
                      <c:pt idx="2571">
                        <c:v>0</c:v>
                      </c:pt>
                      <c:pt idx="2572">
                        <c:v>0</c:v>
                      </c:pt>
                      <c:pt idx="2573">
                        <c:v>0</c:v>
                      </c:pt>
                      <c:pt idx="2574">
                        <c:v>0</c:v>
                      </c:pt>
                      <c:pt idx="2575">
                        <c:v>0</c:v>
                      </c:pt>
                      <c:pt idx="2576">
                        <c:v>0</c:v>
                      </c:pt>
                      <c:pt idx="2577">
                        <c:v>0</c:v>
                      </c:pt>
                      <c:pt idx="2578">
                        <c:v>0</c:v>
                      </c:pt>
                      <c:pt idx="2579">
                        <c:v>0</c:v>
                      </c:pt>
                      <c:pt idx="2580">
                        <c:v>0</c:v>
                      </c:pt>
                      <c:pt idx="2581">
                        <c:v>0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0</c:v>
                      </c:pt>
                      <c:pt idx="2591">
                        <c:v>0</c:v>
                      </c:pt>
                      <c:pt idx="2592">
                        <c:v>0</c:v>
                      </c:pt>
                      <c:pt idx="2593">
                        <c:v>0</c:v>
                      </c:pt>
                      <c:pt idx="2594">
                        <c:v>0</c:v>
                      </c:pt>
                      <c:pt idx="2595">
                        <c:v>0</c:v>
                      </c:pt>
                      <c:pt idx="2596">
                        <c:v>0</c:v>
                      </c:pt>
                      <c:pt idx="2597">
                        <c:v>0</c:v>
                      </c:pt>
                      <c:pt idx="2598">
                        <c:v>0</c:v>
                      </c:pt>
                      <c:pt idx="2599">
                        <c:v>0</c:v>
                      </c:pt>
                      <c:pt idx="2600">
                        <c:v>0</c:v>
                      </c:pt>
                      <c:pt idx="2601">
                        <c:v>0</c:v>
                      </c:pt>
                      <c:pt idx="2602">
                        <c:v>0</c:v>
                      </c:pt>
                      <c:pt idx="2603">
                        <c:v>0</c:v>
                      </c:pt>
                      <c:pt idx="2604">
                        <c:v>0</c:v>
                      </c:pt>
                      <c:pt idx="2605">
                        <c:v>0</c:v>
                      </c:pt>
                      <c:pt idx="2606">
                        <c:v>0</c:v>
                      </c:pt>
                      <c:pt idx="2607">
                        <c:v>0</c:v>
                      </c:pt>
                      <c:pt idx="2608">
                        <c:v>0</c:v>
                      </c:pt>
                      <c:pt idx="2609">
                        <c:v>0</c:v>
                      </c:pt>
                      <c:pt idx="2610">
                        <c:v>0</c:v>
                      </c:pt>
                      <c:pt idx="2611">
                        <c:v>0</c:v>
                      </c:pt>
                      <c:pt idx="2612">
                        <c:v>0</c:v>
                      </c:pt>
                      <c:pt idx="2613">
                        <c:v>0</c:v>
                      </c:pt>
                      <c:pt idx="2614">
                        <c:v>0</c:v>
                      </c:pt>
                      <c:pt idx="2615">
                        <c:v>0</c:v>
                      </c:pt>
                      <c:pt idx="2616">
                        <c:v>0</c:v>
                      </c:pt>
                      <c:pt idx="2617">
                        <c:v>0</c:v>
                      </c:pt>
                      <c:pt idx="2618">
                        <c:v>0</c:v>
                      </c:pt>
                      <c:pt idx="2619">
                        <c:v>0</c:v>
                      </c:pt>
                      <c:pt idx="2620">
                        <c:v>0</c:v>
                      </c:pt>
                      <c:pt idx="2621">
                        <c:v>0</c:v>
                      </c:pt>
                      <c:pt idx="2622">
                        <c:v>0</c:v>
                      </c:pt>
                      <c:pt idx="2623">
                        <c:v>0</c:v>
                      </c:pt>
                      <c:pt idx="2624">
                        <c:v>0</c:v>
                      </c:pt>
                      <c:pt idx="2625">
                        <c:v>0</c:v>
                      </c:pt>
                      <c:pt idx="2626">
                        <c:v>0</c:v>
                      </c:pt>
                      <c:pt idx="2627">
                        <c:v>0</c:v>
                      </c:pt>
                      <c:pt idx="2628">
                        <c:v>0</c:v>
                      </c:pt>
                      <c:pt idx="2629">
                        <c:v>0</c:v>
                      </c:pt>
                      <c:pt idx="2630">
                        <c:v>0</c:v>
                      </c:pt>
                      <c:pt idx="2631">
                        <c:v>0</c:v>
                      </c:pt>
                      <c:pt idx="2632">
                        <c:v>0</c:v>
                      </c:pt>
                      <c:pt idx="2633">
                        <c:v>0</c:v>
                      </c:pt>
                      <c:pt idx="2634">
                        <c:v>0</c:v>
                      </c:pt>
                      <c:pt idx="2635">
                        <c:v>0</c:v>
                      </c:pt>
                      <c:pt idx="2636">
                        <c:v>0</c:v>
                      </c:pt>
                      <c:pt idx="2637">
                        <c:v>0</c:v>
                      </c:pt>
                      <c:pt idx="2638">
                        <c:v>0</c:v>
                      </c:pt>
                      <c:pt idx="2639">
                        <c:v>0</c:v>
                      </c:pt>
                      <c:pt idx="2640">
                        <c:v>0</c:v>
                      </c:pt>
                      <c:pt idx="2641">
                        <c:v>0</c:v>
                      </c:pt>
                      <c:pt idx="2642">
                        <c:v>0</c:v>
                      </c:pt>
                      <c:pt idx="2643">
                        <c:v>0</c:v>
                      </c:pt>
                      <c:pt idx="2644">
                        <c:v>0</c:v>
                      </c:pt>
                      <c:pt idx="2645">
                        <c:v>0</c:v>
                      </c:pt>
                      <c:pt idx="2646">
                        <c:v>0</c:v>
                      </c:pt>
                      <c:pt idx="2647">
                        <c:v>0</c:v>
                      </c:pt>
                      <c:pt idx="2648">
                        <c:v>0</c:v>
                      </c:pt>
                      <c:pt idx="2649">
                        <c:v>0</c:v>
                      </c:pt>
                      <c:pt idx="2650">
                        <c:v>0</c:v>
                      </c:pt>
                      <c:pt idx="2651">
                        <c:v>0</c:v>
                      </c:pt>
                      <c:pt idx="2652">
                        <c:v>0</c:v>
                      </c:pt>
                      <c:pt idx="2653">
                        <c:v>0</c:v>
                      </c:pt>
                      <c:pt idx="2654">
                        <c:v>0</c:v>
                      </c:pt>
                      <c:pt idx="2655">
                        <c:v>0</c:v>
                      </c:pt>
                      <c:pt idx="2656">
                        <c:v>0</c:v>
                      </c:pt>
                      <c:pt idx="2657">
                        <c:v>0</c:v>
                      </c:pt>
                      <c:pt idx="2658">
                        <c:v>0</c:v>
                      </c:pt>
                      <c:pt idx="2659">
                        <c:v>0</c:v>
                      </c:pt>
                      <c:pt idx="2660">
                        <c:v>0</c:v>
                      </c:pt>
                      <c:pt idx="2661">
                        <c:v>0</c:v>
                      </c:pt>
                      <c:pt idx="2662">
                        <c:v>0</c:v>
                      </c:pt>
                      <c:pt idx="2663">
                        <c:v>0</c:v>
                      </c:pt>
                      <c:pt idx="2664">
                        <c:v>0</c:v>
                      </c:pt>
                      <c:pt idx="2665">
                        <c:v>0</c:v>
                      </c:pt>
                      <c:pt idx="2666">
                        <c:v>0</c:v>
                      </c:pt>
                      <c:pt idx="2667">
                        <c:v>0</c:v>
                      </c:pt>
                      <c:pt idx="2668">
                        <c:v>0</c:v>
                      </c:pt>
                      <c:pt idx="2669">
                        <c:v>0</c:v>
                      </c:pt>
                      <c:pt idx="2670">
                        <c:v>0</c:v>
                      </c:pt>
                      <c:pt idx="2671">
                        <c:v>0</c:v>
                      </c:pt>
                      <c:pt idx="2672">
                        <c:v>0</c:v>
                      </c:pt>
                      <c:pt idx="2673">
                        <c:v>0</c:v>
                      </c:pt>
                      <c:pt idx="2674">
                        <c:v>0</c:v>
                      </c:pt>
                      <c:pt idx="2675">
                        <c:v>0</c:v>
                      </c:pt>
                      <c:pt idx="2676">
                        <c:v>0</c:v>
                      </c:pt>
                      <c:pt idx="2677">
                        <c:v>0</c:v>
                      </c:pt>
                      <c:pt idx="2678">
                        <c:v>0</c:v>
                      </c:pt>
                      <c:pt idx="2679">
                        <c:v>0</c:v>
                      </c:pt>
                      <c:pt idx="2680">
                        <c:v>0</c:v>
                      </c:pt>
                      <c:pt idx="2681">
                        <c:v>0</c:v>
                      </c:pt>
                      <c:pt idx="2682">
                        <c:v>0</c:v>
                      </c:pt>
                      <c:pt idx="2683">
                        <c:v>0</c:v>
                      </c:pt>
                      <c:pt idx="2684">
                        <c:v>0</c:v>
                      </c:pt>
                      <c:pt idx="2685">
                        <c:v>0</c:v>
                      </c:pt>
                      <c:pt idx="2686">
                        <c:v>0</c:v>
                      </c:pt>
                      <c:pt idx="2687">
                        <c:v>0</c:v>
                      </c:pt>
                      <c:pt idx="2688">
                        <c:v>0</c:v>
                      </c:pt>
                      <c:pt idx="2689">
                        <c:v>0</c:v>
                      </c:pt>
                      <c:pt idx="2690">
                        <c:v>0</c:v>
                      </c:pt>
                      <c:pt idx="2691">
                        <c:v>0</c:v>
                      </c:pt>
                      <c:pt idx="2692">
                        <c:v>0</c:v>
                      </c:pt>
                      <c:pt idx="2693">
                        <c:v>0</c:v>
                      </c:pt>
                      <c:pt idx="2694">
                        <c:v>0</c:v>
                      </c:pt>
                      <c:pt idx="2695">
                        <c:v>0</c:v>
                      </c:pt>
                      <c:pt idx="2696">
                        <c:v>0</c:v>
                      </c:pt>
                      <c:pt idx="2697">
                        <c:v>0</c:v>
                      </c:pt>
                      <c:pt idx="2698">
                        <c:v>0</c:v>
                      </c:pt>
                      <c:pt idx="2699">
                        <c:v>0</c:v>
                      </c:pt>
                      <c:pt idx="2700">
                        <c:v>0</c:v>
                      </c:pt>
                      <c:pt idx="2701">
                        <c:v>0</c:v>
                      </c:pt>
                      <c:pt idx="2702">
                        <c:v>0</c:v>
                      </c:pt>
                      <c:pt idx="2703">
                        <c:v>0</c:v>
                      </c:pt>
                      <c:pt idx="2704">
                        <c:v>0</c:v>
                      </c:pt>
                      <c:pt idx="2705">
                        <c:v>0</c:v>
                      </c:pt>
                      <c:pt idx="2706">
                        <c:v>0</c:v>
                      </c:pt>
                      <c:pt idx="2707">
                        <c:v>0</c:v>
                      </c:pt>
                      <c:pt idx="2708">
                        <c:v>0</c:v>
                      </c:pt>
                      <c:pt idx="2709">
                        <c:v>0</c:v>
                      </c:pt>
                      <c:pt idx="2710">
                        <c:v>0</c:v>
                      </c:pt>
                      <c:pt idx="2711">
                        <c:v>0</c:v>
                      </c:pt>
                      <c:pt idx="2712">
                        <c:v>0</c:v>
                      </c:pt>
                      <c:pt idx="2713">
                        <c:v>0</c:v>
                      </c:pt>
                      <c:pt idx="2714">
                        <c:v>0</c:v>
                      </c:pt>
                      <c:pt idx="2715">
                        <c:v>0</c:v>
                      </c:pt>
                      <c:pt idx="2716">
                        <c:v>0</c:v>
                      </c:pt>
                      <c:pt idx="2717">
                        <c:v>0</c:v>
                      </c:pt>
                      <c:pt idx="2718">
                        <c:v>0</c:v>
                      </c:pt>
                      <c:pt idx="2719">
                        <c:v>0</c:v>
                      </c:pt>
                      <c:pt idx="2720">
                        <c:v>0</c:v>
                      </c:pt>
                      <c:pt idx="2721">
                        <c:v>0</c:v>
                      </c:pt>
                      <c:pt idx="2722">
                        <c:v>0</c:v>
                      </c:pt>
                      <c:pt idx="2723">
                        <c:v>0</c:v>
                      </c:pt>
                      <c:pt idx="2724">
                        <c:v>0</c:v>
                      </c:pt>
                      <c:pt idx="2725">
                        <c:v>0</c:v>
                      </c:pt>
                      <c:pt idx="2726">
                        <c:v>0</c:v>
                      </c:pt>
                      <c:pt idx="2727">
                        <c:v>0</c:v>
                      </c:pt>
                      <c:pt idx="2728">
                        <c:v>0</c:v>
                      </c:pt>
                      <c:pt idx="2729">
                        <c:v>0</c:v>
                      </c:pt>
                      <c:pt idx="2730">
                        <c:v>0</c:v>
                      </c:pt>
                      <c:pt idx="2731">
                        <c:v>0</c:v>
                      </c:pt>
                      <c:pt idx="2732">
                        <c:v>0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</c:v>
                      </c:pt>
                      <c:pt idx="2743">
                        <c:v>0</c:v>
                      </c:pt>
                      <c:pt idx="2744">
                        <c:v>0</c:v>
                      </c:pt>
                      <c:pt idx="2745">
                        <c:v>0</c:v>
                      </c:pt>
                      <c:pt idx="2746">
                        <c:v>0</c:v>
                      </c:pt>
                      <c:pt idx="2747">
                        <c:v>0</c:v>
                      </c:pt>
                      <c:pt idx="2748">
                        <c:v>0</c:v>
                      </c:pt>
                      <c:pt idx="2749">
                        <c:v>0</c:v>
                      </c:pt>
                      <c:pt idx="2750">
                        <c:v>0</c:v>
                      </c:pt>
                      <c:pt idx="2751">
                        <c:v>0</c:v>
                      </c:pt>
                      <c:pt idx="2752">
                        <c:v>0</c:v>
                      </c:pt>
                      <c:pt idx="2753">
                        <c:v>0</c:v>
                      </c:pt>
                      <c:pt idx="2754">
                        <c:v>0</c:v>
                      </c:pt>
                      <c:pt idx="2755">
                        <c:v>0</c:v>
                      </c:pt>
                      <c:pt idx="2756">
                        <c:v>0</c:v>
                      </c:pt>
                      <c:pt idx="2757">
                        <c:v>0</c:v>
                      </c:pt>
                      <c:pt idx="2758">
                        <c:v>0</c:v>
                      </c:pt>
                      <c:pt idx="2759">
                        <c:v>0</c:v>
                      </c:pt>
                      <c:pt idx="2760">
                        <c:v>0</c:v>
                      </c:pt>
                      <c:pt idx="2761">
                        <c:v>0</c:v>
                      </c:pt>
                      <c:pt idx="2762">
                        <c:v>0</c:v>
                      </c:pt>
                      <c:pt idx="2763">
                        <c:v>0</c:v>
                      </c:pt>
                      <c:pt idx="2764">
                        <c:v>0</c:v>
                      </c:pt>
                      <c:pt idx="2765">
                        <c:v>0</c:v>
                      </c:pt>
                      <c:pt idx="2766">
                        <c:v>0</c:v>
                      </c:pt>
                      <c:pt idx="2767">
                        <c:v>0</c:v>
                      </c:pt>
                      <c:pt idx="2768">
                        <c:v>0</c:v>
                      </c:pt>
                      <c:pt idx="2769">
                        <c:v>0</c:v>
                      </c:pt>
                      <c:pt idx="2770">
                        <c:v>0</c:v>
                      </c:pt>
                      <c:pt idx="2771">
                        <c:v>0</c:v>
                      </c:pt>
                      <c:pt idx="2772">
                        <c:v>0</c:v>
                      </c:pt>
                      <c:pt idx="2773">
                        <c:v>0</c:v>
                      </c:pt>
                      <c:pt idx="2774">
                        <c:v>0</c:v>
                      </c:pt>
                      <c:pt idx="2775">
                        <c:v>0</c:v>
                      </c:pt>
                      <c:pt idx="2776">
                        <c:v>0</c:v>
                      </c:pt>
                      <c:pt idx="2777">
                        <c:v>0</c:v>
                      </c:pt>
                      <c:pt idx="2778">
                        <c:v>0</c:v>
                      </c:pt>
                      <c:pt idx="2779">
                        <c:v>0</c:v>
                      </c:pt>
                      <c:pt idx="2780">
                        <c:v>0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0</c:v>
                      </c:pt>
                      <c:pt idx="2791">
                        <c:v>0</c:v>
                      </c:pt>
                      <c:pt idx="2792">
                        <c:v>0</c:v>
                      </c:pt>
                      <c:pt idx="2793">
                        <c:v>0</c:v>
                      </c:pt>
                      <c:pt idx="2794">
                        <c:v>0</c:v>
                      </c:pt>
                      <c:pt idx="2795">
                        <c:v>0</c:v>
                      </c:pt>
                      <c:pt idx="2796">
                        <c:v>0</c:v>
                      </c:pt>
                      <c:pt idx="2797">
                        <c:v>0</c:v>
                      </c:pt>
                      <c:pt idx="2798">
                        <c:v>0</c:v>
                      </c:pt>
                      <c:pt idx="2799">
                        <c:v>0</c:v>
                      </c:pt>
                      <c:pt idx="2800">
                        <c:v>0</c:v>
                      </c:pt>
                      <c:pt idx="2801">
                        <c:v>0</c:v>
                      </c:pt>
                      <c:pt idx="2802">
                        <c:v>0</c:v>
                      </c:pt>
                      <c:pt idx="2803">
                        <c:v>0</c:v>
                      </c:pt>
                      <c:pt idx="2804">
                        <c:v>0</c:v>
                      </c:pt>
                      <c:pt idx="2805">
                        <c:v>0</c:v>
                      </c:pt>
                      <c:pt idx="2806">
                        <c:v>0</c:v>
                      </c:pt>
                      <c:pt idx="2807">
                        <c:v>0</c:v>
                      </c:pt>
                      <c:pt idx="2808">
                        <c:v>0</c:v>
                      </c:pt>
                      <c:pt idx="2809">
                        <c:v>0</c:v>
                      </c:pt>
                      <c:pt idx="2810">
                        <c:v>0</c:v>
                      </c:pt>
                      <c:pt idx="2811">
                        <c:v>0</c:v>
                      </c:pt>
                      <c:pt idx="2812">
                        <c:v>0</c:v>
                      </c:pt>
                      <c:pt idx="2813">
                        <c:v>0</c:v>
                      </c:pt>
                      <c:pt idx="2814">
                        <c:v>0</c:v>
                      </c:pt>
                      <c:pt idx="2815">
                        <c:v>0</c:v>
                      </c:pt>
                      <c:pt idx="2816">
                        <c:v>0</c:v>
                      </c:pt>
                      <c:pt idx="2817">
                        <c:v>0</c:v>
                      </c:pt>
                      <c:pt idx="2818">
                        <c:v>0</c:v>
                      </c:pt>
                      <c:pt idx="2819">
                        <c:v>0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</c:v>
                      </c:pt>
                      <c:pt idx="2826">
                        <c:v>0</c:v>
                      </c:pt>
                      <c:pt idx="2827">
                        <c:v>0</c:v>
                      </c:pt>
                      <c:pt idx="2828">
                        <c:v>0</c:v>
                      </c:pt>
                      <c:pt idx="2829">
                        <c:v>0</c:v>
                      </c:pt>
                      <c:pt idx="2830">
                        <c:v>0</c:v>
                      </c:pt>
                      <c:pt idx="2831">
                        <c:v>0</c:v>
                      </c:pt>
                      <c:pt idx="2832">
                        <c:v>0</c:v>
                      </c:pt>
                      <c:pt idx="2833">
                        <c:v>0</c:v>
                      </c:pt>
                      <c:pt idx="2834">
                        <c:v>0</c:v>
                      </c:pt>
                      <c:pt idx="2835">
                        <c:v>0</c:v>
                      </c:pt>
                      <c:pt idx="2836">
                        <c:v>0</c:v>
                      </c:pt>
                      <c:pt idx="2837">
                        <c:v>0</c:v>
                      </c:pt>
                      <c:pt idx="2838">
                        <c:v>0</c:v>
                      </c:pt>
                      <c:pt idx="2839">
                        <c:v>0</c:v>
                      </c:pt>
                      <c:pt idx="2840">
                        <c:v>0</c:v>
                      </c:pt>
                      <c:pt idx="2841">
                        <c:v>0</c:v>
                      </c:pt>
                      <c:pt idx="2842">
                        <c:v>0</c:v>
                      </c:pt>
                      <c:pt idx="2843">
                        <c:v>0</c:v>
                      </c:pt>
                      <c:pt idx="2844">
                        <c:v>0</c:v>
                      </c:pt>
                      <c:pt idx="2845">
                        <c:v>0</c:v>
                      </c:pt>
                      <c:pt idx="2846">
                        <c:v>0</c:v>
                      </c:pt>
                      <c:pt idx="2847">
                        <c:v>0</c:v>
                      </c:pt>
                      <c:pt idx="2848">
                        <c:v>0</c:v>
                      </c:pt>
                      <c:pt idx="2849">
                        <c:v>0</c:v>
                      </c:pt>
                      <c:pt idx="2850">
                        <c:v>0</c:v>
                      </c:pt>
                      <c:pt idx="2851">
                        <c:v>0</c:v>
                      </c:pt>
                      <c:pt idx="2852">
                        <c:v>0</c:v>
                      </c:pt>
                      <c:pt idx="2853">
                        <c:v>0</c:v>
                      </c:pt>
                      <c:pt idx="2854">
                        <c:v>0</c:v>
                      </c:pt>
                      <c:pt idx="2855">
                        <c:v>0</c:v>
                      </c:pt>
                      <c:pt idx="2856">
                        <c:v>0</c:v>
                      </c:pt>
                      <c:pt idx="2857">
                        <c:v>0</c:v>
                      </c:pt>
                      <c:pt idx="2858">
                        <c:v>0</c:v>
                      </c:pt>
                      <c:pt idx="2859">
                        <c:v>0</c:v>
                      </c:pt>
                      <c:pt idx="2860">
                        <c:v>0</c:v>
                      </c:pt>
                      <c:pt idx="2861">
                        <c:v>0</c:v>
                      </c:pt>
                      <c:pt idx="2862">
                        <c:v>0</c:v>
                      </c:pt>
                      <c:pt idx="2863">
                        <c:v>0</c:v>
                      </c:pt>
                      <c:pt idx="2864">
                        <c:v>0</c:v>
                      </c:pt>
                      <c:pt idx="2865">
                        <c:v>0</c:v>
                      </c:pt>
                      <c:pt idx="2866">
                        <c:v>0</c:v>
                      </c:pt>
                      <c:pt idx="2867">
                        <c:v>0</c:v>
                      </c:pt>
                      <c:pt idx="2868">
                        <c:v>0</c:v>
                      </c:pt>
                      <c:pt idx="2869">
                        <c:v>0</c:v>
                      </c:pt>
                      <c:pt idx="2870">
                        <c:v>0</c:v>
                      </c:pt>
                      <c:pt idx="2871">
                        <c:v>0</c:v>
                      </c:pt>
                      <c:pt idx="2872">
                        <c:v>0</c:v>
                      </c:pt>
                      <c:pt idx="2873">
                        <c:v>0</c:v>
                      </c:pt>
                      <c:pt idx="2874">
                        <c:v>0</c:v>
                      </c:pt>
                      <c:pt idx="2875">
                        <c:v>0</c:v>
                      </c:pt>
                      <c:pt idx="2876">
                        <c:v>0</c:v>
                      </c:pt>
                      <c:pt idx="2877">
                        <c:v>0</c:v>
                      </c:pt>
                      <c:pt idx="2878">
                        <c:v>0</c:v>
                      </c:pt>
                      <c:pt idx="2879">
                        <c:v>0</c:v>
                      </c:pt>
                      <c:pt idx="2880">
                        <c:v>0</c:v>
                      </c:pt>
                      <c:pt idx="2881">
                        <c:v>0</c:v>
                      </c:pt>
                      <c:pt idx="2882">
                        <c:v>0</c:v>
                      </c:pt>
                      <c:pt idx="2883">
                        <c:v>0</c:v>
                      </c:pt>
                      <c:pt idx="2884">
                        <c:v>0</c:v>
                      </c:pt>
                      <c:pt idx="2885">
                        <c:v>0</c:v>
                      </c:pt>
                      <c:pt idx="2886">
                        <c:v>0</c:v>
                      </c:pt>
                      <c:pt idx="2887">
                        <c:v>0</c:v>
                      </c:pt>
                      <c:pt idx="2888">
                        <c:v>0</c:v>
                      </c:pt>
                      <c:pt idx="2889">
                        <c:v>0</c:v>
                      </c:pt>
                      <c:pt idx="2890">
                        <c:v>0</c:v>
                      </c:pt>
                      <c:pt idx="2891">
                        <c:v>0</c:v>
                      </c:pt>
                      <c:pt idx="2892">
                        <c:v>0</c:v>
                      </c:pt>
                      <c:pt idx="2893">
                        <c:v>0</c:v>
                      </c:pt>
                      <c:pt idx="2894">
                        <c:v>0</c:v>
                      </c:pt>
                      <c:pt idx="2895">
                        <c:v>0</c:v>
                      </c:pt>
                      <c:pt idx="2896">
                        <c:v>0</c:v>
                      </c:pt>
                      <c:pt idx="2897">
                        <c:v>0</c:v>
                      </c:pt>
                      <c:pt idx="2898">
                        <c:v>0</c:v>
                      </c:pt>
                      <c:pt idx="2899">
                        <c:v>0</c:v>
                      </c:pt>
                      <c:pt idx="2900">
                        <c:v>0</c:v>
                      </c:pt>
                      <c:pt idx="2901">
                        <c:v>0</c:v>
                      </c:pt>
                      <c:pt idx="2902">
                        <c:v>0</c:v>
                      </c:pt>
                      <c:pt idx="2903">
                        <c:v>0</c:v>
                      </c:pt>
                      <c:pt idx="2904">
                        <c:v>0</c:v>
                      </c:pt>
                      <c:pt idx="2905">
                        <c:v>0</c:v>
                      </c:pt>
                      <c:pt idx="2906">
                        <c:v>0</c:v>
                      </c:pt>
                      <c:pt idx="2907">
                        <c:v>0</c:v>
                      </c:pt>
                      <c:pt idx="2908">
                        <c:v>0</c:v>
                      </c:pt>
                      <c:pt idx="2909">
                        <c:v>0</c:v>
                      </c:pt>
                      <c:pt idx="2910">
                        <c:v>0</c:v>
                      </c:pt>
                      <c:pt idx="2911">
                        <c:v>0</c:v>
                      </c:pt>
                      <c:pt idx="2912">
                        <c:v>0</c:v>
                      </c:pt>
                      <c:pt idx="2913">
                        <c:v>0</c:v>
                      </c:pt>
                      <c:pt idx="2914">
                        <c:v>0</c:v>
                      </c:pt>
                      <c:pt idx="2915">
                        <c:v>0</c:v>
                      </c:pt>
                      <c:pt idx="2916">
                        <c:v>0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</c:v>
                      </c:pt>
                      <c:pt idx="2927">
                        <c:v>0</c:v>
                      </c:pt>
                      <c:pt idx="2928">
                        <c:v>0</c:v>
                      </c:pt>
                      <c:pt idx="2929">
                        <c:v>0</c:v>
                      </c:pt>
                      <c:pt idx="2930">
                        <c:v>0</c:v>
                      </c:pt>
                      <c:pt idx="2931">
                        <c:v>0</c:v>
                      </c:pt>
                      <c:pt idx="2932">
                        <c:v>0</c:v>
                      </c:pt>
                      <c:pt idx="2933">
                        <c:v>0</c:v>
                      </c:pt>
                      <c:pt idx="2934">
                        <c:v>0</c:v>
                      </c:pt>
                      <c:pt idx="2935">
                        <c:v>0</c:v>
                      </c:pt>
                      <c:pt idx="2936">
                        <c:v>0</c:v>
                      </c:pt>
                      <c:pt idx="2937">
                        <c:v>0</c:v>
                      </c:pt>
                      <c:pt idx="2938">
                        <c:v>0</c:v>
                      </c:pt>
                      <c:pt idx="2939">
                        <c:v>0</c:v>
                      </c:pt>
                      <c:pt idx="2940">
                        <c:v>0</c:v>
                      </c:pt>
                      <c:pt idx="2941">
                        <c:v>0</c:v>
                      </c:pt>
                      <c:pt idx="2942">
                        <c:v>0</c:v>
                      </c:pt>
                      <c:pt idx="2943">
                        <c:v>0</c:v>
                      </c:pt>
                      <c:pt idx="2944">
                        <c:v>0</c:v>
                      </c:pt>
                      <c:pt idx="2945">
                        <c:v>0</c:v>
                      </c:pt>
                      <c:pt idx="2946">
                        <c:v>0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</c:v>
                      </c:pt>
                      <c:pt idx="2952">
                        <c:v>0</c:v>
                      </c:pt>
                      <c:pt idx="2953">
                        <c:v>0</c:v>
                      </c:pt>
                      <c:pt idx="2954">
                        <c:v>0</c:v>
                      </c:pt>
                      <c:pt idx="2955">
                        <c:v>0</c:v>
                      </c:pt>
                      <c:pt idx="2956">
                        <c:v>0</c:v>
                      </c:pt>
                      <c:pt idx="2957">
                        <c:v>0</c:v>
                      </c:pt>
                      <c:pt idx="2958">
                        <c:v>0</c:v>
                      </c:pt>
                      <c:pt idx="2959">
                        <c:v>0</c:v>
                      </c:pt>
                      <c:pt idx="2960">
                        <c:v>0</c:v>
                      </c:pt>
                      <c:pt idx="2961">
                        <c:v>0</c:v>
                      </c:pt>
                      <c:pt idx="2962">
                        <c:v>0</c:v>
                      </c:pt>
                      <c:pt idx="2963">
                        <c:v>0</c:v>
                      </c:pt>
                      <c:pt idx="2964">
                        <c:v>0</c:v>
                      </c:pt>
                      <c:pt idx="2965">
                        <c:v>0</c:v>
                      </c:pt>
                      <c:pt idx="2966">
                        <c:v>0</c:v>
                      </c:pt>
                      <c:pt idx="2967">
                        <c:v>0</c:v>
                      </c:pt>
                      <c:pt idx="2968">
                        <c:v>0</c:v>
                      </c:pt>
                      <c:pt idx="2969">
                        <c:v>0</c:v>
                      </c:pt>
                      <c:pt idx="2970">
                        <c:v>0</c:v>
                      </c:pt>
                      <c:pt idx="2971">
                        <c:v>0</c:v>
                      </c:pt>
                      <c:pt idx="2972">
                        <c:v>0</c:v>
                      </c:pt>
                      <c:pt idx="2973">
                        <c:v>0</c:v>
                      </c:pt>
                      <c:pt idx="2974">
                        <c:v>0</c:v>
                      </c:pt>
                      <c:pt idx="2975">
                        <c:v>0</c:v>
                      </c:pt>
                      <c:pt idx="2976">
                        <c:v>0</c:v>
                      </c:pt>
                      <c:pt idx="2977">
                        <c:v>0</c:v>
                      </c:pt>
                      <c:pt idx="2978">
                        <c:v>0</c:v>
                      </c:pt>
                      <c:pt idx="2979">
                        <c:v>0</c:v>
                      </c:pt>
                      <c:pt idx="2980">
                        <c:v>0</c:v>
                      </c:pt>
                      <c:pt idx="2981">
                        <c:v>0</c:v>
                      </c:pt>
                      <c:pt idx="2982">
                        <c:v>0</c:v>
                      </c:pt>
                      <c:pt idx="2983">
                        <c:v>0</c:v>
                      </c:pt>
                      <c:pt idx="2984">
                        <c:v>0</c:v>
                      </c:pt>
                      <c:pt idx="2985">
                        <c:v>0</c:v>
                      </c:pt>
                      <c:pt idx="2986">
                        <c:v>0</c:v>
                      </c:pt>
                      <c:pt idx="2987">
                        <c:v>0</c:v>
                      </c:pt>
                      <c:pt idx="2988">
                        <c:v>0</c:v>
                      </c:pt>
                      <c:pt idx="2989">
                        <c:v>0</c:v>
                      </c:pt>
                      <c:pt idx="2990">
                        <c:v>0</c:v>
                      </c:pt>
                      <c:pt idx="2991">
                        <c:v>0</c:v>
                      </c:pt>
                      <c:pt idx="2992">
                        <c:v>0</c:v>
                      </c:pt>
                      <c:pt idx="2993">
                        <c:v>0</c:v>
                      </c:pt>
                      <c:pt idx="2994">
                        <c:v>0</c:v>
                      </c:pt>
                      <c:pt idx="2995">
                        <c:v>0</c:v>
                      </c:pt>
                      <c:pt idx="2996">
                        <c:v>0</c:v>
                      </c:pt>
                      <c:pt idx="2997">
                        <c:v>0</c:v>
                      </c:pt>
                      <c:pt idx="2998">
                        <c:v>0</c:v>
                      </c:pt>
                      <c:pt idx="2999">
                        <c:v>0</c:v>
                      </c:pt>
                      <c:pt idx="3000">
                        <c:v>0</c:v>
                      </c:pt>
                      <c:pt idx="3001">
                        <c:v>0</c:v>
                      </c:pt>
                      <c:pt idx="3002">
                        <c:v>0</c:v>
                      </c:pt>
                      <c:pt idx="3003">
                        <c:v>0</c:v>
                      </c:pt>
                      <c:pt idx="3004">
                        <c:v>0</c:v>
                      </c:pt>
                      <c:pt idx="3005">
                        <c:v>0</c:v>
                      </c:pt>
                      <c:pt idx="3006">
                        <c:v>0</c:v>
                      </c:pt>
                      <c:pt idx="3007">
                        <c:v>0</c:v>
                      </c:pt>
                      <c:pt idx="3008">
                        <c:v>0</c:v>
                      </c:pt>
                      <c:pt idx="3009">
                        <c:v>0</c:v>
                      </c:pt>
                      <c:pt idx="3010">
                        <c:v>0</c:v>
                      </c:pt>
                      <c:pt idx="3011">
                        <c:v>0</c:v>
                      </c:pt>
                      <c:pt idx="3012">
                        <c:v>0</c:v>
                      </c:pt>
                      <c:pt idx="3013">
                        <c:v>0</c:v>
                      </c:pt>
                      <c:pt idx="3014">
                        <c:v>0</c:v>
                      </c:pt>
                      <c:pt idx="3015">
                        <c:v>0</c:v>
                      </c:pt>
                      <c:pt idx="3016">
                        <c:v>0</c:v>
                      </c:pt>
                      <c:pt idx="3017">
                        <c:v>0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0</c:v>
                      </c:pt>
                      <c:pt idx="3026">
                        <c:v>0</c:v>
                      </c:pt>
                      <c:pt idx="3027">
                        <c:v>0</c:v>
                      </c:pt>
                      <c:pt idx="3028">
                        <c:v>0</c:v>
                      </c:pt>
                      <c:pt idx="3029">
                        <c:v>0</c:v>
                      </c:pt>
                      <c:pt idx="3030">
                        <c:v>0</c:v>
                      </c:pt>
                      <c:pt idx="3031">
                        <c:v>0</c:v>
                      </c:pt>
                      <c:pt idx="3032">
                        <c:v>0</c:v>
                      </c:pt>
                      <c:pt idx="3033">
                        <c:v>0</c:v>
                      </c:pt>
                      <c:pt idx="3034">
                        <c:v>0</c:v>
                      </c:pt>
                      <c:pt idx="3035">
                        <c:v>0</c:v>
                      </c:pt>
                      <c:pt idx="3036">
                        <c:v>0</c:v>
                      </c:pt>
                      <c:pt idx="3037">
                        <c:v>0</c:v>
                      </c:pt>
                      <c:pt idx="3038">
                        <c:v>0</c:v>
                      </c:pt>
                      <c:pt idx="3039">
                        <c:v>0</c:v>
                      </c:pt>
                      <c:pt idx="3040">
                        <c:v>0</c:v>
                      </c:pt>
                      <c:pt idx="3041">
                        <c:v>0</c:v>
                      </c:pt>
                      <c:pt idx="3042">
                        <c:v>0</c:v>
                      </c:pt>
                      <c:pt idx="3043">
                        <c:v>0</c:v>
                      </c:pt>
                      <c:pt idx="3044">
                        <c:v>0</c:v>
                      </c:pt>
                      <c:pt idx="3045">
                        <c:v>0</c:v>
                      </c:pt>
                      <c:pt idx="3046">
                        <c:v>0</c:v>
                      </c:pt>
                      <c:pt idx="3047">
                        <c:v>0</c:v>
                      </c:pt>
                      <c:pt idx="3048">
                        <c:v>0</c:v>
                      </c:pt>
                      <c:pt idx="3049">
                        <c:v>0</c:v>
                      </c:pt>
                      <c:pt idx="3050">
                        <c:v>0</c:v>
                      </c:pt>
                      <c:pt idx="3051">
                        <c:v>0</c:v>
                      </c:pt>
                      <c:pt idx="3052">
                        <c:v>0</c:v>
                      </c:pt>
                      <c:pt idx="3053">
                        <c:v>0</c:v>
                      </c:pt>
                      <c:pt idx="3054">
                        <c:v>0</c:v>
                      </c:pt>
                      <c:pt idx="3055">
                        <c:v>0</c:v>
                      </c:pt>
                      <c:pt idx="3056">
                        <c:v>0</c:v>
                      </c:pt>
                      <c:pt idx="3057">
                        <c:v>0</c:v>
                      </c:pt>
                      <c:pt idx="3058">
                        <c:v>0</c:v>
                      </c:pt>
                      <c:pt idx="3059">
                        <c:v>0</c:v>
                      </c:pt>
                      <c:pt idx="3060">
                        <c:v>0</c:v>
                      </c:pt>
                      <c:pt idx="3061">
                        <c:v>0</c:v>
                      </c:pt>
                      <c:pt idx="3062">
                        <c:v>0</c:v>
                      </c:pt>
                      <c:pt idx="3063">
                        <c:v>0</c:v>
                      </c:pt>
                      <c:pt idx="3064">
                        <c:v>0</c:v>
                      </c:pt>
                      <c:pt idx="3065">
                        <c:v>0</c:v>
                      </c:pt>
                      <c:pt idx="3066">
                        <c:v>0</c:v>
                      </c:pt>
                      <c:pt idx="3067">
                        <c:v>0</c:v>
                      </c:pt>
                      <c:pt idx="3068">
                        <c:v>0</c:v>
                      </c:pt>
                      <c:pt idx="3069">
                        <c:v>0</c:v>
                      </c:pt>
                      <c:pt idx="3070">
                        <c:v>0</c:v>
                      </c:pt>
                      <c:pt idx="3071">
                        <c:v>0</c:v>
                      </c:pt>
                      <c:pt idx="3072">
                        <c:v>0</c:v>
                      </c:pt>
                      <c:pt idx="3073">
                        <c:v>0</c:v>
                      </c:pt>
                      <c:pt idx="3074">
                        <c:v>0</c:v>
                      </c:pt>
                      <c:pt idx="3075">
                        <c:v>0</c:v>
                      </c:pt>
                      <c:pt idx="3076">
                        <c:v>0</c:v>
                      </c:pt>
                      <c:pt idx="3077">
                        <c:v>0</c:v>
                      </c:pt>
                      <c:pt idx="3078">
                        <c:v>0</c:v>
                      </c:pt>
                      <c:pt idx="3079">
                        <c:v>0</c:v>
                      </c:pt>
                      <c:pt idx="3080">
                        <c:v>0</c:v>
                      </c:pt>
                      <c:pt idx="3081">
                        <c:v>0</c:v>
                      </c:pt>
                      <c:pt idx="3082">
                        <c:v>0</c:v>
                      </c:pt>
                      <c:pt idx="3083">
                        <c:v>0</c:v>
                      </c:pt>
                      <c:pt idx="3084">
                        <c:v>0</c:v>
                      </c:pt>
                      <c:pt idx="3085">
                        <c:v>0</c:v>
                      </c:pt>
                      <c:pt idx="3086">
                        <c:v>0</c:v>
                      </c:pt>
                      <c:pt idx="3087">
                        <c:v>0</c:v>
                      </c:pt>
                      <c:pt idx="3088">
                        <c:v>0</c:v>
                      </c:pt>
                      <c:pt idx="3089">
                        <c:v>0</c:v>
                      </c:pt>
                      <c:pt idx="3090">
                        <c:v>0</c:v>
                      </c:pt>
                      <c:pt idx="3091">
                        <c:v>0</c:v>
                      </c:pt>
                      <c:pt idx="3092">
                        <c:v>0</c:v>
                      </c:pt>
                      <c:pt idx="3093">
                        <c:v>0</c:v>
                      </c:pt>
                      <c:pt idx="3094">
                        <c:v>0</c:v>
                      </c:pt>
                      <c:pt idx="3095">
                        <c:v>0</c:v>
                      </c:pt>
                      <c:pt idx="3096">
                        <c:v>0</c:v>
                      </c:pt>
                      <c:pt idx="3097">
                        <c:v>0</c:v>
                      </c:pt>
                      <c:pt idx="3098">
                        <c:v>0</c:v>
                      </c:pt>
                      <c:pt idx="3099">
                        <c:v>0</c:v>
                      </c:pt>
                      <c:pt idx="3100">
                        <c:v>0</c:v>
                      </c:pt>
                      <c:pt idx="3101">
                        <c:v>0</c:v>
                      </c:pt>
                      <c:pt idx="3102">
                        <c:v>0</c:v>
                      </c:pt>
                      <c:pt idx="3103">
                        <c:v>0</c:v>
                      </c:pt>
                      <c:pt idx="3104">
                        <c:v>0</c:v>
                      </c:pt>
                      <c:pt idx="3105">
                        <c:v>0</c:v>
                      </c:pt>
                      <c:pt idx="3106">
                        <c:v>0</c:v>
                      </c:pt>
                      <c:pt idx="3107">
                        <c:v>0</c:v>
                      </c:pt>
                      <c:pt idx="3108">
                        <c:v>0</c:v>
                      </c:pt>
                      <c:pt idx="3109">
                        <c:v>0</c:v>
                      </c:pt>
                      <c:pt idx="3110">
                        <c:v>0</c:v>
                      </c:pt>
                      <c:pt idx="3111">
                        <c:v>0</c:v>
                      </c:pt>
                      <c:pt idx="3112">
                        <c:v>0</c:v>
                      </c:pt>
                      <c:pt idx="3113">
                        <c:v>0</c:v>
                      </c:pt>
                      <c:pt idx="3114">
                        <c:v>0</c:v>
                      </c:pt>
                      <c:pt idx="3115">
                        <c:v>0</c:v>
                      </c:pt>
                      <c:pt idx="3116">
                        <c:v>0</c:v>
                      </c:pt>
                      <c:pt idx="3117">
                        <c:v>0</c:v>
                      </c:pt>
                      <c:pt idx="3118">
                        <c:v>0</c:v>
                      </c:pt>
                      <c:pt idx="3119">
                        <c:v>0</c:v>
                      </c:pt>
                      <c:pt idx="3120">
                        <c:v>0</c:v>
                      </c:pt>
                      <c:pt idx="3121">
                        <c:v>0</c:v>
                      </c:pt>
                      <c:pt idx="3122">
                        <c:v>0</c:v>
                      </c:pt>
                      <c:pt idx="3123">
                        <c:v>0</c:v>
                      </c:pt>
                      <c:pt idx="3124">
                        <c:v>0</c:v>
                      </c:pt>
                      <c:pt idx="3125">
                        <c:v>0</c:v>
                      </c:pt>
                      <c:pt idx="3126">
                        <c:v>0</c:v>
                      </c:pt>
                      <c:pt idx="3127">
                        <c:v>0</c:v>
                      </c:pt>
                      <c:pt idx="3128">
                        <c:v>0</c:v>
                      </c:pt>
                      <c:pt idx="3129">
                        <c:v>0</c:v>
                      </c:pt>
                      <c:pt idx="3130">
                        <c:v>0</c:v>
                      </c:pt>
                      <c:pt idx="3131">
                        <c:v>0</c:v>
                      </c:pt>
                      <c:pt idx="3132">
                        <c:v>0</c:v>
                      </c:pt>
                      <c:pt idx="3133">
                        <c:v>0</c:v>
                      </c:pt>
                      <c:pt idx="3134">
                        <c:v>0</c:v>
                      </c:pt>
                      <c:pt idx="3135">
                        <c:v>0</c:v>
                      </c:pt>
                      <c:pt idx="3136">
                        <c:v>0</c:v>
                      </c:pt>
                      <c:pt idx="3137">
                        <c:v>0</c:v>
                      </c:pt>
                      <c:pt idx="3138">
                        <c:v>0</c:v>
                      </c:pt>
                      <c:pt idx="3139">
                        <c:v>0</c:v>
                      </c:pt>
                      <c:pt idx="3140">
                        <c:v>0</c:v>
                      </c:pt>
                      <c:pt idx="3141">
                        <c:v>0</c:v>
                      </c:pt>
                      <c:pt idx="3142">
                        <c:v>0</c:v>
                      </c:pt>
                      <c:pt idx="3143">
                        <c:v>0</c:v>
                      </c:pt>
                      <c:pt idx="3144">
                        <c:v>0</c:v>
                      </c:pt>
                      <c:pt idx="3145">
                        <c:v>0</c:v>
                      </c:pt>
                      <c:pt idx="3146">
                        <c:v>0</c:v>
                      </c:pt>
                      <c:pt idx="3147">
                        <c:v>0</c:v>
                      </c:pt>
                      <c:pt idx="3148">
                        <c:v>0</c:v>
                      </c:pt>
                      <c:pt idx="3149">
                        <c:v>0</c:v>
                      </c:pt>
                      <c:pt idx="3150">
                        <c:v>0</c:v>
                      </c:pt>
                      <c:pt idx="3151">
                        <c:v>0</c:v>
                      </c:pt>
                      <c:pt idx="3152">
                        <c:v>0</c:v>
                      </c:pt>
                      <c:pt idx="3153">
                        <c:v>0</c:v>
                      </c:pt>
                      <c:pt idx="3154">
                        <c:v>0</c:v>
                      </c:pt>
                      <c:pt idx="3155">
                        <c:v>0</c:v>
                      </c:pt>
                      <c:pt idx="3156">
                        <c:v>0</c:v>
                      </c:pt>
                      <c:pt idx="3157">
                        <c:v>0</c:v>
                      </c:pt>
                      <c:pt idx="3158">
                        <c:v>0</c:v>
                      </c:pt>
                      <c:pt idx="3159">
                        <c:v>0</c:v>
                      </c:pt>
                      <c:pt idx="3160">
                        <c:v>0</c:v>
                      </c:pt>
                      <c:pt idx="3161">
                        <c:v>0</c:v>
                      </c:pt>
                      <c:pt idx="3162">
                        <c:v>0</c:v>
                      </c:pt>
                      <c:pt idx="3163">
                        <c:v>0</c:v>
                      </c:pt>
                      <c:pt idx="3164">
                        <c:v>0</c:v>
                      </c:pt>
                      <c:pt idx="3165">
                        <c:v>0</c:v>
                      </c:pt>
                      <c:pt idx="3166">
                        <c:v>0</c:v>
                      </c:pt>
                      <c:pt idx="3167">
                        <c:v>0</c:v>
                      </c:pt>
                      <c:pt idx="3168">
                        <c:v>0</c:v>
                      </c:pt>
                      <c:pt idx="3169">
                        <c:v>0</c:v>
                      </c:pt>
                      <c:pt idx="3170">
                        <c:v>0</c:v>
                      </c:pt>
                      <c:pt idx="3171">
                        <c:v>0</c:v>
                      </c:pt>
                      <c:pt idx="3172">
                        <c:v>0</c:v>
                      </c:pt>
                      <c:pt idx="3173">
                        <c:v>0</c:v>
                      </c:pt>
                      <c:pt idx="3174">
                        <c:v>0</c:v>
                      </c:pt>
                      <c:pt idx="3175">
                        <c:v>0</c:v>
                      </c:pt>
                      <c:pt idx="3176">
                        <c:v>0</c:v>
                      </c:pt>
                      <c:pt idx="3177">
                        <c:v>0</c:v>
                      </c:pt>
                      <c:pt idx="3178">
                        <c:v>0</c:v>
                      </c:pt>
                      <c:pt idx="3179">
                        <c:v>0</c:v>
                      </c:pt>
                      <c:pt idx="3180">
                        <c:v>0</c:v>
                      </c:pt>
                      <c:pt idx="3181">
                        <c:v>0</c:v>
                      </c:pt>
                      <c:pt idx="3182">
                        <c:v>0</c:v>
                      </c:pt>
                      <c:pt idx="3183">
                        <c:v>0</c:v>
                      </c:pt>
                      <c:pt idx="3184">
                        <c:v>0</c:v>
                      </c:pt>
                      <c:pt idx="3185">
                        <c:v>0</c:v>
                      </c:pt>
                      <c:pt idx="3186">
                        <c:v>0</c:v>
                      </c:pt>
                      <c:pt idx="3187">
                        <c:v>0</c:v>
                      </c:pt>
                      <c:pt idx="3188">
                        <c:v>0</c:v>
                      </c:pt>
                      <c:pt idx="3189">
                        <c:v>0</c:v>
                      </c:pt>
                      <c:pt idx="3190">
                        <c:v>0</c:v>
                      </c:pt>
                      <c:pt idx="3191">
                        <c:v>0</c:v>
                      </c:pt>
                      <c:pt idx="3192">
                        <c:v>0</c:v>
                      </c:pt>
                      <c:pt idx="3193">
                        <c:v>0</c:v>
                      </c:pt>
                      <c:pt idx="3194">
                        <c:v>0</c:v>
                      </c:pt>
                      <c:pt idx="3195">
                        <c:v>0</c:v>
                      </c:pt>
                      <c:pt idx="3196">
                        <c:v>0</c:v>
                      </c:pt>
                      <c:pt idx="3197">
                        <c:v>0</c:v>
                      </c:pt>
                      <c:pt idx="3198">
                        <c:v>0</c:v>
                      </c:pt>
                      <c:pt idx="3199">
                        <c:v>0</c:v>
                      </c:pt>
                      <c:pt idx="3200">
                        <c:v>0</c:v>
                      </c:pt>
                      <c:pt idx="3201">
                        <c:v>0</c:v>
                      </c:pt>
                      <c:pt idx="3202">
                        <c:v>0</c:v>
                      </c:pt>
                      <c:pt idx="3203">
                        <c:v>0</c:v>
                      </c:pt>
                      <c:pt idx="3204">
                        <c:v>0</c:v>
                      </c:pt>
                      <c:pt idx="3205">
                        <c:v>0</c:v>
                      </c:pt>
                      <c:pt idx="3206">
                        <c:v>0</c:v>
                      </c:pt>
                      <c:pt idx="3207">
                        <c:v>0</c:v>
                      </c:pt>
                      <c:pt idx="3208">
                        <c:v>0</c:v>
                      </c:pt>
                      <c:pt idx="3209">
                        <c:v>0</c:v>
                      </c:pt>
                      <c:pt idx="3210">
                        <c:v>0</c:v>
                      </c:pt>
                      <c:pt idx="3211">
                        <c:v>0</c:v>
                      </c:pt>
                      <c:pt idx="3212">
                        <c:v>0</c:v>
                      </c:pt>
                      <c:pt idx="3213">
                        <c:v>0</c:v>
                      </c:pt>
                      <c:pt idx="3214">
                        <c:v>0</c:v>
                      </c:pt>
                      <c:pt idx="3215">
                        <c:v>0</c:v>
                      </c:pt>
                      <c:pt idx="3216">
                        <c:v>0</c:v>
                      </c:pt>
                      <c:pt idx="3217">
                        <c:v>0</c:v>
                      </c:pt>
                      <c:pt idx="3218">
                        <c:v>0</c:v>
                      </c:pt>
                      <c:pt idx="3219">
                        <c:v>0</c:v>
                      </c:pt>
                      <c:pt idx="3220">
                        <c:v>0</c:v>
                      </c:pt>
                      <c:pt idx="3221">
                        <c:v>0</c:v>
                      </c:pt>
                      <c:pt idx="3222">
                        <c:v>0</c:v>
                      </c:pt>
                      <c:pt idx="3223">
                        <c:v>0</c:v>
                      </c:pt>
                      <c:pt idx="3224">
                        <c:v>0</c:v>
                      </c:pt>
                      <c:pt idx="3225">
                        <c:v>0</c:v>
                      </c:pt>
                      <c:pt idx="3226">
                        <c:v>0</c:v>
                      </c:pt>
                      <c:pt idx="3227">
                        <c:v>0</c:v>
                      </c:pt>
                      <c:pt idx="3228">
                        <c:v>0</c:v>
                      </c:pt>
                      <c:pt idx="3229">
                        <c:v>0</c:v>
                      </c:pt>
                      <c:pt idx="3230">
                        <c:v>0</c:v>
                      </c:pt>
                      <c:pt idx="3231">
                        <c:v>0</c:v>
                      </c:pt>
                      <c:pt idx="3232">
                        <c:v>0</c:v>
                      </c:pt>
                      <c:pt idx="3233">
                        <c:v>0</c:v>
                      </c:pt>
                      <c:pt idx="3234">
                        <c:v>0</c:v>
                      </c:pt>
                      <c:pt idx="3235">
                        <c:v>0</c:v>
                      </c:pt>
                      <c:pt idx="3236">
                        <c:v>0</c:v>
                      </c:pt>
                      <c:pt idx="3237">
                        <c:v>0</c:v>
                      </c:pt>
                      <c:pt idx="3238">
                        <c:v>0</c:v>
                      </c:pt>
                      <c:pt idx="3239">
                        <c:v>0</c:v>
                      </c:pt>
                      <c:pt idx="3240">
                        <c:v>0</c:v>
                      </c:pt>
                      <c:pt idx="3241">
                        <c:v>0</c:v>
                      </c:pt>
                      <c:pt idx="3242">
                        <c:v>0</c:v>
                      </c:pt>
                      <c:pt idx="3243">
                        <c:v>0</c:v>
                      </c:pt>
                      <c:pt idx="3244">
                        <c:v>0</c:v>
                      </c:pt>
                      <c:pt idx="3245">
                        <c:v>0</c:v>
                      </c:pt>
                      <c:pt idx="3246">
                        <c:v>0</c:v>
                      </c:pt>
                      <c:pt idx="3247">
                        <c:v>0</c:v>
                      </c:pt>
                      <c:pt idx="3248">
                        <c:v>0</c:v>
                      </c:pt>
                      <c:pt idx="3249">
                        <c:v>0</c:v>
                      </c:pt>
                      <c:pt idx="3250">
                        <c:v>0</c:v>
                      </c:pt>
                      <c:pt idx="3251">
                        <c:v>0</c:v>
                      </c:pt>
                      <c:pt idx="3252">
                        <c:v>0</c:v>
                      </c:pt>
                      <c:pt idx="3253">
                        <c:v>0</c:v>
                      </c:pt>
                      <c:pt idx="3254">
                        <c:v>0</c:v>
                      </c:pt>
                      <c:pt idx="3255">
                        <c:v>0</c:v>
                      </c:pt>
                      <c:pt idx="3256">
                        <c:v>0</c:v>
                      </c:pt>
                      <c:pt idx="3257">
                        <c:v>0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</c:v>
                      </c:pt>
                      <c:pt idx="3265">
                        <c:v>0</c:v>
                      </c:pt>
                      <c:pt idx="3266">
                        <c:v>0</c:v>
                      </c:pt>
                      <c:pt idx="3267">
                        <c:v>0</c:v>
                      </c:pt>
                      <c:pt idx="3268">
                        <c:v>0</c:v>
                      </c:pt>
                      <c:pt idx="3269">
                        <c:v>0</c:v>
                      </c:pt>
                      <c:pt idx="3270">
                        <c:v>0</c:v>
                      </c:pt>
                      <c:pt idx="3271">
                        <c:v>0</c:v>
                      </c:pt>
                      <c:pt idx="3272">
                        <c:v>0</c:v>
                      </c:pt>
                      <c:pt idx="3273">
                        <c:v>0</c:v>
                      </c:pt>
                      <c:pt idx="3274">
                        <c:v>0</c:v>
                      </c:pt>
                      <c:pt idx="3275">
                        <c:v>0</c:v>
                      </c:pt>
                      <c:pt idx="3276">
                        <c:v>0</c:v>
                      </c:pt>
                      <c:pt idx="3277">
                        <c:v>0</c:v>
                      </c:pt>
                      <c:pt idx="3278">
                        <c:v>0</c:v>
                      </c:pt>
                      <c:pt idx="3279">
                        <c:v>0</c:v>
                      </c:pt>
                      <c:pt idx="3280">
                        <c:v>0</c:v>
                      </c:pt>
                      <c:pt idx="3281">
                        <c:v>0</c:v>
                      </c:pt>
                      <c:pt idx="3282">
                        <c:v>0</c:v>
                      </c:pt>
                      <c:pt idx="3283">
                        <c:v>0</c:v>
                      </c:pt>
                      <c:pt idx="3284">
                        <c:v>0</c:v>
                      </c:pt>
                      <c:pt idx="3285">
                        <c:v>0</c:v>
                      </c:pt>
                      <c:pt idx="3286">
                        <c:v>0</c:v>
                      </c:pt>
                      <c:pt idx="3287">
                        <c:v>0</c:v>
                      </c:pt>
                      <c:pt idx="3288">
                        <c:v>0</c:v>
                      </c:pt>
                      <c:pt idx="3289">
                        <c:v>0</c:v>
                      </c:pt>
                      <c:pt idx="3290">
                        <c:v>0</c:v>
                      </c:pt>
                      <c:pt idx="3291">
                        <c:v>0</c:v>
                      </c:pt>
                      <c:pt idx="3292">
                        <c:v>0</c:v>
                      </c:pt>
                      <c:pt idx="3293">
                        <c:v>0</c:v>
                      </c:pt>
                      <c:pt idx="3294">
                        <c:v>0</c:v>
                      </c:pt>
                      <c:pt idx="3295">
                        <c:v>0</c:v>
                      </c:pt>
                      <c:pt idx="3296">
                        <c:v>0</c:v>
                      </c:pt>
                      <c:pt idx="3297">
                        <c:v>0</c:v>
                      </c:pt>
                      <c:pt idx="3298">
                        <c:v>0</c:v>
                      </c:pt>
                      <c:pt idx="3299">
                        <c:v>0</c:v>
                      </c:pt>
                      <c:pt idx="3300">
                        <c:v>0</c:v>
                      </c:pt>
                      <c:pt idx="3301">
                        <c:v>0</c:v>
                      </c:pt>
                      <c:pt idx="3302">
                        <c:v>0</c:v>
                      </c:pt>
                      <c:pt idx="3303">
                        <c:v>0</c:v>
                      </c:pt>
                      <c:pt idx="3304">
                        <c:v>0</c:v>
                      </c:pt>
                      <c:pt idx="3305">
                        <c:v>0</c:v>
                      </c:pt>
                      <c:pt idx="3306">
                        <c:v>0</c:v>
                      </c:pt>
                      <c:pt idx="3307">
                        <c:v>0</c:v>
                      </c:pt>
                      <c:pt idx="3308">
                        <c:v>0</c:v>
                      </c:pt>
                      <c:pt idx="3309">
                        <c:v>0</c:v>
                      </c:pt>
                      <c:pt idx="3310">
                        <c:v>0</c:v>
                      </c:pt>
                      <c:pt idx="3311">
                        <c:v>0</c:v>
                      </c:pt>
                      <c:pt idx="3312">
                        <c:v>0</c:v>
                      </c:pt>
                      <c:pt idx="3313">
                        <c:v>0</c:v>
                      </c:pt>
                      <c:pt idx="3314">
                        <c:v>0</c:v>
                      </c:pt>
                      <c:pt idx="3315">
                        <c:v>0</c:v>
                      </c:pt>
                      <c:pt idx="3316">
                        <c:v>0</c:v>
                      </c:pt>
                      <c:pt idx="3317">
                        <c:v>0</c:v>
                      </c:pt>
                      <c:pt idx="3318">
                        <c:v>0</c:v>
                      </c:pt>
                      <c:pt idx="3319">
                        <c:v>0</c:v>
                      </c:pt>
                      <c:pt idx="3320">
                        <c:v>0</c:v>
                      </c:pt>
                      <c:pt idx="3321">
                        <c:v>0</c:v>
                      </c:pt>
                      <c:pt idx="3322">
                        <c:v>0</c:v>
                      </c:pt>
                      <c:pt idx="3323">
                        <c:v>0</c:v>
                      </c:pt>
                      <c:pt idx="3324">
                        <c:v>0</c:v>
                      </c:pt>
                      <c:pt idx="3325">
                        <c:v>0</c:v>
                      </c:pt>
                      <c:pt idx="3326">
                        <c:v>0</c:v>
                      </c:pt>
                      <c:pt idx="3327">
                        <c:v>0</c:v>
                      </c:pt>
                      <c:pt idx="3328">
                        <c:v>0</c:v>
                      </c:pt>
                      <c:pt idx="3329">
                        <c:v>0</c:v>
                      </c:pt>
                      <c:pt idx="3330">
                        <c:v>0</c:v>
                      </c:pt>
                      <c:pt idx="3331">
                        <c:v>0</c:v>
                      </c:pt>
                      <c:pt idx="3332">
                        <c:v>0</c:v>
                      </c:pt>
                      <c:pt idx="3333">
                        <c:v>0</c:v>
                      </c:pt>
                      <c:pt idx="3334">
                        <c:v>0</c:v>
                      </c:pt>
                      <c:pt idx="3335">
                        <c:v>0</c:v>
                      </c:pt>
                      <c:pt idx="3336">
                        <c:v>0</c:v>
                      </c:pt>
                      <c:pt idx="3337">
                        <c:v>0</c:v>
                      </c:pt>
                      <c:pt idx="3338">
                        <c:v>0</c:v>
                      </c:pt>
                      <c:pt idx="3339">
                        <c:v>0</c:v>
                      </c:pt>
                      <c:pt idx="3340">
                        <c:v>0</c:v>
                      </c:pt>
                      <c:pt idx="3341">
                        <c:v>0</c:v>
                      </c:pt>
                      <c:pt idx="3342">
                        <c:v>0</c:v>
                      </c:pt>
                      <c:pt idx="3343">
                        <c:v>0</c:v>
                      </c:pt>
                      <c:pt idx="3344">
                        <c:v>0</c:v>
                      </c:pt>
                      <c:pt idx="3345">
                        <c:v>0</c:v>
                      </c:pt>
                      <c:pt idx="3346">
                        <c:v>0</c:v>
                      </c:pt>
                      <c:pt idx="3347">
                        <c:v>0</c:v>
                      </c:pt>
                      <c:pt idx="3348">
                        <c:v>0</c:v>
                      </c:pt>
                      <c:pt idx="3349">
                        <c:v>0</c:v>
                      </c:pt>
                      <c:pt idx="3350">
                        <c:v>0</c:v>
                      </c:pt>
                      <c:pt idx="3351">
                        <c:v>0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</c:v>
                      </c:pt>
                      <c:pt idx="3357">
                        <c:v>0</c:v>
                      </c:pt>
                      <c:pt idx="3358">
                        <c:v>0</c:v>
                      </c:pt>
                      <c:pt idx="3359">
                        <c:v>0</c:v>
                      </c:pt>
                      <c:pt idx="3360">
                        <c:v>0</c:v>
                      </c:pt>
                      <c:pt idx="3361">
                        <c:v>0</c:v>
                      </c:pt>
                      <c:pt idx="3362">
                        <c:v>0</c:v>
                      </c:pt>
                      <c:pt idx="3363">
                        <c:v>0</c:v>
                      </c:pt>
                      <c:pt idx="3364">
                        <c:v>0</c:v>
                      </c:pt>
                      <c:pt idx="3365">
                        <c:v>0</c:v>
                      </c:pt>
                      <c:pt idx="3366">
                        <c:v>0</c:v>
                      </c:pt>
                      <c:pt idx="3367">
                        <c:v>0</c:v>
                      </c:pt>
                      <c:pt idx="3368">
                        <c:v>0</c:v>
                      </c:pt>
                      <c:pt idx="3369">
                        <c:v>0</c:v>
                      </c:pt>
                      <c:pt idx="3370">
                        <c:v>0</c:v>
                      </c:pt>
                      <c:pt idx="3371">
                        <c:v>0</c:v>
                      </c:pt>
                      <c:pt idx="3372">
                        <c:v>0</c:v>
                      </c:pt>
                      <c:pt idx="3373">
                        <c:v>0</c:v>
                      </c:pt>
                      <c:pt idx="3374">
                        <c:v>0</c:v>
                      </c:pt>
                      <c:pt idx="3375">
                        <c:v>0</c:v>
                      </c:pt>
                      <c:pt idx="3376">
                        <c:v>0</c:v>
                      </c:pt>
                      <c:pt idx="3377">
                        <c:v>0</c:v>
                      </c:pt>
                      <c:pt idx="3378">
                        <c:v>0</c:v>
                      </c:pt>
                      <c:pt idx="3379">
                        <c:v>0</c:v>
                      </c:pt>
                      <c:pt idx="3380">
                        <c:v>0</c:v>
                      </c:pt>
                      <c:pt idx="3381">
                        <c:v>0</c:v>
                      </c:pt>
                      <c:pt idx="3382">
                        <c:v>0</c:v>
                      </c:pt>
                      <c:pt idx="3383">
                        <c:v>0</c:v>
                      </c:pt>
                      <c:pt idx="3384">
                        <c:v>0</c:v>
                      </c:pt>
                      <c:pt idx="3385">
                        <c:v>0</c:v>
                      </c:pt>
                      <c:pt idx="3386">
                        <c:v>0</c:v>
                      </c:pt>
                      <c:pt idx="3387">
                        <c:v>0</c:v>
                      </c:pt>
                      <c:pt idx="3388">
                        <c:v>0</c:v>
                      </c:pt>
                      <c:pt idx="3389">
                        <c:v>0</c:v>
                      </c:pt>
                      <c:pt idx="3390">
                        <c:v>0</c:v>
                      </c:pt>
                      <c:pt idx="3391">
                        <c:v>0</c:v>
                      </c:pt>
                      <c:pt idx="3392">
                        <c:v>0</c:v>
                      </c:pt>
                      <c:pt idx="3393">
                        <c:v>0</c:v>
                      </c:pt>
                      <c:pt idx="3394">
                        <c:v>0</c:v>
                      </c:pt>
                      <c:pt idx="3395">
                        <c:v>0</c:v>
                      </c:pt>
                      <c:pt idx="3396">
                        <c:v>0</c:v>
                      </c:pt>
                      <c:pt idx="3397">
                        <c:v>0</c:v>
                      </c:pt>
                      <c:pt idx="3398">
                        <c:v>0</c:v>
                      </c:pt>
                      <c:pt idx="3399">
                        <c:v>0</c:v>
                      </c:pt>
                      <c:pt idx="3400">
                        <c:v>0</c:v>
                      </c:pt>
                      <c:pt idx="3401">
                        <c:v>0</c:v>
                      </c:pt>
                      <c:pt idx="3402">
                        <c:v>0</c:v>
                      </c:pt>
                      <c:pt idx="3403">
                        <c:v>0</c:v>
                      </c:pt>
                      <c:pt idx="3404">
                        <c:v>0</c:v>
                      </c:pt>
                      <c:pt idx="3405">
                        <c:v>0</c:v>
                      </c:pt>
                      <c:pt idx="3406">
                        <c:v>0</c:v>
                      </c:pt>
                      <c:pt idx="3407">
                        <c:v>0</c:v>
                      </c:pt>
                      <c:pt idx="3408">
                        <c:v>0</c:v>
                      </c:pt>
                      <c:pt idx="3409">
                        <c:v>0</c:v>
                      </c:pt>
                      <c:pt idx="3410">
                        <c:v>0</c:v>
                      </c:pt>
                      <c:pt idx="3411">
                        <c:v>0</c:v>
                      </c:pt>
                      <c:pt idx="3412">
                        <c:v>0</c:v>
                      </c:pt>
                      <c:pt idx="3413">
                        <c:v>0</c:v>
                      </c:pt>
                      <c:pt idx="3414">
                        <c:v>0</c:v>
                      </c:pt>
                      <c:pt idx="3415">
                        <c:v>0</c:v>
                      </c:pt>
                      <c:pt idx="3416">
                        <c:v>0</c:v>
                      </c:pt>
                      <c:pt idx="3417">
                        <c:v>0</c:v>
                      </c:pt>
                      <c:pt idx="3418">
                        <c:v>0</c:v>
                      </c:pt>
                      <c:pt idx="3419">
                        <c:v>0</c:v>
                      </c:pt>
                      <c:pt idx="3420">
                        <c:v>0</c:v>
                      </c:pt>
                      <c:pt idx="3421">
                        <c:v>0</c:v>
                      </c:pt>
                      <c:pt idx="3422">
                        <c:v>0</c:v>
                      </c:pt>
                      <c:pt idx="3423">
                        <c:v>0</c:v>
                      </c:pt>
                      <c:pt idx="3424">
                        <c:v>0</c:v>
                      </c:pt>
                      <c:pt idx="3425">
                        <c:v>0</c:v>
                      </c:pt>
                      <c:pt idx="3426">
                        <c:v>0</c:v>
                      </c:pt>
                      <c:pt idx="3427">
                        <c:v>0</c:v>
                      </c:pt>
                      <c:pt idx="3428">
                        <c:v>0</c:v>
                      </c:pt>
                      <c:pt idx="3429">
                        <c:v>0</c:v>
                      </c:pt>
                      <c:pt idx="3430">
                        <c:v>0</c:v>
                      </c:pt>
                      <c:pt idx="3431">
                        <c:v>0</c:v>
                      </c:pt>
                      <c:pt idx="3432">
                        <c:v>0</c:v>
                      </c:pt>
                      <c:pt idx="3433">
                        <c:v>0</c:v>
                      </c:pt>
                      <c:pt idx="3434">
                        <c:v>0</c:v>
                      </c:pt>
                      <c:pt idx="3435">
                        <c:v>0</c:v>
                      </c:pt>
                      <c:pt idx="3436">
                        <c:v>0</c:v>
                      </c:pt>
                      <c:pt idx="3437">
                        <c:v>0</c:v>
                      </c:pt>
                      <c:pt idx="3438">
                        <c:v>0</c:v>
                      </c:pt>
                      <c:pt idx="3439">
                        <c:v>0</c:v>
                      </c:pt>
                      <c:pt idx="3440">
                        <c:v>0</c:v>
                      </c:pt>
                      <c:pt idx="3441">
                        <c:v>0</c:v>
                      </c:pt>
                      <c:pt idx="3442">
                        <c:v>0</c:v>
                      </c:pt>
                      <c:pt idx="3443">
                        <c:v>0</c:v>
                      </c:pt>
                      <c:pt idx="3444">
                        <c:v>0</c:v>
                      </c:pt>
                      <c:pt idx="3445">
                        <c:v>0</c:v>
                      </c:pt>
                      <c:pt idx="3446">
                        <c:v>0</c:v>
                      </c:pt>
                      <c:pt idx="3447">
                        <c:v>0</c:v>
                      </c:pt>
                      <c:pt idx="3448">
                        <c:v>0</c:v>
                      </c:pt>
                      <c:pt idx="3449">
                        <c:v>0</c:v>
                      </c:pt>
                      <c:pt idx="3450">
                        <c:v>0</c:v>
                      </c:pt>
                      <c:pt idx="3451">
                        <c:v>0</c:v>
                      </c:pt>
                      <c:pt idx="3452">
                        <c:v>0</c:v>
                      </c:pt>
                      <c:pt idx="3453">
                        <c:v>0</c:v>
                      </c:pt>
                      <c:pt idx="3454">
                        <c:v>0</c:v>
                      </c:pt>
                      <c:pt idx="3455">
                        <c:v>0</c:v>
                      </c:pt>
                      <c:pt idx="3456">
                        <c:v>0</c:v>
                      </c:pt>
                      <c:pt idx="3457">
                        <c:v>0</c:v>
                      </c:pt>
                      <c:pt idx="3458">
                        <c:v>0</c:v>
                      </c:pt>
                      <c:pt idx="3459">
                        <c:v>0</c:v>
                      </c:pt>
                      <c:pt idx="3460">
                        <c:v>0</c:v>
                      </c:pt>
                      <c:pt idx="3461">
                        <c:v>0</c:v>
                      </c:pt>
                      <c:pt idx="3462">
                        <c:v>0</c:v>
                      </c:pt>
                      <c:pt idx="3463">
                        <c:v>0</c:v>
                      </c:pt>
                      <c:pt idx="3464">
                        <c:v>0</c:v>
                      </c:pt>
                      <c:pt idx="3465">
                        <c:v>0</c:v>
                      </c:pt>
                      <c:pt idx="3466">
                        <c:v>0</c:v>
                      </c:pt>
                      <c:pt idx="3467">
                        <c:v>0</c:v>
                      </c:pt>
                      <c:pt idx="3468">
                        <c:v>0</c:v>
                      </c:pt>
                      <c:pt idx="3469">
                        <c:v>0</c:v>
                      </c:pt>
                      <c:pt idx="3470">
                        <c:v>0</c:v>
                      </c:pt>
                      <c:pt idx="3471">
                        <c:v>0</c:v>
                      </c:pt>
                      <c:pt idx="3472">
                        <c:v>0</c:v>
                      </c:pt>
                      <c:pt idx="3473">
                        <c:v>0</c:v>
                      </c:pt>
                      <c:pt idx="3474">
                        <c:v>0</c:v>
                      </c:pt>
                      <c:pt idx="3475">
                        <c:v>0</c:v>
                      </c:pt>
                      <c:pt idx="3476">
                        <c:v>0</c:v>
                      </c:pt>
                      <c:pt idx="3477">
                        <c:v>0</c:v>
                      </c:pt>
                      <c:pt idx="3478">
                        <c:v>0</c:v>
                      </c:pt>
                      <c:pt idx="3479">
                        <c:v>0</c:v>
                      </c:pt>
                      <c:pt idx="3480">
                        <c:v>0</c:v>
                      </c:pt>
                      <c:pt idx="3481">
                        <c:v>0</c:v>
                      </c:pt>
                      <c:pt idx="3482">
                        <c:v>0</c:v>
                      </c:pt>
                      <c:pt idx="3483">
                        <c:v>0</c:v>
                      </c:pt>
                      <c:pt idx="3484">
                        <c:v>0</c:v>
                      </c:pt>
                      <c:pt idx="3485">
                        <c:v>0</c:v>
                      </c:pt>
                      <c:pt idx="3486">
                        <c:v>0</c:v>
                      </c:pt>
                      <c:pt idx="3487">
                        <c:v>0</c:v>
                      </c:pt>
                      <c:pt idx="3488">
                        <c:v>0</c:v>
                      </c:pt>
                      <c:pt idx="3489">
                        <c:v>0</c:v>
                      </c:pt>
                      <c:pt idx="3490">
                        <c:v>0</c:v>
                      </c:pt>
                      <c:pt idx="3491">
                        <c:v>0</c:v>
                      </c:pt>
                      <c:pt idx="3492">
                        <c:v>0</c:v>
                      </c:pt>
                      <c:pt idx="3493">
                        <c:v>0</c:v>
                      </c:pt>
                      <c:pt idx="3494">
                        <c:v>0</c:v>
                      </c:pt>
                      <c:pt idx="3495">
                        <c:v>0</c:v>
                      </c:pt>
                      <c:pt idx="3496">
                        <c:v>0</c:v>
                      </c:pt>
                      <c:pt idx="3497">
                        <c:v>0</c:v>
                      </c:pt>
                      <c:pt idx="3498">
                        <c:v>0</c:v>
                      </c:pt>
                      <c:pt idx="3499">
                        <c:v>0</c:v>
                      </c:pt>
                      <c:pt idx="3500">
                        <c:v>0</c:v>
                      </c:pt>
                      <c:pt idx="3501">
                        <c:v>0</c:v>
                      </c:pt>
                      <c:pt idx="3502">
                        <c:v>0</c:v>
                      </c:pt>
                      <c:pt idx="3503">
                        <c:v>0</c:v>
                      </c:pt>
                      <c:pt idx="3504">
                        <c:v>0</c:v>
                      </c:pt>
                      <c:pt idx="3505">
                        <c:v>0</c:v>
                      </c:pt>
                      <c:pt idx="3506">
                        <c:v>0</c:v>
                      </c:pt>
                      <c:pt idx="3507">
                        <c:v>0</c:v>
                      </c:pt>
                      <c:pt idx="3508">
                        <c:v>0</c:v>
                      </c:pt>
                      <c:pt idx="3509">
                        <c:v>0</c:v>
                      </c:pt>
                      <c:pt idx="3510">
                        <c:v>0</c:v>
                      </c:pt>
                      <c:pt idx="3511">
                        <c:v>0</c:v>
                      </c:pt>
                      <c:pt idx="3512">
                        <c:v>0</c:v>
                      </c:pt>
                      <c:pt idx="3513">
                        <c:v>0</c:v>
                      </c:pt>
                      <c:pt idx="3514">
                        <c:v>0</c:v>
                      </c:pt>
                      <c:pt idx="3515">
                        <c:v>0</c:v>
                      </c:pt>
                      <c:pt idx="3516">
                        <c:v>0</c:v>
                      </c:pt>
                      <c:pt idx="3517">
                        <c:v>0</c:v>
                      </c:pt>
                      <c:pt idx="3518">
                        <c:v>0</c:v>
                      </c:pt>
                      <c:pt idx="3519">
                        <c:v>0</c:v>
                      </c:pt>
                      <c:pt idx="3520">
                        <c:v>0</c:v>
                      </c:pt>
                      <c:pt idx="3521">
                        <c:v>0</c:v>
                      </c:pt>
                      <c:pt idx="3522">
                        <c:v>0</c:v>
                      </c:pt>
                      <c:pt idx="3523">
                        <c:v>0</c:v>
                      </c:pt>
                      <c:pt idx="3524">
                        <c:v>0</c:v>
                      </c:pt>
                      <c:pt idx="3525">
                        <c:v>0</c:v>
                      </c:pt>
                      <c:pt idx="3526">
                        <c:v>0</c:v>
                      </c:pt>
                      <c:pt idx="3527">
                        <c:v>0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0</c:v>
                      </c:pt>
                      <c:pt idx="3533">
                        <c:v>0</c:v>
                      </c:pt>
                      <c:pt idx="3534">
                        <c:v>0</c:v>
                      </c:pt>
                      <c:pt idx="3535">
                        <c:v>0</c:v>
                      </c:pt>
                      <c:pt idx="3536">
                        <c:v>0</c:v>
                      </c:pt>
                      <c:pt idx="3537">
                        <c:v>0</c:v>
                      </c:pt>
                      <c:pt idx="3538">
                        <c:v>0</c:v>
                      </c:pt>
                      <c:pt idx="3539">
                        <c:v>0</c:v>
                      </c:pt>
                      <c:pt idx="3540">
                        <c:v>0</c:v>
                      </c:pt>
                      <c:pt idx="3541">
                        <c:v>0</c:v>
                      </c:pt>
                      <c:pt idx="3542">
                        <c:v>0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</c:v>
                      </c:pt>
                      <c:pt idx="3550">
                        <c:v>0</c:v>
                      </c:pt>
                      <c:pt idx="3551">
                        <c:v>0</c:v>
                      </c:pt>
                      <c:pt idx="3552">
                        <c:v>0</c:v>
                      </c:pt>
                      <c:pt idx="3553">
                        <c:v>0</c:v>
                      </c:pt>
                      <c:pt idx="3554">
                        <c:v>0</c:v>
                      </c:pt>
                      <c:pt idx="3555">
                        <c:v>0</c:v>
                      </c:pt>
                      <c:pt idx="3556">
                        <c:v>0</c:v>
                      </c:pt>
                      <c:pt idx="3557">
                        <c:v>0</c:v>
                      </c:pt>
                      <c:pt idx="3558">
                        <c:v>0</c:v>
                      </c:pt>
                      <c:pt idx="3559">
                        <c:v>0</c:v>
                      </c:pt>
                      <c:pt idx="3560">
                        <c:v>0</c:v>
                      </c:pt>
                      <c:pt idx="3561">
                        <c:v>0</c:v>
                      </c:pt>
                      <c:pt idx="3562">
                        <c:v>0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0</c:v>
                      </c:pt>
                      <c:pt idx="3568">
                        <c:v>0</c:v>
                      </c:pt>
                      <c:pt idx="3569">
                        <c:v>0</c:v>
                      </c:pt>
                      <c:pt idx="3570">
                        <c:v>0</c:v>
                      </c:pt>
                      <c:pt idx="3571">
                        <c:v>0</c:v>
                      </c:pt>
                      <c:pt idx="3572">
                        <c:v>0</c:v>
                      </c:pt>
                      <c:pt idx="3573">
                        <c:v>0</c:v>
                      </c:pt>
                      <c:pt idx="3574">
                        <c:v>0</c:v>
                      </c:pt>
                      <c:pt idx="3575">
                        <c:v>0</c:v>
                      </c:pt>
                      <c:pt idx="3576">
                        <c:v>0</c:v>
                      </c:pt>
                      <c:pt idx="3577">
                        <c:v>0</c:v>
                      </c:pt>
                      <c:pt idx="3578">
                        <c:v>0</c:v>
                      </c:pt>
                      <c:pt idx="3579">
                        <c:v>0</c:v>
                      </c:pt>
                      <c:pt idx="3580">
                        <c:v>0</c:v>
                      </c:pt>
                      <c:pt idx="3581">
                        <c:v>0</c:v>
                      </c:pt>
                      <c:pt idx="3582">
                        <c:v>0</c:v>
                      </c:pt>
                      <c:pt idx="3583">
                        <c:v>0</c:v>
                      </c:pt>
                      <c:pt idx="3584">
                        <c:v>0</c:v>
                      </c:pt>
                      <c:pt idx="3585">
                        <c:v>0</c:v>
                      </c:pt>
                      <c:pt idx="3586">
                        <c:v>0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</c:v>
                      </c:pt>
                      <c:pt idx="3594">
                        <c:v>0</c:v>
                      </c:pt>
                      <c:pt idx="3595">
                        <c:v>0</c:v>
                      </c:pt>
                      <c:pt idx="3596">
                        <c:v>0</c:v>
                      </c:pt>
                      <c:pt idx="3597">
                        <c:v>0</c:v>
                      </c:pt>
                      <c:pt idx="3598">
                        <c:v>0</c:v>
                      </c:pt>
                      <c:pt idx="3599">
                        <c:v>0</c:v>
                      </c:pt>
                      <c:pt idx="3600">
                        <c:v>0</c:v>
                      </c:pt>
                      <c:pt idx="3601">
                        <c:v>0</c:v>
                      </c:pt>
                      <c:pt idx="3602">
                        <c:v>0</c:v>
                      </c:pt>
                      <c:pt idx="3603">
                        <c:v>0</c:v>
                      </c:pt>
                      <c:pt idx="3604">
                        <c:v>0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</c:v>
                      </c:pt>
                      <c:pt idx="3619">
                        <c:v>0</c:v>
                      </c:pt>
                      <c:pt idx="3620">
                        <c:v>0</c:v>
                      </c:pt>
                      <c:pt idx="3621">
                        <c:v>0</c:v>
                      </c:pt>
                      <c:pt idx="3622">
                        <c:v>0</c:v>
                      </c:pt>
                      <c:pt idx="3623">
                        <c:v>0</c:v>
                      </c:pt>
                      <c:pt idx="3624">
                        <c:v>0</c:v>
                      </c:pt>
                      <c:pt idx="3625">
                        <c:v>0</c:v>
                      </c:pt>
                      <c:pt idx="3626">
                        <c:v>0</c:v>
                      </c:pt>
                      <c:pt idx="3627">
                        <c:v>0</c:v>
                      </c:pt>
                      <c:pt idx="3628">
                        <c:v>0</c:v>
                      </c:pt>
                      <c:pt idx="3629">
                        <c:v>0</c:v>
                      </c:pt>
                      <c:pt idx="3630">
                        <c:v>0</c:v>
                      </c:pt>
                      <c:pt idx="3631">
                        <c:v>0</c:v>
                      </c:pt>
                      <c:pt idx="3632">
                        <c:v>0</c:v>
                      </c:pt>
                      <c:pt idx="3633">
                        <c:v>0</c:v>
                      </c:pt>
                      <c:pt idx="3634">
                        <c:v>0</c:v>
                      </c:pt>
                      <c:pt idx="3635">
                        <c:v>0</c:v>
                      </c:pt>
                      <c:pt idx="3636">
                        <c:v>0</c:v>
                      </c:pt>
                      <c:pt idx="3637">
                        <c:v>0</c:v>
                      </c:pt>
                      <c:pt idx="3638">
                        <c:v>0</c:v>
                      </c:pt>
                      <c:pt idx="3639">
                        <c:v>0</c:v>
                      </c:pt>
                      <c:pt idx="3640">
                        <c:v>0</c:v>
                      </c:pt>
                      <c:pt idx="3641">
                        <c:v>0</c:v>
                      </c:pt>
                      <c:pt idx="3642">
                        <c:v>0</c:v>
                      </c:pt>
                      <c:pt idx="3643">
                        <c:v>0</c:v>
                      </c:pt>
                      <c:pt idx="3644">
                        <c:v>0</c:v>
                      </c:pt>
                      <c:pt idx="3645">
                        <c:v>0</c:v>
                      </c:pt>
                      <c:pt idx="3646">
                        <c:v>0</c:v>
                      </c:pt>
                      <c:pt idx="3647">
                        <c:v>0</c:v>
                      </c:pt>
                      <c:pt idx="3648">
                        <c:v>0</c:v>
                      </c:pt>
                      <c:pt idx="3649">
                        <c:v>0</c:v>
                      </c:pt>
                      <c:pt idx="3650">
                        <c:v>0</c:v>
                      </c:pt>
                      <c:pt idx="3651">
                        <c:v>0</c:v>
                      </c:pt>
                      <c:pt idx="3652">
                        <c:v>0</c:v>
                      </c:pt>
                      <c:pt idx="3653">
                        <c:v>0</c:v>
                      </c:pt>
                      <c:pt idx="3654">
                        <c:v>0</c:v>
                      </c:pt>
                      <c:pt idx="3655">
                        <c:v>0</c:v>
                      </c:pt>
                      <c:pt idx="3656">
                        <c:v>0</c:v>
                      </c:pt>
                      <c:pt idx="3657">
                        <c:v>0</c:v>
                      </c:pt>
                      <c:pt idx="3658">
                        <c:v>0</c:v>
                      </c:pt>
                      <c:pt idx="3659">
                        <c:v>0</c:v>
                      </c:pt>
                      <c:pt idx="3660">
                        <c:v>0</c:v>
                      </c:pt>
                      <c:pt idx="3661">
                        <c:v>0</c:v>
                      </c:pt>
                      <c:pt idx="3662">
                        <c:v>0</c:v>
                      </c:pt>
                      <c:pt idx="3663">
                        <c:v>0</c:v>
                      </c:pt>
                      <c:pt idx="3664">
                        <c:v>0</c:v>
                      </c:pt>
                      <c:pt idx="3665">
                        <c:v>0</c:v>
                      </c:pt>
                      <c:pt idx="3666">
                        <c:v>0</c:v>
                      </c:pt>
                      <c:pt idx="3667">
                        <c:v>0</c:v>
                      </c:pt>
                      <c:pt idx="3668">
                        <c:v>0</c:v>
                      </c:pt>
                      <c:pt idx="3669">
                        <c:v>0</c:v>
                      </c:pt>
                      <c:pt idx="3670">
                        <c:v>0</c:v>
                      </c:pt>
                      <c:pt idx="3671">
                        <c:v>0</c:v>
                      </c:pt>
                      <c:pt idx="3672">
                        <c:v>0</c:v>
                      </c:pt>
                      <c:pt idx="3673">
                        <c:v>0</c:v>
                      </c:pt>
                      <c:pt idx="3674">
                        <c:v>0</c:v>
                      </c:pt>
                      <c:pt idx="3675">
                        <c:v>0</c:v>
                      </c:pt>
                      <c:pt idx="3676">
                        <c:v>0</c:v>
                      </c:pt>
                      <c:pt idx="3677">
                        <c:v>0</c:v>
                      </c:pt>
                      <c:pt idx="3678">
                        <c:v>0</c:v>
                      </c:pt>
                      <c:pt idx="3679">
                        <c:v>0</c:v>
                      </c:pt>
                      <c:pt idx="3680">
                        <c:v>0</c:v>
                      </c:pt>
                      <c:pt idx="3681">
                        <c:v>0</c:v>
                      </c:pt>
                      <c:pt idx="3682">
                        <c:v>0</c:v>
                      </c:pt>
                      <c:pt idx="3683">
                        <c:v>0</c:v>
                      </c:pt>
                      <c:pt idx="3684">
                        <c:v>0</c:v>
                      </c:pt>
                      <c:pt idx="3685">
                        <c:v>0</c:v>
                      </c:pt>
                      <c:pt idx="3686">
                        <c:v>0</c:v>
                      </c:pt>
                      <c:pt idx="3687">
                        <c:v>0</c:v>
                      </c:pt>
                      <c:pt idx="3688">
                        <c:v>0</c:v>
                      </c:pt>
                      <c:pt idx="3689">
                        <c:v>0</c:v>
                      </c:pt>
                      <c:pt idx="3690">
                        <c:v>0</c:v>
                      </c:pt>
                      <c:pt idx="3691">
                        <c:v>0</c:v>
                      </c:pt>
                      <c:pt idx="3692">
                        <c:v>0</c:v>
                      </c:pt>
                      <c:pt idx="3693">
                        <c:v>0</c:v>
                      </c:pt>
                      <c:pt idx="3694">
                        <c:v>0</c:v>
                      </c:pt>
                      <c:pt idx="3695">
                        <c:v>0</c:v>
                      </c:pt>
                      <c:pt idx="3696">
                        <c:v>0</c:v>
                      </c:pt>
                      <c:pt idx="3697">
                        <c:v>0</c:v>
                      </c:pt>
                      <c:pt idx="3698">
                        <c:v>0</c:v>
                      </c:pt>
                      <c:pt idx="3699">
                        <c:v>0</c:v>
                      </c:pt>
                      <c:pt idx="3700">
                        <c:v>0</c:v>
                      </c:pt>
                      <c:pt idx="3701">
                        <c:v>0</c:v>
                      </c:pt>
                      <c:pt idx="3702">
                        <c:v>0</c:v>
                      </c:pt>
                      <c:pt idx="3703">
                        <c:v>0</c:v>
                      </c:pt>
                      <c:pt idx="3704">
                        <c:v>0</c:v>
                      </c:pt>
                      <c:pt idx="3705">
                        <c:v>0</c:v>
                      </c:pt>
                      <c:pt idx="3706">
                        <c:v>0</c:v>
                      </c:pt>
                      <c:pt idx="3707">
                        <c:v>0</c:v>
                      </c:pt>
                      <c:pt idx="3708">
                        <c:v>0</c:v>
                      </c:pt>
                      <c:pt idx="3709">
                        <c:v>0</c:v>
                      </c:pt>
                      <c:pt idx="3710">
                        <c:v>0</c:v>
                      </c:pt>
                      <c:pt idx="3711">
                        <c:v>0</c:v>
                      </c:pt>
                      <c:pt idx="3712">
                        <c:v>0</c:v>
                      </c:pt>
                      <c:pt idx="3713">
                        <c:v>0</c:v>
                      </c:pt>
                      <c:pt idx="3714">
                        <c:v>0</c:v>
                      </c:pt>
                      <c:pt idx="3715">
                        <c:v>0</c:v>
                      </c:pt>
                      <c:pt idx="3716">
                        <c:v>0</c:v>
                      </c:pt>
                      <c:pt idx="3717">
                        <c:v>0</c:v>
                      </c:pt>
                      <c:pt idx="3718">
                        <c:v>0</c:v>
                      </c:pt>
                      <c:pt idx="3719">
                        <c:v>0</c:v>
                      </c:pt>
                      <c:pt idx="3720">
                        <c:v>0</c:v>
                      </c:pt>
                      <c:pt idx="3721">
                        <c:v>0</c:v>
                      </c:pt>
                      <c:pt idx="3722">
                        <c:v>0</c:v>
                      </c:pt>
                      <c:pt idx="3723">
                        <c:v>0</c:v>
                      </c:pt>
                      <c:pt idx="3724">
                        <c:v>0</c:v>
                      </c:pt>
                      <c:pt idx="3725">
                        <c:v>0</c:v>
                      </c:pt>
                      <c:pt idx="3726">
                        <c:v>0</c:v>
                      </c:pt>
                      <c:pt idx="3727">
                        <c:v>0</c:v>
                      </c:pt>
                      <c:pt idx="3728">
                        <c:v>0</c:v>
                      </c:pt>
                      <c:pt idx="3729">
                        <c:v>0</c:v>
                      </c:pt>
                      <c:pt idx="3730">
                        <c:v>0</c:v>
                      </c:pt>
                      <c:pt idx="3731">
                        <c:v>0</c:v>
                      </c:pt>
                      <c:pt idx="3732">
                        <c:v>0</c:v>
                      </c:pt>
                      <c:pt idx="3733">
                        <c:v>0</c:v>
                      </c:pt>
                      <c:pt idx="3734">
                        <c:v>0</c:v>
                      </c:pt>
                      <c:pt idx="3735">
                        <c:v>0</c:v>
                      </c:pt>
                      <c:pt idx="3736">
                        <c:v>0</c:v>
                      </c:pt>
                      <c:pt idx="3737">
                        <c:v>0</c:v>
                      </c:pt>
                      <c:pt idx="3738">
                        <c:v>0</c:v>
                      </c:pt>
                      <c:pt idx="3739">
                        <c:v>0</c:v>
                      </c:pt>
                      <c:pt idx="3740">
                        <c:v>0</c:v>
                      </c:pt>
                      <c:pt idx="3741">
                        <c:v>0</c:v>
                      </c:pt>
                      <c:pt idx="3742">
                        <c:v>0</c:v>
                      </c:pt>
                      <c:pt idx="3743">
                        <c:v>0</c:v>
                      </c:pt>
                      <c:pt idx="3744">
                        <c:v>0</c:v>
                      </c:pt>
                      <c:pt idx="3745">
                        <c:v>0</c:v>
                      </c:pt>
                      <c:pt idx="3746">
                        <c:v>0</c:v>
                      </c:pt>
                      <c:pt idx="3747">
                        <c:v>0</c:v>
                      </c:pt>
                      <c:pt idx="3748">
                        <c:v>0</c:v>
                      </c:pt>
                      <c:pt idx="3749">
                        <c:v>0</c:v>
                      </c:pt>
                      <c:pt idx="3750">
                        <c:v>0</c:v>
                      </c:pt>
                      <c:pt idx="3751">
                        <c:v>0</c:v>
                      </c:pt>
                      <c:pt idx="3752">
                        <c:v>0</c:v>
                      </c:pt>
                      <c:pt idx="3753">
                        <c:v>0</c:v>
                      </c:pt>
                      <c:pt idx="3754">
                        <c:v>0</c:v>
                      </c:pt>
                      <c:pt idx="3755">
                        <c:v>0</c:v>
                      </c:pt>
                      <c:pt idx="3756">
                        <c:v>0</c:v>
                      </c:pt>
                      <c:pt idx="3757">
                        <c:v>0</c:v>
                      </c:pt>
                      <c:pt idx="3758">
                        <c:v>0</c:v>
                      </c:pt>
                      <c:pt idx="3759">
                        <c:v>0</c:v>
                      </c:pt>
                      <c:pt idx="3760">
                        <c:v>0</c:v>
                      </c:pt>
                      <c:pt idx="3761">
                        <c:v>0</c:v>
                      </c:pt>
                      <c:pt idx="3762">
                        <c:v>0</c:v>
                      </c:pt>
                      <c:pt idx="3763">
                        <c:v>0</c:v>
                      </c:pt>
                      <c:pt idx="3764">
                        <c:v>0</c:v>
                      </c:pt>
                      <c:pt idx="3765">
                        <c:v>0</c:v>
                      </c:pt>
                      <c:pt idx="3766">
                        <c:v>0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</c:v>
                      </c:pt>
                      <c:pt idx="3774">
                        <c:v>0</c:v>
                      </c:pt>
                      <c:pt idx="3775">
                        <c:v>0</c:v>
                      </c:pt>
                      <c:pt idx="3776">
                        <c:v>0</c:v>
                      </c:pt>
                      <c:pt idx="3777">
                        <c:v>0</c:v>
                      </c:pt>
                      <c:pt idx="3778">
                        <c:v>0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0</c:v>
                      </c:pt>
                      <c:pt idx="3783">
                        <c:v>0</c:v>
                      </c:pt>
                      <c:pt idx="3784">
                        <c:v>0</c:v>
                      </c:pt>
                      <c:pt idx="3785">
                        <c:v>0</c:v>
                      </c:pt>
                      <c:pt idx="3786">
                        <c:v>0</c:v>
                      </c:pt>
                      <c:pt idx="3787">
                        <c:v>0</c:v>
                      </c:pt>
                      <c:pt idx="3788">
                        <c:v>0</c:v>
                      </c:pt>
                      <c:pt idx="3789">
                        <c:v>0</c:v>
                      </c:pt>
                      <c:pt idx="3790">
                        <c:v>0</c:v>
                      </c:pt>
                      <c:pt idx="3791">
                        <c:v>0</c:v>
                      </c:pt>
                      <c:pt idx="3792">
                        <c:v>0</c:v>
                      </c:pt>
                      <c:pt idx="3793">
                        <c:v>0</c:v>
                      </c:pt>
                      <c:pt idx="3794">
                        <c:v>0</c:v>
                      </c:pt>
                      <c:pt idx="3795">
                        <c:v>0</c:v>
                      </c:pt>
                      <c:pt idx="3796">
                        <c:v>0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0</c:v>
                      </c:pt>
                      <c:pt idx="3807">
                        <c:v>0</c:v>
                      </c:pt>
                      <c:pt idx="3808">
                        <c:v>0</c:v>
                      </c:pt>
                      <c:pt idx="3809">
                        <c:v>0</c:v>
                      </c:pt>
                      <c:pt idx="3810">
                        <c:v>0</c:v>
                      </c:pt>
                      <c:pt idx="3811">
                        <c:v>0</c:v>
                      </c:pt>
                      <c:pt idx="3812">
                        <c:v>0</c:v>
                      </c:pt>
                      <c:pt idx="3813">
                        <c:v>0</c:v>
                      </c:pt>
                      <c:pt idx="3814">
                        <c:v>0</c:v>
                      </c:pt>
                      <c:pt idx="3815">
                        <c:v>0</c:v>
                      </c:pt>
                      <c:pt idx="3816">
                        <c:v>0</c:v>
                      </c:pt>
                      <c:pt idx="3817">
                        <c:v>0</c:v>
                      </c:pt>
                      <c:pt idx="3818">
                        <c:v>0</c:v>
                      </c:pt>
                      <c:pt idx="3819">
                        <c:v>0</c:v>
                      </c:pt>
                      <c:pt idx="3820">
                        <c:v>0</c:v>
                      </c:pt>
                      <c:pt idx="3821">
                        <c:v>0</c:v>
                      </c:pt>
                      <c:pt idx="3822">
                        <c:v>0</c:v>
                      </c:pt>
                      <c:pt idx="3823">
                        <c:v>0</c:v>
                      </c:pt>
                      <c:pt idx="3824">
                        <c:v>0</c:v>
                      </c:pt>
                      <c:pt idx="3825">
                        <c:v>0</c:v>
                      </c:pt>
                      <c:pt idx="3826">
                        <c:v>0</c:v>
                      </c:pt>
                      <c:pt idx="3827">
                        <c:v>0</c:v>
                      </c:pt>
                      <c:pt idx="3828">
                        <c:v>0</c:v>
                      </c:pt>
                      <c:pt idx="3829">
                        <c:v>0</c:v>
                      </c:pt>
                      <c:pt idx="3830">
                        <c:v>0</c:v>
                      </c:pt>
                      <c:pt idx="3831">
                        <c:v>0</c:v>
                      </c:pt>
                      <c:pt idx="3832">
                        <c:v>0</c:v>
                      </c:pt>
                      <c:pt idx="3833">
                        <c:v>0</c:v>
                      </c:pt>
                      <c:pt idx="3834">
                        <c:v>0</c:v>
                      </c:pt>
                      <c:pt idx="3835">
                        <c:v>0</c:v>
                      </c:pt>
                      <c:pt idx="3836">
                        <c:v>0</c:v>
                      </c:pt>
                      <c:pt idx="3837">
                        <c:v>0</c:v>
                      </c:pt>
                      <c:pt idx="3838">
                        <c:v>0</c:v>
                      </c:pt>
                      <c:pt idx="3839">
                        <c:v>0</c:v>
                      </c:pt>
                      <c:pt idx="3840">
                        <c:v>0</c:v>
                      </c:pt>
                      <c:pt idx="3841">
                        <c:v>0</c:v>
                      </c:pt>
                      <c:pt idx="3842">
                        <c:v>0</c:v>
                      </c:pt>
                      <c:pt idx="3843">
                        <c:v>0</c:v>
                      </c:pt>
                      <c:pt idx="3844">
                        <c:v>0</c:v>
                      </c:pt>
                      <c:pt idx="3845">
                        <c:v>0</c:v>
                      </c:pt>
                      <c:pt idx="3846">
                        <c:v>0</c:v>
                      </c:pt>
                      <c:pt idx="3847">
                        <c:v>0</c:v>
                      </c:pt>
                      <c:pt idx="3848">
                        <c:v>0</c:v>
                      </c:pt>
                      <c:pt idx="3849">
                        <c:v>0</c:v>
                      </c:pt>
                      <c:pt idx="3850">
                        <c:v>0</c:v>
                      </c:pt>
                      <c:pt idx="3851">
                        <c:v>0</c:v>
                      </c:pt>
                      <c:pt idx="3852">
                        <c:v>0</c:v>
                      </c:pt>
                      <c:pt idx="3853">
                        <c:v>0</c:v>
                      </c:pt>
                      <c:pt idx="3854">
                        <c:v>0</c:v>
                      </c:pt>
                      <c:pt idx="3855">
                        <c:v>0</c:v>
                      </c:pt>
                      <c:pt idx="3856">
                        <c:v>0</c:v>
                      </c:pt>
                      <c:pt idx="3857">
                        <c:v>0</c:v>
                      </c:pt>
                      <c:pt idx="3858">
                        <c:v>0</c:v>
                      </c:pt>
                      <c:pt idx="3859">
                        <c:v>0</c:v>
                      </c:pt>
                      <c:pt idx="3860">
                        <c:v>0</c:v>
                      </c:pt>
                      <c:pt idx="3861">
                        <c:v>0</c:v>
                      </c:pt>
                      <c:pt idx="3862">
                        <c:v>0</c:v>
                      </c:pt>
                      <c:pt idx="3863">
                        <c:v>0</c:v>
                      </c:pt>
                      <c:pt idx="3864">
                        <c:v>0</c:v>
                      </c:pt>
                      <c:pt idx="3865">
                        <c:v>0</c:v>
                      </c:pt>
                      <c:pt idx="3866">
                        <c:v>0</c:v>
                      </c:pt>
                      <c:pt idx="3867">
                        <c:v>0</c:v>
                      </c:pt>
                      <c:pt idx="3868">
                        <c:v>0</c:v>
                      </c:pt>
                      <c:pt idx="3869">
                        <c:v>0</c:v>
                      </c:pt>
                      <c:pt idx="3870">
                        <c:v>0</c:v>
                      </c:pt>
                      <c:pt idx="3871">
                        <c:v>0</c:v>
                      </c:pt>
                      <c:pt idx="3872">
                        <c:v>0</c:v>
                      </c:pt>
                      <c:pt idx="3873">
                        <c:v>0</c:v>
                      </c:pt>
                      <c:pt idx="3874">
                        <c:v>0</c:v>
                      </c:pt>
                      <c:pt idx="3875">
                        <c:v>0</c:v>
                      </c:pt>
                      <c:pt idx="3876">
                        <c:v>0</c:v>
                      </c:pt>
                      <c:pt idx="3877">
                        <c:v>0</c:v>
                      </c:pt>
                      <c:pt idx="3878">
                        <c:v>0</c:v>
                      </c:pt>
                      <c:pt idx="3879">
                        <c:v>0</c:v>
                      </c:pt>
                      <c:pt idx="3880">
                        <c:v>0</c:v>
                      </c:pt>
                      <c:pt idx="3881">
                        <c:v>0</c:v>
                      </c:pt>
                      <c:pt idx="3882">
                        <c:v>0</c:v>
                      </c:pt>
                      <c:pt idx="3883">
                        <c:v>0</c:v>
                      </c:pt>
                      <c:pt idx="3884">
                        <c:v>0</c:v>
                      </c:pt>
                      <c:pt idx="3885">
                        <c:v>0</c:v>
                      </c:pt>
                      <c:pt idx="3886">
                        <c:v>0</c:v>
                      </c:pt>
                      <c:pt idx="3887">
                        <c:v>0</c:v>
                      </c:pt>
                      <c:pt idx="3888">
                        <c:v>0</c:v>
                      </c:pt>
                      <c:pt idx="3889">
                        <c:v>0</c:v>
                      </c:pt>
                      <c:pt idx="3890">
                        <c:v>0</c:v>
                      </c:pt>
                      <c:pt idx="3891">
                        <c:v>0</c:v>
                      </c:pt>
                      <c:pt idx="3892">
                        <c:v>0</c:v>
                      </c:pt>
                      <c:pt idx="3893">
                        <c:v>0</c:v>
                      </c:pt>
                      <c:pt idx="3894">
                        <c:v>0</c:v>
                      </c:pt>
                      <c:pt idx="3895">
                        <c:v>0</c:v>
                      </c:pt>
                      <c:pt idx="3896">
                        <c:v>0</c:v>
                      </c:pt>
                      <c:pt idx="3897">
                        <c:v>0</c:v>
                      </c:pt>
                      <c:pt idx="3898">
                        <c:v>0</c:v>
                      </c:pt>
                      <c:pt idx="3899">
                        <c:v>0</c:v>
                      </c:pt>
                      <c:pt idx="3900">
                        <c:v>0</c:v>
                      </c:pt>
                      <c:pt idx="3901">
                        <c:v>0</c:v>
                      </c:pt>
                      <c:pt idx="3902">
                        <c:v>0</c:v>
                      </c:pt>
                      <c:pt idx="3903">
                        <c:v>0</c:v>
                      </c:pt>
                      <c:pt idx="3904">
                        <c:v>0</c:v>
                      </c:pt>
                      <c:pt idx="3905">
                        <c:v>0</c:v>
                      </c:pt>
                      <c:pt idx="3906">
                        <c:v>0</c:v>
                      </c:pt>
                      <c:pt idx="3907">
                        <c:v>0</c:v>
                      </c:pt>
                      <c:pt idx="3908">
                        <c:v>0</c:v>
                      </c:pt>
                      <c:pt idx="3909">
                        <c:v>0</c:v>
                      </c:pt>
                      <c:pt idx="3910">
                        <c:v>0</c:v>
                      </c:pt>
                      <c:pt idx="3911">
                        <c:v>0</c:v>
                      </c:pt>
                      <c:pt idx="3912">
                        <c:v>0</c:v>
                      </c:pt>
                      <c:pt idx="3913">
                        <c:v>0</c:v>
                      </c:pt>
                      <c:pt idx="3914">
                        <c:v>0</c:v>
                      </c:pt>
                      <c:pt idx="3915">
                        <c:v>0</c:v>
                      </c:pt>
                      <c:pt idx="3916">
                        <c:v>0</c:v>
                      </c:pt>
                      <c:pt idx="3917">
                        <c:v>0</c:v>
                      </c:pt>
                      <c:pt idx="3918">
                        <c:v>0</c:v>
                      </c:pt>
                      <c:pt idx="3919">
                        <c:v>0</c:v>
                      </c:pt>
                      <c:pt idx="3920">
                        <c:v>0</c:v>
                      </c:pt>
                      <c:pt idx="3921">
                        <c:v>0</c:v>
                      </c:pt>
                      <c:pt idx="3922">
                        <c:v>0</c:v>
                      </c:pt>
                      <c:pt idx="3923">
                        <c:v>0</c:v>
                      </c:pt>
                      <c:pt idx="3924">
                        <c:v>0</c:v>
                      </c:pt>
                      <c:pt idx="3925">
                        <c:v>0</c:v>
                      </c:pt>
                      <c:pt idx="3926">
                        <c:v>0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0</c:v>
                      </c:pt>
                      <c:pt idx="3931">
                        <c:v>0</c:v>
                      </c:pt>
                      <c:pt idx="3932">
                        <c:v>0</c:v>
                      </c:pt>
                      <c:pt idx="3933">
                        <c:v>0</c:v>
                      </c:pt>
                      <c:pt idx="3934">
                        <c:v>0</c:v>
                      </c:pt>
                      <c:pt idx="3935">
                        <c:v>0</c:v>
                      </c:pt>
                      <c:pt idx="3936">
                        <c:v>0</c:v>
                      </c:pt>
                      <c:pt idx="3937">
                        <c:v>0</c:v>
                      </c:pt>
                      <c:pt idx="3938">
                        <c:v>0</c:v>
                      </c:pt>
                      <c:pt idx="3939">
                        <c:v>0</c:v>
                      </c:pt>
                      <c:pt idx="3940">
                        <c:v>0</c:v>
                      </c:pt>
                      <c:pt idx="3941">
                        <c:v>0</c:v>
                      </c:pt>
                      <c:pt idx="3942">
                        <c:v>0</c:v>
                      </c:pt>
                      <c:pt idx="3943">
                        <c:v>0</c:v>
                      </c:pt>
                      <c:pt idx="3944">
                        <c:v>0</c:v>
                      </c:pt>
                      <c:pt idx="3945">
                        <c:v>0</c:v>
                      </c:pt>
                      <c:pt idx="3946">
                        <c:v>0</c:v>
                      </c:pt>
                      <c:pt idx="3947">
                        <c:v>0</c:v>
                      </c:pt>
                      <c:pt idx="3948">
                        <c:v>0</c:v>
                      </c:pt>
                      <c:pt idx="3949">
                        <c:v>0</c:v>
                      </c:pt>
                      <c:pt idx="3950">
                        <c:v>0</c:v>
                      </c:pt>
                      <c:pt idx="3951">
                        <c:v>0</c:v>
                      </c:pt>
                      <c:pt idx="3952">
                        <c:v>0</c:v>
                      </c:pt>
                      <c:pt idx="3953">
                        <c:v>0</c:v>
                      </c:pt>
                      <c:pt idx="3954">
                        <c:v>0</c:v>
                      </c:pt>
                      <c:pt idx="3955">
                        <c:v>0</c:v>
                      </c:pt>
                      <c:pt idx="3956">
                        <c:v>0</c:v>
                      </c:pt>
                      <c:pt idx="3957">
                        <c:v>0</c:v>
                      </c:pt>
                      <c:pt idx="3958">
                        <c:v>0</c:v>
                      </c:pt>
                      <c:pt idx="3959">
                        <c:v>0</c:v>
                      </c:pt>
                      <c:pt idx="3960">
                        <c:v>0</c:v>
                      </c:pt>
                      <c:pt idx="3961">
                        <c:v>0</c:v>
                      </c:pt>
                      <c:pt idx="3962">
                        <c:v>0</c:v>
                      </c:pt>
                      <c:pt idx="3963">
                        <c:v>0</c:v>
                      </c:pt>
                      <c:pt idx="3964">
                        <c:v>0</c:v>
                      </c:pt>
                      <c:pt idx="3965">
                        <c:v>0</c:v>
                      </c:pt>
                      <c:pt idx="3966">
                        <c:v>0</c:v>
                      </c:pt>
                      <c:pt idx="3967">
                        <c:v>0</c:v>
                      </c:pt>
                      <c:pt idx="3968">
                        <c:v>0</c:v>
                      </c:pt>
                      <c:pt idx="3969">
                        <c:v>0</c:v>
                      </c:pt>
                      <c:pt idx="3970">
                        <c:v>0</c:v>
                      </c:pt>
                      <c:pt idx="3971">
                        <c:v>0</c:v>
                      </c:pt>
                      <c:pt idx="3972">
                        <c:v>0</c:v>
                      </c:pt>
                      <c:pt idx="3973">
                        <c:v>0</c:v>
                      </c:pt>
                      <c:pt idx="3974">
                        <c:v>0</c:v>
                      </c:pt>
                      <c:pt idx="3975">
                        <c:v>0</c:v>
                      </c:pt>
                      <c:pt idx="3976">
                        <c:v>0</c:v>
                      </c:pt>
                      <c:pt idx="3977">
                        <c:v>0</c:v>
                      </c:pt>
                      <c:pt idx="3978">
                        <c:v>0</c:v>
                      </c:pt>
                      <c:pt idx="3979">
                        <c:v>0</c:v>
                      </c:pt>
                      <c:pt idx="3980">
                        <c:v>0</c:v>
                      </c:pt>
                      <c:pt idx="3981">
                        <c:v>0</c:v>
                      </c:pt>
                      <c:pt idx="3982">
                        <c:v>0</c:v>
                      </c:pt>
                      <c:pt idx="3983">
                        <c:v>0</c:v>
                      </c:pt>
                      <c:pt idx="3984">
                        <c:v>0</c:v>
                      </c:pt>
                      <c:pt idx="3985">
                        <c:v>0</c:v>
                      </c:pt>
                      <c:pt idx="3986">
                        <c:v>0</c:v>
                      </c:pt>
                      <c:pt idx="3987">
                        <c:v>0</c:v>
                      </c:pt>
                      <c:pt idx="3988">
                        <c:v>0</c:v>
                      </c:pt>
                      <c:pt idx="3989">
                        <c:v>0</c:v>
                      </c:pt>
                      <c:pt idx="3990">
                        <c:v>0</c:v>
                      </c:pt>
                      <c:pt idx="3991">
                        <c:v>0</c:v>
                      </c:pt>
                      <c:pt idx="3992">
                        <c:v>0</c:v>
                      </c:pt>
                      <c:pt idx="3993">
                        <c:v>0</c:v>
                      </c:pt>
                      <c:pt idx="3994">
                        <c:v>0</c:v>
                      </c:pt>
                      <c:pt idx="3995">
                        <c:v>0</c:v>
                      </c:pt>
                      <c:pt idx="3996">
                        <c:v>0</c:v>
                      </c:pt>
                      <c:pt idx="3997">
                        <c:v>0</c:v>
                      </c:pt>
                      <c:pt idx="3998">
                        <c:v>0</c:v>
                      </c:pt>
                      <c:pt idx="3999">
                        <c:v>0</c:v>
                      </c:pt>
                      <c:pt idx="4000">
                        <c:v>0</c:v>
                      </c:pt>
                      <c:pt idx="4001">
                        <c:v>0</c:v>
                      </c:pt>
                      <c:pt idx="4002">
                        <c:v>0</c:v>
                      </c:pt>
                      <c:pt idx="4003">
                        <c:v>0</c:v>
                      </c:pt>
                      <c:pt idx="4004">
                        <c:v>0</c:v>
                      </c:pt>
                      <c:pt idx="4005">
                        <c:v>0</c:v>
                      </c:pt>
                      <c:pt idx="4006">
                        <c:v>0</c:v>
                      </c:pt>
                      <c:pt idx="4007">
                        <c:v>0</c:v>
                      </c:pt>
                      <c:pt idx="4008">
                        <c:v>0</c:v>
                      </c:pt>
                      <c:pt idx="4009">
                        <c:v>0</c:v>
                      </c:pt>
                      <c:pt idx="4010">
                        <c:v>0</c:v>
                      </c:pt>
                      <c:pt idx="4011">
                        <c:v>0</c:v>
                      </c:pt>
                      <c:pt idx="4012">
                        <c:v>0</c:v>
                      </c:pt>
                      <c:pt idx="4013">
                        <c:v>0</c:v>
                      </c:pt>
                      <c:pt idx="4014">
                        <c:v>0</c:v>
                      </c:pt>
                      <c:pt idx="4015">
                        <c:v>0</c:v>
                      </c:pt>
                      <c:pt idx="4016">
                        <c:v>0</c:v>
                      </c:pt>
                      <c:pt idx="4017">
                        <c:v>0</c:v>
                      </c:pt>
                      <c:pt idx="4018">
                        <c:v>0</c:v>
                      </c:pt>
                      <c:pt idx="4019">
                        <c:v>0</c:v>
                      </c:pt>
                      <c:pt idx="4020">
                        <c:v>0</c:v>
                      </c:pt>
                      <c:pt idx="4021">
                        <c:v>0</c:v>
                      </c:pt>
                      <c:pt idx="4022">
                        <c:v>0</c:v>
                      </c:pt>
                      <c:pt idx="4023">
                        <c:v>0</c:v>
                      </c:pt>
                      <c:pt idx="4024">
                        <c:v>0</c:v>
                      </c:pt>
                      <c:pt idx="4025">
                        <c:v>0</c:v>
                      </c:pt>
                      <c:pt idx="4026">
                        <c:v>0</c:v>
                      </c:pt>
                      <c:pt idx="4027">
                        <c:v>0</c:v>
                      </c:pt>
                      <c:pt idx="4028">
                        <c:v>0</c:v>
                      </c:pt>
                      <c:pt idx="4029">
                        <c:v>0</c:v>
                      </c:pt>
                      <c:pt idx="4030">
                        <c:v>0</c:v>
                      </c:pt>
                      <c:pt idx="4031">
                        <c:v>0</c:v>
                      </c:pt>
                      <c:pt idx="4032">
                        <c:v>0</c:v>
                      </c:pt>
                      <c:pt idx="4033">
                        <c:v>0</c:v>
                      </c:pt>
                      <c:pt idx="4034">
                        <c:v>0</c:v>
                      </c:pt>
                      <c:pt idx="4035">
                        <c:v>0</c:v>
                      </c:pt>
                      <c:pt idx="4036">
                        <c:v>0</c:v>
                      </c:pt>
                      <c:pt idx="4037">
                        <c:v>0</c:v>
                      </c:pt>
                      <c:pt idx="4038">
                        <c:v>0</c:v>
                      </c:pt>
                      <c:pt idx="4039">
                        <c:v>0</c:v>
                      </c:pt>
                      <c:pt idx="4040">
                        <c:v>0</c:v>
                      </c:pt>
                      <c:pt idx="4041">
                        <c:v>0</c:v>
                      </c:pt>
                      <c:pt idx="4042">
                        <c:v>0</c:v>
                      </c:pt>
                      <c:pt idx="4043">
                        <c:v>0</c:v>
                      </c:pt>
                      <c:pt idx="4044">
                        <c:v>0</c:v>
                      </c:pt>
                      <c:pt idx="4045">
                        <c:v>0</c:v>
                      </c:pt>
                      <c:pt idx="4046">
                        <c:v>0</c:v>
                      </c:pt>
                      <c:pt idx="4047">
                        <c:v>0</c:v>
                      </c:pt>
                      <c:pt idx="4048">
                        <c:v>0</c:v>
                      </c:pt>
                      <c:pt idx="4049">
                        <c:v>0</c:v>
                      </c:pt>
                      <c:pt idx="4050">
                        <c:v>0</c:v>
                      </c:pt>
                      <c:pt idx="4051">
                        <c:v>0</c:v>
                      </c:pt>
                      <c:pt idx="4052">
                        <c:v>0</c:v>
                      </c:pt>
                      <c:pt idx="4053">
                        <c:v>0</c:v>
                      </c:pt>
                      <c:pt idx="4054">
                        <c:v>0</c:v>
                      </c:pt>
                      <c:pt idx="4055">
                        <c:v>0</c:v>
                      </c:pt>
                      <c:pt idx="4056">
                        <c:v>0</c:v>
                      </c:pt>
                      <c:pt idx="4057">
                        <c:v>0</c:v>
                      </c:pt>
                      <c:pt idx="4058">
                        <c:v>0</c:v>
                      </c:pt>
                      <c:pt idx="4059">
                        <c:v>0</c:v>
                      </c:pt>
                      <c:pt idx="4060">
                        <c:v>0</c:v>
                      </c:pt>
                      <c:pt idx="4061">
                        <c:v>0</c:v>
                      </c:pt>
                      <c:pt idx="4062">
                        <c:v>0</c:v>
                      </c:pt>
                      <c:pt idx="4063">
                        <c:v>0</c:v>
                      </c:pt>
                      <c:pt idx="4064">
                        <c:v>0</c:v>
                      </c:pt>
                      <c:pt idx="4065">
                        <c:v>0</c:v>
                      </c:pt>
                      <c:pt idx="4066">
                        <c:v>0</c:v>
                      </c:pt>
                      <c:pt idx="4067">
                        <c:v>0</c:v>
                      </c:pt>
                      <c:pt idx="4068">
                        <c:v>0</c:v>
                      </c:pt>
                      <c:pt idx="4069">
                        <c:v>0</c:v>
                      </c:pt>
                      <c:pt idx="4070">
                        <c:v>0</c:v>
                      </c:pt>
                      <c:pt idx="4071">
                        <c:v>0</c:v>
                      </c:pt>
                      <c:pt idx="4072">
                        <c:v>0</c:v>
                      </c:pt>
                      <c:pt idx="4073">
                        <c:v>0</c:v>
                      </c:pt>
                      <c:pt idx="4074">
                        <c:v>0</c:v>
                      </c:pt>
                      <c:pt idx="4075">
                        <c:v>0</c:v>
                      </c:pt>
                      <c:pt idx="4076">
                        <c:v>0</c:v>
                      </c:pt>
                      <c:pt idx="4077">
                        <c:v>0</c:v>
                      </c:pt>
                      <c:pt idx="4078">
                        <c:v>0</c:v>
                      </c:pt>
                      <c:pt idx="4079">
                        <c:v>0</c:v>
                      </c:pt>
                      <c:pt idx="4080">
                        <c:v>0</c:v>
                      </c:pt>
                      <c:pt idx="4081">
                        <c:v>0</c:v>
                      </c:pt>
                      <c:pt idx="4082">
                        <c:v>0</c:v>
                      </c:pt>
                      <c:pt idx="4083">
                        <c:v>0</c:v>
                      </c:pt>
                      <c:pt idx="4084">
                        <c:v>0</c:v>
                      </c:pt>
                      <c:pt idx="4085">
                        <c:v>0</c:v>
                      </c:pt>
                      <c:pt idx="4086">
                        <c:v>0</c:v>
                      </c:pt>
                      <c:pt idx="4087">
                        <c:v>0</c:v>
                      </c:pt>
                      <c:pt idx="4088">
                        <c:v>0</c:v>
                      </c:pt>
                      <c:pt idx="4089">
                        <c:v>0</c:v>
                      </c:pt>
                      <c:pt idx="4090">
                        <c:v>0</c:v>
                      </c:pt>
                      <c:pt idx="4091">
                        <c:v>0</c:v>
                      </c:pt>
                      <c:pt idx="4092">
                        <c:v>0</c:v>
                      </c:pt>
                      <c:pt idx="4093">
                        <c:v>0</c:v>
                      </c:pt>
                      <c:pt idx="4094">
                        <c:v>0</c:v>
                      </c:pt>
                      <c:pt idx="4095">
                        <c:v>0</c:v>
                      </c:pt>
                      <c:pt idx="4096">
                        <c:v>0</c:v>
                      </c:pt>
                      <c:pt idx="4097">
                        <c:v>0</c:v>
                      </c:pt>
                      <c:pt idx="4098">
                        <c:v>0</c:v>
                      </c:pt>
                      <c:pt idx="4099">
                        <c:v>0</c:v>
                      </c:pt>
                      <c:pt idx="4100">
                        <c:v>0</c:v>
                      </c:pt>
                      <c:pt idx="4101">
                        <c:v>0</c:v>
                      </c:pt>
                      <c:pt idx="4102">
                        <c:v>0</c:v>
                      </c:pt>
                      <c:pt idx="4103">
                        <c:v>0</c:v>
                      </c:pt>
                      <c:pt idx="4104">
                        <c:v>0</c:v>
                      </c:pt>
                      <c:pt idx="4105">
                        <c:v>0</c:v>
                      </c:pt>
                      <c:pt idx="4106">
                        <c:v>0</c:v>
                      </c:pt>
                      <c:pt idx="4107">
                        <c:v>0</c:v>
                      </c:pt>
                      <c:pt idx="4108">
                        <c:v>0</c:v>
                      </c:pt>
                      <c:pt idx="4109">
                        <c:v>0</c:v>
                      </c:pt>
                      <c:pt idx="4110">
                        <c:v>0</c:v>
                      </c:pt>
                      <c:pt idx="4111">
                        <c:v>0</c:v>
                      </c:pt>
                      <c:pt idx="4112">
                        <c:v>0</c:v>
                      </c:pt>
                      <c:pt idx="4113">
                        <c:v>0</c:v>
                      </c:pt>
                      <c:pt idx="4114">
                        <c:v>0</c:v>
                      </c:pt>
                      <c:pt idx="4115">
                        <c:v>0</c:v>
                      </c:pt>
                      <c:pt idx="4116">
                        <c:v>0</c:v>
                      </c:pt>
                      <c:pt idx="4117">
                        <c:v>0</c:v>
                      </c:pt>
                      <c:pt idx="4118">
                        <c:v>0</c:v>
                      </c:pt>
                      <c:pt idx="4119">
                        <c:v>0</c:v>
                      </c:pt>
                      <c:pt idx="4120">
                        <c:v>0</c:v>
                      </c:pt>
                      <c:pt idx="4121">
                        <c:v>0</c:v>
                      </c:pt>
                      <c:pt idx="4122">
                        <c:v>0</c:v>
                      </c:pt>
                      <c:pt idx="4123">
                        <c:v>0</c:v>
                      </c:pt>
                      <c:pt idx="4124">
                        <c:v>0</c:v>
                      </c:pt>
                      <c:pt idx="4125">
                        <c:v>0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0</c:v>
                      </c:pt>
                      <c:pt idx="4132">
                        <c:v>0</c:v>
                      </c:pt>
                      <c:pt idx="4133">
                        <c:v>0</c:v>
                      </c:pt>
                      <c:pt idx="4134">
                        <c:v>0</c:v>
                      </c:pt>
                      <c:pt idx="4135">
                        <c:v>0</c:v>
                      </c:pt>
                      <c:pt idx="4136">
                        <c:v>0</c:v>
                      </c:pt>
                      <c:pt idx="4137">
                        <c:v>0</c:v>
                      </c:pt>
                      <c:pt idx="4138">
                        <c:v>0</c:v>
                      </c:pt>
                      <c:pt idx="4139">
                        <c:v>0</c:v>
                      </c:pt>
                      <c:pt idx="4140">
                        <c:v>0</c:v>
                      </c:pt>
                      <c:pt idx="4141">
                        <c:v>0</c:v>
                      </c:pt>
                      <c:pt idx="4142">
                        <c:v>0</c:v>
                      </c:pt>
                      <c:pt idx="4143">
                        <c:v>0</c:v>
                      </c:pt>
                      <c:pt idx="4144">
                        <c:v>0</c:v>
                      </c:pt>
                      <c:pt idx="4145">
                        <c:v>0</c:v>
                      </c:pt>
                      <c:pt idx="4146">
                        <c:v>0</c:v>
                      </c:pt>
                      <c:pt idx="4147">
                        <c:v>0</c:v>
                      </c:pt>
                      <c:pt idx="4148">
                        <c:v>0</c:v>
                      </c:pt>
                      <c:pt idx="4149">
                        <c:v>0</c:v>
                      </c:pt>
                      <c:pt idx="4150">
                        <c:v>0</c:v>
                      </c:pt>
                      <c:pt idx="4151">
                        <c:v>0</c:v>
                      </c:pt>
                      <c:pt idx="4152">
                        <c:v>0</c:v>
                      </c:pt>
                      <c:pt idx="4153">
                        <c:v>0</c:v>
                      </c:pt>
                      <c:pt idx="4154">
                        <c:v>0</c:v>
                      </c:pt>
                      <c:pt idx="4155">
                        <c:v>0</c:v>
                      </c:pt>
                      <c:pt idx="4156">
                        <c:v>0</c:v>
                      </c:pt>
                      <c:pt idx="4157">
                        <c:v>0</c:v>
                      </c:pt>
                      <c:pt idx="4158">
                        <c:v>0</c:v>
                      </c:pt>
                      <c:pt idx="4159">
                        <c:v>0</c:v>
                      </c:pt>
                      <c:pt idx="4160">
                        <c:v>0</c:v>
                      </c:pt>
                      <c:pt idx="4161">
                        <c:v>0</c:v>
                      </c:pt>
                      <c:pt idx="4162">
                        <c:v>0</c:v>
                      </c:pt>
                      <c:pt idx="4163">
                        <c:v>0</c:v>
                      </c:pt>
                      <c:pt idx="4164">
                        <c:v>0</c:v>
                      </c:pt>
                      <c:pt idx="4165">
                        <c:v>0</c:v>
                      </c:pt>
                      <c:pt idx="4166">
                        <c:v>0</c:v>
                      </c:pt>
                      <c:pt idx="4167">
                        <c:v>0</c:v>
                      </c:pt>
                      <c:pt idx="4168">
                        <c:v>0</c:v>
                      </c:pt>
                      <c:pt idx="4169">
                        <c:v>0</c:v>
                      </c:pt>
                      <c:pt idx="4170">
                        <c:v>0</c:v>
                      </c:pt>
                      <c:pt idx="4171">
                        <c:v>0</c:v>
                      </c:pt>
                      <c:pt idx="4172">
                        <c:v>0</c:v>
                      </c:pt>
                      <c:pt idx="4173">
                        <c:v>0</c:v>
                      </c:pt>
                      <c:pt idx="4174">
                        <c:v>0</c:v>
                      </c:pt>
                      <c:pt idx="4175">
                        <c:v>0</c:v>
                      </c:pt>
                      <c:pt idx="4176">
                        <c:v>0</c:v>
                      </c:pt>
                      <c:pt idx="4177">
                        <c:v>0</c:v>
                      </c:pt>
                      <c:pt idx="4178">
                        <c:v>0</c:v>
                      </c:pt>
                      <c:pt idx="4179">
                        <c:v>0</c:v>
                      </c:pt>
                      <c:pt idx="4180">
                        <c:v>0</c:v>
                      </c:pt>
                      <c:pt idx="4181">
                        <c:v>0</c:v>
                      </c:pt>
                      <c:pt idx="4182">
                        <c:v>0</c:v>
                      </c:pt>
                      <c:pt idx="4183">
                        <c:v>0</c:v>
                      </c:pt>
                      <c:pt idx="4184">
                        <c:v>0</c:v>
                      </c:pt>
                      <c:pt idx="4185">
                        <c:v>0</c:v>
                      </c:pt>
                      <c:pt idx="4186">
                        <c:v>0</c:v>
                      </c:pt>
                      <c:pt idx="4187">
                        <c:v>0</c:v>
                      </c:pt>
                      <c:pt idx="4188">
                        <c:v>0</c:v>
                      </c:pt>
                      <c:pt idx="4189">
                        <c:v>0</c:v>
                      </c:pt>
                      <c:pt idx="4190">
                        <c:v>0</c:v>
                      </c:pt>
                      <c:pt idx="4191">
                        <c:v>0</c:v>
                      </c:pt>
                      <c:pt idx="4192">
                        <c:v>0</c:v>
                      </c:pt>
                      <c:pt idx="4193">
                        <c:v>0</c:v>
                      </c:pt>
                      <c:pt idx="4194">
                        <c:v>0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</c:v>
                      </c:pt>
                      <c:pt idx="4203">
                        <c:v>0</c:v>
                      </c:pt>
                      <c:pt idx="4204">
                        <c:v>0</c:v>
                      </c:pt>
                      <c:pt idx="4205">
                        <c:v>0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0</c:v>
                      </c:pt>
                      <c:pt idx="5193">
                        <c:v>0</c:v>
                      </c:pt>
                      <c:pt idx="5194">
                        <c:v>0</c:v>
                      </c:pt>
                      <c:pt idx="5195">
                        <c:v>0</c:v>
                      </c:pt>
                      <c:pt idx="5196">
                        <c:v>0</c:v>
                      </c:pt>
                      <c:pt idx="5197">
                        <c:v>0</c:v>
                      </c:pt>
                      <c:pt idx="5198">
                        <c:v>0</c:v>
                      </c:pt>
                      <c:pt idx="5199">
                        <c:v>0</c:v>
                      </c:pt>
                      <c:pt idx="5200">
                        <c:v>0</c:v>
                      </c:pt>
                      <c:pt idx="5201">
                        <c:v>0</c:v>
                      </c:pt>
                      <c:pt idx="5202">
                        <c:v>0</c:v>
                      </c:pt>
                      <c:pt idx="5203">
                        <c:v>0</c:v>
                      </c:pt>
                      <c:pt idx="5204">
                        <c:v>0</c:v>
                      </c:pt>
                      <c:pt idx="5205">
                        <c:v>0</c:v>
                      </c:pt>
                      <c:pt idx="5206">
                        <c:v>0</c:v>
                      </c:pt>
                      <c:pt idx="5207">
                        <c:v>0</c:v>
                      </c:pt>
                      <c:pt idx="5208">
                        <c:v>0</c:v>
                      </c:pt>
                      <c:pt idx="5209">
                        <c:v>0</c:v>
                      </c:pt>
                      <c:pt idx="5210">
                        <c:v>0</c:v>
                      </c:pt>
                      <c:pt idx="5211">
                        <c:v>0</c:v>
                      </c:pt>
                      <c:pt idx="5212">
                        <c:v>0</c:v>
                      </c:pt>
                      <c:pt idx="5213">
                        <c:v>0</c:v>
                      </c:pt>
                      <c:pt idx="5214">
                        <c:v>0</c:v>
                      </c:pt>
                      <c:pt idx="5215">
                        <c:v>0</c:v>
                      </c:pt>
                      <c:pt idx="5216">
                        <c:v>0</c:v>
                      </c:pt>
                      <c:pt idx="5217">
                        <c:v>0</c:v>
                      </c:pt>
                      <c:pt idx="5218">
                        <c:v>0</c:v>
                      </c:pt>
                      <c:pt idx="5219">
                        <c:v>0</c:v>
                      </c:pt>
                      <c:pt idx="5220">
                        <c:v>0</c:v>
                      </c:pt>
                      <c:pt idx="5221">
                        <c:v>0</c:v>
                      </c:pt>
                      <c:pt idx="5222">
                        <c:v>0</c:v>
                      </c:pt>
                      <c:pt idx="5223">
                        <c:v>0</c:v>
                      </c:pt>
                      <c:pt idx="5224">
                        <c:v>0</c:v>
                      </c:pt>
                      <c:pt idx="5225">
                        <c:v>0</c:v>
                      </c:pt>
                      <c:pt idx="5226">
                        <c:v>0</c:v>
                      </c:pt>
                      <c:pt idx="5227">
                        <c:v>0</c:v>
                      </c:pt>
                      <c:pt idx="5228">
                        <c:v>0</c:v>
                      </c:pt>
                      <c:pt idx="5229">
                        <c:v>0</c:v>
                      </c:pt>
                      <c:pt idx="5230">
                        <c:v>0</c:v>
                      </c:pt>
                      <c:pt idx="5231">
                        <c:v>0</c:v>
                      </c:pt>
                      <c:pt idx="5232">
                        <c:v>0</c:v>
                      </c:pt>
                      <c:pt idx="5233">
                        <c:v>0</c:v>
                      </c:pt>
                      <c:pt idx="5234">
                        <c:v>0</c:v>
                      </c:pt>
                      <c:pt idx="5235">
                        <c:v>0</c:v>
                      </c:pt>
                      <c:pt idx="5236">
                        <c:v>0</c:v>
                      </c:pt>
                      <c:pt idx="5237">
                        <c:v>0</c:v>
                      </c:pt>
                      <c:pt idx="5238">
                        <c:v>0</c:v>
                      </c:pt>
                      <c:pt idx="5239">
                        <c:v>0</c:v>
                      </c:pt>
                      <c:pt idx="5240">
                        <c:v>0</c:v>
                      </c:pt>
                      <c:pt idx="5241">
                        <c:v>0</c:v>
                      </c:pt>
                      <c:pt idx="5242">
                        <c:v>0</c:v>
                      </c:pt>
                      <c:pt idx="5243">
                        <c:v>0</c:v>
                      </c:pt>
                      <c:pt idx="5244">
                        <c:v>0</c:v>
                      </c:pt>
                      <c:pt idx="5245">
                        <c:v>0</c:v>
                      </c:pt>
                      <c:pt idx="5246">
                        <c:v>0</c:v>
                      </c:pt>
                      <c:pt idx="5247">
                        <c:v>0</c:v>
                      </c:pt>
                      <c:pt idx="5248">
                        <c:v>0</c:v>
                      </c:pt>
                      <c:pt idx="5249">
                        <c:v>0</c:v>
                      </c:pt>
                      <c:pt idx="5250">
                        <c:v>0</c:v>
                      </c:pt>
                      <c:pt idx="5251">
                        <c:v>0</c:v>
                      </c:pt>
                      <c:pt idx="5252">
                        <c:v>0</c:v>
                      </c:pt>
                      <c:pt idx="5253">
                        <c:v>0</c:v>
                      </c:pt>
                      <c:pt idx="5254">
                        <c:v>0</c:v>
                      </c:pt>
                      <c:pt idx="5255">
                        <c:v>0</c:v>
                      </c:pt>
                      <c:pt idx="5256">
                        <c:v>0</c:v>
                      </c:pt>
                      <c:pt idx="5257">
                        <c:v>0</c:v>
                      </c:pt>
                      <c:pt idx="5258">
                        <c:v>0</c:v>
                      </c:pt>
                      <c:pt idx="5259">
                        <c:v>0</c:v>
                      </c:pt>
                      <c:pt idx="5260">
                        <c:v>0</c:v>
                      </c:pt>
                      <c:pt idx="5261">
                        <c:v>0</c:v>
                      </c:pt>
                      <c:pt idx="5262">
                        <c:v>0</c:v>
                      </c:pt>
                      <c:pt idx="5263">
                        <c:v>0</c:v>
                      </c:pt>
                      <c:pt idx="5264">
                        <c:v>0</c:v>
                      </c:pt>
                      <c:pt idx="5265">
                        <c:v>0</c:v>
                      </c:pt>
                      <c:pt idx="5266">
                        <c:v>0</c:v>
                      </c:pt>
                      <c:pt idx="5267">
                        <c:v>0</c:v>
                      </c:pt>
                      <c:pt idx="5268">
                        <c:v>0</c:v>
                      </c:pt>
                      <c:pt idx="5269">
                        <c:v>0</c:v>
                      </c:pt>
                      <c:pt idx="5270">
                        <c:v>0</c:v>
                      </c:pt>
                      <c:pt idx="5271">
                        <c:v>0</c:v>
                      </c:pt>
                      <c:pt idx="5272">
                        <c:v>0</c:v>
                      </c:pt>
                      <c:pt idx="5273">
                        <c:v>0</c:v>
                      </c:pt>
                      <c:pt idx="5274">
                        <c:v>0</c:v>
                      </c:pt>
                      <c:pt idx="5275">
                        <c:v>0</c:v>
                      </c:pt>
                      <c:pt idx="5276">
                        <c:v>0</c:v>
                      </c:pt>
                      <c:pt idx="5277">
                        <c:v>0</c:v>
                      </c:pt>
                      <c:pt idx="5278">
                        <c:v>0</c:v>
                      </c:pt>
                      <c:pt idx="5279">
                        <c:v>0</c:v>
                      </c:pt>
                      <c:pt idx="5280">
                        <c:v>0</c:v>
                      </c:pt>
                      <c:pt idx="5281">
                        <c:v>0</c:v>
                      </c:pt>
                      <c:pt idx="5282">
                        <c:v>0</c:v>
                      </c:pt>
                      <c:pt idx="5283">
                        <c:v>0</c:v>
                      </c:pt>
                      <c:pt idx="5284">
                        <c:v>0</c:v>
                      </c:pt>
                      <c:pt idx="5285">
                        <c:v>0</c:v>
                      </c:pt>
                      <c:pt idx="5286">
                        <c:v>0</c:v>
                      </c:pt>
                      <c:pt idx="5287">
                        <c:v>0</c:v>
                      </c:pt>
                      <c:pt idx="5288">
                        <c:v>0</c:v>
                      </c:pt>
                      <c:pt idx="5289">
                        <c:v>0</c:v>
                      </c:pt>
                      <c:pt idx="5290">
                        <c:v>0</c:v>
                      </c:pt>
                      <c:pt idx="5291">
                        <c:v>0</c:v>
                      </c:pt>
                      <c:pt idx="5292">
                        <c:v>0</c:v>
                      </c:pt>
                      <c:pt idx="5293">
                        <c:v>0</c:v>
                      </c:pt>
                      <c:pt idx="5294">
                        <c:v>0</c:v>
                      </c:pt>
                      <c:pt idx="5295">
                        <c:v>0</c:v>
                      </c:pt>
                      <c:pt idx="5296">
                        <c:v>0</c:v>
                      </c:pt>
                      <c:pt idx="5297">
                        <c:v>0</c:v>
                      </c:pt>
                      <c:pt idx="5298">
                        <c:v>0</c:v>
                      </c:pt>
                      <c:pt idx="5299">
                        <c:v>0</c:v>
                      </c:pt>
                      <c:pt idx="5300">
                        <c:v>0</c:v>
                      </c:pt>
                      <c:pt idx="5301">
                        <c:v>0</c:v>
                      </c:pt>
                      <c:pt idx="5302">
                        <c:v>0</c:v>
                      </c:pt>
                      <c:pt idx="5303">
                        <c:v>0</c:v>
                      </c:pt>
                      <c:pt idx="5304">
                        <c:v>0</c:v>
                      </c:pt>
                      <c:pt idx="5305">
                        <c:v>0</c:v>
                      </c:pt>
                      <c:pt idx="5306">
                        <c:v>0</c:v>
                      </c:pt>
                      <c:pt idx="5307">
                        <c:v>0</c:v>
                      </c:pt>
                      <c:pt idx="5308">
                        <c:v>0</c:v>
                      </c:pt>
                      <c:pt idx="5309">
                        <c:v>0</c:v>
                      </c:pt>
                      <c:pt idx="5310">
                        <c:v>0</c:v>
                      </c:pt>
                      <c:pt idx="5311">
                        <c:v>0</c:v>
                      </c:pt>
                      <c:pt idx="5312">
                        <c:v>0</c:v>
                      </c:pt>
                      <c:pt idx="5313">
                        <c:v>0</c:v>
                      </c:pt>
                      <c:pt idx="5314">
                        <c:v>0</c:v>
                      </c:pt>
                      <c:pt idx="5315">
                        <c:v>0</c:v>
                      </c:pt>
                      <c:pt idx="5316">
                        <c:v>0</c:v>
                      </c:pt>
                      <c:pt idx="5317">
                        <c:v>0</c:v>
                      </c:pt>
                      <c:pt idx="5318">
                        <c:v>0</c:v>
                      </c:pt>
                      <c:pt idx="5319">
                        <c:v>0</c:v>
                      </c:pt>
                      <c:pt idx="5320">
                        <c:v>0</c:v>
                      </c:pt>
                      <c:pt idx="5321">
                        <c:v>0</c:v>
                      </c:pt>
                      <c:pt idx="5322">
                        <c:v>0</c:v>
                      </c:pt>
                      <c:pt idx="5323">
                        <c:v>0</c:v>
                      </c:pt>
                      <c:pt idx="5324">
                        <c:v>0</c:v>
                      </c:pt>
                      <c:pt idx="5325">
                        <c:v>0</c:v>
                      </c:pt>
                      <c:pt idx="5326">
                        <c:v>0</c:v>
                      </c:pt>
                      <c:pt idx="5327">
                        <c:v>0</c:v>
                      </c:pt>
                      <c:pt idx="5328">
                        <c:v>0</c:v>
                      </c:pt>
                      <c:pt idx="5329">
                        <c:v>0</c:v>
                      </c:pt>
                      <c:pt idx="5330">
                        <c:v>0</c:v>
                      </c:pt>
                      <c:pt idx="5331">
                        <c:v>0</c:v>
                      </c:pt>
                      <c:pt idx="5332">
                        <c:v>0</c:v>
                      </c:pt>
                      <c:pt idx="5333">
                        <c:v>0</c:v>
                      </c:pt>
                      <c:pt idx="5334">
                        <c:v>0</c:v>
                      </c:pt>
                      <c:pt idx="5335">
                        <c:v>0</c:v>
                      </c:pt>
                      <c:pt idx="5336">
                        <c:v>0</c:v>
                      </c:pt>
                      <c:pt idx="5337">
                        <c:v>0</c:v>
                      </c:pt>
                      <c:pt idx="5338">
                        <c:v>0</c:v>
                      </c:pt>
                      <c:pt idx="5339">
                        <c:v>0</c:v>
                      </c:pt>
                      <c:pt idx="5340">
                        <c:v>0</c:v>
                      </c:pt>
                      <c:pt idx="5341">
                        <c:v>0</c:v>
                      </c:pt>
                      <c:pt idx="5342">
                        <c:v>0</c:v>
                      </c:pt>
                      <c:pt idx="5343">
                        <c:v>0</c:v>
                      </c:pt>
                      <c:pt idx="5344">
                        <c:v>0</c:v>
                      </c:pt>
                      <c:pt idx="5345">
                        <c:v>0</c:v>
                      </c:pt>
                      <c:pt idx="5346">
                        <c:v>0</c:v>
                      </c:pt>
                      <c:pt idx="5347">
                        <c:v>0</c:v>
                      </c:pt>
                      <c:pt idx="5348">
                        <c:v>0</c:v>
                      </c:pt>
                      <c:pt idx="5349">
                        <c:v>0</c:v>
                      </c:pt>
                      <c:pt idx="5350">
                        <c:v>0</c:v>
                      </c:pt>
                      <c:pt idx="5351">
                        <c:v>0</c:v>
                      </c:pt>
                      <c:pt idx="5352">
                        <c:v>0</c:v>
                      </c:pt>
                      <c:pt idx="5353">
                        <c:v>0</c:v>
                      </c:pt>
                      <c:pt idx="5354">
                        <c:v>0</c:v>
                      </c:pt>
                      <c:pt idx="5355">
                        <c:v>0</c:v>
                      </c:pt>
                      <c:pt idx="5356">
                        <c:v>0</c:v>
                      </c:pt>
                      <c:pt idx="5357">
                        <c:v>0</c:v>
                      </c:pt>
                      <c:pt idx="5358">
                        <c:v>0</c:v>
                      </c:pt>
                      <c:pt idx="5359">
                        <c:v>0</c:v>
                      </c:pt>
                      <c:pt idx="5360">
                        <c:v>0</c:v>
                      </c:pt>
                      <c:pt idx="5361">
                        <c:v>0</c:v>
                      </c:pt>
                      <c:pt idx="5362">
                        <c:v>0</c:v>
                      </c:pt>
                      <c:pt idx="5363">
                        <c:v>0</c:v>
                      </c:pt>
                      <c:pt idx="5364">
                        <c:v>0</c:v>
                      </c:pt>
                      <c:pt idx="5365">
                        <c:v>0</c:v>
                      </c:pt>
                      <c:pt idx="5366">
                        <c:v>0</c:v>
                      </c:pt>
                      <c:pt idx="5367">
                        <c:v>0</c:v>
                      </c:pt>
                      <c:pt idx="5368">
                        <c:v>0</c:v>
                      </c:pt>
                      <c:pt idx="5369">
                        <c:v>0</c:v>
                      </c:pt>
                      <c:pt idx="5370">
                        <c:v>0</c:v>
                      </c:pt>
                      <c:pt idx="5371">
                        <c:v>0</c:v>
                      </c:pt>
                      <c:pt idx="5372">
                        <c:v>0</c:v>
                      </c:pt>
                      <c:pt idx="5373">
                        <c:v>0</c:v>
                      </c:pt>
                      <c:pt idx="5374">
                        <c:v>0</c:v>
                      </c:pt>
                      <c:pt idx="5375">
                        <c:v>0</c:v>
                      </c:pt>
                      <c:pt idx="5376">
                        <c:v>0</c:v>
                      </c:pt>
                      <c:pt idx="5377">
                        <c:v>0</c:v>
                      </c:pt>
                      <c:pt idx="5378">
                        <c:v>0</c:v>
                      </c:pt>
                      <c:pt idx="5379">
                        <c:v>0</c:v>
                      </c:pt>
                      <c:pt idx="5380">
                        <c:v>0</c:v>
                      </c:pt>
                      <c:pt idx="5381">
                        <c:v>0</c:v>
                      </c:pt>
                      <c:pt idx="5382">
                        <c:v>0</c:v>
                      </c:pt>
                      <c:pt idx="5383">
                        <c:v>0</c:v>
                      </c:pt>
                      <c:pt idx="5384">
                        <c:v>0</c:v>
                      </c:pt>
                      <c:pt idx="5385">
                        <c:v>0</c:v>
                      </c:pt>
                      <c:pt idx="5386">
                        <c:v>0</c:v>
                      </c:pt>
                      <c:pt idx="5387">
                        <c:v>0</c:v>
                      </c:pt>
                      <c:pt idx="5388">
                        <c:v>0</c:v>
                      </c:pt>
                      <c:pt idx="5389">
                        <c:v>0</c:v>
                      </c:pt>
                      <c:pt idx="5390">
                        <c:v>0</c:v>
                      </c:pt>
                      <c:pt idx="5391">
                        <c:v>0</c:v>
                      </c:pt>
                      <c:pt idx="5392">
                        <c:v>0</c:v>
                      </c:pt>
                      <c:pt idx="5393">
                        <c:v>0</c:v>
                      </c:pt>
                      <c:pt idx="5394">
                        <c:v>0</c:v>
                      </c:pt>
                      <c:pt idx="5395">
                        <c:v>0</c:v>
                      </c:pt>
                      <c:pt idx="5396">
                        <c:v>0</c:v>
                      </c:pt>
                      <c:pt idx="5397">
                        <c:v>0</c:v>
                      </c:pt>
                      <c:pt idx="5398">
                        <c:v>0</c:v>
                      </c:pt>
                      <c:pt idx="5399">
                        <c:v>0</c:v>
                      </c:pt>
                      <c:pt idx="5400">
                        <c:v>0</c:v>
                      </c:pt>
                      <c:pt idx="5401">
                        <c:v>0</c:v>
                      </c:pt>
                      <c:pt idx="5402">
                        <c:v>0</c:v>
                      </c:pt>
                      <c:pt idx="5403">
                        <c:v>0</c:v>
                      </c:pt>
                      <c:pt idx="5404">
                        <c:v>0</c:v>
                      </c:pt>
                      <c:pt idx="5405">
                        <c:v>0</c:v>
                      </c:pt>
                      <c:pt idx="5406">
                        <c:v>0</c:v>
                      </c:pt>
                      <c:pt idx="5407">
                        <c:v>0</c:v>
                      </c:pt>
                      <c:pt idx="5408">
                        <c:v>0</c:v>
                      </c:pt>
                      <c:pt idx="5409">
                        <c:v>0</c:v>
                      </c:pt>
                      <c:pt idx="5410">
                        <c:v>0</c:v>
                      </c:pt>
                      <c:pt idx="5411">
                        <c:v>0</c:v>
                      </c:pt>
                      <c:pt idx="5412">
                        <c:v>0</c:v>
                      </c:pt>
                      <c:pt idx="5413">
                        <c:v>0</c:v>
                      </c:pt>
                      <c:pt idx="5414">
                        <c:v>0</c:v>
                      </c:pt>
                      <c:pt idx="5415">
                        <c:v>0</c:v>
                      </c:pt>
                      <c:pt idx="5416">
                        <c:v>0</c:v>
                      </c:pt>
                      <c:pt idx="5417">
                        <c:v>0</c:v>
                      </c:pt>
                      <c:pt idx="5418">
                        <c:v>0</c:v>
                      </c:pt>
                      <c:pt idx="5419">
                        <c:v>0</c:v>
                      </c:pt>
                      <c:pt idx="5420">
                        <c:v>0</c:v>
                      </c:pt>
                      <c:pt idx="5421">
                        <c:v>0</c:v>
                      </c:pt>
                      <c:pt idx="5422">
                        <c:v>0</c:v>
                      </c:pt>
                      <c:pt idx="5423">
                        <c:v>0</c:v>
                      </c:pt>
                      <c:pt idx="5424">
                        <c:v>0</c:v>
                      </c:pt>
                      <c:pt idx="5425">
                        <c:v>0</c:v>
                      </c:pt>
                      <c:pt idx="5426">
                        <c:v>0</c:v>
                      </c:pt>
                      <c:pt idx="5427">
                        <c:v>0</c:v>
                      </c:pt>
                      <c:pt idx="5428">
                        <c:v>0</c:v>
                      </c:pt>
                      <c:pt idx="5429">
                        <c:v>0</c:v>
                      </c:pt>
                      <c:pt idx="5430">
                        <c:v>0</c:v>
                      </c:pt>
                      <c:pt idx="5431">
                        <c:v>0</c:v>
                      </c:pt>
                      <c:pt idx="5432">
                        <c:v>0</c:v>
                      </c:pt>
                      <c:pt idx="5433">
                        <c:v>0</c:v>
                      </c:pt>
                      <c:pt idx="5434">
                        <c:v>0</c:v>
                      </c:pt>
                      <c:pt idx="5435">
                        <c:v>0</c:v>
                      </c:pt>
                      <c:pt idx="5436">
                        <c:v>0</c:v>
                      </c:pt>
                      <c:pt idx="5437">
                        <c:v>0</c:v>
                      </c:pt>
                      <c:pt idx="5438">
                        <c:v>0</c:v>
                      </c:pt>
                      <c:pt idx="5439">
                        <c:v>0</c:v>
                      </c:pt>
                      <c:pt idx="5440">
                        <c:v>0</c:v>
                      </c:pt>
                      <c:pt idx="5441">
                        <c:v>0</c:v>
                      </c:pt>
                      <c:pt idx="5442">
                        <c:v>0</c:v>
                      </c:pt>
                      <c:pt idx="5443">
                        <c:v>0</c:v>
                      </c:pt>
                      <c:pt idx="5444">
                        <c:v>0</c:v>
                      </c:pt>
                      <c:pt idx="5445">
                        <c:v>0</c:v>
                      </c:pt>
                      <c:pt idx="5446">
                        <c:v>0</c:v>
                      </c:pt>
                      <c:pt idx="5447">
                        <c:v>0</c:v>
                      </c:pt>
                      <c:pt idx="5448">
                        <c:v>0</c:v>
                      </c:pt>
                      <c:pt idx="5449">
                        <c:v>0</c:v>
                      </c:pt>
                      <c:pt idx="5450">
                        <c:v>0</c:v>
                      </c:pt>
                      <c:pt idx="5451">
                        <c:v>0</c:v>
                      </c:pt>
                      <c:pt idx="5452">
                        <c:v>0</c:v>
                      </c:pt>
                      <c:pt idx="5453">
                        <c:v>0</c:v>
                      </c:pt>
                      <c:pt idx="5454">
                        <c:v>0</c:v>
                      </c:pt>
                      <c:pt idx="5455">
                        <c:v>0</c:v>
                      </c:pt>
                      <c:pt idx="5456">
                        <c:v>0</c:v>
                      </c:pt>
                      <c:pt idx="5457">
                        <c:v>0</c:v>
                      </c:pt>
                      <c:pt idx="5458">
                        <c:v>0</c:v>
                      </c:pt>
                      <c:pt idx="5459">
                        <c:v>0</c:v>
                      </c:pt>
                      <c:pt idx="5460">
                        <c:v>0</c:v>
                      </c:pt>
                      <c:pt idx="5461">
                        <c:v>0</c:v>
                      </c:pt>
                      <c:pt idx="5462">
                        <c:v>0</c:v>
                      </c:pt>
                      <c:pt idx="5463">
                        <c:v>0</c:v>
                      </c:pt>
                      <c:pt idx="5464">
                        <c:v>0</c:v>
                      </c:pt>
                      <c:pt idx="5465">
                        <c:v>0</c:v>
                      </c:pt>
                      <c:pt idx="5466">
                        <c:v>0</c:v>
                      </c:pt>
                      <c:pt idx="5467">
                        <c:v>0</c:v>
                      </c:pt>
                      <c:pt idx="5468">
                        <c:v>0</c:v>
                      </c:pt>
                      <c:pt idx="5469">
                        <c:v>0</c:v>
                      </c:pt>
                      <c:pt idx="5470">
                        <c:v>0</c:v>
                      </c:pt>
                      <c:pt idx="5471">
                        <c:v>0</c:v>
                      </c:pt>
                      <c:pt idx="5472">
                        <c:v>0</c:v>
                      </c:pt>
                      <c:pt idx="5473">
                        <c:v>0</c:v>
                      </c:pt>
                      <c:pt idx="5474">
                        <c:v>0</c:v>
                      </c:pt>
                      <c:pt idx="5475">
                        <c:v>0</c:v>
                      </c:pt>
                      <c:pt idx="5476">
                        <c:v>0</c:v>
                      </c:pt>
                      <c:pt idx="5477">
                        <c:v>0</c:v>
                      </c:pt>
                      <c:pt idx="5478">
                        <c:v>0</c:v>
                      </c:pt>
                      <c:pt idx="5479">
                        <c:v>0</c:v>
                      </c:pt>
                      <c:pt idx="5480">
                        <c:v>0</c:v>
                      </c:pt>
                      <c:pt idx="5481">
                        <c:v>0</c:v>
                      </c:pt>
                      <c:pt idx="5482">
                        <c:v>0</c:v>
                      </c:pt>
                      <c:pt idx="5483">
                        <c:v>0</c:v>
                      </c:pt>
                      <c:pt idx="5484">
                        <c:v>0</c:v>
                      </c:pt>
                      <c:pt idx="5485">
                        <c:v>0</c:v>
                      </c:pt>
                      <c:pt idx="5486">
                        <c:v>0</c:v>
                      </c:pt>
                      <c:pt idx="5487">
                        <c:v>0</c:v>
                      </c:pt>
                      <c:pt idx="5488">
                        <c:v>0</c:v>
                      </c:pt>
                      <c:pt idx="5489">
                        <c:v>0</c:v>
                      </c:pt>
                      <c:pt idx="5490">
                        <c:v>0</c:v>
                      </c:pt>
                      <c:pt idx="5491">
                        <c:v>0</c:v>
                      </c:pt>
                      <c:pt idx="5492">
                        <c:v>0</c:v>
                      </c:pt>
                      <c:pt idx="5493">
                        <c:v>0</c:v>
                      </c:pt>
                      <c:pt idx="5494">
                        <c:v>0</c:v>
                      </c:pt>
                      <c:pt idx="5495">
                        <c:v>0</c:v>
                      </c:pt>
                      <c:pt idx="5496">
                        <c:v>0</c:v>
                      </c:pt>
                      <c:pt idx="5497">
                        <c:v>0</c:v>
                      </c:pt>
                      <c:pt idx="5498">
                        <c:v>0</c:v>
                      </c:pt>
                      <c:pt idx="5499">
                        <c:v>0</c:v>
                      </c:pt>
                      <c:pt idx="5500">
                        <c:v>0</c:v>
                      </c:pt>
                      <c:pt idx="5501">
                        <c:v>0</c:v>
                      </c:pt>
                      <c:pt idx="5502">
                        <c:v>0</c:v>
                      </c:pt>
                      <c:pt idx="5503">
                        <c:v>0</c:v>
                      </c:pt>
                      <c:pt idx="5504">
                        <c:v>0</c:v>
                      </c:pt>
                      <c:pt idx="5505">
                        <c:v>0</c:v>
                      </c:pt>
                      <c:pt idx="5506">
                        <c:v>0</c:v>
                      </c:pt>
                      <c:pt idx="5507">
                        <c:v>0</c:v>
                      </c:pt>
                      <c:pt idx="5508">
                        <c:v>0</c:v>
                      </c:pt>
                      <c:pt idx="5509">
                        <c:v>0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</c:v>
                      </c:pt>
                      <c:pt idx="5514">
                        <c:v>0</c:v>
                      </c:pt>
                      <c:pt idx="5515">
                        <c:v>0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</c:v>
                      </c:pt>
                      <c:pt idx="5538">
                        <c:v>0</c:v>
                      </c:pt>
                      <c:pt idx="5539">
                        <c:v>0</c:v>
                      </c:pt>
                      <c:pt idx="5540">
                        <c:v>0</c:v>
                      </c:pt>
                      <c:pt idx="5541">
                        <c:v>0</c:v>
                      </c:pt>
                      <c:pt idx="5542">
                        <c:v>0</c:v>
                      </c:pt>
                      <c:pt idx="5543">
                        <c:v>0</c:v>
                      </c:pt>
                      <c:pt idx="5544">
                        <c:v>0</c:v>
                      </c:pt>
                      <c:pt idx="5545">
                        <c:v>0</c:v>
                      </c:pt>
                      <c:pt idx="5546">
                        <c:v>0</c:v>
                      </c:pt>
                      <c:pt idx="5547">
                        <c:v>0</c:v>
                      </c:pt>
                      <c:pt idx="5548">
                        <c:v>0</c:v>
                      </c:pt>
                      <c:pt idx="5549">
                        <c:v>0</c:v>
                      </c:pt>
                      <c:pt idx="5550">
                        <c:v>0</c:v>
                      </c:pt>
                      <c:pt idx="5551">
                        <c:v>0</c:v>
                      </c:pt>
                      <c:pt idx="5552">
                        <c:v>0</c:v>
                      </c:pt>
                      <c:pt idx="5553">
                        <c:v>0</c:v>
                      </c:pt>
                      <c:pt idx="5554">
                        <c:v>0</c:v>
                      </c:pt>
                      <c:pt idx="5555">
                        <c:v>0</c:v>
                      </c:pt>
                      <c:pt idx="5556">
                        <c:v>0</c:v>
                      </c:pt>
                      <c:pt idx="5557">
                        <c:v>0</c:v>
                      </c:pt>
                      <c:pt idx="5558">
                        <c:v>0</c:v>
                      </c:pt>
                      <c:pt idx="5559">
                        <c:v>0</c:v>
                      </c:pt>
                      <c:pt idx="5560">
                        <c:v>0</c:v>
                      </c:pt>
                      <c:pt idx="5561">
                        <c:v>0</c:v>
                      </c:pt>
                      <c:pt idx="5562">
                        <c:v>0</c:v>
                      </c:pt>
                      <c:pt idx="5563">
                        <c:v>0</c:v>
                      </c:pt>
                      <c:pt idx="5564">
                        <c:v>0</c:v>
                      </c:pt>
                      <c:pt idx="5565">
                        <c:v>0</c:v>
                      </c:pt>
                      <c:pt idx="5566">
                        <c:v>0</c:v>
                      </c:pt>
                      <c:pt idx="5567">
                        <c:v>0</c:v>
                      </c:pt>
                      <c:pt idx="5568">
                        <c:v>0</c:v>
                      </c:pt>
                      <c:pt idx="5569">
                        <c:v>0</c:v>
                      </c:pt>
                      <c:pt idx="5570">
                        <c:v>0</c:v>
                      </c:pt>
                      <c:pt idx="5571">
                        <c:v>0</c:v>
                      </c:pt>
                      <c:pt idx="5572">
                        <c:v>0</c:v>
                      </c:pt>
                      <c:pt idx="5573">
                        <c:v>0</c:v>
                      </c:pt>
                      <c:pt idx="5574">
                        <c:v>0</c:v>
                      </c:pt>
                      <c:pt idx="5575">
                        <c:v>0</c:v>
                      </c:pt>
                      <c:pt idx="5576">
                        <c:v>0</c:v>
                      </c:pt>
                      <c:pt idx="5577">
                        <c:v>0</c:v>
                      </c:pt>
                      <c:pt idx="5578">
                        <c:v>0</c:v>
                      </c:pt>
                      <c:pt idx="5579">
                        <c:v>0</c:v>
                      </c:pt>
                      <c:pt idx="5580">
                        <c:v>0</c:v>
                      </c:pt>
                      <c:pt idx="5581">
                        <c:v>0</c:v>
                      </c:pt>
                      <c:pt idx="5582">
                        <c:v>0</c:v>
                      </c:pt>
                      <c:pt idx="5583">
                        <c:v>0</c:v>
                      </c:pt>
                      <c:pt idx="5584">
                        <c:v>0</c:v>
                      </c:pt>
                      <c:pt idx="5585">
                        <c:v>0</c:v>
                      </c:pt>
                      <c:pt idx="5586">
                        <c:v>0</c:v>
                      </c:pt>
                      <c:pt idx="5587">
                        <c:v>0</c:v>
                      </c:pt>
                      <c:pt idx="5588">
                        <c:v>0</c:v>
                      </c:pt>
                      <c:pt idx="5589">
                        <c:v>0</c:v>
                      </c:pt>
                      <c:pt idx="5590">
                        <c:v>0</c:v>
                      </c:pt>
                      <c:pt idx="5591">
                        <c:v>0</c:v>
                      </c:pt>
                      <c:pt idx="5592">
                        <c:v>0</c:v>
                      </c:pt>
                      <c:pt idx="5593">
                        <c:v>0</c:v>
                      </c:pt>
                      <c:pt idx="5594">
                        <c:v>0</c:v>
                      </c:pt>
                      <c:pt idx="5595">
                        <c:v>0</c:v>
                      </c:pt>
                      <c:pt idx="5596">
                        <c:v>0</c:v>
                      </c:pt>
                      <c:pt idx="5597">
                        <c:v>0</c:v>
                      </c:pt>
                      <c:pt idx="5598">
                        <c:v>0</c:v>
                      </c:pt>
                      <c:pt idx="5599">
                        <c:v>0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0</c:v>
                      </c:pt>
                      <c:pt idx="5605">
                        <c:v>0</c:v>
                      </c:pt>
                      <c:pt idx="5606">
                        <c:v>0</c:v>
                      </c:pt>
                      <c:pt idx="5607">
                        <c:v>0</c:v>
                      </c:pt>
                      <c:pt idx="5608">
                        <c:v>0</c:v>
                      </c:pt>
                      <c:pt idx="5609">
                        <c:v>0</c:v>
                      </c:pt>
                      <c:pt idx="5610">
                        <c:v>0</c:v>
                      </c:pt>
                      <c:pt idx="5611">
                        <c:v>0</c:v>
                      </c:pt>
                      <c:pt idx="5612">
                        <c:v>0</c:v>
                      </c:pt>
                      <c:pt idx="5613">
                        <c:v>0</c:v>
                      </c:pt>
                      <c:pt idx="5614">
                        <c:v>0</c:v>
                      </c:pt>
                      <c:pt idx="5615">
                        <c:v>0</c:v>
                      </c:pt>
                      <c:pt idx="5616">
                        <c:v>0</c:v>
                      </c:pt>
                      <c:pt idx="5617">
                        <c:v>0</c:v>
                      </c:pt>
                      <c:pt idx="5618">
                        <c:v>0</c:v>
                      </c:pt>
                      <c:pt idx="5619">
                        <c:v>0</c:v>
                      </c:pt>
                      <c:pt idx="5620">
                        <c:v>0</c:v>
                      </c:pt>
                      <c:pt idx="5621">
                        <c:v>0</c:v>
                      </c:pt>
                      <c:pt idx="5622">
                        <c:v>0</c:v>
                      </c:pt>
                      <c:pt idx="5623">
                        <c:v>0</c:v>
                      </c:pt>
                      <c:pt idx="5624">
                        <c:v>0</c:v>
                      </c:pt>
                      <c:pt idx="5625">
                        <c:v>0</c:v>
                      </c:pt>
                      <c:pt idx="5626">
                        <c:v>0</c:v>
                      </c:pt>
                      <c:pt idx="5627">
                        <c:v>0</c:v>
                      </c:pt>
                      <c:pt idx="5628">
                        <c:v>0</c:v>
                      </c:pt>
                      <c:pt idx="5629">
                        <c:v>0</c:v>
                      </c:pt>
                      <c:pt idx="5630">
                        <c:v>0</c:v>
                      </c:pt>
                      <c:pt idx="5631">
                        <c:v>0</c:v>
                      </c:pt>
                      <c:pt idx="5632">
                        <c:v>0</c:v>
                      </c:pt>
                      <c:pt idx="5633">
                        <c:v>0</c:v>
                      </c:pt>
                      <c:pt idx="5634">
                        <c:v>0</c:v>
                      </c:pt>
                      <c:pt idx="5635">
                        <c:v>0</c:v>
                      </c:pt>
                      <c:pt idx="5636">
                        <c:v>0</c:v>
                      </c:pt>
                      <c:pt idx="5637">
                        <c:v>0</c:v>
                      </c:pt>
                      <c:pt idx="5638">
                        <c:v>0</c:v>
                      </c:pt>
                      <c:pt idx="5639">
                        <c:v>0</c:v>
                      </c:pt>
                      <c:pt idx="5640">
                        <c:v>0</c:v>
                      </c:pt>
                      <c:pt idx="5641">
                        <c:v>0</c:v>
                      </c:pt>
                      <c:pt idx="5642">
                        <c:v>0</c:v>
                      </c:pt>
                      <c:pt idx="5643">
                        <c:v>0</c:v>
                      </c:pt>
                      <c:pt idx="5644">
                        <c:v>0</c:v>
                      </c:pt>
                      <c:pt idx="5645">
                        <c:v>0</c:v>
                      </c:pt>
                      <c:pt idx="5646">
                        <c:v>0</c:v>
                      </c:pt>
                      <c:pt idx="5647">
                        <c:v>0</c:v>
                      </c:pt>
                      <c:pt idx="5648">
                        <c:v>0</c:v>
                      </c:pt>
                      <c:pt idx="5649">
                        <c:v>0</c:v>
                      </c:pt>
                      <c:pt idx="5650">
                        <c:v>0</c:v>
                      </c:pt>
                      <c:pt idx="5651">
                        <c:v>0</c:v>
                      </c:pt>
                      <c:pt idx="5652">
                        <c:v>0</c:v>
                      </c:pt>
                      <c:pt idx="5653">
                        <c:v>0</c:v>
                      </c:pt>
                      <c:pt idx="5654">
                        <c:v>0</c:v>
                      </c:pt>
                      <c:pt idx="5655">
                        <c:v>0</c:v>
                      </c:pt>
                      <c:pt idx="5656">
                        <c:v>0</c:v>
                      </c:pt>
                      <c:pt idx="5657">
                        <c:v>0</c:v>
                      </c:pt>
                      <c:pt idx="5658">
                        <c:v>0</c:v>
                      </c:pt>
                      <c:pt idx="5659">
                        <c:v>0</c:v>
                      </c:pt>
                      <c:pt idx="5660">
                        <c:v>0</c:v>
                      </c:pt>
                      <c:pt idx="5661">
                        <c:v>0</c:v>
                      </c:pt>
                      <c:pt idx="5662">
                        <c:v>0</c:v>
                      </c:pt>
                      <c:pt idx="5663">
                        <c:v>0</c:v>
                      </c:pt>
                      <c:pt idx="5664">
                        <c:v>0</c:v>
                      </c:pt>
                      <c:pt idx="5665">
                        <c:v>0</c:v>
                      </c:pt>
                      <c:pt idx="5666">
                        <c:v>0</c:v>
                      </c:pt>
                      <c:pt idx="5667">
                        <c:v>0</c:v>
                      </c:pt>
                      <c:pt idx="5668">
                        <c:v>0</c:v>
                      </c:pt>
                      <c:pt idx="5669">
                        <c:v>0</c:v>
                      </c:pt>
                      <c:pt idx="5670">
                        <c:v>0</c:v>
                      </c:pt>
                      <c:pt idx="5671">
                        <c:v>0</c:v>
                      </c:pt>
                      <c:pt idx="5672">
                        <c:v>0</c:v>
                      </c:pt>
                      <c:pt idx="5673">
                        <c:v>0</c:v>
                      </c:pt>
                      <c:pt idx="5674">
                        <c:v>0</c:v>
                      </c:pt>
                      <c:pt idx="5675">
                        <c:v>0</c:v>
                      </c:pt>
                      <c:pt idx="5676">
                        <c:v>0</c:v>
                      </c:pt>
                      <c:pt idx="5677">
                        <c:v>0</c:v>
                      </c:pt>
                      <c:pt idx="5678">
                        <c:v>0</c:v>
                      </c:pt>
                      <c:pt idx="5679">
                        <c:v>0</c:v>
                      </c:pt>
                      <c:pt idx="5680">
                        <c:v>0</c:v>
                      </c:pt>
                      <c:pt idx="5681">
                        <c:v>0</c:v>
                      </c:pt>
                      <c:pt idx="5682">
                        <c:v>0</c:v>
                      </c:pt>
                      <c:pt idx="5683">
                        <c:v>0</c:v>
                      </c:pt>
                      <c:pt idx="5684">
                        <c:v>0</c:v>
                      </c:pt>
                      <c:pt idx="5685">
                        <c:v>0</c:v>
                      </c:pt>
                      <c:pt idx="5686">
                        <c:v>0</c:v>
                      </c:pt>
                      <c:pt idx="5687">
                        <c:v>0</c:v>
                      </c:pt>
                      <c:pt idx="5688">
                        <c:v>0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0</c:v>
                      </c:pt>
                      <c:pt idx="5699">
                        <c:v>0</c:v>
                      </c:pt>
                      <c:pt idx="5700">
                        <c:v>0</c:v>
                      </c:pt>
                      <c:pt idx="5701">
                        <c:v>0</c:v>
                      </c:pt>
                      <c:pt idx="5702">
                        <c:v>0</c:v>
                      </c:pt>
                      <c:pt idx="5703">
                        <c:v>0</c:v>
                      </c:pt>
                      <c:pt idx="5704">
                        <c:v>0</c:v>
                      </c:pt>
                      <c:pt idx="5705">
                        <c:v>0</c:v>
                      </c:pt>
                      <c:pt idx="5706">
                        <c:v>0</c:v>
                      </c:pt>
                      <c:pt idx="5707">
                        <c:v>0</c:v>
                      </c:pt>
                      <c:pt idx="5708">
                        <c:v>0</c:v>
                      </c:pt>
                      <c:pt idx="5709">
                        <c:v>0</c:v>
                      </c:pt>
                      <c:pt idx="5710">
                        <c:v>0</c:v>
                      </c:pt>
                      <c:pt idx="5711">
                        <c:v>0</c:v>
                      </c:pt>
                      <c:pt idx="5712">
                        <c:v>0</c:v>
                      </c:pt>
                      <c:pt idx="5713">
                        <c:v>0</c:v>
                      </c:pt>
                      <c:pt idx="5714">
                        <c:v>0</c:v>
                      </c:pt>
                      <c:pt idx="5715">
                        <c:v>0</c:v>
                      </c:pt>
                      <c:pt idx="5716">
                        <c:v>0</c:v>
                      </c:pt>
                      <c:pt idx="5717">
                        <c:v>0</c:v>
                      </c:pt>
                      <c:pt idx="5718">
                        <c:v>0</c:v>
                      </c:pt>
                      <c:pt idx="5719">
                        <c:v>0</c:v>
                      </c:pt>
                      <c:pt idx="5720">
                        <c:v>0</c:v>
                      </c:pt>
                      <c:pt idx="5721">
                        <c:v>0</c:v>
                      </c:pt>
                      <c:pt idx="5722">
                        <c:v>0</c:v>
                      </c:pt>
                      <c:pt idx="5723">
                        <c:v>0</c:v>
                      </c:pt>
                      <c:pt idx="5724">
                        <c:v>0</c:v>
                      </c:pt>
                      <c:pt idx="5725">
                        <c:v>0</c:v>
                      </c:pt>
                      <c:pt idx="5726">
                        <c:v>0</c:v>
                      </c:pt>
                      <c:pt idx="5727">
                        <c:v>0</c:v>
                      </c:pt>
                      <c:pt idx="5728">
                        <c:v>0</c:v>
                      </c:pt>
                      <c:pt idx="5729">
                        <c:v>0</c:v>
                      </c:pt>
                      <c:pt idx="5730">
                        <c:v>0</c:v>
                      </c:pt>
                      <c:pt idx="5731">
                        <c:v>0</c:v>
                      </c:pt>
                      <c:pt idx="5732">
                        <c:v>0</c:v>
                      </c:pt>
                      <c:pt idx="5733">
                        <c:v>0</c:v>
                      </c:pt>
                      <c:pt idx="5734">
                        <c:v>0</c:v>
                      </c:pt>
                      <c:pt idx="5735">
                        <c:v>0</c:v>
                      </c:pt>
                      <c:pt idx="5736">
                        <c:v>0</c:v>
                      </c:pt>
                      <c:pt idx="5737">
                        <c:v>0</c:v>
                      </c:pt>
                      <c:pt idx="5738">
                        <c:v>0</c:v>
                      </c:pt>
                      <c:pt idx="5739">
                        <c:v>0</c:v>
                      </c:pt>
                      <c:pt idx="5740">
                        <c:v>0</c:v>
                      </c:pt>
                      <c:pt idx="5741">
                        <c:v>0</c:v>
                      </c:pt>
                      <c:pt idx="5742">
                        <c:v>0</c:v>
                      </c:pt>
                      <c:pt idx="5743">
                        <c:v>0</c:v>
                      </c:pt>
                      <c:pt idx="5744">
                        <c:v>0</c:v>
                      </c:pt>
                      <c:pt idx="5745">
                        <c:v>0</c:v>
                      </c:pt>
                      <c:pt idx="5746">
                        <c:v>0</c:v>
                      </c:pt>
                      <c:pt idx="5747">
                        <c:v>0</c:v>
                      </c:pt>
                      <c:pt idx="5748">
                        <c:v>0</c:v>
                      </c:pt>
                      <c:pt idx="5749">
                        <c:v>0</c:v>
                      </c:pt>
                      <c:pt idx="5750">
                        <c:v>0</c:v>
                      </c:pt>
                      <c:pt idx="5751">
                        <c:v>0</c:v>
                      </c:pt>
                      <c:pt idx="5752">
                        <c:v>0</c:v>
                      </c:pt>
                      <c:pt idx="5753">
                        <c:v>0</c:v>
                      </c:pt>
                      <c:pt idx="5754">
                        <c:v>0</c:v>
                      </c:pt>
                      <c:pt idx="5755">
                        <c:v>0</c:v>
                      </c:pt>
                      <c:pt idx="5756">
                        <c:v>0</c:v>
                      </c:pt>
                      <c:pt idx="5757">
                        <c:v>0</c:v>
                      </c:pt>
                      <c:pt idx="5758">
                        <c:v>0</c:v>
                      </c:pt>
                      <c:pt idx="5759">
                        <c:v>0</c:v>
                      </c:pt>
                      <c:pt idx="5760">
                        <c:v>0</c:v>
                      </c:pt>
                      <c:pt idx="5761">
                        <c:v>0</c:v>
                      </c:pt>
                      <c:pt idx="5762">
                        <c:v>0</c:v>
                      </c:pt>
                      <c:pt idx="5763">
                        <c:v>0</c:v>
                      </c:pt>
                      <c:pt idx="5764">
                        <c:v>0</c:v>
                      </c:pt>
                      <c:pt idx="5765">
                        <c:v>0</c:v>
                      </c:pt>
                      <c:pt idx="5766">
                        <c:v>0</c:v>
                      </c:pt>
                      <c:pt idx="5767">
                        <c:v>0</c:v>
                      </c:pt>
                      <c:pt idx="5768">
                        <c:v>0</c:v>
                      </c:pt>
                      <c:pt idx="5769">
                        <c:v>0</c:v>
                      </c:pt>
                      <c:pt idx="5770">
                        <c:v>0</c:v>
                      </c:pt>
                      <c:pt idx="5771">
                        <c:v>0</c:v>
                      </c:pt>
                      <c:pt idx="5772">
                        <c:v>0</c:v>
                      </c:pt>
                      <c:pt idx="5773">
                        <c:v>0</c:v>
                      </c:pt>
                      <c:pt idx="5774">
                        <c:v>0</c:v>
                      </c:pt>
                      <c:pt idx="5775">
                        <c:v>0</c:v>
                      </c:pt>
                      <c:pt idx="5776">
                        <c:v>0</c:v>
                      </c:pt>
                      <c:pt idx="5777">
                        <c:v>0</c:v>
                      </c:pt>
                      <c:pt idx="5778">
                        <c:v>0</c:v>
                      </c:pt>
                      <c:pt idx="5779">
                        <c:v>0</c:v>
                      </c:pt>
                      <c:pt idx="5780">
                        <c:v>0</c:v>
                      </c:pt>
                      <c:pt idx="5781">
                        <c:v>0</c:v>
                      </c:pt>
                      <c:pt idx="5782">
                        <c:v>0</c:v>
                      </c:pt>
                      <c:pt idx="5783">
                        <c:v>0</c:v>
                      </c:pt>
                      <c:pt idx="5784">
                        <c:v>0</c:v>
                      </c:pt>
                      <c:pt idx="5785">
                        <c:v>0</c:v>
                      </c:pt>
                      <c:pt idx="5786">
                        <c:v>0</c:v>
                      </c:pt>
                      <c:pt idx="5787">
                        <c:v>0</c:v>
                      </c:pt>
                      <c:pt idx="5788">
                        <c:v>0</c:v>
                      </c:pt>
                      <c:pt idx="5789">
                        <c:v>0</c:v>
                      </c:pt>
                      <c:pt idx="5790">
                        <c:v>0</c:v>
                      </c:pt>
                      <c:pt idx="5791">
                        <c:v>0</c:v>
                      </c:pt>
                      <c:pt idx="5792">
                        <c:v>0</c:v>
                      </c:pt>
                      <c:pt idx="5793">
                        <c:v>0</c:v>
                      </c:pt>
                      <c:pt idx="5794">
                        <c:v>0</c:v>
                      </c:pt>
                      <c:pt idx="5795">
                        <c:v>0</c:v>
                      </c:pt>
                      <c:pt idx="5796">
                        <c:v>0</c:v>
                      </c:pt>
                      <c:pt idx="5797">
                        <c:v>0</c:v>
                      </c:pt>
                      <c:pt idx="5798">
                        <c:v>0</c:v>
                      </c:pt>
                      <c:pt idx="5799">
                        <c:v>0</c:v>
                      </c:pt>
                      <c:pt idx="5800">
                        <c:v>0</c:v>
                      </c:pt>
                      <c:pt idx="5801">
                        <c:v>0</c:v>
                      </c:pt>
                      <c:pt idx="5802">
                        <c:v>0</c:v>
                      </c:pt>
                      <c:pt idx="5803">
                        <c:v>0</c:v>
                      </c:pt>
                      <c:pt idx="5804">
                        <c:v>0</c:v>
                      </c:pt>
                      <c:pt idx="5805">
                        <c:v>0</c:v>
                      </c:pt>
                      <c:pt idx="5806">
                        <c:v>0</c:v>
                      </c:pt>
                      <c:pt idx="5807">
                        <c:v>0</c:v>
                      </c:pt>
                      <c:pt idx="5808">
                        <c:v>0</c:v>
                      </c:pt>
                      <c:pt idx="5809">
                        <c:v>0</c:v>
                      </c:pt>
                      <c:pt idx="5810">
                        <c:v>0</c:v>
                      </c:pt>
                      <c:pt idx="5811">
                        <c:v>0</c:v>
                      </c:pt>
                      <c:pt idx="5812">
                        <c:v>0</c:v>
                      </c:pt>
                      <c:pt idx="5813">
                        <c:v>0</c:v>
                      </c:pt>
                      <c:pt idx="5814">
                        <c:v>0</c:v>
                      </c:pt>
                      <c:pt idx="5815">
                        <c:v>0</c:v>
                      </c:pt>
                      <c:pt idx="5816">
                        <c:v>0</c:v>
                      </c:pt>
                      <c:pt idx="5817">
                        <c:v>0</c:v>
                      </c:pt>
                      <c:pt idx="5818">
                        <c:v>0</c:v>
                      </c:pt>
                      <c:pt idx="5819">
                        <c:v>0</c:v>
                      </c:pt>
                      <c:pt idx="5820">
                        <c:v>0</c:v>
                      </c:pt>
                      <c:pt idx="5821">
                        <c:v>0</c:v>
                      </c:pt>
                      <c:pt idx="5822">
                        <c:v>0</c:v>
                      </c:pt>
                      <c:pt idx="5823">
                        <c:v>0</c:v>
                      </c:pt>
                      <c:pt idx="5824">
                        <c:v>0</c:v>
                      </c:pt>
                      <c:pt idx="5825">
                        <c:v>0</c:v>
                      </c:pt>
                      <c:pt idx="5826">
                        <c:v>0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</c:v>
                      </c:pt>
                      <c:pt idx="5833">
                        <c:v>0</c:v>
                      </c:pt>
                      <c:pt idx="5834">
                        <c:v>0</c:v>
                      </c:pt>
                      <c:pt idx="5835">
                        <c:v>0</c:v>
                      </c:pt>
                      <c:pt idx="5836">
                        <c:v>0</c:v>
                      </c:pt>
                      <c:pt idx="5837">
                        <c:v>0</c:v>
                      </c:pt>
                      <c:pt idx="5838">
                        <c:v>0</c:v>
                      </c:pt>
                      <c:pt idx="5839">
                        <c:v>0</c:v>
                      </c:pt>
                      <c:pt idx="5840">
                        <c:v>0</c:v>
                      </c:pt>
                      <c:pt idx="5841">
                        <c:v>0</c:v>
                      </c:pt>
                      <c:pt idx="5842">
                        <c:v>0</c:v>
                      </c:pt>
                      <c:pt idx="5843">
                        <c:v>0</c:v>
                      </c:pt>
                      <c:pt idx="5844">
                        <c:v>0</c:v>
                      </c:pt>
                      <c:pt idx="5845">
                        <c:v>0</c:v>
                      </c:pt>
                      <c:pt idx="5846">
                        <c:v>0</c:v>
                      </c:pt>
                      <c:pt idx="5847">
                        <c:v>0</c:v>
                      </c:pt>
                      <c:pt idx="5848">
                        <c:v>0</c:v>
                      </c:pt>
                      <c:pt idx="5849">
                        <c:v>0</c:v>
                      </c:pt>
                      <c:pt idx="5850">
                        <c:v>0</c:v>
                      </c:pt>
                      <c:pt idx="5851">
                        <c:v>0</c:v>
                      </c:pt>
                      <c:pt idx="5852">
                        <c:v>0</c:v>
                      </c:pt>
                      <c:pt idx="5853">
                        <c:v>0</c:v>
                      </c:pt>
                      <c:pt idx="5854">
                        <c:v>0</c:v>
                      </c:pt>
                      <c:pt idx="5855">
                        <c:v>0</c:v>
                      </c:pt>
                      <c:pt idx="5856">
                        <c:v>0</c:v>
                      </c:pt>
                      <c:pt idx="5857">
                        <c:v>0</c:v>
                      </c:pt>
                      <c:pt idx="5858">
                        <c:v>0</c:v>
                      </c:pt>
                      <c:pt idx="5859">
                        <c:v>0</c:v>
                      </c:pt>
                      <c:pt idx="5860">
                        <c:v>0</c:v>
                      </c:pt>
                      <c:pt idx="5861">
                        <c:v>0</c:v>
                      </c:pt>
                      <c:pt idx="5862">
                        <c:v>0</c:v>
                      </c:pt>
                      <c:pt idx="5863">
                        <c:v>0</c:v>
                      </c:pt>
                      <c:pt idx="5864">
                        <c:v>0</c:v>
                      </c:pt>
                      <c:pt idx="5865">
                        <c:v>0</c:v>
                      </c:pt>
                      <c:pt idx="5866">
                        <c:v>0</c:v>
                      </c:pt>
                      <c:pt idx="5867">
                        <c:v>0</c:v>
                      </c:pt>
                      <c:pt idx="5868">
                        <c:v>0</c:v>
                      </c:pt>
                      <c:pt idx="5869">
                        <c:v>0</c:v>
                      </c:pt>
                      <c:pt idx="5870">
                        <c:v>0</c:v>
                      </c:pt>
                      <c:pt idx="5871">
                        <c:v>0</c:v>
                      </c:pt>
                      <c:pt idx="5872">
                        <c:v>0</c:v>
                      </c:pt>
                      <c:pt idx="5873">
                        <c:v>0</c:v>
                      </c:pt>
                      <c:pt idx="5874">
                        <c:v>0</c:v>
                      </c:pt>
                      <c:pt idx="5875">
                        <c:v>0</c:v>
                      </c:pt>
                      <c:pt idx="5876">
                        <c:v>0</c:v>
                      </c:pt>
                      <c:pt idx="5877">
                        <c:v>0</c:v>
                      </c:pt>
                      <c:pt idx="5878">
                        <c:v>0</c:v>
                      </c:pt>
                      <c:pt idx="5879">
                        <c:v>0</c:v>
                      </c:pt>
                      <c:pt idx="5880">
                        <c:v>0</c:v>
                      </c:pt>
                      <c:pt idx="5881">
                        <c:v>0</c:v>
                      </c:pt>
                      <c:pt idx="5882">
                        <c:v>0</c:v>
                      </c:pt>
                      <c:pt idx="5883">
                        <c:v>0</c:v>
                      </c:pt>
                      <c:pt idx="5884">
                        <c:v>0</c:v>
                      </c:pt>
                      <c:pt idx="5885">
                        <c:v>0</c:v>
                      </c:pt>
                      <c:pt idx="5886">
                        <c:v>0</c:v>
                      </c:pt>
                      <c:pt idx="5887">
                        <c:v>0</c:v>
                      </c:pt>
                      <c:pt idx="5888">
                        <c:v>0</c:v>
                      </c:pt>
                      <c:pt idx="5889">
                        <c:v>0</c:v>
                      </c:pt>
                      <c:pt idx="5890">
                        <c:v>0</c:v>
                      </c:pt>
                      <c:pt idx="5891">
                        <c:v>0</c:v>
                      </c:pt>
                      <c:pt idx="5892">
                        <c:v>0</c:v>
                      </c:pt>
                      <c:pt idx="5893">
                        <c:v>0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0</c:v>
                      </c:pt>
                      <c:pt idx="5898">
                        <c:v>0</c:v>
                      </c:pt>
                      <c:pt idx="5899">
                        <c:v>0</c:v>
                      </c:pt>
                      <c:pt idx="5900">
                        <c:v>0</c:v>
                      </c:pt>
                      <c:pt idx="5901">
                        <c:v>0</c:v>
                      </c:pt>
                      <c:pt idx="5902">
                        <c:v>0</c:v>
                      </c:pt>
                      <c:pt idx="5903">
                        <c:v>0</c:v>
                      </c:pt>
                      <c:pt idx="5904">
                        <c:v>0</c:v>
                      </c:pt>
                      <c:pt idx="5905">
                        <c:v>0</c:v>
                      </c:pt>
                      <c:pt idx="5906">
                        <c:v>0</c:v>
                      </c:pt>
                      <c:pt idx="5907">
                        <c:v>0</c:v>
                      </c:pt>
                      <c:pt idx="5908">
                        <c:v>0</c:v>
                      </c:pt>
                      <c:pt idx="5909">
                        <c:v>0</c:v>
                      </c:pt>
                      <c:pt idx="5910">
                        <c:v>0</c:v>
                      </c:pt>
                      <c:pt idx="5911">
                        <c:v>0</c:v>
                      </c:pt>
                      <c:pt idx="5912">
                        <c:v>0</c:v>
                      </c:pt>
                      <c:pt idx="5913">
                        <c:v>0</c:v>
                      </c:pt>
                      <c:pt idx="5914">
                        <c:v>0</c:v>
                      </c:pt>
                      <c:pt idx="5915">
                        <c:v>0</c:v>
                      </c:pt>
                      <c:pt idx="5916">
                        <c:v>0</c:v>
                      </c:pt>
                      <c:pt idx="5917">
                        <c:v>0</c:v>
                      </c:pt>
                      <c:pt idx="5918">
                        <c:v>0</c:v>
                      </c:pt>
                      <c:pt idx="5919">
                        <c:v>0</c:v>
                      </c:pt>
                      <c:pt idx="5920">
                        <c:v>0</c:v>
                      </c:pt>
                      <c:pt idx="5921">
                        <c:v>0</c:v>
                      </c:pt>
                      <c:pt idx="5922">
                        <c:v>0</c:v>
                      </c:pt>
                      <c:pt idx="5923">
                        <c:v>0</c:v>
                      </c:pt>
                      <c:pt idx="5924">
                        <c:v>0</c:v>
                      </c:pt>
                      <c:pt idx="5925">
                        <c:v>0</c:v>
                      </c:pt>
                      <c:pt idx="5926">
                        <c:v>0</c:v>
                      </c:pt>
                      <c:pt idx="5927">
                        <c:v>0</c:v>
                      </c:pt>
                      <c:pt idx="5928">
                        <c:v>0</c:v>
                      </c:pt>
                      <c:pt idx="5929">
                        <c:v>0</c:v>
                      </c:pt>
                      <c:pt idx="5930">
                        <c:v>0</c:v>
                      </c:pt>
                      <c:pt idx="5931">
                        <c:v>0</c:v>
                      </c:pt>
                      <c:pt idx="5932">
                        <c:v>0</c:v>
                      </c:pt>
                      <c:pt idx="5933">
                        <c:v>0</c:v>
                      </c:pt>
                      <c:pt idx="5934">
                        <c:v>0</c:v>
                      </c:pt>
                      <c:pt idx="5935">
                        <c:v>0</c:v>
                      </c:pt>
                      <c:pt idx="5936">
                        <c:v>0</c:v>
                      </c:pt>
                      <c:pt idx="5937">
                        <c:v>0</c:v>
                      </c:pt>
                      <c:pt idx="5938">
                        <c:v>0</c:v>
                      </c:pt>
                      <c:pt idx="5939">
                        <c:v>0</c:v>
                      </c:pt>
                      <c:pt idx="5940">
                        <c:v>0</c:v>
                      </c:pt>
                      <c:pt idx="5941">
                        <c:v>0</c:v>
                      </c:pt>
                      <c:pt idx="5942">
                        <c:v>0</c:v>
                      </c:pt>
                      <c:pt idx="5943">
                        <c:v>0</c:v>
                      </c:pt>
                      <c:pt idx="5944">
                        <c:v>0</c:v>
                      </c:pt>
                      <c:pt idx="5945">
                        <c:v>0</c:v>
                      </c:pt>
                      <c:pt idx="5946">
                        <c:v>0</c:v>
                      </c:pt>
                      <c:pt idx="5947">
                        <c:v>0</c:v>
                      </c:pt>
                      <c:pt idx="5948">
                        <c:v>0</c:v>
                      </c:pt>
                      <c:pt idx="5949">
                        <c:v>0</c:v>
                      </c:pt>
                      <c:pt idx="5950">
                        <c:v>0</c:v>
                      </c:pt>
                      <c:pt idx="5951">
                        <c:v>0</c:v>
                      </c:pt>
                      <c:pt idx="5952">
                        <c:v>0</c:v>
                      </c:pt>
                      <c:pt idx="5953">
                        <c:v>0</c:v>
                      </c:pt>
                      <c:pt idx="5954">
                        <c:v>0</c:v>
                      </c:pt>
                      <c:pt idx="5955">
                        <c:v>0</c:v>
                      </c:pt>
                      <c:pt idx="5956">
                        <c:v>0</c:v>
                      </c:pt>
                      <c:pt idx="5957">
                        <c:v>0</c:v>
                      </c:pt>
                      <c:pt idx="5958">
                        <c:v>0</c:v>
                      </c:pt>
                      <c:pt idx="5959">
                        <c:v>0</c:v>
                      </c:pt>
                      <c:pt idx="5960">
                        <c:v>0</c:v>
                      </c:pt>
                      <c:pt idx="5961">
                        <c:v>0</c:v>
                      </c:pt>
                      <c:pt idx="5962">
                        <c:v>0</c:v>
                      </c:pt>
                      <c:pt idx="5963">
                        <c:v>0</c:v>
                      </c:pt>
                      <c:pt idx="5964">
                        <c:v>0</c:v>
                      </c:pt>
                      <c:pt idx="5965">
                        <c:v>0</c:v>
                      </c:pt>
                      <c:pt idx="5966">
                        <c:v>0</c:v>
                      </c:pt>
                      <c:pt idx="5967">
                        <c:v>0</c:v>
                      </c:pt>
                      <c:pt idx="5968">
                        <c:v>0</c:v>
                      </c:pt>
                      <c:pt idx="5969">
                        <c:v>0</c:v>
                      </c:pt>
                      <c:pt idx="5970">
                        <c:v>0</c:v>
                      </c:pt>
                      <c:pt idx="5971">
                        <c:v>0</c:v>
                      </c:pt>
                      <c:pt idx="5972">
                        <c:v>0</c:v>
                      </c:pt>
                      <c:pt idx="5973">
                        <c:v>0</c:v>
                      </c:pt>
                      <c:pt idx="5974">
                        <c:v>0</c:v>
                      </c:pt>
                      <c:pt idx="5975">
                        <c:v>0</c:v>
                      </c:pt>
                      <c:pt idx="5976">
                        <c:v>0</c:v>
                      </c:pt>
                      <c:pt idx="5977">
                        <c:v>0</c:v>
                      </c:pt>
                      <c:pt idx="5978">
                        <c:v>0</c:v>
                      </c:pt>
                      <c:pt idx="5979">
                        <c:v>0</c:v>
                      </c:pt>
                      <c:pt idx="5980">
                        <c:v>0</c:v>
                      </c:pt>
                      <c:pt idx="5981">
                        <c:v>0</c:v>
                      </c:pt>
                      <c:pt idx="5982">
                        <c:v>0</c:v>
                      </c:pt>
                      <c:pt idx="5983">
                        <c:v>0</c:v>
                      </c:pt>
                      <c:pt idx="5984">
                        <c:v>0</c:v>
                      </c:pt>
                      <c:pt idx="5985">
                        <c:v>0</c:v>
                      </c:pt>
                      <c:pt idx="5986">
                        <c:v>0</c:v>
                      </c:pt>
                      <c:pt idx="5987">
                        <c:v>0</c:v>
                      </c:pt>
                      <c:pt idx="5988">
                        <c:v>0</c:v>
                      </c:pt>
                      <c:pt idx="5989">
                        <c:v>0</c:v>
                      </c:pt>
                      <c:pt idx="5990">
                        <c:v>0</c:v>
                      </c:pt>
                      <c:pt idx="5991">
                        <c:v>0</c:v>
                      </c:pt>
                      <c:pt idx="5992">
                        <c:v>0</c:v>
                      </c:pt>
                      <c:pt idx="5993">
                        <c:v>0</c:v>
                      </c:pt>
                      <c:pt idx="5994">
                        <c:v>0</c:v>
                      </c:pt>
                      <c:pt idx="5995">
                        <c:v>0</c:v>
                      </c:pt>
                      <c:pt idx="5996">
                        <c:v>0</c:v>
                      </c:pt>
                      <c:pt idx="5997">
                        <c:v>0</c:v>
                      </c:pt>
                      <c:pt idx="5998">
                        <c:v>0</c:v>
                      </c:pt>
                      <c:pt idx="5999">
                        <c:v>0</c:v>
                      </c:pt>
                      <c:pt idx="6000">
                        <c:v>0</c:v>
                      </c:pt>
                      <c:pt idx="6001">
                        <c:v>0</c:v>
                      </c:pt>
                      <c:pt idx="6002">
                        <c:v>0</c:v>
                      </c:pt>
                      <c:pt idx="6003">
                        <c:v>0</c:v>
                      </c:pt>
                      <c:pt idx="6004">
                        <c:v>0</c:v>
                      </c:pt>
                      <c:pt idx="6005">
                        <c:v>0</c:v>
                      </c:pt>
                      <c:pt idx="6006">
                        <c:v>0</c:v>
                      </c:pt>
                      <c:pt idx="6007">
                        <c:v>0</c:v>
                      </c:pt>
                      <c:pt idx="6008">
                        <c:v>0</c:v>
                      </c:pt>
                      <c:pt idx="6009">
                        <c:v>0</c:v>
                      </c:pt>
                      <c:pt idx="6010">
                        <c:v>0</c:v>
                      </c:pt>
                      <c:pt idx="6011">
                        <c:v>0</c:v>
                      </c:pt>
                      <c:pt idx="6012">
                        <c:v>0</c:v>
                      </c:pt>
                      <c:pt idx="6013">
                        <c:v>0</c:v>
                      </c:pt>
                      <c:pt idx="6014">
                        <c:v>0</c:v>
                      </c:pt>
                      <c:pt idx="6015">
                        <c:v>0</c:v>
                      </c:pt>
                      <c:pt idx="6016">
                        <c:v>0</c:v>
                      </c:pt>
                      <c:pt idx="6017">
                        <c:v>0</c:v>
                      </c:pt>
                      <c:pt idx="6018">
                        <c:v>0</c:v>
                      </c:pt>
                      <c:pt idx="6019">
                        <c:v>0</c:v>
                      </c:pt>
                      <c:pt idx="6020">
                        <c:v>0</c:v>
                      </c:pt>
                      <c:pt idx="6021">
                        <c:v>0</c:v>
                      </c:pt>
                      <c:pt idx="6022">
                        <c:v>0</c:v>
                      </c:pt>
                      <c:pt idx="6023">
                        <c:v>0</c:v>
                      </c:pt>
                      <c:pt idx="6024">
                        <c:v>0</c:v>
                      </c:pt>
                      <c:pt idx="6025">
                        <c:v>0</c:v>
                      </c:pt>
                      <c:pt idx="6026">
                        <c:v>0</c:v>
                      </c:pt>
                      <c:pt idx="6027">
                        <c:v>0</c:v>
                      </c:pt>
                      <c:pt idx="6028">
                        <c:v>0</c:v>
                      </c:pt>
                      <c:pt idx="6029">
                        <c:v>0</c:v>
                      </c:pt>
                      <c:pt idx="6030">
                        <c:v>0</c:v>
                      </c:pt>
                      <c:pt idx="6031">
                        <c:v>0</c:v>
                      </c:pt>
                      <c:pt idx="6032">
                        <c:v>0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0</c:v>
                      </c:pt>
                      <c:pt idx="6055">
                        <c:v>0</c:v>
                      </c:pt>
                      <c:pt idx="6056">
                        <c:v>0</c:v>
                      </c:pt>
                      <c:pt idx="6057">
                        <c:v>0</c:v>
                      </c:pt>
                      <c:pt idx="6058">
                        <c:v>0</c:v>
                      </c:pt>
                      <c:pt idx="6059">
                        <c:v>0</c:v>
                      </c:pt>
                      <c:pt idx="6060">
                        <c:v>0</c:v>
                      </c:pt>
                      <c:pt idx="6061">
                        <c:v>0</c:v>
                      </c:pt>
                      <c:pt idx="6062">
                        <c:v>0</c:v>
                      </c:pt>
                      <c:pt idx="6063">
                        <c:v>0</c:v>
                      </c:pt>
                      <c:pt idx="6064">
                        <c:v>0</c:v>
                      </c:pt>
                      <c:pt idx="6065">
                        <c:v>0</c:v>
                      </c:pt>
                      <c:pt idx="6066">
                        <c:v>0</c:v>
                      </c:pt>
                      <c:pt idx="6067">
                        <c:v>0</c:v>
                      </c:pt>
                      <c:pt idx="6068">
                        <c:v>0</c:v>
                      </c:pt>
                      <c:pt idx="6069">
                        <c:v>0</c:v>
                      </c:pt>
                      <c:pt idx="6070">
                        <c:v>0</c:v>
                      </c:pt>
                      <c:pt idx="6071">
                        <c:v>0</c:v>
                      </c:pt>
                      <c:pt idx="6072">
                        <c:v>0</c:v>
                      </c:pt>
                      <c:pt idx="6073">
                        <c:v>0</c:v>
                      </c:pt>
                      <c:pt idx="6074">
                        <c:v>0</c:v>
                      </c:pt>
                      <c:pt idx="6075">
                        <c:v>0</c:v>
                      </c:pt>
                      <c:pt idx="6076">
                        <c:v>0</c:v>
                      </c:pt>
                      <c:pt idx="6077">
                        <c:v>0</c:v>
                      </c:pt>
                      <c:pt idx="6078">
                        <c:v>0</c:v>
                      </c:pt>
                      <c:pt idx="6079">
                        <c:v>0</c:v>
                      </c:pt>
                      <c:pt idx="6080">
                        <c:v>0</c:v>
                      </c:pt>
                      <c:pt idx="6081">
                        <c:v>0</c:v>
                      </c:pt>
                      <c:pt idx="6082">
                        <c:v>0</c:v>
                      </c:pt>
                      <c:pt idx="6083">
                        <c:v>0</c:v>
                      </c:pt>
                      <c:pt idx="6084">
                        <c:v>0</c:v>
                      </c:pt>
                      <c:pt idx="6085">
                        <c:v>0</c:v>
                      </c:pt>
                      <c:pt idx="6086">
                        <c:v>0</c:v>
                      </c:pt>
                      <c:pt idx="6087">
                        <c:v>0</c:v>
                      </c:pt>
                      <c:pt idx="6088">
                        <c:v>0</c:v>
                      </c:pt>
                      <c:pt idx="6089">
                        <c:v>0</c:v>
                      </c:pt>
                      <c:pt idx="6090">
                        <c:v>0</c:v>
                      </c:pt>
                      <c:pt idx="6091">
                        <c:v>0</c:v>
                      </c:pt>
                      <c:pt idx="6092">
                        <c:v>0</c:v>
                      </c:pt>
                      <c:pt idx="6093">
                        <c:v>0</c:v>
                      </c:pt>
                      <c:pt idx="6094">
                        <c:v>0</c:v>
                      </c:pt>
                      <c:pt idx="6095">
                        <c:v>0</c:v>
                      </c:pt>
                      <c:pt idx="6096">
                        <c:v>0</c:v>
                      </c:pt>
                      <c:pt idx="6097">
                        <c:v>0</c:v>
                      </c:pt>
                      <c:pt idx="6098">
                        <c:v>0</c:v>
                      </c:pt>
                      <c:pt idx="6099">
                        <c:v>0</c:v>
                      </c:pt>
                      <c:pt idx="6100">
                        <c:v>0</c:v>
                      </c:pt>
                      <c:pt idx="6101">
                        <c:v>0</c:v>
                      </c:pt>
                      <c:pt idx="6102">
                        <c:v>0</c:v>
                      </c:pt>
                      <c:pt idx="6103">
                        <c:v>0</c:v>
                      </c:pt>
                      <c:pt idx="6104">
                        <c:v>0</c:v>
                      </c:pt>
                      <c:pt idx="6105">
                        <c:v>0</c:v>
                      </c:pt>
                      <c:pt idx="6106">
                        <c:v>0</c:v>
                      </c:pt>
                      <c:pt idx="6107">
                        <c:v>0</c:v>
                      </c:pt>
                      <c:pt idx="6108">
                        <c:v>0</c:v>
                      </c:pt>
                      <c:pt idx="6109">
                        <c:v>0</c:v>
                      </c:pt>
                      <c:pt idx="6110">
                        <c:v>0</c:v>
                      </c:pt>
                      <c:pt idx="6111">
                        <c:v>0</c:v>
                      </c:pt>
                      <c:pt idx="6112">
                        <c:v>0</c:v>
                      </c:pt>
                      <c:pt idx="6113">
                        <c:v>0</c:v>
                      </c:pt>
                      <c:pt idx="6114">
                        <c:v>0</c:v>
                      </c:pt>
                      <c:pt idx="6115">
                        <c:v>0</c:v>
                      </c:pt>
                      <c:pt idx="6116">
                        <c:v>0</c:v>
                      </c:pt>
                      <c:pt idx="6117">
                        <c:v>0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0</c:v>
                      </c:pt>
                      <c:pt idx="6125">
                        <c:v>0</c:v>
                      </c:pt>
                      <c:pt idx="6126">
                        <c:v>0</c:v>
                      </c:pt>
                      <c:pt idx="6127">
                        <c:v>0</c:v>
                      </c:pt>
                      <c:pt idx="6128">
                        <c:v>0</c:v>
                      </c:pt>
                      <c:pt idx="6129">
                        <c:v>0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0</c:v>
                      </c:pt>
                      <c:pt idx="6135">
                        <c:v>0</c:v>
                      </c:pt>
                      <c:pt idx="6136">
                        <c:v>0</c:v>
                      </c:pt>
                      <c:pt idx="6137">
                        <c:v>0</c:v>
                      </c:pt>
                      <c:pt idx="6138">
                        <c:v>0</c:v>
                      </c:pt>
                      <c:pt idx="6139">
                        <c:v>0</c:v>
                      </c:pt>
                      <c:pt idx="6140">
                        <c:v>0</c:v>
                      </c:pt>
                      <c:pt idx="6141">
                        <c:v>0</c:v>
                      </c:pt>
                      <c:pt idx="6142">
                        <c:v>0</c:v>
                      </c:pt>
                      <c:pt idx="6143">
                        <c:v>0</c:v>
                      </c:pt>
                      <c:pt idx="6144">
                        <c:v>0</c:v>
                      </c:pt>
                      <c:pt idx="6145">
                        <c:v>0</c:v>
                      </c:pt>
                      <c:pt idx="6146">
                        <c:v>0</c:v>
                      </c:pt>
                      <c:pt idx="6147">
                        <c:v>0</c:v>
                      </c:pt>
                      <c:pt idx="6148">
                        <c:v>0</c:v>
                      </c:pt>
                      <c:pt idx="6149">
                        <c:v>0</c:v>
                      </c:pt>
                      <c:pt idx="6150">
                        <c:v>0</c:v>
                      </c:pt>
                      <c:pt idx="6151">
                        <c:v>0</c:v>
                      </c:pt>
                      <c:pt idx="6152">
                        <c:v>0</c:v>
                      </c:pt>
                      <c:pt idx="6153">
                        <c:v>0</c:v>
                      </c:pt>
                      <c:pt idx="6154">
                        <c:v>0</c:v>
                      </c:pt>
                      <c:pt idx="6155">
                        <c:v>0</c:v>
                      </c:pt>
                      <c:pt idx="6156">
                        <c:v>0</c:v>
                      </c:pt>
                      <c:pt idx="6157">
                        <c:v>0</c:v>
                      </c:pt>
                      <c:pt idx="6158">
                        <c:v>0</c:v>
                      </c:pt>
                      <c:pt idx="6159">
                        <c:v>0</c:v>
                      </c:pt>
                      <c:pt idx="6160">
                        <c:v>0</c:v>
                      </c:pt>
                      <c:pt idx="6161">
                        <c:v>0</c:v>
                      </c:pt>
                      <c:pt idx="6162">
                        <c:v>0</c:v>
                      </c:pt>
                      <c:pt idx="6163">
                        <c:v>0</c:v>
                      </c:pt>
                      <c:pt idx="6164">
                        <c:v>0</c:v>
                      </c:pt>
                      <c:pt idx="6165">
                        <c:v>0</c:v>
                      </c:pt>
                      <c:pt idx="6166">
                        <c:v>0</c:v>
                      </c:pt>
                      <c:pt idx="6167">
                        <c:v>0</c:v>
                      </c:pt>
                      <c:pt idx="6168">
                        <c:v>0</c:v>
                      </c:pt>
                      <c:pt idx="6169">
                        <c:v>0</c:v>
                      </c:pt>
                      <c:pt idx="6170">
                        <c:v>0</c:v>
                      </c:pt>
                      <c:pt idx="6171">
                        <c:v>0</c:v>
                      </c:pt>
                      <c:pt idx="6172">
                        <c:v>0</c:v>
                      </c:pt>
                      <c:pt idx="6173">
                        <c:v>0</c:v>
                      </c:pt>
                      <c:pt idx="6174">
                        <c:v>0</c:v>
                      </c:pt>
                      <c:pt idx="6175">
                        <c:v>0</c:v>
                      </c:pt>
                      <c:pt idx="6176">
                        <c:v>0</c:v>
                      </c:pt>
                      <c:pt idx="6177">
                        <c:v>0</c:v>
                      </c:pt>
                      <c:pt idx="6178">
                        <c:v>0</c:v>
                      </c:pt>
                      <c:pt idx="6179">
                        <c:v>0</c:v>
                      </c:pt>
                      <c:pt idx="6180">
                        <c:v>0</c:v>
                      </c:pt>
                      <c:pt idx="6181">
                        <c:v>0</c:v>
                      </c:pt>
                      <c:pt idx="6182">
                        <c:v>0</c:v>
                      </c:pt>
                      <c:pt idx="6183">
                        <c:v>0</c:v>
                      </c:pt>
                      <c:pt idx="6184">
                        <c:v>0</c:v>
                      </c:pt>
                      <c:pt idx="6185">
                        <c:v>0</c:v>
                      </c:pt>
                      <c:pt idx="6186">
                        <c:v>0</c:v>
                      </c:pt>
                      <c:pt idx="6187">
                        <c:v>0</c:v>
                      </c:pt>
                      <c:pt idx="6188">
                        <c:v>0</c:v>
                      </c:pt>
                      <c:pt idx="6189">
                        <c:v>0</c:v>
                      </c:pt>
                      <c:pt idx="6190">
                        <c:v>0</c:v>
                      </c:pt>
                      <c:pt idx="6191">
                        <c:v>0</c:v>
                      </c:pt>
                      <c:pt idx="6192">
                        <c:v>0</c:v>
                      </c:pt>
                      <c:pt idx="6193">
                        <c:v>0</c:v>
                      </c:pt>
                      <c:pt idx="6194">
                        <c:v>0</c:v>
                      </c:pt>
                      <c:pt idx="6195">
                        <c:v>0</c:v>
                      </c:pt>
                      <c:pt idx="6196">
                        <c:v>0</c:v>
                      </c:pt>
                      <c:pt idx="6197">
                        <c:v>0</c:v>
                      </c:pt>
                      <c:pt idx="6198">
                        <c:v>0</c:v>
                      </c:pt>
                      <c:pt idx="6199">
                        <c:v>0</c:v>
                      </c:pt>
                      <c:pt idx="6200">
                        <c:v>0</c:v>
                      </c:pt>
                      <c:pt idx="6201">
                        <c:v>0</c:v>
                      </c:pt>
                      <c:pt idx="6202">
                        <c:v>0</c:v>
                      </c:pt>
                      <c:pt idx="6203">
                        <c:v>0</c:v>
                      </c:pt>
                      <c:pt idx="6204">
                        <c:v>0</c:v>
                      </c:pt>
                      <c:pt idx="6205">
                        <c:v>0</c:v>
                      </c:pt>
                      <c:pt idx="6206">
                        <c:v>0</c:v>
                      </c:pt>
                      <c:pt idx="6207">
                        <c:v>0</c:v>
                      </c:pt>
                      <c:pt idx="6208">
                        <c:v>0</c:v>
                      </c:pt>
                      <c:pt idx="6209">
                        <c:v>0</c:v>
                      </c:pt>
                      <c:pt idx="6210">
                        <c:v>0</c:v>
                      </c:pt>
                      <c:pt idx="6211">
                        <c:v>0</c:v>
                      </c:pt>
                      <c:pt idx="6212">
                        <c:v>0</c:v>
                      </c:pt>
                      <c:pt idx="6213">
                        <c:v>0</c:v>
                      </c:pt>
                      <c:pt idx="6214">
                        <c:v>0</c:v>
                      </c:pt>
                      <c:pt idx="6215">
                        <c:v>0</c:v>
                      </c:pt>
                      <c:pt idx="6216">
                        <c:v>0</c:v>
                      </c:pt>
                      <c:pt idx="6217">
                        <c:v>0</c:v>
                      </c:pt>
                      <c:pt idx="6218">
                        <c:v>0</c:v>
                      </c:pt>
                      <c:pt idx="6219">
                        <c:v>0</c:v>
                      </c:pt>
                      <c:pt idx="6220">
                        <c:v>0</c:v>
                      </c:pt>
                      <c:pt idx="6221">
                        <c:v>0</c:v>
                      </c:pt>
                      <c:pt idx="6222">
                        <c:v>0</c:v>
                      </c:pt>
                      <c:pt idx="6223">
                        <c:v>0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0</c:v>
                      </c:pt>
                      <c:pt idx="6229">
                        <c:v>0</c:v>
                      </c:pt>
                      <c:pt idx="6230">
                        <c:v>0</c:v>
                      </c:pt>
                      <c:pt idx="6231">
                        <c:v>0</c:v>
                      </c:pt>
                      <c:pt idx="6232">
                        <c:v>0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</c:v>
                      </c:pt>
                      <c:pt idx="6252">
                        <c:v>0</c:v>
                      </c:pt>
                      <c:pt idx="6253">
                        <c:v>0</c:v>
                      </c:pt>
                      <c:pt idx="6254">
                        <c:v>0</c:v>
                      </c:pt>
                      <c:pt idx="6255">
                        <c:v>0</c:v>
                      </c:pt>
                      <c:pt idx="6256">
                        <c:v>0</c:v>
                      </c:pt>
                      <c:pt idx="6257">
                        <c:v>0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0</c:v>
                      </c:pt>
                      <c:pt idx="6389">
                        <c:v>0</c:v>
                      </c:pt>
                      <c:pt idx="6390">
                        <c:v>0</c:v>
                      </c:pt>
                      <c:pt idx="6391">
                        <c:v>0</c:v>
                      </c:pt>
                      <c:pt idx="6392">
                        <c:v>0</c:v>
                      </c:pt>
                      <c:pt idx="6393">
                        <c:v>0</c:v>
                      </c:pt>
                      <c:pt idx="6394">
                        <c:v>0</c:v>
                      </c:pt>
                      <c:pt idx="6395">
                        <c:v>0</c:v>
                      </c:pt>
                      <c:pt idx="6396">
                        <c:v>0</c:v>
                      </c:pt>
                      <c:pt idx="6397">
                        <c:v>0</c:v>
                      </c:pt>
                      <c:pt idx="6398">
                        <c:v>0</c:v>
                      </c:pt>
                      <c:pt idx="6399">
                        <c:v>0</c:v>
                      </c:pt>
                      <c:pt idx="6400">
                        <c:v>0</c:v>
                      </c:pt>
                      <c:pt idx="6401">
                        <c:v>0</c:v>
                      </c:pt>
                      <c:pt idx="6402">
                        <c:v>0</c:v>
                      </c:pt>
                      <c:pt idx="6403">
                        <c:v>0</c:v>
                      </c:pt>
                      <c:pt idx="6404">
                        <c:v>0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0</c:v>
                      </c:pt>
                      <c:pt idx="6418">
                        <c:v>0</c:v>
                      </c:pt>
                      <c:pt idx="6419">
                        <c:v>0</c:v>
                      </c:pt>
                      <c:pt idx="6420">
                        <c:v>0</c:v>
                      </c:pt>
                      <c:pt idx="6421">
                        <c:v>0</c:v>
                      </c:pt>
                      <c:pt idx="6422">
                        <c:v>0</c:v>
                      </c:pt>
                      <c:pt idx="6423">
                        <c:v>0</c:v>
                      </c:pt>
                      <c:pt idx="6424">
                        <c:v>0</c:v>
                      </c:pt>
                      <c:pt idx="6425">
                        <c:v>0</c:v>
                      </c:pt>
                      <c:pt idx="6426">
                        <c:v>0</c:v>
                      </c:pt>
                      <c:pt idx="6427">
                        <c:v>0</c:v>
                      </c:pt>
                      <c:pt idx="6428">
                        <c:v>0</c:v>
                      </c:pt>
                      <c:pt idx="6429">
                        <c:v>0</c:v>
                      </c:pt>
                      <c:pt idx="6430">
                        <c:v>0</c:v>
                      </c:pt>
                      <c:pt idx="6431">
                        <c:v>0</c:v>
                      </c:pt>
                      <c:pt idx="6432">
                        <c:v>0</c:v>
                      </c:pt>
                      <c:pt idx="6433">
                        <c:v>0</c:v>
                      </c:pt>
                      <c:pt idx="6434">
                        <c:v>0</c:v>
                      </c:pt>
                      <c:pt idx="6435">
                        <c:v>0</c:v>
                      </c:pt>
                      <c:pt idx="6436">
                        <c:v>0</c:v>
                      </c:pt>
                      <c:pt idx="6437">
                        <c:v>0</c:v>
                      </c:pt>
                      <c:pt idx="6438">
                        <c:v>0</c:v>
                      </c:pt>
                      <c:pt idx="6439">
                        <c:v>0</c:v>
                      </c:pt>
                      <c:pt idx="6440">
                        <c:v>0</c:v>
                      </c:pt>
                      <c:pt idx="6441">
                        <c:v>0</c:v>
                      </c:pt>
                      <c:pt idx="6442">
                        <c:v>0</c:v>
                      </c:pt>
                      <c:pt idx="6443">
                        <c:v>0</c:v>
                      </c:pt>
                      <c:pt idx="6444">
                        <c:v>0</c:v>
                      </c:pt>
                      <c:pt idx="6445">
                        <c:v>0</c:v>
                      </c:pt>
                      <c:pt idx="6446">
                        <c:v>0</c:v>
                      </c:pt>
                      <c:pt idx="6447">
                        <c:v>0</c:v>
                      </c:pt>
                      <c:pt idx="6448">
                        <c:v>0</c:v>
                      </c:pt>
                      <c:pt idx="6449">
                        <c:v>0</c:v>
                      </c:pt>
                      <c:pt idx="6450">
                        <c:v>0</c:v>
                      </c:pt>
                      <c:pt idx="6451">
                        <c:v>0</c:v>
                      </c:pt>
                      <c:pt idx="6452">
                        <c:v>0</c:v>
                      </c:pt>
                      <c:pt idx="6453">
                        <c:v>0</c:v>
                      </c:pt>
                      <c:pt idx="6454">
                        <c:v>0</c:v>
                      </c:pt>
                      <c:pt idx="6455">
                        <c:v>0</c:v>
                      </c:pt>
                      <c:pt idx="6456">
                        <c:v>0</c:v>
                      </c:pt>
                      <c:pt idx="6457">
                        <c:v>0</c:v>
                      </c:pt>
                      <c:pt idx="6458">
                        <c:v>0</c:v>
                      </c:pt>
                      <c:pt idx="6459">
                        <c:v>0</c:v>
                      </c:pt>
                      <c:pt idx="6460">
                        <c:v>0</c:v>
                      </c:pt>
                      <c:pt idx="6461">
                        <c:v>0</c:v>
                      </c:pt>
                      <c:pt idx="6462">
                        <c:v>0</c:v>
                      </c:pt>
                      <c:pt idx="6463">
                        <c:v>0</c:v>
                      </c:pt>
                      <c:pt idx="6464">
                        <c:v>0</c:v>
                      </c:pt>
                      <c:pt idx="6465">
                        <c:v>0</c:v>
                      </c:pt>
                      <c:pt idx="6466">
                        <c:v>0</c:v>
                      </c:pt>
                      <c:pt idx="6467">
                        <c:v>0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0</c:v>
                      </c:pt>
                      <c:pt idx="6483">
                        <c:v>0</c:v>
                      </c:pt>
                      <c:pt idx="6484">
                        <c:v>0</c:v>
                      </c:pt>
                      <c:pt idx="6485">
                        <c:v>0</c:v>
                      </c:pt>
                      <c:pt idx="6486">
                        <c:v>0</c:v>
                      </c:pt>
                      <c:pt idx="6487">
                        <c:v>0</c:v>
                      </c:pt>
                      <c:pt idx="6488">
                        <c:v>0</c:v>
                      </c:pt>
                      <c:pt idx="6489">
                        <c:v>0</c:v>
                      </c:pt>
                      <c:pt idx="6490">
                        <c:v>0</c:v>
                      </c:pt>
                      <c:pt idx="6491">
                        <c:v>0</c:v>
                      </c:pt>
                      <c:pt idx="6492">
                        <c:v>0</c:v>
                      </c:pt>
                      <c:pt idx="6493">
                        <c:v>0</c:v>
                      </c:pt>
                      <c:pt idx="6494">
                        <c:v>0</c:v>
                      </c:pt>
                      <c:pt idx="6495">
                        <c:v>0</c:v>
                      </c:pt>
                      <c:pt idx="6496">
                        <c:v>0</c:v>
                      </c:pt>
                      <c:pt idx="6497">
                        <c:v>0</c:v>
                      </c:pt>
                      <c:pt idx="6498">
                        <c:v>0</c:v>
                      </c:pt>
                      <c:pt idx="6499">
                        <c:v>0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0</c:v>
                      </c:pt>
                      <c:pt idx="6540">
                        <c:v>0</c:v>
                      </c:pt>
                      <c:pt idx="6541">
                        <c:v>0</c:v>
                      </c:pt>
                      <c:pt idx="6542">
                        <c:v>0</c:v>
                      </c:pt>
                      <c:pt idx="6543">
                        <c:v>0</c:v>
                      </c:pt>
                      <c:pt idx="6544">
                        <c:v>0</c:v>
                      </c:pt>
                      <c:pt idx="6545">
                        <c:v>0</c:v>
                      </c:pt>
                      <c:pt idx="6546">
                        <c:v>0</c:v>
                      </c:pt>
                      <c:pt idx="6547">
                        <c:v>0</c:v>
                      </c:pt>
                      <c:pt idx="6548">
                        <c:v>0</c:v>
                      </c:pt>
                      <c:pt idx="6549">
                        <c:v>0</c:v>
                      </c:pt>
                      <c:pt idx="6550">
                        <c:v>0</c:v>
                      </c:pt>
                      <c:pt idx="6551">
                        <c:v>0</c:v>
                      </c:pt>
                      <c:pt idx="6552">
                        <c:v>0</c:v>
                      </c:pt>
                      <c:pt idx="6553">
                        <c:v>0</c:v>
                      </c:pt>
                      <c:pt idx="6554">
                        <c:v>0</c:v>
                      </c:pt>
                      <c:pt idx="6555">
                        <c:v>0</c:v>
                      </c:pt>
                      <c:pt idx="6556">
                        <c:v>0</c:v>
                      </c:pt>
                      <c:pt idx="6557">
                        <c:v>0</c:v>
                      </c:pt>
                      <c:pt idx="6558">
                        <c:v>0</c:v>
                      </c:pt>
                      <c:pt idx="6559">
                        <c:v>0</c:v>
                      </c:pt>
                      <c:pt idx="6560">
                        <c:v>0</c:v>
                      </c:pt>
                      <c:pt idx="6561">
                        <c:v>0</c:v>
                      </c:pt>
                      <c:pt idx="6562">
                        <c:v>0</c:v>
                      </c:pt>
                      <c:pt idx="6563">
                        <c:v>0</c:v>
                      </c:pt>
                      <c:pt idx="6564">
                        <c:v>0</c:v>
                      </c:pt>
                      <c:pt idx="6565">
                        <c:v>0</c:v>
                      </c:pt>
                      <c:pt idx="6566">
                        <c:v>0</c:v>
                      </c:pt>
                      <c:pt idx="6567">
                        <c:v>0</c:v>
                      </c:pt>
                      <c:pt idx="6568">
                        <c:v>0</c:v>
                      </c:pt>
                      <c:pt idx="6569">
                        <c:v>0</c:v>
                      </c:pt>
                      <c:pt idx="6570">
                        <c:v>0</c:v>
                      </c:pt>
                      <c:pt idx="6571">
                        <c:v>0</c:v>
                      </c:pt>
                      <c:pt idx="6572">
                        <c:v>0</c:v>
                      </c:pt>
                      <c:pt idx="6573">
                        <c:v>0</c:v>
                      </c:pt>
                      <c:pt idx="6574">
                        <c:v>0</c:v>
                      </c:pt>
                      <c:pt idx="6575">
                        <c:v>0</c:v>
                      </c:pt>
                      <c:pt idx="6576">
                        <c:v>0</c:v>
                      </c:pt>
                      <c:pt idx="6577">
                        <c:v>0</c:v>
                      </c:pt>
                      <c:pt idx="6578">
                        <c:v>0</c:v>
                      </c:pt>
                      <c:pt idx="6579">
                        <c:v>0</c:v>
                      </c:pt>
                      <c:pt idx="6580">
                        <c:v>0</c:v>
                      </c:pt>
                      <c:pt idx="6581">
                        <c:v>0</c:v>
                      </c:pt>
                      <c:pt idx="6582">
                        <c:v>0</c:v>
                      </c:pt>
                      <c:pt idx="6583">
                        <c:v>0</c:v>
                      </c:pt>
                      <c:pt idx="6584">
                        <c:v>0</c:v>
                      </c:pt>
                      <c:pt idx="6585">
                        <c:v>0</c:v>
                      </c:pt>
                      <c:pt idx="6586">
                        <c:v>0</c:v>
                      </c:pt>
                      <c:pt idx="6587">
                        <c:v>0</c:v>
                      </c:pt>
                      <c:pt idx="6588">
                        <c:v>0</c:v>
                      </c:pt>
                      <c:pt idx="6589">
                        <c:v>0</c:v>
                      </c:pt>
                      <c:pt idx="6590">
                        <c:v>0</c:v>
                      </c:pt>
                      <c:pt idx="6591">
                        <c:v>0</c:v>
                      </c:pt>
                      <c:pt idx="6592">
                        <c:v>0</c:v>
                      </c:pt>
                      <c:pt idx="6593">
                        <c:v>0</c:v>
                      </c:pt>
                      <c:pt idx="6594">
                        <c:v>0</c:v>
                      </c:pt>
                      <c:pt idx="6595">
                        <c:v>0</c:v>
                      </c:pt>
                      <c:pt idx="6596">
                        <c:v>0</c:v>
                      </c:pt>
                      <c:pt idx="6597">
                        <c:v>0</c:v>
                      </c:pt>
                      <c:pt idx="6598">
                        <c:v>0</c:v>
                      </c:pt>
                      <c:pt idx="6599">
                        <c:v>0</c:v>
                      </c:pt>
                      <c:pt idx="6600">
                        <c:v>0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0</c:v>
                      </c:pt>
                      <c:pt idx="6617">
                        <c:v>0</c:v>
                      </c:pt>
                      <c:pt idx="6618">
                        <c:v>0</c:v>
                      </c:pt>
                      <c:pt idx="6619">
                        <c:v>0</c:v>
                      </c:pt>
                      <c:pt idx="6620">
                        <c:v>0</c:v>
                      </c:pt>
                      <c:pt idx="6621">
                        <c:v>0</c:v>
                      </c:pt>
                      <c:pt idx="6622">
                        <c:v>0</c:v>
                      </c:pt>
                      <c:pt idx="6623">
                        <c:v>0</c:v>
                      </c:pt>
                      <c:pt idx="6624">
                        <c:v>0</c:v>
                      </c:pt>
                      <c:pt idx="6625">
                        <c:v>0</c:v>
                      </c:pt>
                      <c:pt idx="6626">
                        <c:v>0</c:v>
                      </c:pt>
                      <c:pt idx="6627">
                        <c:v>0</c:v>
                      </c:pt>
                      <c:pt idx="6628">
                        <c:v>0</c:v>
                      </c:pt>
                      <c:pt idx="6629">
                        <c:v>0</c:v>
                      </c:pt>
                      <c:pt idx="6630">
                        <c:v>0</c:v>
                      </c:pt>
                      <c:pt idx="6631">
                        <c:v>0</c:v>
                      </c:pt>
                      <c:pt idx="6632">
                        <c:v>0</c:v>
                      </c:pt>
                      <c:pt idx="6633">
                        <c:v>0</c:v>
                      </c:pt>
                      <c:pt idx="6634">
                        <c:v>0</c:v>
                      </c:pt>
                      <c:pt idx="6635">
                        <c:v>0</c:v>
                      </c:pt>
                      <c:pt idx="6636">
                        <c:v>0</c:v>
                      </c:pt>
                      <c:pt idx="6637">
                        <c:v>0</c:v>
                      </c:pt>
                      <c:pt idx="6638">
                        <c:v>0</c:v>
                      </c:pt>
                      <c:pt idx="6639">
                        <c:v>0</c:v>
                      </c:pt>
                      <c:pt idx="6640">
                        <c:v>0</c:v>
                      </c:pt>
                      <c:pt idx="6641">
                        <c:v>0</c:v>
                      </c:pt>
                      <c:pt idx="6642">
                        <c:v>0</c:v>
                      </c:pt>
                      <c:pt idx="6643">
                        <c:v>0</c:v>
                      </c:pt>
                      <c:pt idx="6644">
                        <c:v>0</c:v>
                      </c:pt>
                      <c:pt idx="6645">
                        <c:v>0</c:v>
                      </c:pt>
                      <c:pt idx="6646">
                        <c:v>0</c:v>
                      </c:pt>
                      <c:pt idx="6647">
                        <c:v>0</c:v>
                      </c:pt>
                      <c:pt idx="6648">
                        <c:v>0</c:v>
                      </c:pt>
                      <c:pt idx="6649">
                        <c:v>0</c:v>
                      </c:pt>
                      <c:pt idx="6650">
                        <c:v>0</c:v>
                      </c:pt>
                      <c:pt idx="6651">
                        <c:v>0</c:v>
                      </c:pt>
                      <c:pt idx="6652">
                        <c:v>0</c:v>
                      </c:pt>
                      <c:pt idx="6653">
                        <c:v>0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</c:v>
                      </c:pt>
                      <c:pt idx="6664">
                        <c:v>0</c:v>
                      </c:pt>
                      <c:pt idx="6665">
                        <c:v>0</c:v>
                      </c:pt>
                      <c:pt idx="6666">
                        <c:v>0</c:v>
                      </c:pt>
                      <c:pt idx="6667">
                        <c:v>0</c:v>
                      </c:pt>
                      <c:pt idx="6668">
                        <c:v>0</c:v>
                      </c:pt>
                      <c:pt idx="6669">
                        <c:v>0</c:v>
                      </c:pt>
                      <c:pt idx="6670">
                        <c:v>0</c:v>
                      </c:pt>
                      <c:pt idx="6671">
                        <c:v>0</c:v>
                      </c:pt>
                      <c:pt idx="6672">
                        <c:v>0</c:v>
                      </c:pt>
                      <c:pt idx="6673">
                        <c:v>0</c:v>
                      </c:pt>
                      <c:pt idx="6674">
                        <c:v>0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</c:v>
                      </c:pt>
                      <c:pt idx="6696">
                        <c:v>0</c:v>
                      </c:pt>
                      <c:pt idx="6697">
                        <c:v>0</c:v>
                      </c:pt>
                      <c:pt idx="6698">
                        <c:v>0</c:v>
                      </c:pt>
                      <c:pt idx="6699">
                        <c:v>0</c:v>
                      </c:pt>
                      <c:pt idx="6700">
                        <c:v>0</c:v>
                      </c:pt>
                      <c:pt idx="6701">
                        <c:v>0</c:v>
                      </c:pt>
                      <c:pt idx="6702">
                        <c:v>0</c:v>
                      </c:pt>
                      <c:pt idx="6703">
                        <c:v>0</c:v>
                      </c:pt>
                      <c:pt idx="6704">
                        <c:v>0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0</c:v>
                      </c:pt>
                      <c:pt idx="6722">
                        <c:v>0</c:v>
                      </c:pt>
                      <c:pt idx="6723">
                        <c:v>0</c:v>
                      </c:pt>
                      <c:pt idx="6724">
                        <c:v>0</c:v>
                      </c:pt>
                      <c:pt idx="6725">
                        <c:v>0</c:v>
                      </c:pt>
                      <c:pt idx="6726">
                        <c:v>0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</c:v>
                      </c:pt>
                      <c:pt idx="6753">
                        <c:v>0</c:v>
                      </c:pt>
                      <c:pt idx="6754">
                        <c:v>0</c:v>
                      </c:pt>
                      <c:pt idx="6755">
                        <c:v>0</c:v>
                      </c:pt>
                      <c:pt idx="6756">
                        <c:v>0</c:v>
                      </c:pt>
                      <c:pt idx="6757">
                        <c:v>0</c:v>
                      </c:pt>
                      <c:pt idx="6758">
                        <c:v>0</c:v>
                      </c:pt>
                      <c:pt idx="6759">
                        <c:v>0</c:v>
                      </c:pt>
                      <c:pt idx="6760">
                        <c:v>0</c:v>
                      </c:pt>
                      <c:pt idx="6761">
                        <c:v>0</c:v>
                      </c:pt>
                      <c:pt idx="6762">
                        <c:v>0</c:v>
                      </c:pt>
                      <c:pt idx="6763">
                        <c:v>0</c:v>
                      </c:pt>
                      <c:pt idx="6764">
                        <c:v>0</c:v>
                      </c:pt>
                      <c:pt idx="6765">
                        <c:v>0</c:v>
                      </c:pt>
                      <c:pt idx="6766">
                        <c:v>0</c:v>
                      </c:pt>
                      <c:pt idx="6767">
                        <c:v>0</c:v>
                      </c:pt>
                      <c:pt idx="6768">
                        <c:v>0</c:v>
                      </c:pt>
                      <c:pt idx="6769">
                        <c:v>0</c:v>
                      </c:pt>
                      <c:pt idx="6770">
                        <c:v>0</c:v>
                      </c:pt>
                      <c:pt idx="6771">
                        <c:v>0</c:v>
                      </c:pt>
                      <c:pt idx="6772">
                        <c:v>0</c:v>
                      </c:pt>
                      <c:pt idx="6773">
                        <c:v>0</c:v>
                      </c:pt>
                      <c:pt idx="6774">
                        <c:v>0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0</c:v>
                      </c:pt>
                      <c:pt idx="6786">
                        <c:v>0</c:v>
                      </c:pt>
                      <c:pt idx="6787">
                        <c:v>0</c:v>
                      </c:pt>
                      <c:pt idx="6788">
                        <c:v>0</c:v>
                      </c:pt>
                      <c:pt idx="6789">
                        <c:v>0</c:v>
                      </c:pt>
                      <c:pt idx="6790">
                        <c:v>0</c:v>
                      </c:pt>
                      <c:pt idx="6791">
                        <c:v>0</c:v>
                      </c:pt>
                      <c:pt idx="6792">
                        <c:v>0</c:v>
                      </c:pt>
                      <c:pt idx="6793">
                        <c:v>0</c:v>
                      </c:pt>
                      <c:pt idx="6794">
                        <c:v>0</c:v>
                      </c:pt>
                      <c:pt idx="6795">
                        <c:v>0</c:v>
                      </c:pt>
                      <c:pt idx="6796">
                        <c:v>0</c:v>
                      </c:pt>
                      <c:pt idx="6797">
                        <c:v>0</c:v>
                      </c:pt>
                      <c:pt idx="6798">
                        <c:v>0</c:v>
                      </c:pt>
                      <c:pt idx="6799">
                        <c:v>0</c:v>
                      </c:pt>
                      <c:pt idx="6800">
                        <c:v>0</c:v>
                      </c:pt>
                      <c:pt idx="6801">
                        <c:v>0</c:v>
                      </c:pt>
                      <c:pt idx="6802">
                        <c:v>0</c:v>
                      </c:pt>
                      <c:pt idx="6803">
                        <c:v>0</c:v>
                      </c:pt>
                      <c:pt idx="6804">
                        <c:v>0</c:v>
                      </c:pt>
                      <c:pt idx="6805">
                        <c:v>0</c:v>
                      </c:pt>
                      <c:pt idx="6806">
                        <c:v>0</c:v>
                      </c:pt>
                      <c:pt idx="6807">
                        <c:v>0</c:v>
                      </c:pt>
                      <c:pt idx="6808">
                        <c:v>0</c:v>
                      </c:pt>
                      <c:pt idx="6809">
                        <c:v>0</c:v>
                      </c:pt>
                      <c:pt idx="6810">
                        <c:v>0</c:v>
                      </c:pt>
                      <c:pt idx="6811">
                        <c:v>0</c:v>
                      </c:pt>
                      <c:pt idx="6812">
                        <c:v>0</c:v>
                      </c:pt>
                      <c:pt idx="6813">
                        <c:v>0</c:v>
                      </c:pt>
                      <c:pt idx="6814">
                        <c:v>0</c:v>
                      </c:pt>
                      <c:pt idx="6815">
                        <c:v>0</c:v>
                      </c:pt>
                      <c:pt idx="6816">
                        <c:v>0</c:v>
                      </c:pt>
                      <c:pt idx="6817">
                        <c:v>0</c:v>
                      </c:pt>
                      <c:pt idx="6818">
                        <c:v>0</c:v>
                      </c:pt>
                      <c:pt idx="6819">
                        <c:v>0</c:v>
                      </c:pt>
                      <c:pt idx="6820">
                        <c:v>0</c:v>
                      </c:pt>
                      <c:pt idx="6821">
                        <c:v>0</c:v>
                      </c:pt>
                      <c:pt idx="6822">
                        <c:v>0</c:v>
                      </c:pt>
                      <c:pt idx="6823">
                        <c:v>0</c:v>
                      </c:pt>
                      <c:pt idx="6824">
                        <c:v>0</c:v>
                      </c:pt>
                      <c:pt idx="6825">
                        <c:v>0</c:v>
                      </c:pt>
                      <c:pt idx="6826">
                        <c:v>0</c:v>
                      </c:pt>
                      <c:pt idx="6827">
                        <c:v>0</c:v>
                      </c:pt>
                      <c:pt idx="6828">
                        <c:v>0</c:v>
                      </c:pt>
                      <c:pt idx="6829">
                        <c:v>0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0</c:v>
                      </c:pt>
                      <c:pt idx="6846">
                        <c:v>0</c:v>
                      </c:pt>
                      <c:pt idx="6847">
                        <c:v>0</c:v>
                      </c:pt>
                      <c:pt idx="6848">
                        <c:v>0</c:v>
                      </c:pt>
                      <c:pt idx="6849">
                        <c:v>0</c:v>
                      </c:pt>
                      <c:pt idx="6850">
                        <c:v>0</c:v>
                      </c:pt>
                      <c:pt idx="6851">
                        <c:v>0</c:v>
                      </c:pt>
                      <c:pt idx="6852">
                        <c:v>0</c:v>
                      </c:pt>
                      <c:pt idx="6853">
                        <c:v>0</c:v>
                      </c:pt>
                      <c:pt idx="6854">
                        <c:v>0</c:v>
                      </c:pt>
                      <c:pt idx="6855">
                        <c:v>0</c:v>
                      </c:pt>
                      <c:pt idx="6856">
                        <c:v>0</c:v>
                      </c:pt>
                      <c:pt idx="6857">
                        <c:v>0</c:v>
                      </c:pt>
                      <c:pt idx="6858">
                        <c:v>0</c:v>
                      </c:pt>
                      <c:pt idx="6859">
                        <c:v>0</c:v>
                      </c:pt>
                      <c:pt idx="6860">
                        <c:v>0</c:v>
                      </c:pt>
                      <c:pt idx="6861">
                        <c:v>0</c:v>
                      </c:pt>
                      <c:pt idx="6862">
                        <c:v>0</c:v>
                      </c:pt>
                      <c:pt idx="6863">
                        <c:v>0</c:v>
                      </c:pt>
                      <c:pt idx="6864">
                        <c:v>0</c:v>
                      </c:pt>
                      <c:pt idx="6865">
                        <c:v>0</c:v>
                      </c:pt>
                      <c:pt idx="6866">
                        <c:v>0</c:v>
                      </c:pt>
                      <c:pt idx="6867">
                        <c:v>0</c:v>
                      </c:pt>
                      <c:pt idx="6868">
                        <c:v>0</c:v>
                      </c:pt>
                      <c:pt idx="6869">
                        <c:v>0</c:v>
                      </c:pt>
                      <c:pt idx="6870">
                        <c:v>0</c:v>
                      </c:pt>
                      <c:pt idx="6871">
                        <c:v>0</c:v>
                      </c:pt>
                      <c:pt idx="6872">
                        <c:v>0</c:v>
                      </c:pt>
                      <c:pt idx="6873">
                        <c:v>0</c:v>
                      </c:pt>
                      <c:pt idx="6874">
                        <c:v>0</c:v>
                      </c:pt>
                      <c:pt idx="6875">
                        <c:v>0</c:v>
                      </c:pt>
                      <c:pt idx="6876">
                        <c:v>0</c:v>
                      </c:pt>
                      <c:pt idx="6877">
                        <c:v>0</c:v>
                      </c:pt>
                      <c:pt idx="6878">
                        <c:v>0</c:v>
                      </c:pt>
                      <c:pt idx="6879">
                        <c:v>0</c:v>
                      </c:pt>
                      <c:pt idx="6880">
                        <c:v>0</c:v>
                      </c:pt>
                      <c:pt idx="6881">
                        <c:v>0</c:v>
                      </c:pt>
                      <c:pt idx="6882">
                        <c:v>0</c:v>
                      </c:pt>
                      <c:pt idx="6883">
                        <c:v>0</c:v>
                      </c:pt>
                      <c:pt idx="6884">
                        <c:v>0</c:v>
                      </c:pt>
                      <c:pt idx="6885">
                        <c:v>0</c:v>
                      </c:pt>
                      <c:pt idx="6886">
                        <c:v>0</c:v>
                      </c:pt>
                      <c:pt idx="6887">
                        <c:v>0</c:v>
                      </c:pt>
                      <c:pt idx="6888">
                        <c:v>0</c:v>
                      </c:pt>
                      <c:pt idx="6889">
                        <c:v>0</c:v>
                      </c:pt>
                      <c:pt idx="6890">
                        <c:v>0</c:v>
                      </c:pt>
                      <c:pt idx="6891">
                        <c:v>0</c:v>
                      </c:pt>
                      <c:pt idx="6892">
                        <c:v>0</c:v>
                      </c:pt>
                      <c:pt idx="6893">
                        <c:v>0</c:v>
                      </c:pt>
                      <c:pt idx="6894">
                        <c:v>0</c:v>
                      </c:pt>
                      <c:pt idx="6895">
                        <c:v>0</c:v>
                      </c:pt>
                      <c:pt idx="6896">
                        <c:v>0</c:v>
                      </c:pt>
                      <c:pt idx="6897">
                        <c:v>0</c:v>
                      </c:pt>
                      <c:pt idx="6898">
                        <c:v>0</c:v>
                      </c:pt>
                      <c:pt idx="6899">
                        <c:v>0</c:v>
                      </c:pt>
                      <c:pt idx="6900">
                        <c:v>0</c:v>
                      </c:pt>
                      <c:pt idx="6901">
                        <c:v>0</c:v>
                      </c:pt>
                      <c:pt idx="6902">
                        <c:v>0</c:v>
                      </c:pt>
                      <c:pt idx="6903">
                        <c:v>0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</c:v>
                      </c:pt>
                      <c:pt idx="6919">
                        <c:v>0</c:v>
                      </c:pt>
                      <c:pt idx="6920">
                        <c:v>0</c:v>
                      </c:pt>
                      <c:pt idx="6921">
                        <c:v>0</c:v>
                      </c:pt>
                      <c:pt idx="6922">
                        <c:v>0</c:v>
                      </c:pt>
                      <c:pt idx="6923">
                        <c:v>0</c:v>
                      </c:pt>
                      <c:pt idx="6924">
                        <c:v>0</c:v>
                      </c:pt>
                      <c:pt idx="6925">
                        <c:v>0</c:v>
                      </c:pt>
                      <c:pt idx="6926">
                        <c:v>0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0</c:v>
                      </c:pt>
                      <c:pt idx="6949">
                        <c:v>0</c:v>
                      </c:pt>
                      <c:pt idx="6950">
                        <c:v>0</c:v>
                      </c:pt>
                      <c:pt idx="6951">
                        <c:v>0</c:v>
                      </c:pt>
                      <c:pt idx="6952">
                        <c:v>0</c:v>
                      </c:pt>
                      <c:pt idx="6953">
                        <c:v>0</c:v>
                      </c:pt>
                      <c:pt idx="6954">
                        <c:v>0</c:v>
                      </c:pt>
                      <c:pt idx="6955">
                        <c:v>0</c:v>
                      </c:pt>
                      <c:pt idx="6956">
                        <c:v>0</c:v>
                      </c:pt>
                      <c:pt idx="6957">
                        <c:v>0</c:v>
                      </c:pt>
                      <c:pt idx="6958">
                        <c:v>0</c:v>
                      </c:pt>
                      <c:pt idx="6959">
                        <c:v>0</c:v>
                      </c:pt>
                      <c:pt idx="6960">
                        <c:v>0</c:v>
                      </c:pt>
                      <c:pt idx="6961">
                        <c:v>0</c:v>
                      </c:pt>
                      <c:pt idx="6962">
                        <c:v>0</c:v>
                      </c:pt>
                      <c:pt idx="6963">
                        <c:v>0</c:v>
                      </c:pt>
                      <c:pt idx="6964">
                        <c:v>0</c:v>
                      </c:pt>
                      <c:pt idx="6965">
                        <c:v>0</c:v>
                      </c:pt>
                      <c:pt idx="6966">
                        <c:v>0</c:v>
                      </c:pt>
                      <c:pt idx="6967">
                        <c:v>0</c:v>
                      </c:pt>
                      <c:pt idx="6968">
                        <c:v>0</c:v>
                      </c:pt>
                      <c:pt idx="6969">
                        <c:v>0</c:v>
                      </c:pt>
                      <c:pt idx="6970">
                        <c:v>0</c:v>
                      </c:pt>
                      <c:pt idx="6971">
                        <c:v>0</c:v>
                      </c:pt>
                      <c:pt idx="6972">
                        <c:v>0</c:v>
                      </c:pt>
                      <c:pt idx="6973">
                        <c:v>0</c:v>
                      </c:pt>
                      <c:pt idx="6974">
                        <c:v>0</c:v>
                      </c:pt>
                      <c:pt idx="6975">
                        <c:v>0</c:v>
                      </c:pt>
                      <c:pt idx="6976">
                        <c:v>0</c:v>
                      </c:pt>
                      <c:pt idx="6977">
                        <c:v>0</c:v>
                      </c:pt>
                      <c:pt idx="6978">
                        <c:v>0</c:v>
                      </c:pt>
                      <c:pt idx="6979">
                        <c:v>0</c:v>
                      </c:pt>
                      <c:pt idx="6980">
                        <c:v>0</c:v>
                      </c:pt>
                      <c:pt idx="6981">
                        <c:v>0</c:v>
                      </c:pt>
                      <c:pt idx="6982">
                        <c:v>0</c:v>
                      </c:pt>
                      <c:pt idx="6983">
                        <c:v>0</c:v>
                      </c:pt>
                      <c:pt idx="6984">
                        <c:v>0</c:v>
                      </c:pt>
                      <c:pt idx="6985">
                        <c:v>0</c:v>
                      </c:pt>
                      <c:pt idx="6986">
                        <c:v>0</c:v>
                      </c:pt>
                      <c:pt idx="6987">
                        <c:v>0</c:v>
                      </c:pt>
                      <c:pt idx="6988">
                        <c:v>0</c:v>
                      </c:pt>
                      <c:pt idx="6989">
                        <c:v>0</c:v>
                      </c:pt>
                      <c:pt idx="6990">
                        <c:v>0</c:v>
                      </c:pt>
                      <c:pt idx="6991">
                        <c:v>0</c:v>
                      </c:pt>
                      <c:pt idx="6992">
                        <c:v>0</c:v>
                      </c:pt>
                      <c:pt idx="6993">
                        <c:v>0</c:v>
                      </c:pt>
                      <c:pt idx="6994">
                        <c:v>0</c:v>
                      </c:pt>
                      <c:pt idx="6995">
                        <c:v>0</c:v>
                      </c:pt>
                      <c:pt idx="6996">
                        <c:v>0</c:v>
                      </c:pt>
                      <c:pt idx="6997">
                        <c:v>0</c:v>
                      </c:pt>
                      <c:pt idx="6998">
                        <c:v>0</c:v>
                      </c:pt>
                      <c:pt idx="6999">
                        <c:v>0</c:v>
                      </c:pt>
                      <c:pt idx="7000">
                        <c:v>0</c:v>
                      </c:pt>
                      <c:pt idx="7001">
                        <c:v>0</c:v>
                      </c:pt>
                      <c:pt idx="7002">
                        <c:v>0</c:v>
                      </c:pt>
                      <c:pt idx="7003">
                        <c:v>0</c:v>
                      </c:pt>
                      <c:pt idx="7004">
                        <c:v>0</c:v>
                      </c:pt>
                      <c:pt idx="7005">
                        <c:v>0</c:v>
                      </c:pt>
                      <c:pt idx="7006">
                        <c:v>0</c:v>
                      </c:pt>
                      <c:pt idx="7007">
                        <c:v>0</c:v>
                      </c:pt>
                      <c:pt idx="7008">
                        <c:v>0</c:v>
                      </c:pt>
                      <c:pt idx="7009">
                        <c:v>0</c:v>
                      </c:pt>
                      <c:pt idx="7010">
                        <c:v>0</c:v>
                      </c:pt>
                      <c:pt idx="7011">
                        <c:v>0</c:v>
                      </c:pt>
                      <c:pt idx="7012">
                        <c:v>0</c:v>
                      </c:pt>
                      <c:pt idx="7013">
                        <c:v>0</c:v>
                      </c:pt>
                      <c:pt idx="7014">
                        <c:v>0</c:v>
                      </c:pt>
                      <c:pt idx="7015">
                        <c:v>0</c:v>
                      </c:pt>
                      <c:pt idx="7016">
                        <c:v>0</c:v>
                      </c:pt>
                      <c:pt idx="7017">
                        <c:v>0</c:v>
                      </c:pt>
                      <c:pt idx="7018">
                        <c:v>0</c:v>
                      </c:pt>
                      <c:pt idx="7019">
                        <c:v>0</c:v>
                      </c:pt>
                      <c:pt idx="7020">
                        <c:v>0</c:v>
                      </c:pt>
                      <c:pt idx="7021">
                        <c:v>0</c:v>
                      </c:pt>
                      <c:pt idx="7022">
                        <c:v>0</c:v>
                      </c:pt>
                      <c:pt idx="7023">
                        <c:v>0</c:v>
                      </c:pt>
                      <c:pt idx="7024">
                        <c:v>0</c:v>
                      </c:pt>
                      <c:pt idx="7025">
                        <c:v>0</c:v>
                      </c:pt>
                      <c:pt idx="7026">
                        <c:v>0</c:v>
                      </c:pt>
                      <c:pt idx="7027">
                        <c:v>0</c:v>
                      </c:pt>
                      <c:pt idx="7028">
                        <c:v>0</c:v>
                      </c:pt>
                      <c:pt idx="7029">
                        <c:v>0</c:v>
                      </c:pt>
                      <c:pt idx="7030">
                        <c:v>0</c:v>
                      </c:pt>
                      <c:pt idx="7031">
                        <c:v>0</c:v>
                      </c:pt>
                      <c:pt idx="7032">
                        <c:v>0</c:v>
                      </c:pt>
                      <c:pt idx="7033">
                        <c:v>0</c:v>
                      </c:pt>
                      <c:pt idx="7034">
                        <c:v>0</c:v>
                      </c:pt>
                      <c:pt idx="7035">
                        <c:v>0</c:v>
                      </c:pt>
                      <c:pt idx="7036">
                        <c:v>0</c:v>
                      </c:pt>
                      <c:pt idx="7037">
                        <c:v>0</c:v>
                      </c:pt>
                      <c:pt idx="7038">
                        <c:v>0</c:v>
                      </c:pt>
                      <c:pt idx="7039">
                        <c:v>0</c:v>
                      </c:pt>
                      <c:pt idx="7040">
                        <c:v>0</c:v>
                      </c:pt>
                      <c:pt idx="7041">
                        <c:v>0</c:v>
                      </c:pt>
                      <c:pt idx="7042">
                        <c:v>0</c:v>
                      </c:pt>
                      <c:pt idx="7043">
                        <c:v>0</c:v>
                      </c:pt>
                      <c:pt idx="7044">
                        <c:v>0</c:v>
                      </c:pt>
                      <c:pt idx="7045">
                        <c:v>0</c:v>
                      </c:pt>
                      <c:pt idx="7046">
                        <c:v>0</c:v>
                      </c:pt>
                      <c:pt idx="7047">
                        <c:v>0</c:v>
                      </c:pt>
                      <c:pt idx="7048">
                        <c:v>0</c:v>
                      </c:pt>
                      <c:pt idx="7049">
                        <c:v>0</c:v>
                      </c:pt>
                      <c:pt idx="7050">
                        <c:v>0</c:v>
                      </c:pt>
                      <c:pt idx="7051">
                        <c:v>0</c:v>
                      </c:pt>
                      <c:pt idx="7052">
                        <c:v>0</c:v>
                      </c:pt>
                      <c:pt idx="7053">
                        <c:v>0</c:v>
                      </c:pt>
                      <c:pt idx="7054">
                        <c:v>0</c:v>
                      </c:pt>
                      <c:pt idx="7055">
                        <c:v>0</c:v>
                      </c:pt>
                      <c:pt idx="7056">
                        <c:v>0</c:v>
                      </c:pt>
                      <c:pt idx="7057">
                        <c:v>0</c:v>
                      </c:pt>
                      <c:pt idx="7058">
                        <c:v>0</c:v>
                      </c:pt>
                      <c:pt idx="7059">
                        <c:v>0</c:v>
                      </c:pt>
                      <c:pt idx="7060">
                        <c:v>0</c:v>
                      </c:pt>
                      <c:pt idx="7061">
                        <c:v>0</c:v>
                      </c:pt>
                      <c:pt idx="7062">
                        <c:v>0</c:v>
                      </c:pt>
                      <c:pt idx="7063">
                        <c:v>0</c:v>
                      </c:pt>
                      <c:pt idx="7064">
                        <c:v>0</c:v>
                      </c:pt>
                      <c:pt idx="7065">
                        <c:v>0</c:v>
                      </c:pt>
                      <c:pt idx="7066">
                        <c:v>0</c:v>
                      </c:pt>
                      <c:pt idx="7067">
                        <c:v>0</c:v>
                      </c:pt>
                      <c:pt idx="7068">
                        <c:v>0</c:v>
                      </c:pt>
                      <c:pt idx="7069">
                        <c:v>0</c:v>
                      </c:pt>
                      <c:pt idx="7070">
                        <c:v>0</c:v>
                      </c:pt>
                      <c:pt idx="7071">
                        <c:v>0</c:v>
                      </c:pt>
                      <c:pt idx="7072">
                        <c:v>0</c:v>
                      </c:pt>
                      <c:pt idx="7073">
                        <c:v>0</c:v>
                      </c:pt>
                      <c:pt idx="7074">
                        <c:v>0</c:v>
                      </c:pt>
                      <c:pt idx="7075">
                        <c:v>0</c:v>
                      </c:pt>
                      <c:pt idx="7076">
                        <c:v>0</c:v>
                      </c:pt>
                      <c:pt idx="7077">
                        <c:v>0</c:v>
                      </c:pt>
                      <c:pt idx="7078">
                        <c:v>0</c:v>
                      </c:pt>
                      <c:pt idx="7079">
                        <c:v>0</c:v>
                      </c:pt>
                      <c:pt idx="7080">
                        <c:v>0</c:v>
                      </c:pt>
                      <c:pt idx="7081">
                        <c:v>0</c:v>
                      </c:pt>
                      <c:pt idx="7082">
                        <c:v>0</c:v>
                      </c:pt>
                      <c:pt idx="7083">
                        <c:v>0</c:v>
                      </c:pt>
                      <c:pt idx="7084">
                        <c:v>0</c:v>
                      </c:pt>
                      <c:pt idx="7085">
                        <c:v>0</c:v>
                      </c:pt>
                      <c:pt idx="7086">
                        <c:v>0</c:v>
                      </c:pt>
                      <c:pt idx="7087">
                        <c:v>0</c:v>
                      </c:pt>
                      <c:pt idx="7088">
                        <c:v>0</c:v>
                      </c:pt>
                      <c:pt idx="7089">
                        <c:v>0</c:v>
                      </c:pt>
                      <c:pt idx="7090">
                        <c:v>0</c:v>
                      </c:pt>
                      <c:pt idx="7091">
                        <c:v>0</c:v>
                      </c:pt>
                      <c:pt idx="7092">
                        <c:v>0</c:v>
                      </c:pt>
                      <c:pt idx="7093">
                        <c:v>0</c:v>
                      </c:pt>
                      <c:pt idx="7094">
                        <c:v>0</c:v>
                      </c:pt>
                      <c:pt idx="7095">
                        <c:v>0</c:v>
                      </c:pt>
                      <c:pt idx="7096">
                        <c:v>0</c:v>
                      </c:pt>
                      <c:pt idx="7097">
                        <c:v>0</c:v>
                      </c:pt>
                      <c:pt idx="7098">
                        <c:v>0</c:v>
                      </c:pt>
                      <c:pt idx="7099">
                        <c:v>0</c:v>
                      </c:pt>
                      <c:pt idx="7100">
                        <c:v>0</c:v>
                      </c:pt>
                      <c:pt idx="7101">
                        <c:v>0</c:v>
                      </c:pt>
                      <c:pt idx="7102">
                        <c:v>0</c:v>
                      </c:pt>
                      <c:pt idx="7103">
                        <c:v>0</c:v>
                      </c:pt>
                      <c:pt idx="7104">
                        <c:v>0</c:v>
                      </c:pt>
                      <c:pt idx="7105">
                        <c:v>0</c:v>
                      </c:pt>
                      <c:pt idx="7106">
                        <c:v>0</c:v>
                      </c:pt>
                      <c:pt idx="7107">
                        <c:v>0</c:v>
                      </c:pt>
                      <c:pt idx="7108">
                        <c:v>0</c:v>
                      </c:pt>
                      <c:pt idx="7109">
                        <c:v>0</c:v>
                      </c:pt>
                      <c:pt idx="7110">
                        <c:v>0</c:v>
                      </c:pt>
                      <c:pt idx="7111">
                        <c:v>0</c:v>
                      </c:pt>
                      <c:pt idx="7112">
                        <c:v>0</c:v>
                      </c:pt>
                      <c:pt idx="7113">
                        <c:v>0</c:v>
                      </c:pt>
                      <c:pt idx="7114">
                        <c:v>0</c:v>
                      </c:pt>
                      <c:pt idx="7115">
                        <c:v>0</c:v>
                      </c:pt>
                      <c:pt idx="7116">
                        <c:v>0</c:v>
                      </c:pt>
                      <c:pt idx="7117">
                        <c:v>0</c:v>
                      </c:pt>
                      <c:pt idx="7118">
                        <c:v>0</c:v>
                      </c:pt>
                      <c:pt idx="7119">
                        <c:v>0</c:v>
                      </c:pt>
                      <c:pt idx="7120">
                        <c:v>0</c:v>
                      </c:pt>
                      <c:pt idx="7121">
                        <c:v>0</c:v>
                      </c:pt>
                      <c:pt idx="7122">
                        <c:v>0</c:v>
                      </c:pt>
                      <c:pt idx="7123">
                        <c:v>0</c:v>
                      </c:pt>
                      <c:pt idx="7124">
                        <c:v>0</c:v>
                      </c:pt>
                      <c:pt idx="7125">
                        <c:v>0</c:v>
                      </c:pt>
                      <c:pt idx="7126">
                        <c:v>0</c:v>
                      </c:pt>
                      <c:pt idx="7127">
                        <c:v>0</c:v>
                      </c:pt>
                      <c:pt idx="7128">
                        <c:v>0</c:v>
                      </c:pt>
                      <c:pt idx="7129">
                        <c:v>0</c:v>
                      </c:pt>
                      <c:pt idx="7130">
                        <c:v>0</c:v>
                      </c:pt>
                      <c:pt idx="7131">
                        <c:v>0</c:v>
                      </c:pt>
                      <c:pt idx="7132">
                        <c:v>0</c:v>
                      </c:pt>
                      <c:pt idx="7133">
                        <c:v>0</c:v>
                      </c:pt>
                      <c:pt idx="7134">
                        <c:v>0</c:v>
                      </c:pt>
                      <c:pt idx="7135">
                        <c:v>0</c:v>
                      </c:pt>
                      <c:pt idx="7136">
                        <c:v>0</c:v>
                      </c:pt>
                      <c:pt idx="7137">
                        <c:v>0</c:v>
                      </c:pt>
                      <c:pt idx="7138">
                        <c:v>0</c:v>
                      </c:pt>
                      <c:pt idx="7139">
                        <c:v>0</c:v>
                      </c:pt>
                      <c:pt idx="7140">
                        <c:v>0</c:v>
                      </c:pt>
                      <c:pt idx="7141">
                        <c:v>0</c:v>
                      </c:pt>
                      <c:pt idx="7142">
                        <c:v>0</c:v>
                      </c:pt>
                      <c:pt idx="7143">
                        <c:v>0</c:v>
                      </c:pt>
                      <c:pt idx="7144">
                        <c:v>0</c:v>
                      </c:pt>
                      <c:pt idx="7145">
                        <c:v>0</c:v>
                      </c:pt>
                      <c:pt idx="7146">
                        <c:v>0</c:v>
                      </c:pt>
                      <c:pt idx="7147">
                        <c:v>0</c:v>
                      </c:pt>
                      <c:pt idx="7148">
                        <c:v>0</c:v>
                      </c:pt>
                      <c:pt idx="7149">
                        <c:v>0</c:v>
                      </c:pt>
                      <c:pt idx="7150">
                        <c:v>0</c:v>
                      </c:pt>
                      <c:pt idx="7151">
                        <c:v>0</c:v>
                      </c:pt>
                      <c:pt idx="7152">
                        <c:v>0</c:v>
                      </c:pt>
                      <c:pt idx="7153">
                        <c:v>0</c:v>
                      </c:pt>
                      <c:pt idx="7154">
                        <c:v>0</c:v>
                      </c:pt>
                      <c:pt idx="7155">
                        <c:v>0</c:v>
                      </c:pt>
                      <c:pt idx="7156">
                        <c:v>0</c:v>
                      </c:pt>
                      <c:pt idx="7157">
                        <c:v>0</c:v>
                      </c:pt>
                      <c:pt idx="7158">
                        <c:v>0</c:v>
                      </c:pt>
                      <c:pt idx="7159">
                        <c:v>0</c:v>
                      </c:pt>
                      <c:pt idx="7160">
                        <c:v>0</c:v>
                      </c:pt>
                      <c:pt idx="7161">
                        <c:v>0</c:v>
                      </c:pt>
                      <c:pt idx="7162">
                        <c:v>0</c:v>
                      </c:pt>
                      <c:pt idx="7163">
                        <c:v>0</c:v>
                      </c:pt>
                      <c:pt idx="7164">
                        <c:v>0</c:v>
                      </c:pt>
                      <c:pt idx="7165">
                        <c:v>0</c:v>
                      </c:pt>
                      <c:pt idx="7166">
                        <c:v>0</c:v>
                      </c:pt>
                      <c:pt idx="7167">
                        <c:v>0</c:v>
                      </c:pt>
                      <c:pt idx="7168">
                        <c:v>0</c:v>
                      </c:pt>
                      <c:pt idx="7169">
                        <c:v>0</c:v>
                      </c:pt>
                      <c:pt idx="7170">
                        <c:v>0</c:v>
                      </c:pt>
                      <c:pt idx="7171">
                        <c:v>0</c:v>
                      </c:pt>
                      <c:pt idx="7172">
                        <c:v>0</c:v>
                      </c:pt>
                      <c:pt idx="7173">
                        <c:v>0</c:v>
                      </c:pt>
                      <c:pt idx="7174">
                        <c:v>0</c:v>
                      </c:pt>
                      <c:pt idx="7175">
                        <c:v>0</c:v>
                      </c:pt>
                      <c:pt idx="7176">
                        <c:v>0</c:v>
                      </c:pt>
                      <c:pt idx="7177">
                        <c:v>0</c:v>
                      </c:pt>
                      <c:pt idx="7178">
                        <c:v>0</c:v>
                      </c:pt>
                      <c:pt idx="7179">
                        <c:v>0</c:v>
                      </c:pt>
                      <c:pt idx="7180">
                        <c:v>0</c:v>
                      </c:pt>
                      <c:pt idx="7181">
                        <c:v>0</c:v>
                      </c:pt>
                      <c:pt idx="7182">
                        <c:v>0</c:v>
                      </c:pt>
                      <c:pt idx="7183">
                        <c:v>0</c:v>
                      </c:pt>
                      <c:pt idx="7184">
                        <c:v>0</c:v>
                      </c:pt>
                      <c:pt idx="7185">
                        <c:v>0</c:v>
                      </c:pt>
                      <c:pt idx="7186">
                        <c:v>0</c:v>
                      </c:pt>
                      <c:pt idx="7187">
                        <c:v>0</c:v>
                      </c:pt>
                      <c:pt idx="7188">
                        <c:v>0</c:v>
                      </c:pt>
                      <c:pt idx="7189">
                        <c:v>0</c:v>
                      </c:pt>
                      <c:pt idx="7190">
                        <c:v>0</c:v>
                      </c:pt>
                      <c:pt idx="7191">
                        <c:v>0</c:v>
                      </c:pt>
                      <c:pt idx="7192">
                        <c:v>0</c:v>
                      </c:pt>
                      <c:pt idx="7193">
                        <c:v>0</c:v>
                      </c:pt>
                      <c:pt idx="7194">
                        <c:v>0</c:v>
                      </c:pt>
                      <c:pt idx="7195">
                        <c:v>0</c:v>
                      </c:pt>
                      <c:pt idx="7196">
                        <c:v>0</c:v>
                      </c:pt>
                      <c:pt idx="7197">
                        <c:v>0</c:v>
                      </c:pt>
                      <c:pt idx="7198">
                        <c:v>0</c:v>
                      </c:pt>
                      <c:pt idx="7199">
                        <c:v>0</c:v>
                      </c:pt>
                      <c:pt idx="7200">
                        <c:v>0</c:v>
                      </c:pt>
                      <c:pt idx="7201">
                        <c:v>0</c:v>
                      </c:pt>
                      <c:pt idx="7202">
                        <c:v>0</c:v>
                      </c:pt>
                      <c:pt idx="7203">
                        <c:v>0</c:v>
                      </c:pt>
                      <c:pt idx="7204">
                        <c:v>0</c:v>
                      </c:pt>
                      <c:pt idx="7205">
                        <c:v>0</c:v>
                      </c:pt>
                      <c:pt idx="7206">
                        <c:v>0</c:v>
                      </c:pt>
                      <c:pt idx="7207">
                        <c:v>0</c:v>
                      </c:pt>
                      <c:pt idx="7208">
                        <c:v>0</c:v>
                      </c:pt>
                      <c:pt idx="7209">
                        <c:v>0</c:v>
                      </c:pt>
                      <c:pt idx="7210">
                        <c:v>0</c:v>
                      </c:pt>
                      <c:pt idx="7211">
                        <c:v>0</c:v>
                      </c:pt>
                      <c:pt idx="7212">
                        <c:v>0</c:v>
                      </c:pt>
                      <c:pt idx="7213">
                        <c:v>0</c:v>
                      </c:pt>
                      <c:pt idx="7214">
                        <c:v>0</c:v>
                      </c:pt>
                      <c:pt idx="7215">
                        <c:v>0</c:v>
                      </c:pt>
                      <c:pt idx="7216">
                        <c:v>0</c:v>
                      </c:pt>
                      <c:pt idx="7217">
                        <c:v>0</c:v>
                      </c:pt>
                      <c:pt idx="7218">
                        <c:v>0</c:v>
                      </c:pt>
                      <c:pt idx="7219">
                        <c:v>0</c:v>
                      </c:pt>
                      <c:pt idx="7220">
                        <c:v>0</c:v>
                      </c:pt>
                      <c:pt idx="7221">
                        <c:v>0</c:v>
                      </c:pt>
                      <c:pt idx="7222">
                        <c:v>0</c:v>
                      </c:pt>
                      <c:pt idx="7223">
                        <c:v>0</c:v>
                      </c:pt>
                      <c:pt idx="7224">
                        <c:v>0</c:v>
                      </c:pt>
                      <c:pt idx="7225">
                        <c:v>0</c:v>
                      </c:pt>
                      <c:pt idx="7226">
                        <c:v>0</c:v>
                      </c:pt>
                      <c:pt idx="7227">
                        <c:v>0</c:v>
                      </c:pt>
                      <c:pt idx="7228">
                        <c:v>0</c:v>
                      </c:pt>
                      <c:pt idx="7229">
                        <c:v>0</c:v>
                      </c:pt>
                      <c:pt idx="7230">
                        <c:v>0</c:v>
                      </c:pt>
                      <c:pt idx="7231">
                        <c:v>0</c:v>
                      </c:pt>
                      <c:pt idx="7232">
                        <c:v>0</c:v>
                      </c:pt>
                      <c:pt idx="7233">
                        <c:v>0</c:v>
                      </c:pt>
                      <c:pt idx="7234">
                        <c:v>0</c:v>
                      </c:pt>
                      <c:pt idx="7235">
                        <c:v>0</c:v>
                      </c:pt>
                      <c:pt idx="7236">
                        <c:v>0</c:v>
                      </c:pt>
                      <c:pt idx="7237">
                        <c:v>0</c:v>
                      </c:pt>
                      <c:pt idx="7238">
                        <c:v>0</c:v>
                      </c:pt>
                      <c:pt idx="7239">
                        <c:v>0</c:v>
                      </c:pt>
                      <c:pt idx="7240">
                        <c:v>0</c:v>
                      </c:pt>
                      <c:pt idx="7241">
                        <c:v>0</c:v>
                      </c:pt>
                      <c:pt idx="7242">
                        <c:v>0</c:v>
                      </c:pt>
                      <c:pt idx="7243">
                        <c:v>0</c:v>
                      </c:pt>
                      <c:pt idx="7244">
                        <c:v>0</c:v>
                      </c:pt>
                      <c:pt idx="7245">
                        <c:v>0</c:v>
                      </c:pt>
                      <c:pt idx="7246">
                        <c:v>0</c:v>
                      </c:pt>
                      <c:pt idx="7247">
                        <c:v>0</c:v>
                      </c:pt>
                      <c:pt idx="7248">
                        <c:v>0</c:v>
                      </c:pt>
                      <c:pt idx="7249">
                        <c:v>0</c:v>
                      </c:pt>
                      <c:pt idx="7250">
                        <c:v>0</c:v>
                      </c:pt>
                      <c:pt idx="7251">
                        <c:v>0</c:v>
                      </c:pt>
                      <c:pt idx="7252">
                        <c:v>0</c:v>
                      </c:pt>
                      <c:pt idx="7253">
                        <c:v>0</c:v>
                      </c:pt>
                      <c:pt idx="7254">
                        <c:v>0</c:v>
                      </c:pt>
                      <c:pt idx="7255">
                        <c:v>0</c:v>
                      </c:pt>
                      <c:pt idx="7256">
                        <c:v>0</c:v>
                      </c:pt>
                      <c:pt idx="7257">
                        <c:v>0</c:v>
                      </c:pt>
                      <c:pt idx="7258">
                        <c:v>0</c:v>
                      </c:pt>
                      <c:pt idx="7259">
                        <c:v>0</c:v>
                      </c:pt>
                      <c:pt idx="7260">
                        <c:v>0</c:v>
                      </c:pt>
                      <c:pt idx="7261">
                        <c:v>0</c:v>
                      </c:pt>
                      <c:pt idx="7262">
                        <c:v>0</c:v>
                      </c:pt>
                      <c:pt idx="7263">
                        <c:v>0</c:v>
                      </c:pt>
                      <c:pt idx="7264">
                        <c:v>0</c:v>
                      </c:pt>
                      <c:pt idx="7265">
                        <c:v>0</c:v>
                      </c:pt>
                      <c:pt idx="7266">
                        <c:v>0</c:v>
                      </c:pt>
                      <c:pt idx="7267">
                        <c:v>0</c:v>
                      </c:pt>
                      <c:pt idx="7268">
                        <c:v>0</c:v>
                      </c:pt>
                      <c:pt idx="7269">
                        <c:v>0</c:v>
                      </c:pt>
                      <c:pt idx="7270">
                        <c:v>0</c:v>
                      </c:pt>
                      <c:pt idx="7271">
                        <c:v>0</c:v>
                      </c:pt>
                      <c:pt idx="7272">
                        <c:v>0</c:v>
                      </c:pt>
                      <c:pt idx="7273">
                        <c:v>0</c:v>
                      </c:pt>
                      <c:pt idx="7274">
                        <c:v>0</c:v>
                      </c:pt>
                      <c:pt idx="7275">
                        <c:v>0</c:v>
                      </c:pt>
                      <c:pt idx="7276">
                        <c:v>0</c:v>
                      </c:pt>
                      <c:pt idx="7277">
                        <c:v>0</c:v>
                      </c:pt>
                      <c:pt idx="7278">
                        <c:v>0</c:v>
                      </c:pt>
                      <c:pt idx="7279">
                        <c:v>0</c:v>
                      </c:pt>
                      <c:pt idx="7280">
                        <c:v>0</c:v>
                      </c:pt>
                      <c:pt idx="7281">
                        <c:v>0</c:v>
                      </c:pt>
                      <c:pt idx="7282">
                        <c:v>0</c:v>
                      </c:pt>
                      <c:pt idx="7283">
                        <c:v>0</c:v>
                      </c:pt>
                      <c:pt idx="7284">
                        <c:v>0</c:v>
                      </c:pt>
                      <c:pt idx="7285">
                        <c:v>0</c:v>
                      </c:pt>
                      <c:pt idx="7286">
                        <c:v>0</c:v>
                      </c:pt>
                      <c:pt idx="7287">
                        <c:v>0</c:v>
                      </c:pt>
                      <c:pt idx="7288">
                        <c:v>0</c:v>
                      </c:pt>
                      <c:pt idx="7289">
                        <c:v>0</c:v>
                      </c:pt>
                      <c:pt idx="7290">
                        <c:v>0</c:v>
                      </c:pt>
                      <c:pt idx="7291">
                        <c:v>0</c:v>
                      </c:pt>
                      <c:pt idx="7292">
                        <c:v>0</c:v>
                      </c:pt>
                      <c:pt idx="7293">
                        <c:v>0</c:v>
                      </c:pt>
                      <c:pt idx="7294">
                        <c:v>0</c:v>
                      </c:pt>
                      <c:pt idx="7295">
                        <c:v>0</c:v>
                      </c:pt>
                      <c:pt idx="7296">
                        <c:v>0</c:v>
                      </c:pt>
                      <c:pt idx="7297">
                        <c:v>0</c:v>
                      </c:pt>
                      <c:pt idx="7298">
                        <c:v>0</c:v>
                      </c:pt>
                      <c:pt idx="7299">
                        <c:v>0</c:v>
                      </c:pt>
                      <c:pt idx="7300">
                        <c:v>0</c:v>
                      </c:pt>
                      <c:pt idx="7301">
                        <c:v>0</c:v>
                      </c:pt>
                      <c:pt idx="7302">
                        <c:v>0</c:v>
                      </c:pt>
                      <c:pt idx="7303">
                        <c:v>0</c:v>
                      </c:pt>
                      <c:pt idx="7304">
                        <c:v>0</c:v>
                      </c:pt>
                      <c:pt idx="7305">
                        <c:v>0</c:v>
                      </c:pt>
                      <c:pt idx="7306">
                        <c:v>0</c:v>
                      </c:pt>
                      <c:pt idx="7307">
                        <c:v>0</c:v>
                      </c:pt>
                      <c:pt idx="7308">
                        <c:v>0</c:v>
                      </c:pt>
                      <c:pt idx="7309">
                        <c:v>0</c:v>
                      </c:pt>
                      <c:pt idx="7310">
                        <c:v>0</c:v>
                      </c:pt>
                      <c:pt idx="7311">
                        <c:v>0</c:v>
                      </c:pt>
                      <c:pt idx="7312">
                        <c:v>0</c:v>
                      </c:pt>
                      <c:pt idx="7313">
                        <c:v>0</c:v>
                      </c:pt>
                      <c:pt idx="7314">
                        <c:v>0</c:v>
                      </c:pt>
                      <c:pt idx="7315">
                        <c:v>0</c:v>
                      </c:pt>
                      <c:pt idx="7316">
                        <c:v>0</c:v>
                      </c:pt>
                      <c:pt idx="7317">
                        <c:v>0</c:v>
                      </c:pt>
                      <c:pt idx="7318">
                        <c:v>0</c:v>
                      </c:pt>
                      <c:pt idx="7319">
                        <c:v>0</c:v>
                      </c:pt>
                      <c:pt idx="7320">
                        <c:v>0</c:v>
                      </c:pt>
                      <c:pt idx="7321">
                        <c:v>0</c:v>
                      </c:pt>
                      <c:pt idx="7322">
                        <c:v>0</c:v>
                      </c:pt>
                      <c:pt idx="7323">
                        <c:v>0</c:v>
                      </c:pt>
                      <c:pt idx="7324">
                        <c:v>0</c:v>
                      </c:pt>
                      <c:pt idx="7325">
                        <c:v>0</c:v>
                      </c:pt>
                      <c:pt idx="7326">
                        <c:v>0</c:v>
                      </c:pt>
                      <c:pt idx="7327">
                        <c:v>0</c:v>
                      </c:pt>
                      <c:pt idx="7328">
                        <c:v>0</c:v>
                      </c:pt>
                      <c:pt idx="7329">
                        <c:v>0</c:v>
                      </c:pt>
                      <c:pt idx="7330">
                        <c:v>0</c:v>
                      </c:pt>
                      <c:pt idx="7331">
                        <c:v>0</c:v>
                      </c:pt>
                      <c:pt idx="7332">
                        <c:v>0</c:v>
                      </c:pt>
                      <c:pt idx="7333">
                        <c:v>0</c:v>
                      </c:pt>
                      <c:pt idx="7334">
                        <c:v>0</c:v>
                      </c:pt>
                      <c:pt idx="7335">
                        <c:v>0</c:v>
                      </c:pt>
                      <c:pt idx="7336">
                        <c:v>0</c:v>
                      </c:pt>
                      <c:pt idx="7337">
                        <c:v>0</c:v>
                      </c:pt>
                      <c:pt idx="7338">
                        <c:v>0</c:v>
                      </c:pt>
                      <c:pt idx="7339">
                        <c:v>0</c:v>
                      </c:pt>
                      <c:pt idx="7340">
                        <c:v>0</c:v>
                      </c:pt>
                      <c:pt idx="7341">
                        <c:v>0</c:v>
                      </c:pt>
                      <c:pt idx="7342">
                        <c:v>0</c:v>
                      </c:pt>
                      <c:pt idx="7343">
                        <c:v>0</c:v>
                      </c:pt>
                      <c:pt idx="7344">
                        <c:v>0</c:v>
                      </c:pt>
                      <c:pt idx="7345">
                        <c:v>0</c:v>
                      </c:pt>
                      <c:pt idx="7346">
                        <c:v>0</c:v>
                      </c:pt>
                      <c:pt idx="7347">
                        <c:v>0</c:v>
                      </c:pt>
                      <c:pt idx="7348">
                        <c:v>0</c:v>
                      </c:pt>
                      <c:pt idx="7349">
                        <c:v>0</c:v>
                      </c:pt>
                      <c:pt idx="7350">
                        <c:v>0</c:v>
                      </c:pt>
                      <c:pt idx="7351">
                        <c:v>0</c:v>
                      </c:pt>
                      <c:pt idx="7352">
                        <c:v>0</c:v>
                      </c:pt>
                      <c:pt idx="7353">
                        <c:v>0</c:v>
                      </c:pt>
                      <c:pt idx="7354">
                        <c:v>0</c:v>
                      </c:pt>
                      <c:pt idx="7355">
                        <c:v>0</c:v>
                      </c:pt>
                      <c:pt idx="7356">
                        <c:v>0</c:v>
                      </c:pt>
                      <c:pt idx="7357">
                        <c:v>0</c:v>
                      </c:pt>
                      <c:pt idx="7358">
                        <c:v>0</c:v>
                      </c:pt>
                      <c:pt idx="7359">
                        <c:v>0</c:v>
                      </c:pt>
                      <c:pt idx="7360">
                        <c:v>0</c:v>
                      </c:pt>
                      <c:pt idx="7361">
                        <c:v>0</c:v>
                      </c:pt>
                      <c:pt idx="7362">
                        <c:v>0</c:v>
                      </c:pt>
                      <c:pt idx="7363">
                        <c:v>0</c:v>
                      </c:pt>
                      <c:pt idx="7364">
                        <c:v>0</c:v>
                      </c:pt>
                      <c:pt idx="7365">
                        <c:v>0</c:v>
                      </c:pt>
                      <c:pt idx="7366">
                        <c:v>0</c:v>
                      </c:pt>
                      <c:pt idx="7367">
                        <c:v>0</c:v>
                      </c:pt>
                      <c:pt idx="7368">
                        <c:v>0</c:v>
                      </c:pt>
                      <c:pt idx="7369">
                        <c:v>0</c:v>
                      </c:pt>
                      <c:pt idx="7370">
                        <c:v>0</c:v>
                      </c:pt>
                      <c:pt idx="7371">
                        <c:v>0</c:v>
                      </c:pt>
                      <c:pt idx="7372">
                        <c:v>0</c:v>
                      </c:pt>
                      <c:pt idx="7373">
                        <c:v>0</c:v>
                      </c:pt>
                      <c:pt idx="7374">
                        <c:v>0</c:v>
                      </c:pt>
                      <c:pt idx="7375">
                        <c:v>0</c:v>
                      </c:pt>
                      <c:pt idx="7376">
                        <c:v>0</c:v>
                      </c:pt>
                      <c:pt idx="7377">
                        <c:v>0</c:v>
                      </c:pt>
                      <c:pt idx="7378">
                        <c:v>0</c:v>
                      </c:pt>
                      <c:pt idx="7379">
                        <c:v>0</c:v>
                      </c:pt>
                      <c:pt idx="7380">
                        <c:v>0</c:v>
                      </c:pt>
                      <c:pt idx="7381">
                        <c:v>0</c:v>
                      </c:pt>
                      <c:pt idx="7382">
                        <c:v>0</c:v>
                      </c:pt>
                      <c:pt idx="7383">
                        <c:v>0</c:v>
                      </c:pt>
                      <c:pt idx="7384">
                        <c:v>0</c:v>
                      </c:pt>
                      <c:pt idx="7385">
                        <c:v>0</c:v>
                      </c:pt>
                      <c:pt idx="7386">
                        <c:v>0</c:v>
                      </c:pt>
                      <c:pt idx="7387">
                        <c:v>0</c:v>
                      </c:pt>
                      <c:pt idx="7388">
                        <c:v>0</c:v>
                      </c:pt>
                      <c:pt idx="7389">
                        <c:v>0</c:v>
                      </c:pt>
                      <c:pt idx="7390">
                        <c:v>0</c:v>
                      </c:pt>
                      <c:pt idx="7391">
                        <c:v>0</c:v>
                      </c:pt>
                      <c:pt idx="7392">
                        <c:v>0</c:v>
                      </c:pt>
                      <c:pt idx="7393">
                        <c:v>0</c:v>
                      </c:pt>
                      <c:pt idx="7394">
                        <c:v>0</c:v>
                      </c:pt>
                      <c:pt idx="7395">
                        <c:v>0</c:v>
                      </c:pt>
                      <c:pt idx="7396">
                        <c:v>0</c:v>
                      </c:pt>
                      <c:pt idx="7397">
                        <c:v>0</c:v>
                      </c:pt>
                      <c:pt idx="7398">
                        <c:v>0</c:v>
                      </c:pt>
                      <c:pt idx="7399">
                        <c:v>0</c:v>
                      </c:pt>
                      <c:pt idx="7400">
                        <c:v>0</c:v>
                      </c:pt>
                      <c:pt idx="7401">
                        <c:v>0</c:v>
                      </c:pt>
                      <c:pt idx="7402">
                        <c:v>0</c:v>
                      </c:pt>
                      <c:pt idx="7403">
                        <c:v>0</c:v>
                      </c:pt>
                      <c:pt idx="7404">
                        <c:v>0</c:v>
                      </c:pt>
                      <c:pt idx="7405">
                        <c:v>0</c:v>
                      </c:pt>
                      <c:pt idx="7406">
                        <c:v>0</c:v>
                      </c:pt>
                      <c:pt idx="7407">
                        <c:v>0</c:v>
                      </c:pt>
                      <c:pt idx="7408">
                        <c:v>0</c:v>
                      </c:pt>
                      <c:pt idx="7409">
                        <c:v>0</c:v>
                      </c:pt>
                      <c:pt idx="7410">
                        <c:v>0</c:v>
                      </c:pt>
                      <c:pt idx="7411">
                        <c:v>0</c:v>
                      </c:pt>
                      <c:pt idx="7412">
                        <c:v>0</c:v>
                      </c:pt>
                      <c:pt idx="7413">
                        <c:v>0</c:v>
                      </c:pt>
                      <c:pt idx="7414">
                        <c:v>0</c:v>
                      </c:pt>
                      <c:pt idx="7415">
                        <c:v>0</c:v>
                      </c:pt>
                      <c:pt idx="7416">
                        <c:v>0</c:v>
                      </c:pt>
                      <c:pt idx="7417">
                        <c:v>0</c:v>
                      </c:pt>
                      <c:pt idx="7418">
                        <c:v>0</c:v>
                      </c:pt>
                      <c:pt idx="7419">
                        <c:v>0</c:v>
                      </c:pt>
                      <c:pt idx="7420">
                        <c:v>0</c:v>
                      </c:pt>
                      <c:pt idx="7421">
                        <c:v>0</c:v>
                      </c:pt>
                      <c:pt idx="7422">
                        <c:v>0</c:v>
                      </c:pt>
                      <c:pt idx="7423">
                        <c:v>0</c:v>
                      </c:pt>
                      <c:pt idx="7424">
                        <c:v>0</c:v>
                      </c:pt>
                      <c:pt idx="7425">
                        <c:v>0</c:v>
                      </c:pt>
                      <c:pt idx="7426">
                        <c:v>0</c:v>
                      </c:pt>
                      <c:pt idx="7427">
                        <c:v>0</c:v>
                      </c:pt>
                      <c:pt idx="7428">
                        <c:v>0</c:v>
                      </c:pt>
                      <c:pt idx="7429">
                        <c:v>0</c:v>
                      </c:pt>
                      <c:pt idx="7430">
                        <c:v>0</c:v>
                      </c:pt>
                      <c:pt idx="7431">
                        <c:v>0</c:v>
                      </c:pt>
                      <c:pt idx="7432">
                        <c:v>0</c:v>
                      </c:pt>
                      <c:pt idx="7433">
                        <c:v>0</c:v>
                      </c:pt>
                      <c:pt idx="7434">
                        <c:v>0</c:v>
                      </c:pt>
                      <c:pt idx="7435">
                        <c:v>0</c:v>
                      </c:pt>
                      <c:pt idx="7436">
                        <c:v>0</c:v>
                      </c:pt>
                      <c:pt idx="7437">
                        <c:v>0</c:v>
                      </c:pt>
                      <c:pt idx="7438">
                        <c:v>0</c:v>
                      </c:pt>
                      <c:pt idx="7439">
                        <c:v>0</c:v>
                      </c:pt>
                      <c:pt idx="7440">
                        <c:v>0</c:v>
                      </c:pt>
                      <c:pt idx="7441">
                        <c:v>0</c:v>
                      </c:pt>
                      <c:pt idx="7442">
                        <c:v>0</c:v>
                      </c:pt>
                      <c:pt idx="7443">
                        <c:v>0</c:v>
                      </c:pt>
                      <c:pt idx="7444">
                        <c:v>0</c:v>
                      </c:pt>
                      <c:pt idx="7445">
                        <c:v>0</c:v>
                      </c:pt>
                      <c:pt idx="7446">
                        <c:v>0</c:v>
                      </c:pt>
                      <c:pt idx="7447">
                        <c:v>0</c:v>
                      </c:pt>
                      <c:pt idx="7448">
                        <c:v>0</c:v>
                      </c:pt>
                      <c:pt idx="7449">
                        <c:v>0</c:v>
                      </c:pt>
                      <c:pt idx="7450">
                        <c:v>0</c:v>
                      </c:pt>
                      <c:pt idx="7451">
                        <c:v>0</c:v>
                      </c:pt>
                      <c:pt idx="7452">
                        <c:v>0</c:v>
                      </c:pt>
                      <c:pt idx="7453">
                        <c:v>0</c:v>
                      </c:pt>
                      <c:pt idx="7454">
                        <c:v>0</c:v>
                      </c:pt>
                      <c:pt idx="7455">
                        <c:v>0</c:v>
                      </c:pt>
                      <c:pt idx="7456">
                        <c:v>0</c:v>
                      </c:pt>
                      <c:pt idx="7457">
                        <c:v>0</c:v>
                      </c:pt>
                      <c:pt idx="7458">
                        <c:v>0</c:v>
                      </c:pt>
                      <c:pt idx="7459">
                        <c:v>0</c:v>
                      </c:pt>
                      <c:pt idx="7460">
                        <c:v>0</c:v>
                      </c:pt>
                      <c:pt idx="7461">
                        <c:v>0</c:v>
                      </c:pt>
                      <c:pt idx="7462">
                        <c:v>0</c:v>
                      </c:pt>
                      <c:pt idx="7463">
                        <c:v>0</c:v>
                      </c:pt>
                      <c:pt idx="7464">
                        <c:v>0</c:v>
                      </c:pt>
                      <c:pt idx="7465">
                        <c:v>0</c:v>
                      </c:pt>
                      <c:pt idx="7466">
                        <c:v>0</c:v>
                      </c:pt>
                      <c:pt idx="7467">
                        <c:v>0</c:v>
                      </c:pt>
                      <c:pt idx="7468">
                        <c:v>0</c:v>
                      </c:pt>
                      <c:pt idx="7469">
                        <c:v>0</c:v>
                      </c:pt>
                      <c:pt idx="7470">
                        <c:v>0</c:v>
                      </c:pt>
                      <c:pt idx="7471">
                        <c:v>0</c:v>
                      </c:pt>
                      <c:pt idx="7472">
                        <c:v>0</c:v>
                      </c:pt>
                      <c:pt idx="7473">
                        <c:v>0</c:v>
                      </c:pt>
                      <c:pt idx="7474">
                        <c:v>0</c:v>
                      </c:pt>
                      <c:pt idx="7475">
                        <c:v>0</c:v>
                      </c:pt>
                      <c:pt idx="7476">
                        <c:v>0</c:v>
                      </c:pt>
                      <c:pt idx="7477">
                        <c:v>0</c:v>
                      </c:pt>
                      <c:pt idx="7478">
                        <c:v>0</c:v>
                      </c:pt>
                      <c:pt idx="7479">
                        <c:v>0</c:v>
                      </c:pt>
                      <c:pt idx="7480">
                        <c:v>0</c:v>
                      </c:pt>
                      <c:pt idx="7481">
                        <c:v>0</c:v>
                      </c:pt>
                      <c:pt idx="7482">
                        <c:v>0</c:v>
                      </c:pt>
                      <c:pt idx="7483">
                        <c:v>0</c:v>
                      </c:pt>
                      <c:pt idx="7484">
                        <c:v>0</c:v>
                      </c:pt>
                      <c:pt idx="7485">
                        <c:v>0</c:v>
                      </c:pt>
                      <c:pt idx="7486">
                        <c:v>0</c:v>
                      </c:pt>
                      <c:pt idx="7487">
                        <c:v>0</c:v>
                      </c:pt>
                      <c:pt idx="7488">
                        <c:v>0</c:v>
                      </c:pt>
                      <c:pt idx="7489">
                        <c:v>0</c:v>
                      </c:pt>
                      <c:pt idx="7490">
                        <c:v>0</c:v>
                      </c:pt>
                      <c:pt idx="7491">
                        <c:v>0</c:v>
                      </c:pt>
                      <c:pt idx="7492">
                        <c:v>0</c:v>
                      </c:pt>
                      <c:pt idx="7493">
                        <c:v>0</c:v>
                      </c:pt>
                      <c:pt idx="7494">
                        <c:v>0</c:v>
                      </c:pt>
                      <c:pt idx="7495">
                        <c:v>0</c:v>
                      </c:pt>
                      <c:pt idx="7496">
                        <c:v>0</c:v>
                      </c:pt>
                      <c:pt idx="7497">
                        <c:v>0</c:v>
                      </c:pt>
                      <c:pt idx="7498">
                        <c:v>0</c:v>
                      </c:pt>
                      <c:pt idx="7499">
                        <c:v>0</c:v>
                      </c:pt>
                      <c:pt idx="7500">
                        <c:v>0</c:v>
                      </c:pt>
                      <c:pt idx="7501">
                        <c:v>0</c:v>
                      </c:pt>
                      <c:pt idx="7502">
                        <c:v>0</c:v>
                      </c:pt>
                      <c:pt idx="7503">
                        <c:v>0</c:v>
                      </c:pt>
                      <c:pt idx="7504">
                        <c:v>0</c:v>
                      </c:pt>
                      <c:pt idx="7505">
                        <c:v>0</c:v>
                      </c:pt>
                      <c:pt idx="7506">
                        <c:v>0</c:v>
                      </c:pt>
                      <c:pt idx="7507">
                        <c:v>0</c:v>
                      </c:pt>
                      <c:pt idx="7508">
                        <c:v>0</c:v>
                      </c:pt>
                      <c:pt idx="7509">
                        <c:v>0</c:v>
                      </c:pt>
                      <c:pt idx="7510">
                        <c:v>0</c:v>
                      </c:pt>
                      <c:pt idx="7511">
                        <c:v>0</c:v>
                      </c:pt>
                      <c:pt idx="7512">
                        <c:v>0</c:v>
                      </c:pt>
                      <c:pt idx="7513">
                        <c:v>0</c:v>
                      </c:pt>
                      <c:pt idx="7514">
                        <c:v>0</c:v>
                      </c:pt>
                      <c:pt idx="7515">
                        <c:v>0</c:v>
                      </c:pt>
                      <c:pt idx="7516">
                        <c:v>0</c:v>
                      </c:pt>
                      <c:pt idx="7517">
                        <c:v>0</c:v>
                      </c:pt>
                      <c:pt idx="7518">
                        <c:v>0</c:v>
                      </c:pt>
                      <c:pt idx="7519">
                        <c:v>0</c:v>
                      </c:pt>
                      <c:pt idx="7520">
                        <c:v>0</c:v>
                      </c:pt>
                      <c:pt idx="7521">
                        <c:v>0</c:v>
                      </c:pt>
                      <c:pt idx="7522">
                        <c:v>0</c:v>
                      </c:pt>
                      <c:pt idx="7523">
                        <c:v>0</c:v>
                      </c:pt>
                      <c:pt idx="7524">
                        <c:v>0</c:v>
                      </c:pt>
                      <c:pt idx="7525">
                        <c:v>0</c:v>
                      </c:pt>
                      <c:pt idx="7526">
                        <c:v>0</c:v>
                      </c:pt>
                      <c:pt idx="7527">
                        <c:v>0</c:v>
                      </c:pt>
                      <c:pt idx="7528">
                        <c:v>0</c:v>
                      </c:pt>
                      <c:pt idx="7529">
                        <c:v>0</c:v>
                      </c:pt>
                      <c:pt idx="7530">
                        <c:v>0</c:v>
                      </c:pt>
                      <c:pt idx="7531">
                        <c:v>0</c:v>
                      </c:pt>
                      <c:pt idx="7532">
                        <c:v>0</c:v>
                      </c:pt>
                      <c:pt idx="7533">
                        <c:v>0</c:v>
                      </c:pt>
                      <c:pt idx="7534">
                        <c:v>0</c:v>
                      </c:pt>
                      <c:pt idx="7535">
                        <c:v>0</c:v>
                      </c:pt>
                      <c:pt idx="7536">
                        <c:v>0</c:v>
                      </c:pt>
                      <c:pt idx="7537">
                        <c:v>0</c:v>
                      </c:pt>
                      <c:pt idx="7538">
                        <c:v>0</c:v>
                      </c:pt>
                      <c:pt idx="7539">
                        <c:v>0</c:v>
                      </c:pt>
                      <c:pt idx="7540">
                        <c:v>0</c:v>
                      </c:pt>
                      <c:pt idx="7541">
                        <c:v>0</c:v>
                      </c:pt>
                      <c:pt idx="7542">
                        <c:v>0</c:v>
                      </c:pt>
                      <c:pt idx="7543">
                        <c:v>0</c:v>
                      </c:pt>
                      <c:pt idx="7544">
                        <c:v>0</c:v>
                      </c:pt>
                      <c:pt idx="7545">
                        <c:v>0</c:v>
                      </c:pt>
                      <c:pt idx="7546">
                        <c:v>0</c:v>
                      </c:pt>
                      <c:pt idx="7547">
                        <c:v>0</c:v>
                      </c:pt>
                      <c:pt idx="7548">
                        <c:v>0</c:v>
                      </c:pt>
                      <c:pt idx="7549">
                        <c:v>0</c:v>
                      </c:pt>
                      <c:pt idx="7550">
                        <c:v>0</c:v>
                      </c:pt>
                      <c:pt idx="7551">
                        <c:v>0</c:v>
                      </c:pt>
                      <c:pt idx="7552">
                        <c:v>0</c:v>
                      </c:pt>
                      <c:pt idx="7553">
                        <c:v>0</c:v>
                      </c:pt>
                      <c:pt idx="7554">
                        <c:v>0</c:v>
                      </c:pt>
                      <c:pt idx="7555">
                        <c:v>0</c:v>
                      </c:pt>
                      <c:pt idx="7556">
                        <c:v>0</c:v>
                      </c:pt>
                      <c:pt idx="7557">
                        <c:v>0</c:v>
                      </c:pt>
                      <c:pt idx="7558">
                        <c:v>0</c:v>
                      </c:pt>
                      <c:pt idx="7559">
                        <c:v>0</c:v>
                      </c:pt>
                      <c:pt idx="7560">
                        <c:v>0</c:v>
                      </c:pt>
                      <c:pt idx="7561">
                        <c:v>0</c:v>
                      </c:pt>
                      <c:pt idx="7562">
                        <c:v>0</c:v>
                      </c:pt>
                      <c:pt idx="7563">
                        <c:v>0</c:v>
                      </c:pt>
                      <c:pt idx="7564">
                        <c:v>0</c:v>
                      </c:pt>
                      <c:pt idx="7565">
                        <c:v>0</c:v>
                      </c:pt>
                      <c:pt idx="7566">
                        <c:v>0</c:v>
                      </c:pt>
                      <c:pt idx="7567">
                        <c:v>0</c:v>
                      </c:pt>
                      <c:pt idx="7568">
                        <c:v>0</c:v>
                      </c:pt>
                      <c:pt idx="7569">
                        <c:v>0</c:v>
                      </c:pt>
                      <c:pt idx="7570">
                        <c:v>0</c:v>
                      </c:pt>
                      <c:pt idx="7571">
                        <c:v>0</c:v>
                      </c:pt>
                      <c:pt idx="7572">
                        <c:v>0</c:v>
                      </c:pt>
                      <c:pt idx="7573">
                        <c:v>0</c:v>
                      </c:pt>
                      <c:pt idx="7574">
                        <c:v>0</c:v>
                      </c:pt>
                      <c:pt idx="7575">
                        <c:v>0</c:v>
                      </c:pt>
                      <c:pt idx="7576">
                        <c:v>0</c:v>
                      </c:pt>
                      <c:pt idx="7577">
                        <c:v>0</c:v>
                      </c:pt>
                      <c:pt idx="7578">
                        <c:v>0</c:v>
                      </c:pt>
                      <c:pt idx="7579">
                        <c:v>0</c:v>
                      </c:pt>
                      <c:pt idx="7580">
                        <c:v>0</c:v>
                      </c:pt>
                      <c:pt idx="7581">
                        <c:v>0</c:v>
                      </c:pt>
                      <c:pt idx="7582">
                        <c:v>0</c:v>
                      </c:pt>
                      <c:pt idx="7583">
                        <c:v>0</c:v>
                      </c:pt>
                      <c:pt idx="7584">
                        <c:v>0</c:v>
                      </c:pt>
                      <c:pt idx="7585">
                        <c:v>0</c:v>
                      </c:pt>
                      <c:pt idx="7586">
                        <c:v>0</c:v>
                      </c:pt>
                      <c:pt idx="7587">
                        <c:v>0</c:v>
                      </c:pt>
                      <c:pt idx="7588">
                        <c:v>0</c:v>
                      </c:pt>
                      <c:pt idx="7589">
                        <c:v>0</c:v>
                      </c:pt>
                      <c:pt idx="7590">
                        <c:v>0</c:v>
                      </c:pt>
                      <c:pt idx="7591">
                        <c:v>0</c:v>
                      </c:pt>
                      <c:pt idx="7592">
                        <c:v>0</c:v>
                      </c:pt>
                      <c:pt idx="7593">
                        <c:v>0</c:v>
                      </c:pt>
                      <c:pt idx="7594">
                        <c:v>0</c:v>
                      </c:pt>
                      <c:pt idx="7595">
                        <c:v>0</c:v>
                      </c:pt>
                      <c:pt idx="7596">
                        <c:v>0</c:v>
                      </c:pt>
                      <c:pt idx="7597">
                        <c:v>0</c:v>
                      </c:pt>
                      <c:pt idx="7598">
                        <c:v>0</c:v>
                      </c:pt>
                      <c:pt idx="7599">
                        <c:v>0</c:v>
                      </c:pt>
                      <c:pt idx="7600">
                        <c:v>0</c:v>
                      </c:pt>
                      <c:pt idx="7601">
                        <c:v>0</c:v>
                      </c:pt>
                      <c:pt idx="7602">
                        <c:v>0</c:v>
                      </c:pt>
                      <c:pt idx="7603">
                        <c:v>0</c:v>
                      </c:pt>
                      <c:pt idx="7604">
                        <c:v>0</c:v>
                      </c:pt>
                      <c:pt idx="7605">
                        <c:v>0</c:v>
                      </c:pt>
                      <c:pt idx="7606">
                        <c:v>0</c:v>
                      </c:pt>
                      <c:pt idx="7607">
                        <c:v>0</c:v>
                      </c:pt>
                      <c:pt idx="7608">
                        <c:v>0</c:v>
                      </c:pt>
                      <c:pt idx="7609">
                        <c:v>0</c:v>
                      </c:pt>
                      <c:pt idx="7610">
                        <c:v>0</c:v>
                      </c:pt>
                      <c:pt idx="7611">
                        <c:v>0</c:v>
                      </c:pt>
                      <c:pt idx="7612">
                        <c:v>0</c:v>
                      </c:pt>
                      <c:pt idx="7613">
                        <c:v>0</c:v>
                      </c:pt>
                      <c:pt idx="7614">
                        <c:v>0</c:v>
                      </c:pt>
                      <c:pt idx="7615">
                        <c:v>0</c:v>
                      </c:pt>
                      <c:pt idx="7616">
                        <c:v>0</c:v>
                      </c:pt>
                      <c:pt idx="7617">
                        <c:v>0</c:v>
                      </c:pt>
                      <c:pt idx="7618">
                        <c:v>0</c:v>
                      </c:pt>
                      <c:pt idx="7619">
                        <c:v>0</c:v>
                      </c:pt>
                      <c:pt idx="7620">
                        <c:v>0</c:v>
                      </c:pt>
                      <c:pt idx="7621">
                        <c:v>0</c:v>
                      </c:pt>
                      <c:pt idx="7622">
                        <c:v>0</c:v>
                      </c:pt>
                      <c:pt idx="7623">
                        <c:v>0</c:v>
                      </c:pt>
                      <c:pt idx="7624">
                        <c:v>0</c:v>
                      </c:pt>
                      <c:pt idx="7625">
                        <c:v>0</c:v>
                      </c:pt>
                      <c:pt idx="7626">
                        <c:v>0</c:v>
                      </c:pt>
                      <c:pt idx="7627">
                        <c:v>0</c:v>
                      </c:pt>
                      <c:pt idx="7628">
                        <c:v>0</c:v>
                      </c:pt>
                      <c:pt idx="7629">
                        <c:v>0</c:v>
                      </c:pt>
                      <c:pt idx="7630">
                        <c:v>0</c:v>
                      </c:pt>
                      <c:pt idx="7631">
                        <c:v>0</c:v>
                      </c:pt>
                      <c:pt idx="7632">
                        <c:v>0</c:v>
                      </c:pt>
                      <c:pt idx="7633">
                        <c:v>0</c:v>
                      </c:pt>
                      <c:pt idx="7634">
                        <c:v>0</c:v>
                      </c:pt>
                      <c:pt idx="7635">
                        <c:v>0</c:v>
                      </c:pt>
                      <c:pt idx="7636">
                        <c:v>0</c:v>
                      </c:pt>
                      <c:pt idx="7637">
                        <c:v>0</c:v>
                      </c:pt>
                      <c:pt idx="7638">
                        <c:v>0</c:v>
                      </c:pt>
                      <c:pt idx="7639">
                        <c:v>0</c:v>
                      </c:pt>
                      <c:pt idx="7640">
                        <c:v>0</c:v>
                      </c:pt>
                      <c:pt idx="7641">
                        <c:v>0</c:v>
                      </c:pt>
                      <c:pt idx="7642">
                        <c:v>0</c:v>
                      </c:pt>
                      <c:pt idx="7643">
                        <c:v>0</c:v>
                      </c:pt>
                      <c:pt idx="7644">
                        <c:v>0</c:v>
                      </c:pt>
                      <c:pt idx="7645">
                        <c:v>0</c:v>
                      </c:pt>
                      <c:pt idx="7646">
                        <c:v>0</c:v>
                      </c:pt>
                      <c:pt idx="7647">
                        <c:v>0</c:v>
                      </c:pt>
                      <c:pt idx="7648">
                        <c:v>0</c:v>
                      </c:pt>
                      <c:pt idx="7649">
                        <c:v>0</c:v>
                      </c:pt>
                      <c:pt idx="7650">
                        <c:v>0</c:v>
                      </c:pt>
                      <c:pt idx="7651">
                        <c:v>0</c:v>
                      </c:pt>
                      <c:pt idx="7652">
                        <c:v>0</c:v>
                      </c:pt>
                      <c:pt idx="7653">
                        <c:v>0</c:v>
                      </c:pt>
                      <c:pt idx="7654">
                        <c:v>0</c:v>
                      </c:pt>
                      <c:pt idx="7655">
                        <c:v>0</c:v>
                      </c:pt>
                      <c:pt idx="7656">
                        <c:v>0</c:v>
                      </c:pt>
                      <c:pt idx="7657">
                        <c:v>0</c:v>
                      </c:pt>
                      <c:pt idx="7658">
                        <c:v>0</c:v>
                      </c:pt>
                      <c:pt idx="7659">
                        <c:v>0</c:v>
                      </c:pt>
                      <c:pt idx="7660">
                        <c:v>0</c:v>
                      </c:pt>
                      <c:pt idx="7661">
                        <c:v>0</c:v>
                      </c:pt>
                      <c:pt idx="7662">
                        <c:v>0</c:v>
                      </c:pt>
                      <c:pt idx="7663">
                        <c:v>0</c:v>
                      </c:pt>
                      <c:pt idx="7664">
                        <c:v>0</c:v>
                      </c:pt>
                      <c:pt idx="7665">
                        <c:v>0</c:v>
                      </c:pt>
                      <c:pt idx="7666">
                        <c:v>0</c:v>
                      </c:pt>
                      <c:pt idx="7667">
                        <c:v>0</c:v>
                      </c:pt>
                      <c:pt idx="7668">
                        <c:v>0</c:v>
                      </c:pt>
                      <c:pt idx="7669">
                        <c:v>0</c:v>
                      </c:pt>
                      <c:pt idx="7670">
                        <c:v>0</c:v>
                      </c:pt>
                      <c:pt idx="7671">
                        <c:v>0</c:v>
                      </c:pt>
                      <c:pt idx="7672">
                        <c:v>0</c:v>
                      </c:pt>
                      <c:pt idx="7673">
                        <c:v>0</c:v>
                      </c:pt>
                      <c:pt idx="7674">
                        <c:v>0</c:v>
                      </c:pt>
                      <c:pt idx="7675">
                        <c:v>0</c:v>
                      </c:pt>
                      <c:pt idx="7676">
                        <c:v>0</c:v>
                      </c:pt>
                      <c:pt idx="7677">
                        <c:v>0</c:v>
                      </c:pt>
                      <c:pt idx="7678">
                        <c:v>0</c:v>
                      </c:pt>
                      <c:pt idx="7679">
                        <c:v>0</c:v>
                      </c:pt>
                      <c:pt idx="7680">
                        <c:v>0</c:v>
                      </c:pt>
                      <c:pt idx="7681">
                        <c:v>0</c:v>
                      </c:pt>
                      <c:pt idx="7682">
                        <c:v>0</c:v>
                      </c:pt>
                      <c:pt idx="7683">
                        <c:v>0</c:v>
                      </c:pt>
                      <c:pt idx="7684">
                        <c:v>0</c:v>
                      </c:pt>
                      <c:pt idx="7685">
                        <c:v>0</c:v>
                      </c:pt>
                      <c:pt idx="7686">
                        <c:v>0</c:v>
                      </c:pt>
                      <c:pt idx="7687">
                        <c:v>0</c:v>
                      </c:pt>
                      <c:pt idx="7688">
                        <c:v>0</c:v>
                      </c:pt>
                      <c:pt idx="7689">
                        <c:v>0</c:v>
                      </c:pt>
                      <c:pt idx="7690">
                        <c:v>0</c:v>
                      </c:pt>
                      <c:pt idx="7691">
                        <c:v>0</c:v>
                      </c:pt>
                      <c:pt idx="7692">
                        <c:v>0</c:v>
                      </c:pt>
                      <c:pt idx="7693">
                        <c:v>0</c:v>
                      </c:pt>
                      <c:pt idx="7694">
                        <c:v>0</c:v>
                      </c:pt>
                      <c:pt idx="7695">
                        <c:v>0</c:v>
                      </c:pt>
                      <c:pt idx="7696">
                        <c:v>0</c:v>
                      </c:pt>
                      <c:pt idx="7697">
                        <c:v>0</c:v>
                      </c:pt>
                      <c:pt idx="7698">
                        <c:v>0</c:v>
                      </c:pt>
                      <c:pt idx="7699">
                        <c:v>0</c:v>
                      </c:pt>
                      <c:pt idx="7700">
                        <c:v>0</c:v>
                      </c:pt>
                      <c:pt idx="7701">
                        <c:v>0</c:v>
                      </c:pt>
                      <c:pt idx="7702">
                        <c:v>0</c:v>
                      </c:pt>
                      <c:pt idx="7703">
                        <c:v>0</c:v>
                      </c:pt>
                      <c:pt idx="7704">
                        <c:v>0</c:v>
                      </c:pt>
                      <c:pt idx="7705">
                        <c:v>0</c:v>
                      </c:pt>
                      <c:pt idx="7706">
                        <c:v>0</c:v>
                      </c:pt>
                      <c:pt idx="7707">
                        <c:v>0</c:v>
                      </c:pt>
                      <c:pt idx="7708">
                        <c:v>0</c:v>
                      </c:pt>
                      <c:pt idx="7709">
                        <c:v>0</c:v>
                      </c:pt>
                      <c:pt idx="7710">
                        <c:v>0</c:v>
                      </c:pt>
                      <c:pt idx="7711">
                        <c:v>0</c:v>
                      </c:pt>
                      <c:pt idx="7712">
                        <c:v>0</c:v>
                      </c:pt>
                      <c:pt idx="7713">
                        <c:v>0</c:v>
                      </c:pt>
                      <c:pt idx="7714">
                        <c:v>0</c:v>
                      </c:pt>
                      <c:pt idx="7715">
                        <c:v>0</c:v>
                      </c:pt>
                      <c:pt idx="7716">
                        <c:v>0</c:v>
                      </c:pt>
                      <c:pt idx="7717">
                        <c:v>0</c:v>
                      </c:pt>
                      <c:pt idx="7718">
                        <c:v>0</c:v>
                      </c:pt>
                      <c:pt idx="7719">
                        <c:v>0</c:v>
                      </c:pt>
                      <c:pt idx="7720">
                        <c:v>0</c:v>
                      </c:pt>
                      <c:pt idx="7721">
                        <c:v>0</c:v>
                      </c:pt>
                      <c:pt idx="7722">
                        <c:v>0</c:v>
                      </c:pt>
                      <c:pt idx="7723">
                        <c:v>0</c:v>
                      </c:pt>
                      <c:pt idx="7724">
                        <c:v>0</c:v>
                      </c:pt>
                      <c:pt idx="7725">
                        <c:v>0</c:v>
                      </c:pt>
                      <c:pt idx="7726">
                        <c:v>0</c:v>
                      </c:pt>
                      <c:pt idx="7727">
                        <c:v>0</c:v>
                      </c:pt>
                      <c:pt idx="7728">
                        <c:v>0</c:v>
                      </c:pt>
                      <c:pt idx="7729">
                        <c:v>0</c:v>
                      </c:pt>
                      <c:pt idx="7730">
                        <c:v>0</c:v>
                      </c:pt>
                      <c:pt idx="7731">
                        <c:v>0</c:v>
                      </c:pt>
                      <c:pt idx="7732">
                        <c:v>0</c:v>
                      </c:pt>
                      <c:pt idx="7733">
                        <c:v>0</c:v>
                      </c:pt>
                      <c:pt idx="7734">
                        <c:v>0</c:v>
                      </c:pt>
                      <c:pt idx="7735">
                        <c:v>0</c:v>
                      </c:pt>
                      <c:pt idx="7736">
                        <c:v>0</c:v>
                      </c:pt>
                      <c:pt idx="7737">
                        <c:v>0</c:v>
                      </c:pt>
                      <c:pt idx="7738">
                        <c:v>0</c:v>
                      </c:pt>
                      <c:pt idx="7739">
                        <c:v>0</c:v>
                      </c:pt>
                      <c:pt idx="7740">
                        <c:v>0</c:v>
                      </c:pt>
                      <c:pt idx="7741">
                        <c:v>0</c:v>
                      </c:pt>
                      <c:pt idx="7742">
                        <c:v>0</c:v>
                      </c:pt>
                      <c:pt idx="7743">
                        <c:v>0</c:v>
                      </c:pt>
                      <c:pt idx="7744">
                        <c:v>0</c:v>
                      </c:pt>
                      <c:pt idx="7745">
                        <c:v>0</c:v>
                      </c:pt>
                      <c:pt idx="7746">
                        <c:v>0</c:v>
                      </c:pt>
                      <c:pt idx="7747">
                        <c:v>0</c:v>
                      </c:pt>
                      <c:pt idx="7748">
                        <c:v>0</c:v>
                      </c:pt>
                      <c:pt idx="7749">
                        <c:v>0</c:v>
                      </c:pt>
                      <c:pt idx="7750">
                        <c:v>0</c:v>
                      </c:pt>
                      <c:pt idx="7751">
                        <c:v>0</c:v>
                      </c:pt>
                      <c:pt idx="7752">
                        <c:v>0</c:v>
                      </c:pt>
                      <c:pt idx="7753">
                        <c:v>0</c:v>
                      </c:pt>
                      <c:pt idx="7754">
                        <c:v>0</c:v>
                      </c:pt>
                      <c:pt idx="7755">
                        <c:v>0</c:v>
                      </c:pt>
                      <c:pt idx="7756">
                        <c:v>0</c:v>
                      </c:pt>
                      <c:pt idx="7757">
                        <c:v>0</c:v>
                      </c:pt>
                      <c:pt idx="7758">
                        <c:v>0</c:v>
                      </c:pt>
                      <c:pt idx="7759">
                        <c:v>0</c:v>
                      </c:pt>
                      <c:pt idx="7760">
                        <c:v>0</c:v>
                      </c:pt>
                      <c:pt idx="7761">
                        <c:v>0</c:v>
                      </c:pt>
                      <c:pt idx="7762">
                        <c:v>0</c:v>
                      </c:pt>
                      <c:pt idx="7763">
                        <c:v>0</c:v>
                      </c:pt>
                      <c:pt idx="7764">
                        <c:v>0</c:v>
                      </c:pt>
                      <c:pt idx="7765">
                        <c:v>0</c:v>
                      </c:pt>
                      <c:pt idx="7766">
                        <c:v>0</c:v>
                      </c:pt>
                      <c:pt idx="7767">
                        <c:v>0</c:v>
                      </c:pt>
                      <c:pt idx="7768">
                        <c:v>0</c:v>
                      </c:pt>
                      <c:pt idx="7769">
                        <c:v>0</c:v>
                      </c:pt>
                      <c:pt idx="7770">
                        <c:v>0</c:v>
                      </c:pt>
                      <c:pt idx="7771">
                        <c:v>0</c:v>
                      </c:pt>
                      <c:pt idx="7772">
                        <c:v>0</c:v>
                      </c:pt>
                      <c:pt idx="7773">
                        <c:v>0</c:v>
                      </c:pt>
                      <c:pt idx="7774">
                        <c:v>0</c:v>
                      </c:pt>
                      <c:pt idx="7775">
                        <c:v>0</c:v>
                      </c:pt>
                      <c:pt idx="7776">
                        <c:v>0</c:v>
                      </c:pt>
                      <c:pt idx="7777">
                        <c:v>0</c:v>
                      </c:pt>
                      <c:pt idx="7778">
                        <c:v>0</c:v>
                      </c:pt>
                      <c:pt idx="7779">
                        <c:v>0</c:v>
                      </c:pt>
                      <c:pt idx="7780">
                        <c:v>0</c:v>
                      </c:pt>
                      <c:pt idx="7781">
                        <c:v>0</c:v>
                      </c:pt>
                      <c:pt idx="7782">
                        <c:v>0</c:v>
                      </c:pt>
                      <c:pt idx="7783">
                        <c:v>0</c:v>
                      </c:pt>
                      <c:pt idx="7784">
                        <c:v>0</c:v>
                      </c:pt>
                      <c:pt idx="7785">
                        <c:v>0</c:v>
                      </c:pt>
                      <c:pt idx="7786">
                        <c:v>0</c:v>
                      </c:pt>
                      <c:pt idx="7787">
                        <c:v>0</c:v>
                      </c:pt>
                      <c:pt idx="7788">
                        <c:v>0</c:v>
                      </c:pt>
                      <c:pt idx="7789">
                        <c:v>0</c:v>
                      </c:pt>
                      <c:pt idx="7790">
                        <c:v>0</c:v>
                      </c:pt>
                      <c:pt idx="7791">
                        <c:v>0</c:v>
                      </c:pt>
                      <c:pt idx="7792">
                        <c:v>0</c:v>
                      </c:pt>
                      <c:pt idx="7793">
                        <c:v>0</c:v>
                      </c:pt>
                      <c:pt idx="7794">
                        <c:v>0</c:v>
                      </c:pt>
                      <c:pt idx="7795">
                        <c:v>0</c:v>
                      </c:pt>
                      <c:pt idx="7796">
                        <c:v>0</c:v>
                      </c:pt>
                      <c:pt idx="7797">
                        <c:v>0</c:v>
                      </c:pt>
                      <c:pt idx="7798">
                        <c:v>0</c:v>
                      </c:pt>
                      <c:pt idx="7799">
                        <c:v>0</c:v>
                      </c:pt>
                      <c:pt idx="7800">
                        <c:v>0</c:v>
                      </c:pt>
                      <c:pt idx="7801">
                        <c:v>0</c:v>
                      </c:pt>
                      <c:pt idx="7802">
                        <c:v>0</c:v>
                      </c:pt>
                      <c:pt idx="7803">
                        <c:v>0</c:v>
                      </c:pt>
                      <c:pt idx="7804">
                        <c:v>0</c:v>
                      </c:pt>
                      <c:pt idx="7805">
                        <c:v>0</c:v>
                      </c:pt>
                      <c:pt idx="7806">
                        <c:v>0</c:v>
                      </c:pt>
                      <c:pt idx="7807">
                        <c:v>0</c:v>
                      </c:pt>
                      <c:pt idx="7808">
                        <c:v>0</c:v>
                      </c:pt>
                      <c:pt idx="7809">
                        <c:v>0</c:v>
                      </c:pt>
                      <c:pt idx="7810">
                        <c:v>0</c:v>
                      </c:pt>
                      <c:pt idx="7811">
                        <c:v>0</c:v>
                      </c:pt>
                      <c:pt idx="7812">
                        <c:v>0</c:v>
                      </c:pt>
                      <c:pt idx="7813">
                        <c:v>0</c:v>
                      </c:pt>
                      <c:pt idx="7814">
                        <c:v>0</c:v>
                      </c:pt>
                      <c:pt idx="7815">
                        <c:v>0</c:v>
                      </c:pt>
                      <c:pt idx="7816">
                        <c:v>0</c:v>
                      </c:pt>
                      <c:pt idx="7817">
                        <c:v>0</c:v>
                      </c:pt>
                      <c:pt idx="7818">
                        <c:v>0</c:v>
                      </c:pt>
                      <c:pt idx="7819">
                        <c:v>0</c:v>
                      </c:pt>
                      <c:pt idx="7820">
                        <c:v>0</c:v>
                      </c:pt>
                      <c:pt idx="7821">
                        <c:v>0</c:v>
                      </c:pt>
                      <c:pt idx="7822">
                        <c:v>0</c:v>
                      </c:pt>
                      <c:pt idx="7823">
                        <c:v>0</c:v>
                      </c:pt>
                      <c:pt idx="7824">
                        <c:v>0</c:v>
                      </c:pt>
                      <c:pt idx="7825">
                        <c:v>0</c:v>
                      </c:pt>
                      <c:pt idx="7826">
                        <c:v>0</c:v>
                      </c:pt>
                      <c:pt idx="7827">
                        <c:v>0</c:v>
                      </c:pt>
                      <c:pt idx="7828">
                        <c:v>0</c:v>
                      </c:pt>
                      <c:pt idx="7829">
                        <c:v>0</c:v>
                      </c:pt>
                      <c:pt idx="7830">
                        <c:v>0</c:v>
                      </c:pt>
                      <c:pt idx="7831">
                        <c:v>0</c:v>
                      </c:pt>
                      <c:pt idx="7832">
                        <c:v>0</c:v>
                      </c:pt>
                      <c:pt idx="7833">
                        <c:v>0</c:v>
                      </c:pt>
                      <c:pt idx="7834">
                        <c:v>0</c:v>
                      </c:pt>
                      <c:pt idx="7835">
                        <c:v>0</c:v>
                      </c:pt>
                      <c:pt idx="7836">
                        <c:v>0</c:v>
                      </c:pt>
                      <c:pt idx="7837">
                        <c:v>0</c:v>
                      </c:pt>
                      <c:pt idx="7838">
                        <c:v>0</c:v>
                      </c:pt>
                      <c:pt idx="7839">
                        <c:v>0</c:v>
                      </c:pt>
                      <c:pt idx="7840">
                        <c:v>0</c:v>
                      </c:pt>
                      <c:pt idx="7841">
                        <c:v>0</c:v>
                      </c:pt>
                      <c:pt idx="7842">
                        <c:v>0</c:v>
                      </c:pt>
                      <c:pt idx="7843">
                        <c:v>0</c:v>
                      </c:pt>
                      <c:pt idx="7844">
                        <c:v>0</c:v>
                      </c:pt>
                      <c:pt idx="7845">
                        <c:v>0</c:v>
                      </c:pt>
                      <c:pt idx="7846">
                        <c:v>0</c:v>
                      </c:pt>
                      <c:pt idx="7847">
                        <c:v>0</c:v>
                      </c:pt>
                      <c:pt idx="7848">
                        <c:v>0</c:v>
                      </c:pt>
                      <c:pt idx="7849">
                        <c:v>0</c:v>
                      </c:pt>
                      <c:pt idx="7850">
                        <c:v>0</c:v>
                      </c:pt>
                      <c:pt idx="7851">
                        <c:v>0</c:v>
                      </c:pt>
                      <c:pt idx="7852">
                        <c:v>0</c:v>
                      </c:pt>
                      <c:pt idx="7853">
                        <c:v>0</c:v>
                      </c:pt>
                      <c:pt idx="7854">
                        <c:v>0</c:v>
                      </c:pt>
                      <c:pt idx="7855">
                        <c:v>0</c:v>
                      </c:pt>
                      <c:pt idx="7856">
                        <c:v>0</c:v>
                      </c:pt>
                      <c:pt idx="7857">
                        <c:v>0</c:v>
                      </c:pt>
                      <c:pt idx="7858">
                        <c:v>0</c:v>
                      </c:pt>
                      <c:pt idx="7859">
                        <c:v>0</c:v>
                      </c:pt>
                      <c:pt idx="7860">
                        <c:v>0</c:v>
                      </c:pt>
                      <c:pt idx="7861">
                        <c:v>0</c:v>
                      </c:pt>
                      <c:pt idx="7862">
                        <c:v>0</c:v>
                      </c:pt>
                      <c:pt idx="7863">
                        <c:v>0</c:v>
                      </c:pt>
                      <c:pt idx="7864">
                        <c:v>0</c:v>
                      </c:pt>
                      <c:pt idx="7865">
                        <c:v>0</c:v>
                      </c:pt>
                      <c:pt idx="7866">
                        <c:v>0</c:v>
                      </c:pt>
                      <c:pt idx="7867">
                        <c:v>0</c:v>
                      </c:pt>
                      <c:pt idx="7868">
                        <c:v>0</c:v>
                      </c:pt>
                      <c:pt idx="7869">
                        <c:v>0</c:v>
                      </c:pt>
                      <c:pt idx="7870">
                        <c:v>0</c:v>
                      </c:pt>
                      <c:pt idx="7871">
                        <c:v>0</c:v>
                      </c:pt>
                      <c:pt idx="7872">
                        <c:v>0</c:v>
                      </c:pt>
                      <c:pt idx="7873">
                        <c:v>0</c:v>
                      </c:pt>
                      <c:pt idx="7874">
                        <c:v>0</c:v>
                      </c:pt>
                      <c:pt idx="7875">
                        <c:v>0</c:v>
                      </c:pt>
                      <c:pt idx="7876">
                        <c:v>0</c:v>
                      </c:pt>
                      <c:pt idx="7877">
                        <c:v>0</c:v>
                      </c:pt>
                      <c:pt idx="7878">
                        <c:v>0</c:v>
                      </c:pt>
                      <c:pt idx="7879">
                        <c:v>0</c:v>
                      </c:pt>
                      <c:pt idx="7880">
                        <c:v>0</c:v>
                      </c:pt>
                      <c:pt idx="7881">
                        <c:v>0</c:v>
                      </c:pt>
                      <c:pt idx="7882">
                        <c:v>0</c:v>
                      </c:pt>
                      <c:pt idx="7883">
                        <c:v>0</c:v>
                      </c:pt>
                      <c:pt idx="7884">
                        <c:v>0</c:v>
                      </c:pt>
                      <c:pt idx="7885">
                        <c:v>0</c:v>
                      </c:pt>
                      <c:pt idx="7886">
                        <c:v>0</c:v>
                      </c:pt>
                      <c:pt idx="7887">
                        <c:v>0</c:v>
                      </c:pt>
                      <c:pt idx="7888">
                        <c:v>0</c:v>
                      </c:pt>
                      <c:pt idx="7889">
                        <c:v>0</c:v>
                      </c:pt>
                      <c:pt idx="7890">
                        <c:v>0</c:v>
                      </c:pt>
                      <c:pt idx="7891">
                        <c:v>0</c:v>
                      </c:pt>
                      <c:pt idx="7892">
                        <c:v>0</c:v>
                      </c:pt>
                      <c:pt idx="7893">
                        <c:v>0</c:v>
                      </c:pt>
                      <c:pt idx="7894">
                        <c:v>0</c:v>
                      </c:pt>
                      <c:pt idx="7895">
                        <c:v>0</c:v>
                      </c:pt>
                      <c:pt idx="7896">
                        <c:v>0</c:v>
                      </c:pt>
                      <c:pt idx="7897">
                        <c:v>0</c:v>
                      </c:pt>
                      <c:pt idx="7898">
                        <c:v>0</c:v>
                      </c:pt>
                      <c:pt idx="7899">
                        <c:v>0</c:v>
                      </c:pt>
                      <c:pt idx="7900">
                        <c:v>0</c:v>
                      </c:pt>
                      <c:pt idx="7901">
                        <c:v>0</c:v>
                      </c:pt>
                      <c:pt idx="7902">
                        <c:v>0</c:v>
                      </c:pt>
                      <c:pt idx="7903">
                        <c:v>0</c:v>
                      </c:pt>
                      <c:pt idx="7904">
                        <c:v>0</c:v>
                      </c:pt>
                      <c:pt idx="7905">
                        <c:v>0</c:v>
                      </c:pt>
                      <c:pt idx="7906">
                        <c:v>0</c:v>
                      </c:pt>
                      <c:pt idx="7907">
                        <c:v>0</c:v>
                      </c:pt>
                      <c:pt idx="7908">
                        <c:v>0</c:v>
                      </c:pt>
                      <c:pt idx="7909">
                        <c:v>0</c:v>
                      </c:pt>
                      <c:pt idx="7910">
                        <c:v>0</c:v>
                      </c:pt>
                      <c:pt idx="7911">
                        <c:v>0</c:v>
                      </c:pt>
                      <c:pt idx="7912">
                        <c:v>0</c:v>
                      </c:pt>
                      <c:pt idx="7913">
                        <c:v>0</c:v>
                      </c:pt>
                      <c:pt idx="7914">
                        <c:v>0</c:v>
                      </c:pt>
                      <c:pt idx="7915">
                        <c:v>0</c:v>
                      </c:pt>
                      <c:pt idx="7916">
                        <c:v>0</c:v>
                      </c:pt>
                      <c:pt idx="7917">
                        <c:v>0</c:v>
                      </c:pt>
                      <c:pt idx="7918">
                        <c:v>0</c:v>
                      </c:pt>
                      <c:pt idx="7919">
                        <c:v>0</c:v>
                      </c:pt>
                      <c:pt idx="7920">
                        <c:v>0</c:v>
                      </c:pt>
                      <c:pt idx="7921">
                        <c:v>0</c:v>
                      </c:pt>
                      <c:pt idx="7922">
                        <c:v>0</c:v>
                      </c:pt>
                      <c:pt idx="7923">
                        <c:v>0</c:v>
                      </c:pt>
                      <c:pt idx="7924">
                        <c:v>0</c:v>
                      </c:pt>
                      <c:pt idx="7925">
                        <c:v>0</c:v>
                      </c:pt>
                      <c:pt idx="7926">
                        <c:v>0</c:v>
                      </c:pt>
                      <c:pt idx="7927">
                        <c:v>0</c:v>
                      </c:pt>
                      <c:pt idx="7928">
                        <c:v>0</c:v>
                      </c:pt>
                      <c:pt idx="7929">
                        <c:v>0</c:v>
                      </c:pt>
                      <c:pt idx="7930">
                        <c:v>0</c:v>
                      </c:pt>
                      <c:pt idx="7931">
                        <c:v>0</c:v>
                      </c:pt>
                      <c:pt idx="7932">
                        <c:v>0</c:v>
                      </c:pt>
                      <c:pt idx="7933">
                        <c:v>0</c:v>
                      </c:pt>
                      <c:pt idx="7934">
                        <c:v>0</c:v>
                      </c:pt>
                      <c:pt idx="7935">
                        <c:v>0</c:v>
                      </c:pt>
                      <c:pt idx="7936">
                        <c:v>0</c:v>
                      </c:pt>
                      <c:pt idx="7937">
                        <c:v>0</c:v>
                      </c:pt>
                      <c:pt idx="7938">
                        <c:v>0</c:v>
                      </c:pt>
                      <c:pt idx="7939">
                        <c:v>0</c:v>
                      </c:pt>
                      <c:pt idx="7940">
                        <c:v>0</c:v>
                      </c:pt>
                      <c:pt idx="7941">
                        <c:v>0</c:v>
                      </c:pt>
                      <c:pt idx="7942">
                        <c:v>0</c:v>
                      </c:pt>
                      <c:pt idx="7943">
                        <c:v>0</c:v>
                      </c:pt>
                      <c:pt idx="7944">
                        <c:v>0</c:v>
                      </c:pt>
                      <c:pt idx="7945">
                        <c:v>0</c:v>
                      </c:pt>
                      <c:pt idx="7946">
                        <c:v>0</c:v>
                      </c:pt>
                      <c:pt idx="7947">
                        <c:v>0</c:v>
                      </c:pt>
                      <c:pt idx="7948">
                        <c:v>0</c:v>
                      </c:pt>
                      <c:pt idx="7949">
                        <c:v>0</c:v>
                      </c:pt>
                      <c:pt idx="7950">
                        <c:v>0</c:v>
                      </c:pt>
                      <c:pt idx="7951">
                        <c:v>0</c:v>
                      </c:pt>
                      <c:pt idx="7952">
                        <c:v>0</c:v>
                      </c:pt>
                      <c:pt idx="7953">
                        <c:v>0</c:v>
                      </c:pt>
                      <c:pt idx="7954">
                        <c:v>0</c:v>
                      </c:pt>
                      <c:pt idx="7955">
                        <c:v>0</c:v>
                      </c:pt>
                      <c:pt idx="7956">
                        <c:v>0</c:v>
                      </c:pt>
                      <c:pt idx="7957">
                        <c:v>0</c:v>
                      </c:pt>
                      <c:pt idx="7958">
                        <c:v>0</c:v>
                      </c:pt>
                      <c:pt idx="7959">
                        <c:v>0</c:v>
                      </c:pt>
                      <c:pt idx="7960">
                        <c:v>0</c:v>
                      </c:pt>
                      <c:pt idx="7961">
                        <c:v>0</c:v>
                      </c:pt>
                      <c:pt idx="7962">
                        <c:v>0</c:v>
                      </c:pt>
                      <c:pt idx="7963">
                        <c:v>0</c:v>
                      </c:pt>
                      <c:pt idx="7964">
                        <c:v>0</c:v>
                      </c:pt>
                      <c:pt idx="7965">
                        <c:v>0</c:v>
                      </c:pt>
                      <c:pt idx="7966">
                        <c:v>0</c:v>
                      </c:pt>
                      <c:pt idx="7967">
                        <c:v>0</c:v>
                      </c:pt>
                      <c:pt idx="7968">
                        <c:v>0</c:v>
                      </c:pt>
                      <c:pt idx="7969">
                        <c:v>0</c:v>
                      </c:pt>
                      <c:pt idx="7970">
                        <c:v>0</c:v>
                      </c:pt>
                      <c:pt idx="7971">
                        <c:v>0</c:v>
                      </c:pt>
                      <c:pt idx="7972">
                        <c:v>0</c:v>
                      </c:pt>
                      <c:pt idx="7973">
                        <c:v>0</c:v>
                      </c:pt>
                      <c:pt idx="7974">
                        <c:v>0</c:v>
                      </c:pt>
                      <c:pt idx="7975">
                        <c:v>0</c:v>
                      </c:pt>
                      <c:pt idx="7976">
                        <c:v>0</c:v>
                      </c:pt>
                      <c:pt idx="7977">
                        <c:v>0</c:v>
                      </c:pt>
                      <c:pt idx="7978">
                        <c:v>0</c:v>
                      </c:pt>
                      <c:pt idx="7979">
                        <c:v>0</c:v>
                      </c:pt>
                      <c:pt idx="7980">
                        <c:v>0</c:v>
                      </c:pt>
                      <c:pt idx="7981">
                        <c:v>0</c:v>
                      </c:pt>
                      <c:pt idx="7982">
                        <c:v>0</c:v>
                      </c:pt>
                      <c:pt idx="7983">
                        <c:v>0</c:v>
                      </c:pt>
                      <c:pt idx="7984">
                        <c:v>0</c:v>
                      </c:pt>
                      <c:pt idx="7985">
                        <c:v>0</c:v>
                      </c:pt>
                      <c:pt idx="7986">
                        <c:v>0</c:v>
                      </c:pt>
                      <c:pt idx="7987">
                        <c:v>0</c:v>
                      </c:pt>
                      <c:pt idx="7988">
                        <c:v>0</c:v>
                      </c:pt>
                      <c:pt idx="7989">
                        <c:v>0</c:v>
                      </c:pt>
                      <c:pt idx="7990">
                        <c:v>0</c:v>
                      </c:pt>
                      <c:pt idx="7991">
                        <c:v>0</c:v>
                      </c:pt>
                      <c:pt idx="7992">
                        <c:v>0</c:v>
                      </c:pt>
                      <c:pt idx="7993">
                        <c:v>0</c:v>
                      </c:pt>
                      <c:pt idx="7994">
                        <c:v>0</c:v>
                      </c:pt>
                      <c:pt idx="7995">
                        <c:v>0</c:v>
                      </c:pt>
                      <c:pt idx="7996">
                        <c:v>0</c:v>
                      </c:pt>
                      <c:pt idx="7997">
                        <c:v>0</c:v>
                      </c:pt>
                      <c:pt idx="7998">
                        <c:v>0</c:v>
                      </c:pt>
                      <c:pt idx="7999">
                        <c:v>0</c:v>
                      </c:pt>
                      <c:pt idx="8000">
                        <c:v>0</c:v>
                      </c:pt>
                      <c:pt idx="8001">
                        <c:v>0</c:v>
                      </c:pt>
                      <c:pt idx="8002">
                        <c:v>0</c:v>
                      </c:pt>
                      <c:pt idx="8003">
                        <c:v>0</c:v>
                      </c:pt>
                      <c:pt idx="8004">
                        <c:v>0</c:v>
                      </c:pt>
                      <c:pt idx="8005">
                        <c:v>0</c:v>
                      </c:pt>
                      <c:pt idx="8006">
                        <c:v>0</c:v>
                      </c:pt>
                      <c:pt idx="8007">
                        <c:v>0</c:v>
                      </c:pt>
                      <c:pt idx="8008">
                        <c:v>0</c:v>
                      </c:pt>
                      <c:pt idx="8009">
                        <c:v>0</c:v>
                      </c:pt>
                      <c:pt idx="8010">
                        <c:v>0</c:v>
                      </c:pt>
                      <c:pt idx="8011">
                        <c:v>0</c:v>
                      </c:pt>
                      <c:pt idx="8012">
                        <c:v>0</c:v>
                      </c:pt>
                      <c:pt idx="8013">
                        <c:v>0</c:v>
                      </c:pt>
                      <c:pt idx="8014">
                        <c:v>0</c:v>
                      </c:pt>
                      <c:pt idx="8015">
                        <c:v>0</c:v>
                      </c:pt>
                      <c:pt idx="8016">
                        <c:v>0</c:v>
                      </c:pt>
                      <c:pt idx="8017">
                        <c:v>0</c:v>
                      </c:pt>
                      <c:pt idx="8018">
                        <c:v>0</c:v>
                      </c:pt>
                      <c:pt idx="8019">
                        <c:v>0</c:v>
                      </c:pt>
                      <c:pt idx="8020">
                        <c:v>0</c:v>
                      </c:pt>
                      <c:pt idx="8021">
                        <c:v>0</c:v>
                      </c:pt>
                      <c:pt idx="8022">
                        <c:v>0</c:v>
                      </c:pt>
                      <c:pt idx="8023">
                        <c:v>0</c:v>
                      </c:pt>
                      <c:pt idx="8024">
                        <c:v>0</c:v>
                      </c:pt>
                      <c:pt idx="8025">
                        <c:v>0</c:v>
                      </c:pt>
                      <c:pt idx="8026">
                        <c:v>0</c:v>
                      </c:pt>
                      <c:pt idx="8027">
                        <c:v>0</c:v>
                      </c:pt>
                      <c:pt idx="8028">
                        <c:v>0</c:v>
                      </c:pt>
                      <c:pt idx="8029">
                        <c:v>0</c:v>
                      </c:pt>
                      <c:pt idx="8030">
                        <c:v>0</c:v>
                      </c:pt>
                      <c:pt idx="8031">
                        <c:v>0</c:v>
                      </c:pt>
                      <c:pt idx="8032">
                        <c:v>0</c:v>
                      </c:pt>
                      <c:pt idx="8033">
                        <c:v>0</c:v>
                      </c:pt>
                      <c:pt idx="8034">
                        <c:v>0</c:v>
                      </c:pt>
                      <c:pt idx="8035">
                        <c:v>0</c:v>
                      </c:pt>
                      <c:pt idx="8036">
                        <c:v>0</c:v>
                      </c:pt>
                      <c:pt idx="8037">
                        <c:v>0</c:v>
                      </c:pt>
                      <c:pt idx="8038">
                        <c:v>0</c:v>
                      </c:pt>
                      <c:pt idx="8039">
                        <c:v>0</c:v>
                      </c:pt>
                      <c:pt idx="8040">
                        <c:v>0</c:v>
                      </c:pt>
                      <c:pt idx="8041">
                        <c:v>0</c:v>
                      </c:pt>
                      <c:pt idx="8042">
                        <c:v>0</c:v>
                      </c:pt>
                      <c:pt idx="8043">
                        <c:v>0</c:v>
                      </c:pt>
                      <c:pt idx="8044">
                        <c:v>0</c:v>
                      </c:pt>
                      <c:pt idx="8045">
                        <c:v>0</c:v>
                      </c:pt>
                      <c:pt idx="8046">
                        <c:v>0</c:v>
                      </c:pt>
                      <c:pt idx="8047">
                        <c:v>0</c:v>
                      </c:pt>
                      <c:pt idx="8048">
                        <c:v>0</c:v>
                      </c:pt>
                      <c:pt idx="8049">
                        <c:v>0</c:v>
                      </c:pt>
                      <c:pt idx="8050">
                        <c:v>0</c:v>
                      </c:pt>
                      <c:pt idx="8051">
                        <c:v>0</c:v>
                      </c:pt>
                      <c:pt idx="8052">
                        <c:v>0</c:v>
                      </c:pt>
                      <c:pt idx="8053">
                        <c:v>0</c:v>
                      </c:pt>
                      <c:pt idx="8054">
                        <c:v>0</c:v>
                      </c:pt>
                      <c:pt idx="8055">
                        <c:v>0</c:v>
                      </c:pt>
                      <c:pt idx="8056">
                        <c:v>0</c:v>
                      </c:pt>
                      <c:pt idx="8057">
                        <c:v>0</c:v>
                      </c:pt>
                      <c:pt idx="8058">
                        <c:v>0</c:v>
                      </c:pt>
                      <c:pt idx="8059">
                        <c:v>0</c:v>
                      </c:pt>
                      <c:pt idx="8060">
                        <c:v>0</c:v>
                      </c:pt>
                      <c:pt idx="8061">
                        <c:v>0</c:v>
                      </c:pt>
                      <c:pt idx="8062">
                        <c:v>0</c:v>
                      </c:pt>
                      <c:pt idx="8063">
                        <c:v>0</c:v>
                      </c:pt>
                      <c:pt idx="8064">
                        <c:v>0</c:v>
                      </c:pt>
                      <c:pt idx="8065">
                        <c:v>0</c:v>
                      </c:pt>
                      <c:pt idx="8066">
                        <c:v>0</c:v>
                      </c:pt>
                      <c:pt idx="8067">
                        <c:v>0</c:v>
                      </c:pt>
                      <c:pt idx="8068">
                        <c:v>0</c:v>
                      </c:pt>
                      <c:pt idx="8069">
                        <c:v>0</c:v>
                      </c:pt>
                      <c:pt idx="8070">
                        <c:v>0</c:v>
                      </c:pt>
                      <c:pt idx="8071">
                        <c:v>0</c:v>
                      </c:pt>
                      <c:pt idx="8072">
                        <c:v>0</c:v>
                      </c:pt>
                      <c:pt idx="8073">
                        <c:v>0</c:v>
                      </c:pt>
                      <c:pt idx="8074">
                        <c:v>0</c:v>
                      </c:pt>
                      <c:pt idx="8075">
                        <c:v>0</c:v>
                      </c:pt>
                      <c:pt idx="8076">
                        <c:v>0</c:v>
                      </c:pt>
                      <c:pt idx="8077">
                        <c:v>0</c:v>
                      </c:pt>
                      <c:pt idx="8078">
                        <c:v>0</c:v>
                      </c:pt>
                      <c:pt idx="8079">
                        <c:v>0</c:v>
                      </c:pt>
                      <c:pt idx="8080">
                        <c:v>0</c:v>
                      </c:pt>
                      <c:pt idx="8081">
                        <c:v>0</c:v>
                      </c:pt>
                      <c:pt idx="8082">
                        <c:v>0</c:v>
                      </c:pt>
                      <c:pt idx="8083">
                        <c:v>0</c:v>
                      </c:pt>
                      <c:pt idx="8084">
                        <c:v>0</c:v>
                      </c:pt>
                      <c:pt idx="8085">
                        <c:v>0</c:v>
                      </c:pt>
                      <c:pt idx="8086">
                        <c:v>0</c:v>
                      </c:pt>
                      <c:pt idx="8087">
                        <c:v>0</c:v>
                      </c:pt>
                      <c:pt idx="8088">
                        <c:v>0</c:v>
                      </c:pt>
                      <c:pt idx="8089">
                        <c:v>0</c:v>
                      </c:pt>
                      <c:pt idx="8090">
                        <c:v>0</c:v>
                      </c:pt>
                      <c:pt idx="8091">
                        <c:v>0</c:v>
                      </c:pt>
                      <c:pt idx="8092">
                        <c:v>0</c:v>
                      </c:pt>
                      <c:pt idx="8093">
                        <c:v>0</c:v>
                      </c:pt>
                      <c:pt idx="8094">
                        <c:v>0</c:v>
                      </c:pt>
                      <c:pt idx="8095">
                        <c:v>0</c:v>
                      </c:pt>
                      <c:pt idx="8096">
                        <c:v>0</c:v>
                      </c:pt>
                      <c:pt idx="8097">
                        <c:v>0</c:v>
                      </c:pt>
                      <c:pt idx="8098">
                        <c:v>0</c:v>
                      </c:pt>
                      <c:pt idx="8099">
                        <c:v>0</c:v>
                      </c:pt>
                      <c:pt idx="8100">
                        <c:v>0</c:v>
                      </c:pt>
                      <c:pt idx="8101">
                        <c:v>0</c:v>
                      </c:pt>
                      <c:pt idx="8102">
                        <c:v>0</c:v>
                      </c:pt>
                      <c:pt idx="8103">
                        <c:v>0</c:v>
                      </c:pt>
                      <c:pt idx="8104">
                        <c:v>0</c:v>
                      </c:pt>
                      <c:pt idx="8105">
                        <c:v>0</c:v>
                      </c:pt>
                      <c:pt idx="8106">
                        <c:v>0</c:v>
                      </c:pt>
                      <c:pt idx="8107">
                        <c:v>0</c:v>
                      </c:pt>
                      <c:pt idx="8108">
                        <c:v>0</c:v>
                      </c:pt>
                      <c:pt idx="8109">
                        <c:v>0</c:v>
                      </c:pt>
                      <c:pt idx="8110">
                        <c:v>0</c:v>
                      </c:pt>
                      <c:pt idx="8111">
                        <c:v>0</c:v>
                      </c:pt>
                      <c:pt idx="8112">
                        <c:v>0</c:v>
                      </c:pt>
                      <c:pt idx="8113">
                        <c:v>0</c:v>
                      </c:pt>
                      <c:pt idx="8114">
                        <c:v>0</c:v>
                      </c:pt>
                      <c:pt idx="8115">
                        <c:v>0</c:v>
                      </c:pt>
                      <c:pt idx="8116">
                        <c:v>0</c:v>
                      </c:pt>
                      <c:pt idx="8117">
                        <c:v>0</c:v>
                      </c:pt>
                      <c:pt idx="8118">
                        <c:v>0</c:v>
                      </c:pt>
                      <c:pt idx="8119">
                        <c:v>0</c:v>
                      </c:pt>
                      <c:pt idx="8120">
                        <c:v>0</c:v>
                      </c:pt>
                      <c:pt idx="8121">
                        <c:v>0</c:v>
                      </c:pt>
                      <c:pt idx="8122">
                        <c:v>0</c:v>
                      </c:pt>
                      <c:pt idx="8123">
                        <c:v>0</c:v>
                      </c:pt>
                      <c:pt idx="8124">
                        <c:v>0</c:v>
                      </c:pt>
                      <c:pt idx="8125">
                        <c:v>0</c:v>
                      </c:pt>
                      <c:pt idx="8126">
                        <c:v>0</c:v>
                      </c:pt>
                      <c:pt idx="8127">
                        <c:v>0</c:v>
                      </c:pt>
                      <c:pt idx="8128">
                        <c:v>0</c:v>
                      </c:pt>
                      <c:pt idx="8129">
                        <c:v>0</c:v>
                      </c:pt>
                      <c:pt idx="8130">
                        <c:v>0</c:v>
                      </c:pt>
                      <c:pt idx="8131">
                        <c:v>0</c:v>
                      </c:pt>
                      <c:pt idx="8132">
                        <c:v>0</c:v>
                      </c:pt>
                      <c:pt idx="8133">
                        <c:v>0</c:v>
                      </c:pt>
                      <c:pt idx="8134">
                        <c:v>0</c:v>
                      </c:pt>
                      <c:pt idx="8135">
                        <c:v>0</c:v>
                      </c:pt>
                      <c:pt idx="8136">
                        <c:v>0</c:v>
                      </c:pt>
                      <c:pt idx="8137">
                        <c:v>0</c:v>
                      </c:pt>
                      <c:pt idx="8138">
                        <c:v>0</c:v>
                      </c:pt>
                      <c:pt idx="8139">
                        <c:v>0</c:v>
                      </c:pt>
                      <c:pt idx="8140">
                        <c:v>0</c:v>
                      </c:pt>
                      <c:pt idx="8141">
                        <c:v>0</c:v>
                      </c:pt>
                      <c:pt idx="8142">
                        <c:v>0</c:v>
                      </c:pt>
                      <c:pt idx="8143">
                        <c:v>0</c:v>
                      </c:pt>
                      <c:pt idx="8144">
                        <c:v>0</c:v>
                      </c:pt>
                      <c:pt idx="8145">
                        <c:v>0</c:v>
                      </c:pt>
                      <c:pt idx="8146">
                        <c:v>0</c:v>
                      </c:pt>
                      <c:pt idx="8147">
                        <c:v>0</c:v>
                      </c:pt>
                      <c:pt idx="8148">
                        <c:v>0</c:v>
                      </c:pt>
                      <c:pt idx="8149">
                        <c:v>0</c:v>
                      </c:pt>
                      <c:pt idx="8150">
                        <c:v>0</c:v>
                      </c:pt>
                      <c:pt idx="8151">
                        <c:v>0</c:v>
                      </c:pt>
                      <c:pt idx="8152">
                        <c:v>0</c:v>
                      </c:pt>
                      <c:pt idx="8153">
                        <c:v>0</c:v>
                      </c:pt>
                      <c:pt idx="8154">
                        <c:v>0</c:v>
                      </c:pt>
                      <c:pt idx="8155">
                        <c:v>0</c:v>
                      </c:pt>
                      <c:pt idx="8156">
                        <c:v>0</c:v>
                      </c:pt>
                      <c:pt idx="8157">
                        <c:v>0</c:v>
                      </c:pt>
                      <c:pt idx="8158">
                        <c:v>0</c:v>
                      </c:pt>
                      <c:pt idx="8159">
                        <c:v>0</c:v>
                      </c:pt>
                      <c:pt idx="8160">
                        <c:v>0</c:v>
                      </c:pt>
                      <c:pt idx="8161">
                        <c:v>0</c:v>
                      </c:pt>
                      <c:pt idx="8162">
                        <c:v>0</c:v>
                      </c:pt>
                      <c:pt idx="8163">
                        <c:v>0</c:v>
                      </c:pt>
                      <c:pt idx="8164">
                        <c:v>0</c:v>
                      </c:pt>
                      <c:pt idx="8165">
                        <c:v>0</c:v>
                      </c:pt>
                      <c:pt idx="8166">
                        <c:v>0</c:v>
                      </c:pt>
                      <c:pt idx="8167">
                        <c:v>0</c:v>
                      </c:pt>
                      <c:pt idx="8168">
                        <c:v>0</c:v>
                      </c:pt>
                      <c:pt idx="8169">
                        <c:v>0</c:v>
                      </c:pt>
                      <c:pt idx="8170">
                        <c:v>0</c:v>
                      </c:pt>
                      <c:pt idx="8171">
                        <c:v>0</c:v>
                      </c:pt>
                      <c:pt idx="8172">
                        <c:v>0</c:v>
                      </c:pt>
                      <c:pt idx="8173">
                        <c:v>0</c:v>
                      </c:pt>
                      <c:pt idx="8174">
                        <c:v>0</c:v>
                      </c:pt>
                      <c:pt idx="8175">
                        <c:v>0</c:v>
                      </c:pt>
                      <c:pt idx="8176">
                        <c:v>0</c:v>
                      </c:pt>
                      <c:pt idx="8177">
                        <c:v>0</c:v>
                      </c:pt>
                      <c:pt idx="8178">
                        <c:v>0</c:v>
                      </c:pt>
                      <c:pt idx="8179">
                        <c:v>0</c:v>
                      </c:pt>
                      <c:pt idx="8180">
                        <c:v>0</c:v>
                      </c:pt>
                      <c:pt idx="8181">
                        <c:v>0</c:v>
                      </c:pt>
                      <c:pt idx="8182">
                        <c:v>0</c:v>
                      </c:pt>
                      <c:pt idx="8183">
                        <c:v>0</c:v>
                      </c:pt>
                      <c:pt idx="8184">
                        <c:v>0</c:v>
                      </c:pt>
                      <c:pt idx="8185">
                        <c:v>0</c:v>
                      </c:pt>
                      <c:pt idx="8186">
                        <c:v>0</c:v>
                      </c:pt>
                      <c:pt idx="8187">
                        <c:v>0</c:v>
                      </c:pt>
                      <c:pt idx="8188">
                        <c:v>0</c:v>
                      </c:pt>
                      <c:pt idx="8189">
                        <c:v>0</c:v>
                      </c:pt>
                      <c:pt idx="8190">
                        <c:v>0</c:v>
                      </c:pt>
                      <c:pt idx="8191">
                        <c:v>0</c:v>
                      </c:pt>
                      <c:pt idx="8192">
                        <c:v>0</c:v>
                      </c:pt>
                      <c:pt idx="8193">
                        <c:v>0</c:v>
                      </c:pt>
                      <c:pt idx="8194">
                        <c:v>0</c:v>
                      </c:pt>
                      <c:pt idx="8195">
                        <c:v>0</c:v>
                      </c:pt>
                      <c:pt idx="8196">
                        <c:v>0</c:v>
                      </c:pt>
                      <c:pt idx="8197">
                        <c:v>0</c:v>
                      </c:pt>
                      <c:pt idx="8198">
                        <c:v>0</c:v>
                      </c:pt>
                      <c:pt idx="8199">
                        <c:v>0</c:v>
                      </c:pt>
                      <c:pt idx="8200">
                        <c:v>0</c:v>
                      </c:pt>
                      <c:pt idx="8201">
                        <c:v>0</c:v>
                      </c:pt>
                      <c:pt idx="8202">
                        <c:v>0</c:v>
                      </c:pt>
                      <c:pt idx="8203">
                        <c:v>0</c:v>
                      </c:pt>
                      <c:pt idx="8204">
                        <c:v>0</c:v>
                      </c:pt>
                      <c:pt idx="8205">
                        <c:v>0</c:v>
                      </c:pt>
                      <c:pt idx="8206">
                        <c:v>0</c:v>
                      </c:pt>
                      <c:pt idx="8207">
                        <c:v>0</c:v>
                      </c:pt>
                      <c:pt idx="8208">
                        <c:v>0</c:v>
                      </c:pt>
                      <c:pt idx="8209">
                        <c:v>0</c:v>
                      </c:pt>
                      <c:pt idx="8210">
                        <c:v>0</c:v>
                      </c:pt>
                      <c:pt idx="8211">
                        <c:v>0</c:v>
                      </c:pt>
                      <c:pt idx="8212">
                        <c:v>0</c:v>
                      </c:pt>
                      <c:pt idx="8213">
                        <c:v>0</c:v>
                      </c:pt>
                      <c:pt idx="8214">
                        <c:v>0</c:v>
                      </c:pt>
                      <c:pt idx="8215">
                        <c:v>0</c:v>
                      </c:pt>
                      <c:pt idx="8216">
                        <c:v>0</c:v>
                      </c:pt>
                      <c:pt idx="8217">
                        <c:v>0</c:v>
                      </c:pt>
                      <c:pt idx="8218">
                        <c:v>0</c:v>
                      </c:pt>
                      <c:pt idx="8219">
                        <c:v>0</c:v>
                      </c:pt>
                      <c:pt idx="8220">
                        <c:v>0</c:v>
                      </c:pt>
                      <c:pt idx="8221">
                        <c:v>0</c:v>
                      </c:pt>
                      <c:pt idx="8222">
                        <c:v>0</c:v>
                      </c:pt>
                      <c:pt idx="8223">
                        <c:v>0</c:v>
                      </c:pt>
                      <c:pt idx="8224">
                        <c:v>0</c:v>
                      </c:pt>
                      <c:pt idx="8225">
                        <c:v>0</c:v>
                      </c:pt>
                      <c:pt idx="8226">
                        <c:v>0</c:v>
                      </c:pt>
                      <c:pt idx="8227">
                        <c:v>0</c:v>
                      </c:pt>
                      <c:pt idx="8228">
                        <c:v>0</c:v>
                      </c:pt>
                      <c:pt idx="8229">
                        <c:v>0</c:v>
                      </c:pt>
                      <c:pt idx="8230">
                        <c:v>0</c:v>
                      </c:pt>
                      <c:pt idx="8231">
                        <c:v>0</c:v>
                      </c:pt>
                      <c:pt idx="8232">
                        <c:v>0</c:v>
                      </c:pt>
                      <c:pt idx="8233">
                        <c:v>0</c:v>
                      </c:pt>
                      <c:pt idx="8234">
                        <c:v>0</c:v>
                      </c:pt>
                      <c:pt idx="8235">
                        <c:v>0</c:v>
                      </c:pt>
                      <c:pt idx="8236">
                        <c:v>0</c:v>
                      </c:pt>
                      <c:pt idx="8237">
                        <c:v>0</c:v>
                      </c:pt>
                      <c:pt idx="8238">
                        <c:v>0</c:v>
                      </c:pt>
                      <c:pt idx="8239">
                        <c:v>0</c:v>
                      </c:pt>
                      <c:pt idx="8240">
                        <c:v>0</c:v>
                      </c:pt>
                      <c:pt idx="8241">
                        <c:v>0</c:v>
                      </c:pt>
                      <c:pt idx="8242">
                        <c:v>0</c:v>
                      </c:pt>
                      <c:pt idx="8243">
                        <c:v>0</c:v>
                      </c:pt>
                      <c:pt idx="8244">
                        <c:v>0</c:v>
                      </c:pt>
                      <c:pt idx="8245">
                        <c:v>0</c:v>
                      </c:pt>
                      <c:pt idx="8246">
                        <c:v>0</c:v>
                      </c:pt>
                      <c:pt idx="8247">
                        <c:v>0</c:v>
                      </c:pt>
                      <c:pt idx="8248">
                        <c:v>0</c:v>
                      </c:pt>
                      <c:pt idx="8249">
                        <c:v>0</c:v>
                      </c:pt>
                      <c:pt idx="8250">
                        <c:v>0</c:v>
                      </c:pt>
                      <c:pt idx="8251">
                        <c:v>0</c:v>
                      </c:pt>
                      <c:pt idx="8252">
                        <c:v>0</c:v>
                      </c:pt>
                      <c:pt idx="8253">
                        <c:v>0</c:v>
                      </c:pt>
                      <c:pt idx="8254">
                        <c:v>0</c:v>
                      </c:pt>
                      <c:pt idx="8255">
                        <c:v>0</c:v>
                      </c:pt>
                      <c:pt idx="8256">
                        <c:v>0</c:v>
                      </c:pt>
                      <c:pt idx="8257">
                        <c:v>0</c:v>
                      </c:pt>
                      <c:pt idx="8258">
                        <c:v>0</c:v>
                      </c:pt>
                      <c:pt idx="8259">
                        <c:v>0</c:v>
                      </c:pt>
                      <c:pt idx="8260">
                        <c:v>0</c:v>
                      </c:pt>
                      <c:pt idx="8261">
                        <c:v>0</c:v>
                      </c:pt>
                      <c:pt idx="8262">
                        <c:v>0</c:v>
                      </c:pt>
                      <c:pt idx="8263">
                        <c:v>0</c:v>
                      </c:pt>
                      <c:pt idx="8264">
                        <c:v>0</c:v>
                      </c:pt>
                      <c:pt idx="8265">
                        <c:v>0</c:v>
                      </c:pt>
                      <c:pt idx="8266">
                        <c:v>0</c:v>
                      </c:pt>
                      <c:pt idx="8267">
                        <c:v>0</c:v>
                      </c:pt>
                      <c:pt idx="8268">
                        <c:v>0</c:v>
                      </c:pt>
                      <c:pt idx="8269">
                        <c:v>0</c:v>
                      </c:pt>
                      <c:pt idx="8270">
                        <c:v>0</c:v>
                      </c:pt>
                      <c:pt idx="8271">
                        <c:v>0</c:v>
                      </c:pt>
                      <c:pt idx="8272">
                        <c:v>0</c:v>
                      </c:pt>
                      <c:pt idx="8273">
                        <c:v>0</c:v>
                      </c:pt>
                      <c:pt idx="8274">
                        <c:v>0</c:v>
                      </c:pt>
                      <c:pt idx="8275">
                        <c:v>0</c:v>
                      </c:pt>
                      <c:pt idx="8276">
                        <c:v>0</c:v>
                      </c:pt>
                      <c:pt idx="8277">
                        <c:v>0</c:v>
                      </c:pt>
                      <c:pt idx="8278">
                        <c:v>0</c:v>
                      </c:pt>
                      <c:pt idx="8279">
                        <c:v>0</c:v>
                      </c:pt>
                      <c:pt idx="8280">
                        <c:v>0</c:v>
                      </c:pt>
                      <c:pt idx="8281">
                        <c:v>0</c:v>
                      </c:pt>
                      <c:pt idx="8282">
                        <c:v>0</c:v>
                      </c:pt>
                      <c:pt idx="8283">
                        <c:v>0</c:v>
                      </c:pt>
                      <c:pt idx="8284">
                        <c:v>0</c:v>
                      </c:pt>
                      <c:pt idx="8285">
                        <c:v>0</c:v>
                      </c:pt>
                      <c:pt idx="8286">
                        <c:v>0</c:v>
                      </c:pt>
                      <c:pt idx="8287">
                        <c:v>0</c:v>
                      </c:pt>
                      <c:pt idx="8288">
                        <c:v>0</c:v>
                      </c:pt>
                      <c:pt idx="8289">
                        <c:v>0</c:v>
                      </c:pt>
                      <c:pt idx="8290">
                        <c:v>0</c:v>
                      </c:pt>
                      <c:pt idx="8291">
                        <c:v>0</c:v>
                      </c:pt>
                      <c:pt idx="8292">
                        <c:v>0</c:v>
                      </c:pt>
                      <c:pt idx="8293">
                        <c:v>0</c:v>
                      </c:pt>
                      <c:pt idx="8294">
                        <c:v>0</c:v>
                      </c:pt>
                      <c:pt idx="8295">
                        <c:v>0</c:v>
                      </c:pt>
                      <c:pt idx="8296">
                        <c:v>0</c:v>
                      </c:pt>
                      <c:pt idx="8297">
                        <c:v>0</c:v>
                      </c:pt>
                      <c:pt idx="8298">
                        <c:v>0</c:v>
                      </c:pt>
                      <c:pt idx="8299">
                        <c:v>0</c:v>
                      </c:pt>
                      <c:pt idx="8300">
                        <c:v>0</c:v>
                      </c:pt>
                      <c:pt idx="8301">
                        <c:v>0</c:v>
                      </c:pt>
                      <c:pt idx="8302">
                        <c:v>0</c:v>
                      </c:pt>
                      <c:pt idx="8303">
                        <c:v>0</c:v>
                      </c:pt>
                      <c:pt idx="8304">
                        <c:v>0</c:v>
                      </c:pt>
                      <c:pt idx="8305">
                        <c:v>0</c:v>
                      </c:pt>
                      <c:pt idx="8306">
                        <c:v>0</c:v>
                      </c:pt>
                      <c:pt idx="8307">
                        <c:v>0</c:v>
                      </c:pt>
                      <c:pt idx="8308">
                        <c:v>0</c:v>
                      </c:pt>
                      <c:pt idx="8309">
                        <c:v>0</c:v>
                      </c:pt>
                      <c:pt idx="8310">
                        <c:v>0</c:v>
                      </c:pt>
                      <c:pt idx="8311">
                        <c:v>0</c:v>
                      </c:pt>
                      <c:pt idx="8312">
                        <c:v>0</c:v>
                      </c:pt>
                      <c:pt idx="8313">
                        <c:v>0</c:v>
                      </c:pt>
                      <c:pt idx="8314">
                        <c:v>0</c:v>
                      </c:pt>
                      <c:pt idx="8315">
                        <c:v>0</c:v>
                      </c:pt>
                      <c:pt idx="8316">
                        <c:v>0</c:v>
                      </c:pt>
                      <c:pt idx="8317">
                        <c:v>0</c:v>
                      </c:pt>
                      <c:pt idx="8318">
                        <c:v>0</c:v>
                      </c:pt>
                      <c:pt idx="8319">
                        <c:v>0</c:v>
                      </c:pt>
                      <c:pt idx="8320">
                        <c:v>0</c:v>
                      </c:pt>
                      <c:pt idx="8321">
                        <c:v>0</c:v>
                      </c:pt>
                      <c:pt idx="8322">
                        <c:v>0</c:v>
                      </c:pt>
                      <c:pt idx="8323">
                        <c:v>0</c:v>
                      </c:pt>
                      <c:pt idx="8324">
                        <c:v>0</c:v>
                      </c:pt>
                      <c:pt idx="8325">
                        <c:v>0</c:v>
                      </c:pt>
                      <c:pt idx="8326">
                        <c:v>0</c:v>
                      </c:pt>
                      <c:pt idx="8327">
                        <c:v>0</c:v>
                      </c:pt>
                      <c:pt idx="8328">
                        <c:v>0</c:v>
                      </c:pt>
                      <c:pt idx="8329">
                        <c:v>0</c:v>
                      </c:pt>
                      <c:pt idx="8330">
                        <c:v>0</c:v>
                      </c:pt>
                      <c:pt idx="8331">
                        <c:v>0</c:v>
                      </c:pt>
                      <c:pt idx="8332">
                        <c:v>0</c:v>
                      </c:pt>
                      <c:pt idx="8333">
                        <c:v>0</c:v>
                      </c:pt>
                      <c:pt idx="8334">
                        <c:v>0</c:v>
                      </c:pt>
                      <c:pt idx="8335">
                        <c:v>0</c:v>
                      </c:pt>
                      <c:pt idx="8336">
                        <c:v>0</c:v>
                      </c:pt>
                      <c:pt idx="8337">
                        <c:v>0</c:v>
                      </c:pt>
                      <c:pt idx="8338">
                        <c:v>0</c:v>
                      </c:pt>
                      <c:pt idx="8339">
                        <c:v>0</c:v>
                      </c:pt>
                      <c:pt idx="8340">
                        <c:v>0</c:v>
                      </c:pt>
                      <c:pt idx="8341">
                        <c:v>0</c:v>
                      </c:pt>
                      <c:pt idx="8342">
                        <c:v>0</c:v>
                      </c:pt>
                      <c:pt idx="8343">
                        <c:v>0</c:v>
                      </c:pt>
                      <c:pt idx="8344">
                        <c:v>0</c:v>
                      </c:pt>
                      <c:pt idx="8345">
                        <c:v>0</c:v>
                      </c:pt>
                      <c:pt idx="8346">
                        <c:v>0</c:v>
                      </c:pt>
                      <c:pt idx="8347">
                        <c:v>0</c:v>
                      </c:pt>
                      <c:pt idx="8348">
                        <c:v>0</c:v>
                      </c:pt>
                      <c:pt idx="8349">
                        <c:v>0</c:v>
                      </c:pt>
                      <c:pt idx="8350">
                        <c:v>0</c:v>
                      </c:pt>
                      <c:pt idx="8351">
                        <c:v>0</c:v>
                      </c:pt>
                      <c:pt idx="8352">
                        <c:v>0</c:v>
                      </c:pt>
                      <c:pt idx="8353">
                        <c:v>0</c:v>
                      </c:pt>
                      <c:pt idx="8354">
                        <c:v>0</c:v>
                      </c:pt>
                      <c:pt idx="8355">
                        <c:v>0</c:v>
                      </c:pt>
                      <c:pt idx="8356">
                        <c:v>0</c:v>
                      </c:pt>
                      <c:pt idx="8357">
                        <c:v>0</c:v>
                      </c:pt>
                      <c:pt idx="8358">
                        <c:v>0</c:v>
                      </c:pt>
                      <c:pt idx="8359">
                        <c:v>0</c:v>
                      </c:pt>
                      <c:pt idx="8360">
                        <c:v>0</c:v>
                      </c:pt>
                      <c:pt idx="8361">
                        <c:v>0</c:v>
                      </c:pt>
                      <c:pt idx="8362">
                        <c:v>0</c:v>
                      </c:pt>
                      <c:pt idx="8363">
                        <c:v>0</c:v>
                      </c:pt>
                      <c:pt idx="8364">
                        <c:v>0</c:v>
                      </c:pt>
                      <c:pt idx="8365">
                        <c:v>0</c:v>
                      </c:pt>
                      <c:pt idx="8366">
                        <c:v>0</c:v>
                      </c:pt>
                      <c:pt idx="8367">
                        <c:v>0</c:v>
                      </c:pt>
                      <c:pt idx="8368">
                        <c:v>0</c:v>
                      </c:pt>
                      <c:pt idx="8369">
                        <c:v>0</c:v>
                      </c:pt>
                      <c:pt idx="8370">
                        <c:v>0</c:v>
                      </c:pt>
                      <c:pt idx="8371">
                        <c:v>0</c:v>
                      </c:pt>
                      <c:pt idx="8372">
                        <c:v>0</c:v>
                      </c:pt>
                      <c:pt idx="8373">
                        <c:v>0</c:v>
                      </c:pt>
                      <c:pt idx="8374">
                        <c:v>0</c:v>
                      </c:pt>
                      <c:pt idx="8375">
                        <c:v>0</c:v>
                      </c:pt>
                      <c:pt idx="8376">
                        <c:v>0</c:v>
                      </c:pt>
                      <c:pt idx="8377">
                        <c:v>0</c:v>
                      </c:pt>
                      <c:pt idx="8378">
                        <c:v>0</c:v>
                      </c:pt>
                      <c:pt idx="8379">
                        <c:v>0</c:v>
                      </c:pt>
                      <c:pt idx="8380">
                        <c:v>0</c:v>
                      </c:pt>
                      <c:pt idx="8381">
                        <c:v>0</c:v>
                      </c:pt>
                      <c:pt idx="8382">
                        <c:v>0</c:v>
                      </c:pt>
                      <c:pt idx="8383">
                        <c:v>0</c:v>
                      </c:pt>
                      <c:pt idx="8384">
                        <c:v>0</c:v>
                      </c:pt>
                      <c:pt idx="8385">
                        <c:v>0</c:v>
                      </c:pt>
                      <c:pt idx="8386">
                        <c:v>0</c:v>
                      </c:pt>
                      <c:pt idx="8387">
                        <c:v>0</c:v>
                      </c:pt>
                      <c:pt idx="8388">
                        <c:v>0</c:v>
                      </c:pt>
                      <c:pt idx="8389">
                        <c:v>0</c:v>
                      </c:pt>
                      <c:pt idx="8390">
                        <c:v>0</c:v>
                      </c:pt>
                      <c:pt idx="8391">
                        <c:v>0</c:v>
                      </c:pt>
                      <c:pt idx="8392">
                        <c:v>0</c:v>
                      </c:pt>
                      <c:pt idx="8393">
                        <c:v>0</c:v>
                      </c:pt>
                      <c:pt idx="8394">
                        <c:v>0</c:v>
                      </c:pt>
                      <c:pt idx="8395">
                        <c:v>0</c:v>
                      </c:pt>
                      <c:pt idx="8396">
                        <c:v>0</c:v>
                      </c:pt>
                      <c:pt idx="8397">
                        <c:v>0</c:v>
                      </c:pt>
                      <c:pt idx="8398">
                        <c:v>0</c:v>
                      </c:pt>
                      <c:pt idx="8399">
                        <c:v>0</c:v>
                      </c:pt>
                      <c:pt idx="8400">
                        <c:v>0</c:v>
                      </c:pt>
                      <c:pt idx="8401">
                        <c:v>0</c:v>
                      </c:pt>
                      <c:pt idx="8402">
                        <c:v>0</c:v>
                      </c:pt>
                      <c:pt idx="8403">
                        <c:v>0</c:v>
                      </c:pt>
                      <c:pt idx="8404">
                        <c:v>0</c:v>
                      </c:pt>
                      <c:pt idx="8405">
                        <c:v>0</c:v>
                      </c:pt>
                      <c:pt idx="8406">
                        <c:v>0</c:v>
                      </c:pt>
                      <c:pt idx="8407">
                        <c:v>0</c:v>
                      </c:pt>
                      <c:pt idx="8408">
                        <c:v>0</c:v>
                      </c:pt>
                      <c:pt idx="8409">
                        <c:v>0</c:v>
                      </c:pt>
                      <c:pt idx="8410">
                        <c:v>0</c:v>
                      </c:pt>
                      <c:pt idx="8411">
                        <c:v>0</c:v>
                      </c:pt>
                      <c:pt idx="8412">
                        <c:v>0</c:v>
                      </c:pt>
                      <c:pt idx="8413">
                        <c:v>0</c:v>
                      </c:pt>
                      <c:pt idx="8414">
                        <c:v>0</c:v>
                      </c:pt>
                      <c:pt idx="8415">
                        <c:v>0</c:v>
                      </c:pt>
                      <c:pt idx="8416">
                        <c:v>0</c:v>
                      </c:pt>
                      <c:pt idx="8417">
                        <c:v>0</c:v>
                      </c:pt>
                      <c:pt idx="8418">
                        <c:v>0</c:v>
                      </c:pt>
                      <c:pt idx="8419">
                        <c:v>0</c:v>
                      </c:pt>
                      <c:pt idx="8420">
                        <c:v>0</c:v>
                      </c:pt>
                      <c:pt idx="8421">
                        <c:v>0</c:v>
                      </c:pt>
                      <c:pt idx="8422">
                        <c:v>0</c:v>
                      </c:pt>
                      <c:pt idx="8423">
                        <c:v>0</c:v>
                      </c:pt>
                      <c:pt idx="8424">
                        <c:v>0</c:v>
                      </c:pt>
                      <c:pt idx="8425">
                        <c:v>0</c:v>
                      </c:pt>
                      <c:pt idx="8426">
                        <c:v>0</c:v>
                      </c:pt>
                      <c:pt idx="8427">
                        <c:v>0</c:v>
                      </c:pt>
                      <c:pt idx="8428">
                        <c:v>0</c:v>
                      </c:pt>
                      <c:pt idx="8429">
                        <c:v>0</c:v>
                      </c:pt>
                      <c:pt idx="8430">
                        <c:v>0</c:v>
                      </c:pt>
                      <c:pt idx="8431">
                        <c:v>0</c:v>
                      </c:pt>
                      <c:pt idx="8432">
                        <c:v>0</c:v>
                      </c:pt>
                      <c:pt idx="8433">
                        <c:v>0</c:v>
                      </c:pt>
                      <c:pt idx="8434">
                        <c:v>0</c:v>
                      </c:pt>
                      <c:pt idx="8435">
                        <c:v>0</c:v>
                      </c:pt>
                      <c:pt idx="8436">
                        <c:v>0</c:v>
                      </c:pt>
                      <c:pt idx="8437">
                        <c:v>0</c:v>
                      </c:pt>
                      <c:pt idx="8438">
                        <c:v>0</c:v>
                      </c:pt>
                      <c:pt idx="8439">
                        <c:v>0</c:v>
                      </c:pt>
                      <c:pt idx="8440">
                        <c:v>0</c:v>
                      </c:pt>
                      <c:pt idx="8441">
                        <c:v>0</c:v>
                      </c:pt>
                      <c:pt idx="8442">
                        <c:v>0</c:v>
                      </c:pt>
                      <c:pt idx="8443">
                        <c:v>0</c:v>
                      </c:pt>
                      <c:pt idx="8444">
                        <c:v>0</c:v>
                      </c:pt>
                      <c:pt idx="8445">
                        <c:v>0</c:v>
                      </c:pt>
                      <c:pt idx="8446">
                        <c:v>0</c:v>
                      </c:pt>
                      <c:pt idx="8447">
                        <c:v>0</c:v>
                      </c:pt>
                      <c:pt idx="8448">
                        <c:v>0</c:v>
                      </c:pt>
                      <c:pt idx="8449">
                        <c:v>0</c:v>
                      </c:pt>
                      <c:pt idx="8450">
                        <c:v>0</c:v>
                      </c:pt>
                      <c:pt idx="8451">
                        <c:v>0</c:v>
                      </c:pt>
                      <c:pt idx="8452">
                        <c:v>0</c:v>
                      </c:pt>
                      <c:pt idx="8453">
                        <c:v>0</c:v>
                      </c:pt>
                      <c:pt idx="8454">
                        <c:v>0</c:v>
                      </c:pt>
                      <c:pt idx="8455">
                        <c:v>0</c:v>
                      </c:pt>
                      <c:pt idx="8456">
                        <c:v>0</c:v>
                      </c:pt>
                      <c:pt idx="8457">
                        <c:v>0</c:v>
                      </c:pt>
                      <c:pt idx="8458">
                        <c:v>0</c:v>
                      </c:pt>
                      <c:pt idx="8459">
                        <c:v>0</c:v>
                      </c:pt>
                      <c:pt idx="8460">
                        <c:v>0</c:v>
                      </c:pt>
                      <c:pt idx="8461">
                        <c:v>0</c:v>
                      </c:pt>
                      <c:pt idx="8462">
                        <c:v>0</c:v>
                      </c:pt>
                      <c:pt idx="8463">
                        <c:v>0</c:v>
                      </c:pt>
                      <c:pt idx="8464">
                        <c:v>0</c:v>
                      </c:pt>
                      <c:pt idx="8465">
                        <c:v>0</c:v>
                      </c:pt>
                      <c:pt idx="8466">
                        <c:v>0</c:v>
                      </c:pt>
                      <c:pt idx="8467">
                        <c:v>0</c:v>
                      </c:pt>
                      <c:pt idx="8468">
                        <c:v>0</c:v>
                      </c:pt>
                      <c:pt idx="8469">
                        <c:v>0</c:v>
                      </c:pt>
                      <c:pt idx="8470">
                        <c:v>0</c:v>
                      </c:pt>
                      <c:pt idx="8471">
                        <c:v>0</c:v>
                      </c:pt>
                      <c:pt idx="8472">
                        <c:v>0</c:v>
                      </c:pt>
                      <c:pt idx="8473">
                        <c:v>0</c:v>
                      </c:pt>
                      <c:pt idx="8474">
                        <c:v>0</c:v>
                      </c:pt>
                      <c:pt idx="8475">
                        <c:v>0</c:v>
                      </c:pt>
                      <c:pt idx="8476">
                        <c:v>0</c:v>
                      </c:pt>
                      <c:pt idx="8477">
                        <c:v>0</c:v>
                      </c:pt>
                      <c:pt idx="8478">
                        <c:v>0</c:v>
                      </c:pt>
                      <c:pt idx="8479">
                        <c:v>0</c:v>
                      </c:pt>
                      <c:pt idx="8480">
                        <c:v>0</c:v>
                      </c:pt>
                      <c:pt idx="8481">
                        <c:v>0</c:v>
                      </c:pt>
                      <c:pt idx="8482">
                        <c:v>0</c:v>
                      </c:pt>
                      <c:pt idx="8483">
                        <c:v>0</c:v>
                      </c:pt>
                      <c:pt idx="8484">
                        <c:v>0</c:v>
                      </c:pt>
                      <c:pt idx="8485">
                        <c:v>0</c:v>
                      </c:pt>
                      <c:pt idx="8486">
                        <c:v>0</c:v>
                      </c:pt>
                      <c:pt idx="8487">
                        <c:v>0</c:v>
                      </c:pt>
                      <c:pt idx="8488">
                        <c:v>0</c:v>
                      </c:pt>
                      <c:pt idx="8489">
                        <c:v>0</c:v>
                      </c:pt>
                      <c:pt idx="8490">
                        <c:v>0</c:v>
                      </c:pt>
                      <c:pt idx="8491">
                        <c:v>0</c:v>
                      </c:pt>
                      <c:pt idx="8492">
                        <c:v>0</c:v>
                      </c:pt>
                      <c:pt idx="8493">
                        <c:v>0</c:v>
                      </c:pt>
                      <c:pt idx="8494">
                        <c:v>0</c:v>
                      </c:pt>
                      <c:pt idx="8495">
                        <c:v>0</c:v>
                      </c:pt>
                      <c:pt idx="8496">
                        <c:v>0</c:v>
                      </c:pt>
                      <c:pt idx="8497">
                        <c:v>0</c:v>
                      </c:pt>
                      <c:pt idx="8498">
                        <c:v>0</c:v>
                      </c:pt>
                      <c:pt idx="8499">
                        <c:v>0</c:v>
                      </c:pt>
                      <c:pt idx="8500">
                        <c:v>0</c:v>
                      </c:pt>
                      <c:pt idx="8501">
                        <c:v>0</c:v>
                      </c:pt>
                      <c:pt idx="8502">
                        <c:v>0</c:v>
                      </c:pt>
                      <c:pt idx="8503">
                        <c:v>0</c:v>
                      </c:pt>
                      <c:pt idx="8504">
                        <c:v>0</c:v>
                      </c:pt>
                      <c:pt idx="8505">
                        <c:v>0</c:v>
                      </c:pt>
                      <c:pt idx="8506">
                        <c:v>0</c:v>
                      </c:pt>
                      <c:pt idx="8507">
                        <c:v>0</c:v>
                      </c:pt>
                      <c:pt idx="8508">
                        <c:v>0</c:v>
                      </c:pt>
                      <c:pt idx="8509">
                        <c:v>0</c:v>
                      </c:pt>
                      <c:pt idx="8510">
                        <c:v>0</c:v>
                      </c:pt>
                      <c:pt idx="8511">
                        <c:v>0</c:v>
                      </c:pt>
                      <c:pt idx="8512">
                        <c:v>0</c:v>
                      </c:pt>
                      <c:pt idx="8513">
                        <c:v>0</c:v>
                      </c:pt>
                      <c:pt idx="8514">
                        <c:v>0</c:v>
                      </c:pt>
                      <c:pt idx="8515">
                        <c:v>0</c:v>
                      </c:pt>
                      <c:pt idx="8516">
                        <c:v>0</c:v>
                      </c:pt>
                      <c:pt idx="8517">
                        <c:v>0</c:v>
                      </c:pt>
                      <c:pt idx="8518">
                        <c:v>0</c:v>
                      </c:pt>
                      <c:pt idx="8519">
                        <c:v>0</c:v>
                      </c:pt>
                      <c:pt idx="8520">
                        <c:v>0</c:v>
                      </c:pt>
                      <c:pt idx="8521">
                        <c:v>0</c:v>
                      </c:pt>
                      <c:pt idx="8522">
                        <c:v>0</c:v>
                      </c:pt>
                      <c:pt idx="8523">
                        <c:v>0</c:v>
                      </c:pt>
                      <c:pt idx="8524">
                        <c:v>0</c:v>
                      </c:pt>
                      <c:pt idx="8525">
                        <c:v>0</c:v>
                      </c:pt>
                      <c:pt idx="8526">
                        <c:v>0</c:v>
                      </c:pt>
                      <c:pt idx="8527">
                        <c:v>0</c:v>
                      </c:pt>
                      <c:pt idx="8528">
                        <c:v>0</c:v>
                      </c:pt>
                      <c:pt idx="8529">
                        <c:v>0</c:v>
                      </c:pt>
                      <c:pt idx="8530">
                        <c:v>0</c:v>
                      </c:pt>
                      <c:pt idx="8531">
                        <c:v>0</c:v>
                      </c:pt>
                      <c:pt idx="8532">
                        <c:v>0</c:v>
                      </c:pt>
                      <c:pt idx="8533">
                        <c:v>0</c:v>
                      </c:pt>
                      <c:pt idx="8534">
                        <c:v>0</c:v>
                      </c:pt>
                      <c:pt idx="8535">
                        <c:v>0</c:v>
                      </c:pt>
                      <c:pt idx="8536">
                        <c:v>0</c:v>
                      </c:pt>
                      <c:pt idx="8537">
                        <c:v>0</c:v>
                      </c:pt>
                      <c:pt idx="8538">
                        <c:v>0</c:v>
                      </c:pt>
                      <c:pt idx="8539">
                        <c:v>0</c:v>
                      </c:pt>
                      <c:pt idx="8540">
                        <c:v>0</c:v>
                      </c:pt>
                      <c:pt idx="8541">
                        <c:v>0</c:v>
                      </c:pt>
                      <c:pt idx="8542">
                        <c:v>0</c:v>
                      </c:pt>
                      <c:pt idx="8543">
                        <c:v>0</c:v>
                      </c:pt>
                      <c:pt idx="8544">
                        <c:v>0</c:v>
                      </c:pt>
                      <c:pt idx="8545">
                        <c:v>0</c:v>
                      </c:pt>
                      <c:pt idx="8546">
                        <c:v>0</c:v>
                      </c:pt>
                      <c:pt idx="8547">
                        <c:v>0</c:v>
                      </c:pt>
                      <c:pt idx="8548">
                        <c:v>0</c:v>
                      </c:pt>
                      <c:pt idx="8549">
                        <c:v>0</c:v>
                      </c:pt>
                      <c:pt idx="8550">
                        <c:v>0</c:v>
                      </c:pt>
                      <c:pt idx="8551">
                        <c:v>0</c:v>
                      </c:pt>
                      <c:pt idx="8552">
                        <c:v>0</c:v>
                      </c:pt>
                      <c:pt idx="8553">
                        <c:v>0</c:v>
                      </c:pt>
                      <c:pt idx="8554">
                        <c:v>0</c:v>
                      </c:pt>
                      <c:pt idx="8555">
                        <c:v>0</c:v>
                      </c:pt>
                      <c:pt idx="8556">
                        <c:v>0</c:v>
                      </c:pt>
                      <c:pt idx="8557">
                        <c:v>0</c:v>
                      </c:pt>
                      <c:pt idx="8558">
                        <c:v>0</c:v>
                      </c:pt>
                      <c:pt idx="8559">
                        <c:v>0</c:v>
                      </c:pt>
                      <c:pt idx="8560">
                        <c:v>0</c:v>
                      </c:pt>
                      <c:pt idx="8561">
                        <c:v>0</c:v>
                      </c:pt>
                      <c:pt idx="8562">
                        <c:v>0</c:v>
                      </c:pt>
                      <c:pt idx="8563">
                        <c:v>0</c:v>
                      </c:pt>
                      <c:pt idx="8564">
                        <c:v>0</c:v>
                      </c:pt>
                      <c:pt idx="8565">
                        <c:v>0</c:v>
                      </c:pt>
                      <c:pt idx="8566">
                        <c:v>0</c:v>
                      </c:pt>
                      <c:pt idx="8567">
                        <c:v>0</c:v>
                      </c:pt>
                      <c:pt idx="8568">
                        <c:v>0</c:v>
                      </c:pt>
                      <c:pt idx="8569">
                        <c:v>0</c:v>
                      </c:pt>
                      <c:pt idx="8570">
                        <c:v>0</c:v>
                      </c:pt>
                      <c:pt idx="8571">
                        <c:v>0</c:v>
                      </c:pt>
                      <c:pt idx="8572">
                        <c:v>0</c:v>
                      </c:pt>
                      <c:pt idx="8573">
                        <c:v>0</c:v>
                      </c:pt>
                      <c:pt idx="8574">
                        <c:v>0</c:v>
                      </c:pt>
                      <c:pt idx="8575">
                        <c:v>0</c:v>
                      </c:pt>
                      <c:pt idx="8576">
                        <c:v>0</c:v>
                      </c:pt>
                      <c:pt idx="8577">
                        <c:v>0</c:v>
                      </c:pt>
                      <c:pt idx="8578">
                        <c:v>0</c:v>
                      </c:pt>
                      <c:pt idx="8579">
                        <c:v>0</c:v>
                      </c:pt>
                      <c:pt idx="8580">
                        <c:v>0</c:v>
                      </c:pt>
                      <c:pt idx="8581">
                        <c:v>0</c:v>
                      </c:pt>
                      <c:pt idx="8582">
                        <c:v>0</c:v>
                      </c:pt>
                      <c:pt idx="8583">
                        <c:v>0</c:v>
                      </c:pt>
                      <c:pt idx="8584">
                        <c:v>0</c:v>
                      </c:pt>
                      <c:pt idx="8585">
                        <c:v>0</c:v>
                      </c:pt>
                      <c:pt idx="8586">
                        <c:v>0</c:v>
                      </c:pt>
                      <c:pt idx="8587">
                        <c:v>0</c:v>
                      </c:pt>
                      <c:pt idx="8588">
                        <c:v>0</c:v>
                      </c:pt>
                      <c:pt idx="8589">
                        <c:v>0</c:v>
                      </c:pt>
                      <c:pt idx="8590">
                        <c:v>0</c:v>
                      </c:pt>
                      <c:pt idx="8591">
                        <c:v>0</c:v>
                      </c:pt>
                      <c:pt idx="8592">
                        <c:v>0</c:v>
                      </c:pt>
                      <c:pt idx="8593">
                        <c:v>0</c:v>
                      </c:pt>
                      <c:pt idx="8594">
                        <c:v>0</c:v>
                      </c:pt>
                      <c:pt idx="8595">
                        <c:v>0</c:v>
                      </c:pt>
                      <c:pt idx="8596">
                        <c:v>0</c:v>
                      </c:pt>
                      <c:pt idx="8597">
                        <c:v>0</c:v>
                      </c:pt>
                      <c:pt idx="8598">
                        <c:v>0</c:v>
                      </c:pt>
                      <c:pt idx="8599">
                        <c:v>0</c:v>
                      </c:pt>
                      <c:pt idx="8600">
                        <c:v>0</c:v>
                      </c:pt>
                      <c:pt idx="8601">
                        <c:v>0</c:v>
                      </c:pt>
                      <c:pt idx="8602">
                        <c:v>0</c:v>
                      </c:pt>
                      <c:pt idx="8603">
                        <c:v>0</c:v>
                      </c:pt>
                      <c:pt idx="8604">
                        <c:v>0</c:v>
                      </c:pt>
                      <c:pt idx="8605">
                        <c:v>0</c:v>
                      </c:pt>
                      <c:pt idx="8606">
                        <c:v>0</c:v>
                      </c:pt>
                      <c:pt idx="8607">
                        <c:v>0</c:v>
                      </c:pt>
                      <c:pt idx="8608">
                        <c:v>0</c:v>
                      </c:pt>
                      <c:pt idx="8609">
                        <c:v>0</c:v>
                      </c:pt>
                      <c:pt idx="8610">
                        <c:v>0</c:v>
                      </c:pt>
                      <c:pt idx="8611">
                        <c:v>0</c:v>
                      </c:pt>
                      <c:pt idx="8612">
                        <c:v>0</c:v>
                      </c:pt>
                      <c:pt idx="8613">
                        <c:v>0</c:v>
                      </c:pt>
                      <c:pt idx="8614">
                        <c:v>0</c:v>
                      </c:pt>
                      <c:pt idx="8615">
                        <c:v>0</c:v>
                      </c:pt>
                      <c:pt idx="8616">
                        <c:v>0</c:v>
                      </c:pt>
                      <c:pt idx="8617">
                        <c:v>0</c:v>
                      </c:pt>
                      <c:pt idx="8618">
                        <c:v>0</c:v>
                      </c:pt>
                      <c:pt idx="8619">
                        <c:v>0</c:v>
                      </c:pt>
                      <c:pt idx="8620">
                        <c:v>0</c:v>
                      </c:pt>
                      <c:pt idx="8621">
                        <c:v>0</c:v>
                      </c:pt>
                      <c:pt idx="8622">
                        <c:v>0</c:v>
                      </c:pt>
                      <c:pt idx="8623">
                        <c:v>0</c:v>
                      </c:pt>
                      <c:pt idx="8624">
                        <c:v>0</c:v>
                      </c:pt>
                      <c:pt idx="8625">
                        <c:v>0</c:v>
                      </c:pt>
                      <c:pt idx="8626">
                        <c:v>0</c:v>
                      </c:pt>
                      <c:pt idx="8627">
                        <c:v>0</c:v>
                      </c:pt>
                      <c:pt idx="8628">
                        <c:v>0</c:v>
                      </c:pt>
                      <c:pt idx="8629">
                        <c:v>0</c:v>
                      </c:pt>
                      <c:pt idx="8630">
                        <c:v>0</c:v>
                      </c:pt>
                      <c:pt idx="8631">
                        <c:v>0</c:v>
                      </c:pt>
                      <c:pt idx="8632">
                        <c:v>0</c:v>
                      </c:pt>
                      <c:pt idx="8633">
                        <c:v>0</c:v>
                      </c:pt>
                      <c:pt idx="8634">
                        <c:v>0</c:v>
                      </c:pt>
                      <c:pt idx="8635">
                        <c:v>0</c:v>
                      </c:pt>
                      <c:pt idx="8636">
                        <c:v>0</c:v>
                      </c:pt>
                      <c:pt idx="8637">
                        <c:v>0</c:v>
                      </c:pt>
                      <c:pt idx="8638">
                        <c:v>0</c:v>
                      </c:pt>
                      <c:pt idx="8639">
                        <c:v>0</c:v>
                      </c:pt>
                      <c:pt idx="8640">
                        <c:v>0</c:v>
                      </c:pt>
                      <c:pt idx="8641">
                        <c:v>0</c:v>
                      </c:pt>
                      <c:pt idx="8642">
                        <c:v>0</c:v>
                      </c:pt>
                      <c:pt idx="8643">
                        <c:v>0</c:v>
                      </c:pt>
                      <c:pt idx="8644">
                        <c:v>0</c:v>
                      </c:pt>
                      <c:pt idx="8645">
                        <c:v>0</c:v>
                      </c:pt>
                      <c:pt idx="8646">
                        <c:v>0</c:v>
                      </c:pt>
                      <c:pt idx="8647">
                        <c:v>0</c:v>
                      </c:pt>
                      <c:pt idx="8648">
                        <c:v>0</c:v>
                      </c:pt>
                      <c:pt idx="8649">
                        <c:v>0</c:v>
                      </c:pt>
                      <c:pt idx="8650">
                        <c:v>0</c:v>
                      </c:pt>
                      <c:pt idx="8651">
                        <c:v>0</c:v>
                      </c:pt>
                      <c:pt idx="8652">
                        <c:v>0</c:v>
                      </c:pt>
                      <c:pt idx="8653">
                        <c:v>0</c:v>
                      </c:pt>
                      <c:pt idx="8654">
                        <c:v>0</c:v>
                      </c:pt>
                      <c:pt idx="8655">
                        <c:v>0</c:v>
                      </c:pt>
                      <c:pt idx="8656">
                        <c:v>0</c:v>
                      </c:pt>
                      <c:pt idx="8657">
                        <c:v>0</c:v>
                      </c:pt>
                      <c:pt idx="8658">
                        <c:v>0</c:v>
                      </c:pt>
                      <c:pt idx="8659">
                        <c:v>0</c:v>
                      </c:pt>
                      <c:pt idx="8660">
                        <c:v>0</c:v>
                      </c:pt>
                      <c:pt idx="8661">
                        <c:v>0</c:v>
                      </c:pt>
                      <c:pt idx="8662">
                        <c:v>0</c:v>
                      </c:pt>
                      <c:pt idx="8663">
                        <c:v>0</c:v>
                      </c:pt>
                      <c:pt idx="8664">
                        <c:v>0</c:v>
                      </c:pt>
                      <c:pt idx="8665">
                        <c:v>0</c:v>
                      </c:pt>
                      <c:pt idx="8666">
                        <c:v>0</c:v>
                      </c:pt>
                      <c:pt idx="8667">
                        <c:v>0</c:v>
                      </c:pt>
                      <c:pt idx="8668">
                        <c:v>0</c:v>
                      </c:pt>
                      <c:pt idx="8669">
                        <c:v>0</c:v>
                      </c:pt>
                      <c:pt idx="8670">
                        <c:v>0</c:v>
                      </c:pt>
                      <c:pt idx="8671">
                        <c:v>0</c:v>
                      </c:pt>
                      <c:pt idx="8672">
                        <c:v>0</c:v>
                      </c:pt>
                      <c:pt idx="8673">
                        <c:v>0</c:v>
                      </c:pt>
                      <c:pt idx="8674">
                        <c:v>0</c:v>
                      </c:pt>
                      <c:pt idx="8675">
                        <c:v>0</c:v>
                      </c:pt>
                      <c:pt idx="8676">
                        <c:v>0</c:v>
                      </c:pt>
                      <c:pt idx="8677">
                        <c:v>0</c:v>
                      </c:pt>
                      <c:pt idx="8678">
                        <c:v>0</c:v>
                      </c:pt>
                      <c:pt idx="8679">
                        <c:v>0</c:v>
                      </c:pt>
                      <c:pt idx="8680">
                        <c:v>0</c:v>
                      </c:pt>
                      <c:pt idx="8681">
                        <c:v>0</c:v>
                      </c:pt>
                      <c:pt idx="8682">
                        <c:v>0</c:v>
                      </c:pt>
                      <c:pt idx="8683">
                        <c:v>0</c:v>
                      </c:pt>
                      <c:pt idx="8684">
                        <c:v>0</c:v>
                      </c:pt>
                      <c:pt idx="8685">
                        <c:v>0</c:v>
                      </c:pt>
                      <c:pt idx="8686">
                        <c:v>0</c:v>
                      </c:pt>
                      <c:pt idx="8687">
                        <c:v>0</c:v>
                      </c:pt>
                      <c:pt idx="8688">
                        <c:v>0</c:v>
                      </c:pt>
                      <c:pt idx="8689">
                        <c:v>0</c:v>
                      </c:pt>
                      <c:pt idx="8690">
                        <c:v>0</c:v>
                      </c:pt>
                      <c:pt idx="8691">
                        <c:v>0</c:v>
                      </c:pt>
                      <c:pt idx="8692">
                        <c:v>0</c:v>
                      </c:pt>
                      <c:pt idx="8693">
                        <c:v>0</c:v>
                      </c:pt>
                      <c:pt idx="8694">
                        <c:v>0</c:v>
                      </c:pt>
                      <c:pt idx="8695">
                        <c:v>0</c:v>
                      </c:pt>
                      <c:pt idx="8696">
                        <c:v>0</c:v>
                      </c:pt>
                      <c:pt idx="8697">
                        <c:v>0</c:v>
                      </c:pt>
                      <c:pt idx="8698">
                        <c:v>0</c:v>
                      </c:pt>
                      <c:pt idx="8699">
                        <c:v>0</c:v>
                      </c:pt>
                      <c:pt idx="8700">
                        <c:v>0</c:v>
                      </c:pt>
                      <c:pt idx="8701">
                        <c:v>0</c:v>
                      </c:pt>
                      <c:pt idx="8702">
                        <c:v>0</c:v>
                      </c:pt>
                      <c:pt idx="8703">
                        <c:v>0</c:v>
                      </c:pt>
                      <c:pt idx="8704">
                        <c:v>0</c:v>
                      </c:pt>
                      <c:pt idx="8705">
                        <c:v>0</c:v>
                      </c:pt>
                      <c:pt idx="8706">
                        <c:v>0</c:v>
                      </c:pt>
                      <c:pt idx="8707">
                        <c:v>0</c:v>
                      </c:pt>
                      <c:pt idx="8708">
                        <c:v>0</c:v>
                      </c:pt>
                      <c:pt idx="8709">
                        <c:v>0</c:v>
                      </c:pt>
                      <c:pt idx="8710">
                        <c:v>0</c:v>
                      </c:pt>
                      <c:pt idx="8711">
                        <c:v>0</c:v>
                      </c:pt>
                      <c:pt idx="8712">
                        <c:v>0</c:v>
                      </c:pt>
                      <c:pt idx="8713">
                        <c:v>0</c:v>
                      </c:pt>
                      <c:pt idx="8714">
                        <c:v>0</c:v>
                      </c:pt>
                      <c:pt idx="8715">
                        <c:v>0</c:v>
                      </c:pt>
                      <c:pt idx="8716">
                        <c:v>0</c:v>
                      </c:pt>
                      <c:pt idx="8717">
                        <c:v>0</c:v>
                      </c:pt>
                      <c:pt idx="8718">
                        <c:v>0</c:v>
                      </c:pt>
                      <c:pt idx="8719">
                        <c:v>0</c:v>
                      </c:pt>
                      <c:pt idx="8720">
                        <c:v>0</c:v>
                      </c:pt>
                      <c:pt idx="8721">
                        <c:v>0</c:v>
                      </c:pt>
                      <c:pt idx="8722">
                        <c:v>0</c:v>
                      </c:pt>
                      <c:pt idx="8723">
                        <c:v>0</c:v>
                      </c:pt>
                      <c:pt idx="8724">
                        <c:v>0</c:v>
                      </c:pt>
                      <c:pt idx="8725">
                        <c:v>0</c:v>
                      </c:pt>
                      <c:pt idx="8726">
                        <c:v>0</c:v>
                      </c:pt>
                      <c:pt idx="8727">
                        <c:v>0</c:v>
                      </c:pt>
                      <c:pt idx="8728">
                        <c:v>0</c:v>
                      </c:pt>
                      <c:pt idx="8729">
                        <c:v>0</c:v>
                      </c:pt>
                      <c:pt idx="8730">
                        <c:v>0</c:v>
                      </c:pt>
                      <c:pt idx="8731">
                        <c:v>0</c:v>
                      </c:pt>
                      <c:pt idx="8732">
                        <c:v>0</c:v>
                      </c:pt>
                      <c:pt idx="8733">
                        <c:v>0</c:v>
                      </c:pt>
                      <c:pt idx="8734">
                        <c:v>0</c:v>
                      </c:pt>
                      <c:pt idx="8735">
                        <c:v>0</c:v>
                      </c:pt>
                      <c:pt idx="8736">
                        <c:v>0</c:v>
                      </c:pt>
                      <c:pt idx="8737">
                        <c:v>0</c:v>
                      </c:pt>
                      <c:pt idx="8738">
                        <c:v>0</c:v>
                      </c:pt>
                      <c:pt idx="8739">
                        <c:v>0</c:v>
                      </c:pt>
                      <c:pt idx="8740">
                        <c:v>0</c:v>
                      </c:pt>
                      <c:pt idx="8741">
                        <c:v>0</c:v>
                      </c:pt>
                      <c:pt idx="8742">
                        <c:v>0</c:v>
                      </c:pt>
                      <c:pt idx="8743">
                        <c:v>0</c:v>
                      </c:pt>
                      <c:pt idx="8744">
                        <c:v>0</c:v>
                      </c:pt>
                      <c:pt idx="8745">
                        <c:v>0</c:v>
                      </c:pt>
                      <c:pt idx="8746">
                        <c:v>0</c:v>
                      </c:pt>
                      <c:pt idx="8747">
                        <c:v>0</c:v>
                      </c:pt>
                      <c:pt idx="8748">
                        <c:v>0</c:v>
                      </c:pt>
                      <c:pt idx="8749">
                        <c:v>0</c:v>
                      </c:pt>
                      <c:pt idx="8750">
                        <c:v>0</c:v>
                      </c:pt>
                      <c:pt idx="8751">
                        <c:v>0</c:v>
                      </c:pt>
                      <c:pt idx="8752">
                        <c:v>0</c:v>
                      </c:pt>
                      <c:pt idx="8753">
                        <c:v>0</c:v>
                      </c:pt>
                      <c:pt idx="8754">
                        <c:v>0</c:v>
                      </c:pt>
                      <c:pt idx="8755">
                        <c:v>0</c:v>
                      </c:pt>
                      <c:pt idx="8756">
                        <c:v>0</c:v>
                      </c:pt>
                      <c:pt idx="8757">
                        <c:v>0</c:v>
                      </c:pt>
                      <c:pt idx="8758">
                        <c:v>0</c:v>
                      </c:pt>
                      <c:pt idx="8759">
                        <c:v>0</c:v>
                      </c:pt>
                      <c:pt idx="8760">
                        <c:v>0</c:v>
                      </c:pt>
                      <c:pt idx="8761">
                        <c:v>0</c:v>
                      </c:pt>
                      <c:pt idx="8762">
                        <c:v>0</c:v>
                      </c:pt>
                      <c:pt idx="8763">
                        <c:v>0</c:v>
                      </c:pt>
                      <c:pt idx="8764">
                        <c:v>0</c:v>
                      </c:pt>
                      <c:pt idx="8765">
                        <c:v>0</c:v>
                      </c:pt>
                      <c:pt idx="8766">
                        <c:v>0</c:v>
                      </c:pt>
                      <c:pt idx="8767">
                        <c:v>0</c:v>
                      </c:pt>
                      <c:pt idx="8768">
                        <c:v>0</c:v>
                      </c:pt>
                      <c:pt idx="8769">
                        <c:v>0</c:v>
                      </c:pt>
                      <c:pt idx="8770">
                        <c:v>0</c:v>
                      </c:pt>
                      <c:pt idx="8771">
                        <c:v>0</c:v>
                      </c:pt>
                      <c:pt idx="8772">
                        <c:v>0</c:v>
                      </c:pt>
                      <c:pt idx="8773">
                        <c:v>0</c:v>
                      </c:pt>
                      <c:pt idx="8774">
                        <c:v>0</c:v>
                      </c:pt>
                      <c:pt idx="8775">
                        <c:v>0</c:v>
                      </c:pt>
                      <c:pt idx="8776">
                        <c:v>0</c:v>
                      </c:pt>
                      <c:pt idx="8777">
                        <c:v>0</c:v>
                      </c:pt>
                      <c:pt idx="8778">
                        <c:v>0</c:v>
                      </c:pt>
                      <c:pt idx="8779">
                        <c:v>0</c:v>
                      </c:pt>
                      <c:pt idx="8780">
                        <c:v>0</c:v>
                      </c:pt>
                      <c:pt idx="8781">
                        <c:v>0</c:v>
                      </c:pt>
                      <c:pt idx="8782">
                        <c:v>0</c:v>
                      </c:pt>
                      <c:pt idx="8783">
                        <c:v>0</c:v>
                      </c:pt>
                      <c:pt idx="8784">
                        <c:v>0</c:v>
                      </c:pt>
                      <c:pt idx="8785">
                        <c:v>0</c:v>
                      </c:pt>
                      <c:pt idx="8786">
                        <c:v>0</c:v>
                      </c:pt>
                      <c:pt idx="8787">
                        <c:v>0</c:v>
                      </c:pt>
                      <c:pt idx="8788">
                        <c:v>0</c:v>
                      </c:pt>
                      <c:pt idx="8789">
                        <c:v>0</c:v>
                      </c:pt>
                      <c:pt idx="8790">
                        <c:v>0</c:v>
                      </c:pt>
                      <c:pt idx="8791">
                        <c:v>0</c:v>
                      </c:pt>
                      <c:pt idx="8792">
                        <c:v>0</c:v>
                      </c:pt>
                      <c:pt idx="8793">
                        <c:v>0</c:v>
                      </c:pt>
                      <c:pt idx="8794">
                        <c:v>0</c:v>
                      </c:pt>
                      <c:pt idx="8795">
                        <c:v>0</c:v>
                      </c:pt>
                      <c:pt idx="8796">
                        <c:v>0</c:v>
                      </c:pt>
                      <c:pt idx="8797">
                        <c:v>0</c:v>
                      </c:pt>
                      <c:pt idx="8798">
                        <c:v>0</c:v>
                      </c:pt>
                      <c:pt idx="8799">
                        <c:v>0</c:v>
                      </c:pt>
                      <c:pt idx="8800">
                        <c:v>0</c:v>
                      </c:pt>
                      <c:pt idx="8801">
                        <c:v>0</c:v>
                      </c:pt>
                      <c:pt idx="8802">
                        <c:v>0</c:v>
                      </c:pt>
                      <c:pt idx="8803">
                        <c:v>0</c:v>
                      </c:pt>
                      <c:pt idx="8804">
                        <c:v>0</c:v>
                      </c:pt>
                      <c:pt idx="8805">
                        <c:v>0</c:v>
                      </c:pt>
                      <c:pt idx="8806">
                        <c:v>0</c:v>
                      </c:pt>
                      <c:pt idx="8807">
                        <c:v>0</c:v>
                      </c:pt>
                      <c:pt idx="8808">
                        <c:v>0</c:v>
                      </c:pt>
                      <c:pt idx="8809">
                        <c:v>0</c:v>
                      </c:pt>
                      <c:pt idx="8810">
                        <c:v>0</c:v>
                      </c:pt>
                      <c:pt idx="8811">
                        <c:v>0</c:v>
                      </c:pt>
                      <c:pt idx="8812">
                        <c:v>0</c:v>
                      </c:pt>
                      <c:pt idx="8813">
                        <c:v>0</c:v>
                      </c:pt>
                      <c:pt idx="8814">
                        <c:v>0</c:v>
                      </c:pt>
                      <c:pt idx="8815">
                        <c:v>0</c:v>
                      </c:pt>
                      <c:pt idx="8816">
                        <c:v>0</c:v>
                      </c:pt>
                      <c:pt idx="8817">
                        <c:v>0</c:v>
                      </c:pt>
                      <c:pt idx="8818">
                        <c:v>0</c:v>
                      </c:pt>
                      <c:pt idx="8819">
                        <c:v>0</c:v>
                      </c:pt>
                      <c:pt idx="8820">
                        <c:v>0</c:v>
                      </c:pt>
                      <c:pt idx="8821">
                        <c:v>0</c:v>
                      </c:pt>
                      <c:pt idx="8822">
                        <c:v>0</c:v>
                      </c:pt>
                      <c:pt idx="8823">
                        <c:v>0</c:v>
                      </c:pt>
                      <c:pt idx="8824">
                        <c:v>0</c:v>
                      </c:pt>
                      <c:pt idx="8825">
                        <c:v>0</c:v>
                      </c:pt>
                      <c:pt idx="8826">
                        <c:v>0</c:v>
                      </c:pt>
                      <c:pt idx="8827">
                        <c:v>0</c:v>
                      </c:pt>
                      <c:pt idx="8828">
                        <c:v>0</c:v>
                      </c:pt>
                      <c:pt idx="8829">
                        <c:v>0</c:v>
                      </c:pt>
                      <c:pt idx="8830">
                        <c:v>0</c:v>
                      </c:pt>
                      <c:pt idx="8831">
                        <c:v>0</c:v>
                      </c:pt>
                      <c:pt idx="8832">
                        <c:v>0</c:v>
                      </c:pt>
                      <c:pt idx="8833">
                        <c:v>0</c:v>
                      </c:pt>
                      <c:pt idx="8834">
                        <c:v>0</c:v>
                      </c:pt>
                      <c:pt idx="8835">
                        <c:v>0</c:v>
                      </c:pt>
                      <c:pt idx="8836">
                        <c:v>0</c:v>
                      </c:pt>
                      <c:pt idx="8837">
                        <c:v>0</c:v>
                      </c:pt>
                      <c:pt idx="8838">
                        <c:v>0</c:v>
                      </c:pt>
                      <c:pt idx="8839">
                        <c:v>0</c:v>
                      </c:pt>
                      <c:pt idx="8840">
                        <c:v>0</c:v>
                      </c:pt>
                      <c:pt idx="8841">
                        <c:v>0</c:v>
                      </c:pt>
                      <c:pt idx="8842">
                        <c:v>0</c:v>
                      </c:pt>
                      <c:pt idx="8843">
                        <c:v>0</c:v>
                      </c:pt>
                      <c:pt idx="8844">
                        <c:v>0</c:v>
                      </c:pt>
                      <c:pt idx="8845">
                        <c:v>0</c:v>
                      </c:pt>
                      <c:pt idx="8846">
                        <c:v>0</c:v>
                      </c:pt>
                      <c:pt idx="8847">
                        <c:v>0</c:v>
                      </c:pt>
                      <c:pt idx="8848">
                        <c:v>0</c:v>
                      </c:pt>
                      <c:pt idx="8849">
                        <c:v>0</c:v>
                      </c:pt>
                      <c:pt idx="8850">
                        <c:v>0</c:v>
                      </c:pt>
                      <c:pt idx="8851">
                        <c:v>0</c:v>
                      </c:pt>
                      <c:pt idx="8852">
                        <c:v>0</c:v>
                      </c:pt>
                      <c:pt idx="8853">
                        <c:v>0</c:v>
                      </c:pt>
                      <c:pt idx="8854">
                        <c:v>0</c:v>
                      </c:pt>
                      <c:pt idx="8855">
                        <c:v>0</c:v>
                      </c:pt>
                      <c:pt idx="8856">
                        <c:v>0</c:v>
                      </c:pt>
                      <c:pt idx="8857">
                        <c:v>0</c:v>
                      </c:pt>
                      <c:pt idx="8858">
                        <c:v>0</c:v>
                      </c:pt>
                      <c:pt idx="8859">
                        <c:v>0</c:v>
                      </c:pt>
                      <c:pt idx="8860">
                        <c:v>0</c:v>
                      </c:pt>
                      <c:pt idx="8861">
                        <c:v>0</c:v>
                      </c:pt>
                      <c:pt idx="8862">
                        <c:v>0</c:v>
                      </c:pt>
                      <c:pt idx="8863">
                        <c:v>0</c:v>
                      </c:pt>
                      <c:pt idx="8864">
                        <c:v>0</c:v>
                      </c:pt>
                      <c:pt idx="8865">
                        <c:v>0</c:v>
                      </c:pt>
                      <c:pt idx="8866">
                        <c:v>0</c:v>
                      </c:pt>
                      <c:pt idx="8867">
                        <c:v>0</c:v>
                      </c:pt>
                      <c:pt idx="8868">
                        <c:v>0</c:v>
                      </c:pt>
                      <c:pt idx="8869">
                        <c:v>0</c:v>
                      </c:pt>
                      <c:pt idx="8870">
                        <c:v>0</c:v>
                      </c:pt>
                      <c:pt idx="8871">
                        <c:v>0</c:v>
                      </c:pt>
                      <c:pt idx="8872">
                        <c:v>0</c:v>
                      </c:pt>
                      <c:pt idx="8873">
                        <c:v>0</c:v>
                      </c:pt>
                      <c:pt idx="8874">
                        <c:v>0</c:v>
                      </c:pt>
                      <c:pt idx="8875">
                        <c:v>0</c:v>
                      </c:pt>
                      <c:pt idx="8876">
                        <c:v>0</c:v>
                      </c:pt>
                      <c:pt idx="8877">
                        <c:v>0</c:v>
                      </c:pt>
                      <c:pt idx="8878">
                        <c:v>0</c:v>
                      </c:pt>
                      <c:pt idx="8879">
                        <c:v>0</c:v>
                      </c:pt>
                      <c:pt idx="8880">
                        <c:v>0</c:v>
                      </c:pt>
                      <c:pt idx="8881">
                        <c:v>0</c:v>
                      </c:pt>
                      <c:pt idx="8882">
                        <c:v>0</c:v>
                      </c:pt>
                      <c:pt idx="8883">
                        <c:v>0</c:v>
                      </c:pt>
                      <c:pt idx="8884">
                        <c:v>0</c:v>
                      </c:pt>
                      <c:pt idx="8885">
                        <c:v>0</c:v>
                      </c:pt>
                      <c:pt idx="8886">
                        <c:v>0</c:v>
                      </c:pt>
                      <c:pt idx="8887">
                        <c:v>0</c:v>
                      </c:pt>
                      <c:pt idx="8888">
                        <c:v>0</c:v>
                      </c:pt>
                      <c:pt idx="8889">
                        <c:v>0</c:v>
                      </c:pt>
                      <c:pt idx="8890">
                        <c:v>0</c:v>
                      </c:pt>
                      <c:pt idx="8891">
                        <c:v>0</c:v>
                      </c:pt>
                      <c:pt idx="8892">
                        <c:v>0</c:v>
                      </c:pt>
                      <c:pt idx="8893">
                        <c:v>0</c:v>
                      </c:pt>
                      <c:pt idx="8894">
                        <c:v>0</c:v>
                      </c:pt>
                      <c:pt idx="8895">
                        <c:v>0</c:v>
                      </c:pt>
                      <c:pt idx="8896">
                        <c:v>0</c:v>
                      </c:pt>
                      <c:pt idx="8897">
                        <c:v>0</c:v>
                      </c:pt>
                      <c:pt idx="8898">
                        <c:v>0</c:v>
                      </c:pt>
                      <c:pt idx="8899">
                        <c:v>0</c:v>
                      </c:pt>
                      <c:pt idx="8900">
                        <c:v>0</c:v>
                      </c:pt>
                      <c:pt idx="8901">
                        <c:v>0</c:v>
                      </c:pt>
                      <c:pt idx="8902">
                        <c:v>0</c:v>
                      </c:pt>
                      <c:pt idx="8903">
                        <c:v>0</c:v>
                      </c:pt>
                      <c:pt idx="8904">
                        <c:v>0</c:v>
                      </c:pt>
                      <c:pt idx="8905">
                        <c:v>0</c:v>
                      </c:pt>
                      <c:pt idx="8906">
                        <c:v>0</c:v>
                      </c:pt>
                      <c:pt idx="8907">
                        <c:v>0</c:v>
                      </c:pt>
                      <c:pt idx="8908">
                        <c:v>0</c:v>
                      </c:pt>
                      <c:pt idx="8909">
                        <c:v>0</c:v>
                      </c:pt>
                      <c:pt idx="8910">
                        <c:v>0</c:v>
                      </c:pt>
                      <c:pt idx="8911">
                        <c:v>0</c:v>
                      </c:pt>
                      <c:pt idx="8912">
                        <c:v>0</c:v>
                      </c:pt>
                      <c:pt idx="8913">
                        <c:v>0</c:v>
                      </c:pt>
                      <c:pt idx="8914">
                        <c:v>0</c:v>
                      </c:pt>
                      <c:pt idx="8915">
                        <c:v>0</c:v>
                      </c:pt>
                      <c:pt idx="8916">
                        <c:v>0</c:v>
                      </c:pt>
                      <c:pt idx="8917">
                        <c:v>0</c:v>
                      </c:pt>
                      <c:pt idx="8918">
                        <c:v>0</c:v>
                      </c:pt>
                      <c:pt idx="8919">
                        <c:v>0</c:v>
                      </c:pt>
                      <c:pt idx="8920">
                        <c:v>0</c:v>
                      </c:pt>
                      <c:pt idx="8921">
                        <c:v>0</c:v>
                      </c:pt>
                      <c:pt idx="8922">
                        <c:v>0</c:v>
                      </c:pt>
                      <c:pt idx="8923">
                        <c:v>0</c:v>
                      </c:pt>
                      <c:pt idx="8924">
                        <c:v>0</c:v>
                      </c:pt>
                      <c:pt idx="8925">
                        <c:v>0</c:v>
                      </c:pt>
                      <c:pt idx="8926">
                        <c:v>0</c:v>
                      </c:pt>
                      <c:pt idx="8927">
                        <c:v>0</c:v>
                      </c:pt>
                      <c:pt idx="8928">
                        <c:v>0</c:v>
                      </c:pt>
                      <c:pt idx="8929">
                        <c:v>0</c:v>
                      </c:pt>
                      <c:pt idx="8930">
                        <c:v>0</c:v>
                      </c:pt>
                      <c:pt idx="8931">
                        <c:v>0</c:v>
                      </c:pt>
                      <c:pt idx="8932">
                        <c:v>0</c:v>
                      </c:pt>
                      <c:pt idx="8933">
                        <c:v>0</c:v>
                      </c:pt>
                      <c:pt idx="8934">
                        <c:v>0</c:v>
                      </c:pt>
                      <c:pt idx="8935">
                        <c:v>0</c:v>
                      </c:pt>
                      <c:pt idx="8936">
                        <c:v>0</c:v>
                      </c:pt>
                      <c:pt idx="8937">
                        <c:v>0</c:v>
                      </c:pt>
                      <c:pt idx="8938">
                        <c:v>0</c:v>
                      </c:pt>
                      <c:pt idx="8939">
                        <c:v>0</c:v>
                      </c:pt>
                      <c:pt idx="8940">
                        <c:v>0</c:v>
                      </c:pt>
                      <c:pt idx="8941">
                        <c:v>0</c:v>
                      </c:pt>
                      <c:pt idx="8942">
                        <c:v>0</c:v>
                      </c:pt>
                      <c:pt idx="8943">
                        <c:v>0</c:v>
                      </c:pt>
                      <c:pt idx="8944">
                        <c:v>0</c:v>
                      </c:pt>
                      <c:pt idx="8945">
                        <c:v>0</c:v>
                      </c:pt>
                      <c:pt idx="8946">
                        <c:v>0</c:v>
                      </c:pt>
                      <c:pt idx="8947">
                        <c:v>0</c:v>
                      </c:pt>
                      <c:pt idx="8948">
                        <c:v>0</c:v>
                      </c:pt>
                      <c:pt idx="8949">
                        <c:v>0</c:v>
                      </c:pt>
                      <c:pt idx="8950">
                        <c:v>0</c:v>
                      </c:pt>
                      <c:pt idx="8951">
                        <c:v>0</c:v>
                      </c:pt>
                      <c:pt idx="8952">
                        <c:v>0</c:v>
                      </c:pt>
                      <c:pt idx="8953">
                        <c:v>0</c:v>
                      </c:pt>
                      <c:pt idx="8954">
                        <c:v>0</c:v>
                      </c:pt>
                      <c:pt idx="8955">
                        <c:v>0</c:v>
                      </c:pt>
                      <c:pt idx="8956">
                        <c:v>0</c:v>
                      </c:pt>
                      <c:pt idx="8957">
                        <c:v>0</c:v>
                      </c:pt>
                      <c:pt idx="8958">
                        <c:v>0</c:v>
                      </c:pt>
                      <c:pt idx="8959">
                        <c:v>0</c:v>
                      </c:pt>
                      <c:pt idx="8960">
                        <c:v>0</c:v>
                      </c:pt>
                      <c:pt idx="8961">
                        <c:v>0</c:v>
                      </c:pt>
                      <c:pt idx="8962">
                        <c:v>0</c:v>
                      </c:pt>
                      <c:pt idx="8963">
                        <c:v>0</c:v>
                      </c:pt>
                      <c:pt idx="8964">
                        <c:v>0</c:v>
                      </c:pt>
                      <c:pt idx="8965">
                        <c:v>0</c:v>
                      </c:pt>
                      <c:pt idx="8966">
                        <c:v>0</c:v>
                      </c:pt>
                      <c:pt idx="8967">
                        <c:v>0</c:v>
                      </c:pt>
                      <c:pt idx="8968">
                        <c:v>0</c:v>
                      </c:pt>
                      <c:pt idx="8969">
                        <c:v>0</c:v>
                      </c:pt>
                      <c:pt idx="8970">
                        <c:v>0</c:v>
                      </c:pt>
                      <c:pt idx="8971">
                        <c:v>0</c:v>
                      </c:pt>
                      <c:pt idx="8972">
                        <c:v>0</c:v>
                      </c:pt>
                      <c:pt idx="8973">
                        <c:v>0</c:v>
                      </c:pt>
                      <c:pt idx="8974">
                        <c:v>0</c:v>
                      </c:pt>
                      <c:pt idx="8975">
                        <c:v>0</c:v>
                      </c:pt>
                      <c:pt idx="8976">
                        <c:v>0</c:v>
                      </c:pt>
                      <c:pt idx="8977">
                        <c:v>0</c:v>
                      </c:pt>
                      <c:pt idx="8978">
                        <c:v>0</c:v>
                      </c:pt>
                      <c:pt idx="8979">
                        <c:v>0</c:v>
                      </c:pt>
                      <c:pt idx="8980">
                        <c:v>0</c:v>
                      </c:pt>
                      <c:pt idx="8981">
                        <c:v>0</c:v>
                      </c:pt>
                      <c:pt idx="8982">
                        <c:v>0</c:v>
                      </c:pt>
                      <c:pt idx="8983">
                        <c:v>0</c:v>
                      </c:pt>
                      <c:pt idx="8984">
                        <c:v>0</c:v>
                      </c:pt>
                      <c:pt idx="8985">
                        <c:v>0</c:v>
                      </c:pt>
                      <c:pt idx="8986">
                        <c:v>0</c:v>
                      </c:pt>
                      <c:pt idx="8987">
                        <c:v>0</c:v>
                      </c:pt>
                      <c:pt idx="8988">
                        <c:v>0</c:v>
                      </c:pt>
                      <c:pt idx="8989">
                        <c:v>0</c:v>
                      </c:pt>
                      <c:pt idx="8990">
                        <c:v>0</c:v>
                      </c:pt>
                      <c:pt idx="8991">
                        <c:v>0</c:v>
                      </c:pt>
                      <c:pt idx="8992">
                        <c:v>0</c:v>
                      </c:pt>
                      <c:pt idx="8993">
                        <c:v>0</c:v>
                      </c:pt>
                      <c:pt idx="8994">
                        <c:v>0</c:v>
                      </c:pt>
                      <c:pt idx="8995">
                        <c:v>0</c:v>
                      </c:pt>
                      <c:pt idx="8996">
                        <c:v>0</c:v>
                      </c:pt>
                      <c:pt idx="8997">
                        <c:v>0</c:v>
                      </c:pt>
                      <c:pt idx="8998">
                        <c:v>0</c:v>
                      </c:pt>
                      <c:pt idx="8999">
                        <c:v>0</c:v>
                      </c:pt>
                      <c:pt idx="9000">
                        <c:v>0</c:v>
                      </c:pt>
                      <c:pt idx="9001">
                        <c:v>0</c:v>
                      </c:pt>
                      <c:pt idx="9002">
                        <c:v>0</c:v>
                      </c:pt>
                      <c:pt idx="9003">
                        <c:v>0</c:v>
                      </c:pt>
                      <c:pt idx="9004">
                        <c:v>0</c:v>
                      </c:pt>
                      <c:pt idx="9005">
                        <c:v>0</c:v>
                      </c:pt>
                      <c:pt idx="9006">
                        <c:v>0</c:v>
                      </c:pt>
                      <c:pt idx="9007">
                        <c:v>0</c:v>
                      </c:pt>
                      <c:pt idx="9008">
                        <c:v>0</c:v>
                      </c:pt>
                      <c:pt idx="9009">
                        <c:v>0</c:v>
                      </c:pt>
                      <c:pt idx="9010">
                        <c:v>0</c:v>
                      </c:pt>
                      <c:pt idx="9011">
                        <c:v>0</c:v>
                      </c:pt>
                      <c:pt idx="9012">
                        <c:v>0</c:v>
                      </c:pt>
                      <c:pt idx="9013">
                        <c:v>0</c:v>
                      </c:pt>
                      <c:pt idx="9014">
                        <c:v>0</c:v>
                      </c:pt>
                      <c:pt idx="9015">
                        <c:v>0</c:v>
                      </c:pt>
                      <c:pt idx="9016">
                        <c:v>0</c:v>
                      </c:pt>
                      <c:pt idx="9017">
                        <c:v>0</c:v>
                      </c:pt>
                      <c:pt idx="9018">
                        <c:v>0</c:v>
                      </c:pt>
                      <c:pt idx="9019">
                        <c:v>0</c:v>
                      </c:pt>
                      <c:pt idx="9020">
                        <c:v>0</c:v>
                      </c:pt>
                      <c:pt idx="9021">
                        <c:v>0</c:v>
                      </c:pt>
                      <c:pt idx="9022">
                        <c:v>0</c:v>
                      </c:pt>
                      <c:pt idx="9023">
                        <c:v>0</c:v>
                      </c:pt>
                      <c:pt idx="9024">
                        <c:v>0</c:v>
                      </c:pt>
                      <c:pt idx="9025">
                        <c:v>0</c:v>
                      </c:pt>
                      <c:pt idx="9026">
                        <c:v>0</c:v>
                      </c:pt>
                      <c:pt idx="9027">
                        <c:v>0</c:v>
                      </c:pt>
                      <c:pt idx="9028">
                        <c:v>0</c:v>
                      </c:pt>
                      <c:pt idx="9029">
                        <c:v>0</c:v>
                      </c:pt>
                      <c:pt idx="9030">
                        <c:v>0</c:v>
                      </c:pt>
                      <c:pt idx="9031">
                        <c:v>0</c:v>
                      </c:pt>
                      <c:pt idx="9032">
                        <c:v>0</c:v>
                      </c:pt>
                      <c:pt idx="9033">
                        <c:v>0</c:v>
                      </c:pt>
                      <c:pt idx="9034">
                        <c:v>0</c:v>
                      </c:pt>
                      <c:pt idx="9035">
                        <c:v>0</c:v>
                      </c:pt>
                      <c:pt idx="9036">
                        <c:v>0</c:v>
                      </c:pt>
                      <c:pt idx="9037">
                        <c:v>0</c:v>
                      </c:pt>
                      <c:pt idx="9038">
                        <c:v>0</c:v>
                      </c:pt>
                      <c:pt idx="9039">
                        <c:v>0</c:v>
                      </c:pt>
                      <c:pt idx="9040">
                        <c:v>0</c:v>
                      </c:pt>
                      <c:pt idx="9041">
                        <c:v>0</c:v>
                      </c:pt>
                      <c:pt idx="9042">
                        <c:v>0</c:v>
                      </c:pt>
                      <c:pt idx="9043">
                        <c:v>0</c:v>
                      </c:pt>
                      <c:pt idx="9044">
                        <c:v>0</c:v>
                      </c:pt>
                      <c:pt idx="9045">
                        <c:v>0</c:v>
                      </c:pt>
                      <c:pt idx="9046">
                        <c:v>0</c:v>
                      </c:pt>
                      <c:pt idx="9047">
                        <c:v>0</c:v>
                      </c:pt>
                      <c:pt idx="9048">
                        <c:v>0</c:v>
                      </c:pt>
                      <c:pt idx="9049">
                        <c:v>0</c:v>
                      </c:pt>
                      <c:pt idx="9050">
                        <c:v>0</c:v>
                      </c:pt>
                      <c:pt idx="9051">
                        <c:v>0</c:v>
                      </c:pt>
                      <c:pt idx="9052">
                        <c:v>0</c:v>
                      </c:pt>
                      <c:pt idx="9053">
                        <c:v>0</c:v>
                      </c:pt>
                      <c:pt idx="9054">
                        <c:v>0</c:v>
                      </c:pt>
                      <c:pt idx="9055">
                        <c:v>0</c:v>
                      </c:pt>
                      <c:pt idx="9056">
                        <c:v>0</c:v>
                      </c:pt>
                      <c:pt idx="9057">
                        <c:v>0</c:v>
                      </c:pt>
                      <c:pt idx="9058">
                        <c:v>0</c:v>
                      </c:pt>
                      <c:pt idx="9059">
                        <c:v>0</c:v>
                      </c:pt>
                      <c:pt idx="9060">
                        <c:v>0</c:v>
                      </c:pt>
                      <c:pt idx="9061">
                        <c:v>0</c:v>
                      </c:pt>
                      <c:pt idx="9062">
                        <c:v>0</c:v>
                      </c:pt>
                      <c:pt idx="9063">
                        <c:v>0</c:v>
                      </c:pt>
                      <c:pt idx="9064">
                        <c:v>0</c:v>
                      </c:pt>
                      <c:pt idx="9065">
                        <c:v>0</c:v>
                      </c:pt>
                      <c:pt idx="9066">
                        <c:v>0</c:v>
                      </c:pt>
                      <c:pt idx="9067">
                        <c:v>0</c:v>
                      </c:pt>
                      <c:pt idx="9068">
                        <c:v>0</c:v>
                      </c:pt>
                      <c:pt idx="9069">
                        <c:v>0</c:v>
                      </c:pt>
                      <c:pt idx="9070">
                        <c:v>0</c:v>
                      </c:pt>
                      <c:pt idx="9071">
                        <c:v>0</c:v>
                      </c:pt>
                      <c:pt idx="9072">
                        <c:v>0</c:v>
                      </c:pt>
                      <c:pt idx="9073">
                        <c:v>0</c:v>
                      </c:pt>
                      <c:pt idx="9074">
                        <c:v>0</c:v>
                      </c:pt>
                      <c:pt idx="9075">
                        <c:v>0</c:v>
                      </c:pt>
                      <c:pt idx="9076">
                        <c:v>0</c:v>
                      </c:pt>
                      <c:pt idx="9077">
                        <c:v>0</c:v>
                      </c:pt>
                      <c:pt idx="9078">
                        <c:v>0</c:v>
                      </c:pt>
                      <c:pt idx="9079">
                        <c:v>0</c:v>
                      </c:pt>
                      <c:pt idx="9080">
                        <c:v>0</c:v>
                      </c:pt>
                      <c:pt idx="9081">
                        <c:v>0</c:v>
                      </c:pt>
                      <c:pt idx="9082">
                        <c:v>0</c:v>
                      </c:pt>
                      <c:pt idx="9083">
                        <c:v>0</c:v>
                      </c:pt>
                      <c:pt idx="9084">
                        <c:v>0</c:v>
                      </c:pt>
                      <c:pt idx="9085">
                        <c:v>0</c:v>
                      </c:pt>
                      <c:pt idx="9086">
                        <c:v>0</c:v>
                      </c:pt>
                      <c:pt idx="9087">
                        <c:v>0</c:v>
                      </c:pt>
                      <c:pt idx="9088">
                        <c:v>0</c:v>
                      </c:pt>
                      <c:pt idx="9089">
                        <c:v>0</c:v>
                      </c:pt>
                      <c:pt idx="9090">
                        <c:v>0</c:v>
                      </c:pt>
                      <c:pt idx="9091">
                        <c:v>0</c:v>
                      </c:pt>
                      <c:pt idx="9092">
                        <c:v>0</c:v>
                      </c:pt>
                      <c:pt idx="9093">
                        <c:v>0</c:v>
                      </c:pt>
                      <c:pt idx="9094">
                        <c:v>0</c:v>
                      </c:pt>
                      <c:pt idx="9095">
                        <c:v>0</c:v>
                      </c:pt>
                      <c:pt idx="9096">
                        <c:v>0</c:v>
                      </c:pt>
                      <c:pt idx="9097">
                        <c:v>0</c:v>
                      </c:pt>
                      <c:pt idx="9098">
                        <c:v>0</c:v>
                      </c:pt>
                      <c:pt idx="9099">
                        <c:v>0</c:v>
                      </c:pt>
                      <c:pt idx="9100">
                        <c:v>0</c:v>
                      </c:pt>
                      <c:pt idx="9101">
                        <c:v>0</c:v>
                      </c:pt>
                      <c:pt idx="9102">
                        <c:v>0</c:v>
                      </c:pt>
                      <c:pt idx="9103">
                        <c:v>0</c:v>
                      </c:pt>
                      <c:pt idx="9104">
                        <c:v>0</c:v>
                      </c:pt>
                      <c:pt idx="9105">
                        <c:v>0</c:v>
                      </c:pt>
                      <c:pt idx="9106">
                        <c:v>0</c:v>
                      </c:pt>
                      <c:pt idx="9107">
                        <c:v>0</c:v>
                      </c:pt>
                      <c:pt idx="9108">
                        <c:v>0</c:v>
                      </c:pt>
                      <c:pt idx="9109">
                        <c:v>0</c:v>
                      </c:pt>
                      <c:pt idx="9110">
                        <c:v>0</c:v>
                      </c:pt>
                      <c:pt idx="9111">
                        <c:v>0</c:v>
                      </c:pt>
                      <c:pt idx="9112">
                        <c:v>0</c:v>
                      </c:pt>
                      <c:pt idx="9113">
                        <c:v>0</c:v>
                      </c:pt>
                      <c:pt idx="9114">
                        <c:v>0</c:v>
                      </c:pt>
                      <c:pt idx="9115">
                        <c:v>0</c:v>
                      </c:pt>
                      <c:pt idx="9116">
                        <c:v>0</c:v>
                      </c:pt>
                      <c:pt idx="9117">
                        <c:v>0</c:v>
                      </c:pt>
                      <c:pt idx="9118">
                        <c:v>0</c:v>
                      </c:pt>
                      <c:pt idx="9119">
                        <c:v>0</c:v>
                      </c:pt>
                      <c:pt idx="9120">
                        <c:v>0</c:v>
                      </c:pt>
                      <c:pt idx="9121">
                        <c:v>0</c:v>
                      </c:pt>
                      <c:pt idx="9122">
                        <c:v>0</c:v>
                      </c:pt>
                      <c:pt idx="9123">
                        <c:v>0</c:v>
                      </c:pt>
                      <c:pt idx="9124">
                        <c:v>0</c:v>
                      </c:pt>
                      <c:pt idx="9125">
                        <c:v>0</c:v>
                      </c:pt>
                      <c:pt idx="9126">
                        <c:v>0</c:v>
                      </c:pt>
                      <c:pt idx="9127">
                        <c:v>0</c:v>
                      </c:pt>
                      <c:pt idx="9128">
                        <c:v>0</c:v>
                      </c:pt>
                      <c:pt idx="9129">
                        <c:v>0</c:v>
                      </c:pt>
                      <c:pt idx="9130">
                        <c:v>0</c:v>
                      </c:pt>
                      <c:pt idx="9131">
                        <c:v>0</c:v>
                      </c:pt>
                      <c:pt idx="9132">
                        <c:v>0</c:v>
                      </c:pt>
                      <c:pt idx="9133">
                        <c:v>0</c:v>
                      </c:pt>
                      <c:pt idx="9134">
                        <c:v>0</c:v>
                      </c:pt>
                      <c:pt idx="9135">
                        <c:v>0</c:v>
                      </c:pt>
                      <c:pt idx="9136">
                        <c:v>0</c:v>
                      </c:pt>
                      <c:pt idx="9137">
                        <c:v>0</c:v>
                      </c:pt>
                      <c:pt idx="9138">
                        <c:v>0</c:v>
                      </c:pt>
                      <c:pt idx="9139">
                        <c:v>0</c:v>
                      </c:pt>
                      <c:pt idx="9140">
                        <c:v>0</c:v>
                      </c:pt>
                      <c:pt idx="9141">
                        <c:v>0</c:v>
                      </c:pt>
                      <c:pt idx="9142">
                        <c:v>0</c:v>
                      </c:pt>
                      <c:pt idx="9143">
                        <c:v>0</c:v>
                      </c:pt>
                      <c:pt idx="9144">
                        <c:v>0</c:v>
                      </c:pt>
                      <c:pt idx="9145">
                        <c:v>0</c:v>
                      </c:pt>
                      <c:pt idx="9146">
                        <c:v>0</c:v>
                      </c:pt>
                      <c:pt idx="9147">
                        <c:v>0</c:v>
                      </c:pt>
                      <c:pt idx="9148">
                        <c:v>0</c:v>
                      </c:pt>
                      <c:pt idx="9149">
                        <c:v>0</c:v>
                      </c:pt>
                      <c:pt idx="9150">
                        <c:v>0</c:v>
                      </c:pt>
                      <c:pt idx="9151">
                        <c:v>0</c:v>
                      </c:pt>
                      <c:pt idx="9152">
                        <c:v>0</c:v>
                      </c:pt>
                      <c:pt idx="9153">
                        <c:v>0</c:v>
                      </c:pt>
                      <c:pt idx="9154">
                        <c:v>0</c:v>
                      </c:pt>
                      <c:pt idx="9155">
                        <c:v>0</c:v>
                      </c:pt>
                      <c:pt idx="9156">
                        <c:v>0</c:v>
                      </c:pt>
                      <c:pt idx="9157">
                        <c:v>0</c:v>
                      </c:pt>
                      <c:pt idx="9158">
                        <c:v>0</c:v>
                      </c:pt>
                      <c:pt idx="9159">
                        <c:v>0</c:v>
                      </c:pt>
                      <c:pt idx="9160">
                        <c:v>0</c:v>
                      </c:pt>
                      <c:pt idx="9161">
                        <c:v>0</c:v>
                      </c:pt>
                      <c:pt idx="9162">
                        <c:v>0</c:v>
                      </c:pt>
                      <c:pt idx="9163">
                        <c:v>0</c:v>
                      </c:pt>
                      <c:pt idx="9164">
                        <c:v>0</c:v>
                      </c:pt>
                      <c:pt idx="9165">
                        <c:v>0</c:v>
                      </c:pt>
                      <c:pt idx="9166">
                        <c:v>0</c:v>
                      </c:pt>
                      <c:pt idx="9167">
                        <c:v>0</c:v>
                      </c:pt>
                      <c:pt idx="9168">
                        <c:v>0</c:v>
                      </c:pt>
                      <c:pt idx="9169">
                        <c:v>0</c:v>
                      </c:pt>
                      <c:pt idx="9170">
                        <c:v>0</c:v>
                      </c:pt>
                      <c:pt idx="9171">
                        <c:v>0</c:v>
                      </c:pt>
                      <c:pt idx="9172">
                        <c:v>0</c:v>
                      </c:pt>
                      <c:pt idx="9173">
                        <c:v>0</c:v>
                      </c:pt>
                      <c:pt idx="9174">
                        <c:v>0</c:v>
                      </c:pt>
                      <c:pt idx="9175">
                        <c:v>0</c:v>
                      </c:pt>
                      <c:pt idx="9176">
                        <c:v>0</c:v>
                      </c:pt>
                      <c:pt idx="9177">
                        <c:v>0</c:v>
                      </c:pt>
                      <c:pt idx="9178">
                        <c:v>0</c:v>
                      </c:pt>
                      <c:pt idx="9179">
                        <c:v>0</c:v>
                      </c:pt>
                      <c:pt idx="9180">
                        <c:v>0</c:v>
                      </c:pt>
                      <c:pt idx="9181">
                        <c:v>0</c:v>
                      </c:pt>
                      <c:pt idx="9182">
                        <c:v>0</c:v>
                      </c:pt>
                      <c:pt idx="9183">
                        <c:v>0</c:v>
                      </c:pt>
                      <c:pt idx="9184">
                        <c:v>0</c:v>
                      </c:pt>
                      <c:pt idx="9185">
                        <c:v>0</c:v>
                      </c:pt>
                      <c:pt idx="9186">
                        <c:v>0</c:v>
                      </c:pt>
                      <c:pt idx="9187">
                        <c:v>0</c:v>
                      </c:pt>
                      <c:pt idx="9188">
                        <c:v>0</c:v>
                      </c:pt>
                      <c:pt idx="9189">
                        <c:v>0</c:v>
                      </c:pt>
                      <c:pt idx="9190">
                        <c:v>0</c:v>
                      </c:pt>
                      <c:pt idx="9191">
                        <c:v>0</c:v>
                      </c:pt>
                      <c:pt idx="9192">
                        <c:v>0</c:v>
                      </c:pt>
                      <c:pt idx="9193">
                        <c:v>0</c:v>
                      </c:pt>
                      <c:pt idx="9194">
                        <c:v>0</c:v>
                      </c:pt>
                      <c:pt idx="9195">
                        <c:v>0</c:v>
                      </c:pt>
                      <c:pt idx="9196">
                        <c:v>0</c:v>
                      </c:pt>
                      <c:pt idx="9197">
                        <c:v>0</c:v>
                      </c:pt>
                      <c:pt idx="9198">
                        <c:v>0</c:v>
                      </c:pt>
                      <c:pt idx="9199">
                        <c:v>0</c:v>
                      </c:pt>
                      <c:pt idx="9200">
                        <c:v>0</c:v>
                      </c:pt>
                      <c:pt idx="9201">
                        <c:v>0</c:v>
                      </c:pt>
                      <c:pt idx="9202">
                        <c:v>0</c:v>
                      </c:pt>
                      <c:pt idx="9203">
                        <c:v>0</c:v>
                      </c:pt>
                      <c:pt idx="9204">
                        <c:v>0</c:v>
                      </c:pt>
                      <c:pt idx="9205">
                        <c:v>0</c:v>
                      </c:pt>
                      <c:pt idx="9206">
                        <c:v>0</c:v>
                      </c:pt>
                      <c:pt idx="9207">
                        <c:v>0</c:v>
                      </c:pt>
                      <c:pt idx="9208">
                        <c:v>0</c:v>
                      </c:pt>
                      <c:pt idx="9209">
                        <c:v>0</c:v>
                      </c:pt>
                      <c:pt idx="9210">
                        <c:v>0</c:v>
                      </c:pt>
                      <c:pt idx="9211">
                        <c:v>0</c:v>
                      </c:pt>
                      <c:pt idx="9212">
                        <c:v>0</c:v>
                      </c:pt>
                      <c:pt idx="9213">
                        <c:v>0</c:v>
                      </c:pt>
                      <c:pt idx="9214">
                        <c:v>0</c:v>
                      </c:pt>
                      <c:pt idx="9215">
                        <c:v>0</c:v>
                      </c:pt>
                      <c:pt idx="9216">
                        <c:v>0</c:v>
                      </c:pt>
                      <c:pt idx="9217">
                        <c:v>0</c:v>
                      </c:pt>
                      <c:pt idx="9218">
                        <c:v>0</c:v>
                      </c:pt>
                      <c:pt idx="9219">
                        <c:v>0</c:v>
                      </c:pt>
                      <c:pt idx="9220">
                        <c:v>0</c:v>
                      </c:pt>
                      <c:pt idx="9221">
                        <c:v>0</c:v>
                      </c:pt>
                      <c:pt idx="9222">
                        <c:v>0</c:v>
                      </c:pt>
                      <c:pt idx="9223">
                        <c:v>0</c:v>
                      </c:pt>
                      <c:pt idx="9224">
                        <c:v>0</c:v>
                      </c:pt>
                      <c:pt idx="9225">
                        <c:v>0</c:v>
                      </c:pt>
                      <c:pt idx="9226">
                        <c:v>0</c:v>
                      </c:pt>
                      <c:pt idx="9227">
                        <c:v>0</c:v>
                      </c:pt>
                      <c:pt idx="9228">
                        <c:v>0</c:v>
                      </c:pt>
                      <c:pt idx="9229">
                        <c:v>0</c:v>
                      </c:pt>
                      <c:pt idx="9230">
                        <c:v>0</c:v>
                      </c:pt>
                      <c:pt idx="9231">
                        <c:v>0</c:v>
                      </c:pt>
                      <c:pt idx="9232">
                        <c:v>0</c:v>
                      </c:pt>
                      <c:pt idx="9233">
                        <c:v>0</c:v>
                      </c:pt>
                      <c:pt idx="9234">
                        <c:v>0</c:v>
                      </c:pt>
                      <c:pt idx="9235">
                        <c:v>0</c:v>
                      </c:pt>
                      <c:pt idx="9236">
                        <c:v>0</c:v>
                      </c:pt>
                      <c:pt idx="9237">
                        <c:v>0</c:v>
                      </c:pt>
                      <c:pt idx="9238">
                        <c:v>0</c:v>
                      </c:pt>
                      <c:pt idx="9239">
                        <c:v>0</c:v>
                      </c:pt>
                      <c:pt idx="9240">
                        <c:v>0</c:v>
                      </c:pt>
                      <c:pt idx="9241">
                        <c:v>0</c:v>
                      </c:pt>
                      <c:pt idx="9242">
                        <c:v>0</c:v>
                      </c:pt>
                      <c:pt idx="9243">
                        <c:v>0</c:v>
                      </c:pt>
                      <c:pt idx="9244">
                        <c:v>0</c:v>
                      </c:pt>
                      <c:pt idx="9245">
                        <c:v>0</c:v>
                      </c:pt>
                      <c:pt idx="9246">
                        <c:v>0</c:v>
                      </c:pt>
                      <c:pt idx="9247">
                        <c:v>0</c:v>
                      </c:pt>
                      <c:pt idx="9248">
                        <c:v>0</c:v>
                      </c:pt>
                      <c:pt idx="9249">
                        <c:v>0</c:v>
                      </c:pt>
                      <c:pt idx="9250">
                        <c:v>0</c:v>
                      </c:pt>
                      <c:pt idx="9251">
                        <c:v>0</c:v>
                      </c:pt>
                      <c:pt idx="9252">
                        <c:v>0</c:v>
                      </c:pt>
                      <c:pt idx="9253">
                        <c:v>0</c:v>
                      </c:pt>
                      <c:pt idx="9254">
                        <c:v>0</c:v>
                      </c:pt>
                      <c:pt idx="9255">
                        <c:v>0</c:v>
                      </c:pt>
                      <c:pt idx="9256">
                        <c:v>0</c:v>
                      </c:pt>
                      <c:pt idx="9257">
                        <c:v>0</c:v>
                      </c:pt>
                      <c:pt idx="9258">
                        <c:v>0</c:v>
                      </c:pt>
                      <c:pt idx="9259">
                        <c:v>0</c:v>
                      </c:pt>
                      <c:pt idx="9260">
                        <c:v>0</c:v>
                      </c:pt>
                      <c:pt idx="9261">
                        <c:v>0</c:v>
                      </c:pt>
                      <c:pt idx="9262">
                        <c:v>0</c:v>
                      </c:pt>
                      <c:pt idx="9263">
                        <c:v>0</c:v>
                      </c:pt>
                      <c:pt idx="9264">
                        <c:v>0</c:v>
                      </c:pt>
                      <c:pt idx="9265">
                        <c:v>0</c:v>
                      </c:pt>
                      <c:pt idx="9266">
                        <c:v>0</c:v>
                      </c:pt>
                      <c:pt idx="9267">
                        <c:v>0</c:v>
                      </c:pt>
                      <c:pt idx="9268">
                        <c:v>0</c:v>
                      </c:pt>
                      <c:pt idx="9269">
                        <c:v>0</c:v>
                      </c:pt>
                      <c:pt idx="9270">
                        <c:v>0</c:v>
                      </c:pt>
                      <c:pt idx="9271">
                        <c:v>0</c:v>
                      </c:pt>
                      <c:pt idx="9272">
                        <c:v>0</c:v>
                      </c:pt>
                      <c:pt idx="9273">
                        <c:v>0</c:v>
                      </c:pt>
                      <c:pt idx="9274">
                        <c:v>0</c:v>
                      </c:pt>
                      <c:pt idx="9275">
                        <c:v>0</c:v>
                      </c:pt>
                      <c:pt idx="9276">
                        <c:v>0</c:v>
                      </c:pt>
                      <c:pt idx="9277">
                        <c:v>0</c:v>
                      </c:pt>
                      <c:pt idx="9278">
                        <c:v>0</c:v>
                      </c:pt>
                      <c:pt idx="9279">
                        <c:v>0</c:v>
                      </c:pt>
                      <c:pt idx="9280">
                        <c:v>0</c:v>
                      </c:pt>
                      <c:pt idx="9281">
                        <c:v>0</c:v>
                      </c:pt>
                      <c:pt idx="9282">
                        <c:v>0</c:v>
                      </c:pt>
                      <c:pt idx="9283">
                        <c:v>0</c:v>
                      </c:pt>
                      <c:pt idx="9284">
                        <c:v>0</c:v>
                      </c:pt>
                      <c:pt idx="9285">
                        <c:v>0</c:v>
                      </c:pt>
                      <c:pt idx="9286">
                        <c:v>0</c:v>
                      </c:pt>
                      <c:pt idx="9287">
                        <c:v>0</c:v>
                      </c:pt>
                      <c:pt idx="9288">
                        <c:v>0</c:v>
                      </c:pt>
                      <c:pt idx="9289">
                        <c:v>0</c:v>
                      </c:pt>
                      <c:pt idx="9290">
                        <c:v>0</c:v>
                      </c:pt>
                      <c:pt idx="9291">
                        <c:v>0</c:v>
                      </c:pt>
                      <c:pt idx="9292">
                        <c:v>0</c:v>
                      </c:pt>
                      <c:pt idx="9293">
                        <c:v>0</c:v>
                      </c:pt>
                      <c:pt idx="9294">
                        <c:v>0</c:v>
                      </c:pt>
                      <c:pt idx="9295">
                        <c:v>0</c:v>
                      </c:pt>
                      <c:pt idx="9296">
                        <c:v>0</c:v>
                      </c:pt>
                      <c:pt idx="9297">
                        <c:v>0</c:v>
                      </c:pt>
                      <c:pt idx="9298">
                        <c:v>0</c:v>
                      </c:pt>
                      <c:pt idx="9299">
                        <c:v>0</c:v>
                      </c:pt>
                      <c:pt idx="9300">
                        <c:v>0</c:v>
                      </c:pt>
                      <c:pt idx="9301">
                        <c:v>0</c:v>
                      </c:pt>
                      <c:pt idx="9302">
                        <c:v>0</c:v>
                      </c:pt>
                      <c:pt idx="9303">
                        <c:v>0</c:v>
                      </c:pt>
                      <c:pt idx="9304">
                        <c:v>0</c:v>
                      </c:pt>
                      <c:pt idx="9305">
                        <c:v>0</c:v>
                      </c:pt>
                      <c:pt idx="9306">
                        <c:v>0</c:v>
                      </c:pt>
                      <c:pt idx="9307">
                        <c:v>0</c:v>
                      </c:pt>
                      <c:pt idx="9308">
                        <c:v>0</c:v>
                      </c:pt>
                      <c:pt idx="9309">
                        <c:v>0</c:v>
                      </c:pt>
                      <c:pt idx="9310">
                        <c:v>0</c:v>
                      </c:pt>
                      <c:pt idx="9311">
                        <c:v>0</c:v>
                      </c:pt>
                      <c:pt idx="9312">
                        <c:v>0</c:v>
                      </c:pt>
                      <c:pt idx="9313">
                        <c:v>0</c:v>
                      </c:pt>
                      <c:pt idx="9314">
                        <c:v>0</c:v>
                      </c:pt>
                      <c:pt idx="9315">
                        <c:v>0</c:v>
                      </c:pt>
                      <c:pt idx="9316">
                        <c:v>0</c:v>
                      </c:pt>
                      <c:pt idx="9317">
                        <c:v>0</c:v>
                      </c:pt>
                      <c:pt idx="9318">
                        <c:v>0</c:v>
                      </c:pt>
                      <c:pt idx="9319">
                        <c:v>0</c:v>
                      </c:pt>
                      <c:pt idx="9320">
                        <c:v>0</c:v>
                      </c:pt>
                      <c:pt idx="9321">
                        <c:v>0</c:v>
                      </c:pt>
                      <c:pt idx="9322">
                        <c:v>0</c:v>
                      </c:pt>
                      <c:pt idx="9323">
                        <c:v>0</c:v>
                      </c:pt>
                      <c:pt idx="9324">
                        <c:v>0</c:v>
                      </c:pt>
                      <c:pt idx="9325">
                        <c:v>0</c:v>
                      </c:pt>
                      <c:pt idx="9326">
                        <c:v>0</c:v>
                      </c:pt>
                      <c:pt idx="9327">
                        <c:v>0</c:v>
                      </c:pt>
                      <c:pt idx="9328">
                        <c:v>0</c:v>
                      </c:pt>
                      <c:pt idx="9329">
                        <c:v>0</c:v>
                      </c:pt>
                      <c:pt idx="9330">
                        <c:v>0</c:v>
                      </c:pt>
                      <c:pt idx="9331">
                        <c:v>0</c:v>
                      </c:pt>
                      <c:pt idx="9332">
                        <c:v>0</c:v>
                      </c:pt>
                      <c:pt idx="9333">
                        <c:v>0</c:v>
                      </c:pt>
                      <c:pt idx="9334">
                        <c:v>0</c:v>
                      </c:pt>
                      <c:pt idx="9335">
                        <c:v>0</c:v>
                      </c:pt>
                      <c:pt idx="9336">
                        <c:v>0</c:v>
                      </c:pt>
                      <c:pt idx="9337">
                        <c:v>0</c:v>
                      </c:pt>
                      <c:pt idx="9338">
                        <c:v>0</c:v>
                      </c:pt>
                      <c:pt idx="9339">
                        <c:v>0</c:v>
                      </c:pt>
                      <c:pt idx="9340">
                        <c:v>0</c:v>
                      </c:pt>
                      <c:pt idx="9341">
                        <c:v>0</c:v>
                      </c:pt>
                      <c:pt idx="9342">
                        <c:v>0</c:v>
                      </c:pt>
                      <c:pt idx="9343">
                        <c:v>0</c:v>
                      </c:pt>
                      <c:pt idx="9344">
                        <c:v>0</c:v>
                      </c:pt>
                      <c:pt idx="9345">
                        <c:v>0</c:v>
                      </c:pt>
                      <c:pt idx="9346">
                        <c:v>0</c:v>
                      </c:pt>
                      <c:pt idx="9347">
                        <c:v>0</c:v>
                      </c:pt>
                      <c:pt idx="9348">
                        <c:v>0</c:v>
                      </c:pt>
                      <c:pt idx="9349">
                        <c:v>0</c:v>
                      </c:pt>
                      <c:pt idx="9350">
                        <c:v>0</c:v>
                      </c:pt>
                      <c:pt idx="9351">
                        <c:v>0</c:v>
                      </c:pt>
                      <c:pt idx="9352">
                        <c:v>0</c:v>
                      </c:pt>
                      <c:pt idx="9353">
                        <c:v>0</c:v>
                      </c:pt>
                      <c:pt idx="9354">
                        <c:v>0</c:v>
                      </c:pt>
                      <c:pt idx="9355">
                        <c:v>0</c:v>
                      </c:pt>
                      <c:pt idx="9356">
                        <c:v>0</c:v>
                      </c:pt>
                      <c:pt idx="9357">
                        <c:v>0</c:v>
                      </c:pt>
                      <c:pt idx="9358">
                        <c:v>0</c:v>
                      </c:pt>
                      <c:pt idx="9359">
                        <c:v>0</c:v>
                      </c:pt>
                      <c:pt idx="9360">
                        <c:v>0</c:v>
                      </c:pt>
                      <c:pt idx="9361">
                        <c:v>0</c:v>
                      </c:pt>
                      <c:pt idx="9362">
                        <c:v>0</c:v>
                      </c:pt>
                      <c:pt idx="9363">
                        <c:v>0</c:v>
                      </c:pt>
                      <c:pt idx="9364">
                        <c:v>0</c:v>
                      </c:pt>
                      <c:pt idx="9365">
                        <c:v>0</c:v>
                      </c:pt>
                      <c:pt idx="9366">
                        <c:v>0</c:v>
                      </c:pt>
                      <c:pt idx="9367">
                        <c:v>0</c:v>
                      </c:pt>
                      <c:pt idx="9368">
                        <c:v>0</c:v>
                      </c:pt>
                      <c:pt idx="9369">
                        <c:v>0</c:v>
                      </c:pt>
                      <c:pt idx="9370">
                        <c:v>0</c:v>
                      </c:pt>
                      <c:pt idx="9371">
                        <c:v>0</c:v>
                      </c:pt>
                      <c:pt idx="9372">
                        <c:v>0</c:v>
                      </c:pt>
                      <c:pt idx="9373">
                        <c:v>0</c:v>
                      </c:pt>
                      <c:pt idx="9374">
                        <c:v>0</c:v>
                      </c:pt>
                      <c:pt idx="9375">
                        <c:v>0</c:v>
                      </c:pt>
                      <c:pt idx="9376">
                        <c:v>0</c:v>
                      </c:pt>
                      <c:pt idx="9377">
                        <c:v>0</c:v>
                      </c:pt>
                      <c:pt idx="9378">
                        <c:v>0</c:v>
                      </c:pt>
                      <c:pt idx="9379">
                        <c:v>0</c:v>
                      </c:pt>
                      <c:pt idx="9380">
                        <c:v>0</c:v>
                      </c:pt>
                      <c:pt idx="9381">
                        <c:v>0</c:v>
                      </c:pt>
                      <c:pt idx="9382">
                        <c:v>0</c:v>
                      </c:pt>
                      <c:pt idx="9383">
                        <c:v>0</c:v>
                      </c:pt>
                      <c:pt idx="9384">
                        <c:v>0</c:v>
                      </c:pt>
                      <c:pt idx="9385">
                        <c:v>0</c:v>
                      </c:pt>
                      <c:pt idx="9386">
                        <c:v>0</c:v>
                      </c:pt>
                      <c:pt idx="9387">
                        <c:v>0</c:v>
                      </c:pt>
                      <c:pt idx="9388">
                        <c:v>0</c:v>
                      </c:pt>
                      <c:pt idx="9389">
                        <c:v>0</c:v>
                      </c:pt>
                      <c:pt idx="9390">
                        <c:v>0</c:v>
                      </c:pt>
                      <c:pt idx="9391">
                        <c:v>0</c:v>
                      </c:pt>
                      <c:pt idx="9392">
                        <c:v>0</c:v>
                      </c:pt>
                      <c:pt idx="9393">
                        <c:v>0</c:v>
                      </c:pt>
                      <c:pt idx="9394">
                        <c:v>0</c:v>
                      </c:pt>
                      <c:pt idx="9395">
                        <c:v>0</c:v>
                      </c:pt>
                      <c:pt idx="9396">
                        <c:v>0</c:v>
                      </c:pt>
                      <c:pt idx="9397">
                        <c:v>0</c:v>
                      </c:pt>
                      <c:pt idx="9398">
                        <c:v>0</c:v>
                      </c:pt>
                      <c:pt idx="9399">
                        <c:v>0</c:v>
                      </c:pt>
                      <c:pt idx="9400">
                        <c:v>0</c:v>
                      </c:pt>
                      <c:pt idx="9401">
                        <c:v>0</c:v>
                      </c:pt>
                      <c:pt idx="9402">
                        <c:v>0</c:v>
                      </c:pt>
                      <c:pt idx="9403">
                        <c:v>0</c:v>
                      </c:pt>
                      <c:pt idx="9404">
                        <c:v>0</c:v>
                      </c:pt>
                      <c:pt idx="9405">
                        <c:v>0</c:v>
                      </c:pt>
                      <c:pt idx="9406">
                        <c:v>0</c:v>
                      </c:pt>
                      <c:pt idx="9407">
                        <c:v>0</c:v>
                      </c:pt>
                      <c:pt idx="9408">
                        <c:v>0</c:v>
                      </c:pt>
                      <c:pt idx="9409">
                        <c:v>0</c:v>
                      </c:pt>
                      <c:pt idx="9410">
                        <c:v>0</c:v>
                      </c:pt>
                      <c:pt idx="9411">
                        <c:v>0</c:v>
                      </c:pt>
                      <c:pt idx="9412">
                        <c:v>0</c:v>
                      </c:pt>
                      <c:pt idx="9413">
                        <c:v>0</c:v>
                      </c:pt>
                      <c:pt idx="9414">
                        <c:v>0</c:v>
                      </c:pt>
                      <c:pt idx="9415">
                        <c:v>0</c:v>
                      </c:pt>
                      <c:pt idx="9416">
                        <c:v>0</c:v>
                      </c:pt>
                      <c:pt idx="9417">
                        <c:v>0</c:v>
                      </c:pt>
                      <c:pt idx="9418">
                        <c:v>0</c:v>
                      </c:pt>
                      <c:pt idx="9419">
                        <c:v>0</c:v>
                      </c:pt>
                      <c:pt idx="9420">
                        <c:v>0</c:v>
                      </c:pt>
                      <c:pt idx="9421">
                        <c:v>0</c:v>
                      </c:pt>
                      <c:pt idx="9422">
                        <c:v>0</c:v>
                      </c:pt>
                      <c:pt idx="9423">
                        <c:v>0</c:v>
                      </c:pt>
                      <c:pt idx="9424">
                        <c:v>0</c:v>
                      </c:pt>
                      <c:pt idx="9425">
                        <c:v>0</c:v>
                      </c:pt>
                      <c:pt idx="9426">
                        <c:v>0</c:v>
                      </c:pt>
                      <c:pt idx="9427">
                        <c:v>0</c:v>
                      </c:pt>
                      <c:pt idx="9428">
                        <c:v>0</c:v>
                      </c:pt>
                      <c:pt idx="9429">
                        <c:v>0</c:v>
                      </c:pt>
                      <c:pt idx="9430">
                        <c:v>0</c:v>
                      </c:pt>
                      <c:pt idx="9431">
                        <c:v>0</c:v>
                      </c:pt>
                      <c:pt idx="9432">
                        <c:v>0</c:v>
                      </c:pt>
                      <c:pt idx="9433">
                        <c:v>0</c:v>
                      </c:pt>
                      <c:pt idx="9434">
                        <c:v>0</c:v>
                      </c:pt>
                      <c:pt idx="9435">
                        <c:v>0</c:v>
                      </c:pt>
                      <c:pt idx="9436">
                        <c:v>0</c:v>
                      </c:pt>
                      <c:pt idx="9437">
                        <c:v>0</c:v>
                      </c:pt>
                      <c:pt idx="9438">
                        <c:v>0</c:v>
                      </c:pt>
                      <c:pt idx="9439">
                        <c:v>0</c:v>
                      </c:pt>
                      <c:pt idx="9440">
                        <c:v>0</c:v>
                      </c:pt>
                      <c:pt idx="9441">
                        <c:v>0</c:v>
                      </c:pt>
                      <c:pt idx="9442">
                        <c:v>0</c:v>
                      </c:pt>
                      <c:pt idx="9443">
                        <c:v>0</c:v>
                      </c:pt>
                      <c:pt idx="9444">
                        <c:v>0</c:v>
                      </c:pt>
                      <c:pt idx="9445">
                        <c:v>0</c:v>
                      </c:pt>
                      <c:pt idx="9446">
                        <c:v>0</c:v>
                      </c:pt>
                      <c:pt idx="9447">
                        <c:v>0</c:v>
                      </c:pt>
                      <c:pt idx="9448">
                        <c:v>0</c:v>
                      </c:pt>
                      <c:pt idx="9449">
                        <c:v>0</c:v>
                      </c:pt>
                      <c:pt idx="9450">
                        <c:v>0</c:v>
                      </c:pt>
                      <c:pt idx="9451">
                        <c:v>0</c:v>
                      </c:pt>
                      <c:pt idx="9452">
                        <c:v>0</c:v>
                      </c:pt>
                      <c:pt idx="9453">
                        <c:v>0</c:v>
                      </c:pt>
                      <c:pt idx="9454">
                        <c:v>0</c:v>
                      </c:pt>
                      <c:pt idx="9455">
                        <c:v>0</c:v>
                      </c:pt>
                      <c:pt idx="9456">
                        <c:v>0</c:v>
                      </c:pt>
                      <c:pt idx="9457">
                        <c:v>0</c:v>
                      </c:pt>
                      <c:pt idx="9458">
                        <c:v>0</c:v>
                      </c:pt>
                      <c:pt idx="9459">
                        <c:v>0</c:v>
                      </c:pt>
                      <c:pt idx="9460">
                        <c:v>0</c:v>
                      </c:pt>
                      <c:pt idx="9461">
                        <c:v>0</c:v>
                      </c:pt>
                      <c:pt idx="9462">
                        <c:v>0</c:v>
                      </c:pt>
                      <c:pt idx="9463">
                        <c:v>0</c:v>
                      </c:pt>
                      <c:pt idx="9464">
                        <c:v>0</c:v>
                      </c:pt>
                      <c:pt idx="9465">
                        <c:v>0</c:v>
                      </c:pt>
                      <c:pt idx="9466">
                        <c:v>0</c:v>
                      </c:pt>
                      <c:pt idx="9467">
                        <c:v>0</c:v>
                      </c:pt>
                      <c:pt idx="9468">
                        <c:v>0</c:v>
                      </c:pt>
                      <c:pt idx="9469">
                        <c:v>0</c:v>
                      </c:pt>
                      <c:pt idx="9470">
                        <c:v>0</c:v>
                      </c:pt>
                      <c:pt idx="9471">
                        <c:v>0</c:v>
                      </c:pt>
                      <c:pt idx="9472">
                        <c:v>0</c:v>
                      </c:pt>
                      <c:pt idx="9473">
                        <c:v>0</c:v>
                      </c:pt>
                      <c:pt idx="9474">
                        <c:v>0</c:v>
                      </c:pt>
                      <c:pt idx="9475">
                        <c:v>0</c:v>
                      </c:pt>
                      <c:pt idx="9476">
                        <c:v>0</c:v>
                      </c:pt>
                      <c:pt idx="9477">
                        <c:v>0</c:v>
                      </c:pt>
                      <c:pt idx="9478">
                        <c:v>0</c:v>
                      </c:pt>
                      <c:pt idx="9479">
                        <c:v>0</c:v>
                      </c:pt>
                      <c:pt idx="9480">
                        <c:v>0</c:v>
                      </c:pt>
                      <c:pt idx="9481">
                        <c:v>0</c:v>
                      </c:pt>
                      <c:pt idx="9482">
                        <c:v>0</c:v>
                      </c:pt>
                      <c:pt idx="9483">
                        <c:v>0</c:v>
                      </c:pt>
                      <c:pt idx="9484">
                        <c:v>0</c:v>
                      </c:pt>
                      <c:pt idx="9485">
                        <c:v>0</c:v>
                      </c:pt>
                      <c:pt idx="9486">
                        <c:v>0</c:v>
                      </c:pt>
                      <c:pt idx="9487">
                        <c:v>0</c:v>
                      </c:pt>
                      <c:pt idx="9488">
                        <c:v>0</c:v>
                      </c:pt>
                      <c:pt idx="9489">
                        <c:v>0</c:v>
                      </c:pt>
                      <c:pt idx="9490">
                        <c:v>0</c:v>
                      </c:pt>
                      <c:pt idx="9491">
                        <c:v>0</c:v>
                      </c:pt>
                      <c:pt idx="9492">
                        <c:v>0</c:v>
                      </c:pt>
                      <c:pt idx="9493">
                        <c:v>0</c:v>
                      </c:pt>
                      <c:pt idx="9494">
                        <c:v>0</c:v>
                      </c:pt>
                      <c:pt idx="9495">
                        <c:v>0</c:v>
                      </c:pt>
                      <c:pt idx="9496">
                        <c:v>0</c:v>
                      </c:pt>
                      <c:pt idx="9497">
                        <c:v>0</c:v>
                      </c:pt>
                      <c:pt idx="9498">
                        <c:v>0</c:v>
                      </c:pt>
                      <c:pt idx="9499">
                        <c:v>0</c:v>
                      </c:pt>
                      <c:pt idx="9500">
                        <c:v>0</c:v>
                      </c:pt>
                      <c:pt idx="9501">
                        <c:v>0</c:v>
                      </c:pt>
                      <c:pt idx="9502">
                        <c:v>0</c:v>
                      </c:pt>
                      <c:pt idx="9503">
                        <c:v>0</c:v>
                      </c:pt>
                      <c:pt idx="9504">
                        <c:v>0</c:v>
                      </c:pt>
                      <c:pt idx="9505">
                        <c:v>0</c:v>
                      </c:pt>
                      <c:pt idx="9506">
                        <c:v>0</c:v>
                      </c:pt>
                      <c:pt idx="9507">
                        <c:v>0</c:v>
                      </c:pt>
                      <c:pt idx="9508">
                        <c:v>0</c:v>
                      </c:pt>
                      <c:pt idx="9509">
                        <c:v>0</c:v>
                      </c:pt>
                      <c:pt idx="9510">
                        <c:v>0</c:v>
                      </c:pt>
                      <c:pt idx="9511">
                        <c:v>0</c:v>
                      </c:pt>
                      <c:pt idx="9512">
                        <c:v>0</c:v>
                      </c:pt>
                      <c:pt idx="9513">
                        <c:v>0</c:v>
                      </c:pt>
                      <c:pt idx="9514">
                        <c:v>0</c:v>
                      </c:pt>
                      <c:pt idx="9515">
                        <c:v>0</c:v>
                      </c:pt>
                      <c:pt idx="9516">
                        <c:v>0</c:v>
                      </c:pt>
                      <c:pt idx="9517">
                        <c:v>0</c:v>
                      </c:pt>
                      <c:pt idx="9518">
                        <c:v>0</c:v>
                      </c:pt>
                      <c:pt idx="9519">
                        <c:v>0</c:v>
                      </c:pt>
                      <c:pt idx="9520">
                        <c:v>0</c:v>
                      </c:pt>
                      <c:pt idx="9521">
                        <c:v>0</c:v>
                      </c:pt>
                      <c:pt idx="9522">
                        <c:v>0</c:v>
                      </c:pt>
                      <c:pt idx="9523">
                        <c:v>0</c:v>
                      </c:pt>
                      <c:pt idx="9524">
                        <c:v>0</c:v>
                      </c:pt>
                      <c:pt idx="9525">
                        <c:v>0</c:v>
                      </c:pt>
                      <c:pt idx="9526">
                        <c:v>0</c:v>
                      </c:pt>
                      <c:pt idx="9527">
                        <c:v>0</c:v>
                      </c:pt>
                      <c:pt idx="9528">
                        <c:v>0</c:v>
                      </c:pt>
                      <c:pt idx="9529">
                        <c:v>0</c:v>
                      </c:pt>
                      <c:pt idx="9530">
                        <c:v>0</c:v>
                      </c:pt>
                      <c:pt idx="9531">
                        <c:v>0</c:v>
                      </c:pt>
                      <c:pt idx="9532">
                        <c:v>0</c:v>
                      </c:pt>
                      <c:pt idx="9533">
                        <c:v>0</c:v>
                      </c:pt>
                      <c:pt idx="9534">
                        <c:v>0</c:v>
                      </c:pt>
                      <c:pt idx="9535">
                        <c:v>0</c:v>
                      </c:pt>
                      <c:pt idx="9536">
                        <c:v>0</c:v>
                      </c:pt>
                      <c:pt idx="9537">
                        <c:v>0</c:v>
                      </c:pt>
                      <c:pt idx="9538">
                        <c:v>0</c:v>
                      </c:pt>
                      <c:pt idx="9539">
                        <c:v>0</c:v>
                      </c:pt>
                      <c:pt idx="9540">
                        <c:v>0</c:v>
                      </c:pt>
                      <c:pt idx="9541">
                        <c:v>0</c:v>
                      </c:pt>
                      <c:pt idx="9542">
                        <c:v>0</c:v>
                      </c:pt>
                      <c:pt idx="9543">
                        <c:v>0</c:v>
                      </c:pt>
                      <c:pt idx="9544">
                        <c:v>0</c:v>
                      </c:pt>
                      <c:pt idx="9545">
                        <c:v>0</c:v>
                      </c:pt>
                      <c:pt idx="9546">
                        <c:v>0</c:v>
                      </c:pt>
                      <c:pt idx="9547">
                        <c:v>0</c:v>
                      </c:pt>
                      <c:pt idx="9548">
                        <c:v>0</c:v>
                      </c:pt>
                      <c:pt idx="9549">
                        <c:v>0</c:v>
                      </c:pt>
                      <c:pt idx="9550">
                        <c:v>0</c:v>
                      </c:pt>
                      <c:pt idx="9551">
                        <c:v>0</c:v>
                      </c:pt>
                      <c:pt idx="9552">
                        <c:v>0</c:v>
                      </c:pt>
                      <c:pt idx="9553">
                        <c:v>0</c:v>
                      </c:pt>
                      <c:pt idx="9554">
                        <c:v>0</c:v>
                      </c:pt>
                      <c:pt idx="9555">
                        <c:v>0</c:v>
                      </c:pt>
                      <c:pt idx="9556">
                        <c:v>0</c:v>
                      </c:pt>
                      <c:pt idx="9557">
                        <c:v>0</c:v>
                      </c:pt>
                      <c:pt idx="9558">
                        <c:v>0</c:v>
                      </c:pt>
                      <c:pt idx="9559">
                        <c:v>0</c:v>
                      </c:pt>
                      <c:pt idx="9560">
                        <c:v>0</c:v>
                      </c:pt>
                      <c:pt idx="9561">
                        <c:v>0</c:v>
                      </c:pt>
                      <c:pt idx="9562">
                        <c:v>0</c:v>
                      </c:pt>
                      <c:pt idx="9563">
                        <c:v>0</c:v>
                      </c:pt>
                      <c:pt idx="9564">
                        <c:v>0</c:v>
                      </c:pt>
                      <c:pt idx="9565">
                        <c:v>0</c:v>
                      </c:pt>
                      <c:pt idx="9566">
                        <c:v>0</c:v>
                      </c:pt>
                      <c:pt idx="9567">
                        <c:v>0</c:v>
                      </c:pt>
                      <c:pt idx="9568">
                        <c:v>0</c:v>
                      </c:pt>
                      <c:pt idx="9569">
                        <c:v>0</c:v>
                      </c:pt>
                      <c:pt idx="9570">
                        <c:v>0</c:v>
                      </c:pt>
                      <c:pt idx="9571">
                        <c:v>0</c:v>
                      </c:pt>
                      <c:pt idx="9572">
                        <c:v>0</c:v>
                      </c:pt>
                      <c:pt idx="9573">
                        <c:v>0</c:v>
                      </c:pt>
                      <c:pt idx="9574">
                        <c:v>0</c:v>
                      </c:pt>
                      <c:pt idx="9575">
                        <c:v>0</c:v>
                      </c:pt>
                      <c:pt idx="9576">
                        <c:v>0</c:v>
                      </c:pt>
                      <c:pt idx="9577">
                        <c:v>0</c:v>
                      </c:pt>
                      <c:pt idx="9578">
                        <c:v>0</c:v>
                      </c:pt>
                      <c:pt idx="9579">
                        <c:v>0</c:v>
                      </c:pt>
                      <c:pt idx="9580">
                        <c:v>0</c:v>
                      </c:pt>
                      <c:pt idx="9581">
                        <c:v>0</c:v>
                      </c:pt>
                      <c:pt idx="9582">
                        <c:v>0</c:v>
                      </c:pt>
                      <c:pt idx="9583">
                        <c:v>0</c:v>
                      </c:pt>
                      <c:pt idx="9584">
                        <c:v>0</c:v>
                      </c:pt>
                      <c:pt idx="9585">
                        <c:v>0</c:v>
                      </c:pt>
                      <c:pt idx="9586">
                        <c:v>0</c:v>
                      </c:pt>
                      <c:pt idx="9587">
                        <c:v>0</c:v>
                      </c:pt>
                      <c:pt idx="9588">
                        <c:v>0</c:v>
                      </c:pt>
                      <c:pt idx="9589">
                        <c:v>0</c:v>
                      </c:pt>
                      <c:pt idx="9590">
                        <c:v>0</c:v>
                      </c:pt>
                      <c:pt idx="9591">
                        <c:v>0</c:v>
                      </c:pt>
                      <c:pt idx="9592">
                        <c:v>0</c:v>
                      </c:pt>
                      <c:pt idx="9593">
                        <c:v>0</c:v>
                      </c:pt>
                      <c:pt idx="9594">
                        <c:v>0</c:v>
                      </c:pt>
                      <c:pt idx="9595">
                        <c:v>0</c:v>
                      </c:pt>
                      <c:pt idx="9596">
                        <c:v>0</c:v>
                      </c:pt>
                      <c:pt idx="9597">
                        <c:v>0</c:v>
                      </c:pt>
                      <c:pt idx="9598">
                        <c:v>0</c:v>
                      </c:pt>
                      <c:pt idx="9599">
                        <c:v>0</c:v>
                      </c:pt>
                      <c:pt idx="9600">
                        <c:v>0</c:v>
                      </c:pt>
                      <c:pt idx="9601">
                        <c:v>0</c:v>
                      </c:pt>
                      <c:pt idx="9602">
                        <c:v>0</c:v>
                      </c:pt>
                      <c:pt idx="9603">
                        <c:v>0</c:v>
                      </c:pt>
                      <c:pt idx="9604">
                        <c:v>0</c:v>
                      </c:pt>
                      <c:pt idx="9605">
                        <c:v>0</c:v>
                      </c:pt>
                      <c:pt idx="9606">
                        <c:v>0</c:v>
                      </c:pt>
                      <c:pt idx="9607">
                        <c:v>0</c:v>
                      </c:pt>
                      <c:pt idx="9608">
                        <c:v>0</c:v>
                      </c:pt>
                      <c:pt idx="9609">
                        <c:v>0</c:v>
                      </c:pt>
                      <c:pt idx="9610">
                        <c:v>0</c:v>
                      </c:pt>
                      <c:pt idx="9611">
                        <c:v>0</c:v>
                      </c:pt>
                      <c:pt idx="9612">
                        <c:v>0</c:v>
                      </c:pt>
                      <c:pt idx="9613">
                        <c:v>0</c:v>
                      </c:pt>
                      <c:pt idx="9614">
                        <c:v>0</c:v>
                      </c:pt>
                      <c:pt idx="9615">
                        <c:v>0</c:v>
                      </c:pt>
                      <c:pt idx="9616">
                        <c:v>0</c:v>
                      </c:pt>
                      <c:pt idx="9617">
                        <c:v>0</c:v>
                      </c:pt>
                      <c:pt idx="9618">
                        <c:v>0</c:v>
                      </c:pt>
                      <c:pt idx="9619">
                        <c:v>0</c:v>
                      </c:pt>
                      <c:pt idx="9620">
                        <c:v>0</c:v>
                      </c:pt>
                      <c:pt idx="9621">
                        <c:v>0</c:v>
                      </c:pt>
                      <c:pt idx="9622">
                        <c:v>0</c:v>
                      </c:pt>
                      <c:pt idx="9623">
                        <c:v>0</c:v>
                      </c:pt>
                      <c:pt idx="9624">
                        <c:v>0</c:v>
                      </c:pt>
                      <c:pt idx="9625">
                        <c:v>0</c:v>
                      </c:pt>
                      <c:pt idx="9626">
                        <c:v>0</c:v>
                      </c:pt>
                      <c:pt idx="9627">
                        <c:v>0</c:v>
                      </c:pt>
                      <c:pt idx="9628">
                        <c:v>0</c:v>
                      </c:pt>
                      <c:pt idx="9629">
                        <c:v>0</c:v>
                      </c:pt>
                      <c:pt idx="9630">
                        <c:v>0</c:v>
                      </c:pt>
                      <c:pt idx="9631">
                        <c:v>0</c:v>
                      </c:pt>
                      <c:pt idx="9632">
                        <c:v>0</c:v>
                      </c:pt>
                      <c:pt idx="9633">
                        <c:v>0</c:v>
                      </c:pt>
                      <c:pt idx="9634">
                        <c:v>0</c:v>
                      </c:pt>
                      <c:pt idx="9635">
                        <c:v>0</c:v>
                      </c:pt>
                      <c:pt idx="9636">
                        <c:v>0</c:v>
                      </c:pt>
                      <c:pt idx="9637">
                        <c:v>0</c:v>
                      </c:pt>
                      <c:pt idx="9638">
                        <c:v>0</c:v>
                      </c:pt>
                      <c:pt idx="9639">
                        <c:v>0</c:v>
                      </c:pt>
                      <c:pt idx="9640">
                        <c:v>0</c:v>
                      </c:pt>
                      <c:pt idx="9641">
                        <c:v>0</c:v>
                      </c:pt>
                      <c:pt idx="9642">
                        <c:v>0</c:v>
                      </c:pt>
                      <c:pt idx="9643">
                        <c:v>0</c:v>
                      </c:pt>
                      <c:pt idx="9644">
                        <c:v>0</c:v>
                      </c:pt>
                      <c:pt idx="9645">
                        <c:v>0</c:v>
                      </c:pt>
                      <c:pt idx="9646">
                        <c:v>0</c:v>
                      </c:pt>
                      <c:pt idx="9647">
                        <c:v>0</c:v>
                      </c:pt>
                      <c:pt idx="9648">
                        <c:v>0</c:v>
                      </c:pt>
                      <c:pt idx="9649">
                        <c:v>0</c:v>
                      </c:pt>
                      <c:pt idx="9650">
                        <c:v>0</c:v>
                      </c:pt>
                      <c:pt idx="9651">
                        <c:v>0</c:v>
                      </c:pt>
                      <c:pt idx="9652">
                        <c:v>0</c:v>
                      </c:pt>
                      <c:pt idx="9653">
                        <c:v>0</c:v>
                      </c:pt>
                      <c:pt idx="9654">
                        <c:v>0</c:v>
                      </c:pt>
                      <c:pt idx="9655">
                        <c:v>0</c:v>
                      </c:pt>
                      <c:pt idx="9656">
                        <c:v>0</c:v>
                      </c:pt>
                      <c:pt idx="9657">
                        <c:v>0</c:v>
                      </c:pt>
                      <c:pt idx="9658">
                        <c:v>0</c:v>
                      </c:pt>
                      <c:pt idx="9659">
                        <c:v>0</c:v>
                      </c:pt>
                      <c:pt idx="9660">
                        <c:v>0</c:v>
                      </c:pt>
                      <c:pt idx="9661">
                        <c:v>0</c:v>
                      </c:pt>
                      <c:pt idx="9662">
                        <c:v>0</c:v>
                      </c:pt>
                      <c:pt idx="9663">
                        <c:v>0</c:v>
                      </c:pt>
                      <c:pt idx="9664">
                        <c:v>0</c:v>
                      </c:pt>
                      <c:pt idx="9665">
                        <c:v>0</c:v>
                      </c:pt>
                      <c:pt idx="9666">
                        <c:v>0</c:v>
                      </c:pt>
                      <c:pt idx="9667">
                        <c:v>0</c:v>
                      </c:pt>
                      <c:pt idx="9668">
                        <c:v>0</c:v>
                      </c:pt>
                      <c:pt idx="9669">
                        <c:v>0</c:v>
                      </c:pt>
                      <c:pt idx="9670">
                        <c:v>0</c:v>
                      </c:pt>
                      <c:pt idx="9671">
                        <c:v>0</c:v>
                      </c:pt>
                      <c:pt idx="9672">
                        <c:v>0</c:v>
                      </c:pt>
                      <c:pt idx="9673">
                        <c:v>0</c:v>
                      </c:pt>
                      <c:pt idx="9674">
                        <c:v>0</c:v>
                      </c:pt>
                      <c:pt idx="9675">
                        <c:v>0</c:v>
                      </c:pt>
                      <c:pt idx="9676">
                        <c:v>0</c:v>
                      </c:pt>
                      <c:pt idx="9677">
                        <c:v>0</c:v>
                      </c:pt>
                      <c:pt idx="9678">
                        <c:v>0</c:v>
                      </c:pt>
                      <c:pt idx="9679">
                        <c:v>0</c:v>
                      </c:pt>
                      <c:pt idx="9680">
                        <c:v>0</c:v>
                      </c:pt>
                      <c:pt idx="9681">
                        <c:v>0</c:v>
                      </c:pt>
                      <c:pt idx="9682">
                        <c:v>0</c:v>
                      </c:pt>
                      <c:pt idx="9683">
                        <c:v>0</c:v>
                      </c:pt>
                      <c:pt idx="9684">
                        <c:v>0</c:v>
                      </c:pt>
                      <c:pt idx="9685">
                        <c:v>0</c:v>
                      </c:pt>
                      <c:pt idx="9686">
                        <c:v>0</c:v>
                      </c:pt>
                      <c:pt idx="9687">
                        <c:v>0</c:v>
                      </c:pt>
                      <c:pt idx="9688">
                        <c:v>0</c:v>
                      </c:pt>
                      <c:pt idx="9689">
                        <c:v>0</c:v>
                      </c:pt>
                      <c:pt idx="9690">
                        <c:v>0</c:v>
                      </c:pt>
                      <c:pt idx="9691">
                        <c:v>0</c:v>
                      </c:pt>
                      <c:pt idx="9692">
                        <c:v>0</c:v>
                      </c:pt>
                      <c:pt idx="9693">
                        <c:v>0</c:v>
                      </c:pt>
                      <c:pt idx="9694">
                        <c:v>0</c:v>
                      </c:pt>
                      <c:pt idx="9695">
                        <c:v>0</c:v>
                      </c:pt>
                      <c:pt idx="9696">
                        <c:v>0</c:v>
                      </c:pt>
                      <c:pt idx="9697">
                        <c:v>0</c:v>
                      </c:pt>
                      <c:pt idx="9698">
                        <c:v>0</c:v>
                      </c:pt>
                      <c:pt idx="9699">
                        <c:v>0</c:v>
                      </c:pt>
                      <c:pt idx="9700">
                        <c:v>0</c:v>
                      </c:pt>
                      <c:pt idx="9701">
                        <c:v>0</c:v>
                      </c:pt>
                      <c:pt idx="9702">
                        <c:v>0</c:v>
                      </c:pt>
                      <c:pt idx="9703">
                        <c:v>0</c:v>
                      </c:pt>
                      <c:pt idx="9704">
                        <c:v>0</c:v>
                      </c:pt>
                      <c:pt idx="9705">
                        <c:v>0</c:v>
                      </c:pt>
                      <c:pt idx="9706">
                        <c:v>0</c:v>
                      </c:pt>
                      <c:pt idx="9707">
                        <c:v>0</c:v>
                      </c:pt>
                      <c:pt idx="9708">
                        <c:v>0</c:v>
                      </c:pt>
                      <c:pt idx="9709">
                        <c:v>0</c:v>
                      </c:pt>
                      <c:pt idx="9710">
                        <c:v>0</c:v>
                      </c:pt>
                      <c:pt idx="9711">
                        <c:v>0</c:v>
                      </c:pt>
                      <c:pt idx="9712">
                        <c:v>0</c:v>
                      </c:pt>
                      <c:pt idx="9713">
                        <c:v>0</c:v>
                      </c:pt>
                      <c:pt idx="9714">
                        <c:v>0</c:v>
                      </c:pt>
                      <c:pt idx="9715">
                        <c:v>0</c:v>
                      </c:pt>
                      <c:pt idx="9716">
                        <c:v>0</c:v>
                      </c:pt>
                      <c:pt idx="9717">
                        <c:v>0</c:v>
                      </c:pt>
                      <c:pt idx="9718">
                        <c:v>0</c:v>
                      </c:pt>
                      <c:pt idx="9719">
                        <c:v>0</c:v>
                      </c:pt>
                      <c:pt idx="9720">
                        <c:v>0</c:v>
                      </c:pt>
                      <c:pt idx="9721">
                        <c:v>0</c:v>
                      </c:pt>
                      <c:pt idx="9722">
                        <c:v>0</c:v>
                      </c:pt>
                      <c:pt idx="9723">
                        <c:v>0</c:v>
                      </c:pt>
                      <c:pt idx="9724">
                        <c:v>0</c:v>
                      </c:pt>
                      <c:pt idx="9725">
                        <c:v>0</c:v>
                      </c:pt>
                      <c:pt idx="9726">
                        <c:v>0</c:v>
                      </c:pt>
                      <c:pt idx="9727">
                        <c:v>0</c:v>
                      </c:pt>
                      <c:pt idx="9728">
                        <c:v>0</c:v>
                      </c:pt>
                      <c:pt idx="9729">
                        <c:v>0</c:v>
                      </c:pt>
                      <c:pt idx="9730">
                        <c:v>0</c:v>
                      </c:pt>
                      <c:pt idx="9731">
                        <c:v>0</c:v>
                      </c:pt>
                      <c:pt idx="9732">
                        <c:v>0</c:v>
                      </c:pt>
                      <c:pt idx="9733">
                        <c:v>0</c:v>
                      </c:pt>
                      <c:pt idx="9734">
                        <c:v>0</c:v>
                      </c:pt>
                      <c:pt idx="9735">
                        <c:v>0</c:v>
                      </c:pt>
                      <c:pt idx="9736">
                        <c:v>0</c:v>
                      </c:pt>
                      <c:pt idx="9737">
                        <c:v>0</c:v>
                      </c:pt>
                      <c:pt idx="9738">
                        <c:v>0</c:v>
                      </c:pt>
                      <c:pt idx="9739">
                        <c:v>0</c:v>
                      </c:pt>
                      <c:pt idx="9740">
                        <c:v>0</c:v>
                      </c:pt>
                      <c:pt idx="9741">
                        <c:v>0</c:v>
                      </c:pt>
                      <c:pt idx="9742">
                        <c:v>0</c:v>
                      </c:pt>
                      <c:pt idx="9743">
                        <c:v>0</c:v>
                      </c:pt>
                      <c:pt idx="9744">
                        <c:v>0</c:v>
                      </c:pt>
                      <c:pt idx="9745">
                        <c:v>0</c:v>
                      </c:pt>
                      <c:pt idx="9746">
                        <c:v>0</c:v>
                      </c:pt>
                      <c:pt idx="9747">
                        <c:v>0</c:v>
                      </c:pt>
                      <c:pt idx="9748">
                        <c:v>0</c:v>
                      </c:pt>
                      <c:pt idx="9749">
                        <c:v>0</c:v>
                      </c:pt>
                      <c:pt idx="9750">
                        <c:v>0</c:v>
                      </c:pt>
                      <c:pt idx="9751">
                        <c:v>0</c:v>
                      </c:pt>
                      <c:pt idx="9752">
                        <c:v>0</c:v>
                      </c:pt>
                      <c:pt idx="9753">
                        <c:v>0</c:v>
                      </c:pt>
                      <c:pt idx="9754">
                        <c:v>0</c:v>
                      </c:pt>
                      <c:pt idx="9755">
                        <c:v>0</c:v>
                      </c:pt>
                      <c:pt idx="9756">
                        <c:v>0</c:v>
                      </c:pt>
                      <c:pt idx="9757">
                        <c:v>0</c:v>
                      </c:pt>
                      <c:pt idx="9758">
                        <c:v>0</c:v>
                      </c:pt>
                      <c:pt idx="9759">
                        <c:v>0</c:v>
                      </c:pt>
                      <c:pt idx="9760">
                        <c:v>0</c:v>
                      </c:pt>
                      <c:pt idx="9761">
                        <c:v>0</c:v>
                      </c:pt>
                      <c:pt idx="9762">
                        <c:v>0</c:v>
                      </c:pt>
                      <c:pt idx="9763">
                        <c:v>0</c:v>
                      </c:pt>
                      <c:pt idx="9764">
                        <c:v>0</c:v>
                      </c:pt>
                      <c:pt idx="9765">
                        <c:v>0</c:v>
                      </c:pt>
                      <c:pt idx="9766">
                        <c:v>0</c:v>
                      </c:pt>
                      <c:pt idx="9767">
                        <c:v>0</c:v>
                      </c:pt>
                      <c:pt idx="9768">
                        <c:v>0</c:v>
                      </c:pt>
                      <c:pt idx="9769">
                        <c:v>0</c:v>
                      </c:pt>
                      <c:pt idx="9770">
                        <c:v>0</c:v>
                      </c:pt>
                      <c:pt idx="9771">
                        <c:v>0</c:v>
                      </c:pt>
                      <c:pt idx="9772">
                        <c:v>0</c:v>
                      </c:pt>
                      <c:pt idx="9773">
                        <c:v>0</c:v>
                      </c:pt>
                      <c:pt idx="9774">
                        <c:v>0</c:v>
                      </c:pt>
                      <c:pt idx="9775">
                        <c:v>0</c:v>
                      </c:pt>
                      <c:pt idx="9776">
                        <c:v>0</c:v>
                      </c:pt>
                      <c:pt idx="9777">
                        <c:v>0</c:v>
                      </c:pt>
                      <c:pt idx="9778">
                        <c:v>0</c:v>
                      </c:pt>
                      <c:pt idx="9779">
                        <c:v>0</c:v>
                      </c:pt>
                      <c:pt idx="9780">
                        <c:v>0</c:v>
                      </c:pt>
                      <c:pt idx="9781">
                        <c:v>0</c:v>
                      </c:pt>
                      <c:pt idx="9782">
                        <c:v>0</c:v>
                      </c:pt>
                      <c:pt idx="9783">
                        <c:v>0</c:v>
                      </c:pt>
                      <c:pt idx="9784">
                        <c:v>0</c:v>
                      </c:pt>
                      <c:pt idx="9785">
                        <c:v>0</c:v>
                      </c:pt>
                      <c:pt idx="9786">
                        <c:v>0</c:v>
                      </c:pt>
                      <c:pt idx="9787">
                        <c:v>0</c:v>
                      </c:pt>
                      <c:pt idx="9788">
                        <c:v>0</c:v>
                      </c:pt>
                      <c:pt idx="9789">
                        <c:v>0</c:v>
                      </c:pt>
                      <c:pt idx="9790">
                        <c:v>0</c:v>
                      </c:pt>
                      <c:pt idx="9791">
                        <c:v>0</c:v>
                      </c:pt>
                      <c:pt idx="9792">
                        <c:v>0</c:v>
                      </c:pt>
                      <c:pt idx="9793">
                        <c:v>0</c:v>
                      </c:pt>
                      <c:pt idx="9794">
                        <c:v>0</c:v>
                      </c:pt>
                      <c:pt idx="9795">
                        <c:v>0</c:v>
                      </c:pt>
                      <c:pt idx="9796">
                        <c:v>0</c:v>
                      </c:pt>
                      <c:pt idx="9797">
                        <c:v>0</c:v>
                      </c:pt>
                      <c:pt idx="9798">
                        <c:v>0</c:v>
                      </c:pt>
                      <c:pt idx="9799">
                        <c:v>0</c:v>
                      </c:pt>
                      <c:pt idx="9800">
                        <c:v>0</c:v>
                      </c:pt>
                      <c:pt idx="9801">
                        <c:v>0</c:v>
                      </c:pt>
                      <c:pt idx="9802">
                        <c:v>0</c:v>
                      </c:pt>
                      <c:pt idx="9803">
                        <c:v>0</c:v>
                      </c:pt>
                      <c:pt idx="9804">
                        <c:v>0</c:v>
                      </c:pt>
                      <c:pt idx="9805">
                        <c:v>0</c:v>
                      </c:pt>
                      <c:pt idx="9806">
                        <c:v>0</c:v>
                      </c:pt>
                      <c:pt idx="9807">
                        <c:v>0</c:v>
                      </c:pt>
                      <c:pt idx="9808">
                        <c:v>0</c:v>
                      </c:pt>
                      <c:pt idx="9809">
                        <c:v>0</c:v>
                      </c:pt>
                      <c:pt idx="9810">
                        <c:v>0</c:v>
                      </c:pt>
                      <c:pt idx="9811">
                        <c:v>0</c:v>
                      </c:pt>
                      <c:pt idx="9812">
                        <c:v>0</c:v>
                      </c:pt>
                      <c:pt idx="9813">
                        <c:v>0</c:v>
                      </c:pt>
                      <c:pt idx="9814">
                        <c:v>0</c:v>
                      </c:pt>
                      <c:pt idx="9815">
                        <c:v>0</c:v>
                      </c:pt>
                      <c:pt idx="9816">
                        <c:v>0</c:v>
                      </c:pt>
                      <c:pt idx="9817">
                        <c:v>0</c:v>
                      </c:pt>
                      <c:pt idx="9818">
                        <c:v>0</c:v>
                      </c:pt>
                      <c:pt idx="9819">
                        <c:v>0</c:v>
                      </c:pt>
                      <c:pt idx="9820">
                        <c:v>0</c:v>
                      </c:pt>
                      <c:pt idx="9821">
                        <c:v>0</c:v>
                      </c:pt>
                      <c:pt idx="9822">
                        <c:v>0</c:v>
                      </c:pt>
                      <c:pt idx="9823">
                        <c:v>0</c:v>
                      </c:pt>
                      <c:pt idx="9824">
                        <c:v>0</c:v>
                      </c:pt>
                      <c:pt idx="9825">
                        <c:v>0</c:v>
                      </c:pt>
                      <c:pt idx="9826">
                        <c:v>0</c:v>
                      </c:pt>
                      <c:pt idx="9827">
                        <c:v>0</c:v>
                      </c:pt>
                      <c:pt idx="9828">
                        <c:v>0</c:v>
                      </c:pt>
                      <c:pt idx="9829">
                        <c:v>0</c:v>
                      </c:pt>
                      <c:pt idx="9830">
                        <c:v>0</c:v>
                      </c:pt>
                      <c:pt idx="9831">
                        <c:v>0</c:v>
                      </c:pt>
                      <c:pt idx="9832">
                        <c:v>0</c:v>
                      </c:pt>
                      <c:pt idx="9833">
                        <c:v>0</c:v>
                      </c:pt>
                      <c:pt idx="9834">
                        <c:v>0</c:v>
                      </c:pt>
                      <c:pt idx="9835">
                        <c:v>0</c:v>
                      </c:pt>
                      <c:pt idx="9836">
                        <c:v>0</c:v>
                      </c:pt>
                      <c:pt idx="9837">
                        <c:v>0</c:v>
                      </c:pt>
                      <c:pt idx="9838">
                        <c:v>0</c:v>
                      </c:pt>
                      <c:pt idx="9839">
                        <c:v>0</c:v>
                      </c:pt>
                      <c:pt idx="9840">
                        <c:v>0</c:v>
                      </c:pt>
                      <c:pt idx="9841">
                        <c:v>0</c:v>
                      </c:pt>
                      <c:pt idx="9842">
                        <c:v>0</c:v>
                      </c:pt>
                      <c:pt idx="9843">
                        <c:v>0</c:v>
                      </c:pt>
                      <c:pt idx="9844">
                        <c:v>0</c:v>
                      </c:pt>
                      <c:pt idx="9845">
                        <c:v>0</c:v>
                      </c:pt>
                      <c:pt idx="9846">
                        <c:v>0</c:v>
                      </c:pt>
                      <c:pt idx="9847">
                        <c:v>0</c:v>
                      </c:pt>
                      <c:pt idx="9848">
                        <c:v>0</c:v>
                      </c:pt>
                      <c:pt idx="9849">
                        <c:v>0</c:v>
                      </c:pt>
                      <c:pt idx="9850">
                        <c:v>0</c:v>
                      </c:pt>
                      <c:pt idx="9851">
                        <c:v>0</c:v>
                      </c:pt>
                      <c:pt idx="9852">
                        <c:v>0</c:v>
                      </c:pt>
                      <c:pt idx="9853">
                        <c:v>0</c:v>
                      </c:pt>
                      <c:pt idx="9854">
                        <c:v>0</c:v>
                      </c:pt>
                      <c:pt idx="9855">
                        <c:v>0</c:v>
                      </c:pt>
                      <c:pt idx="9856">
                        <c:v>0</c:v>
                      </c:pt>
                      <c:pt idx="9857">
                        <c:v>0</c:v>
                      </c:pt>
                      <c:pt idx="9858">
                        <c:v>0</c:v>
                      </c:pt>
                      <c:pt idx="9859">
                        <c:v>0</c:v>
                      </c:pt>
                      <c:pt idx="9860">
                        <c:v>0</c:v>
                      </c:pt>
                      <c:pt idx="9861">
                        <c:v>0</c:v>
                      </c:pt>
                      <c:pt idx="9862">
                        <c:v>0</c:v>
                      </c:pt>
                      <c:pt idx="9863">
                        <c:v>0</c:v>
                      </c:pt>
                      <c:pt idx="9864">
                        <c:v>0</c:v>
                      </c:pt>
                      <c:pt idx="9865">
                        <c:v>0</c:v>
                      </c:pt>
                      <c:pt idx="9866">
                        <c:v>0</c:v>
                      </c:pt>
                      <c:pt idx="9867">
                        <c:v>0</c:v>
                      </c:pt>
                      <c:pt idx="9868">
                        <c:v>0</c:v>
                      </c:pt>
                      <c:pt idx="9869">
                        <c:v>0</c:v>
                      </c:pt>
                      <c:pt idx="9870">
                        <c:v>0</c:v>
                      </c:pt>
                      <c:pt idx="9871">
                        <c:v>0</c:v>
                      </c:pt>
                      <c:pt idx="9872">
                        <c:v>0</c:v>
                      </c:pt>
                      <c:pt idx="9873">
                        <c:v>0</c:v>
                      </c:pt>
                      <c:pt idx="9874">
                        <c:v>0</c:v>
                      </c:pt>
                      <c:pt idx="9875">
                        <c:v>0</c:v>
                      </c:pt>
                      <c:pt idx="9876">
                        <c:v>0</c:v>
                      </c:pt>
                      <c:pt idx="9877">
                        <c:v>0</c:v>
                      </c:pt>
                      <c:pt idx="9878">
                        <c:v>0</c:v>
                      </c:pt>
                      <c:pt idx="9879">
                        <c:v>0</c:v>
                      </c:pt>
                      <c:pt idx="9880">
                        <c:v>0</c:v>
                      </c:pt>
                      <c:pt idx="9881">
                        <c:v>0</c:v>
                      </c:pt>
                      <c:pt idx="9882">
                        <c:v>0</c:v>
                      </c:pt>
                      <c:pt idx="9883">
                        <c:v>0</c:v>
                      </c:pt>
                      <c:pt idx="9884">
                        <c:v>0</c:v>
                      </c:pt>
                      <c:pt idx="9885">
                        <c:v>0</c:v>
                      </c:pt>
                      <c:pt idx="9886">
                        <c:v>0</c:v>
                      </c:pt>
                      <c:pt idx="9887">
                        <c:v>0</c:v>
                      </c:pt>
                      <c:pt idx="9888">
                        <c:v>0</c:v>
                      </c:pt>
                      <c:pt idx="9889">
                        <c:v>0</c:v>
                      </c:pt>
                      <c:pt idx="9890">
                        <c:v>0</c:v>
                      </c:pt>
                      <c:pt idx="9891">
                        <c:v>0</c:v>
                      </c:pt>
                      <c:pt idx="9892">
                        <c:v>0</c:v>
                      </c:pt>
                      <c:pt idx="9893">
                        <c:v>0</c:v>
                      </c:pt>
                      <c:pt idx="9894">
                        <c:v>0</c:v>
                      </c:pt>
                      <c:pt idx="9895">
                        <c:v>0</c:v>
                      </c:pt>
                      <c:pt idx="9896">
                        <c:v>0</c:v>
                      </c:pt>
                      <c:pt idx="9897">
                        <c:v>0</c:v>
                      </c:pt>
                      <c:pt idx="9898">
                        <c:v>0</c:v>
                      </c:pt>
                      <c:pt idx="9899">
                        <c:v>0</c:v>
                      </c:pt>
                      <c:pt idx="9900">
                        <c:v>0</c:v>
                      </c:pt>
                      <c:pt idx="9901">
                        <c:v>0</c:v>
                      </c:pt>
                      <c:pt idx="9902">
                        <c:v>0</c:v>
                      </c:pt>
                      <c:pt idx="9903">
                        <c:v>0</c:v>
                      </c:pt>
                      <c:pt idx="9904">
                        <c:v>0</c:v>
                      </c:pt>
                      <c:pt idx="9905">
                        <c:v>0</c:v>
                      </c:pt>
                      <c:pt idx="9906">
                        <c:v>0</c:v>
                      </c:pt>
                      <c:pt idx="9907">
                        <c:v>0</c:v>
                      </c:pt>
                      <c:pt idx="9908">
                        <c:v>0</c:v>
                      </c:pt>
                      <c:pt idx="9909">
                        <c:v>0</c:v>
                      </c:pt>
                      <c:pt idx="9910">
                        <c:v>0</c:v>
                      </c:pt>
                      <c:pt idx="9911">
                        <c:v>0</c:v>
                      </c:pt>
                      <c:pt idx="9912">
                        <c:v>0</c:v>
                      </c:pt>
                      <c:pt idx="9913">
                        <c:v>0</c:v>
                      </c:pt>
                      <c:pt idx="9914">
                        <c:v>0</c:v>
                      </c:pt>
                      <c:pt idx="9915">
                        <c:v>0</c:v>
                      </c:pt>
                      <c:pt idx="9916">
                        <c:v>0</c:v>
                      </c:pt>
                      <c:pt idx="9917">
                        <c:v>0</c:v>
                      </c:pt>
                      <c:pt idx="9918">
                        <c:v>0</c:v>
                      </c:pt>
                      <c:pt idx="9919">
                        <c:v>0</c:v>
                      </c:pt>
                      <c:pt idx="9920">
                        <c:v>0</c:v>
                      </c:pt>
                      <c:pt idx="9921">
                        <c:v>0</c:v>
                      </c:pt>
                      <c:pt idx="9922">
                        <c:v>0</c:v>
                      </c:pt>
                      <c:pt idx="9923">
                        <c:v>0</c:v>
                      </c:pt>
                      <c:pt idx="9924">
                        <c:v>0</c:v>
                      </c:pt>
                      <c:pt idx="9925">
                        <c:v>0</c:v>
                      </c:pt>
                      <c:pt idx="9926">
                        <c:v>0</c:v>
                      </c:pt>
                      <c:pt idx="9927">
                        <c:v>0</c:v>
                      </c:pt>
                      <c:pt idx="9928">
                        <c:v>0</c:v>
                      </c:pt>
                      <c:pt idx="9929">
                        <c:v>0</c:v>
                      </c:pt>
                      <c:pt idx="9930">
                        <c:v>0</c:v>
                      </c:pt>
                      <c:pt idx="9931">
                        <c:v>0</c:v>
                      </c:pt>
                      <c:pt idx="9932">
                        <c:v>0</c:v>
                      </c:pt>
                      <c:pt idx="9933">
                        <c:v>0</c:v>
                      </c:pt>
                      <c:pt idx="9934">
                        <c:v>0</c:v>
                      </c:pt>
                      <c:pt idx="9935">
                        <c:v>0</c:v>
                      </c:pt>
                      <c:pt idx="9936">
                        <c:v>0</c:v>
                      </c:pt>
                      <c:pt idx="9937">
                        <c:v>0</c:v>
                      </c:pt>
                      <c:pt idx="9938">
                        <c:v>0</c:v>
                      </c:pt>
                      <c:pt idx="9939">
                        <c:v>0</c:v>
                      </c:pt>
                      <c:pt idx="9940">
                        <c:v>0</c:v>
                      </c:pt>
                      <c:pt idx="9941">
                        <c:v>0</c:v>
                      </c:pt>
                      <c:pt idx="9942">
                        <c:v>0</c:v>
                      </c:pt>
                      <c:pt idx="9943">
                        <c:v>0</c:v>
                      </c:pt>
                      <c:pt idx="9944">
                        <c:v>0</c:v>
                      </c:pt>
                      <c:pt idx="9945">
                        <c:v>0</c:v>
                      </c:pt>
                      <c:pt idx="9946">
                        <c:v>0</c:v>
                      </c:pt>
                      <c:pt idx="9947">
                        <c:v>0</c:v>
                      </c:pt>
                      <c:pt idx="9948">
                        <c:v>0</c:v>
                      </c:pt>
                      <c:pt idx="9949">
                        <c:v>0</c:v>
                      </c:pt>
                      <c:pt idx="9950">
                        <c:v>0</c:v>
                      </c:pt>
                      <c:pt idx="9951">
                        <c:v>0</c:v>
                      </c:pt>
                      <c:pt idx="9952">
                        <c:v>0</c:v>
                      </c:pt>
                      <c:pt idx="9953">
                        <c:v>0</c:v>
                      </c:pt>
                      <c:pt idx="9954">
                        <c:v>0</c:v>
                      </c:pt>
                      <c:pt idx="9955">
                        <c:v>0</c:v>
                      </c:pt>
                      <c:pt idx="9956">
                        <c:v>0</c:v>
                      </c:pt>
                      <c:pt idx="9957">
                        <c:v>0</c:v>
                      </c:pt>
                      <c:pt idx="9958">
                        <c:v>0</c:v>
                      </c:pt>
                      <c:pt idx="9959">
                        <c:v>0</c:v>
                      </c:pt>
                      <c:pt idx="9960">
                        <c:v>0</c:v>
                      </c:pt>
                      <c:pt idx="9961">
                        <c:v>0</c:v>
                      </c:pt>
                      <c:pt idx="9962">
                        <c:v>0</c:v>
                      </c:pt>
                      <c:pt idx="9963">
                        <c:v>0</c:v>
                      </c:pt>
                      <c:pt idx="9964">
                        <c:v>0</c:v>
                      </c:pt>
                      <c:pt idx="9965">
                        <c:v>0</c:v>
                      </c:pt>
                      <c:pt idx="9966">
                        <c:v>0</c:v>
                      </c:pt>
                      <c:pt idx="9967">
                        <c:v>0</c:v>
                      </c:pt>
                      <c:pt idx="9968">
                        <c:v>0</c:v>
                      </c:pt>
                      <c:pt idx="9969">
                        <c:v>0</c:v>
                      </c:pt>
                      <c:pt idx="9970">
                        <c:v>0</c:v>
                      </c:pt>
                      <c:pt idx="9971">
                        <c:v>0</c:v>
                      </c:pt>
                      <c:pt idx="9972">
                        <c:v>0</c:v>
                      </c:pt>
                      <c:pt idx="9973">
                        <c:v>0</c:v>
                      </c:pt>
                      <c:pt idx="9974">
                        <c:v>0</c:v>
                      </c:pt>
                      <c:pt idx="9975">
                        <c:v>0</c:v>
                      </c:pt>
                      <c:pt idx="9976">
                        <c:v>0</c:v>
                      </c:pt>
                      <c:pt idx="9977">
                        <c:v>0</c:v>
                      </c:pt>
                      <c:pt idx="9978">
                        <c:v>0</c:v>
                      </c:pt>
                      <c:pt idx="9979">
                        <c:v>0</c:v>
                      </c:pt>
                      <c:pt idx="9980">
                        <c:v>0</c:v>
                      </c:pt>
                      <c:pt idx="9981">
                        <c:v>0</c:v>
                      </c:pt>
                      <c:pt idx="9982">
                        <c:v>0</c:v>
                      </c:pt>
                      <c:pt idx="9983">
                        <c:v>0</c:v>
                      </c:pt>
                      <c:pt idx="9984">
                        <c:v>0</c:v>
                      </c:pt>
                      <c:pt idx="9985">
                        <c:v>0</c:v>
                      </c:pt>
                      <c:pt idx="9986">
                        <c:v>0</c:v>
                      </c:pt>
                      <c:pt idx="9987">
                        <c:v>0</c:v>
                      </c:pt>
                      <c:pt idx="9988">
                        <c:v>0</c:v>
                      </c:pt>
                      <c:pt idx="9989">
                        <c:v>0</c:v>
                      </c:pt>
                      <c:pt idx="9990">
                        <c:v>0</c:v>
                      </c:pt>
                      <c:pt idx="9991">
                        <c:v>0</c:v>
                      </c:pt>
                      <c:pt idx="9992">
                        <c:v>0</c:v>
                      </c:pt>
                      <c:pt idx="9993">
                        <c:v>0</c:v>
                      </c:pt>
                      <c:pt idx="9994">
                        <c:v>0</c:v>
                      </c:pt>
                      <c:pt idx="9995">
                        <c:v>0</c:v>
                      </c:pt>
                      <c:pt idx="9996">
                        <c:v>0</c:v>
                      </c:pt>
                      <c:pt idx="9997">
                        <c:v>0</c:v>
                      </c:pt>
                      <c:pt idx="9998">
                        <c:v>0</c:v>
                      </c:pt>
                      <c:pt idx="9999">
                        <c:v>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Data!$C$3:$C$10002</c15:sqref>
                        </c15:formulaRef>
                      </c:ext>
                    </c:extLst>
                    <c:numCache>
                      <c:formatCode>General</c:formatCode>
                      <c:ptCount val="1000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0</c:v>
                      </c:pt>
                      <c:pt idx="1151">
                        <c:v>0</c:v>
                      </c:pt>
                      <c:pt idx="1152">
                        <c:v>0</c:v>
                      </c:pt>
                      <c:pt idx="1153">
                        <c:v>0</c:v>
                      </c:pt>
                      <c:pt idx="1154">
                        <c:v>0</c:v>
                      </c:pt>
                      <c:pt idx="1155">
                        <c:v>0</c:v>
                      </c:pt>
                      <c:pt idx="1156">
                        <c:v>0</c:v>
                      </c:pt>
                      <c:pt idx="1157">
                        <c:v>0</c:v>
                      </c:pt>
                      <c:pt idx="1158">
                        <c:v>0</c:v>
                      </c:pt>
                      <c:pt idx="1159">
                        <c:v>0</c:v>
                      </c:pt>
                      <c:pt idx="1160">
                        <c:v>0</c:v>
                      </c:pt>
                      <c:pt idx="1161">
                        <c:v>0</c:v>
                      </c:pt>
                      <c:pt idx="1162">
                        <c:v>0</c:v>
                      </c:pt>
                      <c:pt idx="1163">
                        <c:v>0</c:v>
                      </c:pt>
                      <c:pt idx="1164">
                        <c:v>0</c:v>
                      </c:pt>
                      <c:pt idx="1165">
                        <c:v>0</c:v>
                      </c:pt>
                      <c:pt idx="1166">
                        <c:v>0</c:v>
                      </c:pt>
                      <c:pt idx="1167">
                        <c:v>0</c:v>
                      </c:pt>
                      <c:pt idx="1168">
                        <c:v>0</c:v>
                      </c:pt>
                      <c:pt idx="1169">
                        <c:v>0</c:v>
                      </c:pt>
                      <c:pt idx="1170">
                        <c:v>0</c:v>
                      </c:pt>
                      <c:pt idx="1171">
                        <c:v>0</c:v>
                      </c:pt>
                      <c:pt idx="1172">
                        <c:v>0</c:v>
                      </c:pt>
                      <c:pt idx="1173">
                        <c:v>0</c:v>
                      </c:pt>
                      <c:pt idx="1174">
                        <c:v>0</c:v>
                      </c:pt>
                      <c:pt idx="1175">
                        <c:v>0</c:v>
                      </c:pt>
                      <c:pt idx="1176">
                        <c:v>0</c:v>
                      </c:pt>
                      <c:pt idx="1177">
                        <c:v>0</c:v>
                      </c:pt>
                      <c:pt idx="1178">
                        <c:v>0</c:v>
                      </c:pt>
                      <c:pt idx="1179">
                        <c:v>0</c:v>
                      </c:pt>
                      <c:pt idx="1180">
                        <c:v>0</c:v>
                      </c:pt>
                      <c:pt idx="1181">
                        <c:v>0</c:v>
                      </c:pt>
                      <c:pt idx="1182">
                        <c:v>0</c:v>
                      </c:pt>
                      <c:pt idx="1183">
                        <c:v>0</c:v>
                      </c:pt>
                      <c:pt idx="1184">
                        <c:v>0</c:v>
                      </c:pt>
                      <c:pt idx="1185">
                        <c:v>0</c:v>
                      </c:pt>
                      <c:pt idx="1186">
                        <c:v>0</c:v>
                      </c:pt>
                      <c:pt idx="1187">
                        <c:v>0</c:v>
                      </c:pt>
                      <c:pt idx="1188">
                        <c:v>0</c:v>
                      </c:pt>
                      <c:pt idx="1189">
                        <c:v>0</c:v>
                      </c:pt>
                      <c:pt idx="1190">
                        <c:v>0</c:v>
                      </c:pt>
                      <c:pt idx="1191">
                        <c:v>0</c:v>
                      </c:pt>
                      <c:pt idx="1192">
                        <c:v>0</c:v>
                      </c:pt>
                      <c:pt idx="1193">
                        <c:v>0</c:v>
                      </c:pt>
                      <c:pt idx="1194">
                        <c:v>0</c:v>
                      </c:pt>
                      <c:pt idx="1195">
                        <c:v>0</c:v>
                      </c:pt>
                      <c:pt idx="1196">
                        <c:v>0</c:v>
                      </c:pt>
                      <c:pt idx="1197">
                        <c:v>0</c:v>
                      </c:pt>
                      <c:pt idx="1198">
                        <c:v>0</c:v>
                      </c:pt>
                      <c:pt idx="1199">
                        <c:v>0</c:v>
                      </c:pt>
                      <c:pt idx="1200">
                        <c:v>0</c:v>
                      </c:pt>
                      <c:pt idx="1201">
                        <c:v>0</c:v>
                      </c:pt>
                      <c:pt idx="1202">
                        <c:v>0</c:v>
                      </c:pt>
                      <c:pt idx="1203">
                        <c:v>0</c:v>
                      </c:pt>
                      <c:pt idx="1204">
                        <c:v>0</c:v>
                      </c:pt>
                      <c:pt idx="1205">
                        <c:v>0</c:v>
                      </c:pt>
                      <c:pt idx="1206">
                        <c:v>0</c:v>
                      </c:pt>
                      <c:pt idx="1207">
                        <c:v>0</c:v>
                      </c:pt>
                      <c:pt idx="1208">
                        <c:v>0</c:v>
                      </c:pt>
                      <c:pt idx="1209">
                        <c:v>0</c:v>
                      </c:pt>
                      <c:pt idx="1210">
                        <c:v>0</c:v>
                      </c:pt>
                      <c:pt idx="1211">
                        <c:v>0</c:v>
                      </c:pt>
                      <c:pt idx="1212">
                        <c:v>0</c:v>
                      </c:pt>
                      <c:pt idx="1213">
                        <c:v>0</c:v>
                      </c:pt>
                      <c:pt idx="1214">
                        <c:v>0</c:v>
                      </c:pt>
                      <c:pt idx="1215">
                        <c:v>0</c:v>
                      </c:pt>
                      <c:pt idx="1216">
                        <c:v>0</c:v>
                      </c:pt>
                      <c:pt idx="1217">
                        <c:v>0</c:v>
                      </c:pt>
                      <c:pt idx="1218">
                        <c:v>0</c:v>
                      </c:pt>
                      <c:pt idx="1219">
                        <c:v>0</c:v>
                      </c:pt>
                      <c:pt idx="1220">
                        <c:v>0</c:v>
                      </c:pt>
                      <c:pt idx="1221">
                        <c:v>0</c:v>
                      </c:pt>
                      <c:pt idx="1222">
                        <c:v>0</c:v>
                      </c:pt>
                      <c:pt idx="1223">
                        <c:v>0</c:v>
                      </c:pt>
                      <c:pt idx="1224">
                        <c:v>0</c:v>
                      </c:pt>
                      <c:pt idx="1225">
                        <c:v>0</c:v>
                      </c:pt>
                      <c:pt idx="1226">
                        <c:v>0</c:v>
                      </c:pt>
                      <c:pt idx="1227">
                        <c:v>0</c:v>
                      </c:pt>
                      <c:pt idx="1228">
                        <c:v>0</c:v>
                      </c:pt>
                      <c:pt idx="1229">
                        <c:v>0</c:v>
                      </c:pt>
                      <c:pt idx="1230">
                        <c:v>0</c:v>
                      </c:pt>
                      <c:pt idx="1231">
                        <c:v>0</c:v>
                      </c:pt>
                      <c:pt idx="1232">
                        <c:v>0</c:v>
                      </c:pt>
                      <c:pt idx="1233">
                        <c:v>0</c:v>
                      </c:pt>
                      <c:pt idx="1234">
                        <c:v>0</c:v>
                      </c:pt>
                      <c:pt idx="1235">
                        <c:v>0</c:v>
                      </c:pt>
                      <c:pt idx="1236">
                        <c:v>0</c:v>
                      </c:pt>
                      <c:pt idx="1237">
                        <c:v>0</c:v>
                      </c:pt>
                      <c:pt idx="1238">
                        <c:v>0</c:v>
                      </c:pt>
                      <c:pt idx="1239">
                        <c:v>0</c:v>
                      </c:pt>
                      <c:pt idx="1240">
                        <c:v>0</c:v>
                      </c:pt>
                      <c:pt idx="1241">
                        <c:v>0</c:v>
                      </c:pt>
                      <c:pt idx="1242">
                        <c:v>0</c:v>
                      </c:pt>
                      <c:pt idx="1243">
                        <c:v>0</c:v>
                      </c:pt>
                      <c:pt idx="1244">
                        <c:v>0</c:v>
                      </c:pt>
                      <c:pt idx="1245">
                        <c:v>0</c:v>
                      </c:pt>
                      <c:pt idx="1246">
                        <c:v>0</c:v>
                      </c:pt>
                      <c:pt idx="1247">
                        <c:v>0</c:v>
                      </c:pt>
                      <c:pt idx="1248">
                        <c:v>0</c:v>
                      </c:pt>
                      <c:pt idx="1249">
                        <c:v>0</c:v>
                      </c:pt>
                      <c:pt idx="1250">
                        <c:v>0</c:v>
                      </c:pt>
                      <c:pt idx="1251">
                        <c:v>0</c:v>
                      </c:pt>
                      <c:pt idx="1252">
                        <c:v>0</c:v>
                      </c:pt>
                      <c:pt idx="1253">
                        <c:v>0</c:v>
                      </c:pt>
                      <c:pt idx="1254">
                        <c:v>0</c:v>
                      </c:pt>
                      <c:pt idx="1255">
                        <c:v>0</c:v>
                      </c:pt>
                      <c:pt idx="1256">
                        <c:v>0</c:v>
                      </c:pt>
                      <c:pt idx="1257">
                        <c:v>0</c:v>
                      </c:pt>
                      <c:pt idx="1258">
                        <c:v>0</c:v>
                      </c:pt>
                      <c:pt idx="1259">
                        <c:v>0</c:v>
                      </c:pt>
                      <c:pt idx="1260">
                        <c:v>0</c:v>
                      </c:pt>
                      <c:pt idx="1261">
                        <c:v>0</c:v>
                      </c:pt>
                      <c:pt idx="1262">
                        <c:v>0</c:v>
                      </c:pt>
                      <c:pt idx="1263">
                        <c:v>0</c:v>
                      </c:pt>
                      <c:pt idx="1264">
                        <c:v>0</c:v>
                      </c:pt>
                      <c:pt idx="1265">
                        <c:v>0</c:v>
                      </c:pt>
                      <c:pt idx="1266">
                        <c:v>0</c:v>
                      </c:pt>
                      <c:pt idx="1267">
                        <c:v>0</c:v>
                      </c:pt>
                      <c:pt idx="1268">
                        <c:v>0</c:v>
                      </c:pt>
                      <c:pt idx="1269">
                        <c:v>0</c:v>
                      </c:pt>
                      <c:pt idx="1270">
                        <c:v>0</c:v>
                      </c:pt>
                      <c:pt idx="1271">
                        <c:v>0</c:v>
                      </c:pt>
                      <c:pt idx="1272">
                        <c:v>0</c:v>
                      </c:pt>
                      <c:pt idx="1273">
                        <c:v>0</c:v>
                      </c:pt>
                      <c:pt idx="1274">
                        <c:v>0</c:v>
                      </c:pt>
                      <c:pt idx="1275">
                        <c:v>0</c:v>
                      </c:pt>
                      <c:pt idx="1276">
                        <c:v>0</c:v>
                      </c:pt>
                      <c:pt idx="1277">
                        <c:v>0</c:v>
                      </c:pt>
                      <c:pt idx="1278">
                        <c:v>0</c:v>
                      </c:pt>
                      <c:pt idx="1279">
                        <c:v>0</c:v>
                      </c:pt>
                      <c:pt idx="1280">
                        <c:v>0</c:v>
                      </c:pt>
                      <c:pt idx="1281">
                        <c:v>0</c:v>
                      </c:pt>
                      <c:pt idx="1282">
                        <c:v>0</c:v>
                      </c:pt>
                      <c:pt idx="1283">
                        <c:v>0</c:v>
                      </c:pt>
                      <c:pt idx="1284">
                        <c:v>0</c:v>
                      </c:pt>
                      <c:pt idx="1285">
                        <c:v>0</c:v>
                      </c:pt>
                      <c:pt idx="1286">
                        <c:v>0</c:v>
                      </c:pt>
                      <c:pt idx="1287">
                        <c:v>0</c:v>
                      </c:pt>
                      <c:pt idx="1288">
                        <c:v>0</c:v>
                      </c:pt>
                      <c:pt idx="1289">
                        <c:v>0</c:v>
                      </c:pt>
                      <c:pt idx="1290">
                        <c:v>0</c:v>
                      </c:pt>
                      <c:pt idx="1291">
                        <c:v>0</c:v>
                      </c:pt>
                      <c:pt idx="1292">
                        <c:v>0</c:v>
                      </c:pt>
                      <c:pt idx="1293">
                        <c:v>0</c:v>
                      </c:pt>
                      <c:pt idx="1294">
                        <c:v>0</c:v>
                      </c:pt>
                      <c:pt idx="1295">
                        <c:v>0</c:v>
                      </c:pt>
                      <c:pt idx="1296">
                        <c:v>0</c:v>
                      </c:pt>
                      <c:pt idx="1297">
                        <c:v>0</c:v>
                      </c:pt>
                      <c:pt idx="1298">
                        <c:v>0</c:v>
                      </c:pt>
                      <c:pt idx="1299">
                        <c:v>0</c:v>
                      </c:pt>
                      <c:pt idx="1300">
                        <c:v>0</c:v>
                      </c:pt>
                      <c:pt idx="1301">
                        <c:v>0</c:v>
                      </c:pt>
                      <c:pt idx="1302">
                        <c:v>0</c:v>
                      </c:pt>
                      <c:pt idx="1303">
                        <c:v>0</c:v>
                      </c:pt>
                      <c:pt idx="1304">
                        <c:v>0</c:v>
                      </c:pt>
                      <c:pt idx="1305">
                        <c:v>0</c:v>
                      </c:pt>
                      <c:pt idx="1306">
                        <c:v>0</c:v>
                      </c:pt>
                      <c:pt idx="1307">
                        <c:v>0</c:v>
                      </c:pt>
                      <c:pt idx="1308">
                        <c:v>0</c:v>
                      </c:pt>
                      <c:pt idx="1309">
                        <c:v>0</c:v>
                      </c:pt>
                      <c:pt idx="1310">
                        <c:v>0</c:v>
                      </c:pt>
                      <c:pt idx="1311">
                        <c:v>0</c:v>
                      </c:pt>
                      <c:pt idx="1312">
                        <c:v>0</c:v>
                      </c:pt>
                      <c:pt idx="1313">
                        <c:v>0</c:v>
                      </c:pt>
                      <c:pt idx="1314">
                        <c:v>0</c:v>
                      </c:pt>
                      <c:pt idx="1315">
                        <c:v>0</c:v>
                      </c:pt>
                      <c:pt idx="1316">
                        <c:v>0</c:v>
                      </c:pt>
                      <c:pt idx="1317">
                        <c:v>0</c:v>
                      </c:pt>
                      <c:pt idx="1318">
                        <c:v>0</c:v>
                      </c:pt>
                      <c:pt idx="1319">
                        <c:v>0</c:v>
                      </c:pt>
                      <c:pt idx="1320">
                        <c:v>0</c:v>
                      </c:pt>
                      <c:pt idx="1321">
                        <c:v>0</c:v>
                      </c:pt>
                      <c:pt idx="1322">
                        <c:v>0</c:v>
                      </c:pt>
                      <c:pt idx="1323">
                        <c:v>0</c:v>
                      </c:pt>
                      <c:pt idx="1324">
                        <c:v>0</c:v>
                      </c:pt>
                      <c:pt idx="1325">
                        <c:v>0</c:v>
                      </c:pt>
                      <c:pt idx="1326">
                        <c:v>0</c:v>
                      </c:pt>
                      <c:pt idx="1327">
                        <c:v>0</c:v>
                      </c:pt>
                      <c:pt idx="1328">
                        <c:v>0</c:v>
                      </c:pt>
                      <c:pt idx="1329">
                        <c:v>0</c:v>
                      </c:pt>
                      <c:pt idx="1330">
                        <c:v>0</c:v>
                      </c:pt>
                      <c:pt idx="1331">
                        <c:v>0</c:v>
                      </c:pt>
                      <c:pt idx="1332">
                        <c:v>0</c:v>
                      </c:pt>
                      <c:pt idx="1333">
                        <c:v>0</c:v>
                      </c:pt>
                      <c:pt idx="1334">
                        <c:v>0</c:v>
                      </c:pt>
                      <c:pt idx="1335">
                        <c:v>0</c:v>
                      </c:pt>
                      <c:pt idx="1336">
                        <c:v>0</c:v>
                      </c:pt>
                      <c:pt idx="1337">
                        <c:v>0</c:v>
                      </c:pt>
                      <c:pt idx="1338">
                        <c:v>0</c:v>
                      </c:pt>
                      <c:pt idx="1339">
                        <c:v>0</c:v>
                      </c:pt>
                      <c:pt idx="1340">
                        <c:v>0</c:v>
                      </c:pt>
                      <c:pt idx="1341">
                        <c:v>0</c:v>
                      </c:pt>
                      <c:pt idx="1342">
                        <c:v>0</c:v>
                      </c:pt>
                      <c:pt idx="1343">
                        <c:v>0</c:v>
                      </c:pt>
                      <c:pt idx="1344">
                        <c:v>0</c:v>
                      </c:pt>
                      <c:pt idx="1345">
                        <c:v>0</c:v>
                      </c:pt>
                      <c:pt idx="1346">
                        <c:v>0</c:v>
                      </c:pt>
                      <c:pt idx="1347">
                        <c:v>0</c:v>
                      </c:pt>
                      <c:pt idx="1348">
                        <c:v>0</c:v>
                      </c:pt>
                      <c:pt idx="1349">
                        <c:v>0</c:v>
                      </c:pt>
                      <c:pt idx="1350">
                        <c:v>0</c:v>
                      </c:pt>
                      <c:pt idx="1351">
                        <c:v>0</c:v>
                      </c:pt>
                      <c:pt idx="1352">
                        <c:v>0</c:v>
                      </c:pt>
                      <c:pt idx="1353">
                        <c:v>0</c:v>
                      </c:pt>
                      <c:pt idx="1354">
                        <c:v>0</c:v>
                      </c:pt>
                      <c:pt idx="1355">
                        <c:v>0</c:v>
                      </c:pt>
                      <c:pt idx="1356">
                        <c:v>0</c:v>
                      </c:pt>
                      <c:pt idx="1357">
                        <c:v>0</c:v>
                      </c:pt>
                      <c:pt idx="1358">
                        <c:v>0</c:v>
                      </c:pt>
                      <c:pt idx="1359">
                        <c:v>0</c:v>
                      </c:pt>
                      <c:pt idx="1360">
                        <c:v>0</c:v>
                      </c:pt>
                      <c:pt idx="1361">
                        <c:v>0</c:v>
                      </c:pt>
                      <c:pt idx="1362">
                        <c:v>0</c:v>
                      </c:pt>
                      <c:pt idx="1363">
                        <c:v>0</c:v>
                      </c:pt>
                      <c:pt idx="1364">
                        <c:v>0</c:v>
                      </c:pt>
                      <c:pt idx="1365">
                        <c:v>0</c:v>
                      </c:pt>
                      <c:pt idx="1366">
                        <c:v>0</c:v>
                      </c:pt>
                      <c:pt idx="1367">
                        <c:v>0</c:v>
                      </c:pt>
                      <c:pt idx="1368">
                        <c:v>0</c:v>
                      </c:pt>
                      <c:pt idx="1369">
                        <c:v>0</c:v>
                      </c:pt>
                      <c:pt idx="1370">
                        <c:v>0</c:v>
                      </c:pt>
                      <c:pt idx="1371">
                        <c:v>0</c:v>
                      </c:pt>
                      <c:pt idx="1372">
                        <c:v>0</c:v>
                      </c:pt>
                      <c:pt idx="1373">
                        <c:v>0</c:v>
                      </c:pt>
                      <c:pt idx="1374">
                        <c:v>0</c:v>
                      </c:pt>
                      <c:pt idx="1375">
                        <c:v>0</c:v>
                      </c:pt>
                      <c:pt idx="1376">
                        <c:v>0</c:v>
                      </c:pt>
                      <c:pt idx="1377">
                        <c:v>0</c:v>
                      </c:pt>
                      <c:pt idx="1378">
                        <c:v>0</c:v>
                      </c:pt>
                      <c:pt idx="1379">
                        <c:v>0</c:v>
                      </c:pt>
                      <c:pt idx="1380">
                        <c:v>0</c:v>
                      </c:pt>
                      <c:pt idx="1381">
                        <c:v>0</c:v>
                      </c:pt>
                      <c:pt idx="1382">
                        <c:v>0</c:v>
                      </c:pt>
                      <c:pt idx="1383">
                        <c:v>0</c:v>
                      </c:pt>
                      <c:pt idx="1384">
                        <c:v>0</c:v>
                      </c:pt>
                      <c:pt idx="1385">
                        <c:v>0</c:v>
                      </c:pt>
                      <c:pt idx="1386">
                        <c:v>0</c:v>
                      </c:pt>
                      <c:pt idx="1387">
                        <c:v>0</c:v>
                      </c:pt>
                      <c:pt idx="1388">
                        <c:v>0</c:v>
                      </c:pt>
                      <c:pt idx="1389">
                        <c:v>0</c:v>
                      </c:pt>
                      <c:pt idx="1390">
                        <c:v>0</c:v>
                      </c:pt>
                      <c:pt idx="1391">
                        <c:v>0</c:v>
                      </c:pt>
                      <c:pt idx="1392">
                        <c:v>0</c:v>
                      </c:pt>
                      <c:pt idx="1393">
                        <c:v>0</c:v>
                      </c:pt>
                      <c:pt idx="1394">
                        <c:v>0</c:v>
                      </c:pt>
                      <c:pt idx="1395">
                        <c:v>0</c:v>
                      </c:pt>
                      <c:pt idx="1396">
                        <c:v>0</c:v>
                      </c:pt>
                      <c:pt idx="1397">
                        <c:v>0</c:v>
                      </c:pt>
                      <c:pt idx="1398">
                        <c:v>0</c:v>
                      </c:pt>
                      <c:pt idx="1399">
                        <c:v>0</c:v>
                      </c:pt>
                      <c:pt idx="1400">
                        <c:v>0</c:v>
                      </c:pt>
                      <c:pt idx="1401">
                        <c:v>0</c:v>
                      </c:pt>
                      <c:pt idx="1402">
                        <c:v>0</c:v>
                      </c:pt>
                      <c:pt idx="1403">
                        <c:v>0</c:v>
                      </c:pt>
                      <c:pt idx="1404">
                        <c:v>0</c:v>
                      </c:pt>
                      <c:pt idx="1405">
                        <c:v>0</c:v>
                      </c:pt>
                      <c:pt idx="1406">
                        <c:v>0</c:v>
                      </c:pt>
                      <c:pt idx="1407">
                        <c:v>0</c:v>
                      </c:pt>
                      <c:pt idx="1408">
                        <c:v>0</c:v>
                      </c:pt>
                      <c:pt idx="1409">
                        <c:v>0</c:v>
                      </c:pt>
                      <c:pt idx="1410">
                        <c:v>0</c:v>
                      </c:pt>
                      <c:pt idx="1411">
                        <c:v>0</c:v>
                      </c:pt>
                      <c:pt idx="1412">
                        <c:v>0</c:v>
                      </c:pt>
                      <c:pt idx="1413">
                        <c:v>0</c:v>
                      </c:pt>
                      <c:pt idx="1414">
                        <c:v>0</c:v>
                      </c:pt>
                      <c:pt idx="1415">
                        <c:v>0</c:v>
                      </c:pt>
                      <c:pt idx="1416">
                        <c:v>0</c:v>
                      </c:pt>
                      <c:pt idx="1417">
                        <c:v>0</c:v>
                      </c:pt>
                      <c:pt idx="1418">
                        <c:v>0</c:v>
                      </c:pt>
                      <c:pt idx="1419">
                        <c:v>0</c:v>
                      </c:pt>
                      <c:pt idx="1420">
                        <c:v>0</c:v>
                      </c:pt>
                      <c:pt idx="1421">
                        <c:v>0</c:v>
                      </c:pt>
                      <c:pt idx="1422">
                        <c:v>0</c:v>
                      </c:pt>
                      <c:pt idx="1423">
                        <c:v>0</c:v>
                      </c:pt>
                      <c:pt idx="1424">
                        <c:v>0</c:v>
                      </c:pt>
                      <c:pt idx="1425">
                        <c:v>0</c:v>
                      </c:pt>
                      <c:pt idx="1426">
                        <c:v>0</c:v>
                      </c:pt>
                      <c:pt idx="1427">
                        <c:v>0</c:v>
                      </c:pt>
                      <c:pt idx="1428">
                        <c:v>0</c:v>
                      </c:pt>
                      <c:pt idx="1429">
                        <c:v>0</c:v>
                      </c:pt>
                      <c:pt idx="1430">
                        <c:v>0</c:v>
                      </c:pt>
                      <c:pt idx="1431">
                        <c:v>0</c:v>
                      </c:pt>
                      <c:pt idx="1432">
                        <c:v>0</c:v>
                      </c:pt>
                      <c:pt idx="1433">
                        <c:v>0</c:v>
                      </c:pt>
                      <c:pt idx="1434">
                        <c:v>0</c:v>
                      </c:pt>
                      <c:pt idx="1435">
                        <c:v>0</c:v>
                      </c:pt>
                      <c:pt idx="1436">
                        <c:v>0</c:v>
                      </c:pt>
                      <c:pt idx="1437">
                        <c:v>0</c:v>
                      </c:pt>
                      <c:pt idx="1438">
                        <c:v>0</c:v>
                      </c:pt>
                      <c:pt idx="1439">
                        <c:v>0</c:v>
                      </c:pt>
                      <c:pt idx="1440">
                        <c:v>0</c:v>
                      </c:pt>
                      <c:pt idx="1441">
                        <c:v>0</c:v>
                      </c:pt>
                      <c:pt idx="1442">
                        <c:v>0</c:v>
                      </c:pt>
                      <c:pt idx="1443">
                        <c:v>0</c:v>
                      </c:pt>
                      <c:pt idx="1444">
                        <c:v>0</c:v>
                      </c:pt>
                      <c:pt idx="1445">
                        <c:v>0</c:v>
                      </c:pt>
                      <c:pt idx="1446">
                        <c:v>0</c:v>
                      </c:pt>
                      <c:pt idx="1447">
                        <c:v>0</c:v>
                      </c:pt>
                      <c:pt idx="1448">
                        <c:v>0</c:v>
                      </c:pt>
                      <c:pt idx="1449">
                        <c:v>0</c:v>
                      </c:pt>
                      <c:pt idx="1450">
                        <c:v>0</c:v>
                      </c:pt>
                      <c:pt idx="1451">
                        <c:v>0</c:v>
                      </c:pt>
                      <c:pt idx="1452">
                        <c:v>0</c:v>
                      </c:pt>
                      <c:pt idx="1453">
                        <c:v>0</c:v>
                      </c:pt>
                      <c:pt idx="1454">
                        <c:v>0</c:v>
                      </c:pt>
                      <c:pt idx="1455">
                        <c:v>0</c:v>
                      </c:pt>
                      <c:pt idx="1456">
                        <c:v>0</c:v>
                      </c:pt>
                      <c:pt idx="1457">
                        <c:v>0</c:v>
                      </c:pt>
                      <c:pt idx="1458">
                        <c:v>0</c:v>
                      </c:pt>
                      <c:pt idx="1459">
                        <c:v>0</c:v>
                      </c:pt>
                      <c:pt idx="1460">
                        <c:v>0</c:v>
                      </c:pt>
                      <c:pt idx="1461">
                        <c:v>0</c:v>
                      </c:pt>
                      <c:pt idx="1462">
                        <c:v>0</c:v>
                      </c:pt>
                      <c:pt idx="1463">
                        <c:v>0</c:v>
                      </c:pt>
                      <c:pt idx="1464">
                        <c:v>0</c:v>
                      </c:pt>
                      <c:pt idx="1465">
                        <c:v>0</c:v>
                      </c:pt>
                      <c:pt idx="1466">
                        <c:v>0</c:v>
                      </c:pt>
                      <c:pt idx="1467">
                        <c:v>0</c:v>
                      </c:pt>
                      <c:pt idx="1468">
                        <c:v>0</c:v>
                      </c:pt>
                      <c:pt idx="1469">
                        <c:v>0</c:v>
                      </c:pt>
                      <c:pt idx="1470">
                        <c:v>0</c:v>
                      </c:pt>
                      <c:pt idx="1471">
                        <c:v>0</c:v>
                      </c:pt>
                      <c:pt idx="1472">
                        <c:v>0</c:v>
                      </c:pt>
                      <c:pt idx="1473">
                        <c:v>0</c:v>
                      </c:pt>
                      <c:pt idx="1474">
                        <c:v>0</c:v>
                      </c:pt>
                      <c:pt idx="1475">
                        <c:v>0</c:v>
                      </c:pt>
                      <c:pt idx="1476">
                        <c:v>0</c:v>
                      </c:pt>
                      <c:pt idx="1477">
                        <c:v>0</c:v>
                      </c:pt>
                      <c:pt idx="1478">
                        <c:v>0</c:v>
                      </c:pt>
                      <c:pt idx="1479">
                        <c:v>0</c:v>
                      </c:pt>
                      <c:pt idx="1480">
                        <c:v>0</c:v>
                      </c:pt>
                      <c:pt idx="1481">
                        <c:v>0</c:v>
                      </c:pt>
                      <c:pt idx="1482">
                        <c:v>0</c:v>
                      </c:pt>
                      <c:pt idx="1483">
                        <c:v>0</c:v>
                      </c:pt>
                      <c:pt idx="1484">
                        <c:v>0</c:v>
                      </c:pt>
                      <c:pt idx="1485">
                        <c:v>0</c:v>
                      </c:pt>
                      <c:pt idx="1486">
                        <c:v>0</c:v>
                      </c:pt>
                      <c:pt idx="1487">
                        <c:v>0</c:v>
                      </c:pt>
                      <c:pt idx="1488">
                        <c:v>0</c:v>
                      </c:pt>
                      <c:pt idx="1489">
                        <c:v>0</c:v>
                      </c:pt>
                      <c:pt idx="1490">
                        <c:v>0</c:v>
                      </c:pt>
                      <c:pt idx="1491">
                        <c:v>0</c:v>
                      </c:pt>
                      <c:pt idx="1492">
                        <c:v>0</c:v>
                      </c:pt>
                      <c:pt idx="1493">
                        <c:v>0</c:v>
                      </c:pt>
                      <c:pt idx="1494">
                        <c:v>0</c:v>
                      </c:pt>
                      <c:pt idx="1495">
                        <c:v>0</c:v>
                      </c:pt>
                      <c:pt idx="1496">
                        <c:v>0</c:v>
                      </c:pt>
                      <c:pt idx="1497">
                        <c:v>0</c:v>
                      </c:pt>
                      <c:pt idx="1498">
                        <c:v>0</c:v>
                      </c:pt>
                      <c:pt idx="1499">
                        <c:v>0</c:v>
                      </c:pt>
                      <c:pt idx="1500">
                        <c:v>0</c:v>
                      </c:pt>
                      <c:pt idx="1501">
                        <c:v>0</c:v>
                      </c:pt>
                      <c:pt idx="1502">
                        <c:v>0</c:v>
                      </c:pt>
                      <c:pt idx="1503">
                        <c:v>0</c:v>
                      </c:pt>
                      <c:pt idx="1504">
                        <c:v>0</c:v>
                      </c:pt>
                      <c:pt idx="1505">
                        <c:v>0</c:v>
                      </c:pt>
                      <c:pt idx="1506">
                        <c:v>0</c:v>
                      </c:pt>
                      <c:pt idx="1507">
                        <c:v>0</c:v>
                      </c:pt>
                      <c:pt idx="1508">
                        <c:v>0</c:v>
                      </c:pt>
                      <c:pt idx="1509">
                        <c:v>0</c:v>
                      </c:pt>
                      <c:pt idx="1510">
                        <c:v>0</c:v>
                      </c:pt>
                      <c:pt idx="1511">
                        <c:v>0</c:v>
                      </c:pt>
                      <c:pt idx="1512">
                        <c:v>0</c:v>
                      </c:pt>
                      <c:pt idx="1513">
                        <c:v>0</c:v>
                      </c:pt>
                      <c:pt idx="1514">
                        <c:v>0</c:v>
                      </c:pt>
                      <c:pt idx="1515">
                        <c:v>0</c:v>
                      </c:pt>
                      <c:pt idx="1516">
                        <c:v>0</c:v>
                      </c:pt>
                      <c:pt idx="1517">
                        <c:v>0</c:v>
                      </c:pt>
                      <c:pt idx="1518">
                        <c:v>0</c:v>
                      </c:pt>
                      <c:pt idx="1519">
                        <c:v>0</c:v>
                      </c:pt>
                      <c:pt idx="1520">
                        <c:v>0</c:v>
                      </c:pt>
                      <c:pt idx="1521">
                        <c:v>0</c:v>
                      </c:pt>
                      <c:pt idx="1522">
                        <c:v>0</c:v>
                      </c:pt>
                      <c:pt idx="1523">
                        <c:v>0</c:v>
                      </c:pt>
                      <c:pt idx="1524">
                        <c:v>0</c:v>
                      </c:pt>
                      <c:pt idx="1525">
                        <c:v>0</c:v>
                      </c:pt>
                      <c:pt idx="1526">
                        <c:v>0</c:v>
                      </c:pt>
                      <c:pt idx="1527">
                        <c:v>0</c:v>
                      </c:pt>
                      <c:pt idx="1528">
                        <c:v>0</c:v>
                      </c:pt>
                      <c:pt idx="1529">
                        <c:v>0</c:v>
                      </c:pt>
                      <c:pt idx="1530">
                        <c:v>0</c:v>
                      </c:pt>
                      <c:pt idx="1531">
                        <c:v>0</c:v>
                      </c:pt>
                      <c:pt idx="1532">
                        <c:v>0</c:v>
                      </c:pt>
                      <c:pt idx="1533">
                        <c:v>0</c:v>
                      </c:pt>
                      <c:pt idx="1534">
                        <c:v>0</c:v>
                      </c:pt>
                      <c:pt idx="1535">
                        <c:v>0</c:v>
                      </c:pt>
                      <c:pt idx="1536">
                        <c:v>0</c:v>
                      </c:pt>
                      <c:pt idx="1537">
                        <c:v>0</c:v>
                      </c:pt>
                      <c:pt idx="1538">
                        <c:v>0</c:v>
                      </c:pt>
                      <c:pt idx="1539">
                        <c:v>0</c:v>
                      </c:pt>
                      <c:pt idx="1540">
                        <c:v>0</c:v>
                      </c:pt>
                      <c:pt idx="1541">
                        <c:v>0</c:v>
                      </c:pt>
                      <c:pt idx="1542">
                        <c:v>0</c:v>
                      </c:pt>
                      <c:pt idx="1543">
                        <c:v>0</c:v>
                      </c:pt>
                      <c:pt idx="1544">
                        <c:v>0</c:v>
                      </c:pt>
                      <c:pt idx="1545">
                        <c:v>0</c:v>
                      </c:pt>
                      <c:pt idx="1546">
                        <c:v>0</c:v>
                      </c:pt>
                      <c:pt idx="1547">
                        <c:v>0</c:v>
                      </c:pt>
                      <c:pt idx="1548">
                        <c:v>0</c:v>
                      </c:pt>
                      <c:pt idx="1549">
                        <c:v>0</c:v>
                      </c:pt>
                      <c:pt idx="1550">
                        <c:v>0</c:v>
                      </c:pt>
                      <c:pt idx="1551">
                        <c:v>0</c:v>
                      </c:pt>
                      <c:pt idx="1552">
                        <c:v>0</c:v>
                      </c:pt>
                      <c:pt idx="1553">
                        <c:v>0</c:v>
                      </c:pt>
                      <c:pt idx="1554">
                        <c:v>0</c:v>
                      </c:pt>
                      <c:pt idx="1555">
                        <c:v>0</c:v>
                      </c:pt>
                      <c:pt idx="1556">
                        <c:v>0</c:v>
                      </c:pt>
                      <c:pt idx="1557">
                        <c:v>0</c:v>
                      </c:pt>
                      <c:pt idx="1558">
                        <c:v>0</c:v>
                      </c:pt>
                      <c:pt idx="1559">
                        <c:v>0</c:v>
                      </c:pt>
                      <c:pt idx="1560">
                        <c:v>0</c:v>
                      </c:pt>
                      <c:pt idx="1561">
                        <c:v>0</c:v>
                      </c:pt>
                      <c:pt idx="1562">
                        <c:v>0</c:v>
                      </c:pt>
                      <c:pt idx="1563">
                        <c:v>0</c:v>
                      </c:pt>
                      <c:pt idx="1564">
                        <c:v>0</c:v>
                      </c:pt>
                      <c:pt idx="1565">
                        <c:v>0</c:v>
                      </c:pt>
                      <c:pt idx="1566">
                        <c:v>0</c:v>
                      </c:pt>
                      <c:pt idx="1567">
                        <c:v>0</c:v>
                      </c:pt>
                      <c:pt idx="1568">
                        <c:v>0</c:v>
                      </c:pt>
                      <c:pt idx="1569">
                        <c:v>0</c:v>
                      </c:pt>
                      <c:pt idx="1570">
                        <c:v>0</c:v>
                      </c:pt>
                      <c:pt idx="1571">
                        <c:v>0</c:v>
                      </c:pt>
                      <c:pt idx="1572">
                        <c:v>0</c:v>
                      </c:pt>
                      <c:pt idx="1573">
                        <c:v>0</c:v>
                      </c:pt>
                      <c:pt idx="1574">
                        <c:v>0</c:v>
                      </c:pt>
                      <c:pt idx="1575">
                        <c:v>0</c:v>
                      </c:pt>
                      <c:pt idx="1576">
                        <c:v>0</c:v>
                      </c:pt>
                      <c:pt idx="1577">
                        <c:v>0</c:v>
                      </c:pt>
                      <c:pt idx="1578">
                        <c:v>0</c:v>
                      </c:pt>
                      <c:pt idx="1579">
                        <c:v>0</c:v>
                      </c:pt>
                      <c:pt idx="1580">
                        <c:v>0</c:v>
                      </c:pt>
                      <c:pt idx="1581">
                        <c:v>0</c:v>
                      </c:pt>
                      <c:pt idx="1582">
                        <c:v>0</c:v>
                      </c:pt>
                      <c:pt idx="1583">
                        <c:v>0</c:v>
                      </c:pt>
                      <c:pt idx="1584">
                        <c:v>0</c:v>
                      </c:pt>
                      <c:pt idx="1585">
                        <c:v>0</c:v>
                      </c:pt>
                      <c:pt idx="1586">
                        <c:v>0</c:v>
                      </c:pt>
                      <c:pt idx="1587">
                        <c:v>0</c:v>
                      </c:pt>
                      <c:pt idx="1588">
                        <c:v>0</c:v>
                      </c:pt>
                      <c:pt idx="1589">
                        <c:v>0</c:v>
                      </c:pt>
                      <c:pt idx="1590">
                        <c:v>0</c:v>
                      </c:pt>
                      <c:pt idx="1591">
                        <c:v>0</c:v>
                      </c:pt>
                      <c:pt idx="1592">
                        <c:v>0</c:v>
                      </c:pt>
                      <c:pt idx="1593">
                        <c:v>0</c:v>
                      </c:pt>
                      <c:pt idx="1594">
                        <c:v>0</c:v>
                      </c:pt>
                      <c:pt idx="1595">
                        <c:v>0</c:v>
                      </c:pt>
                      <c:pt idx="1596">
                        <c:v>0</c:v>
                      </c:pt>
                      <c:pt idx="1597">
                        <c:v>0</c:v>
                      </c:pt>
                      <c:pt idx="1598">
                        <c:v>0</c:v>
                      </c:pt>
                      <c:pt idx="1599">
                        <c:v>0</c:v>
                      </c:pt>
                      <c:pt idx="1600">
                        <c:v>0</c:v>
                      </c:pt>
                      <c:pt idx="1601">
                        <c:v>0</c:v>
                      </c:pt>
                      <c:pt idx="1602">
                        <c:v>0</c:v>
                      </c:pt>
                      <c:pt idx="1603">
                        <c:v>0</c:v>
                      </c:pt>
                      <c:pt idx="1604">
                        <c:v>0</c:v>
                      </c:pt>
                      <c:pt idx="1605">
                        <c:v>0</c:v>
                      </c:pt>
                      <c:pt idx="1606">
                        <c:v>0</c:v>
                      </c:pt>
                      <c:pt idx="1607">
                        <c:v>0</c:v>
                      </c:pt>
                      <c:pt idx="1608">
                        <c:v>0</c:v>
                      </c:pt>
                      <c:pt idx="1609">
                        <c:v>0</c:v>
                      </c:pt>
                      <c:pt idx="1610">
                        <c:v>0</c:v>
                      </c:pt>
                      <c:pt idx="1611">
                        <c:v>0</c:v>
                      </c:pt>
                      <c:pt idx="1612">
                        <c:v>0</c:v>
                      </c:pt>
                      <c:pt idx="1613">
                        <c:v>0</c:v>
                      </c:pt>
                      <c:pt idx="1614">
                        <c:v>0</c:v>
                      </c:pt>
                      <c:pt idx="1615">
                        <c:v>0</c:v>
                      </c:pt>
                      <c:pt idx="1616">
                        <c:v>0</c:v>
                      </c:pt>
                      <c:pt idx="1617">
                        <c:v>0</c:v>
                      </c:pt>
                      <c:pt idx="1618">
                        <c:v>0</c:v>
                      </c:pt>
                      <c:pt idx="1619">
                        <c:v>0</c:v>
                      </c:pt>
                      <c:pt idx="1620">
                        <c:v>0</c:v>
                      </c:pt>
                      <c:pt idx="1621">
                        <c:v>0</c:v>
                      </c:pt>
                      <c:pt idx="1622">
                        <c:v>0</c:v>
                      </c:pt>
                      <c:pt idx="1623">
                        <c:v>0</c:v>
                      </c:pt>
                      <c:pt idx="1624">
                        <c:v>0</c:v>
                      </c:pt>
                      <c:pt idx="1625">
                        <c:v>0</c:v>
                      </c:pt>
                      <c:pt idx="1626">
                        <c:v>0</c:v>
                      </c:pt>
                      <c:pt idx="1627">
                        <c:v>0</c:v>
                      </c:pt>
                      <c:pt idx="1628">
                        <c:v>0</c:v>
                      </c:pt>
                      <c:pt idx="1629">
                        <c:v>0</c:v>
                      </c:pt>
                      <c:pt idx="1630">
                        <c:v>0</c:v>
                      </c:pt>
                      <c:pt idx="1631">
                        <c:v>0</c:v>
                      </c:pt>
                      <c:pt idx="1632">
                        <c:v>0</c:v>
                      </c:pt>
                      <c:pt idx="1633">
                        <c:v>0</c:v>
                      </c:pt>
                      <c:pt idx="1634">
                        <c:v>0</c:v>
                      </c:pt>
                      <c:pt idx="1635">
                        <c:v>0</c:v>
                      </c:pt>
                      <c:pt idx="1636">
                        <c:v>0</c:v>
                      </c:pt>
                      <c:pt idx="1637">
                        <c:v>0</c:v>
                      </c:pt>
                      <c:pt idx="1638">
                        <c:v>0</c:v>
                      </c:pt>
                      <c:pt idx="1639">
                        <c:v>0</c:v>
                      </c:pt>
                      <c:pt idx="1640">
                        <c:v>0</c:v>
                      </c:pt>
                      <c:pt idx="1641">
                        <c:v>0</c:v>
                      </c:pt>
                      <c:pt idx="1642">
                        <c:v>0</c:v>
                      </c:pt>
                      <c:pt idx="1643">
                        <c:v>0</c:v>
                      </c:pt>
                      <c:pt idx="1644">
                        <c:v>0</c:v>
                      </c:pt>
                      <c:pt idx="1645">
                        <c:v>0</c:v>
                      </c:pt>
                      <c:pt idx="1646">
                        <c:v>0</c:v>
                      </c:pt>
                      <c:pt idx="1647">
                        <c:v>0</c:v>
                      </c:pt>
                      <c:pt idx="1648">
                        <c:v>0</c:v>
                      </c:pt>
                      <c:pt idx="1649">
                        <c:v>0</c:v>
                      </c:pt>
                      <c:pt idx="1650">
                        <c:v>0</c:v>
                      </c:pt>
                      <c:pt idx="1651">
                        <c:v>0</c:v>
                      </c:pt>
                      <c:pt idx="1652">
                        <c:v>0</c:v>
                      </c:pt>
                      <c:pt idx="1653">
                        <c:v>0</c:v>
                      </c:pt>
                      <c:pt idx="1654">
                        <c:v>0</c:v>
                      </c:pt>
                      <c:pt idx="1655">
                        <c:v>0</c:v>
                      </c:pt>
                      <c:pt idx="1656">
                        <c:v>0</c:v>
                      </c:pt>
                      <c:pt idx="1657">
                        <c:v>0</c:v>
                      </c:pt>
                      <c:pt idx="1658">
                        <c:v>0</c:v>
                      </c:pt>
                      <c:pt idx="1659">
                        <c:v>0</c:v>
                      </c:pt>
                      <c:pt idx="1660">
                        <c:v>0</c:v>
                      </c:pt>
                      <c:pt idx="1661">
                        <c:v>0</c:v>
                      </c:pt>
                      <c:pt idx="1662">
                        <c:v>0</c:v>
                      </c:pt>
                      <c:pt idx="1663">
                        <c:v>0</c:v>
                      </c:pt>
                      <c:pt idx="1664">
                        <c:v>0</c:v>
                      </c:pt>
                      <c:pt idx="1665">
                        <c:v>0</c:v>
                      </c:pt>
                      <c:pt idx="1666">
                        <c:v>0</c:v>
                      </c:pt>
                      <c:pt idx="1667">
                        <c:v>0</c:v>
                      </c:pt>
                      <c:pt idx="1668">
                        <c:v>0</c:v>
                      </c:pt>
                      <c:pt idx="1669">
                        <c:v>0</c:v>
                      </c:pt>
                      <c:pt idx="1670">
                        <c:v>0</c:v>
                      </c:pt>
                      <c:pt idx="1671">
                        <c:v>0</c:v>
                      </c:pt>
                      <c:pt idx="1672">
                        <c:v>0</c:v>
                      </c:pt>
                      <c:pt idx="1673">
                        <c:v>0</c:v>
                      </c:pt>
                      <c:pt idx="1674">
                        <c:v>0</c:v>
                      </c:pt>
                      <c:pt idx="1675">
                        <c:v>0</c:v>
                      </c:pt>
                      <c:pt idx="1676">
                        <c:v>0</c:v>
                      </c:pt>
                      <c:pt idx="1677">
                        <c:v>0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0</c:v>
                      </c:pt>
                      <c:pt idx="1717">
                        <c:v>0</c:v>
                      </c:pt>
                      <c:pt idx="1718">
                        <c:v>0</c:v>
                      </c:pt>
                      <c:pt idx="1719">
                        <c:v>0</c:v>
                      </c:pt>
                      <c:pt idx="1720">
                        <c:v>0</c:v>
                      </c:pt>
                      <c:pt idx="1721">
                        <c:v>0</c:v>
                      </c:pt>
                      <c:pt idx="1722">
                        <c:v>0</c:v>
                      </c:pt>
                      <c:pt idx="1723">
                        <c:v>0</c:v>
                      </c:pt>
                      <c:pt idx="1724">
                        <c:v>0</c:v>
                      </c:pt>
                      <c:pt idx="1725">
                        <c:v>0</c:v>
                      </c:pt>
                      <c:pt idx="1726">
                        <c:v>0</c:v>
                      </c:pt>
                      <c:pt idx="1727">
                        <c:v>0</c:v>
                      </c:pt>
                      <c:pt idx="1728">
                        <c:v>0</c:v>
                      </c:pt>
                      <c:pt idx="1729">
                        <c:v>0</c:v>
                      </c:pt>
                      <c:pt idx="1730">
                        <c:v>0</c:v>
                      </c:pt>
                      <c:pt idx="1731">
                        <c:v>0</c:v>
                      </c:pt>
                      <c:pt idx="1732">
                        <c:v>0</c:v>
                      </c:pt>
                      <c:pt idx="1733">
                        <c:v>0</c:v>
                      </c:pt>
                      <c:pt idx="1734">
                        <c:v>0</c:v>
                      </c:pt>
                      <c:pt idx="1735">
                        <c:v>0</c:v>
                      </c:pt>
                      <c:pt idx="1736">
                        <c:v>0</c:v>
                      </c:pt>
                      <c:pt idx="1737">
                        <c:v>0</c:v>
                      </c:pt>
                      <c:pt idx="1738">
                        <c:v>0</c:v>
                      </c:pt>
                      <c:pt idx="1739">
                        <c:v>0</c:v>
                      </c:pt>
                      <c:pt idx="1740">
                        <c:v>0</c:v>
                      </c:pt>
                      <c:pt idx="1741">
                        <c:v>0</c:v>
                      </c:pt>
                      <c:pt idx="1742">
                        <c:v>0</c:v>
                      </c:pt>
                      <c:pt idx="1743">
                        <c:v>0</c:v>
                      </c:pt>
                      <c:pt idx="1744">
                        <c:v>0</c:v>
                      </c:pt>
                      <c:pt idx="1745">
                        <c:v>0</c:v>
                      </c:pt>
                      <c:pt idx="1746">
                        <c:v>0</c:v>
                      </c:pt>
                      <c:pt idx="1747">
                        <c:v>0</c:v>
                      </c:pt>
                      <c:pt idx="1748">
                        <c:v>0</c:v>
                      </c:pt>
                      <c:pt idx="1749">
                        <c:v>0</c:v>
                      </c:pt>
                      <c:pt idx="1750">
                        <c:v>0</c:v>
                      </c:pt>
                      <c:pt idx="1751">
                        <c:v>0</c:v>
                      </c:pt>
                      <c:pt idx="1752">
                        <c:v>0</c:v>
                      </c:pt>
                      <c:pt idx="1753">
                        <c:v>0</c:v>
                      </c:pt>
                      <c:pt idx="1754">
                        <c:v>0</c:v>
                      </c:pt>
                      <c:pt idx="1755">
                        <c:v>0</c:v>
                      </c:pt>
                      <c:pt idx="1756">
                        <c:v>0</c:v>
                      </c:pt>
                      <c:pt idx="1757">
                        <c:v>0</c:v>
                      </c:pt>
                      <c:pt idx="1758">
                        <c:v>0</c:v>
                      </c:pt>
                      <c:pt idx="1759">
                        <c:v>0</c:v>
                      </c:pt>
                      <c:pt idx="1760">
                        <c:v>0</c:v>
                      </c:pt>
                      <c:pt idx="1761">
                        <c:v>0</c:v>
                      </c:pt>
                      <c:pt idx="1762">
                        <c:v>0</c:v>
                      </c:pt>
                      <c:pt idx="1763">
                        <c:v>0</c:v>
                      </c:pt>
                      <c:pt idx="1764">
                        <c:v>0</c:v>
                      </c:pt>
                      <c:pt idx="1765">
                        <c:v>0</c:v>
                      </c:pt>
                      <c:pt idx="1766">
                        <c:v>0</c:v>
                      </c:pt>
                      <c:pt idx="1767">
                        <c:v>0</c:v>
                      </c:pt>
                      <c:pt idx="1768">
                        <c:v>0</c:v>
                      </c:pt>
                      <c:pt idx="1769">
                        <c:v>0</c:v>
                      </c:pt>
                      <c:pt idx="1770">
                        <c:v>0</c:v>
                      </c:pt>
                      <c:pt idx="1771">
                        <c:v>0</c:v>
                      </c:pt>
                      <c:pt idx="1772">
                        <c:v>0</c:v>
                      </c:pt>
                      <c:pt idx="1773">
                        <c:v>0</c:v>
                      </c:pt>
                      <c:pt idx="1774">
                        <c:v>0</c:v>
                      </c:pt>
                      <c:pt idx="1775">
                        <c:v>0</c:v>
                      </c:pt>
                      <c:pt idx="1776">
                        <c:v>0</c:v>
                      </c:pt>
                      <c:pt idx="1777">
                        <c:v>0</c:v>
                      </c:pt>
                      <c:pt idx="1778">
                        <c:v>0</c:v>
                      </c:pt>
                      <c:pt idx="1779">
                        <c:v>0</c:v>
                      </c:pt>
                      <c:pt idx="1780">
                        <c:v>0</c:v>
                      </c:pt>
                      <c:pt idx="1781">
                        <c:v>0</c:v>
                      </c:pt>
                      <c:pt idx="1782">
                        <c:v>0</c:v>
                      </c:pt>
                      <c:pt idx="1783">
                        <c:v>0</c:v>
                      </c:pt>
                      <c:pt idx="1784">
                        <c:v>0</c:v>
                      </c:pt>
                      <c:pt idx="1785">
                        <c:v>0</c:v>
                      </c:pt>
                      <c:pt idx="1786">
                        <c:v>0</c:v>
                      </c:pt>
                      <c:pt idx="1787">
                        <c:v>0</c:v>
                      </c:pt>
                      <c:pt idx="1788">
                        <c:v>0</c:v>
                      </c:pt>
                      <c:pt idx="1789">
                        <c:v>0</c:v>
                      </c:pt>
                      <c:pt idx="1790">
                        <c:v>0</c:v>
                      </c:pt>
                      <c:pt idx="1791">
                        <c:v>0</c:v>
                      </c:pt>
                      <c:pt idx="1792">
                        <c:v>0</c:v>
                      </c:pt>
                      <c:pt idx="1793">
                        <c:v>0</c:v>
                      </c:pt>
                      <c:pt idx="1794">
                        <c:v>0</c:v>
                      </c:pt>
                      <c:pt idx="1795">
                        <c:v>0</c:v>
                      </c:pt>
                      <c:pt idx="1796">
                        <c:v>0</c:v>
                      </c:pt>
                      <c:pt idx="1797">
                        <c:v>0</c:v>
                      </c:pt>
                      <c:pt idx="1798">
                        <c:v>0</c:v>
                      </c:pt>
                      <c:pt idx="1799">
                        <c:v>0</c:v>
                      </c:pt>
                      <c:pt idx="1800">
                        <c:v>0</c:v>
                      </c:pt>
                      <c:pt idx="1801">
                        <c:v>0</c:v>
                      </c:pt>
                      <c:pt idx="1802">
                        <c:v>0</c:v>
                      </c:pt>
                      <c:pt idx="1803">
                        <c:v>0</c:v>
                      </c:pt>
                      <c:pt idx="1804">
                        <c:v>0</c:v>
                      </c:pt>
                      <c:pt idx="1805">
                        <c:v>0</c:v>
                      </c:pt>
                      <c:pt idx="1806">
                        <c:v>0</c:v>
                      </c:pt>
                      <c:pt idx="1807">
                        <c:v>0</c:v>
                      </c:pt>
                      <c:pt idx="1808">
                        <c:v>0</c:v>
                      </c:pt>
                      <c:pt idx="1809">
                        <c:v>0</c:v>
                      </c:pt>
                      <c:pt idx="1810">
                        <c:v>0</c:v>
                      </c:pt>
                      <c:pt idx="1811">
                        <c:v>0</c:v>
                      </c:pt>
                      <c:pt idx="1812">
                        <c:v>0</c:v>
                      </c:pt>
                      <c:pt idx="1813">
                        <c:v>0</c:v>
                      </c:pt>
                      <c:pt idx="1814">
                        <c:v>0</c:v>
                      </c:pt>
                      <c:pt idx="1815">
                        <c:v>0</c:v>
                      </c:pt>
                      <c:pt idx="1816">
                        <c:v>0</c:v>
                      </c:pt>
                      <c:pt idx="1817">
                        <c:v>0</c:v>
                      </c:pt>
                      <c:pt idx="1818">
                        <c:v>0</c:v>
                      </c:pt>
                      <c:pt idx="1819">
                        <c:v>0</c:v>
                      </c:pt>
                      <c:pt idx="1820">
                        <c:v>0</c:v>
                      </c:pt>
                      <c:pt idx="1821">
                        <c:v>0</c:v>
                      </c:pt>
                      <c:pt idx="1822">
                        <c:v>0</c:v>
                      </c:pt>
                      <c:pt idx="1823">
                        <c:v>0</c:v>
                      </c:pt>
                      <c:pt idx="1824">
                        <c:v>0</c:v>
                      </c:pt>
                      <c:pt idx="1825">
                        <c:v>0</c:v>
                      </c:pt>
                      <c:pt idx="1826">
                        <c:v>0</c:v>
                      </c:pt>
                      <c:pt idx="1827">
                        <c:v>0</c:v>
                      </c:pt>
                      <c:pt idx="1828">
                        <c:v>0</c:v>
                      </c:pt>
                      <c:pt idx="1829">
                        <c:v>0</c:v>
                      </c:pt>
                      <c:pt idx="1830">
                        <c:v>0</c:v>
                      </c:pt>
                      <c:pt idx="1831">
                        <c:v>0</c:v>
                      </c:pt>
                      <c:pt idx="1832">
                        <c:v>0</c:v>
                      </c:pt>
                      <c:pt idx="1833">
                        <c:v>0</c:v>
                      </c:pt>
                      <c:pt idx="1834">
                        <c:v>0</c:v>
                      </c:pt>
                      <c:pt idx="1835">
                        <c:v>0</c:v>
                      </c:pt>
                      <c:pt idx="1836">
                        <c:v>0</c:v>
                      </c:pt>
                      <c:pt idx="1837">
                        <c:v>0</c:v>
                      </c:pt>
                      <c:pt idx="1838">
                        <c:v>0</c:v>
                      </c:pt>
                      <c:pt idx="1839">
                        <c:v>0</c:v>
                      </c:pt>
                      <c:pt idx="1840">
                        <c:v>0</c:v>
                      </c:pt>
                      <c:pt idx="1841">
                        <c:v>0</c:v>
                      </c:pt>
                      <c:pt idx="1842">
                        <c:v>0</c:v>
                      </c:pt>
                      <c:pt idx="1843">
                        <c:v>0</c:v>
                      </c:pt>
                      <c:pt idx="1844">
                        <c:v>0</c:v>
                      </c:pt>
                      <c:pt idx="1845">
                        <c:v>0</c:v>
                      </c:pt>
                      <c:pt idx="1846">
                        <c:v>0</c:v>
                      </c:pt>
                      <c:pt idx="1847">
                        <c:v>0</c:v>
                      </c:pt>
                      <c:pt idx="1848">
                        <c:v>0</c:v>
                      </c:pt>
                      <c:pt idx="1849">
                        <c:v>0</c:v>
                      </c:pt>
                      <c:pt idx="1850">
                        <c:v>0</c:v>
                      </c:pt>
                      <c:pt idx="1851">
                        <c:v>0</c:v>
                      </c:pt>
                      <c:pt idx="1852">
                        <c:v>0</c:v>
                      </c:pt>
                      <c:pt idx="1853">
                        <c:v>0</c:v>
                      </c:pt>
                      <c:pt idx="1854">
                        <c:v>0</c:v>
                      </c:pt>
                      <c:pt idx="1855">
                        <c:v>0</c:v>
                      </c:pt>
                      <c:pt idx="1856">
                        <c:v>0</c:v>
                      </c:pt>
                      <c:pt idx="1857">
                        <c:v>0</c:v>
                      </c:pt>
                      <c:pt idx="1858">
                        <c:v>0</c:v>
                      </c:pt>
                      <c:pt idx="1859">
                        <c:v>0</c:v>
                      </c:pt>
                      <c:pt idx="1860">
                        <c:v>0</c:v>
                      </c:pt>
                      <c:pt idx="1861">
                        <c:v>0</c:v>
                      </c:pt>
                      <c:pt idx="1862">
                        <c:v>0</c:v>
                      </c:pt>
                      <c:pt idx="1863">
                        <c:v>0</c:v>
                      </c:pt>
                      <c:pt idx="1864">
                        <c:v>0</c:v>
                      </c:pt>
                      <c:pt idx="1865">
                        <c:v>0</c:v>
                      </c:pt>
                      <c:pt idx="1866">
                        <c:v>0</c:v>
                      </c:pt>
                      <c:pt idx="1867">
                        <c:v>0</c:v>
                      </c:pt>
                      <c:pt idx="1868">
                        <c:v>0</c:v>
                      </c:pt>
                      <c:pt idx="1869">
                        <c:v>0</c:v>
                      </c:pt>
                      <c:pt idx="1870">
                        <c:v>0</c:v>
                      </c:pt>
                      <c:pt idx="1871">
                        <c:v>0</c:v>
                      </c:pt>
                      <c:pt idx="1872">
                        <c:v>0</c:v>
                      </c:pt>
                      <c:pt idx="1873">
                        <c:v>0</c:v>
                      </c:pt>
                      <c:pt idx="1874">
                        <c:v>0</c:v>
                      </c:pt>
                      <c:pt idx="1875">
                        <c:v>0</c:v>
                      </c:pt>
                      <c:pt idx="1876">
                        <c:v>0</c:v>
                      </c:pt>
                      <c:pt idx="1877">
                        <c:v>0</c:v>
                      </c:pt>
                      <c:pt idx="1878">
                        <c:v>0</c:v>
                      </c:pt>
                      <c:pt idx="1879">
                        <c:v>0</c:v>
                      </c:pt>
                      <c:pt idx="1880">
                        <c:v>0</c:v>
                      </c:pt>
                      <c:pt idx="1881">
                        <c:v>0</c:v>
                      </c:pt>
                      <c:pt idx="1882">
                        <c:v>0</c:v>
                      </c:pt>
                      <c:pt idx="1883">
                        <c:v>0</c:v>
                      </c:pt>
                      <c:pt idx="1884">
                        <c:v>0</c:v>
                      </c:pt>
                      <c:pt idx="1885">
                        <c:v>0</c:v>
                      </c:pt>
                      <c:pt idx="1886">
                        <c:v>0</c:v>
                      </c:pt>
                      <c:pt idx="1887">
                        <c:v>0</c:v>
                      </c:pt>
                      <c:pt idx="1888">
                        <c:v>0</c:v>
                      </c:pt>
                      <c:pt idx="1889">
                        <c:v>0</c:v>
                      </c:pt>
                      <c:pt idx="1890">
                        <c:v>0</c:v>
                      </c:pt>
                      <c:pt idx="1891">
                        <c:v>0</c:v>
                      </c:pt>
                      <c:pt idx="1892">
                        <c:v>0</c:v>
                      </c:pt>
                      <c:pt idx="1893">
                        <c:v>0</c:v>
                      </c:pt>
                      <c:pt idx="1894">
                        <c:v>0</c:v>
                      </c:pt>
                      <c:pt idx="1895">
                        <c:v>0</c:v>
                      </c:pt>
                      <c:pt idx="1896">
                        <c:v>0</c:v>
                      </c:pt>
                      <c:pt idx="1897">
                        <c:v>0</c:v>
                      </c:pt>
                      <c:pt idx="1898">
                        <c:v>0</c:v>
                      </c:pt>
                      <c:pt idx="1899">
                        <c:v>0</c:v>
                      </c:pt>
                      <c:pt idx="1900">
                        <c:v>0</c:v>
                      </c:pt>
                      <c:pt idx="1901">
                        <c:v>0</c:v>
                      </c:pt>
                      <c:pt idx="1902">
                        <c:v>0</c:v>
                      </c:pt>
                      <c:pt idx="1903">
                        <c:v>0</c:v>
                      </c:pt>
                      <c:pt idx="1904">
                        <c:v>0</c:v>
                      </c:pt>
                      <c:pt idx="1905">
                        <c:v>0</c:v>
                      </c:pt>
                      <c:pt idx="1906">
                        <c:v>0</c:v>
                      </c:pt>
                      <c:pt idx="1907">
                        <c:v>0</c:v>
                      </c:pt>
                      <c:pt idx="1908">
                        <c:v>0</c:v>
                      </c:pt>
                      <c:pt idx="1909">
                        <c:v>0</c:v>
                      </c:pt>
                      <c:pt idx="1910">
                        <c:v>0</c:v>
                      </c:pt>
                      <c:pt idx="1911">
                        <c:v>0</c:v>
                      </c:pt>
                      <c:pt idx="1912">
                        <c:v>0</c:v>
                      </c:pt>
                      <c:pt idx="1913">
                        <c:v>0</c:v>
                      </c:pt>
                      <c:pt idx="1914">
                        <c:v>0</c:v>
                      </c:pt>
                      <c:pt idx="1915">
                        <c:v>0</c:v>
                      </c:pt>
                      <c:pt idx="1916">
                        <c:v>0</c:v>
                      </c:pt>
                      <c:pt idx="1917">
                        <c:v>0</c:v>
                      </c:pt>
                      <c:pt idx="1918">
                        <c:v>0</c:v>
                      </c:pt>
                      <c:pt idx="1919">
                        <c:v>0</c:v>
                      </c:pt>
                      <c:pt idx="1920">
                        <c:v>0</c:v>
                      </c:pt>
                      <c:pt idx="1921">
                        <c:v>0</c:v>
                      </c:pt>
                      <c:pt idx="1922">
                        <c:v>0</c:v>
                      </c:pt>
                      <c:pt idx="1923">
                        <c:v>0</c:v>
                      </c:pt>
                      <c:pt idx="1924">
                        <c:v>0</c:v>
                      </c:pt>
                      <c:pt idx="1925">
                        <c:v>0</c:v>
                      </c:pt>
                      <c:pt idx="1926">
                        <c:v>0</c:v>
                      </c:pt>
                      <c:pt idx="1927">
                        <c:v>0</c:v>
                      </c:pt>
                      <c:pt idx="1928">
                        <c:v>0</c:v>
                      </c:pt>
                      <c:pt idx="1929">
                        <c:v>0</c:v>
                      </c:pt>
                      <c:pt idx="1930">
                        <c:v>0</c:v>
                      </c:pt>
                      <c:pt idx="1931">
                        <c:v>0</c:v>
                      </c:pt>
                      <c:pt idx="1932">
                        <c:v>0</c:v>
                      </c:pt>
                      <c:pt idx="1933">
                        <c:v>0</c:v>
                      </c:pt>
                      <c:pt idx="1934">
                        <c:v>0</c:v>
                      </c:pt>
                      <c:pt idx="1935">
                        <c:v>0</c:v>
                      </c:pt>
                      <c:pt idx="1936">
                        <c:v>0</c:v>
                      </c:pt>
                      <c:pt idx="1937">
                        <c:v>0</c:v>
                      </c:pt>
                      <c:pt idx="1938">
                        <c:v>0</c:v>
                      </c:pt>
                      <c:pt idx="1939">
                        <c:v>0</c:v>
                      </c:pt>
                      <c:pt idx="1940">
                        <c:v>0</c:v>
                      </c:pt>
                      <c:pt idx="1941">
                        <c:v>0</c:v>
                      </c:pt>
                      <c:pt idx="1942">
                        <c:v>0</c:v>
                      </c:pt>
                      <c:pt idx="1943">
                        <c:v>0</c:v>
                      </c:pt>
                      <c:pt idx="1944">
                        <c:v>0</c:v>
                      </c:pt>
                      <c:pt idx="1945">
                        <c:v>0</c:v>
                      </c:pt>
                      <c:pt idx="1946">
                        <c:v>0</c:v>
                      </c:pt>
                      <c:pt idx="1947">
                        <c:v>0</c:v>
                      </c:pt>
                      <c:pt idx="1948">
                        <c:v>0</c:v>
                      </c:pt>
                      <c:pt idx="1949">
                        <c:v>0</c:v>
                      </c:pt>
                      <c:pt idx="1950">
                        <c:v>0</c:v>
                      </c:pt>
                      <c:pt idx="1951">
                        <c:v>0</c:v>
                      </c:pt>
                      <c:pt idx="1952">
                        <c:v>0</c:v>
                      </c:pt>
                      <c:pt idx="1953">
                        <c:v>0</c:v>
                      </c:pt>
                      <c:pt idx="1954">
                        <c:v>0</c:v>
                      </c:pt>
                      <c:pt idx="1955">
                        <c:v>0</c:v>
                      </c:pt>
                      <c:pt idx="1956">
                        <c:v>0</c:v>
                      </c:pt>
                      <c:pt idx="1957">
                        <c:v>0</c:v>
                      </c:pt>
                      <c:pt idx="1958">
                        <c:v>0</c:v>
                      </c:pt>
                      <c:pt idx="1959">
                        <c:v>0</c:v>
                      </c:pt>
                      <c:pt idx="1960">
                        <c:v>0</c:v>
                      </c:pt>
                      <c:pt idx="1961">
                        <c:v>0</c:v>
                      </c:pt>
                      <c:pt idx="1962">
                        <c:v>0</c:v>
                      </c:pt>
                      <c:pt idx="1963">
                        <c:v>0</c:v>
                      </c:pt>
                      <c:pt idx="1964">
                        <c:v>0</c:v>
                      </c:pt>
                      <c:pt idx="1965">
                        <c:v>0</c:v>
                      </c:pt>
                      <c:pt idx="1966">
                        <c:v>0</c:v>
                      </c:pt>
                      <c:pt idx="1967">
                        <c:v>0</c:v>
                      </c:pt>
                      <c:pt idx="1968">
                        <c:v>0</c:v>
                      </c:pt>
                      <c:pt idx="1969">
                        <c:v>0</c:v>
                      </c:pt>
                      <c:pt idx="1970">
                        <c:v>0</c:v>
                      </c:pt>
                      <c:pt idx="1971">
                        <c:v>0</c:v>
                      </c:pt>
                      <c:pt idx="1972">
                        <c:v>0</c:v>
                      </c:pt>
                      <c:pt idx="1973">
                        <c:v>0</c:v>
                      </c:pt>
                      <c:pt idx="1974">
                        <c:v>0</c:v>
                      </c:pt>
                      <c:pt idx="1975">
                        <c:v>0</c:v>
                      </c:pt>
                      <c:pt idx="1976">
                        <c:v>0</c:v>
                      </c:pt>
                      <c:pt idx="1977">
                        <c:v>0</c:v>
                      </c:pt>
                      <c:pt idx="1978">
                        <c:v>0</c:v>
                      </c:pt>
                      <c:pt idx="1979">
                        <c:v>0</c:v>
                      </c:pt>
                      <c:pt idx="1980">
                        <c:v>0</c:v>
                      </c:pt>
                      <c:pt idx="1981">
                        <c:v>0</c:v>
                      </c:pt>
                      <c:pt idx="1982">
                        <c:v>0</c:v>
                      </c:pt>
                      <c:pt idx="1983">
                        <c:v>0</c:v>
                      </c:pt>
                      <c:pt idx="1984">
                        <c:v>0</c:v>
                      </c:pt>
                      <c:pt idx="1985">
                        <c:v>0</c:v>
                      </c:pt>
                      <c:pt idx="1986">
                        <c:v>0</c:v>
                      </c:pt>
                      <c:pt idx="1987">
                        <c:v>0</c:v>
                      </c:pt>
                      <c:pt idx="1988">
                        <c:v>0</c:v>
                      </c:pt>
                      <c:pt idx="1989">
                        <c:v>0</c:v>
                      </c:pt>
                      <c:pt idx="1990">
                        <c:v>0</c:v>
                      </c:pt>
                      <c:pt idx="1991">
                        <c:v>0</c:v>
                      </c:pt>
                      <c:pt idx="1992">
                        <c:v>0</c:v>
                      </c:pt>
                      <c:pt idx="1993">
                        <c:v>0</c:v>
                      </c:pt>
                      <c:pt idx="1994">
                        <c:v>0</c:v>
                      </c:pt>
                      <c:pt idx="1995">
                        <c:v>0</c:v>
                      </c:pt>
                      <c:pt idx="1996">
                        <c:v>0</c:v>
                      </c:pt>
                      <c:pt idx="1997">
                        <c:v>0</c:v>
                      </c:pt>
                      <c:pt idx="1998">
                        <c:v>0</c:v>
                      </c:pt>
                      <c:pt idx="1999">
                        <c:v>0</c:v>
                      </c:pt>
                      <c:pt idx="2000">
                        <c:v>0</c:v>
                      </c:pt>
                      <c:pt idx="2001">
                        <c:v>0</c:v>
                      </c:pt>
                      <c:pt idx="2002">
                        <c:v>0</c:v>
                      </c:pt>
                      <c:pt idx="2003">
                        <c:v>0</c:v>
                      </c:pt>
                      <c:pt idx="2004">
                        <c:v>0</c:v>
                      </c:pt>
                      <c:pt idx="2005">
                        <c:v>0</c:v>
                      </c:pt>
                      <c:pt idx="2006">
                        <c:v>0</c:v>
                      </c:pt>
                      <c:pt idx="2007">
                        <c:v>0</c:v>
                      </c:pt>
                      <c:pt idx="2008">
                        <c:v>0</c:v>
                      </c:pt>
                      <c:pt idx="2009">
                        <c:v>0</c:v>
                      </c:pt>
                      <c:pt idx="2010">
                        <c:v>0</c:v>
                      </c:pt>
                      <c:pt idx="2011">
                        <c:v>0</c:v>
                      </c:pt>
                      <c:pt idx="2012">
                        <c:v>0</c:v>
                      </c:pt>
                      <c:pt idx="2013">
                        <c:v>0</c:v>
                      </c:pt>
                      <c:pt idx="2014">
                        <c:v>0</c:v>
                      </c:pt>
                      <c:pt idx="2015">
                        <c:v>0</c:v>
                      </c:pt>
                      <c:pt idx="2016">
                        <c:v>0</c:v>
                      </c:pt>
                      <c:pt idx="2017">
                        <c:v>0</c:v>
                      </c:pt>
                      <c:pt idx="2018">
                        <c:v>0</c:v>
                      </c:pt>
                      <c:pt idx="2019">
                        <c:v>0</c:v>
                      </c:pt>
                      <c:pt idx="2020">
                        <c:v>0</c:v>
                      </c:pt>
                      <c:pt idx="2021">
                        <c:v>0</c:v>
                      </c:pt>
                      <c:pt idx="2022">
                        <c:v>0</c:v>
                      </c:pt>
                      <c:pt idx="2023">
                        <c:v>0</c:v>
                      </c:pt>
                      <c:pt idx="2024">
                        <c:v>0</c:v>
                      </c:pt>
                      <c:pt idx="2025">
                        <c:v>0</c:v>
                      </c:pt>
                      <c:pt idx="2026">
                        <c:v>0</c:v>
                      </c:pt>
                      <c:pt idx="2027">
                        <c:v>0</c:v>
                      </c:pt>
                      <c:pt idx="2028">
                        <c:v>0</c:v>
                      </c:pt>
                      <c:pt idx="2029">
                        <c:v>0</c:v>
                      </c:pt>
                      <c:pt idx="2030">
                        <c:v>0</c:v>
                      </c:pt>
                      <c:pt idx="2031">
                        <c:v>0</c:v>
                      </c:pt>
                      <c:pt idx="2032">
                        <c:v>0</c:v>
                      </c:pt>
                      <c:pt idx="2033">
                        <c:v>0</c:v>
                      </c:pt>
                      <c:pt idx="2034">
                        <c:v>0</c:v>
                      </c:pt>
                      <c:pt idx="2035">
                        <c:v>0</c:v>
                      </c:pt>
                      <c:pt idx="2036">
                        <c:v>0</c:v>
                      </c:pt>
                      <c:pt idx="2037">
                        <c:v>0</c:v>
                      </c:pt>
                      <c:pt idx="2038">
                        <c:v>0</c:v>
                      </c:pt>
                      <c:pt idx="2039">
                        <c:v>0</c:v>
                      </c:pt>
                      <c:pt idx="2040">
                        <c:v>0</c:v>
                      </c:pt>
                      <c:pt idx="2041">
                        <c:v>0</c:v>
                      </c:pt>
                      <c:pt idx="2042">
                        <c:v>0</c:v>
                      </c:pt>
                      <c:pt idx="2043">
                        <c:v>0</c:v>
                      </c:pt>
                      <c:pt idx="2044">
                        <c:v>0</c:v>
                      </c:pt>
                      <c:pt idx="2045">
                        <c:v>0</c:v>
                      </c:pt>
                      <c:pt idx="2046">
                        <c:v>0</c:v>
                      </c:pt>
                      <c:pt idx="2047">
                        <c:v>0</c:v>
                      </c:pt>
                      <c:pt idx="2048">
                        <c:v>0</c:v>
                      </c:pt>
                      <c:pt idx="2049">
                        <c:v>0</c:v>
                      </c:pt>
                      <c:pt idx="2050">
                        <c:v>0</c:v>
                      </c:pt>
                      <c:pt idx="2051">
                        <c:v>0</c:v>
                      </c:pt>
                      <c:pt idx="2052">
                        <c:v>0</c:v>
                      </c:pt>
                      <c:pt idx="2053">
                        <c:v>0</c:v>
                      </c:pt>
                      <c:pt idx="2054">
                        <c:v>0</c:v>
                      </c:pt>
                      <c:pt idx="2055">
                        <c:v>0</c:v>
                      </c:pt>
                      <c:pt idx="2056">
                        <c:v>0</c:v>
                      </c:pt>
                      <c:pt idx="2057">
                        <c:v>0</c:v>
                      </c:pt>
                      <c:pt idx="2058">
                        <c:v>0</c:v>
                      </c:pt>
                      <c:pt idx="2059">
                        <c:v>0</c:v>
                      </c:pt>
                      <c:pt idx="2060">
                        <c:v>0</c:v>
                      </c:pt>
                      <c:pt idx="2061">
                        <c:v>0</c:v>
                      </c:pt>
                      <c:pt idx="2062">
                        <c:v>0</c:v>
                      </c:pt>
                      <c:pt idx="2063">
                        <c:v>0</c:v>
                      </c:pt>
                      <c:pt idx="2064">
                        <c:v>0</c:v>
                      </c:pt>
                      <c:pt idx="2065">
                        <c:v>0</c:v>
                      </c:pt>
                      <c:pt idx="2066">
                        <c:v>0</c:v>
                      </c:pt>
                      <c:pt idx="2067">
                        <c:v>0</c:v>
                      </c:pt>
                      <c:pt idx="2068">
                        <c:v>0</c:v>
                      </c:pt>
                      <c:pt idx="2069">
                        <c:v>0</c:v>
                      </c:pt>
                      <c:pt idx="2070">
                        <c:v>0</c:v>
                      </c:pt>
                      <c:pt idx="2071">
                        <c:v>0</c:v>
                      </c:pt>
                      <c:pt idx="2072">
                        <c:v>0</c:v>
                      </c:pt>
                      <c:pt idx="2073">
                        <c:v>0</c:v>
                      </c:pt>
                      <c:pt idx="2074">
                        <c:v>0</c:v>
                      </c:pt>
                      <c:pt idx="2075">
                        <c:v>0</c:v>
                      </c:pt>
                      <c:pt idx="2076">
                        <c:v>0</c:v>
                      </c:pt>
                      <c:pt idx="2077">
                        <c:v>0</c:v>
                      </c:pt>
                      <c:pt idx="2078">
                        <c:v>0</c:v>
                      </c:pt>
                      <c:pt idx="2079">
                        <c:v>0</c:v>
                      </c:pt>
                      <c:pt idx="2080">
                        <c:v>0</c:v>
                      </c:pt>
                      <c:pt idx="2081">
                        <c:v>0</c:v>
                      </c:pt>
                      <c:pt idx="2082">
                        <c:v>0</c:v>
                      </c:pt>
                      <c:pt idx="2083">
                        <c:v>0</c:v>
                      </c:pt>
                      <c:pt idx="2084">
                        <c:v>0</c:v>
                      </c:pt>
                      <c:pt idx="2085">
                        <c:v>0</c:v>
                      </c:pt>
                      <c:pt idx="2086">
                        <c:v>0</c:v>
                      </c:pt>
                      <c:pt idx="2087">
                        <c:v>0</c:v>
                      </c:pt>
                      <c:pt idx="2088">
                        <c:v>0</c:v>
                      </c:pt>
                      <c:pt idx="2089">
                        <c:v>0</c:v>
                      </c:pt>
                      <c:pt idx="2090">
                        <c:v>0</c:v>
                      </c:pt>
                      <c:pt idx="2091">
                        <c:v>0</c:v>
                      </c:pt>
                      <c:pt idx="2092">
                        <c:v>0</c:v>
                      </c:pt>
                      <c:pt idx="2093">
                        <c:v>0</c:v>
                      </c:pt>
                      <c:pt idx="2094">
                        <c:v>0</c:v>
                      </c:pt>
                      <c:pt idx="2095">
                        <c:v>0</c:v>
                      </c:pt>
                      <c:pt idx="2096">
                        <c:v>0</c:v>
                      </c:pt>
                      <c:pt idx="2097">
                        <c:v>0</c:v>
                      </c:pt>
                      <c:pt idx="2098">
                        <c:v>0</c:v>
                      </c:pt>
                      <c:pt idx="2099">
                        <c:v>0</c:v>
                      </c:pt>
                      <c:pt idx="2100">
                        <c:v>0</c:v>
                      </c:pt>
                      <c:pt idx="2101">
                        <c:v>0</c:v>
                      </c:pt>
                      <c:pt idx="2102">
                        <c:v>0</c:v>
                      </c:pt>
                      <c:pt idx="2103">
                        <c:v>0</c:v>
                      </c:pt>
                      <c:pt idx="2104">
                        <c:v>0</c:v>
                      </c:pt>
                      <c:pt idx="2105">
                        <c:v>0</c:v>
                      </c:pt>
                      <c:pt idx="2106">
                        <c:v>0</c:v>
                      </c:pt>
                      <c:pt idx="2107">
                        <c:v>0</c:v>
                      </c:pt>
                      <c:pt idx="2108">
                        <c:v>0</c:v>
                      </c:pt>
                      <c:pt idx="2109">
                        <c:v>0</c:v>
                      </c:pt>
                      <c:pt idx="2110">
                        <c:v>0</c:v>
                      </c:pt>
                      <c:pt idx="2111">
                        <c:v>0</c:v>
                      </c:pt>
                      <c:pt idx="2112">
                        <c:v>0</c:v>
                      </c:pt>
                      <c:pt idx="2113">
                        <c:v>0</c:v>
                      </c:pt>
                      <c:pt idx="2114">
                        <c:v>0</c:v>
                      </c:pt>
                      <c:pt idx="2115">
                        <c:v>0</c:v>
                      </c:pt>
                      <c:pt idx="2116">
                        <c:v>0</c:v>
                      </c:pt>
                      <c:pt idx="2117">
                        <c:v>0</c:v>
                      </c:pt>
                      <c:pt idx="2118">
                        <c:v>0</c:v>
                      </c:pt>
                      <c:pt idx="2119">
                        <c:v>0</c:v>
                      </c:pt>
                      <c:pt idx="2120">
                        <c:v>0</c:v>
                      </c:pt>
                      <c:pt idx="2121">
                        <c:v>0</c:v>
                      </c:pt>
                      <c:pt idx="2122">
                        <c:v>0</c:v>
                      </c:pt>
                      <c:pt idx="2123">
                        <c:v>0</c:v>
                      </c:pt>
                      <c:pt idx="2124">
                        <c:v>0</c:v>
                      </c:pt>
                      <c:pt idx="2125">
                        <c:v>0</c:v>
                      </c:pt>
                      <c:pt idx="2126">
                        <c:v>0</c:v>
                      </c:pt>
                      <c:pt idx="2127">
                        <c:v>0</c:v>
                      </c:pt>
                      <c:pt idx="2128">
                        <c:v>0</c:v>
                      </c:pt>
                      <c:pt idx="2129">
                        <c:v>0</c:v>
                      </c:pt>
                      <c:pt idx="2130">
                        <c:v>0</c:v>
                      </c:pt>
                      <c:pt idx="2131">
                        <c:v>0</c:v>
                      </c:pt>
                      <c:pt idx="2132">
                        <c:v>0</c:v>
                      </c:pt>
                      <c:pt idx="2133">
                        <c:v>0</c:v>
                      </c:pt>
                      <c:pt idx="2134">
                        <c:v>0</c:v>
                      </c:pt>
                      <c:pt idx="2135">
                        <c:v>0</c:v>
                      </c:pt>
                      <c:pt idx="2136">
                        <c:v>0</c:v>
                      </c:pt>
                      <c:pt idx="2137">
                        <c:v>0</c:v>
                      </c:pt>
                      <c:pt idx="2138">
                        <c:v>0</c:v>
                      </c:pt>
                      <c:pt idx="2139">
                        <c:v>0</c:v>
                      </c:pt>
                      <c:pt idx="2140">
                        <c:v>0</c:v>
                      </c:pt>
                      <c:pt idx="2141">
                        <c:v>0</c:v>
                      </c:pt>
                      <c:pt idx="2142">
                        <c:v>0</c:v>
                      </c:pt>
                      <c:pt idx="2143">
                        <c:v>0</c:v>
                      </c:pt>
                      <c:pt idx="2144">
                        <c:v>0</c:v>
                      </c:pt>
                      <c:pt idx="2145">
                        <c:v>0</c:v>
                      </c:pt>
                      <c:pt idx="2146">
                        <c:v>0</c:v>
                      </c:pt>
                      <c:pt idx="2147">
                        <c:v>0</c:v>
                      </c:pt>
                      <c:pt idx="2148">
                        <c:v>0</c:v>
                      </c:pt>
                      <c:pt idx="2149">
                        <c:v>0</c:v>
                      </c:pt>
                      <c:pt idx="2150">
                        <c:v>0</c:v>
                      </c:pt>
                      <c:pt idx="2151">
                        <c:v>0</c:v>
                      </c:pt>
                      <c:pt idx="2152">
                        <c:v>0</c:v>
                      </c:pt>
                      <c:pt idx="2153">
                        <c:v>0</c:v>
                      </c:pt>
                      <c:pt idx="2154">
                        <c:v>0</c:v>
                      </c:pt>
                      <c:pt idx="2155">
                        <c:v>0</c:v>
                      </c:pt>
                      <c:pt idx="2156">
                        <c:v>0</c:v>
                      </c:pt>
                      <c:pt idx="2157">
                        <c:v>0</c:v>
                      </c:pt>
                      <c:pt idx="2158">
                        <c:v>0</c:v>
                      </c:pt>
                      <c:pt idx="2159">
                        <c:v>0</c:v>
                      </c:pt>
                      <c:pt idx="2160">
                        <c:v>0</c:v>
                      </c:pt>
                      <c:pt idx="2161">
                        <c:v>0</c:v>
                      </c:pt>
                      <c:pt idx="2162">
                        <c:v>0</c:v>
                      </c:pt>
                      <c:pt idx="2163">
                        <c:v>0</c:v>
                      </c:pt>
                      <c:pt idx="2164">
                        <c:v>0</c:v>
                      </c:pt>
                      <c:pt idx="2165">
                        <c:v>0</c:v>
                      </c:pt>
                      <c:pt idx="2166">
                        <c:v>0</c:v>
                      </c:pt>
                      <c:pt idx="2167">
                        <c:v>0</c:v>
                      </c:pt>
                      <c:pt idx="2168">
                        <c:v>0</c:v>
                      </c:pt>
                      <c:pt idx="2169">
                        <c:v>0</c:v>
                      </c:pt>
                      <c:pt idx="2170">
                        <c:v>0</c:v>
                      </c:pt>
                      <c:pt idx="2171">
                        <c:v>0</c:v>
                      </c:pt>
                      <c:pt idx="2172">
                        <c:v>0</c:v>
                      </c:pt>
                      <c:pt idx="2173">
                        <c:v>0</c:v>
                      </c:pt>
                      <c:pt idx="2174">
                        <c:v>0</c:v>
                      </c:pt>
                      <c:pt idx="2175">
                        <c:v>0</c:v>
                      </c:pt>
                      <c:pt idx="2176">
                        <c:v>0</c:v>
                      </c:pt>
                      <c:pt idx="2177">
                        <c:v>0</c:v>
                      </c:pt>
                      <c:pt idx="2178">
                        <c:v>0</c:v>
                      </c:pt>
                      <c:pt idx="2179">
                        <c:v>0</c:v>
                      </c:pt>
                      <c:pt idx="2180">
                        <c:v>0</c:v>
                      </c:pt>
                      <c:pt idx="2181">
                        <c:v>0</c:v>
                      </c:pt>
                      <c:pt idx="2182">
                        <c:v>0</c:v>
                      </c:pt>
                      <c:pt idx="2183">
                        <c:v>0</c:v>
                      </c:pt>
                      <c:pt idx="2184">
                        <c:v>0</c:v>
                      </c:pt>
                      <c:pt idx="2185">
                        <c:v>0</c:v>
                      </c:pt>
                      <c:pt idx="2186">
                        <c:v>0</c:v>
                      </c:pt>
                      <c:pt idx="2187">
                        <c:v>0</c:v>
                      </c:pt>
                      <c:pt idx="2188">
                        <c:v>0</c:v>
                      </c:pt>
                      <c:pt idx="2189">
                        <c:v>0</c:v>
                      </c:pt>
                      <c:pt idx="2190">
                        <c:v>0</c:v>
                      </c:pt>
                      <c:pt idx="2191">
                        <c:v>0</c:v>
                      </c:pt>
                      <c:pt idx="2192">
                        <c:v>0</c:v>
                      </c:pt>
                      <c:pt idx="2193">
                        <c:v>0</c:v>
                      </c:pt>
                      <c:pt idx="2194">
                        <c:v>0</c:v>
                      </c:pt>
                      <c:pt idx="2195">
                        <c:v>0</c:v>
                      </c:pt>
                      <c:pt idx="2196">
                        <c:v>0</c:v>
                      </c:pt>
                      <c:pt idx="2197">
                        <c:v>0</c:v>
                      </c:pt>
                      <c:pt idx="2198">
                        <c:v>0</c:v>
                      </c:pt>
                      <c:pt idx="2199">
                        <c:v>0</c:v>
                      </c:pt>
                      <c:pt idx="2200">
                        <c:v>0</c:v>
                      </c:pt>
                      <c:pt idx="2201">
                        <c:v>0</c:v>
                      </c:pt>
                      <c:pt idx="2202">
                        <c:v>0</c:v>
                      </c:pt>
                      <c:pt idx="2203">
                        <c:v>0</c:v>
                      </c:pt>
                      <c:pt idx="2204">
                        <c:v>0</c:v>
                      </c:pt>
                      <c:pt idx="2205">
                        <c:v>0</c:v>
                      </c:pt>
                      <c:pt idx="2206">
                        <c:v>0</c:v>
                      </c:pt>
                      <c:pt idx="2207">
                        <c:v>0</c:v>
                      </c:pt>
                      <c:pt idx="2208">
                        <c:v>0</c:v>
                      </c:pt>
                      <c:pt idx="2209">
                        <c:v>0</c:v>
                      </c:pt>
                      <c:pt idx="2210">
                        <c:v>0</c:v>
                      </c:pt>
                      <c:pt idx="2211">
                        <c:v>0</c:v>
                      </c:pt>
                      <c:pt idx="2212">
                        <c:v>0</c:v>
                      </c:pt>
                      <c:pt idx="2213">
                        <c:v>0</c:v>
                      </c:pt>
                      <c:pt idx="2214">
                        <c:v>0</c:v>
                      </c:pt>
                      <c:pt idx="2215">
                        <c:v>0</c:v>
                      </c:pt>
                      <c:pt idx="2216">
                        <c:v>0</c:v>
                      </c:pt>
                      <c:pt idx="2217">
                        <c:v>0</c:v>
                      </c:pt>
                      <c:pt idx="2218">
                        <c:v>0</c:v>
                      </c:pt>
                      <c:pt idx="2219">
                        <c:v>0</c:v>
                      </c:pt>
                      <c:pt idx="2220">
                        <c:v>0</c:v>
                      </c:pt>
                      <c:pt idx="2221">
                        <c:v>0</c:v>
                      </c:pt>
                      <c:pt idx="2222">
                        <c:v>0</c:v>
                      </c:pt>
                      <c:pt idx="2223">
                        <c:v>0</c:v>
                      </c:pt>
                      <c:pt idx="2224">
                        <c:v>0</c:v>
                      </c:pt>
                      <c:pt idx="2225">
                        <c:v>0</c:v>
                      </c:pt>
                      <c:pt idx="2226">
                        <c:v>0</c:v>
                      </c:pt>
                      <c:pt idx="2227">
                        <c:v>0</c:v>
                      </c:pt>
                      <c:pt idx="2228">
                        <c:v>0</c:v>
                      </c:pt>
                      <c:pt idx="2229">
                        <c:v>0</c:v>
                      </c:pt>
                      <c:pt idx="2230">
                        <c:v>0</c:v>
                      </c:pt>
                      <c:pt idx="2231">
                        <c:v>0</c:v>
                      </c:pt>
                      <c:pt idx="2232">
                        <c:v>0</c:v>
                      </c:pt>
                      <c:pt idx="2233">
                        <c:v>0</c:v>
                      </c:pt>
                      <c:pt idx="2234">
                        <c:v>0</c:v>
                      </c:pt>
                      <c:pt idx="2235">
                        <c:v>0</c:v>
                      </c:pt>
                      <c:pt idx="2236">
                        <c:v>0</c:v>
                      </c:pt>
                      <c:pt idx="2237">
                        <c:v>0</c:v>
                      </c:pt>
                      <c:pt idx="2238">
                        <c:v>0</c:v>
                      </c:pt>
                      <c:pt idx="2239">
                        <c:v>0</c:v>
                      </c:pt>
                      <c:pt idx="2240">
                        <c:v>0</c:v>
                      </c:pt>
                      <c:pt idx="2241">
                        <c:v>0</c:v>
                      </c:pt>
                      <c:pt idx="2242">
                        <c:v>0</c:v>
                      </c:pt>
                      <c:pt idx="2243">
                        <c:v>0</c:v>
                      </c:pt>
                      <c:pt idx="2244">
                        <c:v>0</c:v>
                      </c:pt>
                      <c:pt idx="2245">
                        <c:v>0</c:v>
                      </c:pt>
                      <c:pt idx="2246">
                        <c:v>0</c:v>
                      </c:pt>
                      <c:pt idx="2247">
                        <c:v>0</c:v>
                      </c:pt>
                      <c:pt idx="2248">
                        <c:v>0</c:v>
                      </c:pt>
                      <c:pt idx="2249">
                        <c:v>0</c:v>
                      </c:pt>
                      <c:pt idx="2250">
                        <c:v>0</c:v>
                      </c:pt>
                      <c:pt idx="2251">
                        <c:v>0</c:v>
                      </c:pt>
                      <c:pt idx="2252">
                        <c:v>0</c:v>
                      </c:pt>
                      <c:pt idx="2253">
                        <c:v>0</c:v>
                      </c:pt>
                      <c:pt idx="2254">
                        <c:v>0</c:v>
                      </c:pt>
                      <c:pt idx="2255">
                        <c:v>0</c:v>
                      </c:pt>
                      <c:pt idx="2256">
                        <c:v>0</c:v>
                      </c:pt>
                      <c:pt idx="2257">
                        <c:v>0</c:v>
                      </c:pt>
                      <c:pt idx="2258">
                        <c:v>0</c:v>
                      </c:pt>
                      <c:pt idx="2259">
                        <c:v>0</c:v>
                      </c:pt>
                      <c:pt idx="2260">
                        <c:v>0</c:v>
                      </c:pt>
                      <c:pt idx="2261">
                        <c:v>0</c:v>
                      </c:pt>
                      <c:pt idx="2262">
                        <c:v>0</c:v>
                      </c:pt>
                      <c:pt idx="2263">
                        <c:v>0</c:v>
                      </c:pt>
                      <c:pt idx="2264">
                        <c:v>0</c:v>
                      </c:pt>
                      <c:pt idx="2265">
                        <c:v>0</c:v>
                      </c:pt>
                      <c:pt idx="2266">
                        <c:v>0</c:v>
                      </c:pt>
                      <c:pt idx="2267">
                        <c:v>0</c:v>
                      </c:pt>
                      <c:pt idx="2268">
                        <c:v>0</c:v>
                      </c:pt>
                      <c:pt idx="2269">
                        <c:v>0</c:v>
                      </c:pt>
                      <c:pt idx="2270">
                        <c:v>0</c:v>
                      </c:pt>
                      <c:pt idx="2271">
                        <c:v>0</c:v>
                      </c:pt>
                      <c:pt idx="2272">
                        <c:v>0</c:v>
                      </c:pt>
                      <c:pt idx="2273">
                        <c:v>0</c:v>
                      </c:pt>
                      <c:pt idx="2274">
                        <c:v>0</c:v>
                      </c:pt>
                      <c:pt idx="2275">
                        <c:v>0</c:v>
                      </c:pt>
                      <c:pt idx="2276">
                        <c:v>0</c:v>
                      </c:pt>
                      <c:pt idx="2277">
                        <c:v>0</c:v>
                      </c:pt>
                      <c:pt idx="2278">
                        <c:v>0</c:v>
                      </c:pt>
                      <c:pt idx="2279">
                        <c:v>0</c:v>
                      </c:pt>
                      <c:pt idx="2280">
                        <c:v>0</c:v>
                      </c:pt>
                      <c:pt idx="2281">
                        <c:v>0</c:v>
                      </c:pt>
                      <c:pt idx="2282">
                        <c:v>0</c:v>
                      </c:pt>
                      <c:pt idx="2283">
                        <c:v>0</c:v>
                      </c:pt>
                      <c:pt idx="2284">
                        <c:v>0</c:v>
                      </c:pt>
                      <c:pt idx="2285">
                        <c:v>0</c:v>
                      </c:pt>
                      <c:pt idx="2286">
                        <c:v>0</c:v>
                      </c:pt>
                      <c:pt idx="2287">
                        <c:v>0</c:v>
                      </c:pt>
                      <c:pt idx="2288">
                        <c:v>0</c:v>
                      </c:pt>
                      <c:pt idx="2289">
                        <c:v>0</c:v>
                      </c:pt>
                      <c:pt idx="2290">
                        <c:v>0</c:v>
                      </c:pt>
                      <c:pt idx="2291">
                        <c:v>0</c:v>
                      </c:pt>
                      <c:pt idx="2292">
                        <c:v>0</c:v>
                      </c:pt>
                      <c:pt idx="2293">
                        <c:v>0</c:v>
                      </c:pt>
                      <c:pt idx="2294">
                        <c:v>0</c:v>
                      </c:pt>
                      <c:pt idx="2295">
                        <c:v>0</c:v>
                      </c:pt>
                      <c:pt idx="2296">
                        <c:v>0</c:v>
                      </c:pt>
                      <c:pt idx="2297">
                        <c:v>0</c:v>
                      </c:pt>
                      <c:pt idx="2298">
                        <c:v>0</c:v>
                      </c:pt>
                      <c:pt idx="2299">
                        <c:v>0</c:v>
                      </c:pt>
                      <c:pt idx="2300">
                        <c:v>0</c:v>
                      </c:pt>
                      <c:pt idx="2301">
                        <c:v>0</c:v>
                      </c:pt>
                      <c:pt idx="2302">
                        <c:v>0</c:v>
                      </c:pt>
                      <c:pt idx="2303">
                        <c:v>0</c:v>
                      </c:pt>
                      <c:pt idx="2304">
                        <c:v>0</c:v>
                      </c:pt>
                      <c:pt idx="2305">
                        <c:v>0</c:v>
                      </c:pt>
                      <c:pt idx="2306">
                        <c:v>0</c:v>
                      </c:pt>
                      <c:pt idx="2307">
                        <c:v>0</c:v>
                      </c:pt>
                      <c:pt idx="2308">
                        <c:v>0</c:v>
                      </c:pt>
                      <c:pt idx="2309">
                        <c:v>0</c:v>
                      </c:pt>
                      <c:pt idx="2310">
                        <c:v>0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0</c:v>
                      </c:pt>
                      <c:pt idx="2336">
                        <c:v>0</c:v>
                      </c:pt>
                      <c:pt idx="2337">
                        <c:v>0</c:v>
                      </c:pt>
                      <c:pt idx="2338">
                        <c:v>0</c:v>
                      </c:pt>
                      <c:pt idx="2339">
                        <c:v>0</c:v>
                      </c:pt>
                      <c:pt idx="2340">
                        <c:v>0</c:v>
                      </c:pt>
                      <c:pt idx="2341">
                        <c:v>0</c:v>
                      </c:pt>
                      <c:pt idx="2342">
                        <c:v>0</c:v>
                      </c:pt>
                      <c:pt idx="2343">
                        <c:v>0</c:v>
                      </c:pt>
                      <c:pt idx="2344">
                        <c:v>0</c:v>
                      </c:pt>
                      <c:pt idx="2345">
                        <c:v>0</c:v>
                      </c:pt>
                      <c:pt idx="2346">
                        <c:v>0</c:v>
                      </c:pt>
                      <c:pt idx="2347">
                        <c:v>0</c:v>
                      </c:pt>
                      <c:pt idx="2348">
                        <c:v>0</c:v>
                      </c:pt>
                      <c:pt idx="2349">
                        <c:v>0</c:v>
                      </c:pt>
                      <c:pt idx="2350">
                        <c:v>0</c:v>
                      </c:pt>
                      <c:pt idx="2351">
                        <c:v>0</c:v>
                      </c:pt>
                      <c:pt idx="2352">
                        <c:v>0</c:v>
                      </c:pt>
                      <c:pt idx="2353">
                        <c:v>0</c:v>
                      </c:pt>
                      <c:pt idx="2354">
                        <c:v>0</c:v>
                      </c:pt>
                      <c:pt idx="2355">
                        <c:v>0</c:v>
                      </c:pt>
                      <c:pt idx="2356">
                        <c:v>0</c:v>
                      </c:pt>
                      <c:pt idx="2357">
                        <c:v>0</c:v>
                      </c:pt>
                      <c:pt idx="2358">
                        <c:v>0</c:v>
                      </c:pt>
                      <c:pt idx="2359">
                        <c:v>0</c:v>
                      </c:pt>
                      <c:pt idx="2360">
                        <c:v>0</c:v>
                      </c:pt>
                      <c:pt idx="2361">
                        <c:v>0</c:v>
                      </c:pt>
                      <c:pt idx="2362">
                        <c:v>0</c:v>
                      </c:pt>
                      <c:pt idx="2363">
                        <c:v>0</c:v>
                      </c:pt>
                      <c:pt idx="2364">
                        <c:v>0</c:v>
                      </c:pt>
                      <c:pt idx="2365">
                        <c:v>0</c:v>
                      </c:pt>
                      <c:pt idx="2366">
                        <c:v>0</c:v>
                      </c:pt>
                      <c:pt idx="2367">
                        <c:v>0</c:v>
                      </c:pt>
                      <c:pt idx="2368">
                        <c:v>0</c:v>
                      </c:pt>
                      <c:pt idx="2369">
                        <c:v>0</c:v>
                      </c:pt>
                      <c:pt idx="2370">
                        <c:v>0</c:v>
                      </c:pt>
                      <c:pt idx="2371">
                        <c:v>0</c:v>
                      </c:pt>
                      <c:pt idx="2372">
                        <c:v>0</c:v>
                      </c:pt>
                      <c:pt idx="2373">
                        <c:v>0</c:v>
                      </c:pt>
                      <c:pt idx="2374">
                        <c:v>0</c:v>
                      </c:pt>
                      <c:pt idx="2375">
                        <c:v>0</c:v>
                      </c:pt>
                      <c:pt idx="2376">
                        <c:v>0</c:v>
                      </c:pt>
                      <c:pt idx="2377">
                        <c:v>0</c:v>
                      </c:pt>
                      <c:pt idx="2378">
                        <c:v>0</c:v>
                      </c:pt>
                      <c:pt idx="2379">
                        <c:v>0</c:v>
                      </c:pt>
                      <c:pt idx="2380">
                        <c:v>0</c:v>
                      </c:pt>
                      <c:pt idx="2381">
                        <c:v>0</c:v>
                      </c:pt>
                      <c:pt idx="2382">
                        <c:v>0</c:v>
                      </c:pt>
                      <c:pt idx="2383">
                        <c:v>0</c:v>
                      </c:pt>
                      <c:pt idx="2384">
                        <c:v>0</c:v>
                      </c:pt>
                      <c:pt idx="2385">
                        <c:v>0</c:v>
                      </c:pt>
                      <c:pt idx="2386">
                        <c:v>0</c:v>
                      </c:pt>
                      <c:pt idx="2387">
                        <c:v>0</c:v>
                      </c:pt>
                      <c:pt idx="2388">
                        <c:v>0</c:v>
                      </c:pt>
                      <c:pt idx="2389">
                        <c:v>0</c:v>
                      </c:pt>
                      <c:pt idx="2390">
                        <c:v>0</c:v>
                      </c:pt>
                      <c:pt idx="2391">
                        <c:v>0</c:v>
                      </c:pt>
                      <c:pt idx="2392">
                        <c:v>0</c:v>
                      </c:pt>
                      <c:pt idx="2393">
                        <c:v>0</c:v>
                      </c:pt>
                      <c:pt idx="2394">
                        <c:v>0</c:v>
                      </c:pt>
                      <c:pt idx="2395">
                        <c:v>0</c:v>
                      </c:pt>
                      <c:pt idx="2396">
                        <c:v>0</c:v>
                      </c:pt>
                      <c:pt idx="2397">
                        <c:v>0</c:v>
                      </c:pt>
                      <c:pt idx="2398">
                        <c:v>0</c:v>
                      </c:pt>
                      <c:pt idx="2399">
                        <c:v>0</c:v>
                      </c:pt>
                      <c:pt idx="2400">
                        <c:v>0</c:v>
                      </c:pt>
                      <c:pt idx="2401">
                        <c:v>0</c:v>
                      </c:pt>
                      <c:pt idx="2402">
                        <c:v>0</c:v>
                      </c:pt>
                      <c:pt idx="2403">
                        <c:v>0</c:v>
                      </c:pt>
                      <c:pt idx="2404">
                        <c:v>0</c:v>
                      </c:pt>
                      <c:pt idx="2405">
                        <c:v>0</c:v>
                      </c:pt>
                      <c:pt idx="2406">
                        <c:v>0</c:v>
                      </c:pt>
                      <c:pt idx="2407">
                        <c:v>0</c:v>
                      </c:pt>
                      <c:pt idx="2408">
                        <c:v>0</c:v>
                      </c:pt>
                      <c:pt idx="2409">
                        <c:v>0</c:v>
                      </c:pt>
                      <c:pt idx="2410">
                        <c:v>0</c:v>
                      </c:pt>
                      <c:pt idx="2411">
                        <c:v>0</c:v>
                      </c:pt>
                      <c:pt idx="2412">
                        <c:v>0</c:v>
                      </c:pt>
                      <c:pt idx="2413">
                        <c:v>0</c:v>
                      </c:pt>
                      <c:pt idx="2414">
                        <c:v>0</c:v>
                      </c:pt>
                      <c:pt idx="2415">
                        <c:v>0</c:v>
                      </c:pt>
                      <c:pt idx="2416">
                        <c:v>0</c:v>
                      </c:pt>
                      <c:pt idx="2417">
                        <c:v>0</c:v>
                      </c:pt>
                      <c:pt idx="2418">
                        <c:v>0</c:v>
                      </c:pt>
                      <c:pt idx="2419">
                        <c:v>0</c:v>
                      </c:pt>
                      <c:pt idx="2420">
                        <c:v>0</c:v>
                      </c:pt>
                      <c:pt idx="2421">
                        <c:v>0</c:v>
                      </c:pt>
                      <c:pt idx="2422">
                        <c:v>0</c:v>
                      </c:pt>
                      <c:pt idx="2423">
                        <c:v>0</c:v>
                      </c:pt>
                      <c:pt idx="2424">
                        <c:v>0</c:v>
                      </c:pt>
                      <c:pt idx="2425">
                        <c:v>0</c:v>
                      </c:pt>
                      <c:pt idx="2426">
                        <c:v>0</c:v>
                      </c:pt>
                      <c:pt idx="2427">
                        <c:v>0</c:v>
                      </c:pt>
                      <c:pt idx="2428">
                        <c:v>0</c:v>
                      </c:pt>
                      <c:pt idx="2429">
                        <c:v>0</c:v>
                      </c:pt>
                      <c:pt idx="2430">
                        <c:v>0</c:v>
                      </c:pt>
                      <c:pt idx="2431">
                        <c:v>0</c:v>
                      </c:pt>
                      <c:pt idx="2432">
                        <c:v>0</c:v>
                      </c:pt>
                      <c:pt idx="2433">
                        <c:v>0</c:v>
                      </c:pt>
                      <c:pt idx="2434">
                        <c:v>0</c:v>
                      </c:pt>
                      <c:pt idx="2435">
                        <c:v>0</c:v>
                      </c:pt>
                      <c:pt idx="2436">
                        <c:v>0</c:v>
                      </c:pt>
                      <c:pt idx="2437">
                        <c:v>0</c:v>
                      </c:pt>
                      <c:pt idx="2438">
                        <c:v>0</c:v>
                      </c:pt>
                      <c:pt idx="2439">
                        <c:v>0</c:v>
                      </c:pt>
                      <c:pt idx="2440">
                        <c:v>0</c:v>
                      </c:pt>
                      <c:pt idx="2441">
                        <c:v>0</c:v>
                      </c:pt>
                      <c:pt idx="2442">
                        <c:v>0</c:v>
                      </c:pt>
                      <c:pt idx="2443">
                        <c:v>0</c:v>
                      </c:pt>
                      <c:pt idx="2444">
                        <c:v>0</c:v>
                      </c:pt>
                      <c:pt idx="2445">
                        <c:v>0</c:v>
                      </c:pt>
                      <c:pt idx="2446">
                        <c:v>0</c:v>
                      </c:pt>
                      <c:pt idx="2447">
                        <c:v>0</c:v>
                      </c:pt>
                      <c:pt idx="2448">
                        <c:v>0</c:v>
                      </c:pt>
                      <c:pt idx="2449">
                        <c:v>0</c:v>
                      </c:pt>
                      <c:pt idx="2450">
                        <c:v>0</c:v>
                      </c:pt>
                      <c:pt idx="2451">
                        <c:v>0</c:v>
                      </c:pt>
                      <c:pt idx="2452">
                        <c:v>0</c:v>
                      </c:pt>
                      <c:pt idx="2453">
                        <c:v>0</c:v>
                      </c:pt>
                      <c:pt idx="2454">
                        <c:v>0</c:v>
                      </c:pt>
                      <c:pt idx="2455">
                        <c:v>0</c:v>
                      </c:pt>
                      <c:pt idx="2456">
                        <c:v>0</c:v>
                      </c:pt>
                      <c:pt idx="2457">
                        <c:v>0</c:v>
                      </c:pt>
                      <c:pt idx="2458">
                        <c:v>0</c:v>
                      </c:pt>
                      <c:pt idx="2459">
                        <c:v>0</c:v>
                      </c:pt>
                      <c:pt idx="2460">
                        <c:v>0</c:v>
                      </c:pt>
                      <c:pt idx="2461">
                        <c:v>0</c:v>
                      </c:pt>
                      <c:pt idx="2462">
                        <c:v>0</c:v>
                      </c:pt>
                      <c:pt idx="2463">
                        <c:v>0</c:v>
                      </c:pt>
                      <c:pt idx="2464">
                        <c:v>0</c:v>
                      </c:pt>
                      <c:pt idx="2465">
                        <c:v>0</c:v>
                      </c:pt>
                      <c:pt idx="2466">
                        <c:v>0</c:v>
                      </c:pt>
                      <c:pt idx="2467">
                        <c:v>0</c:v>
                      </c:pt>
                      <c:pt idx="2468">
                        <c:v>0</c:v>
                      </c:pt>
                      <c:pt idx="2469">
                        <c:v>0</c:v>
                      </c:pt>
                      <c:pt idx="2470">
                        <c:v>0</c:v>
                      </c:pt>
                      <c:pt idx="2471">
                        <c:v>0</c:v>
                      </c:pt>
                      <c:pt idx="2472">
                        <c:v>0</c:v>
                      </c:pt>
                      <c:pt idx="2473">
                        <c:v>0</c:v>
                      </c:pt>
                      <c:pt idx="2474">
                        <c:v>0</c:v>
                      </c:pt>
                      <c:pt idx="2475">
                        <c:v>0</c:v>
                      </c:pt>
                      <c:pt idx="2476">
                        <c:v>0</c:v>
                      </c:pt>
                      <c:pt idx="2477">
                        <c:v>0</c:v>
                      </c:pt>
                      <c:pt idx="2478">
                        <c:v>0</c:v>
                      </c:pt>
                      <c:pt idx="2479">
                        <c:v>0</c:v>
                      </c:pt>
                      <c:pt idx="2480">
                        <c:v>0</c:v>
                      </c:pt>
                      <c:pt idx="2481">
                        <c:v>0</c:v>
                      </c:pt>
                      <c:pt idx="2482">
                        <c:v>0</c:v>
                      </c:pt>
                      <c:pt idx="2483">
                        <c:v>0</c:v>
                      </c:pt>
                      <c:pt idx="2484">
                        <c:v>0</c:v>
                      </c:pt>
                      <c:pt idx="2485">
                        <c:v>0</c:v>
                      </c:pt>
                      <c:pt idx="2486">
                        <c:v>0</c:v>
                      </c:pt>
                      <c:pt idx="2487">
                        <c:v>0</c:v>
                      </c:pt>
                      <c:pt idx="2488">
                        <c:v>0</c:v>
                      </c:pt>
                      <c:pt idx="2489">
                        <c:v>0</c:v>
                      </c:pt>
                      <c:pt idx="2490">
                        <c:v>0</c:v>
                      </c:pt>
                      <c:pt idx="2491">
                        <c:v>0</c:v>
                      </c:pt>
                      <c:pt idx="2492">
                        <c:v>0</c:v>
                      </c:pt>
                      <c:pt idx="2493">
                        <c:v>0</c:v>
                      </c:pt>
                      <c:pt idx="2494">
                        <c:v>0</c:v>
                      </c:pt>
                      <c:pt idx="2495">
                        <c:v>0</c:v>
                      </c:pt>
                      <c:pt idx="2496">
                        <c:v>0</c:v>
                      </c:pt>
                      <c:pt idx="2497">
                        <c:v>0</c:v>
                      </c:pt>
                      <c:pt idx="2498">
                        <c:v>0</c:v>
                      </c:pt>
                      <c:pt idx="2499">
                        <c:v>0</c:v>
                      </c:pt>
                      <c:pt idx="2500">
                        <c:v>0</c:v>
                      </c:pt>
                      <c:pt idx="2501">
                        <c:v>0</c:v>
                      </c:pt>
                      <c:pt idx="2502">
                        <c:v>0</c:v>
                      </c:pt>
                      <c:pt idx="2503">
                        <c:v>0</c:v>
                      </c:pt>
                      <c:pt idx="2504">
                        <c:v>0</c:v>
                      </c:pt>
                      <c:pt idx="2505">
                        <c:v>0</c:v>
                      </c:pt>
                      <c:pt idx="2506">
                        <c:v>0</c:v>
                      </c:pt>
                      <c:pt idx="2507">
                        <c:v>0</c:v>
                      </c:pt>
                      <c:pt idx="2508">
                        <c:v>0</c:v>
                      </c:pt>
                      <c:pt idx="2509">
                        <c:v>0</c:v>
                      </c:pt>
                      <c:pt idx="2510">
                        <c:v>0</c:v>
                      </c:pt>
                      <c:pt idx="2511">
                        <c:v>0</c:v>
                      </c:pt>
                      <c:pt idx="2512">
                        <c:v>0</c:v>
                      </c:pt>
                      <c:pt idx="2513">
                        <c:v>0</c:v>
                      </c:pt>
                      <c:pt idx="2514">
                        <c:v>0</c:v>
                      </c:pt>
                      <c:pt idx="2515">
                        <c:v>0</c:v>
                      </c:pt>
                      <c:pt idx="2516">
                        <c:v>0</c:v>
                      </c:pt>
                      <c:pt idx="2517">
                        <c:v>0</c:v>
                      </c:pt>
                      <c:pt idx="2518">
                        <c:v>0</c:v>
                      </c:pt>
                      <c:pt idx="2519">
                        <c:v>0</c:v>
                      </c:pt>
                      <c:pt idx="2520">
                        <c:v>0</c:v>
                      </c:pt>
                      <c:pt idx="2521">
                        <c:v>0</c:v>
                      </c:pt>
                      <c:pt idx="2522">
                        <c:v>0</c:v>
                      </c:pt>
                      <c:pt idx="2523">
                        <c:v>0</c:v>
                      </c:pt>
                      <c:pt idx="2524">
                        <c:v>0</c:v>
                      </c:pt>
                      <c:pt idx="2525">
                        <c:v>0</c:v>
                      </c:pt>
                      <c:pt idx="2526">
                        <c:v>0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0</c:v>
                      </c:pt>
                      <c:pt idx="2535">
                        <c:v>0</c:v>
                      </c:pt>
                      <c:pt idx="2536">
                        <c:v>0</c:v>
                      </c:pt>
                      <c:pt idx="2537">
                        <c:v>0</c:v>
                      </c:pt>
                      <c:pt idx="2538">
                        <c:v>0</c:v>
                      </c:pt>
                      <c:pt idx="2539">
                        <c:v>0</c:v>
                      </c:pt>
                      <c:pt idx="2540">
                        <c:v>0</c:v>
                      </c:pt>
                      <c:pt idx="2541">
                        <c:v>0</c:v>
                      </c:pt>
                      <c:pt idx="2542">
                        <c:v>0</c:v>
                      </c:pt>
                      <c:pt idx="2543">
                        <c:v>0</c:v>
                      </c:pt>
                      <c:pt idx="2544">
                        <c:v>0</c:v>
                      </c:pt>
                      <c:pt idx="2545">
                        <c:v>0</c:v>
                      </c:pt>
                      <c:pt idx="2546">
                        <c:v>0</c:v>
                      </c:pt>
                      <c:pt idx="2547">
                        <c:v>0</c:v>
                      </c:pt>
                      <c:pt idx="2548">
                        <c:v>0</c:v>
                      </c:pt>
                      <c:pt idx="2549">
                        <c:v>0</c:v>
                      </c:pt>
                      <c:pt idx="2550">
                        <c:v>0</c:v>
                      </c:pt>
                      <c:pt idx="2551">
                        <c:v>0</c:v>
                      </c:pt>
                      <c:pt idx="2552">
                        <c:v>0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0</c:v>
                      </c:pt>
                      <c:pt idx="2559">
                        <c:v>0</c:v>
                      </c:pt>
                      <c:pt idx="2560">
                        <c:v>0</c:v>
                      </c:pt>
                      <c:pt idx="2561">
                        <c:v>0</c:v>
                      </c:pt>
                      <c:pt idx="2562">
                        <c:v>0</c:v>
                      </c:pt>
                      <c:pt idx="2563">
                        <c:v>0</c:v>
                      </c:pt>
                      <c:pt idx="2564">
                        <c:v>0</c:v>
                      </c:pt>
                      <c:pt idx="2565">
                        <c:v>0</c:v>
                      </c:pt>
                      <c:pt idx="2566">
                        <c:v>0</c:v>
                      </c:pt>
                      <c:pt idx="2567">
                        <c:v>0</c:v>
                      </c:pt>
                      <c:pt idx="2568">
                        <c:v>0</c:v>
                      </c:pt>
                      <c:pt idx="2569">
                        <c:v>0</c:v>
                      </c:pt>
                      <c:pt idx="2570">
                        <c:v>0</c:v>
                      </c:pt>
                      <c:pt idx="2571">
                        <c:v>0</c:v>
                      </c:pt>
                      <c:pt idx="2572">
                        <c:v>0</c:v>
                      </c:pt>
                      <c:pt idx="2573">
                        <c:v>0</c:v>
                      </c:pt>
                      <c:pt idx="2574">
                        <c:v>0</c:v>
                      </c:pt>
                      <c:pt idx="2575">
                        <c:v>0</c:v>
                      </c:pt>
                      <c:pt idx="2576">
                        <c:v>0</c:v>
                      </c:pt>
                      <c:pt idx="2577">
                        <c:v>0</c:v>
                      </c:pt>
                      <c:pt idx="2578">
                        <c:v>0</c:v>
                      </c:pt>
                      <c:pt idx="2579">
                        <c:v>0</c:v>
                      </c:pt>
                      <c:pt idx="2580">
                        <c:v>0</c:v>
                      </c:pt>
                      <c:pt idx="2581">
                        <c:v>0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0</c:v>
                      </c:pt>
                      <c:pt idx="2591">
                        <c:v>0</c:v>
                      </c:pt>
                      <c:pt idx="2592">
                        <c:v>0</c:v>
                      </c:pt>
                      <c:pt idx="2593">
                        <c:v>0</c:v>
                      </c:pt>
                      <c:pt idx="2594">
                        <c:v>0</c:v>
                      </c:pt>
                      <c:pt idx="2595">
                        <c:v>0</c:v>
                      </c:pt>
                      <c:pt idx="2596">
                        <c:v>0</c:v>
                      </c:pt>
                      <c:pt idx="2597">
                        <c:v>0</c:v>
                      </c:pt>
                      <c:pt idx="2598">
                        <c:v>0</c:v>
                      </c:pt>
                      <c:pt idx="2599">
                        <c:v>0</c:v>
                      </c:pt>
                      <c:pt idx="2600">
                        <c:v>0</c:v>
                      </c:pt>
                      <c:pt idx="2601">
                        <c:v>0</c:v>
                      </c:pt>
                      <c:pt idx="2602">
                        <c:v>0</c:v>
                      </c:pt>
                      <c:pt idx="2603">
                        <c:v>0</c:v>
                      </c:pt>
                      <c:pt idx="2604">
                        <c:v>0</c:v>
                      </c:pt>
                      <c:pt idx="2605">
                        <c:v>0</c:v>
                      </c:pt>
                      <c:pt idx="2606">
                        <c:v>0</c:v>
                      </c:pt>
                      <c:pt idx="2607">
                        <c:v>0</c:v>
                      </c:pt>
                      <c:pt idx="2608">
                        <c:v>0</c:v>
                      </c:pt>
                      <c:pt idx="2609">
                        <c:v>0</c:v>
                      </c:pt>
                      <c:pt idx="2610">
                        <c:v>0</c:v>
                      </c:pt>
                      <c:pt idx="2611">
                        <c:v>0</c:v>
                      </c:pt>
                      <c:pt idx="2612">
                        <c:v>0</c:v>
                      </c:pt>
                      <c:pt idx="2613">
                        <c:v>0</c:v>
                      </c:pt>
                      <c:pt idx="2614">
                        <c:v>0</c:v>
                      </c:pt>
                      <c:pt idx="2615">
                        <c:v>0</c:v>
                      </c:pt>
                      <c:pt idx="2616">
                        <c:v>0</c:v>
                      </c:pt>
                      <c:pt idx="2617">
                        <c:v>0</c:v>
                      </c:pt>
                      <c:pt idx="2618">
                        <c:v>0</c:v>
                      </c:pt>
                      <c:pt idx="2619">
                        <c:v>0</c:v>
                      </c:pt>
                      <c:pt idx="2620">
                        <c:v>0</c:v>
                      </c:pt>
                      <c:pt idx="2621">
                        <c:v>0</c:v>
                      </c:pt>
                      <c:pt idx="2622">
                        <c:v>0</c:v>
                      </c:pt>
                      <c:pt idx="2623">
                        <c:v>0</c:v>
                      </c:pt>
                      <c:pt idx="2624">
                        <c:v>0</c:v>
                      </c:pt>
                      <c:pt idx="2625">
                        <c:v>0</c:v>
                      </c:pt>
                      <c:pt idx="2626">
                        <c:v>0</c:v>
                      </c:pt>
                      <c:pt idx="2627">
                        <c:v>0</c:v>
                      </c:pt>
                      <c:pt idx="2628">
                        <c:v>0</c:v>
                      </c:pt>
                      <c:pt idx="2629">
                        <c:v>0</c:v>
                      </c:pt>
                      <c:pt idx="2630">
                        <c:v>0</c:v>
                      </c:pt>
                      <c:pt idx="2631">
                        <c:v>0</c:v>
                      </c:pt>
                      <c:pt idx="2632">
                        <c:v>0</c:v>
                      </c:pt>
                      <c:pt idx="2633">
                        <c:v>0</c:v>
                      </c:pt>
                      <c:pt idx="2634">
                        <c:v>0</c:v>
                      </c:pt>
                      <c:pt idx="2635">
                        <c:v>0</c:v>
                      </c:pt>
                      <c:pt idx="2636">
                        <c:v>0</c:v>
                      </c:pt>
                      <c:pt idx="2637">
                        <c:v>0</c:v>
                      </c:pt>
                      <c:pt idx="2638">
                        <c:v>0</c:v>
                      </c:pt>
                      <c:pt idx="2639">
                        <c:v>0</c:v>
                      </c:pt>
                      <c:pt idx="2640">
                        <c:v>0</c:v>
                      </c:pt>
                      <c:pt idx="2641">
                        <c:v>0</c:v>
                      </c:pt>
                      <c:pt idx="2642">
                        <c:v>0</c:v>
                      </c:pt>
                      <c:pt idx="2643">
                        <c:v>0</c:v>
                      </c:pt>
                      <c:pt idx="2644">
                        <c:v>0</c:v>
                      </c:pt>
                      <c:pt idx="2645">
                        <c:v>0</c:v>
                      </c:pt>
                      <c:pt idx="2646">
                        <c:v>0</c:v>
                      </c:pt>
                      <c:pt idx="2647">
                        <c:v>0</c:v>
                      </c:pt>
                      <c:pt idx="2648">
                        <c:v>0</c:v>
                      </c:pt>
                      <c:pt idx="2649">
                        <c:v>0</c:v>
                      </c:pt>
                      <c:pt idx="2650">
                        <c:v>0</c:v>
                      </c:pt>
                      <c:pt idx="2651">
                        <c:v>0</c:v>
                      </c:pt>
                      <c:pt idx="2652">
                        <c:v>0</c:v>
                      </c:pt>
                      <c:pt idx="2653">
                        <c:v>0</c:v>
                      </c:pt>
                      <c:pt idx="2654">
                        <c:v>0</c:v>
                      </c:pt>
                      <c:pt idx="2655">
                        <c:v>0</c:v>
                      </c:pt>
                      <c:pt idx="2656">
                        <c:v>0</c:v>
                      </c:pt>
                      <c:pt idx="2657">
                        <c:v>0</c:v>
                      </c:pt>
                      <c:pt idx="2658">
                        <c:v>0</c:v>
                      </c:pt>
                      <c:pt idx="2659">
                        <c:v>0</c:v>
                      </c:pt>
                      <c:pt idx="2660">
                        <c:v>0</c:v>
                      </c:pt>
                      <c:pt idx="2661">
                        <c:v>0</c:v>
                      </c:pt>
                      <c:pt idx="2662">
                        <c:v>0</c:v>
                      </c:pt>
                      <c:pt idx="2663">
                        <c:v>0</c:v>
                      </c:pt>
                      <c:pt idx="2664">
                        <c:v>0</c:v>
                      </c:pt>
                      <c:pt idx="2665">
                        <c:v>0</c:v>
                      </c:pt>
                      <c:pt idx="2666">
                        <c:v>0</c:v>
                      </c:pt>
                      <c:pt idx="2667">
                        <c:v>0</c:v>
                      </c:pt>
                      <c:pt idx="2668">
                        <c:v>0</c:v>
                      </c:pt>
                      <c:pt idx="2669">
                        <c:v>0</c:v>
                      </c:pt>
                      <c:pt idx="2670">
                        <c:v>0</c:v>
                      </c:pt>
                      <c:pt idx="2671">
                        <c:v>0</c:v>
                      </c:pt>
                      <c:pt idx="2672">
                        <c:v>0</c:v>
                      </c:pt>
                      <c:pt idx="2673">
                        <c:v>0</c:v>
                      </c:pt>
                      <c:pt idx="2674">
                        <c:v>0</c:v>
                      </c:pt>
                      <c:pt idx="2675">
                        <c:v>0</c:v>
                      </c:pt>
                      <c:pt idx="2676">
                        <c:v>0</c:v>
                      </c:pt>
                      <c:pt idx="2677">
                        <c:v>0</c:v>
                      </c:pt>
                      <c:pt idx="2678">
                        <c:v>0</c:v>
                      </c:pt>
                      <c:pt idx="2679">
                        <c:v>0</c:v>
                      </c:pt>
                      <c:pt idx="2680">
                        <c:v>0</c:v>
                      </c:pt>
                      <c:pt idx="2681">
                        <c:v>0</c:v>
                      </c:pt>
                      <c:pt idx="2682">
                        <c:v>0</c:v>
                      </c:pt>
                      <c:pt idx="2683">
                        <c:v>0</c:v>
                      </c:pt>
                      <c:pt idx="2684">
                        <c:v>0</c:v>
                      </c:pt>
                      <c:pt idx="2685">
                        <c:v>0</c:v>
                      </c:pt>
                      <c:pt idx="2686">
                        <c:v>0</c:v>
                      </c:pt>
                      <c:pt idx="2687">
                        <c:v>0</c:v>
                      </c:pt>
                      <c:pt idx="2688">
                        <c:v>0</c:v>
                      </c:pt>
                      <c:pt idx="2689">
                        <c:v>0</c:v>
                      </c:pt>
                      <c:pt idx="2690">
                        <c:v>0</c:v>
                      </c:pt>
                      <c:pt idx="2691">
                        <c:v>0</c:v>
                      </c:pt>
                      <c:pt idx="2692">
                        <c:v>0</c:v>
                      </c:pt>
                      <c:pt idx="2693">
                        <c:v>0</c:v>
                      </c:pt>
                      <c:pt idx="2694">
                        <c:v>0</c:v>
                      </c:pt>
                      <c:pt idx="2695">
                        <c:v>0</c:v>
                      </c:pt>
                      <c:pt idx="2696">
                        <c:v>0</c:v>
                      </c:pt>
                      <c:pt idx="2697">
                        <c:v>0</c:v>
                      </c:pt>
                      <c:pt idx="2698">
                        <c:v>0</c:v>
                      </c:pt>
                      <c:pt idx="2699">
                        <c:v>0</c:v>
                      </c:pt>
                      <c:pt idx="2700">
                        <c:v>0</c:v>
                      </c:pt>
                      <c:pt idx="2701">
                        <c:v>0</c:v>
                      </c:pt>
                      <c:pt idx="2702">
                        <c:v>0</c:v>
                      </c:pt>
                      <c:pt idx="2703">
                        <c:v>0</c:v>
                      </c:pt>
                      <c:pt idx="2704">
                        <c:v>0</c:v>
                      </c:pt>
                      <c:pt idx="2705">
                        <c:v>0</c:v>
                      </c:pt>
                      <c:pt idx="2706">
                        <c:v>0</c:v>
                      </c:pt>
                      <c:pt idx="2707">
                        <c:v>0</c:v>
                      </c:pt>
                      <c:pt idx="2708">
                        <c:v>0</c:v>
                      </c:pt>
                      <c:pt idx="2709">
                        <c:v>0</c:v>
                      </c:pt>
                      <c:pt idx="2710">
                        <c:v>0</c:v>
                      </c:pt>
                      <c:pt idx="2711">
                        <c:v>0</c:v>
                      </c:pt>
                      <c:pt idx="2712">
                        <c:v>0</c:v>
                      </c:pt>
                      <c:pt idx="2713">
                        <c:v>0</c:v>
                      </c:pt>
                      <c:pt idx="2714">
                        <c:v>0</c:v>
                      </c:pt>
                      <c:pt idx="2715">
                        <c:v>0</c:v>
                      </c:pt>
                      <c:pt idx="2716">
                        <c:v>0</c:v>
                      </c:pt>
                      <c:pt idx="2717">
                        <c:v>0</c:v>
                      </c:pt>
                      <c:pt idx="2718">
                        <c:v>0</c:v>
                      </c:pt>
                      <c:pt idx="2719">
                        <c:v>0</c:v>
                      </c:pt>
                      <c:pt idx="2720">
                        <c:v>0</c:v>
                      </c:pt>
                      <c:pt idx="2721">
                        <c:v>0</c:v>
                      </c:pt>
                      <c:pt idx="2722">
                        <c:v>0</c:v>
                      </c:pt>
                      <c:pt idx="2723">
                        <c:v>0</c:v>
                      </c:pt>
                      <c:pt idx="2724">
                        <c:v>0</c:v>
                      </c:pt>
                      <c:pt idx="2725">
                        <c:v>0</c:v>
                      </c:pt>
                      <c:pt idx="2726">
                        <c:v>0</c:v>
                      </c:pt>
                      <c:pt idx="2727">
                        <c:v>0</c:v>
                      </c:pt>
                      <c:pt idx="2728">
                        <c:v>0</c:v>
                      </c:pt>
                      <c:pt idx="2729">
                        <c:v>0</c:v>
                      </c:pt>
                      <c:pt idx="2730">
                        <c:v>0</c:v>
                      </c:pt>
                      <c:pt idx="2731">
                        <c:v>0</c:v>
                      </c:pt>
                      <c:pt idx="2732">
                        <c:v>0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</c:v>
                      </c:pt>
                      <c:pt idx="2743">
                        <c:v>0</c:v>
                      </c:pt>
                      <c:pt idx="2744">
                        <c:v>0</c:v>
                      </c:pt>
                      <c:pt idx="2745">
                        <c:v>0</c:v>
                      </c:pt>
                      <c:pt idx="2746">
                        <c:v>0</c:v>
                      </c:pt>
                      <c:pt idx="2747">
                        <c:v>0</c:v>
                      </c:pt>
                      <c:pt idx="2748">
                        <c:v>0</c:v>
                      </c:pt>
                      <c:pt idx="2749">
                        <c:v>0</c:v>
                      </c:pt>
                      <c:pt idx="2750">
                        <c:v>0</c:v>
                      </c:pt>
                      <c:pt idx="2751">
                        <c:v>0</c:v>
                      </c:pt>
                      <c:pt idx="2752">
                        <c:v>0</c:v>
                      </c:pt>
                      <c:pt idx="2753">
                        <c:v>0</c:v>
                      </c:pt>
                      <c:pt idx="2754">
                        <c:v>0</c:v>
                      </c:pt>
                      <c:pt idx="2755">
                        <c:v>0</c:v>
                      </c:pt>
                      <c:pt idx="2756">
                        <c:v>0</c:v>
                      </c:pt>
                      <c:pt idx="2757">
                        <c:v>0</c:v>
                      </c:pt>
                      <c:pt idx="2758">
                        <c:v>0</c:v>
                      </c:pt>
                      <c:pt idx="2759">
                        <c:v>0</c:v>
                      </c:pt>
                      <c:pt idx="2760">
                        <c:v>0</c:v>
                      </c:pt>
                      <c:pt idx="2761">
                        <c:v>0</c:v>
                      </c:pt>
                      <c:pt idx="2762">
                        <c:v>0</c:v>
                      </c:pt>
                      <c:pt idx="2763">
                        <c:v>0</c:v>
                      </c:pt>
                      <c:pt idx="2764">
                        <c:v>0</c:v>
                      </c:pt>
                      <c:pt idx="2765">
                        <c:v>0</c:v>
                      </c:pt>
                      <c:pt idx="2766">
                        <c:v>0</c:v>
                      </c:pt>
                      <c:pt idx="2767">
                        <c:v>0</c:v>
                      </c:pt>
                      <c:pt idx="2768">
                        <c:v>0</c:v>
                      </c:pt>
                      <c:pt idx="2769">
                        <c:v>0</c:v>
                      </c:pt>
                      <c:pt idx="2770">
                        <c:v>0</c:v>
                      </c:pt>
                      <c:pt idx="2771">
                        <c:v>0</c:v>
                      </c:pt>
                      <c:pt idx="2772">
                        <c:v>0</c:v>
                      </c:pt>
                      <c:pt idx="2773">
                        <c:v>0</c:v>
                      </c:pt>
                      <c:pt idx="2774">
                        <c:v>0</c:v>
                      </c:pt>
                      <c:pt idx="2775">
                        <c:v>0</c:v>
                      </c:pt>
                      <c:pt idx="2776">
                        <c:v>0</c:v>
                      </c:pt>
                      <c:pt idx="2777">
                        <c:v>0</c:v>
                      </c:pt>
                      <c:pt idx="2778">
                        <c:v>0</c:v>
                      </c:pt>
                      <c:pt idx="2779">
                        <c:v>0</c:v>
                      </c:pt>
                      <c:pt idx="2780">
                        <c:v>0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0</c:v>
                      </c:pt>
                      <c:pt idx="2791">
                        <c:v>0</c:v>
                      </c:pt>
                      <c:pt idx="2792">
                        <c:v>0</c:v>
                      </c:pt>
                      <c:pt idx="2793">
                        <c:v>0</c:v>
                      </c:pt>
                      <c:pt idx="2794">
                        <c:v>0</c:v>
                      </c:pt>
                      <c:pt idx="2795">
                        <c:v>0</c:v>
                      </c:pt>
                      <c:pt idx="2796">
                        <c:v>0</c:v>
                      </c:pt>
                      <c:pt idx="2797">
                        <c:v>0</c:v>
                      </c:pt>
                      <c:pt idx="2798">
                        <c:v>0</c:v>
                      </c:pt>
                      <c:pt idx="2799">
                        <c:v>0</c:v>
                      </c:pt>
                      <c:pt idx="2800">
                        <c:v>0</c:v>
                      </c:pt>
                      <c:pt idx="2801">
                        <c:v>0</c:v>
                      </c:pt>
                      <c:pt idx="2802">
                        <c:v>0</c:v>
                      </c:pt>
                      <c:pt idx="2803">
                        <c:v>0</c:v>
                      </c:pt>
                      <c:pt idx="2804">
                        <c:v>0</c:v>
                      </c:pt>
                      <c:pt idx="2805">
                        <c:v>0</c:v>
                      </c:pt>
                      <c:pt idx="2806">
                        <c:v>0</c:v>
                      </c:pt>
                      <c:pt idx="2807">
                        <c:v>0</c:v>
                      </c:pt>
                      <c:pt idx="2808">
                        <c:v>0</c:v>
                      </c:pt>
                      <c:pt idx="2809">
                        <c:v>0</c:v>
                      </c:pt>
                      <c:pt idx="2810">
                        <c:v>0</c:v>
                      </c:pt>
                      <c:pt idx="2811">
                        <c:v>0</c:v>
                      </c:pt>
                      <c:pt idx="2812">
                        <c:v>0</c:v>
                      </c:pt>
                      <c:pt idx="2813">
                        <c:v>0</c:v>
                      </c:pt>
                      <c:pt idx="2814">
                        <c:v>0</c:v>
                      </c:pt>
                      <c:pt idx="2815">
                        <c:v>0</c:v>
                      </c:pt>
                      <c:pt idx="2816">
                        <c:v>0</c:v>
                      </c:pt>
                      <c:pt idx="2817">
                        <c:v>0</c:v>
                      </c:pt>
                      <c:pt idx="2818">
                        <c:v>0</c:v>
                      </c:pt>
                      <c:pt idx="2819">
                        <c:v>0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</c:v>
                      </c:pt>
                      <c:pt idx="2826">
                        <c:v>0</c:v>
                      </c:pt>
                      <c:pt idx="2827">
                        <c:v>0</c:v>
                      </c:pt>
                      <c:pt idx="2828">
                        <c:v>0</c:v>
                      </c:pt>
                      <c:pt idx="2829">
                        <c:v>0</c:v>
                      </c:pt>
                      <c:pt idx="2830">
                        <c:v>0</c:v>
                      </c:pt>
                      <c:pt idx="2831">
                        <c:v>0</c:v>
                      </c:pt>
                      <c:pt idx="2832">
                        <c:v>0</c:v>
                      </c:pt>
                      <c:pt idx="2833">
                        <c:v>0</c:v>
                      </c:pt>
                      <c:pt idx="2834">
                        <c:v>0</c:v>
                      </c:pt>
                      <c:pt idx="2835">
                        <c:v>0</c:v>
                      </c:pt>
                      <c:pt idx="2836">
                        <c:v>0</c:v>
                      </c:pt>
                      <c:pt idx="2837">
                        <c:v>0</c:v>
                      </c:pt>
                      <c:pt idx="2838">
                        <c:v>0</c:v>
                      </c:pt>
                      <c:pt idx="2839">
                        <c:v>0</c:v>
                      </c:pt>
                      <c:pt idx="2840">
                        <c:v>0</c:v>
                      </c:pt>
                      <c:pt idx="2841">
                        <c:v>0</c:v>
                      </c:pt>
                      <c:pt idx="2842">
                        <c:v>0</c:v>
                      </c:pt>
                      <c:pt idx="2843">
                        <c:v>0</c:v>
                      </c:pt>
                      <c:pt idx="2844">
                        <c:v>0</c:v>
                      </c:pt>
                      <c:pt idx="2845">
                        <c:v>0</c:v>
                      </c:pt>
                      <c:pt idx="2846">
                        <c:v>0</c:v>
                      </c:pt>
                      <c:pt idx="2847">
                        <c:v>0</c:v>
                      </c:pt>
                      <c:pt idx="2848">
                        <c:v>0</c:v>
                      </c:pt>
                      <c:pt idx="2849">
                        <c:v>0</c:v>
                      </c:pt>
                      <c:pt idx="2850">
                        <c:v>0</c:v>
                      </c:pt>
                      <c:pt idx="2851">
                        <c:v>0</c:v>
                      </c:pt>
                      <c:pt idx="2852">
                        <c:v>0</c:v>
                      </c:pt>
                      <c:pt idx="2853">
                        <c:v>0</c:v>
                      </c:pt>
                      <c:pt idx="2854">
                        <c:v>0</c:v>
                      </c:pt>
                      <c:pt idx="2855">
                        <c:v>0</c:v>
                      </c:pt>
                      <c:pt idx="2856">
                        <c:v>0</c:v>
                      </c:pt>
                      <c:pt idx="2857">
                        <c:v>0</c:v>
                      </c:pt>
                      <c:pt idx="2858">
                        <c:v>0</c:v>
                      </c:pt>
                      <c:pt idx="2859">
                        <c:v>0</c:v>
                      </c:pt>
                      <c:pt idx="2860">
                        <c:v>0</c:v>
                      </c:pt>
                      <c:pt idx="2861">
                        <c:v>0</c:v>
                      </c:pt>
                      <c:pt idx="2862">
                        <c:v>0</c:v>
                      </c:pt>
                      <c:pt idx="2863">
                        <c:v>0</c:v>
                      </c:pt>
                      <c:pt idx="2864">
                        <c:v>0</c:v>
                      </c:pt>
                      <c:pt idx="2865">
                        <c:v>0</c:v>
                      </c:pt>
                      <c:pt idx="2866">
                        <c:v>0</c:v>
                      </c:pt>
                      <c:pt idx="2867">
                        <c:v>0</c:v>
                      </c:pt>
                      <c:pt idx="2868">
                        <c:v>0</c:v>
                      </c:pt>
                      <c:pt idx="2869">
                        <c:v>0</c:v>
                      </c:pt>
                      <c:pt idx="2870">
                        <c:v>0</c:v>
                      </c:pt>
                      <c:pt idx="2871">
                        <c:v>0</c:v>
                      </c:pt>
                      <c:pt idx="2872">
                        <c:v>0</c:v>
                      </c:pt>
                      <c:pt idx="2873">
                        <c:v>0</c:v>
                      </c:pt>
                      <c:pt idx="2874">
                        <c:v>0</c:v>
                      </c:pt>
                      <c:pt idx="2875">
                        <c:v>0</c:v>
                      </c:pt>
                      <c:pt idx="2876">
                        <c:v>0</c:v>
                      </c:pt>
                      <c:pt idx="2877">
                        <c:v>0</c:v>
                      </c:pt>
                      <c:pt idx="2878">
                        <c:v>0</c:v>
                      </c:pt>
                      <c:pt idx="2879">
                        <c:v>0</c:v>
                      </c:pt>
                      <c:pt idx="2880">
                        <c:v>0</c:v>
                      </c:pt>
                      <c:pt idx="2881">
                        <c:v>0</c:v>
                      </c:pt>
                      <c:pt idx="2882">
                        <c:v>0</c:v>
                      </c:pt>
                      <c:pt idx="2883">
                        <c:v>0</c:v>
                      </c:pt>
                      <c:pt idx="2884">
                        <c:v>0</c:v>
                      </c:pt>
                      <c:pt idx="2885">
                        <c:v>0</c:v>
                      </c:pt>
                      <c:pt idx="2886">
                        <c:v>0</c:v>
                      </c:pt>
                      <c:pt idx="2887">
                        <c:v>0</c:v>
                      </c:pt>
                      <c:pt idx="2888">
                        <c:v>0</c:v>
                      </c:pt>
                      <c:pt idx="2889">
                        <c:v>0</c:v>
                      </c:pt>
                      <c:pt idx="2890">
                        <c:v>0</c:v>
                      </c:pt>
                      <c:pt idx="2891">
                        <c:v>0</c:v>
                      </c:pt>
                      <c:pt idx="2892">
                        <c:v>0</c:v>
                      </c:pt>
                      <c:pt idx="2893">
                        <c:v>0</c:v>
                      </c:pt>
                      <c:pt idx="2894">
                        <c:v>0</c:v>
                      </c:pt>
                      <c:pt idx="2895">
                        <c:v>0</c:v>
                      </c:pt>
                      <c:pt idx="2896">
                        <c:v>0</c:v>
                      </c:pt>
                      <c:pt idx="2897">
                        <c:v>0</c:v>
                      </c:pt>
                      <c:pt idx="2898">
                        <c:v>0</c:v>
                      </c:pt>
                      <c:pt idx="2899">
                        <c:v>0</c:v>
                      </c:pt>
                      <c:pt idx="2900">
                        <c:v>0</c:v>
                      </c:pt>
                      <c:pt idx="2901">
                        <c:v>0</c:v>
                      </c:pt>
                      <c:pt idx="2902">
                        <c:v>0</c:v>
                      </c:pt>
                      <c:pt idx="2903">
                        <c:v>0</c:v>
                      </c:pt>
                      <c:pt idx="2904">
                        <c:v>0</c:v>
                      </c:pt>
                      <c:pt idx="2905">
                        <c:v>0</c:v>
                      </c:pt>
                      <c:pt idx="2906">
                        <c:v>0</c:v>
                      </c:pt>
                      <c:pt idx="2907">
                        <c:v>0</c:v>
                      </c:pt>
                      <c:pt idx="2908">
                        <c:v>0</c:v>
                      </c:pt>
                      <c:pt idx="2909">
                        <c:v>0</c:v>
                      </c:pt>
                      <c:pt idx="2910">
                        <c:v>0</c:v>
                      </c:pt>
                      <c:pt idx="2911">
                        <c:v>0</c:v>
                      </c:pt>
                      <c:pt idx="2912">
                        <c:v>0</c:v>
                      </c:pt>
                      <c:pt idx="2913">
                        <c:v>0</c:v>
                      </c:pt>
                      <c:pt idx="2914">
                        <c:v>0</c:v>
                      </c:pt>
                      <c:pt idx="2915">
                        <c:v>0</c:v>
                      </c:pt>
                      <c:pt idx="2916">
                        <c:v>0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</c:v>
                      </c:pt>
                      <c:pt idx="2927">
                        <c:v>0</c:v>
                      </c:pt>
                      <c:pt idx="2928">
                        <c:v>0</c:v>
                      </c:pt>
                      <c:pt idx="2929">
                        <c:v>0</c:v>
                      </c:pt>
                      <c:pt idx="2930">
                        <c:v>0</c:v>
                      </c:pt>
                      <c:pt idx="2931">
                        <c:v>0</c:v>
                      </c:pt>
                      <c:pt idx="2932">
                        <c:v>0</c:v>
                      </c:pt>
                      <c:pt idx="2933">
                        <c:v>0</c:v>
                      </c:pt>
                      <c:pt idx="2934">
                        <c:v>0</c:v>
                      </c:pt>
                      <c:pt idx="2935">
                        <c:v>0</c:v>
                      </c:pt>
                      <c:pt idx="2936">
                        <c:v>0</c:v>
                      </c:pt>
                      <c:pt idx="2937">
                        <c:v>0</c:v>
                      </c:pt>
                      <c:pt idx="2938">
                        <c:v>0</c:v>
                      </c:pt>
                      <c:pt idx="2939">
                        <c:v>0</c:v>
                      </c:pt>
                      <c:pt idx="2940">
                        <c:v>0</c:v>
                      </c:pt>
                      <c:pt idx="2941">
                        <c:v>0</c:v>
                      </c:pt>
                      <c:pt idx="2942">
                        <c:v>0</c:v>
                      </c:pt>
                      <c:pt idx="2943">
                        <c:v>0</c:v>
                      </c:pt>
                      <c:pt idx="2944">
                        <c:v>0</c:v>
                      </c:pt>
                      <c:pt idx="2945">
                        <c:v>0</c:v>
                      </c:pt>
                      <c:pt idx="2946">
                        <c:v>0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</c:v>
                      </c:pt>
                      <c:pt idx="2952">
                        <c:v>0</c:v>
                      </c:pt>
                      <c:pt idx="2953">
                        <c:v>0</c:v>
                      </c:pt>
                      <c:pt idx="2954">
                        <c:v>0</c:v>
                      </c:pt>
                      <c:pt idx="2955">
                        <c:v>0</c:v>
                      </c:pt>
                      <c:pt idx="2956">
                        <c:v>0</c:v>
                      </c:pt>
                      <c:pt idx="2957">
                        <c:v>0</c:v>
                      </c:pt>
                      <c:pt idx="2958">
                        <c:v>0</c:v>
                      </c:pt>
                      <c:pt idx="2959">
                        <c:v>0</c:v>
                      </c:pt>
                      <c:pt idx="2960">
                        <c:v>0</c:v>
                      </c:pt>
                      <c:pt idx="2961">
                        <c:v>0</c:v>
                      </c:pt>
                      <c:pt idx="2962">
                        <c:v>0</c:v>
                      </c:pt>
                      <c:pt idx="2963">
                        <c:v>0</c:v>
                      </c:pt>
                      <c:pt idx="2964">
                        <c:v>0</c:v>
                      </c:pt>
                      <c:pt idx="2965">
                        <c:v>0</c:v>
                      </c:pt>
                      <c:pt idx="2966">
                        <c:v>0</c:v>
                      </c:pt>
                      <c:pt idx="2967">
                        <c:v>0</c:v>
                      </c:pt>
                      <c:pt idx="2968">
                        <c:v>0</c:v>
                      </c:pt>
                      <c:pt idx="2969">
                        <c:v>0</c:v>
                      </c:pt>
                      <c:pt idx="2970">
                        <c:v>0</c:v>
                      </c:pt>
                      <c:pt idx="2971">
                        <c:v>0</c:v>
                      </c:pt>
                      <c:pt idx="2972">
                        <c:v>0</c:v>
                      </c:pt>
                      <c:pt idx="2973">
                        <c:v>0</c:v>
                      </c:pt>
                      <c:pt idx="2974">
                        <c:v>0</c:v>
                      </c:pt>
                      <c:pt idx="2975">
                        <c:v>0</c:v>
                      </c:pt>
                      <c:pt idx="2976">
                        <c:v>0</c:v>
                      </c:pt>
                      <c:pt idx="2977">
                        <c:v>0</c:v>
                      </c:pt>
                      <c:pt idx="2978">
                        <c:v>0</c:v>
                      </c:pt>
                      <c:pt idx="2979">
                        <c:v>0</c:v>
                      </c:pt>
                      <c:pt idx="2980">
                        <c:v>0</c:v>
                      </c:pt>
                      <c:pt idx="2981">
                        <c:v>0</c:v>
                      </c:pt>
                      <c:pt idx="2982">
                        <c:v>0</c:v>
                      </c:pt>
                      <c:pt idx="2983">
                        <c:v>0</c:v>
                      </c:pt>
                      <c:pt idx="2984">
                        <c:v>0</c:v>
                      </c:pt>
                      <c:pt idx="2985">
                        <c:v>0</c:v>
                      </c:pt>
                      <c:pt idx="2986">
                        <c:v>0</c:v>
                      </c:pt>
                      <c:pt idx="2987">
                        <c:v>0</c:v>
                      </c:pt>
                      <c:pt idx="2988">
                        <c:v>0</c:v>
                      </c:pt>
                      <c:pt idx="2989">
                        <c:v>0</c:v>
                      </c:pt>
                      <c:pt idx="2990">
                        <c:v>0</c:v>
                      </c:pt>
                      <c:pt idx="2991">
                        <c:v>0</c:v>
                      </c:pt>
                      <c:pt idx="2992">
                        <c:v>0</c:v>
                      </c:pt>
                      <c:pt idx="2993">
                        <c:v>0</c:v>
                      </c:pt>
                      <c:pt idx="2994">
                        <c:v>0</c:v>
                      </c:pt>
                      <c:pt idx="2995">
                        <c:v>0</c:v>
                      </c:pt>
                      <c:pt idx="2996">
                        <c:v>0</c:v>
                      </c:pt>
                      <c:pt idx="2997">
                        <c:v>0</c:v>
                      </c:pt>
                      <c:pt idx="2998">
                        <c:v>0</c:v>
                      </c:pt>
                      <c:pt idx="2999">
                        <c:v>0</c:v>
                      </c:pt>
                      <c:pt idx="3000">
                        <c:v>0</c:v>
                      </c:pt>
                      <c:pt idx="3001">
                        <c:v>0</c:v>
                      </c:pt>
                      <c:pt idx="3002">
                        <c:v>0</c:v>
                      </c:pt>
                      <c:pt idx="3003">
                        <c:v>0</c:v>
                      </c:pt>
                      <c:pt idx="3004">
                        <c:v>0</c:v>
                      </c:pt>
                      <c:pt idx="3005">
                        <c:v>0</c:v>
                      </c:pt>
                      <c:pt idx="3006">
                        <c:v>0</c:v>
                      </c:pt>
                      <c:pt idx="3007">
                        <c:v>0</c:v>
                      </c:pt>
                      <c:pt idx="3008">
                        <c:v>0</c:v>
                      </c:pt>
                      <c:pt idx="3009">
                        <c:v>0</c:v>
                      </c:pt>
                      <c:pt idx="3010">
                        <c:v>0</c:v>
                      </c:pt>
                      <c:pt idx="3011">
                        <c:v>0</c:v>
                      </c:pt>
                      <c:pt idx="3012">
                        <c:v>0</c:v>
                      </c:pt>
                      <c:pt idx="3013">
                        <c:v>0</c:v>
                      </c:pt>
                      <c:pt idx="3014">
                        <c:v>0</c:v>
                      </c:pt>
                      <c:pt idx="3015">
                        <c:v>0</c:v>
                      </c:pt>
                      <c:pt idx="3016">
                        <c:v>0</c:v>
                      </c:pt>
                      <c:pt idx="3017">
                        <c:v>0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0</c:v>
                      </c:pt>
                      <c:pt idx="3026">
                        <c:v>0</c:v>
                      </c:pt>
                      <c:pt idx="3027">
                        <c:v>0</c:v>
                      </c:pt>
                      <c:pt idx="3028">
                        <c:v>0</c:v>
                      </c:pt>
                      <c:pt idx="3029">
                        <c:v>0</c:v>
                      </c:pt>
                      <c:pt idx="3030">
                        <c:v>0</c:v>
                      </c:pt>
                      <c:pt idx="3031">
                        <c:v>0</c:v>
                      </c:pt>
                      <c:pt idx="3032">
                        <c:v>0</c:v>
                      </c:pt>
                      <c:pt idx="3033">
                        <c:v>0</c:v>
                      </c:pt>
                      <c:pt idx="3034">
                        <c:v>0</c:v>
                      </c:pt>
                      <c:pt idx="3035">
                        <c:v>0</c:v>
                      </c:pt>
                      <c:pt idx="3036">
                        <c:v>0</c:v>
                      </c:pt>
                      <c:pt idx="3037">
                        <c:v>0</c:v>
                      </c:pt>
                      <c:pt idx="3038">
                        <c:v>0</c:v>
                      </c:pt>
                      <c:pt idx="3039">
                        <c:v>0</c:v>
                      </c:pt>
                      <c:pt idx="3040">
                        <c:v>0</c:v>
                      </c:pt>
                      <c:pt idx="3041">
                        <c:v>0</c:v>
                      </c:pt>
                      <c:pt idx="3042">
                        <c:v>0</c:v>
                      </c:pt>
                      <c:pt idx="3043">
                        <c:v>0</c:v>
                      </c:pt>
                      <c:pt idx="3044">
                        <c:v>0</c:v>
                      </c:pt>
                      <c:pt idx="3045">
                        <c:v>0</c:v>
                      </c:pt>
                      <c:pt idx="3046">
                        <c:v>0</c:v>
                      </c:pt>
                      <c:pt idx="3047">
                        <c:v>0</c:v>
                      </c:pt>
                      <c:pt idx="3048">
                        <c:v>0</c:v>
                      </c:pt>
                      <c:pt idx="3049">
                        <c:v>0</c:v>
                      </c:pt>
                      <c:pt idx="3050">
                        <c:v>0</c:v>
                      </c:pt>
                      <c:pt idx="3051">
                        <c:v>0</c:v>
                      </c:pt>
                      <c:pt idx="3052">
                        <c:v>0</c:v>
                      </c:pt>
                      <c:pt idx="3053">
                        <c:v>0</c:v>
                      </c:pt>
                      <c:pt idx="3054">
                        <c:v>0</c:v>
                      </c:pt>
                      <c:pt idx="3055">
                        <c:v>0</c:v>
                      </c:pt>
                      <c:pt idx="3056">
                        <c:v>0</c:v>
                      </c:pt>
                      <c:pt idx="3057">
                        <c:v>0</c:v>
                      </c:pt>
                      <c:pt idx="3058">
                        <c:v>0</c:v>
                      </c:pt>
                      <c:pt idx="3059">
                        <c:v>0</c:v>
                      </c:pt>
                      <c:pt idx="3060">
                        <c:v>0</c:v>
                      </c:pt>
                      <c:pt idx="3061">
                        <c:v>0</c:v>
                      </c:pt>
                      <c:pt idx="3062">
                        <c:v>0</c:v>
                      </c:pt>
                      <c:pt idx="3063">
                        <c:v>0</c:v>
                      </c:pt>
                      <c:pt idx="3064">
                        <c:v>0</c:v>
                      </c:pt>
                      <c:pt idx="3065">
                        <c:v>0</c:v>
                      </c:pt>
                      <c:pt idx="3066">
                        <c:v>0</c:v>
                      </c:pt>
                      <c:pt idx="3067">
                        <c:v>0</c:v>
                      </c:pt>
                      <c:pt idx="3068">
                        <c:v>0</c:v>
                      </c:pt>
                      <c:pt idx="3069">
                        <c:v>0</c:v>
                      </c:pt>
                      <c:pt idx="3070">
                        <c:v>0</c:v>
                      </c:pt>
                      <c:pt idx="3071">
                        <c:v>0</c:v>
                      </c:pt>
                      <c:pt idx="3072">
                        <c:v>0</c:v>
                      </c:pt>
                      <c:pt idx="3073">
                        <c:v>0</c:v>
                      </c:pt>
                      <c:pt idx="3074">
                        <c:v>0</c:v>
                      </c:pt>
                      <c:pt idx="3075">
                        <c:v>0</c:v>
                      </c:pt>
                      <c:pt idx="3076">
                        <c:v>0</c:v>
                      </c:pt>
                      <c:pt idx="3077">
                        <c:v>0</c:v>
                      </c:pt>
                      <c:pt idx="3078">
                        <c:v>0</c:v>
                      </c:pt>
                      <c:pt idx="3079">
                        <c:v>0</c:v>
                      </c:pt>
                      <c:pt idx="3080">
                        <c:v>0</c:v>
                      </c:pt>
                      <c:pt idx="3081">
                        <c:v>0</c:v>
                      </c:pt>
                      <c:pt idx="3082">
                        <c:v>0</c:v>
                      </c:pt>
                      <c:pt idx="3083">
                        <c:v>0</c:v>
                      </c:pt>
                      <c:pt idx="3084">
                        <c:v>0</c:v>
                      </c:pt>
                      <c:pt idx="3085">
                        <c:v>0</c:v>
                      </c:pt>
                      <c:pt idx="3086">
                        <c:v>0</c:v>
                      </c:pt>
                      <c:pt idx="3087">
                        <c:v>0</c:v>
                      </c:pt>
                      <c:pt idx="3088">
                        <c:v>0</c:v>
                      </c:pt>
                      <c:pt idx="3089">
                        <c:v>0</c:v>
                      </c:pt>
                      <c:pt idx="3090">
                        <c:v>0</c:v>
                      </c:pt>
                      <c:pt idx="3091">
                        <c:v>0</c:v>
                      </c:pt>
                      <c:pt idx="3092">
                        <c:v>0</c:v>
                      </c:pt>
                      <c:pt idx="3093">
                        <c:v>0</c:v>
                      </c:pt>
                      <c:pt idx="3094">
                        <c:v>0</c:v>
                      </c:pt>
                      <c:pt idx="3095">
                        <c:v>0</c:v>
                      </c:pt>
                      <c:pt idx="3096">
                        <c:v>0</c:v>
                      </c:pt>
                      <c:pt idx="3097">
                        <c:v>0</c:v>
                      </c:pt>
                      <c:pt idx="3098">
                        <c:v>0</c:v>
                      </c:pt>
                      <c:pt idx="3099">
                        <c:v>0</c:v>
                      </c:pt>
                      <c:pt idx="3100">
                        <c:v>0</c:v>
                      </c:pt>
                      <c:pt idx="3101">
                        <c:v>0</c:v>
                      </c:pt>
                      <c:pt idx="3102">
                        <c:v>0</c:v>
                      </c:pt>
                      <c:pt idx="3103">
                        <c:v>0</c:v>
                      </c:pt>
                      <c:pt idx="3104">
                        <c:v>0</c:v>
                      </c:pt>
                      <c:pt idx="3105">
                        <c:v>0</c:v>
                      </c:pt>
                      <c:pt idx="3106">
                        <c:v>0</c:v>
                      </c:pt>
                      <c:pt idx="3107">
                        <c:v>0</c:v>
                      </c:pt>
                      <c:pt idx="3108">
                        <c:v>0</c:v>
                      </c:pt>
                      <c:pt idx="3109">
                        <c:v>0</c:v>
                      </c:pt>
                      <c:pt idx="3110">
                        <c:v>0</c:v>
                      </c:pt>
                      <c:pt idx="3111">
                        <c:v>0</c:v>
                      </c:pt>
                      <c:pt idx="3112">
                        <c:v>0</c:v>
                      </c:pt>
                      <c:pt idx="3113">
                        <c:v>0</c:v>
                      </c:pt>
                      <c:pt idx="3114">
                        <c:v>0</c:v>
                      </c:pt>
                      <c:pt idx="3115">
                        <c:v>0</c:v>
                      </c:pt>
                      <c:pt idx="3116">
                        <c:v>0</c:v>
                      </c:pt>
                      <c:pt idx="3117">
                        <c:v>0</c:v>
                      </c:pt>
                      <c:pt idx="3118">
                        <c:v>0</c:v>
                      </c:pt>
                      <c:pt idx="3119">
                        <c:v>0</c:v>
                      </c:pt>
                      <c:pt idx="3120">
                        <c:v>0</c:v>
                      </c:pt>
                      <c:pt idx="3121">
                        <c:v>0</c:v>
                      </c:pt>
                      <c:pt idx="3122">
                        <c:v>0</c:v>
                      </c:pt>
                      <c:pt idx="3123">
                        <c:v>0</c:v>
                      </c:pt>
                      <c:pt idx="3124">
                        <c:v>0</c:v>
                      </c:pt>
                      <c:pt idx="3125">
                        <c:v>0</c:v>
                      </c:pt>
                      <c:pt idx="3126">
                        <c:v>0</c:v>
                      </c:pt>
                      <c:pt idx="3127">
                        <c:v>0</c:v>
                      </c:pt>
                      <c:pt idx="3128">
                        <c:v>0</c:v>
                      </c:pt>
                      <c:pt idx="3129">
                        <c:v>0</c:v>
                      </c:pt>
                      <c:pt idx="3130">
                        <c:v>0</c:v>
                      </c:pt>
                      <c:pt idx="3131">
                        <c:v>0</c:v>
                      </c:pt>
                      <c:pt idx="3132">
                        <c:v>0</c:v>
                      </c:pt>
                      <c:pt idx="3133">
                        <c:v>0</c:v>
                      </c:pt>
                      <c:pt idx="3134">
                        <c:v>0</c:v>
                      </c:pt>
                      <c:pt idx="3135">
                        <c:v>0</c:v>
                      </c:pt>
                      <c:pt idx="3136">
                        <c:v>0</c:v>
                      </c:pt>
                      <c:pt idx="3137">
                        <c:v>0</c:v>
                      </c:pt>
                      <c:pt idx="3138">
                        <c:v>0</c:v>
                      </c:pt>
                      <c:pt idx="3139">
                        <c:v>0</c:v>
                      </c:pt>
                      <c:pt idx="3140">
                        <c:v>0</c:v>
                      </c:pt>
                      <c:pt idx="3141">
                        <c:v>0</c:v>
                      </c:pt>
                      <c:pt idx="3142">
                        <c:v>0</c:v>
                      </c:pt>
                      <c:pt idx="3143">
                        <c:v>0</c:v>
                      </c:pt>
                      <c:pt idx="3144">
                        <c:v>0</c:v>
                      </c:pt>
                      <c:pt idx="3145">
                        <c:v>0</c:v>
                      </c:pt>
                      <c:pt idx="3146">
                        <c:v>0</c:v>
                      </c:pt>
                      <c:pt idx="3147">
                        <c:v>0</c:v>
                      </c:pt>
                      <c:pt idx="3148">
                        <c:v>0</c:v>
                      </c:pt>
                      <c:pt idx="3149">
                        <c:v>0</c:v>
                      </c:pt>
                      <c:pt idx="3150">
                        <c:v>0</c:v>
                      </c:pt>
                      <c:pt idx="3151">
                        <c:v>0</c:v>
                      </c:pt>
                      <c:pt idx="3152">
                        <c:v>0</c:v>
                      </c:pt>
                      <c:pt idx="3153">
                        <c:v>0</c:v>
                      </c:pt>
                      <c:pt idx="3154">
                        <c:v>0</c:v>
                      </c:pt>
                      <c:pt idx="3155">
                        <c:v>0</c:v>
                      </c:pt>
                      <c:pt idx="3156">
                        <c:v>0</c:v>
                      </c:pt>
                      <c:pt idx="3157">
                        <c:v>0</c:v>
                      </c:pt>
                      <c:pt idx="3158">
                        <c:v>0</c:v>
                      </c:pt>
                      <c:pt idx="3159">
                        <c:v>0</c:v>
                      </c:pt>
                      <c:pt idx="3160">
                        <c:v>0</c:v>
                      </c:pt>
                      <c:pt idx="3161">
                        <c:v>0</c:v>
                      </c:pt>
                      <c:pt idx="3162">
                        <c:v>0</c:v>
                      </c:pt>
                      <c:pt idx="3163">
                        <c:v>0</c:v>
                      </c:pt>
                      <c:pt idx="3164">
                        <c:v>0</c:v>
                      </c:pt>
                      <c:pt idx="3165">
                        <c:v>0</c:v>
                      </c:pt>
                      <c:pt idx="3166">
                        <c:v>0</c:v>
                      </c:pt>
                      <c:pt idx="3167">
                        <c:v>0</c:v>
                      </c:pt>
                      <c:pt idx="3168">
                        <c:v>0</c:v>
                      </c:pt>
                      <c:pt idx="3169">
                        <c:v>0</c:v>
                      </c:pt>
                      <c:pt idx="3170">
                        <c:v>0</c:v>
                      </c:pt>
                      <c:pt idx="3171">
                        <c:v>0</c:v>
                      </c:pt>
                      <c:pt idx="3172">
                        <c:v>0</c:v>
                      </c:pt>
                      <c:pt idx="3173">
                        <c:v>0</c:v>
                      </c:pt>
                      <c:pt idx="3174">
                        <c:v>0</c:v>
                      </c:pt>
                      <c:pt idx="3175">
                        <c:v>0</c:v>
                      </c:pt>
                      <c:pt idx="3176">
                        <c:v>0</c:v>
                      </c:pt>
                      <c:pt idx="3177">
                        <c:v>0</c:v>
                      </c:pt>
                      <c:pt idx="3178">
                        <c:v>0</c:v>
                      </c:pt>
                      <c:pt idx="3179">
                        <c:v>0</c:v>
                      </c:pt>
                      <c:pt idx="3180">
                        <c:v>0</c:v>
                      </c:pt>
                      <c:pt idx="3181">
                        <c:v>0</c:v>
                      </c:pt>
                      <c:pt idx="3182">
                        <c:v>0</c:v>
                      </c:pt>
                      <c:pt idx="3183">
                        <c:v>0</c:v>
                      </c:pt>
                      <c:pt idx="3184">
                        <c:v>0</c:v>
                      </c:pt>
                      <c:pt idx="3185">
                        <c:v>0</c:v>
                      </c:pt>
                      <c:pt idx="3186">
                        <c:v>0</c:v>
                      </c:pt>
                      <c:pt idx="3187">
                        <c:v>0</c:v>
                      </c:pt>
                      <c:pt idx="3188">
                        <c:v>0</c:v>
                      </c:pt>
                      <c:pt idx="3189">
                        <c:v>0</c:v>
                      </c:pt>
                      <c:pt idx="3190">
                        <c:v>0</c:v>
                      </c:pt>
                      <c:pt idx="3191">
                        <c:v>0</c:v>
                      </c:pt>
                      <c:pt idx="3192">
                        <c:v>0</c:v>
                      </c:pt>
                      <c:pt idx="3193">
                        <c:v>0</c:v>
                      </c:pt>
                      <c:pt idx="3194">
                        <c:v>0</c:v>
                      </c:pt>
                      <c:pt idx="3195">
                        <c:v>0</c:v>
                      </c:pt>
                      <c:pt idx="3196">
                        <c:v>0</c:v>
                      </c:pt>
                      <c:pt idx="3197">
                        <c:v>0</c:v>
                      </c:pt>
                      <c:pt idx="3198">
                        <c:v>0</c:v>
                      </c:pt>
                      <c:pt idx="3199">
                        <c:v>0</c:v>
                      </c:pt>
                      <c:pt idx="3200">
                        <c:v>0</c:v>
                      </c:pt>
                      <c:pt idx="3201">
                        <c:v>0</c:v>
                      </c:pt>
                      <c:pt idx="3202">
                        <c:v>0</c:v>
                      </c:pt>
                      <c:pt idx="3203">
                        <c:v>0</c:v>
                      </c:pt>
                      <c:pt idx="3204">
                        <c:v>0</c:v>
                      </c:pt>
                      <c:pt idx="3205">
                        <c:v>0</c:v>
                      </c:pt>
                      <c:pt idx="3206">
                        <c:v>0</c:v>
                      </c:pt>
                      <c:pt idx="3207">
                        <c:v>0</c:v>
                      </c:pt>
                      <c:pt idx="3208">
                        <c:v>0</c:v>
                      </c:pt>
                      <c:pt idx="3209">
                        <c:v>0</c:v>
                      </c:pt>
                      <c:pt idx="3210">
                        <c:v>0</c:v>
                      </c:pt>
                      <c:pt idx="3211">
                        <c:v>0</c:v>
                      </c:pt>
                      <c:pt idx="3212">
                        <c:v>0</c:v>
                      </c:pt>
                      <c:pt idx="3213">
                        <c:v>0</c:v>
                      </c:pt>
                      <c:pt idx="3214">
                        <c:v>0</c:v>
                      </c:pt>
                      <c:pt idx="3215">
                        <c:v>0</c:v>
                      </c:pt>
                      <c:pt idx="3216">
                        <c:v>0</c:v>
                      </c:pt>
                      <c:pt idx="3217">
                        <c:v>0</c:v>
                      </c:pt>
                      <c:pt idx="3218">
                        <c:v>0</c:v>
                      </c:pt>
                      <c:pt idx="3219">
                        <c:v>0</c:v>
                      </c:pt>
                      <c:pt idx="3220">
                        <c:v>0</c:v>
                      </c:pt>
                      <c:pt idx="3221">
                        <c:v>0</c:v>
                      </c:pt>
                      <c:pt idx="3222">
                        <c:v>0</c:v>
                      </c:pt>
                      <c:pt idx="3223">
                        <c:v>0</c:v>
                      </c:pt>
                      <c:pt idx="3224">
                        <c:v>0</c:v>
                      </c:pt>
                      <c:pt idx="3225">
                        <c:v>0</c:v>
                      </c:pt>
                      <c:pt idx="3226">
                        <c:v>0</c:v>
                      </c:pt>
                      <c:pt idx="3227">
                        <c:v>0</c:v>
                      </c:pt>
                      <c:pt idx="3228">
                        <c:v>0</c:v>
                      </c:pt>
                      <c:pt idx="3229">
                        <c:v>0</c:v>
                      </c:pt>
                      <c:pt idx="3230">
                        <c:v>0</c:v>
                      </c:pt>
                      <c:pt idx="3231">
                        <c:v>0</c:v>
                      </c:pt>
                      <c:pt idx="3232">
                        <c:v>0</c:v>
                      </c:pt>
                      <c:pt idx="3233">
                        <c:v>0</c:v>
                      </c:pt>
                      <c:pt idx="3234">
                        <c:v>0</c:v>
                      </c:pt>
                      <c:pt idx="3235">
                        <c:v>0</c:v>
                      </c:pt>
                      <c:pt idx="3236">
                        <c:v>0</c:v>
                      </c:pt>
                      <c:pt idx="3237">
                        <c:v>0</c:v>
                      </c:pt>
                      <c:pt idx="3238">
                        <c:v>0</c:v>
                      </c:pt>
                      <c:pt idx="3239">
                        <c:v>0</c:v>
                      </c:pt>
                      <c:pt idx="3240">
                        <c:v>0</c:v>
                      </c:pt>
                      <c:pt idx="3241">
                        <c:v>0</c:v>
                      </c:pt>
                      <c:pt idx="3242">
                        <c:v>0</c:v>
                      </c:pt>
                      <c:pt idx="3243">
                        <c:v>0</c:v>
                      </c:pt>
                      <c:pt idx="3244">
                        <c:v>0</c:v>
                      </c:pt>
                      <c:pt idx="3245">
                        <c:v>0</c:v>
                      </c:pt>
                      <c:pt idx="3246">
                        <c:v>0</c:v>
                      </c:pt>
                      <c:pt idx="3247">
                        <c:v>0</c:v>
                      </c:pt>
                      <c:pt idx="3248">
                        <c:v>0</c:v>
                      </c:pt>
                      <c:pt idx="3249">
                        <c:v>0</c:v>
                      </c:pt>
                      <c:pt idx="3250">
                        <c:v>0</c:v>
                      </c:pt>
                      <c:pt idx="3251">
                        <c:v>0</c:v>
                      </c:pt>
                      <c:pt idx="3252">
                        <c:v>0</c:v>
                      </c:pt>
                      <c:pt idx="3253">
                        <c:v>0</c:v>
                      </c:pt>
                      <c:pt idx="3254">
                        <c:v>0</c:v>
                      </c:pt>
                      <c:pt idx="3255">
                        <c:v>0</c:v>
                      </c:pt>
                      <c:pt idx="3256">
                        <c:v>0</c:v>
                      </c:pt>
                      <c:pt idx="3257">
                        <c:v>0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</c:v>
                      </c:pt>
                      <c:pt idx="3265">
                        <c:v>0</c:v>
                      </c:pt>
                      <c:pt idx="3266">
                        <c:v>0</c:v>
                      </c:pt>
                      <c:pt idx="3267">
                        <c:v>0</c:v>
                      </c:pt>
                      <c:pt idx="3268">
                        <c:v>0</c:v>
                      </c:pt>
                      <c:pt idx="3269">
                        <c:v>0</c:v>
                      </c:pt>
                      <c:pt idx="3270">
                        <c:v>0</c:v>
                      </c:pt>
                      <c:pt idx="3271">
                        <c:v>0</c:v>
                      </c:pt>
                      <c:pt idx="3272">
                        <c:v>0</c:v>
                      </c:pt>
                      <c:pt idx="3273">
                        <c:v>0</c:v>
                      </c:pt>
                      <c:pt idx="3274">
                        <c:v>0</c:v>
                      </c:pt>
                      <c:pt idx="3275">
                        <c:v>0</c:v>
                      </c:pt>
                      <c:pt idx="3276">
                        <c:v>0</c:v>
                      </c:pt>
                      <c:pt idx="3277">
                        <c:v>0</c:v>
                      </c:pt>
                      <c:pt idx="3278">
                        <c:v>0</c:v>
                      </c:pt>
                      <c:pt idx="3279">
                        <c:v>0</c:v>
                      </c:pt>
                      <c:pt idx="3280">
                        <c:v>0</c:v>
                      </c:pt>
                      <c:pt idx="3281">
                        <c:v>0</c:v>
                      </c:pt>
                      <c:pt idx="3282">
                        <c:v>0</c:v>
                      </c:pt>
                      <c:pt idx="3283">
                        <c:v>0</c:v>
                      </c:pt>
                      <c:pt idx="3284">
                        <c:v>0</c:v>
                      </c:pt>
                      <c:pt idx="3285">
                        <c:v>0</c:v>
                      </c:pt>
                      <c:pt idx="3286">
                        <c:v>0</c:v>
                      </c:pt>
                      <c:pt idx="3287">
                        <c:v>0</c:v>
                      </c:pt>
                      <c:pt idx="3288">
                        <c:v>0</c:v>
                      </c:pt>
                      <c:pt idx="3289">
                        <c:v>0</c:v>
                      </c:pt>
                      <c:pt idx="3290">
                        <c:v>0</c:v>
                      </c:pt>
                      <c:pt idx="3291">
                        <c:v>0</c:v>
                      </c:pt>
                      <c:pt idx="3292">
                        <c:v>0</c:v>
                      </c:pt>
                      <c:pt idx="3293">
                        <c:v>0</c:v>
                      </c:pt>
                      <c:pt idx="3294">
                        <c:v>0</c:v>
                      </c:pt>
                      <c:pt idx="3295">
                        <c:v>0</c:v>
                      </c:pt>
                      <c:pt idx="3296">
                        <c:v>0</c:v>
                      </c:pt>
                      <c:pt idx="3297">
                        <c:v>0</c:v>
                      </c:pt>
                      <c:pt idx="3298">
                        <c:v>0</c:v>
                      </c:pt>
                      <c:pt idx="3299">
                        <c:v>0</c:v>
                      </c:pt>
                      <c:pt idx="3300">
                        <c:v>0</c:v>
                      </c:pt>
                      <c:pt idx="3301">
                        <c:v>0</c:v>
                      </c:pt>
                      <c:pt idx="3302">
                        <c:v>0</c:v>
                      </c:pt>
                      <c:pt idx="3303">
                        <c:v>0</c:v>
                      </c:pt>
                      <c:pt idx="3304">
                        <c:v>0</c:v>
                      </c:pt>
                      <c:pt idx="3305">
                        <c:v>0</c:v>
                      </c:pt>
                      <c:pt idx="3306">
                        <c:v>0</c:v>
                      </c:pt>
                      <c:pt idx="3307">
                        <c:v>0</c:v>
                      </c:pt>
                      <c:pt idx="3308">
                        <c:v>0</c:v>
                      </c:pt>
                      <c:pt idx="3309">
                        <c:v>0</c:v>
                      </c:pt>
                      <c:pt idx="3310">
                        <c:v>0</c:v>
                      </c:pt>
                      <c:pt idx="3311">
                        <c:v>0</c:v>
                      </c:pt>
                      <c:pt idx="3312">
                        <c:v>0</c:v>
                      </c:pt>
                      <c:pt idx="3313">
                        <c:v>0</c:v>
                      </c:pt>
                      <c:pt idx="3314">
                        <c:v>0</c:v>
                      </c:pt>
                      <c:pt idx="3315">
                        <c:v>0</c:v>
                      </c:pt>
                      <c:pt idx="3316">
                        <c:v>0</c:v>
                      </c:pt>
                      <c:pt idx="3317">
                        <c:v>0</c:v>
                      </c:pt>
                      <c:pt idx="3318">
                        <c:v>0</c:v>
                      </c:pt>
                      <c:pt idx="3319">
                        <c:v>0</c:v>
                      </c:pt>
                      <c:pt idx="3320">
                        <c:v>0</c:v>
                      </c:pt>
                      <c:pt idx="3321">
                        <c:v>0</c:v>
                      </c:pt>
                      <c:pt idx="3322">
                        <c:v>0</c:v>
                      </c:pt>
                      <c:pt idx="3323">
                        <c:v>0</c:v>
                      </c:pt>
                      <c:pt idx="3324">
                        <c:v>0</c:v>
                      </c:pt>
                      <c:pt idx="3325">
                        <c:v>0</c:v>
                      </c:pt>
                      <c:pt idx="3326">
                        <c:v>0</c:v>
                      </c:pt>
                      <c:pt idx="3327">
                        <c:v>0</c:v>
                      </c:pt>
                      <c:pt idx="3328">
                        <c:v>0</c:v>
                      </c:pt>
                      <c:pt idx="3329">
                        <c:v>0</c:v>
                      </c:pt>
                      <c:pt idx="3330">
                        <c:v>0</c:v>
                      </c:pt>
                      <c:pt idx="3331">
                        <c:v>0</c:v>
                      </c:pt>
                      <c:pt idx="3332">
                        <c:v>0</c:v>
                      </c:pt>
                      <c:pt idx="3333">
                        <c:v>0</c:v>
                      </c:pt>
                      <c:pt idx="3334">
                        <c:v>0</c:v>
                      </c:pt>
                      <c:pt idx="3335">
                        <c:v>0</c:v>
                      </c:pt>
                      <c:pt idx="3336">
                        <c:v>0</c:v>
                      </c:pt>
                      <c:pt idx="3337">
                        <c:v>0</c:v>
                      </c:pt>
                      <c:pt idx="3338">
                        <c:v>0</c:v>
                      </c:pt>
                      <c:pt idx="3339">
                        <c:v>0</c:v>
                      </c:pt>
                      <c:pt idx="3340">
                        <c:v>0</c:v>
                      </c:pt>
                      <c:pt idx="3341">
                        <c:v>0</c:v>
                      </c:pt>
                      <c:pt idx="3342">
                        <c:v>0</c:v>
                      </c:pt>
                      <c:pt idx="3343">
                        <c:v>0</c:v>
                      </c:pt>
                      <c:pt idx="3344">
                        <c:v>0</c:v>
                      </c:pt>
                      <c:pt idx="3345">
                        <c:v>0</c:v>
                      </c:pt>
                      <c:pt idx="3346">
                        <c:v>0</c:v>
                      </c:pt>
                      <c:pt idx="3347">
                        <c:v>0</c:v>
                      </c:pt>
                      <c:pt idx="3348">
                        <c:v>0</c:v>
                      </c:pt>
                      <c:pt idx="3349">
                        <c:v>0</c:v>
                      </c:pt>
                      <c:pt idx="3350">
                        <c:v>0</c:v>
                      </c:pt>
                      <c:pt idx="3351">
                        <c:v>0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</c:v>
                      </c:pt>
                      <c:pt idx="3357">
                        <c:v>0</c:v>
                      </c:pt>
                      <c:pt idx="3358">
                        <c:v>0</c:v>
                      </c:pt>
                      <c:pt idx="3359">
                        <c:v>0</c:v>
                      </c:pt>
                      <c:pt idx="3360">
                        <c:v>0</c:v>
                      </c:pt>
                      <c:pt idx="3361">
                        <c:v>0</c:v>
                      </c:pt>
                      <c:pt idx="3362">
                        <c:v>0</c:v>
                      </c:pt>
                      <c:pt idx="3363">
                        <c:v>0</c:v>
                      </c:pt>
                      <c:pt idx="3364">
                        <c:v>0</c:v>
                      </c:pt>
                      <c:pt idx="3365">
                        <c:v>0</c:v>
                      </c:pt>
                      <c:pt idx="3366">
                        <c:v>0</c:v>
                      </c:pt>
                      <c:pt idx="3367">
                        <c:v>0</c:v>
                      </c:pt>
                      <c:pt idx="3368">
                        <c:v>0</c:v>
                      </c:pt>
                      <c:pt idx="3369">
                        <c:v>0</c:v>
                      </c:pt>
                      <c:pt idx="3370">
                        <c:v>0</c:v>
                      </c:pt>
                      <c:pt idx="3371">
                        <c:v>0</c:v>
                      </c:pt>
                      <c:pt idx="3372">
                        <c:v>0</c:v>
                      </c:pt>
                      <c:pt idx="3373">
                        <c:v>0</c:v>
                      </c:pt>
                      <c:pt idx="3374">
                        <c:v>0</c:v>
                      </c:pt>
                      <c:pt idx="3375">
                        <c:v>0</c:v>
                      </c:pt>
                      <c:pt idx="3376">
                        <c:v>0</c:v>
                      </c:pt>
                      <c:pt idx="3377">
                        <c:v>0</c:v>
                      </c:pt>
                      <c:pt idx="3378">
                        <c:v>0</c:v>
                      </c:pt>
                      <c:pt idx="3379">
                        <c:v>0</c:v>
                      </c:pt>
                      <c:pt idx="3380">
                        <c:v>0</c:v>
                      </c:pt>
                      <c:pt idx="3381">
                        <c:v>0</c:v>
                      </c:pt>
                      <c:pt idx="3382">
                        <c:v>0</c:v>
                      </c:pt>
                      <c:pt idx="3383">
                        <c:v>0</c:v>
                      </c:pt>
                      <c:pt idx="3384">
                        <c:v>0</c:v>
                      </c:pt>
                      <c:pt idx="3385">
                        <c:v>0</c:v>
                      </c:pt>
                      <c:pt idx="3386">
                        <c:v>0</c:v>
                      </c:pt>
                      <c:pt idx="3387">
                        <c:v>0</c:v>
                      </c:pt>
                      <c:pt idx="3388">
                        <c:v>0</c:v>
                      </c:pt>
                      <c:pt idx="3389">
                        <c:v>0</c:v>
                      </c:pt>
                      <c:pt idx="3390">
                        <c:v>0</c:v>
                      </c:pt>
                      <c:pt idx="3391">
                        <c:v>0</c:v>
                      </c:pt>
                      <c:pt idx="3392">
                        <c:v>0</c:v>
                      </c:pt>
                      <c:pt idx="3393">
                        <c:v>0</c:v>
                      </c:pt>
                      <c:pt idx="3394">
                        <c:v>0</c:v>
                      </c:pt>
                      <c:pt idx="3395">
                        <c:v>0</c:v>
                      </c:pt>
                      <c:pt idx="3396">
                        <c:v>0</c:v>
                      </c:pt>
                      <c:pt idx="3397">
                        <c:v>0</c:v>
                      </c:pt>
                      <c:pt idx="3398">
                        <c:v>0</c:v>
                      </c:pt>
                      <c:pt idx="3399">
                        <c:v>0</c:v>
                      </c:pt>
                      <c:pt idx="3400">
                        <c:v>0</c:v>
                      </c:pt>
                      <c:pt idx="3401">
                        <c:v>0</c:v>
                      </c:pt>
                      <c:pt idx="3402">
                        <c:v>0</c:v>
                      </c:pt>
                      <c:pt idx="3403">
                        <c:v>0</c:v>
                      </c:pt>
                      <c:pt idx="3404">
                        <c:v>0</c:v>
                      </c:pt>
                      <c:pt idx="3405">
                        <c:v>0</c:v>
                      </c:pt>
                      <c:pt idx="3406">
                        <c:v>0</c:v>
                      </c:pt>
                      <c:pt idx="3407">
                        <c:v>0</c:v>
                      </c:pt>
                      <c:pt idx="3408">
                        <c:v>0</c:v>
                      </c:pt>
                      <c:pt idx="3409">
                        <c:v>0</c:v>
                      </c:pt>
                      <c:pt idx="3410">
                        <c:v>0</c:v>
                      </c:pt>
                      <c:pt idx="3411">
                        <c:v>0</c:v>
                      </c:pt>
                      <c:pt idx="3412">
                        <c:v>0</c:v>
                      </c:pt>
                      <c:pt idx="3413">
                        <c:v>0</c:v>
                      </c:pt>
                      <c:pt idx="3414">
                        <c:v>0</c:v>
                      </c:pt>
                      <c:pt idx="3415">
                        <c:v>0</c:v>
                      </c:pt>
                      <c:pt idx="3416">
                        <c:v>0</c:v>
                      </c:pt>
                      <c:pt idx="3417">
                        <c:v>0</c:v>
                      </c:pt>
                      <c:pt idx="3418">
                        <c:v>0</c:v>
                      </c:pt>
                      <c:pt idx="3419">
                        <c:v>0</c:v>
                      </c:pt>
                      <c:pt idx="3420">
                        <c:v>0</c:v>
                      </c:pt>
                      <c:pt idx="3421">
                        <c:v>0</c:v>
                      </c:pt>
                      <c:pt idx="3422">
                        <c:v>0</c:v>
                      </c:pt>
                      <c:pt idx="3423">
                        <c:v>0</c:v>
                      </c:pt>
                      <c:pt idx="3424">
                        <c:v>0</c:v>
                      </c:pt>
                      <c:pt idx="3425">
                        <c:v>0</c:v>
                      </c:pt>
                      <c:pt idx="3426">
                        <c:v>0</c:v>
                      </c:pt>
                      <c:pt idx="3427">
                        <c:v>0</c:v>
                      </c:pt>
                      <c:pt idx="3428">
                        <c:v>0</c:v>
                      </c:pt>
                      <c:pt idx="3429">
                        <c:v>0</c:v>
                      </c:pt>
                      <c:pt idx="3430">
                        <c:v>0</c:v>
                      </c:pt>
                      <c:pt idx="3431">
                        <c:v>0</c:v>
                      </c:pt>
                      <c:pt idx="3432">
                        <c:v>0</c:v>
                      </c:pt>
                      <c:pt idx="3433">
                        <c:v>0</c:v>
                      </c:pt>
                      <c:pt idx="3434">
                        <c:v>0</c:v>
                      </c:pt>
                      <c:pt idx="3435">
                        <c:v>0</c:v>
                      </c:pt>
                      <c:pt idx="3436">
                        <c:v>0</c:v>
                      </c:pt>
                      <c:pt idx="3437">
                        <c:v>0</c:v>
                      </c:pt>
                      <c:pt idx="3438">
                        <c:v>0</c:v>
                      </c:pt>
                      <c:pt idx="3439">
                        <c:v>0</c:v>
                      </c:pt>
                      <c:pt idx="3440">
                        <c:v>0</c:v>
                      </c:pt>
                      <c:pt idx="3441">
                        <c:v>0</c:v>
                      </c:pt>
                      <c:pt idx="3442">
                        <c:v>0</c:v>
                      </c:pt>
                      <c:pt idx="3443">
                        <c:v>0</c:v>
                      </c:pt>
                      <c:pt idx="3444">
                        <c:v>0</c:v>
                      </c:pt>
                      <c:pt idx="3445">
                        <c:v>0</c:v>
                      </c:pt>
                      <c:pt idx="3446">
                        <c:v>0</c:v>
                      </c:pt>
                      <c:pt idx="3447">
                        <c:v>0</c:v>
                      </c:pt>
                      <c:pt idx="3448">
                        <c:v>0</c:v>
                      </c:pt>
                      <c:pt idx="3449">
                        <c:v>0</c:v>
                      </c:pt>
                      <c:pt idx="3450">
                        <c:v>0</c:v>
                      </c:pt>
                      <c:pt idx="3451">
                        <c:v>0</c:v>
                      </c:pt>
                      <c:pt idx="3452">
                        <c:v>0</c:v>
                      </c:pt>
                      <c:pt idx="3453">
                        <c:v>0</c:v>
                      </c:pt>
                      <c:pt idx="3454">
                        <c:v>0</c:v>
                      </c:pt>
                      <c:pt idx="3455">
                        <c:v>0</c:v>
                      </c:pt>
                      <c:pt idx="3456">
                        <c:v>0</c:v>
                      </c:pt>
                      <c:pt idx="3457">
                        <c:v>0</c:v>
                      </c:pt>
                      <c:pt idx="3458">
                        <c:v>0</c:v>
                      </c:pt>
                      <c:pt idx="3459">
                        <c:v>0</c:v>
                      </c:pt>
                      <c:pt idx="3460">
                        <c:v>0</c:v>
                      </c:pt>
                      <c:pt idx="3461">
                        <c:v>0</c:v>
                      </c:pt>
                      <c:pt idx="3462">
                        <c:v>0</c:v>
                      </c:pt>
                      <c:pt idx="3463">
                        <c:v>0</c:v>
                      </c:pt>
                      <c:pt idx="3464">
                        <c:v>0</c:v>
                      </c:pt>
                      <c:pt idx="3465">
                        <c:v>0</c:v>
                      </c:pt>
                      <c:pt idx="3466">
                        <c:v>0</c:v>
                      </c:pt>
                      <c:pt idx="3467">
                        <c:v>0</c:v>
                      </c:pt>
                      <c:pt idx="3468">
                        <c:v>0</c:v>
                      </c:pt>
                      <c:pt idx="3469">
                        <c:v>0</c:v>
                      </c:pt>
                      <c:pt idx="3470">
                        <c:v>0</c:v>
                      </c:pt>
                      <c:pt idx="3471">
                        <c:v>0</c:v>
                      </c:pt>
                      <c:pt idx="3472">
                        <c:v>0</c:v>
                      </c:pt>
                      <c:pt idx="3473">
                        <c:v>0</c:v>
                      </c:pt>
                      <c:pt idx="3474">
                        <c:v>0</c:v>
                      </c:pt>
                      <c:pt idx="3475">
                        <c:v>0</c:v>
                      </c:pt>
                      <c:pt idx="3476">
                        <c:v>0</c:v>
                      </c:pt>
                      <c:pt idx="3477">
                        <c:v>0</c:v>
                      </c:pt>
                      <c:pt idx="3478">
                        <c:v>0</c:v>
                      </c:pt>
                      <c:pt idx="3479">
                        <c:v>0</c:v>
                      </c:pt>
                      <c:pt idx="3480">
                        <c:v>0</c:v>
                      </c:pt>
                      <c:pt idx="3481">
                        <c:v>0</c:v>
                      </c:pt>
                      <c:pt idx="3482">
                        <c:v>0</c:v>
                      </c:pt>
                      <c:pt idx="3483">
                        <c:v>0</c:v>
                      </c:pt>
                      <c:pt idx="3484">
                        <c:v>0</c:v>
                      </c:pt>
                      <c:pt idx="3485">
                        <c:v>0</c:v>
                      </c:pt>
                      <c:pt idx="3486">
                        <c:v>0</c:v>
                      </c:pt>
                      <c:pt idx="3487">
                        <c:v>0</c:v>
                      </c:pt>
                      <c:pt idx="3488">
                        <c:v>0</c:v>
                      </c:pt>
                      <c:pt idx="3489">
                        <c:v>0</c:v>
                      </c:pt>
                      <c:pt idx="3490">
                        <c:v>0</c:v>
                      </c:pt>
                      <c:pt idx="3491">
                        <c:v>0</c:v>
                      </c:pt>
                      <c:pt idx="3492">
                        <c:v>0</c:v>
                      </c:pt>
                      <c:pt idx="3493">
                        <c:v>0</c:v>
                      </c:pt>
                      <c:pt idx="3494">
                        <c:v>0</c:v>
                      </c:pt>
                      <c:pt idx="3495">
                        <c:v>0</c:v>
                      </c:pt>
                      <c:pt idx="3496">
                        <c:v>0</c:v>
                      </c:pt>
                      <c:pt idx="3497">
                        <c:v>0</c:v>
                      </c:pt>
                      <c:pt idx="3498">
                        <c:v>0</c:v>
                      </c:pt>
                      <c:pt idx="3499">
                        <c:v>0</c:v>
                      </c:pt>
                      <c:pt idx="3500">
                        <c:v>0</c:v>
                      </c:pt>
                      <c:pt idx="3501">
                        <c:v>0</c:v>
                      </c:pt>
                      <c:pt idx="3502">
                        <c:v>0</c:v>
                      </c:pt>
                      <c:pt idx="3503">
                        <c:v>0</c:v>
                      </c:pt>
                      <c:pt idx="3504">
                        <c:v>0</c:v>
                      </c:pt>
                      <c:pt idx="3505">
                        <c:v>0</c:v>
                      </c:pt>
                      <c:pt idx="3506">
                        <c:v>0</c:v>
                      </c:pt>
                      <c:pt idx="3507">
                        <c:v>0</c:v>
                      </c:pt>
                      <c:pt idx="3508">
                        <c:v>0</c:v>
                      </c:pt>
                      <c:pt idx="3509">
                        <c:v>0</c:v>
                      </c:pt>
                      <c:pt idx="3510">
                        <c:v>0</c:v>
                      </c:pt>
                      <c:pt idx="3511">
                        <c:v>0</c:v>
                      </c:pt>
                      <c:pt idx="3512">
                        <c:v>0</c:v>
                      </c:pt>
                      <c:pt idx="3513">
                        <c:v>0</c:v>
                      </c:pt>
                      <c:pt idx="3514">
                        <c:v>0</c:v>
                      </c:pt>
                      <c:pt idx="3515">
                        <c:v>0</c:v>
                      </c:pt>
                      <c:pt idx="3516">
                        <c:v>0</c:v>
                      </c:pt>
                      <c:pt idx="3517">
                        <c:v>0</c:v>
                      </c:pt>
                      <c:pt idx="3518">
                        <c:v>0</c:v>
                      </c:pt>
                      <c:pt idx="3519">
                        <c:v>0</c:v>
                      </c:pt>
                      <c:pt idx="3520">
                        <c:v>0</c:v>
                      </c:pt>
                      <c:pt idx="3521">
                        <c:v>0</c:v>
                      </c:pt>
                      <c:pt idx="3522">
                        <c:v>0</c:v>
                      </c:pt>
                      <c:pt idx="3523">
                        <c:v>0</c:v>
                      </c:pt>
                      <c:pt idx="3524">
                        <c:v>0</c:v>
                      </c:pt>
                      <c:pt idx="3525">
                        <c:v>0</c:v>
                      </c:pt>
                      <c:pt idx="3526">
                        <c:v>0</c:v>
                      </c:pt>
                      <c:pt idx="3527">
                        <c:v>0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0</c:v>
                      </c:pt>
                      <c:pt idx="3533">
                        <c:v>0</c:v>
                      </c:pt>
                      <c:pt idx="3534">
                        <c:v>0</c:v>
                      </c:pt>
                      <c:pt idx="3535">
                        <c:v>0</c:v>
                      </c:pt>
                      <c:pt idx="3536">
                        <c:v>0</c:v>
                      </c:pt>
                      <c:pt idx="3537">
                        <c:v>0</c:v>
                      </c:pt>
                      <c:pt idx="3538">
                        <c:v>0</c:v>
                      </c:pt>
                      <c:pt idx="3539">
                        <c:v>0</c:v>
                      </c:pt>
                      <c:pt idx="3540">
                        <c:v>0</c:v>
                      </c:pt>
                      <c:pt idx="3541">
                        <c:v>0</c:v>
                      </c:pt>
                      <c:pt idx="3542">
                        <c:v>0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</c:v>
                      </c:pt>
                      <c:pt idx="3550">
                        <c:v>0</c:v>
                      </c:pt>
                      <c:pt idx="3551">
                        <c:v>0</c:v>
                      </c:pt>
                      <c:pt idx="3552">
                        <c:v>0</c:v>
                      </c:pt>
                      <c:pt idx="3553">
                        <c:v>0</c:v>
                      </c:pt>
                      <c:pt idx="3554">
                        <c:v>0</c:v>
                      </c:pt>
                      <c:pt idx="3555">
                        <c:v>0</c:v>
                      </c:pt>
                      <c:pt idx="3556">
                        <c:v>0</c:v>
                      </c:pt>
                      <c:pt idx="3557">
                        <c:v>0</c:v>
                      </c:pt>
                      <c:pt idx="3558">
                        <c:v>0</c:v>
                      </c:pt>
                      <c:pt idx="3559">
                        <c:v>0</c:v>
                      </c:pt>
                      <c:pt idx="3560">
                        <c:v>0</c:v>
                      </c:pt>
                      <c:pt idx="3561">
                        <c:v>0</c:v>
                      </c:pt>
                      <c:pt idx="3562">
                        <c:v>0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0</c:v>
                      </c:pt>
                      <c:pt idx="3568">
                        <c:v>0</c:v>
                      </c:pt>
                      <c:pt idx="3569">
                        <c:v>0</c:v>
                      </c:pt>
                      <c:pt idx="3570">
                        <c:v>0</c:v>
                      </c:pt>
                      <c:pt idx="3571">
                        <c:v>0</c:v>
                      </c:pt>
                      <c:pt idx="3572">
                        <c:v>0</c:v>
                      </c:pt>
                      <c:pt idx="3573">
                        <c:v>0</c:v>
                      </c:pt>
                      <c:pt idx="3574">
                        <c:v>0</c:v>
                      </c:pt>
                      <c:pt idx="3575">
                        <c:v>0</c:v>
                      </c:pt>
                      <c:pt idx="3576">
                        <c:v>0</c:v>
                      </c:pt>
                      <c:pt idx="3577">
                        <c:v>0</c:v>
                      </c:pt>
                      <c:pt idx="3578">
                        <c:v>0</c:v>
                      </c:pt>
                      <c:pt idx="3579">
                        <c:v>0</c:v>
                      </c:pt>
                      <c:pt idx="3580">
                        <c:v>0</c:v>
                      </c:pt>
                      <c:pt idx="3581">
                        <c:v>0</c:v>
                      </c:pt>
                      <c:pt idx="3582">
                        <c:v>0</c:v>
                      </c:pt>
                      <c:pt idx="3583">
                        <c:v>0</c:v>
                      </c:pt>
                      <c:pt idx="3584">
                        <c:v>0</c:v>
                      </c:pt>
                      <c:pt idx="3585">
                        <c:v>0</c:v>
                      </c:pt>
                      <c:pt idx="3586">
                        <c:v>0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</c:v>
                      </c:pt>
                      <c:pt idx="3594">
                        <c:v>0</c:v>
                      </c:pt>
                      <c:pt idx="3595">
                        <c:v>0</c:v>
                      </c:pt>
                      <c:pt idx="3596">
                        <c:v>0</c:v>
                      </c:pt>
                      <c:pt idx="3597">
                        <c:v>0</c:v>
                      </c:pt>
                      <c:pt idx="3598">
                        <c:v>0</c:v>
                      </c:pt>
                      <c:pt idx="3599">
                        <c:v>0</c:v>
                      </c:pt>
                      <c:pt idx="3600">
                        <c:v>0</c:v>
                      </c:pt>
                      <c:pt idx="3601">
                        <c:v>0</c:v>
                      </c:pt>
                      <c:pt idx="3602">
                        <c:v>0</c:v>
                      </c:pt>
                      <c:pt idx="3603">
                        <c:v>0</c:v>
                      </c:pt>
                      <c:pt idx="3604">
                        <c:v>0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</c:v>
                      </c:pt>
                      <c:pt idx="3619">
                        <c:v>0</c:v>
                      </c:pt>
                      <c:pt idx="3620">
                        <c:v>0</c:v>
                      </c:pt>
                      <c:pt idx="3621">
                        <c:v>0</c:v>
                      </c:pt>
                      <c:pt idx="3622">
                        <c:v>0</c:v>
                      </c:pt>
                      <c:pt idx="3623">
                        <c:v>0</c:v>
                      </c:pt>
                      <c:pt idx="3624">
                        <c:v>0</c:v>
                      </c:pt>
                      <c:pt idx="3625">
                        <c:v>0</c:v>
                      </c:pt>
                      <c:pt idx="3626">
                        <c:v>0</c:v>
                      </c:pt>
                      <c:pt idx="3627">
                        <c:v>0</c:v>
                      </c:pt>
                      <c:pt idx="3628">
                        <c:v>0</c:v>
                      </c:pt>
                      <c:pt idx="3629">
                        <c:v>0</c:v>
                      </c:pt>
                      <c:pt idx="3630">
                        <c:v>0</c:v>
                      </c:pt>
                      <c:pt idx="3631">
                        <c:v>0</c:v>
                      </c:pt>
                      <c:pt idx="3632">
                        <c:v>0</c:v>
                      </c:pt>
                      <c:pt idx="3633">
                        <c:v>0</c:v>
                      </c:pt>
                      <c:pt idx="3634">
                        <c:v>0</c:v>
                      </c:pt>
                      <c:pt idx="3635">
                        <c:v>0</c:v>
                      </c:pt>
                      <c:pt idx="3636">
                        <c:v>0</c:v>
                      </c:pt>
                      <c:pt idx="3637">
                        <c:v>0</c:v>
                      </c:pt>
                      <c:pt idx="3638">
                        <c:v>0</c:v>
                      </c:pt>
                      <c:pt idx="3639">
                        <c:v>0</c:v>
                      </c:pt>
                      <c:pt idx="3640">
                        <c:v>0</c:v>
                      </c:pt>
                      <c:pt idx="3641">
                        <c:v>0</c:v>
                      </c:pt>
                      <c:pt idx="3642">
                        <c:v>0</c:v>
                      </c:pt>
                      <c:pt idx="3643">
                        <c:v>0</c:v>
                      </c:pt>
                      <c:pt idx="3644">
                        <c:v>0</c:v>
                      </c:pt>
                      <c:pt idx="3645">
                        <c:v>0</c:v>
                      </c:pt>
                      <c:pt idx="3646">
                        <c:v>0</c:v>
                      </c:pt>
                      <c:pt idx="3647">
                        <c:v>0</c:v>
                      </c:pt>
                      <c:pt idx="3648">
                        <c:v>0</c:v>
                      </c:pt>
                      <c:pt idx="3649">
                        <c:v>0</c:v>
                      </c:pt>
                      <c:pt idx="3650">
                        <c:v>0</c:v>
                      </c:pt>
                      <c:pt idx="3651">
                        <c:v>0</c:v>
                      </c:pt>
                      <c:pt idx="3652">
                        <c:v>0</c:v>
                      </c:pt>
                      <c:pt idx="3653">
                        <c:v>0</c:v>
                      </c:pt>
                      <c:pt idx="3654">
                        <c:v>0</c:v>
                      </c:pt>
                      <c:pt idx="3655">
                        <c:v>0</c:v>
                      </c:pt>
                      <c:pt idx="3656">
                        <c:v>0</c:v>
                      </c:pt>
                      <c:pt idx="3657">
                        <c:v>0</c:v>
                      </c:pt>
                      <c:pt idx="3658">
                        <c:v>0</c:v>
                      </c:pt>
                      <c:pt idx="3659">
                        <c:v>0</c:v>
                      </c:pt>
                      <c:pt idx="3660">
                        <c:v>0</c:v>
                      </c:pt>
                      <c:pt idx="3661">
                        <c:v>0</c:v>
                      </c:pt>
                      <c:pt idx="3662">
                        <c:v>0</c:v>
                      </c:pt>
                      <c:pt idx="3663">
                        <c:v>0</c:v>
                      </c:pt>
                      <c:pt idx="3664">
                        <c:v>0</c:v>
                      </c:pt>
                      <c:pt idx="3665">
                        <c:v>0</c:v>
                      </c:pt>
                      <c:pt idx="3666">
                        <c:v>0</c:v>
                      </c:pt>
                      <c:pt idx="3667">
                        <c:v>0</c:v>
                      </c:pt>
                      <c:pt idx="3668">
                        <c:v>0</c:v>
                      </c:pt>
                      <c:pt idx="3669">
                        <c:v>0</c:v>
                      </c:pt>
                      <c:pt idx="3670">
                        <c:v>0</c:v>
                      </c:pt>
                      <c:pt idx="3671">
                        <c:v>0</c:v>
                      </c:pt>
                      <c:pt idx="3672">
                        <c:v>0</c:v>
                      </c:pt>
                      <c:pt idx="3673">
                        <c:v>0</c:v>
                      </c:pt>
                      <c:pt idx="3674">
                        <c:v>0</c:v>
                      </c:pt>
                      <c:pt idx="3675">
                        <c:v>0</c:v>
                      </c:pt>
                      <c:pt idx="3676">
                        <c:v>0</c:v>
                      </c:pt>
                      <c:pt idx="3677">
                        <c:v>0</c:v>
                      </c:pt>
                      <c:pt idx="3678">
                        <c:v>0</c:v>
                      </c:pt>
                      <c:pt idx="3679">
                        <c:v>0</c:v>
                      </c:pt>
                      <c:pt idx="3680">
                        <c:v>0</c:v>
                      </c:pt>
                      <c:pt idx="3681">
                        <c:v>0</c:v>
                      </c:pt>
                      <c:pt idx="3682">
                        <c:v>0</c:v>
                      </c:pt>
                      <c:pt idx="3683">
                        <c:v>0</c:v>
                      </c:pt>
                      <c:pt idx="3684">
                        <c:v>0</c:v>
                      </c:pt>
                      <c:pt idx="3685">
                        <c:v>0</c:v>
                      </c:pt>
                      <c:pt idx="3686">
                        <c:v>0</c:v>
                      </c:pt>
                      <c:pt idx="3687">
                        <c:v>0</c:v>
                      </c:pt>
                      <c:pt idx="3688">
                        <c:v>0</c:v>
                      </c:pt>
                      <c:pt idx="3689">
                        <c:v>0</c:v>
                      </c:pt>
                      <c:pt idx="3690">
                        <c:v>0</c:v>
                      </c:pt>
                      <c:pt idx="3691">
                        <c:v>0</c:v>
                      </c:pt>
                      <c:pt idx="3692">
                        <c:v>0</c:v>
                      </c:pt>
                      <c:pt idx="3693">
                        <c:v>0</c:v>
                      </c:pt>
                      <c:pt idx="3694">
                        <c:v>0</c:v>
                      </c:pt>
                      <c:pt idx="3695">
                        <c:v>0</c:v>
                      </c:pt>
                      <c:pt idx="3696">
                        <c:v>0</c:v>
                      </c:pt>
                      <c:pt idx="3697">
                        <c:v>0</c:v>
                      </c:pt>
                      <c:pt idx="3698">
                        <c:v>0</c:v>
                      </c:pt>
                      <c:pt idx="3699">
                        <c:v>0</c:v>
                      </c:pt>
                      <c:pt idx="3700">
                        <c:v>0</c:v>
                      </c:pt>
                      <c:pt idx="3701">
                        <c:v>0</c:v>
                      </c:pt>
                      <c:pt idx="3702">
                        <c:v>0</c:v>
                      </c:pt>
                      <c:pt idx="3703">
                        <c:v>0</c:v>
                      </c:pt>
                      <c:pt idx="3704">
                        <c:v>0</c:v>
                      </c:pt>
                      <c:pt idx="3705">
                        <c:v>0</c:v>
                      </c:pt>
                      <c:pt idx="3706">
                        <c:v>0</c:v>
                      </c:pt>
                      <c:pt idx="3707">
                        <c:v>0</c:v>
                      </c:pt>
                      <c:pt idx="3708">
                        <c:v>0</c:v>
                      </c:pt>
                      <c:pt idx="3709">
                        <c:v>0</c:v>
                      </c:pt>
                      <c:pt idx="3710">
                        <c:v>0</c:v>
                      </c:pt>
                      <c:pt idx="3711">
                        <c:v>0</c:v>
                      </c:pt>
                      <c:pt idx="3712">
                        <c:v>0</c:v>
                      </c:pt>
                      <c:pt idx="3713">
                        <c:v>0</c:v>
                      </c:pt>
                      <c:pt idx="3714">
                        <c:v>0</c:v>
                      </c:pt>
                      <c:pt idx="3715">
                        <c:v>0</c:v>
                      </c:pt>
                      <c:pt idx="3716">
                        <c:v>0</c:v>
                      </c:pt>
                      <c:pt idx="3717">
                        <c:v>0</c:v>
                      </c:pt>
                      <c:pt idx="3718">
                        <c:v>0</c:v>
                      </c:pt>
                      <c:pt idx="3719">
                        <c:v>0</c:v>
                      </c:pt>
                      <c:pt idx="3720">
                        <c:v>0</c:v>
                      </c:pt>
                      <c:pt idx="3721">
                        <c:v>0</c:v>
                      </c:pt>
                      <c:pt idx="3722">
                        <c:v>0</c:v>
                      </c:pt>
                      <c:pt idx="3723">
                        <c:v>0</c:v>
                      </c:pt>
                      <c:pt idx="3724">
                        <c:v>0</c:v>
                      </c:pt>
                      <c:pt idx="3725">
                        <c:v>0</c:v>
                      </c:pt>
                      <c:pt idx="3726">
                        <c:v>0</c:v>
                      </c:pt>
                      <c:pt idx="3727">
                        <c:v>0</c:v>
                      </c:pt>
                      <c:pt idx="3728">
                        <c:v>0</c:v>
                      </c:pt>
                      <c:pt idx="3729">
                        <c:v>0</c:v>
                      </c:pt>
                      <c:pt idx="3730">
                        <c:v>0</c:v>
                      </c:pt>
                      <c:pt idx="3731">
                        <c:v>0</c:v>
                      </c:pt>
                      <c:pt idx="3732">
                        <c:v>0</c:v>
                      </c:pt>
                      <c:pt idx="3733">
                        <c:v>0</c:v>
                      </c:pt>
                      <c:pt idx="3734">
                        <c:v>0</c:v>
                      </c:pt>
                      <c:pt idx="3735">
                        <c:v>0</c:v>
                      </c:pt>
                      <c:pt idx="3736">
                        <c:v>0</c:v>
                      </c:pt>
                      <c:pt idx="3737">
                        <c:v>0</c:v>
                      </c:pt>
                      <c:pt idx="3738">
                        <c:v>0</c:v>
                      </c:pt>
                      <c:pt idx="3739">
                        <c:v>0</c:v>
                      </c:pt>
                      <c:pt idx="3740">
                        <c:v>0</c:v>
                      </c:pt>
                      <c:pt idx="3741">
                        <c:v>0</c:v>
                      </c:pt>
                      <c:pt idx="3742">
                        <c:v>0</c:v>
                      </c:pt>
                      <c:pt idx="3743">
                        <c:v>0</c:v>
                      </c:pt>
                      <c:pt idx="3744">
                        <c:v>0</c:v>
                      </c:pt>
                      <c:pt idx="3745">
                        <c:v>0</c:v>
                      </c:pt>
                      <c:pt idx="3746">
                        <c:v>0</c:v>
                      </c:pt>
                      <c:pt idx="3747">
                        <c:v>0</c:v>
                      </c:pt>
                      <c:pt idx="3748">
                        <c:v>0</c:v>
                      </c:pt>
                      <c:pt idx="3749">
                        <c:v>0</c:v>
                      </c:pt>
                      <c:pt idx="3750">
                        <c:v>0</c:v>
                      </c:pt>
                      <c:pt idx="3751">
                        <c:v>0</c:v>
                      </c:pt>
                      <c:pt idx="3752">
                        <c:v>0</c:v>
                      </c:pt>
                      <c:pt idx="3753">
                        <c:v>0</c:v>
                      </c:pt>
                      <c:pt idx="3754">
                        <c:v>0</c:v>
                      </c:pt>
                      <c:pt idx="3755">
                        <c:v>0</c:v>
                      </c:pt>
                      <c:pt idx="3756">
                        <c:v>0</c:v>
                      </c:pt>
                      <c:pt idx="3757">
                        <c:v>0</c:v>
                      </c:pt>
                      <c:pt idx="3758">
                        <c:v>0</c:v>
                      </c:pt>
                      <c:pt idx="3759">
                        <c:v>0</c:v>
                      </c:pt>
                      <c:pt idx="3760">
                        <c:v>0</c:v>
                      </c:pt>
                      <c:pt idx="3761">
                        <c:v>0</c:v>
                      </c:pt>
                      <c:pt idx="3762">
                        <c:v>0</c:v>
                      </c:pt>
                      <c:pt idx="3763">
                        <c:v>0</c:v>
                      </c:pt>
                      <c:pt idx="3764">
                        <c:v>0</c:v>
                      </c:pt>
                      <c:pt idx="3765">
                        <c:v>0</c:v>
                      </c:pt>
                      <c:pt idx="3766">
                        <c:v>0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</c:v>
                      </c:pt>
                      <c:pt idx="3774">
                        <c:v>0</c:v>
                      </c:pt>
                      <c:pt idx="3775">
                        <c:v>0</c:v>
                      </c:pt>
                      <c:pt idx="3776">
                        <c:v>0</c:v>
                      </c:pt>
                      <c:pt idx="3777">
                        <c:v>0</c:v>
                      </c:pt>
                      <c:pt idx="3778">
                        <c:v>0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0</c:v>
                      </c:pt>
                      <c:pt idx="3783">
                        <c:v>0</c:v>
                      </c:pt>
                      <c:pt idx="3784">
                        <c:v>0</c:v>
                      </c:pt>
                      <c:pt idx="3785">
                        <c:v>0</c:v>
                      </c:pt>
                      <c:pt idx="3786">
                        <c:v>0</c:v>
                      </c:pt>
                      <c:pt idx="3787">
                        <c:v>0</c:v>
                      </c:pt>
                      <c:pt idx="3788">
                        <c:v>0</c:v>
                      </c:pt>
                      <c:pt idx="3789">
                        <c:v>0</c:v>
                      </c:pt>
                      <c:pt idx="3790">
                        <c:v>0</c:v>
                      </c:pt>
                      <c:pt idx="3791">
                        <c:v>0</c:v>
                      </c:pt>
                      <c:pt idx="3792">
                        <c:v>0</c:v>
                      </c:pt>
                      <c:pt idx="3793">
                        <c:v>0</c:v>
                      </c:pt>
                      <c:pt idx="3794">
                        <c:v>0</c:v>
                      </c:pt>
                      <c:pt idx="3795">
                        <c:v>0</c:v>
                      </c:pt>
                      <c:pt idx="3796">
                        <c:v>0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0</c:v>
                      </c:pt>
                      <c:pt idx="3807">
                        <c:v>0</c:v>
                      </c:pt>
                      <c:pt idx="3808">
                        <c:v>0</c:v>
                      </c:pt>
                      <c:pt idx="3809">
                        <c:v>0</c:v>
                      </c:pt>
                      <c:pt idx="3810">
                        <c:v>0</c:v>
                      </c:pt>
                      <c:pt idx="3811">
                        <c:v>0</c:v>
                      </c:pt>
                      <c:pt idx="3812">
                        <c:v>0</c:v>
                      </c:pt>
                      <c:pt idx="3813">
                        <c:v>0</c:v>
                      </c:pt>
                      <c:pt idx="3814">
                        <c:v>0</c:v>
                      </c:pt>
                      <c:pt idx="3815">
                        <c:v>0</c:v>
                      </c:pt>
                      <c:pt idx="3816">
                        <c:v>0</c:v>
                      </c:pt>
                      <c:pt idx="3817">
                        <c:v>0</c:v>
                      </c:pt>
                      <c:pt idx="3818">
                        <c:v>0</c:v>
                      </c:pt>
                      <c:pt idx="3819">
                        <c:v>0</c:v>
                      </c:pt>
                      <c:pt idx="3820">
                        <c:v>0</c:v>
                      </c:pt>
                      <c:pt idx="3821">
                        <c:v>0</c:v>
                      </c:pt>
                      <c:pt idx="3822">
                        <c:v>0</c:v>
                      </c:pt>
                      <c:pt idx="3823">
                        <c:v>0</c:v>
                      </c:pt>
                      <c:pt idx="3824">
                        <c:v>0</c:v>
                      </c:pt>
                      <c:pt idx="3825">
                        <c:v>0</c:v>
                      </c:pt>
                      <c:pt idx="3826">
                        <c:v>0</c:v>
                      </c:pt>
                      <c:pt idx="3827">
                        <c:v>0</c:v>
                      </c:pt>
                      <c:pt idx="3828">
                        <c:v>0</c:v>
                      </c:pt>
                      <c:pt idx="3829">
                        <c:v>0</c:v>
                      </c:pt>
                      <c:pt idx="3830">
                        <c:v>0</c:v>
                      </c:pt>
                      <c:pt idx="3831">
                        <c:v>0</c:v>
                      </c:pt>
                      <c:pt idx="3832">
                        <c:v>0</c:v>
                      </c:pt>
                      <c:pt idx="3833">
                        <c:v>0</c:v>
                      </c:pt>
                      <c:pt idx="3834">
                        <c:v>0</c:v>
                      </c:pt>
                      <c:pt idx="3835">
                        <c:v>0</c:v>
                      </c:pt>
                      <c:pt idx="3836">
                        <c:v>0</c:v>
                      </c:pt>
                      <c:pt idx="3837">
                        <c:v>0</c:v>
                      </c:pt>
                      <c:pt idx="3838">
                        <c:v>0</c:v>
                      </c:pt>
                      <c:pt idx="3839">
                        <c:v>0</c:v>
                      </c:pt>
                      <c:pt idx="3840">
                        <c:v>0</c:v>
                      </c:pt>
                      <c:pt idx="3841">
                        <c:v>0</c:v>
                      </c:pt>
                      <c:pt idx="3842">
                        <c:v>0</c:v>
                      </c:pt>
                      <c:pt idx="3843">
                        <c:v>0</c:v>
                      </c:pt>
                      <c:pt idx="3844">
                        <c:v>0</c:v>
                      </c:pt>
                      <c:pt idx="3845">
                        <c:v>0</c:v>
                      </c:pt>
                      <c:pt idx="3846">
                        <c:v>0</c:v>
                      </c:pt>
                      <c:pt idx="3847">
                        <c:v>0</c:v>
                      </c:pt>
                      <c:pt idx="3848">
                        <c:v>0</c:v>
                      </c:pt>
                      <c:pt idx="3849">
                        <c:v>0</c:v>
                      </c:pt>
                      <c:pt idx="3850">
                        <c:v>0</c:v>
                      </c:pt>
                      <c:pt idx="3851">
                        <c:v>0</c:v>
                      </c:pt>
                      <c:pt idx="3852">
                        <c:v>0</c:v>
                      </c:pt>
                      <c:pt idx="3853">
                        <c:v>0</c:v>
                      </c:pt>
                      <c:pt idx="3854">
                        <c:v>0</c:v>
                      </c:pt>
                      <c:pt idx="3855">
                        <c:v>0</c:v>
                      </c:pt>
                      <c:pt idx="3856">
                        <c:v>0</c:v>
                      </c:pt>
                      <c:pt idx="3857">
                        <c:v>0</c:v>
                      </c:pt>
                      <c:pt idx="3858">
                        <c:v>0</c:v>
                      </c:pt>
                      <c:pt idx="3859">
                        <c:v>0</c:v>
                      </c:pt>
                      <c:pt idx="3860">
                        <c:v>0</c:v>
                      </c:pt>
                      <c:pt idx="3861">
                        <c:v>0</c:v>
                      </c:pt>
                      <c:pt idx="3862">
                        <c:v>0</c:v>
                      </c:pt>
                      <c:pt idx="3863">
                        <c:v>0</c:v>
                      </c:pt>
                      <c:pt idx="3864">
                        <c:v>0</c:v>
                      </c:pt>
                      <c:pt idx="3865">
                        <c:v>0</c:v>
                      </c:pt>
                      <c:pt idx="3866">
                        <c:v>0</c:v>
                      </c:pt>
                      <c:pt idx="3867">
                        <c:v>0</c:v>
                      </c:pt>
                      <c:pt idx="3868">
                        <c:v>0</c:v>
                      </c:pt>
                      <c:pt idx="3869">
                        <c:v>0</c:v>
                      </c:pt>
                      <c:pt idx="3870">
                        <c:v>0</c:v>
                      </c:pt>
                      <c:pt idx="3871">
                        <c:v>0</c:v>
                      </c:pt>
                      <c:pt idx="3872">
                        <c:v>0</c:v>
                      </c:pt>
                      <c:pt idx="3873">
                        <c:v>0</c:v>
                      </c:pt>
                      <c:pt idx="3874">
                        <c:v>0</c:v>
                      </c:pt>
                      <c:pt idx="3875">
                        <c:v>0</c:v>
                      </c:pt>
                      <c:pt idx="3876">
                        <c:v>0</c:v>
                      </c:pt>
                      <c:pt idx="3877">
                        <c:v>0</c:v>
                      </c:pt>
                      <c:pt idx="3878">
                        <c:v>0</c:v>
                      </c:pt>
                      <c:pt idx="3879">
                        <c:v>0</c:v>
                      </c:pt>
                      <c:pt idx="3880">
                        <c:v>0</c:v>
                      </c:pt>
                      <c:pt idx="3881">
                        <c:v>0</c:v>
                      </c:pt>
                      <c:pt idx="3882">
                        <c:v>0</c:v>
                      </c:pt>
                      <c:pt idx="3883">
                        <c:v>0</c:v>
                      </c:pt>
                      <c:pt idx="3884">
                        <c:v>0</c:v>
                      </c:pt>
                      <c:pt idx="3885">
                        <c:v>0</c:v>
                      </c:pt>
                      <c:pt idx="3886">
                        <c:v>0</c:v>
                      </c:pt>
                      <c:pt idx="3887">
                        <c:v>0</c:v>
                      </c:pt>
                      <c:pt idx="3888">
                        <c:v>0</c:v>
                      </c:pt>
                      <c:pt idx="3889">
                        <c:v>0</c:v>
                      </c:pt>
                      <c:pt idx="3890">
                        <c:v>0</c:v>
                      </c:pt>
                      <c:pt idx="3891">
                        <c:v>0</c:v>
                      </c:pt>
                      <c:pt idx="3892">
                        <c:v>0</c:v>
                      </c:pt>
                      <c:pt idx="3893">
                        <c:v>0</c:v>
                      </c:pt>
                      <c:pt idx="3894">
                        <c:v>0</c:v>
                      </c:pt>
                      <c:pt idx="3895">
                        <c:v>0</c:v>
                      </c:pt>
                      <c:pt idx="3896">
                        <c:v>0</c:v>
                      </c:pt>
                      <c:pt idx="3897">
                        <c:v>0</c:v>
                      </c:pt>
                      <c:pt idx="3898">
                        <c:v>0</c:v>
                      </c:pt>
                      <c:pt idx="3899">
                        <c:v>0</c:v>
                      </c:pt>
                      <c:pt idx="3900">
                        <c:v>0</c:v>
                      </c:pt>
                      <c:pt idx="3901">
                        <c:v>0</c:v>
                      </c:pt>
                      <c:pt idx="3902">
                        <c:v>0</c:v>
                      </c:pt>
                      <c:pt idx="3903">
                        <c:v>0</c:v>
                      </c:pt>
                      <c:pt idx="3904">
                        <c:v>0</c:v>
                      </c:pt>
                      <c:pt idx="3905">
                        <c:v>0</c:v>
                      </c:pt>
                      <c:pt idx="3906">
                        <c:v>0</c:v>
                      </c:pt>
                      <c:pt idx="3907">
                        <c:v>0</c:v>
                      </c:pt>
                      <c:pt idx="3908">
                        <c:v>0</c:v>
                      </c:pt>
                      <c:pt idx="3909">
                        <c:v>0</c:v>
                      </c:pt>
                      <c:pt idx="3910">
                        <c:v>0</c:v>
                      </c:pt>
                      <c:pt idx="3911">
                        <c:v>0</c:v>
                      </c:pt>
                      <c:pt idx="3912">
                        <c:v>0</c:v>
                      </c:pt>
                      <c:pt idx="3913">
                        <c:v>0</c:v>
                      </c:pt>
                      <c:pt idx="3914">
                        <c:v>0</c:v>
                      </c:pt>
                      <c:pt idx="3915">
                        <c:v>0</c:v>
                      </c:pt>
                      <c:pt idx="3916">
                        <c:v>0</c:v>
                      </c:pt>
                      <c:pt idx="3917">
                        <c:v>0</c:v>
                      </c:pt>
                      <c:pt idx="3918">
                        <c:v>0</c:v>
                      </c:pt>
                      <c:pt idx="3919">
                        <c:v>0</c:v>
                      </c:pt>
                      <c:pt idx="3920">
                        <c:v>0</c:v>
                      </c:pt>
                      <c:pt idx="3921">
                        <c:v>0</c:v>
                      </c:pt>
                      <c:pt idx="3922">
                        <c:v>0</c:v>
                      </c:pt>
                      <c:pt idx="3923">
                        <c:v>0</c:v>
                      </c:pt>
                      <c:pt idx="3924">
                        <c:v>0</c:v>
                      </c:pt>
                      <c:pt idx="3925">
                        <c:v>0</c:v>
                      </c:pt>
                      <c:pt idx="3926">
                        <c:v>0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0</c:v>
                      </c:pt>
                      <c:pt idx="3931">
                        <c:v>0</c:v>
                      </c:pt>
                      <c:pt idx="3932">
                        <c:v>0</c:v>
                      </c:pt>
                      <c:pt idx="3933">
                        <c:v>0</c:v>
                      </c:pt>
                      <c:pt idx="3934">
                        <c:v>0</c:v>
                      </c:pt>
                      <c:pt idx="3935">
                        <c:v>0</c:v>
                      </c:pt>
                      <c:pt idx="3936">
                        <c:v>0</c:v>
                      </c:pt>
                      <c:pt idx="3937">
                        <c:v>0</c:v>
                      </c:pt>
                      <c:pt idx="3938">
                        <c:v>0</c:v>
                      </c:pt>
                      <c:pt idx="3939">
                        <c:v>0</c:v>
                      </c:pt>
                      <c:pt idx="3940">
                        <c:v>0</c:v>
                      </c:pt>
                      <c:pt idx="3941">
                        <c:v>0</c:v>
                      </c:pt>
                      <c:pt idx="3942">
                        <c:v>0</c:v>
                      </c:pt>
                      <c:pt idx="3943">
                        <c:v>0</c:v>
                      </c:pt>
                      <c:pt idx="3944">
                        <c:v>0</c:v>
                      </c:pt>
                      <c:pt idx="3945">
                        <c:v>0</c:v>
                      </c:pt>
                      <c:pt idx="3946">
                        <c:v>0</c:v>
                      </c:pt>
                      <c:pt idx="3947">
                        <c:v>0</c:v>
                      </c:pt>
                      <c:pt idx="3948">
                        <c:v>0</c:v>
                      </c:pt>
                      <c:pt idx="3949">
                        <c:v>0</c:v>
                      </c:pt>
                      <c:pt idx="3950">
                        <c:v>0</c:v>
                      </c:pt>
                      <c:pt idx="3951">
                        <c:v>0</c:v>
                      </c:pt>
                      <c:pt idx="3952">
                        <c:v>0</c:v>
                      </c:pt>
                      <c:pt idx="3953">
                        <c:v>0</c:v>
                      </c:pt>
                      <c:pt idx="3954">
                        <c:v>0</c:v>
                      </c:pt>
                      <c:pt idx="3955">
                        <c:v>0</c:v>
                      </c:pt>
                      <c:pt idx="3956">
                        <c:v>0</c:v>
                      </c:pt>
                      <c:pt idx="3957">
                        <c:v>0</c:v>
                      </c:pt>
                      <c:pt idx="3958">
                        <c:v>0</c:v>
                      </c:pt>
                      <c:pt idx="3959">
                        <c:v>0</c:v>
                      </c:pt>
                      <c:pt idx="3960">
                        <c:v>0</c:v>
                      </c:pt>
                      <c:pt idx="3961">
                        <c:v>0</c:v>
                      </c:pt>
                      <c:pt idx="3962">
                        <c:v>0</c:v>
                      </c:pt>
                      <c:pt idx="3963">
                        <c:v>0</c:v>
                      </c:pt>
                      <c:pt idx="3964">
                        <c:v>0</c:v>
                      </c:pt>
                      <c:pt idx="3965">
                        <c:v>0</c:v>
                      </c:pt>
                      <c:pt idx="3966">
                        <c:v>0</c:v>
                      </c:pt>
                      <c:pt idx="3967">
                        <c:v>0</c:v>
                      </c:pt>
                      <c:pt idx="3968">
                        <c:v>0</c:v>
                      </c:pt>
                      <c:pt idx="3969">
                        <c:v>0</c:v>
                      </c:pt>
                      <c:pt idx="3970">
                        <c:v>0</c:v>
                      </c:pt>
                      <c:pt idx="3971">
                        <c:v>0</c:v>
                      </c:pt>
                      <c:pt idx="3972">
                        <c:v>0</c:v>
                      </c:pt>
                      <c:pt idx="3973">
                        <c:v>0</c:v>
                      </c:pt>
                      <c:pt idx="3974">
                        <c:v>0</c:v>
                      </c:pt>
                      <c:pt idx="3975">
                        <c:v>0</c:v>
                      </c:pt>
                      <c:pt idx="3976">
                        <c:v>0</c:v>
                      </c:pt>
                      <c:pt idx="3977">
                        <c:v>0</c:v>
                      </c:pt>
                      <c:pt idx="3978">
                        <c:v>0</c:v>
                      </c:pt>
                      <c:pt idx="3979">
                        <c:v>0</c:v>
                      </c:pt>
                      <c:pt idx="3980">
                        <c:v>0</c:v>
                      </c:pt>
                      <c:pt idx="3981">
                        <c:v>0</c:v>
                      </c:pt>
                      <c:pt idx="3982">
                        <c:v>0</c:v>
                      </c:pt>
                      <c:pt idx="3983">
                        <c:v>0</c:v>
                      </c:pt>
                      <c:pt idx="3984">
                        <c:v>0</c:v>
                      </c:pt>
                      <c:pt idx="3985">
                        <c:v>0</c:v>
                      </c:pt>
                      <c:pt idx="3986">
                        <c:v>0</c:v>
                      </c:pt>
                      <c:pt idx="3987">
                        <c:v>0</c:v>
                      </c:pt>
                      <c:pt idx="3988">
                        <c:v>0</c:v>
                      </c:pt>
                      <c:pt idx="3989">
                        <c:v>0</c:v>
                      </c:pt>
                      <c:pt idx="3990">
                        <c:v>0</c:v>
                      </c:pt>
                      <c:pt idx="3991">
                        <c:v>0</c:v>
                      </c:pt>
                      <c:pt idx="3992">
                        <c:v>0</c:v>
                      </c:pt>
                      <c:pt idx="3993">
                        <c:v>0</c:v>
                      </c:pt>
                      <c:pt idx="3994">
                        <c:v>0</c:v>
                      </c:pt>
                      <c:pt idx="3995">
                        <c:v>0</c:v>
                      </c:pt>
                      <c:pt idx="3996">
                        <c:v>0</c:v>
                      </c:pt>
                      <c:pt idx="3997">
                        <c:v>0</c:v>
                      </c:pt>
                      <c:pt idx="3998">
                        <c:v>0</c:v>
                      </c:pt>
                      <c:pt idx="3999">
                        <c:v>0</c:v>
                      </c:pt>
                      <c:pt idx="4000">
                        <c:v>0</c:v>
                      </c:pt>
                      <c:pt idx="4001">
                        <c:v>0</c:v>
                      </c:pt>
                      <c:pt idx="4002">
                        <c:v>0</c:v>
                      </c:pt>
                      <c:pt idx="4003">
                        <c:v>0</c:v>
                      </c:pt>
                      <c:pt idx="4004">
                        <c:v>0</c:v>
                      </c:pt>
                      <c:pt idx="4005">
                        <c:v>0</c:v>
                      </c:pt>
                      <c:pt idx="4006">
                        <c:v>0</c:v>
                      </c:pt>
                      <c:pt idx="4007">
                        <c:v>0</c:v>
                      </c:pt>
                      <c:pt idx="4008">
                        <c:v>0</c:v>
                      </c:pt>
                      <c:pt idx="4009">
                        <c:v>0</c:v>
                      </c:pt>
                      <c:pt idx="4010">
                        <c:v>0</c:v>
                      </c:pt>
                      <c:pt idx="4011">
                        <c:v>0</c:v>
                      </c:pt>
                      <c:pt idx="4012">
                        <c:v>0</c:v>
                      </c:pt>
                      <c:pt idx="4013">
                        <c:v>0</c:v>
                      </c:pt>
                      <c:pt idx="4014">
                        <c:v>0</c:v>
                      </c:pt>
                      <c:pt idx="4015">
                        <c:v>0</c:v>
                      </c:pt>
                      <c:pt idx="4016">
                        <c:v>0</c:v>
                      </c:pt>
                      <c:pt idx="4017">
                        <c:v>0</c:v>
                      </c:pt>
                      <c:pt idx="4018">
                        <c:v>0</c:v>
                      </c:pt>
                      <c:pt idx="4019">
                        <c:v>0</c:v>
                      </c:pt>
                      <c:pt idx="4020">
                        <c:v>0</c:v>
                      </c:pt>
                      <c:pt idx="4021">
                        <c:v>0</c:v>
                      </c:pt>
                      <c:pt idx="4022">
                        <c:v>0</c:v>
                      </c:pt>
                      <c:pt idx="4023">
                        <c:v>0</c:v>
                      </c:pt>
                      <c:pt idx="4024">
                        <c:v>0</c:v>
                      </c:pt>
                      <c:pt idx="4025">
                        <c:v>0</c:v>
                      </c:pt>
                      <c:pt idx="4026">
                        <c:v>0</c:v>
                      </c:pt>
                      <c:pt idx="4027">
                        <c:v>0</c:v>
                      </c:pt>
                      <c:pt idx="4028">
                        <c:v>0</c:v>
                      </c:pt>
                      <c:pt idx="4029">
                        <c:v>0</c:v>
                      </c:pt>
                      <c:pt idx="4030">
                        <c:v>0</c:v>
                      </c:pt>
                      <c:pt idx="4031">
                        <c:v>0</c:v>
                      </c:pt>
                      <c:pt idx="4032">
                        <c:v>0</c:v>
                      </c:pt>
                      <c:pt idx="4033">
                        <c:v>0</c:v>
                      </c:pt>
                      <c:pt idx="4034">
                        <c:v>0</c:v>
                      </c:pt>
                      <c:pt idx="4035">
                        <c:v>0</c:v>
                      </c:pt>
                      <c:pt idx="4036">
                        <c:v>0</c:v>
                      </c:pt>
                      <c:pt idx="4037">
                        <c:v>0</c:v>
                      </c:pt>
                      <c:pt idx="4038">
                        <c:v>0</c:v>
                      </c:pt>
                      <c:pt idx="4039">
                        <c:v>0</c:v>
                      </c:pt>
                      <c:pt idx="4040">
                        <c:v>0</c:v>
                      </c:pt>
                      <c:pt idx="4041">
                        <c:v>0</c:v>
                      </c:pt>
                      <c:pt idx="4042">
                        <c:v>0</c:v>
                      </c:pt>
                      <c:pt idx="4043">
                        <c:v>0</c:v>
                      </c:pt>
                      <c:pt idx="4044">
                        <c:v>0</c:v>
                      </c:pt>
                      <c:pt idx="4045">
                        <c:v>0</c:v>
                      </c:pt>
                      <c:pt idx="4046">
                        <c:v>0</c:v>
                      </c:pt>
                      <c:pt idx="4047">
                        <c:v>0</c:v>
                      </c:pt>
                      <c:pt idx="4048">
                        <c:v>0</c:v>
                      </c:pt>
                      <c:pt idx="4049">
                        <c:v>0</c:v>
                      </c:pt>
                      <c:pt idx="4050">
                        <c:v>0</c:v>
                      </c:pt>
                      <c:pt idx="4051">
                        <c:v>0</c:v>
                      </c:pt>
                      <c:pt idx="4052">
                        <c:v>0</c:v>
                      </c:pt>
                      <c:pt idx="4053">
                        <c:v>0</c:v>
                      </c:pt>
                      <c:pt idx="4054">
                        <c:v>0</c:v>
                      </c:pt>
                      <c:pt idx="4055">
                        <c:v>0</c:v>
                      </c:pt>
                      <c:pt idx="4056">
                        <c:v>0</c:v>
                      </c:pt>
                      <c:pt idx="4057">
                        <c:v>0</c:v>
                      </c:pt>
                      <c:pt idx="4058">
                        <c:v>0</c:v>
                      </c:pt>
                      <c:pt idx="4059">
                        <c:v>0</c:v>
                      </c:pt>
                      <c:pt idx="4060">
                        <c:v>0</c:v>
                      </c:pt>
                      <c:pt idx="4061">
                        <c:v>0</c:v>
                      </c:pt>
                      <c:pt idx="4062">
                        <c:v>0</c:v>
                      </c:pt>
                      <c:pt idx="4063">
                        <c:v>0</c:v>
                      </c:pt>
                      <c:pt idx="4064">
                        <c:v>0</c:v>
                      </c:pt>
                      <c:pt idx="4065">
                        <c:v>0</c:v>
                      </c:pt>
                      <c:pt idx="4066">
                        <c:v>0</c:v>
                      </c:pt>
                      <c:pt idx="4067">
                        <c:v>0</c:v>
                      </c:pt>
                      <c:pt idx="4068">
                        <c:v>0</c:v>
                      </c:pt>
                      <c:pt idx="4069">
                        <c:v>0</c:v>
                      </c:pt>
                      <c:pt idx="4070">
                        <c:v>0</c:v>
                      </c:pt>
                      <c:pt idx="4071">
                        <c:v>0</c:v>
                      </c:pt>
                      <c:pt idx="4072">
                        <c:v>0</c:v>
                      </c:pt>
                      <c:pt idx="4073">
                        <c:v>0</c:v>
                      </c:pt>
                      <c:pt idx="4074">
                        <c:v>0</c:v>
                      </c:pt>
                      <c:pt idx="4075">
                        <c:v>0</c:v>
                      </c:pt>
                      <c:pt idx="4076">
                        <c:v>0</c:v>
                      </c:pt>
                      <c:pt idx="4077">
                        <c:v>0</c:v>
                      </c:pt>
                      <c:pt idx="4078">
                        <c:v>0</c:v>
                      </c:pt>
                      <c:pt idx="4079">
                        <c:v>0</c:v>
                      </c:pt>
                      <c:pt idx="4080">
                        <c:v>0</c:v>
                      </c:pt>
                      <c:pt idx="4081">
                        <c:v>0</c:v>
                      </c:pt>
                      <c:pt idx="4082">
                        <c:v>0</c:v>
                      </c:pt>
                      <c:pt idx="4083">
                        <c:v>0</c:v>
                      </c:pt>
                      <c:pt idx="4084">
                        <c:v>0</c:v>
                      </c:pt>
                      <c:pt idx="4085">
                        <c:v>0</c:v>
                      </c:pt>
                      <c:pt idx="4086">
                        <c:v>0</c:v>
                      </c:pt>
                      <c:pt idx="4087">
                        <c:v>0</c:v>
                      </c:pt>
                      <c:pt idx="4088">
                        <c:v>0</c:v>
                      </c:pt>
                      <c:pt idx="4089">
                        <c:v>0</c:v>
                      </c:pt>
                      <c:pt idx="4090">
                        <c:v>0</c:v>
                      </c:pt>
                      <c:pt idx="4091">
                        <c:v>0</c:v>
                      </c:pt>
                      <c:pt idx="4092">
                        <c:v>0</c:v>
                      </c:pt>
                      <c:pt idx="4093">
                        <c:v>0</c:v>
                      </c:pt>
                      <c:pt idx="4094">
                        <c:v>0</c:v>
                      </c:pt>
                      <c:pt idx="4095">
                        <c:v>0</c:v>
                      </c:pt>
                      <c:pt idx="4096">
                        <c:v>0</c:v>
                      </c:pt>
                      <c:pt idx="4097">
                        <c:v>0</c:v>
                      </c:pt>
                      <c:pt idx="4098">
                        <c:v>0</c:v>
                      </c:pt>
                      <c:pt idx="4099">
                        <c:v>0</c:v>
                      </c:pt>
                      <c:pt idx="4100">
                        <c:v>0</c:v>
                      </c:pt>
                      <c:pt idx="4101">
                        <c:v>0</c:v>
                      </c:pt>
                      <c:pt idx="4102">
                        <c:v>0</c:v>
                      </c:pt>
                      <c:pt idx="4103">
                        <c:v>0</c:v>
                      </c:pt>
                      <c:pt idx="4104">
                        <c:v>0</c:v>
                      </c:pt>
                      <c:pt idx="4105">
                        <c:v>0</c:v>
                      </c:pt>
                      <c:pt idx="4106">
                        <c:v>0</c:v>
                      </c:pt>
                      <c:pt idx="4107">
                        <c:v>0</c:v>
                      </c:pt>
                      <c:pt idx="4108">
                        <c:v>0</c:v>
                      </c:pt>
                      <c:pt idx="4109">
                        <c:v>0</c:v>
                      </c:pt>
                      <c:pt idx="4110">
                        <c:v>0</c:v>
                      </c:pt>
                      <c:pt idx="4111">
                        <c:v>0</c:v>
                      </c:pt>
                      <c:pt idx="4112">
                        <c:v>0</c:v>
                      </c:pt>
                      <c:pt idx="4113">
                        <c:v>0</c:v>
                      </c:pt>
                      <c:pt idx="4114">
                        <c:v>0</c:v>
                      </c:pt>
                      <c:pt idx="4115">
                        <c:v>0</c:v>
                      </c:pt>
                      <c:pt idx="4116">
                        <c:v>0</c:v>
                      </c:pt>
                      <c:pt idx="4117">
                        <c:v>0</c:v>
                      </c:pt>
                      <c:pt idx="4118">
                        <c:v>0</c:v>
                      </c:pt>
                      <c:pt idx="4119">
                        <c:v>0</c:v>
                      </c:pt>
                      <c:pt idx="4120">
                        <c:v>0</c:v>
                      </c:pt>
                      <c:pt idx="4121">
                        <c:v>0</c:v>
                      </c:pt>
                      <c:pt idx="4122">
                        <c:v>0</c:v>
                      </c:pt>
                      <c:pt idx="4123">
                        <c:v>0</c:v>
                      </c:pt>
                      <c:pt idx="4124">
                        <c:v>0</c:v>
                      </c:pt>
                      <c:pt idx="4125">
                        <c:v>0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0</c:v>
                      </c:pt>
                      <c:pt idx="4132">
                        <c:v>0</c:v>
                      </c:pt>
                      <c:pt idx="4133">
                        <c:v>0</c:v>
                      </c:pt>
                      <c:pt idx="4134">
                        <c:v>0</c:v>
                      </c:pt>
                      <c:pt idx="4135">
                        <c:v>0</c:v>
                      </c:pt>
                      <c:pt idx="4136">
                        <c:v>0</c:v>
                      </c:pt>
                      <c:pt idx="4137">
                        <c:v>0</c:v>
                      </c:pt>
                      <c:pt idx="4138">
                        <c:v>0</c:v>
                      </c:pt>
                      <c:pt idx="4139">
                        <c:v>0</c:v>
                      </c:pt>
                      <c:pt idx="4140">
                        <c:v>0</c:v>
                      </c:pt>
                      <c:pt idx="4141">
                        <c:v>0</c:v>
                      </c:pt>
                      <c:pt idx="4142">
                        <c:v>0</c:v>
                      </c:pt>
                      <c:pt idx="4143">
                        <c:v>0</c:v>
                      </c:pt>
                      <c:pt idx="4144">
                        <c:v>0</c:v>
                      </c:pt>
                      <c:pt idx="4145">
                        <c:v>0</c:v>
                      </c:pt>
                      <c:pt idx="4146">
                        <c:v>0</c:v>
                      </c:pt>
                      <c:pt idx="4147">
                        <c:v>0</c:v>
                      </c:pt>
                      <c:pt idx="4148">
                        <c:v>0</c:v>
                      </c:pt>
                      <c:pt idx="4149">
                        <c:v>0</c:v>
                      </c:pt>
                      <c:pt idx="4150">
                        <c:v>0</c:v>
                      </c:pt>
                      <c:pt idx="4151">
                        <c:v>0</c:v>
                      </c:pt>
                      <c:pt idx="4152">
                        <c:v>0</c:v>
                      </c:pt>
                      <c:pt idx="4153">
                        <c:v>0</c:v>
                      </c:pt>
                      <c:pt idx="4154">
                        <c:v>0</c:v>
                      </c:pt>
                      <c:pt idx="4155">
                        <c:v>0</c:v>
                      </c:pt>
                      <c:pt idx="4156">
                        <c:v>0</c:v>
                      </c:pt>
                      <c:pt idx="4157">
                        <c:v>0</c:v>
                      </c:pt>
                      <c:pt idx="4158">
                        <c:v>0</c:v>
                      </c:pt>
                      <c:pt idx="4159">
                        <c:v>0</c:v>
                      </c:pt>
                      <c:pt idx="4160">
                        <c:v>0</c:v>
                      </c:pt>
                      <c:pt idx="4161">
                        <c:v>0</c:v>
                      </c:pt>
                      <c:pt idx="4162">
                        <c:v>0</c:v>
                      </c:pt>
                      <c:pt idx="4163">
                        <c:v>0</c:v>
                      </c:pt>
                      <c:pt idx="4164">
                        <c:v>0</c:v>
                      </c:pt>
                      <c:pt idx="4165">
                        <c:v>0</c:v>
                      </c:pt>
                      <c:pt idx="4166">
                        <c:v>0</c:v>
                      </c:pt>
                      <c:pt idx="4167">
                        <c:v>0</c:v>
                      </c:pt>
                      <c:pt idx="4168">
                        <c:v>0</c:v>
                      </c:pt>
                      <c:pt idx="4169">
                        <c:v>0</c:v>
                      </c:pt>
                      <c:pt idx="4170">
                        <c:v>0</c:v>
                      </c:pt>
                      <c:pt idx="4171">
                        <c:v>0</c:v>
                      </c:pt>
                      <c:pt idx="4172">
                        <c:v>0</c:v>
                      </c:pt>
                      <c:pt idx="4173">
                        <c:v>0</c:v>
                      </c:pt>
                      <c:pt idx="4174">
                        <c:v>0</c:v>
                      </c:pt>
                      <c:pt idx="4175">
                        <c:v>0</c:v>
                      </c:pt>
                      <c:pt idx="4176">
                        <c:v>0</c:v>
                      </c:pt>
                      <c:pt idx="4177">
                        <c:v>0</c:v>
                      </c:pt>
                      <c:pt idx="4178">
                        <c:v>0</c:v>
                      </c:pt>
                      <c:pt idx="4179">
                        <c:v>0</c:v>
                      </c:pt>
                      <c:pt idx="4180">
                        <c:v>0</c:v>
                      </c:pt>
                      <c:pt idx="4181">
                        <c:v>0</c:v>
                      </c:pt>
                      <c:pt idx="4182">
                        <c:v>0</c:v>
                      </c:pt>
                      <c:pt idx="4183">
                        <c:v>0</c:v>
                      </c:pt>
                      <c:pt idx="4184">
                        <c:v>0</c:v>
                      </c:pt>
                      <c:pt idx="4185">
                        <c:v>0</c:v>
                      </c:pt>
                      <c:pt idx="4186">
                        <c:v>0</c:v>
                      </c:pt>
                      <c:pt idx="4187">
                        <c:v>0</c:v>
                      </c:pt>
                      <c:pt idx="4188">
                        <c:v>0</c:v>
                      </c:pt>
                      <c:pt idx="4189">
                        <c:v>0</c:v>
                      </c:pt>
                      <c:pt idx="4190">
                        <c:v>0</c:v>
                      </c:pt>
                      <c:pt idx="4191">
                        <c:v>0</c:v>
                      </c:pt>
                      <c:pt idx="4192">
                        <c:v>0</c:v>
                      </c:pt>
                      <c:pt idx="4193">
                        <c:v>0</c:v>
                      </c:pt>
                      <c:pt idx="4194">
                        <c:v>0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</c:v>
                      </c:pt>
                      <c:pt idx="4203">
                        <c:v>0</c:v>
                      </c:pt>
                      <c:pt idx="4204">
                        <c:v>0</c:v>
                      </c:pt>
                      <c:pt idx="4205">
                        <c:v>0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0</c:v>
                      </c:pt>
                      <c:pt idx="5193">
                        <c:v>0</c:v>
                      </c:pt>
                      <c:pt idx="5194">
                        <c:v>0</c:v>
                      </c:pt>
                      <c:pt idx="5195">
                        <c:v>0</c:v>
                      </c:pt>
                      <c:pt idx="5196">
                        <c:v>0</c:v>
                      </c:pt>
                      <c:pt idx="5197">
                        <c:v>0</c:v>
                      </c:pt>
                      <c:pt idx="5198">
                        <c:v>0</c:v>
                      </c:pt>
                      <c:pt idx="5199">
                        <c:v>0</c:v>
                      </c:pt>
                      <c:pt idx="5200">
                        <c:v>0</c:v>
                      </c:pt>
                      <c:pt idx="5201">
                        <c:v>0</c:v>
                      </c:pt>
                      <c:pt idx="5202">
                        <c:v>0</c:v>
                      </c:pt>
                      <c:pt idx="5203">
                        <c:v>0</c:v>
                      </c:pt>
                      <c:pt idx="5204">
                        <c:v>0</c:v>
                      </c:pt>
                      <c:pt idx="5205">
                        <c:v>0</c:v>
                      </c:pt>
                      <c:pt idx="5206">
                        <c:v>0</c:v>
                      </c:pt>
                      <c:pt idx="5207">
                        <c:v>0</c:v>
                      </c:pt>
                      <c:pt idx="5208">
                        <c:v>0</c:v>
                      </c:pt>
                      <c:pt idx="5209">
                        <c:v>0</c:v>
                      </c:pt>
                      <c:pt idx="5210">
                        <c:v>0</c:v>
                      </c:pt>
                      <c:pt idx="5211">
                        <c:v>0</c:v>
                      </c:pt>
                      <c:pt idx="5212">
                        <c:v>0</c:v>
                      </c:pt>
                      <c:pt idx="5213">
                        <c:v>0</c:v>
                      </c:pt>
                      <c:pt idx="5214">
                        <c:v>0</c:v>
                      </c:pt>
                      <c:pt idx="5215">
                        <c:v>0</c:v>
                      </c:pt>
                      <c:pt idx="5216">
                        <c:v>0</c:v>
                      </c:pt>
                      <c:pt idx="5217">
                        <c:v>0</c:v>
                      </c:pt>
                      <c:pt idx="5218">
                        <c:v>0</c:v>
                      </c:pt>
                      <c:pt idx="5219">
                        <c:v>0</c:v>
                      </c:pt>
                      <c:pt idx="5220">
                        <c:v>0</c:v>
                      </c:pt>
                      <c:pt idx="5221">
                        <c:v>0</c:v>
                      </c:pt>
                      <c:pt idx="5222">
                        <c:v>0</c:v>
                      </c:pt>
                      <c:pt idx="5223">
                        <c:v>0</c:v>
                      </c:pt>
                      <c:pt idx="5224">
                        <c:v>0</c:v>
                      </c:pt>
                      <c:pt idx="5225">
                        <c:v>0</c:v>
                      </c:pt>
                      <c:pt idx="5226">
                        <c:v>0</c:v>
                      </c:pt>
                      <c:pt idx="5227">
                        <c:v>0</c:v>
                      </c:pt>
                      <c:pt idx="5228">
                        <c:v>0</c:v>
                      </c:pt>
                      <c:pt idx="5229">
                        <c:v>0</c:v>
                      </c:pt>
                      <c:pt idx="5230">
                        <c:v>0</c:v>
                      </c:pt>
                      <c:pt idx="5231">
                        <c:v>0</c:v>
                      </c:pt>
                      <c:pt idx="5232">
                        <c:v>0</c:v>
                      </c:pt>
                      <c:pt idx="5233">
                        <c:v>0</c:v>
                      </c:pt>
                      <c:pt idx="5234">
                        <c:v>0</c:v>
                      </c:pt>
                      <c:pt idx="5235">
                        <c:v>0</c:v>
                      </c:pt>
                      <c:pt idx="5236">
                        <c:v>0</c:v>
                      </c:pt>
                      <c:pt idx="5237">
                        <c:v>0</c:v>
                      </c:pt>
                      <c:pt idx="5238">
                        <c:v>0</c:v>
                      </c:pt>
                      <c:pt idx="5239">
                        <c:v>0</c:v>
                      </c:pt>
                      <c:pt idx="5240">
                        <c:v>0</c:v>
                      </c:pt>
                      <c:pt idx="5241">
                        <c:v>0</c:v>
                      </c:pt>
                      <c:pt idx="5242">
                        <c:v>0</c:v>
                      </c:pt>
                      <c:pt idx="5243">
                        <c:v>0</c:v>
                      </c:pt>
                      <c:pt idx="5244">
                        <c:v>0</c:v>
                      </c:pt>
                      <c:pt idx="5245">
                        <c:v>0</c:v>
                      </c:pt>
                      <c:pt idx="5246">
                        <c:v>0</c:v>
                      </c:pt>
                      <c:pt idx="5247">
                        <c:v>0</c:v>
                      </c:pt>
                      <c:pt idx="5248">
                        <c:v>0</c:v>
                      </c:pt>
                      <c:pt idx="5249">
                        <c:v>0</c:v>
                      </c:pt>
                      <c:pt idx="5250">
                        <c:v>0</c:v>
                      </c:pt>
                      <c:pt idx="5251">
                        <c:v>0</c:v>
                      </c:pt>
                      <c:pt idx="5252">
                        <c:v>0</c:v>
                      </c:pt>
                      <c:pt idx="5253">
                        <c:v>0</c:v>
                      </c:pt>
                      <c:pt idx="5254">
                        <c:v>0</c:v>
                      </c:pt>
                      <c:pt idx="5255">
                        <c:v>0</c:v>
                      </c:pt>
                      <c:pt idx="5256">
                        <c:v>0</c:v>
                      </c:pt>
                      <c:pt idx="5257">
                        <c:v>0</c:v>
                      </c:pt>
                      <c:pt idx="5258">
                        <c:v>0</c:v>
                      </c:pt>
                      <c:pt idx="5259">
                        <c:v>0</c:v>
                      </c:pt>
                      <c:pt idx="5260">
                        <c:v>0</c:v>
                      </c:pt>
                      <c:pt idx="5261">
                        <c:v>0</c:v>
                      </c:pt>
                      <c:pt idx="5262">
                        <c:v>0</c:v>
                      </c:pt>
                      <c:pt idx="5263">
                        <c:v>0</c:v>
                      </c:pt>
                      <c:pt idx="5264">
                        <c:v>0</c:v>
                      </c:pt>
                      <c:pt idx="5265">
                        <c:v>0</c:v>
                      </c:pt>
                      <c:pt idx="5266">
                        <c:v>0</c:v>
                      </c:pt>
                      <c:pt idx="5267">
                        <c:v>0</c:v>
                      </c:pt>
                      <c:pt idx="5268">
                        <c:v>0</c:v>
                      </c:pt>
                      <c:pt idx="5269">
                        <c:v>0</c:v>
                      </c:pt>
                      <c:pt idx="5270">
                        <c:v>0</c:v>
                      </c:pt>
                      <c:pt idx="5271">
                        <c:v>0</c:v>
                      </c:pt>
                      <c:pt idx="5272">
                        <c:v>0</c:v>
                      </c:pt>
                      <c:pt idx="5273">
                        <c:v>0</c:v>
                      </c:pt>
                      <c:pt idx="5274">
                        <c:v>0</c:v>
                      </c:pt>
                      <c:pt idx="5275">
                        <c:v>0</c:v>
                      </c:pt>
                      <c:pt idx="5276">
                        <c:v>0</c:v>
                      </c:pt>
                      <c:pt idx="5277">
                        <c:v>0</c:v>
                      </c:pt>
                      <c:pt idx="5278">
                        <c:v>0</c:v>
                      </c:pt>
                      <c:pt idx="5279">
                        <c:v>0</c:v>
                      </c:pt>
                      <c:pt idx="5280">
                        <c:v>0</c:v>
                      </c:pt>
                      <c:pt idx="5281">
                        <c:v>0</c:v>
                      </c:pt>
                      <c:pt idx="5282">
                        <c:v>0</c:v>
                      </c:pt>
                      <c:pt idx="5283">
                        <c:v>0</c:v>
                      </c:pt>
                      <c:pt idx="5284">
                        <c:v>0</c:v>
                      </c:pt>
                      <c:pt idx="5285">
                        <c:v>0</c:v>
                      </c:pt>
                      <c:pt idx="5286">
                        <c:v>0</c:v>
                      </c:pt>
                      <c:pt idx="5287">
                        <c:v>0</c:v>
                      </c:pt>
                      <c:pt idx="5288">
                        <c:v>0</c:v>
                      </c:pt>
                      <c:pt idx="5289">
                        <c:v>0</c:v>
                      </c:pt>
                      <c:pt idx="5290">
                        <c:v>0</c:v>
                      </c:pt>
                      <c:pt idx="5291">
                        <c:v>0</c:v>
                      </c:pt>
                      <c:pt idx="5292">
                        <c:v>0</c:v>
                      </c:pt>
                      <c:pt idx="5293">
                        <c:v>0</c:v>
                      </c:pt>
                      <c:pt idx="5294">
                        <c:v>0</c:v>
                      </c:pt>
                      <c:pt idx="5295">
                        <c:v>0</c:v>
                      </c:pt>
                      <c:pt idx="5296">
                        <c:v>0</c:v>
                      </c:pt>
                      <c:pt idx="5297">
                        <c:v>0</c:v>
                      </c:pt>
                      <c:pt idx="5298">
                        <c:v>0</c:v>
                      </c:pt>
                      <c:pt idx="5299">
                        <c:v>0</c:v>
                      </c:pt>
                      <c:pt idx="5300">
                        <c:v>0</c:v>
                      </c:pt>
                      <c:pt idx="5301">
                        <c:v>0</c:v>
                      </c:pt>
                      <c:pt idx="5302">
                        <c:v>0</c:v>
                      </c:pt>
                      <c:pt idx="5303">
                        <c:v>0</c:v>
                      </c:pt>
                      <c:pt idx="5304">
                        <c:v>0</c:v>
                      </c:pt>
                      <c:pt idx="5305">
                        <c:v>0</c:v>
                      </c:pt>
                      <c:pt idx="5306">
                        <c:v>0</c:v>
                      </c:pt>
                      <c:pt idx="5307">
                        <c:v>0</c:v>
                      </c:pt>
                      <c:pt idx="5308">
                        <c:v>0</c:v>
                      </c:pt>
                      <c:pt idx="5309">
                        <c:v>0</c:v>
                      </c:pt>
                      <c:pt idx="5310">
                        <c:v>0</c:v>
                      </c:pt>
                      <c:pt idx="5311">
                        <c:v>0</c:v>
                      </c:pt>
                      <c:pt idx="5312">
                        <c:v>0</c:v>
                      </c:pt>
                      <c:pt idx="5313">
                        <c:v>0</c:v>
                      </c:pt>
                      <c:pt idx="5314">
                        <c:v>0</c:v>
                      </c:pt>
                      <c:pt idx="5315">
                        <c:v>0</c:v>
                      </c:pt>
                      <c:pt idx="5316">
                        <c:v>0</c:v>
                      </c:pt>
                      <c:pt idx="5317">
                        <c:v>0</c:v>
                      </c:pt>
                      <c:pt idx="5318">
                        <c:v>0</c:v>
                      </c:pt>
                      <c:pt idx="5319">
                        <c:v>0</c:v>
                      </c:pt>
                      <c:pt idx="5320">
                        <c:v>0</c:v>
                      </c:pt>
                      <c:pt idx="5321">
                        <c:v>0</c:v>
                      </c:pt>
                      <c:pt idx="5322">
                        <c:v>0</c:v>
                      </c:pt>
                      <c:pt idx="5323">
                        <c:v>0</c:v>
                      </c:pt>
                      <c:pt idx="5324">
                        <c:v>0</c:v>
                      </c:pt>
                      <c:pt idx="5325">
                        <c:v>0</c:v>
                      </c:pt>
                      <c:pt idx="5326">
                        <c:v>0</c:v>
                      </c:pt>
                      <c:pt idx="5327">
                        <c:v>0</c:v>
                      </c:pt>
                      <c:pt idx="5328">
                        <c:v>0</c:v>
                      </c:pt>
                      <c:pt idx="5329">
                        <c:v>0</c:v>
                      </c:pt>
                      <c:pt idx="5330">
                        <c:v>0</c:v>
                      </c:pt>
                      <c:pt idx="5331">
                        <c:v>0</c:v>
                      </c:pt>
                      <c:pt idx="5332">
                        <c:v>0</c:v>
                      </c:pt>
                      <c:pt idx="5333">
                        <c:v>0</c:v>
                      </c:pt>
                      <c:pt idx="5334">
                        <c:v>0</c:v>
                      </c:pt>
                      <c:pt idx="5335">
                        <c:v>0</c:v>
                      </c:pt>
                      <c:pt idx="5336">
                        <c:v>0</c:v>
                      </c:pt>
                      <c:pt idx="5337">
                        <c:v>0</c:v>
                      </c:pt>
                      <c:pt idx="5338">
                        <c:v>0</c:v>
                      </c:pt>
                      <c:pt idx="5339">
                        <c:v>0</c:v>
                      </c:pt>
                      <c:pt idx="5340">
                        <c:v>0</c:v>
                      </c:pt>
                      <c:pt idx="5341">
                        <c:v>0</c:v>
                      </c:pt>
                      <c:pt idx="5342">
                        <c:v>0</c:v>
                      </c:pt>
                      <c:pt idx="5343">
                        <c:v>0</c:v>
                      </c:pt>
                      <c:pt idx="5344">
                        <c:v>0</c:v>
                      </c:pt>
                      <c:pt idx="5345">
                        <c:v>0</c:v>
                      </c:pt>
                      <c:pt idx="5346">
                        <c:v>0</c:v>
                      </c:pt>
                      <c:pt idx="5347">
                        <c:v>0</c:v>
                      </c:pt>
                      <c:pt idx="5348">
                        <c:v>0</c:v>
                      </c:pt>
                      <c:pt idx="5349">
                        <c:v>0</c:v>
                      </c:pt>
                      <c:pt idx="5350">
                        <c:v>0</c:v>
                      </c:pt>
                      <c:pt idx="5351">
                        <c:v>0</c:v>
                      </c:pt>
                      <c:pt idx="5352">
                        <c:v>0</c:v>
                      </c:pt>
                      <c:pt idx="5353">
                        <c:v>0</c:v>
                      </c:pt>
                      <c:pt idx="5354">
                        <c:v>0</c:v>
                      </c:pt>
                      <c:pt idx="5355">
                        <c:v>0</c:v>
                      </c:pt>
                      <c:pt idx="5356">
                        <c:v>0</c:v>
                      </c:pt>
                      <c:pt idx="5357">
                        <c:v>0</c:v>
                      </c:pt>
                      <c:pt idx="5358">
                        <c:v>0</c:v>
                      </c:pt>
                      <c:pt idx="5359">
                        <c:v>0</c:v>
                      </c:pt>
                      <c:pt idx="5360">
                        <c:v>0</c:v>
                      </c:pt>
                      <c:pt idx="5361">
                        <c:v>0</c:v>
                      </c:pt>
                      <c:pt idx="5362">
                        <c:v>0</c:v>
                      </c:pt>
                      <c:pt idx="5363">
                        <c:v>0</c:v>
                      </c:pt>
                      <c:pt idx="5364">
                        <c:v>0</c:v>
                      </c:pt>
                      <c:pt idx="5365">
                        <c:v>0</c:v>
                      </c:pt>
                      <c:pt idx="5366">
                        <c:v>0</c:v>
                      </c:pt>
                      <c:pt idx="5367">
                        <c:v>0</c:v>
                      </c:pt>
                      <c:pt idx="5368">
                        <c:v>0</c:v>
                      </c:pt>
                      <c:pt idx="5369">
                        <c:v>0</c:v>
                      </c:pt>
                      <c:pt idx="5370">
                        <c:v>0</c:v>
                      </c:pt>
                      <c:pt idx="5371">
                        <c:v>0</c:v>
                      </c:pt>
                      <c:pt idx="5372">
                        <c:v>0</c:v>
                      </c:pt>
                      <c:pt idx="5373">
                        <c:v>0</c:v>
                      </c:pt>
                      <c:pt idx="5374">
                        <c:v>0</c:v>
                      </c:pt>
                      <c:pt idx="5375">
                        <c:v>0</c:v>
                      </c:pt>
                      <c:pt idx="5376">
                        <c:v>0</c:v>
                      </c:pt>
                      <c:pt idx="5377">
                        <c:v>0</c:v>
                      </c:pt>
                      <c:pt idx="5378">
                        <c:v>0</c:v>
                      </c:pt>
                      <c:pt idx="5379">
                        <c:v>0</c:v>
                      </c:pt>
                      <c:pt idx="5380">
                        <c:v>0</c:v>
                      </c:pt>
                      <c:pt idx="5381">
                        <c:v>0</c:v>
                      </c:pt>
                      <c:pt idx="5382">
                        <c:v>0</c:v>
                      </c:pt>
                      <c:pt idx="5383">
                        <c:v>0</c:v>
                      </c:pt>
                      <c:pt idx="5384">
                        <c:v>0</c:v>
                      </c:pt>
                      <c:pt idx="5385">
                        <c:v>0</c:v>
                      </c:pt>
                      <c:pt idx="5386">
                        <c:v>0</c:v>
                      </c:pt>
                      <c:pt idx="5387">
                        <c:v>0</c:v>
                      </c:pt>
                      <c:pt idx="5388">
                        <c:v>0</c:v>
                      </c:pt>
                      <c:pt idx="5389">
                        <c:v>0</c:v>
                      </c:pt>
                      <c:pt idx="5390">
                        <c:v>0</c:v>
                      </c:pt>
                      <c:pt idx="5391">
                        <c:v>0</c:v>
                      </c:pt>
                      <c:pt idx="5392">
                        <c:v>0</c:v>
                      </c:pt>
                      <c:pt idx="5393">
                        <c:v>0</c:v>
                      </c:pt>
                      <c:pt idx="5394">
                        <c:v>0</c:v>
                      </c:pt>
                      <c:pt idx="5395">
                        <c:v>0</c:v>
                      </c:pt>
                      <c:pt idx="5396">
                        <c:v>0</c:v>
                      </c:pt>
                      <c:pt idx="5397">
                        <c:v>0</c:v>
                      </c:pt>
                      <c:pt idx="5398">
                        <c:v>0</c:v>
                      </c:pt>
                      <c:pt idx="5399">
                        <c:v>0</c:v>
                      </c:pt>
                      <c:pt idx="5400">
                        <c:v>0</c:v>
                      </c:pt>
                      <c:pt idx="5401">
                        <c:v>0</c:v>
                      </c:pt>
                      <c:pt idx="5402">
                        <c:v>0</c:v>
                      </c:pt>
                      <c:pt idx="5403">
                        <c:v>0</c:v>
                      </c:pt>
                      <c:pt idx="5404">
                        <c:v>0</c:v>
                      </c:pt>
                      <c:pt idx="5405">
                        <c:v>0</c:v>
                      </c:pt>
                      <c:pt idx="5406">
                        <c:v>0</c:v>
                      </c:pt>
                      <c:pt idx="5407">
                        <c:v>0</c:v>
                      </c:pt>
                      <c:pt idx="5408">
                        <c:v>0</c:v>
                      </c:pt>
                      <c:pt idx="5409">
                        <c:v>0</c:v>
                      </c:pt>
                      <c:pt idx="5410">
                        <c:v>0</c:v>
                      </c:pt>
                      <c:pt idx="5411">
                        <c:v>0</c:v>
                      </c:pt>
                      <c:pt idx="5412">
                        <c:v>0</c:v>
                      </c:pt>
                      <c:pt idx="5413">
                        <c:v>0</c:v>
                      </c:pt>
                      <c:pt idx="5414">
                        <c:v>0</c:v>
                      </c:pt>
                      <c:pt idx="5415">
                        <c:v>0</c:v>
                      </c:pt>
                      <c:pt idx="5416">
                        <c:v>0</c:v>
                      </c:pt>
                      <c:pt idx="5417">
                        <c:v>0</c:v>
                      </c:pt>
                      <c:pt idx="5418">
                        <c:v>0</c:v>
                      </c:pt>
                      <c:pt idx="5419">
                        <c:v>0</c:v>
                      </c:pt>
                      <c:pt idx="5420">
                        <c:v>0</c:v>
                      </c:pt>
                      <c:pt idx="5421">
                        <c:v>0</c:v>
                      </c:pt>
                      <c:pt idx="5422">
                        <c:v>0</c:v>
                      </c:pt>
                      <c:pt idx="5423">
                        <c:v>0</c:v>
                      </c:pt>
                      <c:pt idx="5424">
                        <c:v>0</c:v>
                      </c:pt>
                      <c:pt idx="5425">
                        <c:v>0</c:v>
                      </c:pt>
                      <c:pt idx="5426">
                        <c:v>0</c:v>
                      </c:pt>
                      <c:pt idx="5427">
                        <c:v>0</c:v>
                      </c:pt>
                      <c:pt idx="5428">
                        <c:v>0</c:v>
                      </c:pt>
                      <c:pt idx="5429">
                        <c:v>0</c:v>
                      </c:pt>
                      <c:pt idx="5430">
                        <c:v>0</c:v>
                      </c:pt>
                      <c:pt idx="5431">
                        <c:v>0</c:v>
                      </c:pt>
                      <c:pt idx="5432">
                        <c:v>0</c:v>
                      </c:pt>
                      <c:pt idx="5433">
                        <c:v>0</c:v>
                      </c:pt>
                      <c:pt idx="5434">
                        <c:v>0</c:v>
                      </c:pt>
                      <c:pt idx="5435">
                        <c:v>0</c:v>
                      </c:pt>
                      <c:pt idx="5436">
                        <c:v>0</c:v>
                      </c:pt>
                      <c:pt idx="5437">
                        <c:v>0</c:v>
                      </c:pt>
                      <c:pt idx="5438">
                        <c:v>0</c:v>
                      </c:pt>
                      <c:pt idx="5439">
                        <c:v>0</c:v>
                      </c:pt>
                      <c:pt idx="5440">
                        <c:v>0</c:v>
                      </c:pt>
                      <c:pt idx="5441">
                        <c:v>0</c:v>
                      </c:pt>
                      <c:pt idx="5442">
                        <c:v>0</c:v>
                      </c:pt>
                      <c:pt idx="5443">
                        <c:v>0</c:v>
                      </c:pt>
                      <c:pt idx="5444">
                        <c:v>0</c:v>
                      </c:pt>
                      <c:pt idx="5445">
                        <c:v>0</c:v>
                      </c:pt>
                      <c:pt idx="5446">
                        <c:v>0</c:v>
                      </c:pt>
                      <c:pt idx="5447">
                        <c:v>0</c:v>
                      </c:pt>
                      <c:pt idx="5448">
                        <c:v>0</c:v>
                      </c:pt>
                      <c:pt idx="5449">
                        <c:v>0</c:v>
                      </c:pt>
                      <c:pt idx="5450">
                        <c:v>0</c:v>
                      </c:pt>
                      <c:pt idx="5451">
                        <c:v>0</c:v>
                      </c:pt>
                      <c:pt idx="5452">
                        <c:v>0</c:v>
                      </c:pt>
                      <c:pt idx="5453">
                        <c:v>0</c:v>
                      </c:pt>
                      <c:pt idx="5454">
                        <c:v>0</c:v>
                      </c:pt>
                      <c:pt idx="5455">
                        <c:v>0</c:v>
                      </c:pt>
                      <c:pt idx="5456">
                        <c:v>0</c:v>
                      </c:pt>
                      <c:pt idx="5457">
                        <c:v>0</c:v>
                      </c:pt>
                      <c:pt idx="5458">
                        <c:v>0</c:v>
                      </c:pt>
                      <c:pt idx="5459">
                        <c:v>0</c:v>
                      </c:pt>
                      <c:pt idx="5460">
                        <c:v>0</c:v>
                      </c:pt>
                      <c:pt idx="5461">
                        <c:v>0</c:v>
                      </c:pt>
                      <c:pt idx="5462">
                        <c:v>0</c:v>
                      </c:pt>
                      <c:pt idx="5463">
                        <c:v>0</c:v>
                      </c:pt>
                      <c:pt idx="5464">
                        <c:v>0</c:v>
                      </c:pt>
                      <c:pt idx="5465">
                        <c:v>0</c:v>
                      </c:pt>
                      <c:pt idx="5466">
                        <c:v>0</c:v>
                      </c:pt>
                      <c:pt idx="5467">
                        <c:v>0</c:v>
                      </c:pt>
                      <c:pt idx="5468">
                        <c:v>0</c:v>
                      </c:pt>
                      <c:pt idx="5469">
                        <c:v>0</c:v>
                      </c:pt>
                      <c:pt idx="5470">
                        <c:v>0</c:v>
                      </c:pt>
                      <c:pt idx="5471">
                        <c:v>0</c:v>
                      </c:pt>
                      <c:pt idx="5472">
                        <c:v>0</c:v>
                      </c:pt>
                      <c:pt idx="5473">
                        <c:v>0</c:v>
                      </c:pt>
                      <c:pt idx="5474">
                        <c:v>0</c:v>
                      </c:pt>
                      <c:pt idx="5475">
                        <c:v>0</c:v>
                      </c:pt>
                      <c:pt idx="5476">
                        <c:v>0</c:v>
                      </c:pt>
                      <c:pt idx="5477">
                        <c:v>0</c:v>
                      </c:pt>
                      <c:pt idx="5478">
                        <c:v>0</c:v>
                      </c:pt>
                      <c:pt idx="5479">
                        <c:v>0</c:v>
                      </c:pt>
                      <c:pt idx="5480">
                        <c:v>0</c:v>
                      </c:pt>
                      <c:pt idx="5481">
                        <c:v>0</c:v>
                      </c:pt>
                      <c:pt idx="5482">
                        <c:v>0</c:v>
                      </c:pt>
                      <c:pt idx="5483">
                        <c:v>0</c:v>
                      </c:pt>
                      <c:pt idx="5484">
                        <c:v>0</c:v>
                      </c:pt>
                      <c:pt idx="5485">
                        <c:v>0</c:v>
                      </c:pt>
                      <c:pt idx="5486">
                        <c:v>0</c:v>
                      </c:pt>
                      <c:pt idx="5487">
                        <c:v>0</c:v>
                      </c:pt>
                      <c:pt idx="5488">
                        <c:v>0</c:v>
                      </c:pt>
                      <c:pt idx="5489">
                        <c:v>0</c:v>
                      </c:pt>
                      <c:pt idx="5490">
                        <c:v>0</c:v>
                      </c:pt>
                      <c:pt idx="5491">
                        <c:v>0</c:v>
                      </c:pt>
                      <c:pt idx="5492">
                        <c:v>0</c:v>
                      </c:pt>
                      <c:pt idx="5493">
                        <c:v>0</c:v>
                      </c:pt>
                      <c:pt idx="5494">
                        <c:v>0</c:v>
                      </c:pt>
                      <c:pt idx="5495">
                        <c:v>0</c:v>
                      </c:pt>
                      <c:pt idx="5496">
                        <c:v>0</c:v>
                      </c:pt>
                      <c:pt idx="5497">
                        <c:v>0</c:v>
                      </c:pt>
                      <c:pt idx="5498">
                        <c:v>0</c:v>
                      </c:pt>
                      <c:pt idx="5499">
                        <c:v>0</c:v>
                      </c:pt>
                      <c:pt idx="5500">
                        <c:v>0</c:v>
                      </c:pt>
                      <c:pt idx="5501">
                        <c:v>0</c:v>
                      </c:pt>
                      <c:pt idx="5502">
                        <c:v>0</c:v>
                      </c:pt>
                      <c:pt idx="5503">
                        <c:v>0</c:v>
                      </c:pt>
                      <c:pt idx="5504">
                        <c:v>0</c:v>
                      </c:pt>
                      <c:pt idx="5505">
                        <c:v>0</c:v>
                      </c:pt>
                      <c:pt idx="5506">
                        <c:v>0</c:v>
                      </c:pt>
                      <c:pt idx="5507">
                        <c:v>0</c:v>
                      </c:pt>
                      <c:pt idx="5508">
                        <c:v>0</c:v>
                      </c:pt>
                      <c:pt idx="5509">
                        <c:v>0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</c:v>
                      </c:pt>
                      <c:pt idx="5514">
                        <c:v>0</c:v>
                      </c:pt>
                      <c:pt idx="5515">
                        <c:v>0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</c:v>
                      </c:pt>
                      <c:pt idx="5538">
                        <c:v>0</c:v>
                      </c:pt>
                      <c:pt idx="5539">
                        <c:v>0</c:v>
                      </c:pt>
                      <c:pt idx="5540">
                        <c:v>0</c:v>
                      </c:pt>
                      <c:pt idx="5541">
                        <c:v>0</c:v>
                      </c:pt>
                      <c:pt idx="5542">
                        <c:v>0</c:v>
                      </c:pt>
                      <c:pt idx="5543">
                        <c:v>0</c:v>
                      </c:pt>
                      <c:pt idx="5544">
                        <c:v>0</c:v>
                      </c:pt>
                      <c:pt idx="5545">
                        <c:v>0</c:v>
                      </c:pt>
                      <c:pt idx="5546">
                        <c:v>0</c:v>
                      </c:pt>
                      <c:pt idx="5547">
                        <c:v>0</c:v>
                      </c:pt>
                      <c:pt idx="5548">
                        <c:v>0</c:v>
                      </c:pt>
                      <c:pt idx="5549">
                        <c:v>0</c:v>
                      </c:pt>
                      <c:pt idx="5550">
                        <c:v>0</c:v>
                      </c:pt>
                      <c:pt idx="5551">
                        <c:v>0</c:v>
                      </c:pt>
                      <c:pt idx="5552">
                        <c:v>0</c:v>
                      </c:pt>
                      <c:pt idx="5553">
                        <c:v>0</c:v>
                      </c:pt>
                      <c:pt idx="5554">
                        <c:v>0</c:v>
                      </c:pt>
                      <c:pt idx="5555">
                        <c:v>0</c:v>
                      </c:pt>
                      <c:pt idx="5556">
                        <c:v>0</c:v>
                      </c:pt>
                      <c:pt idx="5557">
                        <c:v>0</c:v>
                      </c:pt>
                      <c:pt idx="5558">
                        <c:v>0</c:v>
                      </c:pt>
                      <c:pt idx="5559">
                        <c:v>0</c:v>
                      </c:pt>
                      <c:pt idx="5560">
                        <c:v>0</c:v>
                      </c:pt>
                      <c:pt idx="5561">
                        <c:v>0</c:v>
                      </c:pt>
                      <c:pt idx="5562">
                        <c:v>0</c:v>
                      </c:pt>
                      <c:pt idx="5563">
                        <c:v>0</c:v>
                      </c:pt>
                      <c:pt idx="5564">
                        <c:v>0</c:v>
                      </c:pt>
                      <c:pt idx="5565">
                        <c:v>0</c:v>
                      </c:pt>
                      <c:pt idx="5566">
                        <c:v>0</c:v>
                      </c:pt>
                      <c:pt idx="5567">
                        <c:v>0</c:v>
                      </c:pt>
                      <c:pt idx="5568">
                        <c:v>0</c:v>
                      </c:pt>
                      <c:pt idx="5569">
                        <c:v>0</c:v>
                      </c:pt>
                      <c:pt idx="5570">
                        <c:v>0</c:v>
                      </c:pt>
                      <c:pt idx="5571">
                        <c:v>0</c:v>
                      </c:pt>
                      <c:pt idx="5572">
                        <c:v>0</c:v>
                      </c:pt>
                      <c:pt idx="5573">
                        <c:v>0</c:v>
                      </c:pt>
                      <c:pt idx="5574">
                        <c:v>0</c:v>
                      </c:pt>
                      <c:pt idx="5575">
                        <c:v>0</c:v>
                      </c:pt>
                      <c:pt idx="5576">
                        <c:v>0</c:v>
                      </c:pt>
                      <c:pt idx="5577">
                        <c:v>0</c:v>
                      </c:pt>
                      <c:pt idx="5578">
                        <c:v>0</c:v>
                      </c:pt>
                      <c:pt idx="5579">
                        <c:v>0</c:v>
                      </c:pt>
                      <c:pt idx="5580">
                        <c:v>0</c:v>
                      </c:pt>
                      <c:pt idx="5581">
                        <c:v>0</c:v>
                      </c:pt>
                      <c:pt idx="5582">
                        <c:v>0</c:v>
                      </c:pt>
                      <c:pt idx="5583">
                        <c:v>0</c:v>
                      </c:pt>
                      <c:pt idx="5584">
                        <c:v>0</c:v>
                      </c:pt>
                      <c:pt idx="5585">
                        <c:v>0</c:v>
                      </c:pt>
                      <c:pt idx="5586">
                        <c:v>0</c:v>
                      </c:pt>
                      <c:pt idx="5587">
                        <c:v>0</c:v>
                      </c:pt>
                      <c:pt idx="5588">
                        <c:v>0</c:v>
                      </c:pt>
                      <c:pt idx="5589">
                        <c:v>0</c:v>
                      </c:pt>
                      <c:pt idx="5590">
                        <c:v>0</c:v>
                      </c:pt>
                      <c:pt idx="5591">
                        <c:v>0</c:v>
                      </c:pt>
                      <c:pt idx="5592">
                        <c:v>0</c:v>
                      </c:pt>
                      <c:pt idx="5593">
                        <c:v>0</c:v>
                      </c:pt>
                      <c:pt idx="5594">
                        <c:v>0</c:v>
                      </c:pt>
                      <c:pt idx="5595">
                        <c:v>0</c:v>
                      </c:pt>
                      <c:pt idx="5596">
                        <c:v>0</c:v>
                      </c:pt>
                      <c:pt idx="5597">
                        <c:v>0</c:v>
                      </c:pt>
                      <c:pt idx="5598">
                        <c:v>0</c:v>
                      </c:pt>
                      <c:pt idx="5599">
                        <c:v>0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0</c:v>
                      </c:pt>
                      <c:pt idx="5605">
                        <c:v>0</c:v>
                      </c:pt>
                      <c:pt idx="5606">
                        <c:v>0</c:v>
                      </c:pt>
                      <c:pt idx="5607">
                        <c:v>0</c:v>
                      </c:pt>
                      <c:pt idx="5608">
                        <c:v>0</c:v>
                      </c:pt>
                      <c:pt idx="5609">
                        <c:v>0</c:v>
                      </c:pt>
                      <c:pt idx="5610">
                        <c:v>0</c:v>
                      </c:pt>
                      <c:pt idx="5611">
                        <c:v>0</c:v>
                      </c:pt>
                      <c:pt idx="5612">
                        <c:v>0</c:v>
                      </c:pt>
                      <c:pt idx="5613">
                        <c:v>0</c:v>
                      </c:pt>
                      <c:pt idx="5614">
                        <c:v>0</c:v>
                      </c:pt>
                      <c:pt idx="5615">
                        <c:v>0</c:v>
                      </c:pt>
                      <c:pt idx="5616">
                        <c:v>0</c:v>
                      </c:pt>
                      <c:pt idx="5617">
                        <c:v>0</c:v>
                      </c:pt>
                      <c:pt idx="5618">
                        <c:v>0</c:v>
                      </c:pt>
                      <c:pt idx="5619">
                        <c:v>0</c:v>
                      </c:pt>
                      <c:pt idx="5620">
                        <c:v>0</c:v>
                      </c:pt>
                      <c:pt idx="5621">
                        <c:v>0</c:v>
                      </c:pt>
                      <c:pt idx="5622">
                        <c:v>0</c:v>
                      </c:pt>
                      <c:pt idx="5623">
                        <c:v>0</c:v>
                      </c:pt>
                      <c:pt idx="5624">
                        <c:v>0</c:v>
                      </c:pt>
                      <c:pt idx="5625">
                        <c:v>0</c:v>
                      </c:pt>
                      <c:pt idx="5626">
                        <c:v>0</c:v>
                      </c:pt>
                      <c:pt idx="5627">
                        <c:v>0</c:v>
                      </c:pt>
                      <c:pt idx="5628">
                        <c:v>0</c:v>
                      </c:pt>
                      <c:pt idx="5629">
                        <c:v>0</c:v>
                      </c:pt>
                      <c:pt idx="5630">
                        <c:v>0</c:v>
                      </c:pt>
                      <c:pt idx="5631">
                        <c:v>0</c:v>
                      </c:pt>
                      <c:pt idx="5632">
                        <c:v>0</c:v>
                      </c:pt>
                      <c:pt idx="5633">
                        <c:v>0</c:v>
                      </c:pt>
                      <c:pt idx="5634">
                        <c:v>0</c:v>
                      </c:pt>
                      <c:pt idx="5635">
                        <c:v>0</c:v>
                      </c:pt>
                      <c:pt idx="5636">
                        <c:v>0</c:v>
                      </c:pt>
                      <c:pt idx="5637">
                        <c:v>0</c:v>
                      </c:pt>
                      <c:pt idx="5638">
                        <c:v>0</c:v>
                      </c:pt>
                      <c:pt idx="5639">
                        <c:v>0</c:v>
                      </c:pt>
                      <c:pt idx="5640">
                        <c:v>0</c:v>
                      </c:pt>
                      <c:pt idx="5641">
                        <c:v>0</c:v>
                      </c:pt>
                      <c:pt idx="5642">
                        <c:v>0</c:v>
                      </c:pt>
                      <c:pt idx="5643">
                        <c:v>0</c:v>
                      </c:pt>
                      <c:pt idx="5644">
                        <c:v>0</c:v>
                      </c:pt>
                      <c:pt idx="5645">
                        <c:v>0</c:v>
                      </c:pt>
                      <c:pt idx="5646">
                        <c:v>0</c:v>
                      </c:pt>
                      <c:pt idx="5647">
                        <c:v>0</c:v>
                      </c:pt>
                      <c:pt idx="5648">
                        <c:v>0</c:v>
                      </c:pt>
                      <c:pt idx="5649">
                        <c:v>0</c:v>
                      </c:pt>
                      <c:pt idx="5650">
                        <c:v>0</c:v>
                      </c:pt>
                      <c:pt idx="5651">
                        <c:v>0</c:v>
                      </c:pt>
                      <c:pt idx="5652">
                        <c:v>0</c:v>
                      </c:pt>
                      <c:pt idx="5653">
                        <c:v>0</c:v>
                      </c:pt>
                      <c:pt idx="5654">
                        <c:v>0</c:v>
                      </c:pt>
                      <c:pt idx="5655">
                        <c:v>0</c:v>
                      </c:pt>
                      <c:pt idx="5656">
                        <c:v>0</c:v>
                      </c:pt>
                      <c:pt idx="5657">
                        <c:v>0</c:v>
                      </c:pt>
                      <c:pt idx="5658">
                        <c:v>0</c:v>
                      </c:pt>
                      <c:pt idx="5659">
                        <c:v>0</c:v>
                      </c:pt>
                      <c:pt idx="5660">
                        <c:v>0</c:v>
                      </c:pt>
                      <c:pt idx="5661">
                        <c:v>0</c:v>
                      </c:pt>
                      <c:pt idx="5662">
                        <c:v>0</c:v>
                      </c:pt>
                      <c:pt idx="5663">
                        <c:v>0</c:v>
                      </c:pt>
                      <c:pt idx="5664">
                        <c:v>0</c:v>
                      </c:pt>
                      <c:pt idx="5665">
                        <c:v>0</c:v>
                      </c:pt>
                      <c:pt idx="5666">
                        <c:v>0</c:v>
                      </c:pt>
                      <c:pt idx="5667">
                        <c:v>0</c:v>
                      </c:pt>
                      <c:pt idx="5668">
                        <c:v>0</c:v>
                      </c:pt>
                      <c:pt idx="5669">
                        <c:v>0</c:v>
                      </c:pt>
                      <c:pt idx="5670">
                        <c:v>0</c:v>
                      </c:pt>
                      <c:pt idx="5671">
                        <c:v>0</c:v>
                      </c:pt>
                      <c:pt idx="5672">
                        <c:v>0</c:v>
                      </c:pt>
                      <c:pt idx="5673">
                        <c:v>0</c:v>
                      </c:pt>
                      <c:pt idx="5674">
                        <c:v>0</c:v>
                      </c:pt>
                      <c:pt idx="5675">
                        <c:v>0</c:v>
                      </c:pt>
                      <c:pt idx="5676">
                        <c:v>0</c:v>
                      </c:pt>
                      <c:pt idx="5677">
                        <c:v>0</c:v>
                      </c:pt>
                      <c:pt idx="5678">
                        <c:v>0</c:v>
                      </c:pt>
                      <c:pt idx="5679">
                        <c:v>0</c:v>
                      </c:pt>
                      <c:pt idx="5680">
                        <c:v>0</c:v>
                      </c:pt>
                      <c:pt idx="5681">
                        <c:v>0</c:v>
                      </c:pt>
                      <c:pt idx="5682">
                        <c:v>0</c:v>
                      </c:pt>
                      <c:pt idx="5683">
                        <c:v>0</c:v>
                      </c:pt>
                      <c:pt idx="5684">
                        <c:v>0</c:v>
                      </c:pt>
                      <c:pt idx="5685">
                        <c:v>0</c:v>
                      </c:pt>
                      <c:pt idx="5686">
                        <c:v>0</c:v>
                      </c:pt>
                      <c:pt idx="5687">
                        <c:v>0</c:v>
                      </c:pt>
                      <c:pt idx="5688">
                        <c:v>0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0</c:v>
                      </c:pt>
                      <c:pt idx="5699">
                        <c:v>0</c:v>
                      </c:pt>
                      <c:pt idx="5700">
                        <c:v>0</c:v>
                      </c:pt>
                      <c:pt idx="5701">
                        <c:v>0</c:v>
                      </c:pt>
                      <c:pt idx="5702">
                        <c:v>0</c:v>
                      </c:pt>
                      <c:pt idx="5703">
                        <c:v>0</c:v>
                      </c:pt>
                      <c:pt idx="5704">
                        <c:v>0</c:v>
                      </c:pt>
                      <c:pt idx="5705">
                        <c:v>0</c:v>
                      </c:pt>
                      <c:pt idx="5706">
                        <c:v>0</c:v>
                      </c:pt>
                      <c:pt idx="5707">
                        <c:v>0</c:v>
                      </c:pt>
                      <c:pt idx="5708">
                        <c:v>0</c:v>
                      </c:pt>
                      <c:pt idx="5709">
                        <c:v>0</c:v>
                      </c:pt>
                      <c:pt idx="5710">
                        <c:v>0</c:v>
                      </c:pt>
                      <c:pt idx="5711">
                        <c:v>0</c:v>
                      </c:pt>
                      <c:pt idx="5712">
                        <c:v>0</c:v>
                      </c:pt>
                      <c:pt idx="5713">
                        <c:v>0</c:v>
                      </c:pt>
                      <c:pt idx="5714">
                        <c:v>0</c:v>
                      </c:pt>
                      <c:pt idx="5715">
                        <c:v>0</c:v>
                      </c:pt>
                      <c:pt idx="5716">
                        <c:v>0</c:v>
                      </c:pt>
                      <c:pt idx="5717">
                        <c:v>0</c:v>
                      </c:pt>
                      <c:pt idx="5718">
                        <c:v>0</c:v>
                      </c:pt>
                      <c:pt idx="5719">
                        <c:v>0</c:v>
                      </c:pt>
                      <c:pt idx="5720">
                        <c:v>0</c:v>
                      </c:pt>
                      <c:pt idx="5721">
                        <c:v>0</c:v>
                      </c:pt>
                      <c:pt idx="5722">
                        <c:v>0</c:v>
                      </c:pt>
                      <c:pt idx="5723">
                        <c:v>0</c:v>
                      </c:pt>
                      <c:pt idx="5724">
                        <c:v>0</c:v>
                      </c:pt>
                      <c:pt idx="5725">
                        <c:v>0</c:v>
                      </c:pt>
                      <c:pt idx="5726">
                        <c:v>0</c:v>
                      </c:pt>
                      <c:pt idx="5727">
                        <c:v>0</c:v>
                      </c:pt>
                      <c:pt idx="5728">
                        <c:v>0</c:v>
                      </c:pt>
                      <c:pt idx="5729">
                        <c:v>0</c:v>
                      </c:pt>
                      <c:pt idx="5730">
                        <c:v>0</c:v>
                      </c:pt>
                      <c:pt idx="5731">
                        <c:v>0</c:v>
                      </c:pt>
                      <c:pt idx="5732">
                        <c:v>0</c:v>
                      </c:pt>
                      <c:pt idx="5733">
                        <c:v>0</c:v>
                      </c:pt>
                      <c:pt idx="5734">
                        <c:v>0</c:v>
                      </c:pt>
                      <c:pt idx="5735">
                        <c:v>0</c:v>
                      </c:pt>
                      <c:pt idx="5736">
                        <c:v>0</c:v>
                      </c:pt>
                      <c:pt idx="5737">
                        <c:v>0</c:v>
                      </c:pt>
                      <c:pt idx="5738">
                        <c:v>0</c:v>
                      </c:pt>
                      <c:pt idx="5739">
                        <c:v>0</c:v>
                      </c:pt>
                      <c:pt idx="5740">
                        <c:v>0</c:v>
                      </c:pt>
                      <c:pt idx="5741">
                        <c:v>0</c:v>
                      </c:pt>
                      <c:pt idx="5742">
                        <c:v>0</c:v>
                      </c:pt>
                      <c:pt idx="5743">
                        <c:v>0</c:v>
                      </c:pt>
                      <c:pt idx="5744">
                        <c:v>0</c:v>
                      </c:pt>
                      <c:pt idx="5745">
                        <c:v>0</c:v>
                      </c:pt>
                      <c:pt idx="5746">
                        <c:v>0</c:v>
                      </c:pt>
                      <c:pt idx="5747">
                        <c:v>0</c:v>
                      </c:pt>
                      <c:pt idx="5748">
                        <c:v>0</c:v>
                      </c:pt>
                      <c:pt idx="5749">
                        <c:v>0</c:v>
                      </c:pt>
                      <c:pt idx="5750">
                        <c:v>0</c:v>
                      </c:pt>
                      <c:pt idx="5751">
                        <c:v>0</c:v>
                      </c:pt>
                      <c:pt idx="5752">
                        <c:v>0</c:v>
                      </c:pt>
                      <c:pt idx="5753">
                        <c:v>0</c:v>
                      </c:pt>
                      <c:pt idx="5754">
                        <c:v>0</c:v>
                      </c:pt>
                      <c:pt idx="5755">
                        <c:v>0</c:v>
                      </c:pt>
                      <c:pt idx="5756">
                        <c:v>0</c:v>
                      </c:pt>
                      <c:pt idx="5757">
                        <c:v>0</c:v>
                      </c:pt>
                      <c:pt idx="5758">
                        <c:v>0</c:v>
                      </c:pt>
                      <c:pt idx="5759">
                        <c:v>0</c:v>
                      </c:pt>
                      <c:pt idx="5760">
                        <c:v>0</c:v>
                      </c:pt>
                      <c:pt idx="5761">
                        <c:v>0</c:v>
                      </c:pt>
                      <c:pt idx="5762">
                        <c:v>0</c:v>
                      </c:pt>
                      <c:pt idx="5763">
                        <c:v>0</c:v>
                      </c:pt>
                      <c:pt idx="5764">
                        <c:v>0</c:v>
                      </c:pt>
                      <c:pt idx="5765">
                        <c:v>0</c:v>
                      </c:pt>
                      <c:pt idx="5766">
                        <c:v>0</c:v>
                      </c:pt>
                      <c:pt idx="5767">
                        <c:v>0</c:v>
                      </c:pt>
                      <c:pt idx="5768">
                        <c:v>0</c:v>
                      </c:pt>
                      <c:pt idx="5769">
                        <c:v>0</c:v>
                      </c:pt>
                      <c:pt idx="5770">
                        <c:v>0</c:v>
                      </c:pt>
                      <c:pt idx="5771">
                        <c:v>0</c:v>
                      </c:pt>
                      <c:pt idx="5772">
                        <c:v>0</c:v>
                      </c:pt>
                      <c:pt idx="5773">
                        <c:v>0</c:v>
                      </c:pt>
                      <c:pt idx="5774">
                        <c:v>0</c:v>
                      </c:pt>
                      <c:pt idx="5775">
                        <c:v>0</c:v>
                      </c:pt>
                      <c:pt idx="5776">
                        <c:v>0</c:v>
                      </c:pt>
                      <c:pt idx="5777">
                        <c:v>0</c:v>
                      </c:pt>
                      <c:pt idx="5778">
                        <c:v>0</c:v>
                      </c:pt>
                      <c:pt idx="5779">
                        <c:v>0</c:v>
                      </c:pt>
                      <c:pt idx="5780">
                        <c:v>0</c:v>
                      </c:pt>
                      <c:pt idx="5781">
                        <c:v>0</c:v>
                      </c:pt>
                      <c:pt idx="5782">
                        <c:v>0</c:v>
                      </c:pt>
                      <c:pt idx="5783">
                        <c:v>0</c:v>
                      </c:pt>
                      <c:pt idx="5784">
                        <c:v>0</c:v>
                      </c:pt>
                      <c:pt idx="5785">
                        <c:v>0</c:v>
                      </c:pt>
                      <c:pt idx="5786">
                        <c:v>0</c:v>
                      </c:pt>
                      <c:pt idx="5787">
                        <c:v>0</c:v>
                      </c:pt>
                      <c:pt idx="5788">
                        <c:v>0</c:v>
                      </c:pt>
                      <c:pt idx="5789">
                        <c:v>0</c:v>
                      </c:pt>
                      <c:pt idx="5790">
                        <c:v>0</c:v>
                      </c:pt>
                      <c:pt idx="5791">
                        <c:v>0</c:v>
                      </c:pt>
                      <c:pt idx="5792">
                        <c:v>0</c:v>
                      </c:pt>
                      <c:pt idx="5793">
                        <c:v>0</c:v>
                      </c:pt>
                      <c:pt idx="5794">
                        <c:v>0</c:v>
                      </c:pt>
                      <c:pt idx="5795">
                        <c:v>0</c:v>
                      </c:pt>
                      <c:pt idx="5796">
                        <c:v>0</c:v>
                      </c:pt>
                      <c:pt idx="5797">
                        <c:v>0</c:v>
                      </c:pt>
                      <c:pt idx="5798">
                        <c:v>0</c:v>
                      </c:pt>
                      <c:pt idx="5799">
                        <c:v>0</c:v>
                      </c:pt>
                      <c:pt idx="5800">
                        <c:v>0</c:v>
                      </c:pt>
                      <c:pt idx="5801">
                        <c:v>0</c:v>
                      </c:pt>
                      <c:pt idx="5802">
                        <c:v>0</c:v>
                      </c:pt>
                      <c:pt idx="5803">
                        <c:v>0</c:v>
                      </c:pt>
                      <c:pt idx="5804">
                        <c:v>0</c:v>
                      </c:pt>
                      <c:pt idx="5805">
                        <c:v>0</c:v>
                      </c:pt>
                      <c:pt idx="5806">
                        <c:v>0</c:v>
                      </c:pt>
                      <c:pt idx="5807">
                        <c:v>0</c:v>
                      </c:pt>
                      <c:pt idx="5808">
                        <c:v>0</c:v>
                      </c:pt>
                      <c:pt idx="5809">
                        <c:v>0</c:v>
                      </c:pt>
                      <c:pt idx="5810">
                        <c:v>0</c:v>
                      </c:pt>
                      <c:pt idx="5811">
                        <c:v>0</c:v>
                      </c:pt>
                      <c:pt idx="5812">
                        <c:v>0</c:v>
                      </c:pt>
                      <c:pt idx="5813">
                        <c:v>0</c:v>
                      </c:pt>
                      <c:pt idx="5814">
                        <c:v>0</c:v>
                      </c:pt>
                      <c:pt idx="5815">
                        <c:v>0</c:v>
                      </c:pt>
                      <c:pt idx="5816">
                        <c:v>0</c:v>
                      </c:pt>
                      <c:pt idx="5817">
                        <c:v>0</c:v>
                      </c:pt>
                      <c:pt idx="5818">
                        <c:v>0</c:v>
                      </c:pt>
                      <c:pt idx="5819">
                        <c:v>0</c:v>
                      </c:pt>
                      <c:pt idx="5820">
                        <c:v>0</c:v>
                      </c:pt>
                      <c:pt idx="5821">
                        <c:v>0</c:v>
                      </c:pt>
                      <c:pt idx="5822">
                        <c:v>0</c:v>
                      </c:pt>
                      <c:pt idx="5823">
                        <c:v>0</c:v>
                      </c:pt>
                      <c:pt idx="5824">
                        <c:v>0</c:v>
                      </c:pt>
                      <c:pt idx="5825">
                        <c:v>0</c:v>
                      </c:pt>
                      <c:pt idx="5826">
                        <c:v>0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</c:v>
                      </c:pt>
                      <c:pt idx="5833">
                        <c:v>0</c:v>
                      </c:pt>
                      <c:pt idx="5834">
                        <c:v>0</c:v>
                      </c:pt>
                      <c:pt idx="5835">
                        <c:v>0</c:v>
                      </c:pt>
                      <c:pt idx="5836">
                        <c:v>0</c:v>
                      </c:pt>
                      <c:pt idx="5837">
                        <c:v>0</c:v>
                      </c:pt>
                      <c:pt idx="5838">
                        <c:v>0</c:v>
                      </c:pt>
                      <c:pt idx="5839">
                        <c:v>0</c:v>
                      </c:pt>
                      <c:pt idx="5840">
                        <c:v>0</c:v>
                      </c:pt>
                      <c:pt idx="5841">
                        <c:v>0</c:v>
                      </c:pt>
                      <c:pt idx="5842">
                        <c:v>0</c:v>
                      </c:pt>
                      <c:pt idx="5843">
                        <c:v>0</c:v>
                      </c:pt>
                      <c:pt idx="5844">
                        <c:v>0</c:v>
                      </c:pt>
                      <c:pt idx="5845">
                        <c:v>0</c:v>
                      </c:pt>
                      <c:pt idx="5846">
                        <c:v>0</c:v>
                      </c:pt>
                      <c:pt idx="5847">
                        <c:v>0</c:v>
                      </c:pt>
                      <c:pt idx="5848">
                        <c:v>0</c:v>
                      </c:pt>
                      <c:pt idx="5849">
                        <c:v>0</c:v>
                      </c:pt>
                      <c:pt idx="5850">
                        <c:v>0</c:v>
                      </c:pt>
                      <c:pt idx="5851">
                        <c:v>0</c:v>
                      </c:pt>
                      <c:pt idx="5852">
                        <c:v>0</c:v>
                      </c:pt>
                      <c:pt idx="5853">
                        <c:v>0</c:v>
                      </c:pt>
                      <c:pt idx="5854">
                        <c:v>0</c:v>
                      </c:pt>
                      <c:pt idx="5855">
                        <c:v>0</c:v>
                      </c:pt>
                      <c:pt idx="5856">
                        <c:v>0</c:v>
                      </c:pt>
                      <c:pt idx="5857">
                        <c:v>0</c:v>
                      </c:pt>
                      <c:pt idx="5858">
                        <c:v>0</c:v>
                      </c:pt>
                      <c:pt idx="5859">
                        <c:v>0</c:v>
                      </c:pt>
                      <c:pt idx="5860">
                        <c:v>0</c:v>
                      </c:pt>
                      <c:pt idx="5861">
                        <c:v>0</c:v>
                      </c:pt>
                      <c:pt idx="5862">
                        <c:v>0</c:v>
                      </c:pt>
                      <c:pt idx="5863">
                        <c:v>0</c:v>
                      </c:pt>
                      <c:pt idx="5864">
                        <c:v>0</c:v>
                      </c:pt>
                      <c:pt idx="5865">
                        <c:v>0</c:v>
                      </c:pt>
                      <c:pt idx="5866">
                        <c:v>0</c:v>
                      </c:pt>
                      <c:pt idx="5867">
                        <c:v>0</c:v>
                      </c:pt>
                      <c:pt idx="5868">
                        <c:v>0</c:v>
                      </c:pt>
                      <c:pt idx="5869">
                        <c:v>0</c:v>
                      </c:pt>
                      <c:pt idx="5870">
                        <c:v>0</c:v>
                      </c:pt>
                      <c:pt idx="5871">
                        <c:v>0</c:v>
                      </c:pt>
                      <c:pt idx="5872">
                        <c:v>0</c:v>
                      </c:pt>
                      <c:pt idx="5873">
                        <c:v>0</c:v>
                      </c:pt>
                      <c:pt idx="5874">
                        <c:v>0</c:v>
                      </c:pt>
                      <c:pt idx="5875">
                        <c:v>0</c:v>
                      </c:pt>
                      <c:pt idx="5876">
                        <c:v>0</c:v>
                      </c:pt>
                      <c:pt idx="5877">
                        <c:v>0</c:v>
                      </c:pt>
                      <c:pt idx="5878">
                        <c:v>0</c:v>
                      </c:pt>
                      <c:pt idx="5879">
                        <c:v>0</c:v>
                      </c:pt>
                      <c:pt idx="5880">
                        <c:v>0</c:v>
                      </c:pt>
                      <c:pt idx="5881">
                        <c:v>0</c:v>
                      </c:pt>
                      <c:pt idx="5882">
                        <c:v>0</c:v>
                      </c:pt>
                      <c:pt idx="5883">
                        <c:v>0</c:v>
                      </c:pt>
                      <c:pt idx="5884">
                        <c:v>0</c:v>
                      </c:pt>
                      <c:pt idx="5885">
                        <c:v>0</c:v>
                      </c:pt>
                      <c:pt idx="5886">
                        <c:v>0</c:v>
                      </c:pt>
                      <c:pt idx="5887">
                        <c:v>0</c:v>
                      </c:pt>
                      <c:pt idx="5888">
                        <c:v>0</c:v>
                      </c:pt>
                      <c:pt idx="5889">
                        <c:v>0</c:v>
                      </c:pt>
                      <c:pt idx="5890">
                        <c:v>0</c:v>
                      </c:pt>
                      <c:pt idx="5891">
                        <c:v>0</c:v>
                      </c:pt>
                      <c:pt idx="5892">
                        <c:v>0</c:v>
                      </c:pt>
                      <c:pt idx="5893">
                        <c:v>0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0</c:v>
                      </c:pt>
                      <c:pt idx="5898">
                        <c:v>0</c:v>
                      </c:pt>
                      <c:pt idx="5899">
                        <c:v>0</c:v>
                      </c:pt>
                      <c:pt idx="5900">
                        <c:v>0</c:v>
                      </c:pt>
                      <c:pt idx="5901">
                        <c:v>0</c:v>
                      </c:pt>
                      <c:pt idx="5902">
                        <c:v>0</c:v>
                      </c:pt>
                      <c:pt idx="5903">
                        <c:v>0</c:v>
                      </c:pt>
                      <c:pt idx="5904">
                        <c:v>0</c:v>
                      </c:pt>
                      <c:pt idx="5905">
                        <c:v>0</c:v>
                      </c:pt>
                      <c:pt idx="5906">
                        <c:v>0</c:v>
                      </c:pt>
                      <c:pt idx="5907">
                        <c:v>0</c:v>
                      </c:pt>
                      <c:pt idx="5908">
                        <c:v>0</c:v>
                      </c:pt>
                      <c:pt idx="5909">
                        <c:v>0</c:v>
                      </c:pt>
                      <c:pt idx="5910">
                        <c:v>0</c:v>
                      </c:pt>
                      <c:pt idx="5911">
                        <c:v>0</c:v>
                      </c:pt>
                      <c:pt idx="5912">
                        <c:v>0</c:v>
                      </c:pt>
                      <c:pt idx="5913">
                        <c:v>0</c:v>
                      </c:pt>
                      <c:pt idx="5914">
                        <c:v>0</c:v>
                      </c:pt>
                      <c:pt idx="5915">
                        <c:v>0</c:v>
                      </c:pt>
                      <c:pt idx="5916">
                        <c:v>0</c:v>
                      </c:pt>
                      <c:pt idx="5917">
                        <c:v>0</c:v>
                      </c:pt>
                      <c:pt idx="5918">
                        <c:v>0</c:v>
                      </c:pt>
                      <c:pt idx="5919">
                        <c:v>0</c:v>
                      </c:pt>
                      <c:pt idx="5920">
                        <c:v>0</c:v>
                      </c:pt>
                      <c:pt idx="5921">
                        <c:v>0</c:v>
                      </c:pt>
                      <c:pt idx="5922">
                        <c:v>0</c:v>
                      </c:pt>
                      <c:pt idx="5923">
                        <c:v>0</c:v>
                      </c:pt>
                      <c:pt idx="5924">
                        <c:v>0</c:v>
                      </c:pt>
                      <c:pt idx="5925">
                        <c:v>0</c:v>
                      </c:pt>
                      <c:pt idx="5926">
                        <c:v>0</c:v>
                      </c:pt>
                      <c:pt idx="5927">
                        <c:v>0</c:v>
                      </c:pt>
                      <c:pt idx="5928">
                        <c:v>0</c:v>
                      </c:pt>
                      <c:pt idx="5929">
                        <c:v>0</c:v>
                      </c:pt>
                      <c:pt idx="5930">
                        <c:v>0</c:v>
                      </c:pt>
                      <c:pt idx="5931">
                        <c:v>0</c:v>
                      </c:pt>
                      <c:pt idx="5932">
                        <c:v>0</c:v>
                      </c:pt>
                      <c:pt idx="5933">
                        <c:v>0</c:v>
                      </c:pt>
                      <c:pt idx="5934">
                        <c:v>0</c:v>
                      </c:pt>
                      <c:pt idx="5935">
                        <c:v>0</c:v>
                      </c:pt>
                      <c:pt idx="5936">
                        <c:v>0</c:v>
                      </c:pt>
                      <c:pt idx="5937">
                        <c:v>0</c:v>
                      </c:pt>
                      <c:pt idx="5938">
                        <c:v>0</c:v>
                      </c:pt>
                      <c:pt idx="5939">
                        <c:v>0</c:v>
                      </c:pt>
                      <c:pt idx="5940">
                        <c:v>0</c:v>
                      </c:pt>
                      <c:pt idx="5941">
                        <c:v>0</c:v>
                      </c:pt>
                      <c:pt idx="5942">
                        <c:v>0</c:v>
                      </c:pt>
                      <c:pt idx="5943">
                        <c:v>0</c:v>
                      </c:pt>
                      <c:pt idx="5944">
                        <c:v>0</c:v>
                      </c:pt>
                      <c:pt idx="5945">
                        <c:v>0</c:v>
                      </c:pt>
                      <c:pt idx="5946">
                        <c:v>0</c:v>
                      </c:pt>
                      <c:pt idx="5947">
                        <c:v>0</c:v>
                      </c:pt>
                      <c:pt idx="5948">
                        <c:v>0</c:v>
                      </c:pt>
                      <c:pt idx="5949">
                        <c:v>0</c:v>
                      </c:pt>
                      <c:pt idx="5950">
                        <c:v>0</c:v>
                      </c:pt>
                      <c:pt idx="5951">
                        <c:v>0</c:v>
                      </c:pt>
                      <c:pt idx="5952">
                        <c:v>0</c:v>
                      </c:pt>
                      <c:pt idx="5953">
                        <c:v>0</c:v>
                      </c:pt>
                      <c:pt idx="5954">
                        <c:v>0</c:v>
                      </c:pt>
                      <c:pt idx="5955">
                        <c:v>0</c:v>
                      </c:pt>
                      <c:pt idx="5956">
                        <c:v>0</c:v>
                      </c:pt>
                      <c:pt idx="5957">
                        <c:v>0</c:v>
                      </c:pt>
                      <c:pt idx="5958">
                        <c:v>0</c:v>
                      </c:pt>
                      <c:pt idx="5959">
                        <c:v>0</c:v>
                      </c:pt>
                      <c:pt idx="5960">
                        <c:v>0</c:v>
                      </c:pt>
                      <c:pt idx="5961">
                        <c:v>0</c:v>
                      </c:pt>
                      <c:pt idx="5962">
                        <c:v>0</c:v>
                      </c:pt>
                      <c:pt idx="5963">
                        <c:v>0</c:v>
                      </c:pt>
                      <c:pt idx="5964">
                        <c:v>0</c:v>
                      </c:pt>
                      <c:pt idx="5965">
                        <c:v>0</c:v>
                      </c:pt>
                      <c:pt idx="5966">
                        <c:v>0</c:v>
                      </c:pt>
                      <c:pt idx="5967">
                        <c:v>0</c:v>
                      </c:pt>
                      <c:pt idx="5968">
                        <c:v>0</c:v>
                      </c:pt>
                      <c:pt idx="5969">
                        <c:v>0</c:v>
                      </c:pt>
                      <c:pt idx="5970">
                        <c:v>0</c:v>
                      </c:pt>
                      <c:pt idx="5971">
                        <c:v>0</c:v>
                      </c:pt>
                      <c:pt idx="5972">
                        <c:v>0</c:v>
                      </c:pt>
                      <c:pt idx="5973">
                        <c:v>0</c:v>
                      </c:pt>
                      <c:pt idx="5974">
                        <c:v>0</c:v>
                      </c:pt>
                      <c:pt idx="5975">
                        <c:v>0</c:v>
                      </c:pt>
                      <c:pt idx="5976">
                        <c:v>0</c:v>
                      </c:pt>
                      <c:pt idx="5977">
                        <c:v>0</c:v>
                      </c:pt>
                      <c:pt idx="5978">
                        <c:v>0</c:v>
                      </c:pt>
                      <c:pt idx="5979">
                        <c:v>0</c:v>
                      </c:pt>
                      <c:pt idx="5980">
                        <c:v>0</c:v>
                      </c:pt>
                      <c:pt idx="5981">
                        <c:v>0</c:v>
                      </c:pt>
                      <c:pt idx="5982">
                        <c:v>0</c:v>
                      </c:pt>
                      <c:pt idx="5983">
                        <c:v>0</c:v>
                      </c:pt>
                      <c:pt idx="5984">
                        <c:v>0</c:v>
                      </c:pt>
                      <c:pt idx="5985">
                        <c:v>0</c:v>
                      </c:pt>
                      <c:pt idx="5986">
                        <c:v>0</c:v>
                      </c:pt>
                      <c:pt idx="5987">
                        <c:v>0</c:v>
                      </c:pt>
                      <c:pt idx="5988">
                        <c:v>0</c:v>
                      </c:pt>
                      <c:pt idx="5989">
                        <c:v>0</c:v>
                      </c:pt>
                      <c:pt idx="5990">
                        <c:v>0</c:v>
                      </c:pt>
                      <c:pt idx="5991">
                        <c:v>0</c:v>
                      </c:pt>
                      <c:pt idx="5992">
                        <c:v>0</c:v>
                      </c:pt>
                      <c:pt idx="5993">
                        <c:v>0</c:v>
                      </c:pt>
                      <c:pt idx="5994">
                        <c:v>0</c:v>
                      </c:pt>
                      <c:pt idx="5995">
                        <c:v>0</c:v>
                      </c:pt>
                      <c:pt idx="5996">
                        <c:v>0</c:v>
                      </c:pt>
                      <c:pt idx="5997">
                        <c:v>0</c:v>
                      </c:pt>
                      <c:pt idx="5998">
                        <c:v>0</c:v>
                      </c:pt>
                      <c:pt idx="5999">
                        <c:v>0</c:v>
                      </c:pt>
                      <c:pt idx="6000">
                        <c:v>0</c:v>
                      </c:pt>
                      <c:pt idx="6001">
                        <c:v>0</c:v>
                      </c:pt>
                      <c:pt idx="6002">
                        <c:v>0</c:v>
                      </c:pt>
                      <c:pt idx="6003">
                        <c:v>0</c:v>
                      </c:pt>
                      <c:pt idx="6004">
                        <c:v>0</c:v>
                      </c:pt>
                      <c:pt idx="6005">
                        <c:v>0</c:v>
                      </c:pt>
                      <c:pt idx="6006">
                        <c:v>0</c:v>
                      </c:pt>
                      <c:pt idx="6007">
                        <c:v>0</c:v>
                      </c:pt>
                      <c:pt idx="6008">
                        <c:v>0</c:v>
                      </c:pt>
                      <c:pt idx="6009">
                        <c:v>0</c:v>
                      </c:pt>
                      <c:pt idx="6010">
                        <c:v>0</c:v>
                      </c:pt>
                      <c:pt idx="6011">
                        <c:v>0</c:v>
                      </c:pt>
                      <c:pt idx="6012">
                        <c:v>0</c:v>
                      </c:pt>
                      <c:pt idx="6013">
                        <c:v>0</c:v>
                      </c:pt>
                      <c:pt idx="6014">
                        <c:v>0</c:v>
                      </c:pt>
                      <c:pt idx="6015">
                        <c:v>0</c:v>
                      </c:pt>
                      <c:pt idx="6016">
                        <c:v>0</c:v>
                      </c:pt>
                      <c:pt idx="6017">
                        <c:v>0</c:v>
                      </c:pt>
                      <c:pt idx="6018">
                        <c:v>0</c:v>
                      </c:pt>
                      <c:pt idx="6019">
                        <c:v>0</c:v>
                      </c:pt>
                      <c:pt idx="6020">
                        <c:v>0</c:v>
                      </c:pt>
                      <c:pt idx="6021">
                        <c:v>0</c:v>
                      </c:pt>
                      <c:pt idx="6022">
                        <c:v>0</c:v>
                      </c:pt>
                      <c:pt idx="6023">
                        <c:v>0</c:v>
                      </c:pt>
                      <c:pt idx="6024">
                        <c:v>0</c:v>
                      </c:pt>
                      <c:pt idx="6025">
                        <c:v>0</c:v>
                      </c:pt>
                      <c:pt idx="6026">
                        <c:v>0</c:v>
                      </c:pt>
                      <c:pt idx="6027">
                        <c:v>0</c:v>
                      </c:pt>
                      <c:pt idx="6028">
                        <c:v>0</c:v>
                      </c:pt>
                      <c:pt idx="6029">
                        <c:v>0</c:v>
                      </c:pt>
                      <c:pt idx="6030">
                        <c:v>0</c:v>
                      </c:pt>
                      <c:pt idx="6031">
                        <c:v>0</c:v>
                      </c:pt>
                      <c:pt idx="6032">
                        <c:v>0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0</c:v>
                      </c:pt>
                      <c:pt idx="6055">
                        <c:v>0</c:v>
                      </c:pt>
                      <c:pt idx="6056">
                        <c:v>0</c:v>
                      </c:pt>
                      <c:pt idx="6057">
                        <c:v>0</c:v>
                      </c:pt>
                      <c:pt idx="6058">
                        <c:v>0</c:v>
                      </c:pt>
                      <c:pt idx="6059">
                        <c:v>0</c:v>
                      </c:pt>
                      <c:pt idx="6060">
                        <c:v>0</c:v>
                      </c:pt>
                      <c:pt idx="6061">
                        <c:v>0</c:v>
                      </c:pt>
                      <c:pt idx="6062">
                        <c:v>0</c:v>
                      </c:pt>
                      <c:pt idx="6063">
                        <c:v>0</c:v>
                      </c:pt>
                      <c:pt idx="6064">
                        <c:v>0</c:v>
                      </c:pt>
                      <c:pt idx="6065">
                        <c:v>0</c:v>
                      </c:pt>
                      <c:pt idx="6066">
                        <c:v>0</c:v>
                      </c:pt>
                      <c:pt idx="6067">
                        <c:v>0</c:v>
                      </c:pt>
                      <c:pt idx="6068">
                        <c:v>0</c:v>
                      </c:pt>
                      <c:pt idx="6069">
                        <c:v>0</c:v>
                      </c:pt>
                      <c:pt idx="6070">
                        <c:v>0</c:v>
                      </c:pt>
                      <c:pt idx="6071">
                        <c:v>0</c:v>
                      </c:pt>
                      <c:pt idx="6072">
                        <c:v>0</c:v>
                      </c:pt>
                      <c:pt idx="6073">
                        <c:v>0</c:v>
                      </c:pt>
                      <c:pt idx="6074">
                        <c:v>0</c:v>
                      </c:pt>
                      <c:pt idx="6075">
                        <c:v>0</c:v>
                      </c:pt>
                      <c:pt idx="6076">
                        <c:v>0</c:v>
                      </c:pt>
                      <c:pt idx="6077">
                        <c:v>0</c:v>
                      </c:pt>
                      <c:pt idx="6078">
                        <c:v>0</c:v>
                      </c:pt>
                      <c:pt idx="6079">
                        <c:v>0</c:v>
                      </c:pt>
                      <c:pt idx="6080">
                        <c:v>0</c:v>
                      </c:pt>
                      <c:pt idx="6081">
                        <c:v>0</c:v>
                      </c:pt>
                      <c:pt idx="6082">
                        <c:v>0</c:v>
                      </c:pt>
                      <c:pt idx="6083">
                        <c:v>0</c:v>
                      </c:pt>
                      <c:pt idx="6084">
                        <c:v>0</c:v>
                      </c:pt>
                      <c:pt idx="6085">
                        <c:v>0</c:v>
                      </c:pt>
                      <c:pt idx="6086">
                        <c:v>0</c:v>
                      </c:pt>
                      <c:pt idx="6087">
                        <c:v>0</c:v>
                      </c:pt>
                      <c:pt idx="6088">
                        <c:v>0</c:v>
                      </c:pt>
                      <c:pt idx="6089">
                        <c:v>0</c:v>
                      </c:pt>
                      <c:pt idx="6090">
                        <c:v>0</c:v>
                      </c:pt>
                      <c:pt idx="6091">
                        <c:v>0</c:v>
                      </c:pt>
                      <c:pt idx="6092">
                        <c:v>0</c:v>
                      </c:pt>
                      <c:pt idx="6093">
                        <c:v>0</c:v>
                      </c:pt>
                      <c:pt idx="6094">
                        <c:v>0</c:v>
                      </c:pt>
                      <c:pt idx="6095">
                        <c:v>0</c:v>
                      </c:pt>
                      <c:pt idx="6096">
                        <c:v>0</c:v>
                      </c:pt>
                      <c:pt idx="6097">
                        <c:v>0</c:v>
                      </c:pt>
                      <c:pt idx="6098">
                        <c:v>0</c:v>
                      </c:pt>
                      <c:pt idx="6099">
                        <c:v>0</c:v>
                      </c:pt>
                      <c:pt idx="6100">
                        <c:v>0</c:v>
                      </c:pt>
                      <c:pt idx="6101">
                        <c:v>0</c:v>
                      </c:pt>
                      <c:pt idx="6102">
                        <c:v>0</c:v>
                      </c:pt>
                      <c:pt idx="6103">
                        <c:v>0</c:v>
                      </c:pt>
                      <c:pt idx="6104">
                        <c:v>0</c:v>
                      </c:pt>
                      <c:pt idx="6105">
                        <c:v>0</c:v>
                      </c:pt>
                      <c:pt idx="6106">
                        <c:v>0</c:v>
                      </c:pt>
                      <c:pt idx="6107">
                        <c:v>0</c:v>
                      </c:pt>
                      <c:pt idx="6108">
                        <c:v>0</c:v>
                      </c:pt>
                      <c:pt idx="6109">
                        <c:v>0</c:v>
                      </c:pt>
                      <c:pt idx="6110">
                        <c:v>0</c:v>
                      </c:pt>
                      <c:pt idx="6111">
                        <c:v>0</c:v>
                      </c:pt>
                      <c:pt idx="6112">
                        <c:v>0</c:v>
                      </c:pt>
                      <c:pt idx="6113">
                        <c:v>0</c:v>
                      </c:pt>
                      <c:pt idx="6114">
                        <c:v>0</c:v>
                      </c:pt>
                      <c:pt idx="6115">
                        <c:v>0</c:v>
                      </c:pt>
                      <c:pt idx="6116">
                        <c:v>0</c:v>
                      </c:pt>
                      <c:pt idx="6117">
                        <c:v>0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0</c:v>
                      </c:pt>
                      <c:pt idx="6125">
                        <c:v>0</c:v>
                      </c:pt>
                      <c:pt idx="6126">
                        <c:v>0</c:v>
                      </c:pt>
                      <c:pt idx="6127">
                        <c:v>0</c:v>
                      </c:pt>
                      <c:pt idx="6128">
                        <c:v>0</c:v>
                      </c:pt>
                      <c:pt idx="6129">
                        <c:v>0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0</c:v>
                      </c:pt>
                      <c:pt idx="6135">
                        <c:v>0</c:v>
                      </c:pt>
                      <c:pt idx="6136">
                        <c:v>0</c:v>
                      </c:pt>
                      <c:pt idx="6137">
                        <c:v>0</c:v>
                      </c:pt>
                      <c:pt idx="6138">
                        <c:v>0</c:v>
                      </c:pt>
                      <c:pt idx="6139">
                        <c:v>0</c:v>
                      </c:pt>
                      <c:pt idx="6140">
                        <c:v>0</c:v>
                      </c:pt>
                      <c:pt idx="6141">
                        <c:v>0</c:v>
                      </c:pt>
                      <c:pt idx="6142">
                        <c:v>0</c:v>
                      </c:pt>
                      <c:pt idx="6143">
                        <c:v>0</c:v>
                      </c:pt>
                      <c:pt idx="6144">
                        <c:v>0</c:v>
                      </c:pt>
                      <c:pt idx="6145">
                        <c:v>0</c:v>
                      </c:pt>
                      <c:pt idx="6146">
                        <c:v>0</c:v>
                      </c:pt>
                      <c:pt idx="6147">
                        <c:v>0</c:v>
                      </c:pt>
                      <c:pt idx="6148">
                        <c:v>0</c:v>
                      </c:pt>
                      <c:pt idx="6149">
                        <c:v>0</c:v>
                      </c:pt>
                      <c:pt idx="6150">
                        <c:v>0</c:v>
                      </c:pt>
                      <c:pt idx="6151">
                        <c:v>0</c:v>
                      </c:pt>
                      <c:pt idx="6152">
                        <c:v>0</c:v>
                      </c:pt>
                      <c:pt idx="6153">
                        <c:v>0</c:v>
                      </c:pt>
                      <c:pt idx="6154">
                        <c:v>0</c:v>
                      </c:pt>
                      <c:pt idx="6155">
                        <c:v>0</c:v>
                      </c:pt>
                      <c:pt idx="6156">
                        <c:v>0</c:v>
                      </c:pt>
                      <c:pt idx="6157">
                        <c:v>0</c:v>
                      </c:pt>
                      <c:pt idx="6158">
                        <c:v>0</c:v>
                      </c:pt>
                      <c:pt idx="6159">
                        <c:v>0</c:v>
                      </c:pt>
                      <c:pt idx="6160">
                        <c:v>0</c:v>
                      </c:pt>
                      <c:pt idx="6161">
                        <c:v>0</c:v>
                      </c:pt>
                      <c:pt idx="6162">
                        <c:v>0</c:v>
                      </c:pt>
                      <c:pt idx="6163">
                        <c:v>0</c:v>
                      </c:pt>
                      <c:pt idx="6164">
                        <c:v>0</c:v>
                      </c:pt>
                      <c:pt idx="6165">
                        <c:v>0</c:v>
                      </c:pt>
                      <c:pt idx="6166">
                        <c:v>0</c:v>
                      </c:pt>
                      <c:pt idx="6167">
                        <c:v>0</c:v>
                      </c:pt>
                      <c:pt idx="6168">
                        <c:v>0</c:v>
                      </c:pt>
                      <c:pt idx="6169">
                        <c:v>0</c:v>
                      </c:pt>
                      <c:pt idx="6170">
                        <c:v>0</c:v>
                      </c:pt>
                      <c:pt idx="6171">
                        <c:v>0</c:v>
                      </c:pt>
                      <c:pt idx="6172">
                        <c:v>0</c:v>
                      </c:pt>
                      <c:pt idx="6173">
                        <c:v>0</c:v>
                      </c:pt>
                      <c:pt idx="6174">
                        <c:v>0</c:v>
                      </c:pt>
                      <c:pt idx="6175">
                        <c:v>0</c:v>
                      </c:pt>
                      <c:pt idx="6176">
                        <c:v>0</c:v>
                      </c:pt>
                      <c:pt idx="6177">
                        <c:v>0</c:v>
                      </c:pt>
                      <c:pt idx="6178">
                        <c:v>0</c:v>
                      </c:pt>
                      <c:pt idx="6179">
                        <c:v>0</c:v>
                      </c:pt>
                      <c:pt idx="6180">
                        <c:v>0</c:v>
                      </c:pt>
                      <c:pt idx="6181">
                        <c:v>0</c:v>
                      </c:pt>
                      <c:pt idx="6182">
                        <c:v>0</c:v>
                      </c:pt>
                      <c:pt idx="6183">
                        <c:v>0</c:v>
                      </c:pt>
                      <c:pt idx="6184">
                        <c:v>0</c:v>
                      </c:pt>
                      <c:pt idx="6185">
                        <c:v>0</c:v>
                      </c:pt>
                      <c:pt idx="6186">
                        <c:v>0</c:v>
                      </c:pt>
                      <c:pt idx="6187">
                        <c:v>0</c:v>
                      </c:pt>
                      <c:pt idx="6188">
                        <c:v>0</c:v>
                      </c:pt>
                      <c:pt idx="6189">
                        <c:v>0</c:v>
                      </c:pt>
                      <c:pt idx="6190">
                        <c:v>0</c:v>
                      </c:pt>
                      <c:pt idx="6191">
                        <c:v>0</c:v>
                      </c:pt>
                      <c:pt idx="6192">
                        <c:v>0</c:v>
                      </c:pt>
                      <c:pt idx="6193">
                        <c:v>0</c:v>
                      </c:pt>
                      <c:pt idx="6194">
                        <c:v>0</c:v>
                      </c:pt>
                      <c:pt idx="6195">
                        <c:v>0</c:v>
                      </c:pt>
                      <c:pt idx="6196">
                        <c:v>0</c:v>
                      </c:pt>
                      <c:pt idx="6197">
                        <c:v>0</c:v>
                      </c:pt>
                      <c:pt idx="6198">
                        <c:v>0</c:v>
                      </c:pt>
                      <c:pt idx="6199">
                        <c:v>0</c:v>
                      </c:pt>
                      <c:pt idx="6200">
                        <c:v>0</c:v>
                      </c:pt>
                      <c:pt idx="6201">
                        <c:v>0</c:v>
                      </c:pt>
                      <c:pt idx="6202">
                        <c:v>0</c:v>
                      </c:pt>
                      <c:pt idx="6203">
                        <c:v>0</c:v>
                      </c:pt>
                      <c:pt idx="6204">
                        <c:v>0</c:v>
                      </c:pt>
                      <c:pt idx="6205">
                        <c:v>0</c:v>
                      </c:pt>
                      <c:pt idx="6206">
                        <c:v>0</c:v>
                      </c:pt>
                      <c:pt idx="6207">
                        <c:v>0</c:v>
                      </c:pt>
                      <c:pt idx="6208">
                        <c:v>0</c:v>
                      </c:pt>
                      <c:pt idx="6209">
                        <c:v>0</c:v>
                      </c:pt>
                      <c:pt idx="6210">
                        <c:v>0</c:v>
                      </c:pt>
                      <c:pt idx="6211">
                        <c:v>0</c:v>
                      </c:pt>
                      <c:pt idx="6212">
                        <c:v>0</c:v>
                      </c:pt>
                      <c:pt idx="6213">
                        <c:v>0</c:v>
                      </c:pt>
                      <c:pt idx="6214">
                        <c:v>0</c:v>
                      </c:pt>
                      <c:pt idx="6215">
                        <c:v>0</c:v>
                      </c:pt>
                      <c:pt idx="6216">
                        <c:v>0</c:v>
                      </c:pt>
                      <c:pt idx="6217">
                        <c:v>0</c:v>
                      </c:pt>
                      <c:pt idx="6218">
                        <c:v>0</c:v>
                      </c:pt>
                      <c:pt idx="6219">
                        <c:v>0</c:v>
                      </c:pt>
                      <c:pt idx="6220">
                        <c:v>0</c:v>
                      </c:pt>
                      <c:pt idx="6221">
                        <c:v>0</c:v>
                      </c:pt>
                      <c:pt idx="6222">
                        <c:v>0</c:v>
                      </c:pt>
                      <c:pt idx="6223">
                        <c:v>0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0</c:v>
                      </c:pt>
                      <c:pt idx="6229">
                        <c:v>0</c:v>
                      </c:pt>
                      <c:pt idx="6230">
                        <c:v>0</c:v>
                      </c:pt>
                      <c:pt idx="6231">
                        <c:v>0</c:v>
                      </c:pt>
                      <c:pt idx="6232">
                        <c:v>0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</c:v>
                      </c:pt>
                      <c:pt idx="6252">
                        <c:v>0</c:v>
                      </c:pt>
                      <c:pt idx="6253">
                        <c:v>0</c:v>
                      </c:pt>
                      <c:pt idx="6254">
                        <c:v>0</c:v>
                      </c:pt>
                      <c:pt idx="6255">
                        <c:v>0</c:v>
                      </c:pt>
                      <c:pt idx="6256">
                        <c:v>0</c:v>
                      </c:pt>
                      <c:pt idx="6257">
                        <c:v>0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0</c:v>
                      </c:pt>
                      <c:pt idx="6389">
                        <c:v>0</c:v>
                      </c:pt>
                      <c:pt idx="6390">
                        <c:v>0</c:v>
                      </c:pt>
                      <c:pt idx="6391">
                        <c:v>0</c:v>
                      </c:pt>
                      <c:pt idx="6392">
                        <c:v>0</c:v>
                      </c:pt>
                      <c:pt idx="6393">
                        <c:v>0</c:v>
                      </c:pt>
                      <c:pt idx="6394">
                        <c:v>0</c:v>
                      </c:pt>
                      <c:pt idx="6395">
                        <c:v>0</c:v>
                      </c:pt>
                      <c:pt idx="6396">
                        <c:v>0</c:v>
                      </c:pt>
                      <c:pt idx="6397">
                        <c:v>0</c:v>
                      </c:pt>
                      <c:pt idx="6398">
                        <c:v>0</c:v>
                      </c:pt>
                      <c:pt idx="6399">
                        <c:v>0</c:v>
                      </c:pt>
                      <c:pt idx="6400">
                        <c:v>0</c:v>
                      </c:pt>
                      <c:pt idx="6401">
                        <c:v>0</c:v>
                      </c:pt>
                      <c:pt idx="6402">
                        <c:v>0</c:v>
                      </c:pt>
                      <c:pt idx="6403">
                        <c:v>0</c:v>
                      </c:pt>
                      <c:pt idx="6404">
                        <c:v>0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0</c:v>
                      </c:pt>
                      <c:pt idx="6418">
                        <c:v>0</c:v>
                      </c:pt>
                      <c:pt idx="6419">
                        <c:v>0</c:v>
                      </c:pt>
                      <c:pt idx="6420">
                        <c:v>0</c:v>
                      </c:pt>
                      <c:pt idx="6421">
                        <c:v>0</c:v>
                      </c:pt>
                      <c:pt idx="6422">
                        <c:v>0</c:v>
                      </c:pt>
                      <c:pt idx="6423">
                        <c:v>0</c:v>
                      </c:pt>
                      <c:pt idx="6424">
                        <c:v>0</c:v>
                      </c:pt>
                      <c:pt idx="6425">
                        <c:v>0</c:v>
                      </c:pt>
                      <c:pt idx="6426">
                        <c:v>0</c:v>
                      </c:pt>
                      <c:pt idx="6427">
                        <c:v>0</c:v>
                      </c:pt>
                      <c:pt idx="6428">
                        <c:v>0</c:v>
                      </c:pt>
                      <c:pt idx="6429">
                        <c:v>0</c:v>
                      </c:pt>
                      <c:pt idx="6430">
                        <c:v>0</c:v>
                      </c:pt>
                      <c:pt idx="6431">
                        <c:v>0</c:v>
                      </c:pt>
                      <c:pt idx="6432">
                        <c:v>0</c:v>
                      </c:pt>
                      <c:pt idx="6433">
                        <c:v>0</c:v>
                      </c:pt>
                      <c:pt idx="6434">
                        <c:v>0</c:v>
                      </c:pt>
                      <c:pt idx="6435">
                        <c:v>0</c:v>
                      </c:pt>
                      <c:pt idx="6436">
                        <c:v>0</c:v>
                      </c:pt>
                      <c:pt idx="6437">
                        <c:v>0</c:v>
                      </c:pt>
                      <c:pt idx="6438">
                        <c:v>0</c:v>
                      </c:pt>
                      <c:pt idx="6439">
                        <c:v>0</c:v>
                      </c:pt>
                      <c:pt idx="6440">
                        <c:v>0</c:v>
                      </c:pt>
                      <c:pt idx="6441">
                        <c:v>0</c:v>
                      </c:pt>
                      <c:pt idx="6442">
                        <c:v>0</c:v>
                      </c:pt>
                      <c:pt idx="6443">
                        <c:v>0</c:v>
                      </c:pt>
                      <c:pt idx="6444">
                        <c:v>0</c:v>
                      </c:pt>
                      <c:pt idx="6445">
                        <c:v>0</c:v>
                      </c:pt>
                      <c:pt idx="6446">
                        <c:v>0</c:v>
                      </c:pt>
                      <c:pt idx="6447">
                        <c:v>0</c:v>
                      </c:pt>
                      <c:pt idx="6448">
                        <c:v>0</c:v>
                      </c:pt>
                      <c:pt idx="6449">
                        <c:v>0</c:v>
                      </c:pt>
                      <c:pt idx="6450">
                        <c:v>0</c:v>
                      </c:pt>
                      <c:pt idx="6451">
                        <c:v>0</c:v>
                      </c:pt>
                      <c:pt idx="6452">
                        <c:v>0</c:v>
                      </c:pt>
                      <c:pt idx="6453">
                        <c:v>0</c:v>
                      </c:pt>
                      <c:pt idx="6454">
                        <c:v>0</c:v>
                      </c:pt>
                      <c:pt idx="6455">
                        <c:v>0</c:v>
                      </c:pt>
                      <c:pt idx="6456">
                        <c:v>0</c:v>
                      </c:pt>
                      <c:pt idx="6457">
                        <c:v>0</c:v>
                      </c:pt>
                      <c:pt idx="6458">
                        <c:v>0</c:v>
                      </c:pt>
                      <c:pt idx="6459">
                        <c:v>0</c:v>
                      </c:pt>
                      <c:pt idx="6460">
                        <c:v>0</c:v>
                      </c:pt>
                      <c:pt idx="6461">
                        <c:v>0</c:v>
                      </c:pt>
                      <c:pt idx="6462">
                        <c:v>0</c:v>
                      </c:pt>
                      <c:pt idx="6463">
                        <c:v>0</c:v>
                      </c:pt>
                      <c:pt idx="6464">
                        <c:v>0</c:v>
                      </c:pt>
                      <c:pt idx="6465">
                        <c:v>0</c:v>
                      </c:pt>
                      <c:pt idx="6466">
                        <c:v>0</c:v>
                      </c:pt>
                      <c:pt idx="6467">
                        <c:v>0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0</c:v>
                      </c:pt>
                      <c:pt idx="6483">
                        <c:v>0</c:v>
                      </c:pt>
                      <c:pt idx="6484">
                        <c:v>0</c:v>
                      </c:pt>
                      <c:pt idx="6485">
                        <c:v>0</c:v>
                      </c:pt>
                      <c:pt idx="6486">
                        <c:v>0</c:v>
                      </c:pt>
                      <c:pt idx="6487">
                        <c:v>0</c:v>
                      </c:pt>
                      <c:pt idx="6488">
                        <c:v>0</c:v>
                      </c:pt>
                      <c:pt idx="6489">
                        <c:v>0</c:v>
                      </c:pt>
                      <c:pt idx="6490">
                        <c:v>0</c:v>
                      </c:pt>
                      <c:pt idx="6491">
                        <c:v>0</c:v>
                      </c:pt>
                      <c:pt idx="6492">
                        <c:v>0</c:v>
                      </c:pt>
                      <c:pt idx="6493">
                        <c:v>0</c:v>
                      </c:pt>
                      <c:pt idx="6494">
                        <c:v>0</c:v>
                      </c:pt>
                      <c:pt idx="6495">
                        <c:v>0</c:v>
                      </c:pt>
                      <c:pt idx="6496">
                        <c:v>0</c:v>
                      </c:pt>
                      <c:pt idx="6497">
                        <c:v>0</c:v>
                      </c:pt>
                      <c:pt idx="6498">
                        <c:v>0</c:v>
                      </c:pt>
                      <c:pt idx="6499">
                        <c:v>0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0</c:v>
                      </c:pt>
                      <c:pt idx="6540">
                        <c:v>0</c:v>
                      </c:pt>
                      <c:pt idx="6541">
                        <c:v>0</c:v>
                      </c:pt>
                      <c:pt idx="6542">
                        <c:v>0</c:v>
                      </c:pt>
                      <c:pt idx="6543">
                        <c:v>0</c:v>
                      </c:pt>
                      <c:pt idx="6544">
                        <c:v>0</c:v>
                      </c:pt>
                      <c:pt idx="6545">
                        <c:v>0</c:v>
                      </c:pt>
                      <c:pt idx="6546">
                        <c:v>0</c:v>
                      </c:pt>
                      <c:pt idx="6547">
                        <c:v>0</c:v>
                      </c:pt>
                      <c:pt idx="6548">
                        <c:v>0</c:v>
                      </c:pt>
                      <c:pt idx="6549">
                        <c:v>0</c:v>
                      </c:pt>
                      <c:pt idx="6550">
                        <c:v>0</c:v>
                      </c:pt>
                      <c:pt idx="6551">
                        <c:v>0</c:v>
                      </c:pt>
                      <c:pt idx="6552">
                        <c:v>0</c:v>
                      </c:pt>
                      <c:pt idx="6553">
                        <c:v>0</c:v>
                      </c:pt>
                      <c:pt idx="6554">
                        <c:v>0</c:v>
                      </c:pt>
                      <c:pt idx="6555">
                        <c:v>0</c:v>
                      </c:pt>
                      <c:pt idx="6556">
                        <c:v>0</c:v>
                      </c:pt>
                      <c:pt idx="6557">
                        <c:v>0</c:v>
                      </c:pt>
                      <c:pt idx="6558">
                        <c:v>0</c:v>
                      </c:pt>
                      <c:pt idx="6559">
                        <c:v>0</c:v>
                      </c:pt>
                      <c:pt idx="6560">
                        <c:v>0</c:v>
                      </c:pt>
                      <c:pt idx="6561">
                        <c:v>0</c:v>
                      </c:pt>
                      <c:pt idx="6562">
                        <c:v>0</c:v>
                      </c:pt>
                      <c:pt idx="6563">
                        <c:v>0</c:v>
                      </c:pt>
                      <c:pt idx="6564">
                        <c:v>0</c:v>
                      </c:pt>
                      <c:pt idx="6565">
                        <c:v>0</c:v>
                      </c:pt>
                      <c:pt idx="6566">
                        <c:v>0</c:v>
                      </c:pt>
                      <c:pt idx="6567">
                        <c:v>0</c:v>
                      </c:pt>
                      <c:pt idx="6568">
                        <c:v>0</c:v>
                      </c:pt>
                      <c:pt idx="6569">
                        <c:v>0</c:v>
                      </c:pt>
                      <c:pt idx="6570">
                        <c:v>0</c:v>
                      </c:pt>
                      <c:pt idx="6571">
                        <c:v>0</c:v>
                      </c:pt>
                      <c:pt idx="6572">
                        <c:v>0</c:v>
                      </c:pt>
                      <c:pt idx="6573">
                        <c:v>0</c:v>
                      </c:pt>
                      <c:pt idx="6574">
                        <c:v>0</c:v>
                      </c:pt>
                      <c:pt idx="6575">
                        <c:v>0</c:v>
                      </c:pt>
                      <c:pt idx="6576">
                        <c:v>0</c:v>
                      </c:pt>
                      <c:pt idx="6577">
                        <c:v>0</c:v>
                      </c:pt>
                      <c:pt idx="6578">
                        <c:v>0</c:v>
                      </c:pt>
                      <c:pt idx="6579">
                        <c:v>0</c:v>
                      </c:pt>
                      <c:pt idx="6580">
                        <c:v>0</c:v>
                      </c:pt>
                      <c:pt idx="6581">
                        <c:v>0</c:v>
                      </c:pt>
                      <c:pt idx="6582">
                        <c:v>0</c:v>
                      </c:pt>
                      <c:pt idx="6583">
                        <c:v>0</c:v>
                      </c:pt>
                      <c:pt idx="6584">
                        <c:v>0</c:v>
                      </c:pt>
                      <c:pt idx="6585">
                        <c:v>0</c:v>
                      </c:pt>
                      <c:pt idx="6586">
                        <c:v>0</c:v>
                      </c:pt>
                      <c:pt idx="6587">
                        <c:v>0</c:v>
                      </c:pt>
                      <c:pt idx="6588">
                        <c:v>0</c:v>
                      </c:pt>
                      <c:pt idx="6589">
                        <c:v>0</c:v>
                      </c:pt>
                      <c:pt idx="6590">
                        <c:v>0</c:v>
                      </c:pt>
                      <c:pt idx="6591">
                        <c:v>0</c:v>
                      </c:pt>
                      <c:pt idx="6592">
                        <c:v>0</c:v>
                      </c:pt>
                      <c:pt idx="6593">
                        <c:v>0</c:v>
                      </c:pt>
                      <c:pt idx="6594">
                        <c:v>0</c:v>
                      </c:pt>
                      <c:pt idx="6595">
                        <c:v>0</c:v>
                      </c:pt>
                      <c:pt idx="6596">
                        <c:v>0</c:v>
                      </c:pt>
                      <c:pt idx="6597">
                        <c:v>0</c:v>
                      </c:pt>
                      <c:pt idx="6598">
                        <c:v>0</c:v>
                      </c:pt>
                      <c:pt idx="6599">
                        <c:v>0</c:v>
                      </c:pt>
                      <c:pt idx="6600">
                        <c:v>0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0</c:v>
                      </c:pt>
                      <c:pt idx="6617">
                        <c:v>0</c:v>
                      </c:pt>
                      <c:pt idx="6618">
                        <c:v>0</c:v>
                      </c:pt>
                      <c:pt idx="6619">
                        <c:v>0</c:v>
                      </c:pt>
                      <c:pt idx="6620">
                        <c:v>0</c:v>
                      </c:pt>
                      <c:pt idx="6621">
                        <c:v>0</c:v>
                      </c:pt>
                      <c:pt idx="6622">
                        <c:v>0</c:v>
                      </c:pt>
                      <c:pt idx="6623">
                        <c:v>0</c:v>
                      </c:pt>
                      <c:pt idx="6624">
                        <c:v>0</c:v>
                      </c:pt>
                      <c:pt idx="6625">
                        <c:v>0</c:v>
                      </c:pt>
                      <c:pt idx="6626">
                        <c:v>0</c:v>
                      </c:pt>
                      <c:pt idx="6627">
                        <c:v>0</c:v>
                      </c:pt>
                      <c:pt idx="6628">
                        <c:v>0</c:v>
                      </c:pt>
                      <c:pt idx="6629">
                        <c:v>0</c:v>
                      </c:pt>
                      <c:pt idx="6630">
                        <c:v>0</c:v>
                      </c:pt>
                      <c:pt idx="6631">
                        <c:v>0</c:v>
                      </c:pt>
                      <c:pt idx="6632">
                        <c:v>0</c:v>
                      </c:pt>
                      <c:pt idx="6633">
                        <c:v>0</c:v>
                      </c:pt>
                      <c:pt idx="6634">
                        <c:v>0</c:v>
                      </c:pt>
                      <c:pt idx="6635">
                        <c:v>0</c:v>
                      </c:pt>
                      <c:pt idx="6636">
                        <c:v>0</c:v>
                      </c:pt>
                      <c:pt idx="6637">
                        <c:v>0</c:v>
                      </c:pt>
                      <c:pt idx="6638">
                        <c:v>0</c:v>
                      </c:pt>
                      <c:pt idx="6639">
                        <c:v>0</c:v>
                      </c:pt>
                      <c:pt idx="6640">
                        <c:v>0</c:v>
                      </c:pt>
                      <c:pt idx="6641">
                        <c:v>0</c:v>
                      </c:pt>
                      <c:pt idx="6642">
                        <c:v>0</c:v>
                      </c:pt>
                      <c:pt idx="6643">
                        <c:v>0</c:v>
                      </c:pt>
                      <c:pt idx="6644">
                        <c:v>0</c:v>
                      </c:pt>
                      <c:pt idx="6645">
                        <c:v>0</c:v>
                      </c:pt>
                      <c:pt idx="6646">
                        <c:v>0</c:v>
                      </c:pt>
                      <c:pt idx="6647">
                        <c:v>0</c:v>
                      </c:pt>
                      <c:pt idx="6648">
                        <c:v>0</c:v>
                      </c:pt>
                      <c:pt idx="6649">
                        <c:v>0</c:v>
                      </c:pt>
                      <c:pt idx="6650">
                        <c:v>0</c:v>
                      </c:pt>
                      <c:pt idx="6651">
                        <c:v>0</c:v>
                      </c:pt>
                      <c:pt idx="6652">
                        <c:v>0</c:v>
                      </c:pt>
                      <c:pt idx="6653">
                        <c:v>0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</c:v>
                      </c:pt>
                      <c:pt idx="6664">
                        <c:v>0</c:v>
                      </c:pt>
                      <c:pt idx="6665">
                        <c:v>0</c:v>
                      </c:pt>
                      <c:pt idx="6666">
                        <c:v>0</c:v>
                      </c:pt>
                      <c:pt idx="6667">
                        <c:v>0</c:v>
                      </c:pt>
                      <c:pt idx="6668">
                        <c:v>0</c:v>
                      </c:pt>
                      <c:pt idx="6669">
                        <c:v>0</c:v>
                      </c:pt>
                      <c:pt idx="6670">
                        <c:v>0</c:v>
                      </c:pt>
                      <c:pt idx="6671">
                        <c:v>0</c:v>
                      </c:pt>
                      <c:pt idx="6672">
                        <c:v>0</c:v>
                      </c:pt>
                      <c:pt idx="6673">
                        <c:v>0</c:v>
                      </c:pt>
                      <c:pt idx="6674">
                        <c:v>0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</c:v>
                      </c:pt>
                      <c:pt idx="6696">
                        <c:v>0</c:v>
                      </c:pt>
                      <c:pt idx="6697">
                        <c:v>0</c:v>
                      </c:pt>
                      <c:pt idx="6698">
                        <c:v>0</c:v>
                      </c:pt>
                      <c:pt idx="6699">
                        <c:v>0</c:v>
                      </c:pt>
                      <c:pt idx="6700">
                        <c:v>0</c:v>
                      </c:pt>
                      <c:pt idx="6701">
                        <c:v>0</c:v>
                      </c:pt>
                      <c:pt idx="6702">
                        <c:v>0</c:v>
                      </c:pt>
                      <c:pt idx="6703">
                        <c:v>0</c:v>
                      </c:pt>
                      <c:pt idx="6704">
                        <c:v>0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0</c:v>
                      </c:pt>
                      <c:pt idx="6722">
                        <c:v>0</c:v>
                      </c:pt>
                      <c:pt idx="6723">
                        <c:v>0</c:v>
                      </c:pt>
                      <c:pt idx="6724">
                        <c:v>0</c:v>
                      </c:pt>
                      <c:pt idx="6725">
                        <c:v>0</c:v>
                      </c:pt>
                      <c:pt idx="6726">
                        <c:v>0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</c:v>
                      </c:pt>
                      <c:pt idx="6753">
                        <c:v>0</c:v>
                      </c:pt>
                      <c:pt idx="6754">
                        <c:v>0</c:v>
                      </c:pt>
                      <c:pt idx="6755">
                        <c:v>0</c:v>
                      </c:pt>
                      <c:pt idx="6756">
                        <c:v>0</c:v>
                      </c:pt>
                      <c:pt idx="6757">
                        <c:v>0</c:v>
                      </c:pt>
                      <c:pt idx="6758">
                        <c:v>0</c:v>
                      </c:pt>
                      <c:pt idx="6759">
                        <c:v>0</c:v>
                      </c:pt>
                      <c:pt idx="6760">
                        <c:v>0</c:v>
                      </c:pt>
                      <c:pt idx="6761">
                        <c:v>0</c:v>
                      </c:pt>
                      <c:pt idx="6762">
                        <c:v>0</c:v>
                      </c:pt>
                      <c:pt idx="6763">
                        <c:v>0</c:v>
                      </c:pt>
                      <c:pt idx="6764">
                        <c:v>0</c:v>
                      </c:pt>
                      <c:pt idx="6765">
                        <c:v>0</c:v>
                      </c:pt>
                      <c:pt idx="6766">
                        <c:v>0</c:v>
                      </c:pt>
                      <c:pt idx="6767">
                        <c:v>0</c:v>
                      </c:pt>
                      <c:pt idx="6768">
                        <c:v>0</c:v>
                      </c:pt>
                      <c:pt idx="6769">
                        <c:v>0</c:v>
                      </c:pt>
                      <c:pt idx="6770">
                        <c:v>0</c:v>
                      </c:pt>
                      <c:pt idx="6771">
                        <c:v>0</c:v>
                      </c:pt>
                      <c:pt idx="6772">
                        <c:v>0</c:v>
                      </c:pt>
                      <c:pt idx="6773">
                        <c:v>0</c:v>
                      </c:pt>
                      <c:pt idx="6774">
                        <c:v>0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0</c:v>
                      </c:pt>
                      <c:pt idx="6786">
                        <c:v>0</c:v>
                      </c:pt>
                      <c:pt idx="6787">
                        <c:v>0</c:v>
                      </c:pt>
                      <c:pt idx="6788">
                        <c:v>0</c:v>
                      </c:pt>
                      <c:pt idx="6789">
                        <c:v>0</c:v>
                      </c:pt>
                      <c:pt idx="6790">
                        <c:v>0</c:v>
                      </c:pt>
                      <c:pt idx="6791">
                        <c:v>0</c:v>
                      </c:pt>
                      <c:pt idx="6792">
                        <c:v>0</c:v>
                      </c:pt>
                      <c:pt idx="6793">
                        <c:v>0</c:v>
                      </c:pt>
                      <c:pt idx="6794">
                        <c:v>0</c:v>
                      </c:pt>
                      <c:pt idx="6795">
                        <c:v>0</c:v>
                      </c:pt>
                      <c:pt idx="6796">
                        <c:v>0</c:v>
                      </c:pt>
                      <c:pt idx="6797">
                        <c:v>0</c:v>
                      </c:pt>
                      <c:pt idx="6798">
                        <c:v>0</c:v>
                      </c:pt>
                      <c:pt idx="6799">
                        <c:v>0</c:v>
                      </c:pt>
                      <c:pt idx="6800">
                        <c:v>0</c:v>
                      </c:pt>
                      <c:pt idx="6801">
                        <c:v>0</c:v>
                      </c:pt>
                      <c:pt idx="6802">
                        <c:v>0</c:v>
                      </c:pt>
                      <c:pt idx="6803">
                        <c:v>0</c:v>
                      </c:pt>
                      <c:pt idx="6804">
                        <c:v>0</c:v>
                      </c:pt>
                      <c:pt idx="6805">
                        <c:v>0</c:v>
                      </c:pt>
                      <c:pt idx="6806">
                        <c:v>0</c:v>
                      </c:pt>
                      <c:pt idx="6807">
                        <c:v>0</c:v>
                      </c:pt>
                      <c:pt idx="6808">
                        <c:v>0</c:v>
                      </c:pt>
                      <c:pt idx="6809">
                        <c:v>0</c:v>
                      </c:pt>
                      <c:pt idx="6810">
                        <c:v>0</c:v>
                      </c:pt>
                      <c:pt idx="6811">
                        <c:v>0</c:v>
                      </c:pt>
                      <c:pt idx="6812">
                        <c:v>0</c:v>
                      </c:pt>
                      <c:pt idx="6813">
                        <c:v>0</c:v>
                      </c:pt>
                      <c:pt idx="6814">
                        <c:v>0</c:v>
                      </c:pt>
                      <c:pt idx="6815">
                        <c:v>0</c:v>
                      </c:pt>
                      <c:pt idx="6816">
                        <c:v>0</c:v>
                      </c:pt>
                      <c:pt idx="6817">
                        <c:v>0</c:v>
                      </c:pt>
                      <c:pt idx="6818">
                        <c:v>0</c:v>
                      </c:pt>
                      <c:pt idx="6819">
                        <c:v>0</c:v>
                      </c:pt>
                      <c:pt idx="6820">
                        <c:v>0</c:v>
                      </c:pt>
                      <c:pt idx="6821">
                        <c:v>0</c:v>
                      </c:pt>
                      <c:pt idx="6822">
                        <c:v>0</c:v>
                      </c:pt>
                      <c:pt idx="6823">
                        <c:v>0</c:v>
                      </c:pt>
                      <c:pt idx="6824">
                        <c:v>0</c:v>
                      </c:pt>
                      <c:pt idx="6825">
                        <c:v>0</c:v>
                      </c:pt>
                      <c:pt idx="6826">
                        <c:v>0</c:v>
                      </c:pt>
                      <c:pt idx="6827">
                        <c:v>0</c:v>
                      </c:pt>
                      <c:pt idx="6828">
                        <c:v>0</c:v>
                      </c:pt>
                      <c:pt idx="6829">
                        <c:v>0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0</c:v>
                      </c:pt>
                      <c:pt idx="6846">
                        <c:v>0</c:v>
                      </c:pt>
                      <c:pt idx="6847">
                        <c:v>0</c:v>
                      </c:pt>
                      <c:pt idx="6848">
                        <c:v>0</c:v>
                      </c:pt>
                      <c:pt idx="6849">
                        <c:v>0</c:v>
                      </c:pt>
                      <c:pt idx="6850">
                        <c:v>0</c:v>
                      </c:pt>
                      <c:pt idx="6851">
                        <c:v>0</c:v>
                      </c:pt>
                      <c:pt idx="6852">
                        <c:v>0</c:v>
                      </c:pt>
                      <c:pt idx="6853">
                        <c:v>0</c:v>
                      </c:pt>
                      <c:pt idx="6854">
                        <c:v>0</c:v>
                      </c:pt>
                      <c:pt idx="6855">
                        <c:v>0</c:v>
                      </c:pt>
                      <c:pt idx="6856">
                        <c:v>0</c:v>
                      </c:pt>
                      <c:pt idx="6857">
                        <c:v>0</c:v>
                      </c:pt>
                      <c:pt idx="6858">
                        <c:v>0</c:v>
                      </c:pt>
                      <c:pt idx="6859">
                        <c:v>0</c:v>
                      </c:pt>
                      <c:pt idx="6860">
                        <c:v>0</c:v>
                      </c:pt>
                      <c:pt idx="6861">
                        <c:v>0</c:v>
                      </c:pt>
                      <c:pt idx="6862">
                        <c:v>0</c:v>
                      </c:pt>
                      <c:pt idx="6863">
                        <c:v>0</c:v>
                      </c:pt>
                      <c:pt idx="6864">
                        <c:v>0</c:v>
                      </c:pt>
                      <c:pt idx="6865">
                        <c:v>0</c:v>
                      </c:pt>
                      <c:pt idx="6866">
                        <c:v>0</c:v>
                      </c:pt>
                      <c:pt idx="6867">
                        <c:v>0</c:v>
                      </c:pt>
                      <c:pt idx="6868">
                        <c:v>0</c:v>
                      </c:pt>
                      <c:pt idx="6869">
                        <c:v>0</c:v>
                      </c:pt>
                      <c:pt idx="6870">
                        <c:v>0</c:v>
                      </c:pt>
                      <c:pt idx="6871">
                        <c:v>0</c:v>
                      </c:pt>
                      <c:pt idx="6872">
                        <c:v>0</c:v>
                      </c:pt>
                      <c:pt idx="6873">
                        <c:v>0</c:v>
                      </c:pt>
                      <c:pt idx="6874">
                        <c:v>0</c:v>
                      </c:pt>
                      <c:pt idx="6875">
                        <c:v>0</c:v>
                      </c:pt>
                      <c:pt idx="6876">
                        <c:v>0</c:v>
                      </c:pt>
                      <c:pt idx="6877">
                        <c:v>0</c:v>
                      </c:pt>
                      <c:pt idx="6878">
                        <c:v>0</c:v>
                      </c:pt>
                      <c:pt idx="6879">
                        <c:v>0</c:v>
                      </c:pt>
                      <c:pt idx="6880">
                        <c:v>0</c:v>
                      </c:pt>
                      <c:pt idx="6881">
                        <c:v>0</c:v>
                      </c:pt>
                      <c:pt idx="6882">
                        <c:v>0</c:v>
                      </c:pt>
                      <c:pt idx="6883">
                        <c:v>0</c:v>
                      </c:pt>
                      <c:pt idx="6884">
                        <c:v>0</c:v>
                      </c:pt>
                      <c:pt idx="6885">
                        <c:v>0</c:v>
                      </c:pt>
                      <c:pt idx="6886">
                        <c:v>0</c:v>
                      </c:pt>
                      <c:pt idx="6887">
                        <c:v>0</c:v>
                      </c:pt>
                      <c:pt idx="6888">
                        <c:v>0</c:v>
                      </c:pt>
                      <c:pt idx="6889">
                        <c:v>0</c:v>
                      </c:pt>
                      <c:pt idx="6890">
                        <c:v>0</c:v>
                      </c:pt>
                      <c:pt idx="6891">
                        <c:v>0</c:v>
                      </c:pt>
                      <c:pt idx="6892">
                        <c:v>0</c:v>
                      </c:pt>
                      <c:pt idx="6893">
                        <c:v>0</c:v>
                      </c:pt>
                      <c:pt idx="6894">
                        <c:v>0</c:v>
                      </c:pt>
                      <c:pt idx="6895">
                        <c:v>0</c:v>
                      </c:pt>
                      <c:pt idx="6896">
                        <c:v>0</c:v>
                      </c:pt>
                      <c:pt idx="6897">
                        <c:v>0</c:v>
                      </c:pt>
                      <c:pt idx="6898">
                        <c:v>0</c:v>
                      </c:pt>
                      <c:pt idx="6899">
                        <c:v>0</c:v>
                      </c:pt>
                      <c:pt idx="6900">
                        <c:v>0</c:v>
                      </c:pt>
                      <c:pt idx="6901">
                        <c:v>0</c:v>
                      </c:pt>
                      <c:pt idx="6902">
                        <c:v>0</c:v>
                      </c:pt>
                      <c:pt idx="6903">
                        <c:v>0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</c:v>
                      </c:pt>
                      <c:pt idx="6919">
                        <c:v>0</c:v>
                      </c:pt>
                      <c:pt idx="6920">
                        <c:v>0</c:v>
                      </c:pt>
                      <c:pt idx="6921">
                        <c:v>0</c:v>
                      </c:pt>
                      <c:pt idx="6922">
                        <c:v>0</c:v>
                      </c:pt>
                      <c:pt idx="6923">
                        <c:v>0</c:v>
                      </c:pt>
                      <c:pt idx="6924">
                        <c:v>0</c:v>
                      </c:pt>
                      <c:pt idx="6925">
                        <c:v>0</c:v>
                      </c:pt>
                      <c:pt idx="6926">
                        <c:v>0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0</c:v>
                      </c:pt>
                      <c:pt idx="6949">
                        <c:v>0</c:v>
                      </c:pt>
                      <c:pt idx="6950">
                        <c:v>0</c:v>
                      </c:pt>
                      <c:pt idx="6951">
                        <c:v>0</c:v>
                      </c:pt>
                      <c:pt idx="6952">
                        <c:v>0</c:v>
                      </c:pt>
                      <c:pt idx="6953">
                        <c:v>0</c:v>
                      </c:pt>
                      <c:pt idx="6954">
                        <c:v>0</c:v>
                      </c:pt>
                      <c:pt idx="6955">
                        <c:v>0</c:v>
                      </c:pt>
                      <c:pt idx="6956">
                        <c:v>0</c:v>
                      </c:pt>
                      <c:pt idx="6957">
                        <c:v>0</c:v>
                      </c:pt>
                      <c:pt idx="6958">
                        <c:v>0</c:v>
                      </c:pt>
                      <c:pt idx="6959">
                        <c:v>0</c:v>
                      </c:pt>
                      <c:pt idx="6960">
                        <c:v>0</c:v>
                      </c:pt>
                      <c:pt idx="6961">
                        <c:v>0</c:v>
                      </c:pt>
                      <c:pt idx="6962">
                        <c:v>0</c:v>
                      </c:pt>
                      <c:pt idx="6963">
                        <c:v>0</c:v>
                      </c:pt>
                      <c:pt idx="6964">
                        <c:v>0</c:v>
                      </c:pt>
                      <c:pt idx="6965">
                        <c:v>0</c:v>
                      </c:pt>
                      <c:pt idx="6966">
                        <c:v>0</c:v>
                      </c:pt>
                      <c:pt idx="6967">
                        <c:v>0</c:v>
                      </c:pt>
                      <c:pt idx="6968">
                        <c:v>0</c:v>
                      </c:pt>
                      <c:pt idx="6969">
                        <c:v>0</c:v>
                      </c:pt>
                      <c:pt idx="6970">
                        <c:v>0</c:v>
                      </c:pt>
                      <c:pt idx="6971">
                        <c:v>0</c:v>
                      </c:pt>
                      <c:pt idx="6972">
                        <c:v>0</c:v>
                      </c:pt>
                      <c:pt idx="6973">
                        <c:v>0</c:v>
                      </c:pt>
                      <c:pt idx="6974">
                        <c:v>0</c:v>
                      </c:pt>
                      <c:pt idx="6975">
                        <c:v>0</c:v>
                      </c:pt>
                      <c:pt idx="6976">
                        <c:v>0</c:v>
                      </c:pt>
                      <c:pt idx="6977">
                        <c:v>0</c:v>
                      </c:pt>
                      <c:pt idx="6978">
                        <c:v>0</c:v>
                      </c:pt>
                      <c:pt idx="6979">
                        <c:v>0</c:v>
                      </c:pt>
                      <c:pt idx="6980">
                        <c:v>0</c:v>
                      </c:pt>
                      <c:pt idx="6981">
                        <c:v>0</c:v>
                      </c:pt>
                      <c:pt idx="6982">
                        <c:v>0</c:v>
                      </c:pt>
                      <c:pt idx="6983">
                        <c:v>0</c:v>
                      </c:pt>
                      <c:pt idx="6984">
                        <c:v>0</c:v>
                      </c:pt>
                      <c:pt idx="6985">
                        <c:v>0</c:v>
                      </c:pt>
                      <c:pt idx="6986">
                        <c:v>0</c:v>
                      </c:pt>
                      <c:pt idx="6987">
                        <c:v>0</c:v>
                      </c:pt>
                      <c:pt idx="6988">
                        <c:v>0</c:v>
                      </c:pt>
                      <c:pt idx="6989">
                        <c:v>0</c:v>
                      </c:pt>
                      <c:pt idx="6990">
                        <c:v>0</c:v>
                      </c:pt>
                      <c:pt idx="6991">
                        <c:v>0</c:v>
                      </c:pt>
                      <c:pt idx="6992">
                        <c:v>0</c:v>
                      </c:pt>
                      <c:pt idx="6993">
                        <c:v>0</c:v>
                      </c:pt>
                      <c:pt idx="6994">
                        <c:v>0</c:v>
                      </c:pt>
                      <c:pt idx="6995">
                        <c:v>0</c:v>
                      </c:pt>
                      <c:pt idx="6996">
                        <c:v>0</c:v>
                      </c:pt>
                      <c:pt idx="6997">
                        <c:v>0</c:v>
                      </c:pt>
                      <c:pt idx="6998">
                        <c:v>0</c:v>
                      </c:pt>
                      <c:pt idx="6999">
                        <c:v>0</c:v>
                      </c:pt>
                      <c:pt idx="7000">
                        <c:v>0</c:v>
                      </c:pt>
                      <c:pt idx="7001">
                        <c:v>0</c:v>
                      </c:pt>
                      <c:pt idx="7002">
                        <c:v>0</c:v>
                      </c:pt>
                      <c:pt idx="7003">
                        <c:v>0</c:v>
                      </c:pt>
                      <c:pt idx="7004">
                        <c:v>0</c:v>
                      </c:pt>
                      <c:pt idx="7005">
                        <c:v>0</c:v>
                      </c:pt>
                      <c:pt idx="7006">
                        <c:v>0</c:v>
                      </c:pt>
                      <c:pt idx="7007">
                        <c:v>0</c:v>
                      </c:pt>
                      <c:pt idx="7008">
                        <c:v>0</c:v>
                      </c:pt>
                      <c:pt idx="7009">
                        <c:v>0</c:v>
                      </c:pt>
                      <c:pt idx="7010">
                        <c:v>0</c:v>
                      </c:pt>
                      <c:pt idx="7011">
                        <c:v>0</c:v>
                      </c:pt>
                      <c:pt idx="7012">
                        <c:v>0</c:v>
                      </c:pt>
                      <c:pt idx="7013">
                        <c:v>0</c:v>
                      </c:pt>
                      <c:pt idx="7014">
                        <c:v>0</c:v>
                      </c:pt>
                      <c:pt idx="7015">
                        <c:v>0</c:v>
                      </c:pt>
                      <c:pt idx="7016">
                        <c:v>0</c:v>
                      </c:pt>
                      <c:pt idx="7017">
                        <c:v>0</c:v>
                      </c:pt>
                      <c:pt idx="7018">
                        <c:v>0</c:v>
                      </c:pt>
                      <c:pt idx="7019">
                        <c:v>0</c:v>
                      </c:pt>
                      <c:pt idx="7020">
                        <c:v>0</c:v>
                      </c:pt>
                      <c:pt idx="7021">
                        <c:v>0</c:v>
                      </c:pt>
                      <c:pt idx="7022">
                        <c:v>0</c:v>
                      </c:pt>
                      <c:pt idx="7023">
                        <c:v>0</c:v>
                      </c:pt>
                      <c:pt idx="7024">
                        <c:v>0</c:v>
                      </c:pt>
                      <c:pt idx="7025">
                        <c:v>0</c:v>
                      </c:pt>
                      <c:pt idx="7026">
                        <c:v>0</c:v>
                      </c:pt>
                      <c:pt idx="7027">
                        <c:v>0</c:v>
                      </c:pt>
                      <c:pt idx="7028">
                        <c:v>0</c:v>
                      </c:pt>
                      <c:pt idx="7029">
                        <c:v>0</c:v>
                      </c:pt>
                      <c:pt idx="7030">
                        <c:v>0</c:v>
                      </c:pt>
                      <c:pt idx="7031">
                        <c:v>0</c:v>
                      </c:pt>
                      <c:pt idx="7032">
                        <c:v>0</c:v>
                      </c:pt>
                      <c:pt idx="7033">
                        <c:v>0</c:v>
                      </c:pt>
                      <c:pt idx="7034">
                        <c:v>0</c:v>
                      </c:pt>
                      <c:pt idx="7035">
                        <c:v>0</c:v>
                      </c:pt>
                      <c:pt idx="7036">
                        <c:v>0</c:v>
                      </c:pt>
                      <c:pt idx="7037">
                        <c:v>0</c:v>
                      </c:pt>
                      <c:pt idx="7038">
                        <c:v>0</c:v>
                      </c:pt>
                      <c:pt idx="7039">
                        <c:v>0</c:v>
                      </c:pt>
                      <c:pt idx="7040">
                        <c:v>0</c:v>
                      </c:pt>
                      <c:pt idx="7041">
                        <c:v>0</c:v>
                      </c:pt>
                      <c:pt idx="7042">
                        <c:v>0</c:v>
                      </c:pt>
                      <c:pt idx="7043">
                        <c:v>0</c:v>
                      </c:pt>
                      <c:pt idx="7044">
                        <c:v>0</c:v>
                      </c:pt>
                      <c:pt idx="7045">
                        <c:v>0</c:v>
                      </c:pt>
                      <c:pt idx="7046">
                        <c:v>0</c:v>
                      </c:pt>
                      <c:pt idx="7047">
                        <c:v>0</c:v>
                      </c:pt>
                      <c:pt idx="7048">
                        <c:v>0</c:v>
                      </c:pt>
                      <c:pt idx="7049">
                        <c:v>0</c:v>
                      </c:pt>
                      <c:pt idx="7050">
                        <c:v>0</c:v>
                      </c:pt>
                      <c:pt idx="7051">
                        <c:v>0</c:v>
                      </c:pt>
                      <c:pt idx="7052">
                        <c:v>0</c:v>
                      </c:pt>
                      <c:pt idx="7053">
                        <c:v>0</c:v>
                      </c:pt>
                      <c:pt idx="7054">
                        <c:v>0</c:v>
                      </c:pt>
                      <c:pt idx="7055">
                        <c:v>0</c:v>
                      </c:pt>
                      <c:pt idx="7056">
                        <c:v>0</c:v>
                      </c:pt>
                      <c:pt idx="7057">
                        <c:v>0</c:v>
                      </c:pt>
                      <c:pt idx="7058">
                        <c:v>0</c:v>
                      </c:pt>
                      <c:pt idx="7059">
                        <c:v>0</c:v>
                      </c:pt>
                      <c:pt idx="7060">
                        <c:v>0</c:v>
                      </c:pt>
                      <c:pt idx="7061">
                        <c:v>0</c:v>
                      </c:pt>
                      <c:pt idx="7062">
                        <c:v>0</c:v>
                      </c:pt>
                      <c:pt idx="7063">
                        <c:v>0</c:v>
                      </c:pt>
                      <c:pt idx="7064">
                        <c:v>0</c:v>
                      </c:pt>
                      <c:pt idx="7065">
                        <c:v>0</c:v>
                      </c:pt>
                      <c:pt idx="7066">
                        <c:v>0</c:v>
                      </c:pt>
                      <c:pt idx="7067">
                        <c:v>0</c:v>
                      </c:pt>
                      <c:pt idx="7068">
                        <c:v>0</c:v>
                      </c:pt>
                      <c:pt idx="7069">
                        <c:v>0</c:v>
                      </c:pt>
                      <c:pt idx="7070">
                        <c:v>0</c:v>
                      </c:pt>
                      <c:pt idx="7071">
                        <c:v>0</c:v>
                      </c:pt>
                      <c:pt idx="7072">
                        <c:v>0</c:v>
                      </c:pt>
                      <c:pt idx="7073">
                        <c:v>0</c:v>
                      </c:pt>
                      <c:pt idx="7074">
                        <c:v>0</c:v>
                      </c:pt>
                      <c:pt idx="7075">
                        <c:v>0</c:v>
                      </c:pt>
                      <c:pt idx="7076">
                        <c:v>0</c:v>
                      </c:pt>
                      <c:pt idx="7077">
                        <c:v>0</c:v>
                      </c:pt>
                      <c:pt idx="7078">
                        <c:v>0</c:v>
                      </c:pt>
                      <c:pt idx="7079">
                        <c:v>0</c:v>
                      </c:pt>
                      <c:pt idx="7080">
                        <c:v>0</c:v>
                      </c:pt>
                      <c:pt idx="7081">
                        <c:v>0</c:v>
                      </c:pt>
                      <c:pt idx="7082">
                        <c:v>0</c:v>
                      </c:pt>
                      <c:pt idx="7083">
                        <c:v>0</c:v>
                      </c:pt>
                      <c:pt idx="7084">
                        <c:v>0</c:v>
                      </c:pt>
                      <c:pt idx="7085">
                        <c:v>0</c:v>
                      </c:pt>
                      <c:pt idx="7086">
                        <c:v>0</c:v>
                      </c:pt>
                      <c:pt idx="7087">
                        <c:v>0</c:v>
                      </c:pt>
                      <c:pt idx="7088">
                        <c:v>0</c:v>
                      </c:pt>
                      <c:pt idx="7089">
                        <c:v>0</c:v>
                      </c:pt>
                      <c:pt idx="7090">
                        <c:v>0</c:v>
                      </c:pt>
                      <c:pt idx="7091">
                        <c:v>0</c:v>
                      </c:pt>
                      <c:pt idx="7092">
                        <c:v>0</c:v>
                      </c:pt>
                      <c:pt idx="7093">
                        <c:v>0</c:v>
                      </c:pt>
                      <c:pt idx="7094">
                        <c:v>0</c:v>
                      </c:pt>
                      <c:pt idx="7095">
                        <c:v>0</c:v>
                      </c:pt>
                      <c:pt idx="7096">
                        <c:v>0</c:v>
                      </c:pt>
                      <c:pt idx="7097">
                        <c:v>0</c:v>
                      </c:pt>
                      <c:pt idx="7098">
                        <c:v>0</c:v>
                      </c:pt>
                      <c:pt idx="7099">
                        <c:v>0</c:v>
                      </c:pt>
                      <c:pt idx="7100">
                        <c:v>0</c:v>
                      </c:pt>
                      <c:pt idx="7101">
                        <c:v>0</c:v>
                      </c:pt>
                      <c:pt idx="7102">
                        <c:v>0</c:v>
                      </c:pt>
                      <c:pt idx="7103">
                        <c:v>0</c:v>
                      </c:pt>
                      <c:pt idx="7104">
                        <c:v>0</c:v>
                      </c:pt>
                      <c:pt idx="7105">
                        <c:v>0</c:v>
                      </c:pt>
                      <c:pt idx="7106">
                        <c:v>0</c:v>
                      </c:pt>
                      <c:pt idx="7107">
                        <c:v>0</c:v>
                      </c:pt>
                      <c:pt idx="7108">
                        <c:v>0</c:v>
                      </c:pt>
                      <c:pt idx="7109">
                        <c:v>0</c:v>
                      </c:pt>
                      <c:pt idx="7110">
                        <c:v>0</c:v>
                      </c:pt>
                      <c:pt idx="7111">
                        <c:v>0</c:v>
                      </c:pt>
                      <c:pt idx="7112">
                        <c:v>0</c:v>
                      </c:pt>
                      <c:pt idx="7113">
                        <c:v>0</c:v>
                      </c:pt>
                      <c:pt idx="7114">
                        <c:v>0</c:v>
                      </c:pt>
                      <c:pt idx="7115">
                        <c:v>0</c:v>
                      </c:pt>
                      <c:pt idx="7116">
                        <c:v>0</c:v>
                      </c:pt>
                      <c:pt idx="7117">
                        <c:v>0</c:v>
                      </c:pt>
                      <c:pt idx="7118">
                        <c:v>0</c:v>
                      </c:pt>
                      <c:pt idx="7119">
                        <c:v>0</c:v>
                      </c:pt>
                      <c:pt idx="7120">
                        <c:v>0</c:v>
                      </c:pt>
                      <c:pt idx="7121">
                        <c:v>0</c:v>
                      </c:pt>
                      <c:pt idx="7122">
                        <c:v>0</c:v>
                      </c:pt>
                      <c:pt idx="7123">
                        <c:v>0</c:v>
                      </c:pt>
                      <c:pt idx="7124">
                        <c:v>0</c:v>
                      </c:pt>
                      <c:pt idx="7125">
                        <c:v>0</c:v>
                      </c:pt>
                      <c:pt idx="7126">
                        <c:v>0</c:v>
                      </c:pt>
                      <c:pt idx="7127">
                        <c:v>0</c:v>
                      </c:pt>
                      <c:pt idx="7128">
                        <c:v>0</c:v>
                      </c:pt>
                      <c:pt idx="7129">
                        <c:v>0</c:v>
                      </c:pt>
                      <c:pt idx="7130">
                        <c:v>0</c:v>
                      </c:pt>
                      <c:pt idx="7131">
                        <c:v>0</c:v>
                      </c:pt>
                      <c:pt idx="7132">
                        <c:v>0</c:v>
                      </c:pt>
                      <c:pt idx="7133">
                        <c:v>0</c:v>
                      </c:pt>
                      <c:pt idx="7134">
                        <c:v>0</c:v>
                      </c:pt>
                      <c:pt idx="7135">
                        <c:v>0</c:v>
                      </c:pt>
                      <c:pt idx="7136">
                        <c:v>0</c:v>
                      </c:pt>
                      <c:pt idx="7137">
                        <c:v>0</c:v>
                      </c:pt>
                      <c:pt idx="7138">
                        <c:v>0</c:v>
                      </c:pt>
                      <c:pt idx="7139">
                        <c:v>0</c:v>
                      </c:pt>
                      <c:pt idx="7140">
                        <c:v>0</c:v>
                      </c:pt>
                      <c:pt idx="7141">
                        <c:v>0</c:v>
                      </c:pt>
                      <c:pt idx="7142">
                        <c:v>0</c:v>
                      </c:pt>
                      <c:pt idx="7143">
                        <c:v>0</c:v>
                      </c:pt>
                      <c:pt idx="7144">
                        <c:v>0</c:v>
                      </c:pt>
                      <c:pt idx="7145">
                        <c:v>0</c:v>
                      </c:pt>
                      <c:pt idx="7146">
                        <c:v>0</c:v>
                      </c:pt>
                      <c:pt idx="7147">
                        <c:v>0</c:v>
                      </c:pt>
                      <c:pt idx="7148">
                        <c:v>0</c:v>
                      </c:pt>
                      <c:pt idx="7149">
                        <c:v>0</c:v>
                      </c:pt>
                      <c:pt idx="7150">
                        <c:v>0</c:v>
                      </c:pt>
                      <c:pt idx="7151">
                        <c:v>0</c:v>
                      </c:pt>
                      <c:pt idx="7152">
                        <c:v>0</c:v>
                      </c:pt>
                      <c:pt idx="7153">
                        <c:v>0</c:v>
                      </c:pt>
                      <c:pt idx="7154">
                        <c:v>0</c:v>
                      </c:pt>
                      <c:pt idx="7155">
                        <c:v>0</c:v>
                      </c:pt>
                      <c:pt idx="7156">
                        <c:v>0</c:v>
                      </c:pt>
                      <c:pt idx="7157">
                        <c:v>0</c:v>
                      </c:pt>
                      <c:pt idx="7158">
                        <c:v>0</c:v>
                      </c:pt>
                      <c:pt idx="7159">
                        <c:v>0</c:v>
                      </c:pt>
                      <c:pt idx="7160">
                        <c:v>0</c:v>
                      </c:pt>
                      <c:pt idx="7161">
                        <c:v>0</c:v>
                      </c:pt>
                      <c:pt idx="7162">
                        <c:v>0</c:v>
                      </c:pt>
                      <c:pt idx="7163">
                        <c:v>0</c:v>
                      </c:pt>
                      <c:pt idx="7164">
                        <c:v>0</c:v>
                      </c:pt>
                      <c:pt idx="7165">
                        <c:v>0</c:v>
                      </c:pt>
                      <c:pt idx="7166">
                        <c:v>0</c:v>
                      </c:pt>
                      <c:pt idx="7167">
                        <c:v>0</c:v>
                      </c:pt>
                      <c:pt idx="7168">
                        <c:v>0</c:v>
                      </c:pt>
                      <c:pt idx="7169">
                        <c:v>0</c:v>
                      </c:pt>
                      <c:pt idx="7170">
                        <c:v>0</c:v>
                      </c:pt>
                      <c:pt idx="7171">
                        <c:v>0</c:v>
                      </c:pt>
                      <c:pt idx="7172">
                        <c:v>0</c:v>
                      </c:pt>
                      <c:pt idx="7173">
                        <c:v>0</c:v>
                      </c:pt>
                      <c:pt idx="7174">
                        <c:v>0</c:v>
                      </c:pt>
                      <c:pt idx="7175">
                        <c:v>0</c:v>
                      </c:pt>
                      <c:pt idx="7176">
                        <c:v>0</c:v>
                      </c:pt>
                      <c:pt idx="7177">
                        <c:v>0</c:v>
                      </c:pt>
                      <c:pt idx="7178">
                        <c:v>0</c:v>
                      </c:pt>
                      <c:pt idx="7179">
                        <c:v>0</c:v>
                      </c:pt>
                      <c:pt idx="7180">
                        <c:v>0</c:v>
                      </c:pt>
                      <c:pt idx="7181">
                        <c:v>0</c:v>
                      </c:pt>
                      <c:pt idx="7182">
                        <c:v>0</c:v>
                      </c:pt>
                      <c:pt idx="7183">
                        <c:v>0</c:v>
                      </c:pt>
                      <c:pt idx="7184">
                        <c:v>0</c:v>
                      </c:pt>
                      <c:pt idx="7185">
                        <c:v>0</c:v>
                      </c:pt>
                      <c:pt idx="7186">
                        <c:v>0</c:v>
                      </c:pt>
                      <c:pt idx="7187">
                        <c:v>0</c:v>
                      </c:pt>
                      <c:pt idx="7188">
                        <c:v>0</c:v>
                      </c:pt>
                      <c:pt idx="7189">
                        <c:v>0</c:v>
                      </c:pt>
                      <c:pt idx="7190">
                        <c:v>0</c:v>
                      </c:pt>
                      <c:pt idx="7191">
                        <c:v>0</c:v>
                      </c:pt>
                      <c:pt idx="7192">
                        <c:v>0</c:v>
                      </c:pt>
                      <c:pt idx="7193">
                        <c:v>0</c:v>
                      </c:pt>
                      <c:pt idx="7194">
                        <c:v>0</c:v>
                      </c:pt>
                      <c:pt idx="7195">
                        <c:v>0</c:v>
                      </c:pt>
                      <c:pt idx="7196">
                        <c:v>0</c:v>
                      </c:pt>
                      <c:pt idx="7197">
                        <c:v>0</c:v>
                      </c:pt>
                      <c:pt idx="7198">
                        <c:v>0</c:v>
                      </c:pt>
                      <c:pt idx="7199">
                        <c:v>0</c:v>
                      </c:pt>
                      <c:pt idx="7200">
                        <c:v>0</c:v>
                      </c:pt>
                      <c:pt idx="7201">
                        <c:v>0</c:v>
                      </c:pt>
                      <c:pt idx="7202">
                        <c:v>0</c:v>
                      </c:pt>
                      <c:pt idx="7203">
                        <c:v>0</c:v>
                      </c:pt>
                      <c:pt idx="7204">
                        <c:v>0</c:v>
                      </c:pt>
                      <c:pt idx="7205">
                        <c:v>0</c:v>
                      </c:pt>
                      <c:pt idx="7206">
                        <c:v>0</c:v>
                      </c:pt>
                      <c:pt idx="7207">
                        <c:v>0</c:v>
                      </c:pt>
                      <c:pt idx="7208">
                        <c:v>0</c:v>
                      </c:pt>
                      <c:pt idx="7209">
                        <c:v>0</c:v>
                      </c:pt>
                      <c:pt idx="7210">
                        <c:v>0</c:v>
                      </c:pt>
                      <c:pt idx="7211">
                        <c:v>0</c:v>
                      </c:pt>
                      <c:pt idx="7212">
                        <c:v>0</c:v>
                      </c:pt>
                      <c:pt idx="7213">
                        <c:v>0</c:v>
                      </c:pt>
                      <c:pt idx="7214">
                        <c:v>0</c:v>
                      </c:pt>
                      <c:pt idx="7215">
                        <c:v>0</c:v>
                      </c:pt>
                      <c:pt idx="7216">
                        <c:v>0</c:v>
                      </c:pt>
                      <c:pt idx="7217">
                        <c:v>0</c:v>
                      </c:pt>
                      <c:pt idx="7218">
                        <c:v>0</c:v>
                      </c:pt>
                      <c:pt idx="7219">
                        <c:v>0</c:v>
                      </c:pt>
                      <c:pt idx="7220">
                        <c:v>0</c:v>
                      </c:pt>
                      <c:pt idx="7221">
                        <c:v>0</c:v>
                      </c:pt>
                      <c:pt idx="7222">
                        <c:v>0</c:v>
                      </c:pt>
                      <c:pt idx="7223">
                        <c:v>0</c:v>
                      </c:pt>
                      <c:pt idx="7224">
                        <c:v>0</c:v>
                      </c:pt>
                      <c:pt idx="7225">
                        <c:v>0</c:v>
                      </c:pt>
                      <c:pt idx="7226">
                        <c:v>0</c:v>
                      </c:pt>
                      <c:pt idx="7227">
                        <c:v>0</c:v>
                      </c:pt>
                      <c:pt idx="7228">
                        <c:v>0</c:v>
                      </c:pt>
                      <c:pt idx="7229">
                        <c:v>0</c:v>
                      </c:pt>
                      <c:pt idx="7230">
                        <c:v>0</c:v>
                      </c:pt>
                      <c:pt idx="7231">
                        <c:v>0</c:v>
                      </c:pt>
                      <c:pt idx="7232">
                        <c:v>0</c:v>
                      </c:pt>
                      <c:pt idx="7233">
                        <c:v>0</c:v>
                      </c:pt>
                      <c:pt idx="7234">
                        <c:v>0</c:v>
                      </c:pt>
                      <c:pt idx="7235">
                        <c:v>0</c:v>
                      </c:pt>
                      <c:pt idx="7236">
                        <c:v>0</c:v>
                      </c:pt>
                      <c:pt idx="7237">
                        <c:v>0</c:v>
                      </c:pt>
                      <c:pt idx="7238">
                        <c:v>0</c:v>
                      </c:pt>
                      <c:pt idx="7239">
                        <c:v>0</c:v>
                      </c:pt>
                      <c:pt idx="7240">
                        <c:v>0</c:v>
                      </c:pt>
                      <c:pt idx="7241">
                        <c:v>0</c:v>
                      </c:pt>
                      <c:pt idx="7242">
                        <c:v>0</c:v>
                      </c:pt>
                      <c:pt idx="7243">
                        <c:v>0</c:v>
                      </c:pt>
                      <c:pt idx="7244">
                        <c:v>0</c:v>
                      </c:pt>
                      <c:pt idx="7245">
                        <c:v>0</c:v>
                      </c:pt>
                      <c:pt idx="7246">
                        <c:v>0</c:v>
                      </c:pt>
                      <c:pt idx="7247">
                        <c:v>0</c:v>
                      </c:pt>
                      <c:pt idx="7248">
                        <c:v>0</c:v>
                      </c:pt>
                      <c:pt idx="7249">
                        <c:v>0</c:v>
                      </c:pt>
                      <c:pt idx="7250">
                        <c:v>0</c:v>
                      </c:pt>
                      <c:pt idx="7251">
                        <c:v>0</c:v>
                      </c:pt>
                      <c:pt idx="7252">
                        <c:v>0</c:v>
                      </c:pt>
                      <c:pt idx="7253">
                        <c:v>0</c:v>
                      </c:pt>
                      <c:pt idx="7254">
                        <c:v>0</c:v>
                      </c:pt>
                      <c:pt idx="7255">
                        <c:v>0</c:v>
                      </c:pt>
                      <c:pt idx="7256">
                        <c:v>0</c:v>
                      </c:pt>
                      <c:pt idx="7257">
                        <c:v>0</c:v>
                      </c:pt>
                      <c:pt idx="7258">
                        <c:v>0</c:v>
                      </c:pt>
                      <c:pt idx="7259">
                        <c:v>0</c:v>
                      </c:pt>
                      <c:pt idx="7260">
                        <c:v>0</c:v>
                      </c:pt>
                      <c:pt idx="7261">
                        <c:v>0</c:v>
                      </c:pt>
                      <c:pt idx="7262">
                        <c:v>0</c:v>
                      </c:pt>
                      <c:pt idx="7263">
                        <c:v>0</c:v>
                      </c:pt>
                      <c:pt idx="7264">
                        <c:v>0</c:v>
                      </c:pt>
                      <c:pt idx="7265">
                        <c:v>0</c:v>
                      </c:pt>
                      <c:pt idx="7266">
                        <c:v>0</c:v>
                      </c:pt>
                      <c:pt idx="7267">
                        <c:v>0</c:v>
                      </c:pt>
                      <c:pt idx="7268">
                        <c:v>0</c:v>
                      </c:pt>
                      <c:pt idx="7269">
                        <c:v>0</c:v>
                      </c:pt>
                      <c:pt idx="7270">
                        <c:v>0</c:v>
                      </c:pt>
                      <c:pt idx="7271">
                        <c:v>0</c:v>
                      </c:pt>
                      <c:pt idx="7272">
                        <c:v>0</c:v>
                      </c:pt>
                      <c:pt idx="7273">
                        <c:v>0</c:v>
                      </c:pt>
                      <c:pt idx="7274">
                        <c:v>0</c:v>
                      </c:pt>
                      <c:pt idx="7275">
                        <c:v>0</c:v>
                      </c:pt>
                      <c:pt idx="7276">
                        <c:v>0</c:v>
                      </c:pt>
                      <c:pt idx="7277">
                        <c:v>0</c:v>
                      </c:pt>
                      <c:pt idx="7278">
                        <c:v>0</c:v>
                      </c:pt>
                      <c:pt idx="7279">
                        <c:v>0</c:v>
                      </c:pt>
                      <c:pt idx="7280">
                        <c:v>0</c:v>
                      </c:pt>
                      <c:pt idx="7281">
                        <c:v>0</c:v>
                      </c:pt>
                      <c:pt idx="7282">
                        <c:v>0</c:v>
                      </c:pt>
                      <c:pt idx="7283">
                        <c:v>0</c:v>
                      </c:pt>
                      <c:pt idx="7284">
                        <c:v>0</c:v>
                      </c:pt>
                      <c:pt idx="7285">
                        <c:v>0</c:v>
                      </c:pt>
                      <c:pt idx="7286">
                        <c:v>0</c:v>
                      </c:pt>
                      <c:pt idx="7287">
                        <c:v>0</c:v>
                      </c:pt>
                      <c:pt idx="7288">
                        <c:v>0</c:v>
                      </c:pt>
                      <c:pt idx="7289">
                        <c:v>0</c:v>
                      </c:pt>
                      <c:pt idx="7290">
                        <c:v>0</c:v>
                      </c:pt>
                      <c:pt idx="7291">
                        <c:v>0</c:v>
                      </c:pt>
                      <c:pt idx="7292">
                        <c:v>0</c:v>
                      </c:pt>
                      <c:pt idx="7293">
                        <c:v>0</c:v>
                      </c:pt>
                      <c:pt idx="7294">
                        <c:v>0</c:v>
                      </c:pt>
                      <c:pt idx="7295">
                        <c:v>0</c:v>
                      </c:pt>
                      <c:pt idx="7296">
                        <c:v>0</c:v>
                      </c:pt>
                      <c:pt idx="7297">
                        <c:v>0</c:v>
                      </c:pt>
                      <c:pt idx="7298">
                        <c:v>0</c:v>
                      </c:pt>
                      <c:pt idx="7299">
                        <c:v>0</c:v>
                      </c:pt>
                      <c:pt idx="7300">
                        <c:v>0</c:v>
                      </c:pt>
                      <c:pt idx="7301">
                        <c:v>0</c:v>
                      </c:pt>
                      <c:pt idx="7302">
                        <c:v>0</c:v>
                      </c:pt>
                      <c:pt idx="7303">
                        <c:v>0</c:v>
                      </c:pt>
                      <c:pt idx="7304">
                        <c:v>0</c:v>
                      </c:pt>
                      <c:pt idx="7305">
                        <c:v>0</c:v>
                      </c:pt>
                      <c:pt idx="7306">
                        <c:v>0</c:v>
                      </c:pt>
                      <c:pt idx="7307">
                        <c:v>0</c:v>
                      </c:pt>
                      <c:pt idx="7308">
                        <c:v>0</c:v>
                      </c:pt>
                      <c:pt idx="7309">
                        <c:v>0</c:v>
                      </c:pt>
                      <c:pt idx="7310">
                        <c:v>0</c:v>
                      </c:pt>
                      <c:pt idx="7311">
                        <c:v>0</c:v>
                      </c:pt>
                      <c:pt idx="7312">
                        <c:v>0</c:v>
                      </c:pt>
                      <c:pt idx="7313">
                        <c:v>0</c:v>
                      </c:pt>
                      <c:pt idx="7314">
                        <c:v>0</c:v>
                      </c:pt>
                      <c:pt idx="7315">
                        <c:v>0</c:v>
                      </c:pt>
                      <c:pt idx="7316">
                        <c:v>0</c:v>
                      </c:pt>
                      <c:pt idx="7317">
                        <c:v>0</c:v>
                      </c:pt>
                      <c:pt idx="7318">
                        <c:v>0</c:v>
                      </c:pt>
                      <c:pt idx="7319">
                        <c:v>0</c:v>
                      </c:pt>
                      <c:pt idx="7320">
                        <c:v>0</c:v>
                      </c:pt>
                      <c:pt idx="7321">
                        <c:v>0</c:v>
                      </c:pt>
                      <c:pt idx="7322">
                        <c:v>0</c:v>
                      </c:pt>
                      <c:pt idx="7323">
                        <c:v>0</c:v>
                      </c:pt>
                      <c:pt idx="7324">
                        <c:v>0</c:v>
                      </c:pt>
                      <c:pt idx="7325">
                        <c:v>0</c:v>
                      </c:pt>
                      <c:pt idx="7326">
                        <c:v>0</c:v>
                      </c:pt>
                      <c:pt idx="7327">
                        <c:v>0</c:v>
                      </c:pt>
                      <c:pt idx="7328">
                        <c:v>0</c:v>
                      </c:pt>
                      <c:pt idx="7329">
                        <c:v>0</c:v>
                      </c:pt>
                      <c:pt idx="7330">
                        <c:v>0</c:v>
                      </c:pt>
                      <c:pt idx="7331">
                        <c:v>0</c:v>
                      </c:pt>
                      <c:pt idx="7332">
                        <c:v>0</c:v>
                      </c:pt>
                      <c:pt idx="7333">
                        <c:v>0</c:v>
                      </c:pt>
                      <c:pt idx="7334">
                        <c:v>0</c:v>
                      </c:pt>
                      <c:pt idx="7335">
                        <c:v>0</c:v>
                      </c:pt>
                      <c:pt idx="7336">
                        <c:v>0</c:v>
                      </c:pt>
                      <c:pt idx="7337">
                        <c:v>0</c:v>
                      </c:pt>
                      <c:pt idx="7338">
                        <c:v>0</c:v>
                      </c:pt>
                      <c:pt idx="7339">
                        <c:v>0</c:v>
                      </c:pt>
                      <c:pt idx="7340">
                        <c:v>0</c:v>
                      </c:pt>
                      <c:pt idx="7341">
                        <c:v>0</c:v>
                      </c:pt>
                      <c:pt idx="7342">
                        <c:v>0</c:v>
                      </c:pt>
                      <c:pt idx="7343">
                        <c:v>0</c:v>
                      </c:pt>
                      <c:pt idx="7344">
                        <c:v>0</c:v>
                      </c:pt>
                      <c:pt idx="7345">
                        <c:v>0</c:v>
                      </c:pt>
                      <c:pt idx="7346">
                        <c:v>0</c:v>
                      </c:pt>
                      <c:pt idx="7347">
                        <c:v>0</c:v>
                      </c:pt>
                      <c:pt idx="7348">
                        <c:v>0</c:v>
                      </c:pt>
                      <c:pt idx="7349">
                        <c:v>0</c:v>
                      </c:pt>
                      <c:pt idx="7350">
                        <c:v>0</c:v>
                      </c:pt>
                      <c:pt idx="7351">
                        <c:v>0</c:v>
                      </c:pt>
                      <c:pt idx="7352">
                        <c:v>0</c:v>
                      </c:pt>
                      <c:pt idx="7353">
                        <c:v>0</c:v>
                      </c:pt>
                      <c:pt idx="7354">
                        <c:v>0</c:v>
                      </c:pt>
                      <c:pt idx="7355">
                        <c:v>0</c:v>
                      </c:pt>
                      <c:pt idx="7356">
                        <c:v>0</c:v>
                      </c:pt>
                      <c:pt idx="7357">
                        <c:v>0</c:v>
                      </c:pt>
                      <c:pt idx="7358">
                        <c:v>0</c:v>
                      </c:pt>
                      <c:pt idx="7359">
                        <c:v>0</c:v>
                      </c:pt>
                      <c:pt idx="7360">
                        <c:v>0</c:v>
                      </c:pt>
                      <c:pt idx="7361">
                        <c:v>0</c:v>
                      </c:pt>
                      <c:pt idx="7362">
                        <c:v>0</c:v>
                      </c:pt>
                      <c:pt idx="7363">
                        <c:v>0</c:v>
                      </c:pt>
                      <c:pt idx="7364">
                        <c:v>0</c:v>
                      </c:pt>
                      <c:pt idx="7365">
                        <c:v>0</c:v>
                      </c:pt>
                      <c:pt idx="7366">
                        <c:v>0</c:v>
                      </c:pt>
                      <c:pt idx="7367">
                        <c:v>0</c:v>
                      </c:pt>
                      <c:pt idx="7368">
                        <c:v>0</c:v>
                      </c:pt>
                      <c:pt idx="7369">
                        <c:v>0</c:v>
                      </c:pt>
                      <c:pt idx="7370">
                        <c:v>0</c:v>
                      </c:pt>
                      <c:pt idx="7371">
                        <c:v>0</c:v>
                      </c:pt>
                      <c:pt idx="7372">
                        <c:v>0</c:v>
                      </c:pt>
                      <c:pt idx="7373">
                        <c:v>0</c:v>
                      </c:pt>
                      <c:pt idx="7374">
                        <c:v>0</c:v>
                      </c:pt>
                      <c:pt idx="7375">
                        <c:v>0</c:v>
                      </c:pt>
                      <c:pt idx="7376">
                        <c:v>0</c:v>
                      </c:pt>
                      <c:pt idx="7377">
                        <c:v>0</c:v>
                      </c:pt>
                      <c:pt idx="7378">
                        <c:v>0</c:v>
                      </c:pt>
                      <c:pt idx="7379">
                        <c:v>0</c:v>
                      </c:pt>
                      <c:pt idx="7380">
                        <c:v>0</c:v>
                      </c:pt>
                      <c:pt idx="7381">
                        <c:v>0</c:v>
                      </c:pt>
                      <c:pt idx="7382">
                        <c:v>0</c:v>
                      </c:pt>
                      <c:pt idx="7383">
                        <c:v>0</c:v>
                      </c:pt>
                      <c:pt idx="7384">
                        <c:v>0</c:v>
                      </c:pt>
                      <c:pt idx="7385">
                        <c:v>0</c:v>
                      </c:pt>
                      <c:pt idx="7386">
                        <c:v>0</c:v>
                      </c:pt>
                      <c:pt idx="7387">
                        <c:v>0</c:v>
                      </c:pt>
                      <c:pt idx="7388">
                        <c:v>0</c:v>
                      </c:pt>
                      <c:pt idx="7389">
                        <c:v>0</c:v>
                      </c:pt>
                      <c:pt idx="7390">
                        <c:v>0</c:v>
                      </c:pt>
                      <c:pt idx="7391">
                        <c:v>0</c:v>
                      </c:pt>
                      <c:pt idx="7392">
                        <c:v>0</c:v>
                      </c:pt>
                      <c:pt idx="7393">
                        <c:v>0</c:v>
                      </c:pt>
                      <c:pt idx="7394">
                        <c:v>0</c:v>
                      </c:pt>
                      <c:pt idx="7395">
                        <c:v>0</c:v>
                      </c:pt>
                      <c:pt idx="7396">
                        <c:v>0</c:v>
                      </c:pt>
                      <c:pt idx="7397">
                        <c:v>0</c:v>
                      </c:pt>
                      <c:pt idx="7398">
                        <c:v>0</c:v>
                      </c:pt>
                      <c:pt idx="7399">
                        <c:v>0</c:v>
                      </c:pt>
                      <c:pt idx="7400">
                        <c:v>0</c:v>
                      </c:pt>
                      <c:pt idx="7401">
                        <c:v>0</c:v>
                      </c:pt>
                      <c:pt idx="7402">
                        <c:v>0</c:v>
                      </c:pt>
                      <c:pt idx="7403">
                        <c:v>0</c:v>
                      </c:pt>
                      <c:pt idx="7404">
                        <c:v>0</c:v>
                      </c:pt>
                      <c:pt idx="7405">
                        <c:v>0</c:v>
                      </c:pt>
                      <c:pt idx="7406">
                        <c:v>0</c:v>
                      </c:pt>
                      <c:pt idx="7407">
                        <c:v>0</c:v>
                      </c:pt>
                      <c:pt idx="7408">
                        <c:v>0</c:v>
                      </c:pt>
                      <c:pt idx="7409">
                        <c:v>0</c:v>
                      </c:pt>
                      <c:pt idx="7410">
                        <c:v>0</c:v>
                      </c:pt>
                      <c:pt idx="7411">
                        <c:v>0</c:v>
                      </c:pt>
                      <c:pt idx="7412">
                        <c:v>0</c:v>
                      </c:pt>
                      <c:pt idx="7413">
                        <c:v>0</c:v>
                      </c:pt>
                      <c:pt idx="7414">
                        <c:v>0</c:v>
                      </c:pt>
                      <c:pt idx="7415">
                        <c:v>0</c:v>
                      </c:pt>
                      <c:pt idx="7416">
                        <c:v>0</c:v>
                      </c:pt>
                      <c:pt idx="7417">
                        <c:v>0</c:v>
                      </c:pt>
                      <c:pt idx="7418">
                        <c:v>0</c:v>
                      </c:pt>
                      <c:pt idx="7419">
                        <c:v>0</c:v>
                      </c:pt>
                      <c:pt idx="7420">
                        <c:v>0</c:v>
                      </c:pt>
                      <c:pt idx="7421">
                        <c:v>0</c:v>
                      </c:pt>
                      <c:pt idx="7422">
                        <c:v>0</c:v>
                      </c:pt>
                      <c:pt idx="7423">
                        <c:v>0</c:v>
                      </c:pt>
                      <c:pt idx="7424">
                        <c:v>0</c:v>
                      </c:pt>
                      <c:pt idx="7425">
                        <c:v>0</c:v>
                      </c:pt>
                      <c:pt idx="7426">
                        <c:v>0</c:v>
                      </c:pt>
                      <c:pt idx="7427">
                        <c:v>0</c:v>
                      </c:pt>
                      <c:pt idx="7428">
                        <c:v>0</c:v>
                      </c:pt>
                      <c:pt idx="7429">
                        <c:v>0</c:v>
                      </c:pt>
                      <c:pt idx="7430">
                        <c:v>0</c:v>
                      </c:pt>
                      <c:pt idx="7431">
                        <c:v>0</c:v>
                      </c:pt>
                      <c:pt idx="7432">
                        <c:v>0</c:v>
                      </c:pt>
                      <c:pt idx="7433">
                        <c:v>0</c:v>
                      </c:pt>
                      <c:pt idx="7434">
                        <c:v>0</c:v>
                      </c:pt>
                      <c:pt idx="7435">
                        <c:v>0</c:v>
                      </c:pt>
                      <c:pt idx="7436">
                        <c:v>0</c:v>
                      </c:pt>
                      <c:pt idx="7437">
                        <c:v>0</c:v>
                      </c:pt>
                      <c:pt idx="7438">
                        <c:v>0</c:v>
                      </c:pt>
                      <c:pt idx="7439">
                        <c:v>0</c:v>
                      </c:pt>
                      <c:pt idx="7440">
                        <c:v>0</c:v>
                      </c:pt>
                      <c:pt idx="7441">
                        <c:v>0</c:v>
                      </c:pt>
                      <c:pt idx="7442">
                        <c:v>0</c:v>
                      </c:pt>
                      <c:pt idx="7443">
                        <c:v>0</c:v>
                      </c:pt>
                      <c:pt idx="7444">
                        <c:v>0</c:v>
                      </c:pt>
                      <c:pt idx="7445">
                        <c:v>0</c:v>
                      </c:pt>
                      <c:pt idx="7446">
                        <c:v>0</c:v>
                      </c:pt>
                      <c:pt idx="7447">
                        <c:v>0</c:v>
                      </c:pt>
                      <c:pt idx="7448">
                        <c:v>0</c:v>
                      </c:pt>
                      <c:pt idx="7449">
                        <c:v>0</c:v>
                      </c:pt>
                      <c:pt idx="7450">
                        <c:v>0</c:v>
                      </c:pt>
                      <c:pt idx="7451">
                        <c:v>0</c:v>
                      </c:pt>
                      <c:pt idx="7452">
                        <c:v>0</c:v>
                      </c:pt>
                      <c:pt idx="7453">
                        <c:v>0</c:v>
                      </c:pt>
                      <c:pt idx="7454">
                        <c:v>0</c:v>
                      </c:pt>
                      <c:pt idx="7455">
                        <c:v>0</c:v>
                      </c:pt>
                      <c:pt idx="7456">
                        <c:v>0</c:v>
                      </c:pt>
                      <c:pt idx="7457">
                        <c:v>0</c:v>
                      </c:pt>
                      <c:pt idx="7458">
                        <c:v>0</c:v>
                      </c:pt>
                      <c:pt idx="7459">
                        <c:v>0</c:v>
                      </c:pt>
                      <c:pt idx="7460">
                        <c:v>0</c:v>
                      </c:pt>
                      <c:pt idx="7461">
                        <c:v>0</c:v>
                      </c:pt>
                      <c:pt idx="7462">
                        <c:v>0</c:v>
                      </c:pt>
                      <c:pt idx="7463">
                        <c:v>0</c:v>
                      </c:pt>
                      <c:pt idx="7464">
                        <c:v>0</c:v>
                      </c:pt>
                      <c:pt idx="7465">
                        <c:v>0</c:v>
                      </c:pt>
                      <c:pt idx="7466">
                        <c:v>0</c:v>
                      </c:pt>
                      <c:pt idx="7467">
                        <c:v>0</c:v>
                      </c:pt>
                      <c:pt idx="7468">
                        <c:v>0</c:v>
                      </c:pt>
                      <c:pt idx="7469">
                        <c:v>0</c:v>
                      </c:pt>
                      <c:pt idx="7470">
                        <c:v>0</c:v>
                      </c:pt>
                      <c:pt idx="7471">
                        <c:v>0</c:v>
                      </c:pt>
                      <c:pt idx="7472">
                        <c:v>0</c:v>
                      </c:pt>
                      <c:pt idx="7473">
                        <c:v>0</c:v>
                      </c:pt>
                      <c:pt idx="7474">
                        <c:v>0</c:v>
                      </c:pt>
                      <c:pt idx="7475">
                        <c:v>0</c:v>
                      </c:pt>
                      <c:pt idx="7476">
                        <c:v>0</c:v>
                      </c:pt>
                      <c:pt idx="7477">
                        <c:v>0</c:v>
                      </c:pt>
                      <c:pt idx="7478">
                        <c:v>0</c:v>
                      </c:pt>
                      <c:pt idx="7479">
                        <c:v>0</c:v>
                      </c:pt>
                      <c:pt idx="7480">
                        <c:v>0</c:v>
                      </c:pt>
                      <c:pt idx="7481">
                        <c:v>0</c:v>
                      </c:pt>
                      <c:pt idx="7482">
                        <c:v>0</c:v>
                      </c:pt>
                      <c:pt idx="7483">
                        <c:v>0</c:v>
                      </c:pt>
                      <c:pt idx="7484">
                        <c:v>0</c:v>
                      </c:pt>
                      <c:pt idx="7485">
                        <c:v>0</c:v>
                      </c:pt>
                      <c:pt idx="7486">
                        <c:v>0</c:v>
                      </c:pt>
                      <c:pt idx="7487">
                        <c:v>0</c:v>
                      </c:pt>
                      <c:pt idx="7488">
                        <c:v>0</c:v>
                      </c:pt>
                      <c:pt idx="7489">
                        <c:v>0</c:v>
                      </c:pt>
                      <c:pt idx="7490">
                        <c:v>0</c:v>
                      </c:pt>
                      <c:pt idx="7491">
                        <c:v>0</c:v>
                      </c:pt>
                      <c:pt idx="7492">
                        <c:v>0</c:v>
                      </c:pt>
                      <c:pt idx="7493">
                        <c:v>0</c:v>
                      </c:pt>
                      <c:pt idx="7494">
                        <c:v>0</c:v>
                      </c:pt>
                      <c:pt idx="7495">
                        <c:v>0</c:v>
                      </c:pt>
                      <c:pt idx="7496">
                        <c:v>0</c:v>
                      </c:pt>
                      <c:pt idx="7497">
                        <c:v>0</c:v>
                      </c:pt>
                      <c:pt idx="7498">
                        <c:v>0</c:v>
                      </c:pt>
                      <c:pt idx="7499">
                        <c:v>0</c:v>
                      </c:pt>
                      <c:pt idx="7500">
                        <c:v>0</c:v>
                      </c:pt>
                      <c:pt idx="7501">
                        <c:v>0</c:v>
                      </c:pt>
                      <c:pt idx="7502">
                        <c:v>0</c:v>
                      </c:pt>
                      <c:pt idx="7503">
                        <c:v>0</c:v>
                      </c:pt>
                      <c:pt idx="7504">
                        <c:v>0</c:v>
                      </c:pt>
                      <c:pt idx="7505">
                        <c:v>0</c:v>
                      </c:pt>
                      <c:pt idx="7506">
                        <c:v>0</c:v>
                      </c:pt>
                      <c:pt idx="7507">
                        <c:v>0</c:v>
                      </c:pt>
                      <c:pt idx="7508">
                        <c:v>0</c:v>
                      </c:pt>
                      <c:pt idx="7509">
                        <c:v>0</c:v>
                      </c:pt>
                      <c:pt idx="7510">
                        <c:v>0</c:v>
                      </c:pt>
                      <c:pt idx="7511">
                        <c:v>0</c:v>
                      </c:pt>
                      <c:pt idx="7512">
                        <c:v>0</c:v>
                      </c:pt>
                      <c:pt idx="7513">
                        <c:v>0</c:v>
                      </c:pt>
                      <c:pt idx="7514">
                        <c:v>0</c:v>
                      </c:pt>
                      <c:pt idx="7515">
                        <c:v>0</c:v>
                      </c:pt>
                      <c:pt idx="7516">
                        <c:v>0</c:v>
                      </c:pt>
                      <c:pt idx="7517">
                        <c:v>0</c:v>
                      </c:pt>
                      <c:pt idx="7518">
                        <c:v>0</c:v>
                      </c:pt>
                      <c:pt idx="7519">
                        <c:v>0</c:v>
                      </c:pt>
                      <c:pt idx="7520">
                        <c:v>0</c:v>
                      </c:pt>
                      <c:pt idx="7521">
                        <c:v>0</c:v>
                      </c:pt>
                      <c:pt idx="7522">
                        <c:v>0</c:v>
                      </c:pt>
                      <c:pt idx="7523">
                        <c:v>0</c:v>
                      </c:pt>
                      <c:pt idx="7524">
                        <c:v>0</c:v>
                      </c:pt>
                      <c:pt idx="7525">
                        <c:v>0</c:v>
                      </c:pt>
                      <c:pt idx="7526">
                        <c:v>0</c:v>
                      </c:pt>
                      <c:pt idx="7527">
                        <c:v>0</c:v>
                      </c:pt>
                      <c:pt idx="7528">
                        <c:v>0</c:v>
                      </c:pt>
                      <c:pt idx="7529">
                        <c:v>0</c:v>
                      </c:pt>
                      <c:pt idx="7530">
                        <c:v>0</c:v>
                      </c:pt>
                      <c:pt idx="7531">
                        <c:v>0</c:v>
                      </c:pt>
                      <c:pt idx="7532">
                        <c:v>0</c:v>
                      </c:pt>
                      <c:pt idx="7533">
                        <c:v>0</c:v>
                      </c:pt>
                      <c:pt idx="7534">
                        <c:v>0</c:v>
                      </c:pt>
                      <c:pt idx="7535">
                        <c:v>0</c:v>
                      </c:pt>
                      <c:pt idx="7536">
                        <c:v>0</c:v>
                      </c:pt>
                      <c:pt idx="7537">
                        <c:v>0</c:v>
                      </c:pt>
                      <c:pt idx="7538">
                        <c:v>0</c:v>
                      </c:pt>
                      <c:pt idx="7539">
                        <c:v>0</c:v>
                      </c:pt>
                      <c:pt idx="7540">
                        <c:v>0</c:v>
                      </c:pt>
                      <c:pt idx="7541">
                        <c:v>0</c:v>
                      </c:pt>
                      <c:pt idx="7542">
                        <c:v>0</c:v>
                      </c:pt>
                      <c:pt idx="7543">
                        <c:v>0</c:v>
                      </c:pt>
                      <c:pt idx="7544">
                        <c:v>0</c:v>
                      </c:pt>
                      <c:pt idx="7545">
                        <c:v>0</c:v>
                      </c:pt>
                      <c:pt idx="7546">
                        <c:v>0</c:v>
                      </c:pt>
                      <c:pt idx="7547">
                        <c:v>0</c:v>
                      </c:pt>
                      <c:pt idx="7548">
                        <c:v>0</c:v>
                      </c:pt>
                      <c:pt idx="7549">
                        <c:v>0</c:v>
                      </c:pt>
                      <c:pt idx="7550">
                        <c:v>0</c:v>
                      </c:pt>
                      <c:pt idx="7551">
                        <c:v>0</c:v>
                      </c:pt>
                      <c:pt idx="7552">
                        <c:v>0</c:v>
                      </c:pt>
                      <c:pt idx="7553">
                        <c:v>0</c:v>
                      </c:pt>
                      <c:pt idx="7554">
                        <c:v>0</c:v>
                      </c:pt>
                      <c:pt idx="7555">
                        <c:v>0</c:v>
                      </c:pt>
                      <c:pt idx="7556">
                        <c:v>0</c:v>
                      </c:pt>
                      <c:pt idx="7557">
                        <c:v>0</c:v>
                      </c:pt>
                      <c:pt idx="7558">
                        <c:v>0</c:v>
                      </c:pt>
                      <c:pt idx="7559">
                        <c:v>0</c:v>
                      </c:pt>
                      <c:pt idx="7560">
                        <c:v>0</c:v>
                      </c:pt>
                      <c:pt idx="7561">
                        <c:v>0</c:v>
                      </c:pt>
                      <c:pt idx="7562">
                        <c:v>0</c:v>
                      </c:pt>
                      <c:pt idx="7563">
                        <c:v>0</c:v>
                      </c:pt>
                      <c:pt idx="7564">
                        <c:v>0</c:v>
                      </c:pt>
                      <c:pt idx="7565">
                        <c:v>0</c:v>
                      </c:pt>
                      <c:pt idx="7566">
                        <c:v>0</c:v>
                      </c:pt>
                      <c:pt idx="7567">
                        <c:v>0</c:v>
                      </c:pt>
                      <c:pt idx="7568">
                        <c:v>0</c:v>
                      </c:pt>
                      <c:pt idx="7569">
                        <c:v>0</c:v>
                      </c:pt>
                      <c:pt idx="7570">
                        <c:v>0</c:v>
                      </c:pt>
                      <c:pt idx="7571">
                        <c:v>0</c:v>
                      </c:pt>
                      <c:pt idx="7572">
                        <c:v>0</c:v>
                      </c:pt>
                      <c:pt idx="7573">
                        <c:v>0</c:v>
                      </c:pt>
                      <c:pt idx="7574">
                        <c:v>0</c:v>
                      </c:pt>
                      <c:pt idx="7575">
                        <c:v>0</c:v>
                      </c:pt>
                      <c:pt idx="7576">
                        <c:v>0</c:v>
                      </c:pt>
                      <c:pt idx="7577">
                        <c:v>0</c:v>
                      </c:pt>
                      <c:pt idx="7578">
                        <c:v>0</c:v>
                      </c:pt>
                      <c:pt idx="7579">
                        <c:v>0</c:v>
                      </c:pt>
                      <c:pt idx="7580">
                        <c:v>0</c:v>
                      </c:pt>
                      <c:pt idx="7581">
                        <c:v>0</c:v>
                      </c:pt>
                      <c:pt idx="7582">
                        <c:v>0</c:v>
                      </c:pt>
                      <c:pt idx="7583">
                        <c:v>0</c:v>
                      </c:pt>
                      <c:pt idx="7584">
                        <c:v>0</c:v>
                      </c:pt>
                      <c:pt idx="7585">
                        <c:v>0</c:v>
                      </c:pt>
                      <c:pt idx="7586">
                        <c:v>0</c:v>
                      </c:pt>
                      <c:pt idx="7587">
                        <c:v>0</c:v>
                      </c:pt>
                      <c:pt idx="7588">
                        <c:v>0</c:v>
                      </c:pt>
                      <c:pt idx="7589">
                        <c:v>0</c:v>
                      </c:pt>
                      <c:pt idx="7590">
                        <c:v>0</c:v>
                      </c:pt>
                      <c:pt idx="7591">
                        <c:v>0</c:v>
                      </c:pt>
                      <c:pt idx="7592">
                        <c:v>0</c:v>
                      </c:pt>
                      <c:pt idx="7593">
                        <c:v>0</c:v>
                      </c:pt>
                      <c:pt idx="7594">
                        <c:v>0</c:v>
                      </c:pt>
                      <c:pt idx="7595">
                        <c:v>0</c:v>
                      </c:pt>
                      <c:pt idx="7596">
                        <c:v>0</c:v>
                      </c:pt>
                      <c:pt idx="7597">
                        <c:v>0</c:v>
                      </c:pt>
                      <c:pt idx="7598">
                        <c:v>0</c:v>
                      </c:pt>
                      <c:pt idx="7599">
                        <c:v>0</c:v>
                      </c:pt>
                      <c:pt idx="7600">
                        <c:v>0</c:v>
                      </c:pt>
                      <c:pt idx="7601">
                        <c:v>0</c:v>
                      </c:pt>
                      <c:pt idx="7602">
                        <c:v>0</c:v>
                      </c:pt>
                      <c:pt idx="7603">
                        <c:v>0</c:v>
                      </c:pt>
                      <c:pt idx="7604">
                        <c:v>0</c:v>
                      </c:pt>
                      <c:pt idx="7605">
                        <c:v>0</c:v>
                      </c:pt>
                      <c:pt idx="7606">
                        <c:v>0</c:v>
                      </c:pt>
                      <c:pt idx="7607">
                        <c:v>0</c:v>
                      </c:pt>
                      <c:pt idx="7608">
                        <c:v>0</c:v>
                      </c:pt>
                      <c:pt idx="7609">
                        <c:v>0</c:v>
                      </c:pt>
                      <c:pt idx="7610">
                        <c:v>0</c:v>
                      </c:pt>
                      <c:pt idx="7611">
                        <c:v>0</c:v>
                      </c:pt>
                      <c:pt idx="7612">
                        <c:v>0</c:v>
                      </c:pt>
                      <c:pt idx="7613">
                        <c:v>0</c:v>
                      </c:pt>
                      <c:pt idx="7614">
                        <c:v>0</c:v>
                      </c:pt>
                      <c:pt idx="7615">
                        <c:v>0</c:v>
                      </c:pt>
                      <c:pt idx="7616">
                        <c:v>0</c:v>
                      </c:pt>
                      <c:pt idx="7617">
                        <c:v>0</c:v>
                      </c:pt>
                      <c:pt idx="7618">
                        <c:v>0</c:v>
                      </c:pt>
                      <c:pt idx="7619">
                        <c:v>0</c:v>
                      </c:pt>
                      <c:pt idx="7620">
                        <c:v>0</c:v>
                      </c:pt>
                      <c:pt idx="7621">
                        <c:v>0</c:v>
                      </c:pt>
                      <c:pt idx="7622">
                        <c:v>0</c:v>
                      </c:pt>
                      <c:pt idx="7623">
                        <c:v>0</c:v>
                      </c:pt>
                      <c:pt idx="7624">
                        <c:v>0</c:v>
                      </c:pt>
                      <c:pt idx="7625">
                        <c:v>0</c:v>
                      </c:pt>
                      <c:pt idx="7626">
                        <c:v>0</c:v>
                      </c:pt>
                      <c:pt idx="7627">
                        <c:v>0</c:v>
                      </c:pt>
                      <c:pt idx="7628">
                        <c:v>0</c:v>
                      </c:pt>
                      <c:pt idx="7629">
                        <c:v>0</c:v>
                      </c:pt>
                      <c:pt idx="7630">
                        <c:v>0</c:v>
                      </c:pt>
                      <c:pt idx="7631">
                        <c:v>0</c:v>
                      </c:pt>
                      <c:pt idx="7632">
                        <c:v>0</c:v>
                      </c:pt>
                      <c:pt idx="7633">
                        <c:v>0</c:v>
                      </c:pt>
                      <c:pt idx="7634">
                        <c:v>0</c:v>
                      </c:pt>
                      <c:pt idx="7635">
                        <c:v>0</c:v>
                      </c:pt>
                      <c:pt idx="7636">
                        <c:v>0</c:v>
                      </c:pt>
                      <c:pt idx="7637">
                        <c:v>0</c:v>
                      </c:pt>
                      <c:pt idx="7638">
                        <c:v>0</c:v>
                      </c:pt>
                      <c:pt idx="7639">
                        <c:v>0</c:v>
                      </c:pt>
                      <c:pt idx="7640">
                        <c:v>0</c:v>
                      </c:pt>
                      <c:pt idx="7641">
                        <c:v>0</c:v>
                      </c:pt>
                      <c:pt idx="7642">
                        <c:v>0</c:v>
                      </c:pt>
                      <c:pt idx="7643">
                        <c:v>0</c:v>
                      </c:pt>
                      <c:pt idx="7644">
                        <c:v>0</c:v>
                      </c:pt>
                      <c:pt idx="7645">
                        <c:v>0</c:v>
                      </c:pt>
                      <c:pt idx="7646">
                        <c:v>0</c:v>
                      </c:pt>
                      <c:pt idx="7647">
                        <c:v>0</c:v>
                      </c:pt>
                      <c:pt idx="7648">
                        <c:v>0</c:v>
                      </c:pt>
                      <c:pt idx="7649">
                        <c:v>0</c:v>
                      </c:pt>
                      <c:pt idx="7650">
                        <c:v>0</c:v>
                      </c:pt>
                      <c:pt idx="7651">
                        <c:v>0</c:v>
                      </c:pt>
                      <c:pt idx="7652">
                        <c:v>0</c:v>
                      </c:pt>
                      <c:pt idx="7653">
                        <c:v>0</c:v>
                      </c:pt>
                      <c:pt idx="7654">
                        <c:v>0</c:v>
                      </c:pt>
                      <c:pt idx="7655">
                        <c:v>0</c:v>
                      </c:pt>
                      <c:pt idx="7656">
                        <c:v>0</c:v>
                      </c:pt>
                      <c:pt idx="7657">
                        <c:v>0</c:v>
                      </c:pt>
                      <c:pt idx="7658">
                        <c:v>0</c:v>
                      </c:pt>
                      <c:pt idx="7659">
                        <c:v>0</c:v>
                      </c:pt>
                      <c:pt idx="7660">
                        <c:v>0</c:v>
                      </c:pt>
                      <c:pt idx="7661">
                        <c:v>0</c:v>
                      </c:pt>
                      <c:pt idx="7662">
                        <c:v>0</c:v>
                      </c:pt>
                      <c:pt idx="7663">
                        <c:v>0</c:v>
                      </c:pt>
                      <c:pt idx="7664">
                        <c:v>0</c:v>
                      </c:pt>
                      <c:pt idx="7665">
                        <c:v>0</c:v>
                      </c:pt>
                      <c:pt idx="7666">
                        <c:v>0</c:v>
                      </c:pt>
                      <c:pt idx="7667">
                        <c:v>0</c:v>
                      </c:pt>
                      <c:pt idx="7668">
                        <c:v>0</c:v>
                      </c:pt>
                      <c:pt idx="7669">
                        <c:v>0</c:v>
                      </c:pt>
                      <c:pt idx="7670">
                        <c:v>0</c:v>
                      </c:pt>
                      <c:pt idx="7671">
                        <c:v>0</c:v>
                      </c:pt>
                      <c:pt idx="7672">
                        <c:v>0</c:v>
                      </c:pt>
                      <c:pt idx="7673">
                        <c:v>0</c:v>
                      </c:pt>
                      <c:pt idx="7674">
                        <c:v>0</c:v>
                      </c:pt>
                      <c:pt idx="7675">
                        <c:v>0</c:v>
                      </c:pt>
                      <c:pt idx="7676">
                        <c:v>0</c:v>
                      </c:pt>
                      <c:pt idx="7677">
                        <c:v>0</c:v>
                      </c:pt>
                      <c:pt idx="7678">
                        <c:v>0</c:v>
                      </c:pt>
                      <c:pt idx="7679">
                        <c:v>0</c:v>
                      </c:pt>
                      <c:pt idx="7680">
                        <c:v>0</c:v>
                      </c:pt>
                      <c:pt idx="7681">
                        <c:v>0</c:v>
                      </c:pt>
                      <c:pt idx="7682">
                        <c:v>0</c:v>
                      </c:pt>
                      <c:pt idx="7683">
                        <c:v>0</c:v>
                      </c:pt>
                      <c:pt idx="7684">
                        <c:v>0</c:v>
                      </c:pt>
                      <c:pt idx="7685">
                        <c:v>0</c:v>
                      </c:pt>
                      <c:pt idx="7686">
                        <c:v>0</c:v>
                      </c:pt>
                      <c:pt idx="7687">
                        <c:v>0</c:v>
                      </c:pt>
                      <c:pt idx="7688">
                        <c:v>0</c:v>
                      </c:pt>
                      <c:pt idx="7689">
                        <c:v>0</c:v>
                      </c:pt>
                      <c:pt idx="7690">
                        <c:v>0</c:v>
                      </c:pt>
                      <c:pt idx="7691">
                        <c:v>0</c:v>
                      </c:pt>
                      <c:pt idx="7692">
                        <c:v>0</c:v>
                      </c:pt>
                      <c:pt idx="7693">
                        <c:v>0</c:v>
                      </c:pt>
                      <c:pt idx="7694">
                        <c:v>0</c:v>
                      </c:pt>
                      <c:pt idx="7695">
                        <c:v>0</c:v>
                      </c:pt>
                      <c:pt idx="7696">
                        <c:v>0</c:v>
                      </c:pt>
                      <c:pt idx="7697">
                        <c:v>0</c:v>
                      </c:pt>
                      <c:pt idx="7698">
                        <c:v>0</c:v>
                      </c:pt>
                      <c:pt idx="7699">
                        <c:v>0</c:v>
                      </c:pt>
                      <c:pt idx="7700">
                        <c:v>0</c:v>
                      </c:pt>
                      <c:pt idx="7701">
                        <c:v>0</c:v>
                      </c:pt>
                      <c:pt idx="7702">
                        <c:v>0</c:v>
                      </c:pt>
                      <c:pt idx="7703">
                        <c:v>0</c:v>
                      </c:pt>
                      <c:pt idx="7704">
                        <c:v>0</c:v>
                      </c:pt>
                      <c:pt idx="7705">
                        <c:v>0</c:v>
                      </c:pt>
                      <c:pt idx="7706">
                        <c:v>0</c:v>
                      </c:pt>
                      <c:pt idx="7707">
                        <c:v>0</c:v>
                      </c:pt>
                      <c:pt idx="7708">
                        <c:v>0</c:v>
                      </c:pt>
                      <c:pt idx="7709">
                        <c:v>0</c:v>
                      </c:pt>
                      <c:pt idx="7710">
                        <c:v>0</c:v>
                      </c:pt>
                      <c:pt idx="7711">
                        <c:v>0</c:v>
                      </c:pt>
                      <c:pt idx="7712">
                        <c:v>0</c:v>
                      </c:pt>
                      <c:pt idx="7713">
                        <c:v>0</c:v>
                      </c:pt>
                      <c:pt idx="7714">
                        <c:v>0</c:v>
                      </c:pt>
                      <c:pt idx="7715">
                        <c:v>0</c:v>
                      </c:pt>
                      <c:pt idx="7716">
                        <c:v>0</c:v>
                      </c:pt>
                      <c:pt idx="7717">
                        <c:v>0</c:v>
                      </c:pt>
                      <c:pt idx="7718">
                        <c:v>0</c:v>
                      </c:pt>
                      <c:pt idx="7719">
                        <c:v>0</c:v>
                      </c:pt>
                      <c:pt idx="7720">
                        <c:v>0</c:v>
                      </c:pt>
                      <c:pt idx="7721">
                        <c:v>0</c:v>
                      </c:pt>
                      <c:pt idx="7722">
                        <c:v>0</c:v>
                      </c:pt>
                      <c:pt idx="7723">
                        <c:v>0</c:v>
                      </c:pt>
                      <c:pt idx="7724">
                        <c:v>0</c:v>
                      </c:pt>
                      <c:pt idx="7725">
                        <c:v>0</c:v>
                      </c:pt>
                      <c:pt idx="7726">
                        <c:v>0</c:v>
                      </c:pt>
                      <c:pt idx="7727">
                        <c:v>0</c:v>
                      </c:pt>
                      <c:pt idx="7728">
                        <c:v>0</c:v>
                      </c:pt>
                      <c:pt idx="7729">
                        <c:v>0</c:v>
                      </c:pt>
                      <c:pt idx="7730">
                        <c:v>0</c:v>
                      </c:pt>
                      <c:pt idx="7731">
                        <c:v>0</c:v>
                      </c:pt>
                      <c:pt idx="7732">
                        <c:v>0</c:v>
                      </c:pt>
                      <c:pt idx="7733">
                        <c:v>0</c:v>
                      </c:pt>
                      <c:pt idx="7734">
                        <c:v>0</c:v>
                      </c:pt>
                      <c:pt idx="7735">
                        <c:v>0</c:v>
                      </c:pt>
                      <c:pt idx="7736">
                        <c:v>0</c:v>
                      </c:pt>
                      <c:pt idx="7737">
                        <c:v>0</c:v>
                      </c:pt>
                      <c:pt idx="7738">
                        <c:v>0</c:v>
                      </c:pt>
                      <c:pt idx="7739">
                        <c:v>0</c:v>
                      </c:pt>
                      <c:pt idx="7740">
                        <c:v>0</c:v>
                      </c:pt>
                      <c:pt idx="7741">
                        <c:v>0</c:v>
                      </c:pt>
                      <c:pt idx="7742">
                        <c:v>0</c:v>
                      </c:pt>
                      <c:pt idx="7743">
                        <c:v>0</c:v>
                      </c:pt>
                      <c:pt idx="7744">
                        <c:v>0</c:v>
                      </c:pt>
                      <c:pt idx="7745">
                        <c:v>0</c:v>
                      </c:pt>
                      <c:pt idx="7746">
                        <c:v>0</c:v>
                      </c:pt>
                      <c:pt idx="7747">
                        <c:v>0</c:v>
                      </c:pt>
                      <c:pt idx="7748">
                        <c:v>0</c:v>
                      </c:pt>
                      <c:pt idx="7749">
                        <c:v>0</c:v>
                      </c:pt>
                      <c:pt idx="7750">
                        <c:v>0</c:v>
                      </c:pt>
                      <c:pt idx="7751">
                        <c:v>0</c:v>
                      </c:pt>
                      <c:pt idx="7752">
                        <c:v>0</c:v>
                      </c:pt>
                      <c:pt idx="7753">
                        <c:v>0</c:v>
                      </c:pt>
                      <c:pt idx="7754">
                        <c:v>0</c:v>
                      </c:pt>
                      <c:pt idx="7755">
                        <c:v>0</c:v>
                      </c:pt>
                      <c:pt idx="7756">
                        <c:v>0</c:v>
                      </c:pt>
                      <c:pt idx="7757">
                        <c:v>0</c:v>
                      </c:pt>
                      <c:pt idx="7758">
                        <c:v>0</c:v>
                      </c:pt>
                      <c:pt idx="7759">
                        <c:v>0</c:v>
                      </c:pt>
                      <c:pt idx="7760">
                        <c:v>0</c:v>
                      </c:pt>
                      <c:pt idx="7761">
                        <c:v>0</c:v>
                      </c:pt>
                      <c:pt idx="7762">
                        <c:v>0</c:v>
                      </c:pt>
                      <c:pt idx="7763">
                        <c:v>0</c:v>
                      </c:pt>
                      <c:pt idx="7764">
                        <c:v>0</c:v>
                      </c:pt>
                      <c:pt idx="7765">
                        <c:v>0</c:v>
                      </c:pt>
                      <c:pt idx="7766">
                        <c:v>0</c:v>
                      </c:pt>
                      <c:pt idx="7767">
                        <c:v>0</c:v>
                      </c:pt>
                      <c:pt idx="7768">
                        <c:v>0</c:v>
                      </c:pt>
                      <c:pt idx="7769">
                        <c:v>0</c:v>
                      </c:pt>
                      <c:pt idx="7770">
                        <c:v>0</c:v>
                      </c:pt>
                      <c:pt idx="7771">
                        <c:v>0</c:v>
                      </c:pt>
                      <c:pt idx="7772">
                        <c:v>0</c:v>
                      </c:pt>
                      <c:pt idx="7773">
                        <c:v>0</c:v>
                      </c:pt>
                      <c:pt idx="7774">
                        <c:v>0</c:v>
                      </c:pt>
                      <c:pt idx="7775">
                        <c:v>0</c:v>
                      </c:pt>
                      <c:pt idx="7776">
                        <c:v>0</c:v>
                      </c:pt>
                      <c:pt idx="7777">
                        <c:v>0</c:v>
                      </c:pt>
                      <c:pt idx="7778">
                        <c:v>0</c:v>
                      </c:pt>
                      <c:pt idx="7779">
                        <c:v>0</c:v>
                      </c:pt>
                      <c:pt idx="7780">
                        <c:v>0</c:v>
                      </c:pt>
                      <c:pt idx="7781">
                        <c:v>0</c:v>
                      </c:pt>
                      <c:pt idx="7782">
                        <c:v>0</c:v>
                      </c:pt>
                      <c:pt idx="7783">
                        <c:v>0</c:v>
                      </c:pt>
                      <c:pt idx="7784">
                        <c:v>0</c:v>
                      </c:pt>
                      <c:pt idx="7785">
                        <c:v>0</c:v>
                      </c:pt>
                      <c:pt idx="7786">
                        <c:v>0</c:v>
                      </c:pt>
                      <c:pt idx="7787">
                        <c:v>0</c:v>
                      </c:pt>
                      <c:pt idx="7788">
                        <c:v>0</c:v>
                      </c:pt>
                      <c:pt idx="7789">
                        <c:v>0</c:v>
                      </c:pt>
                      <c:pt idx="7790">
                        <c:v>0</c:v>
                      </c:pt>
                      <c:pt idx="7791">
                        <c:v>0</c:v>
                      </c:pt>
                      <c:pt idx="7792">
                        <c:v>0</c:v>
                      </c:pt>
                      <c:pt idx="7793">
                        <c:v>0</c:v>
                      </c:pt>
                      <c:pt idx="7794">
                        <c:v>0</c:v>
                      </c:pt>
                      <c:pt idx="7795">
                        <c:v>0</c:v>
                      </c:pt>
                      <c:pt idx="7796">
                        <c:v>0</c:v>
                      </c:pt>
                      <c:pt idx="7797">
                        <c:v>0</c:v>
                      </c:pt>
                      <c:pt idx="7798">
                        <c:v>0</c:v>
                      </c:pt>
                      <c:pt idx="7799">
                        <c:v>0</c:v>
                      </c:pt>
                      <c:pt idx="7800">
                        <c:v>0</c:v>
                      </c:pt>
                      <c:pt idx="7801">
                        <c:v>0</c:v>
                      </c:pt>
                      <c:pt idx="7802">
                        <c:v>0</c:v>
                      </c:pt>
                      <c:pt idx="7803">
                        <c:v>0</c:v>
                      </c:pt>
                      <c:pt idx="7804">
                        <c:v>0</c:v>
                      </c:pt>
                      <c:pt idx="7805">
                        <c:v>0</c:v>
                      </c:pt>
                      <c:pt idx="7806">
                        <c:v>0</c:v>
                      </c:pt>
                      <c:pt idx="7807">
                        <c:v>0</c:v>
                      </c:pt>
                      <c:pt idx="7808">
                        <c:v>0</c:v>
                      </c:pt>
                      <c:pt idx="7809">
                        <c:v>0</c:v>
                      </c:pt>
                      <c:pt idx="7810">
                        <c:v>0</c:v>
                      </c:pt>
                      <c:pt idx="7811">
                        <c:v>0</c:v>
                      </c:pt>
                      <c:pt idx="7812">
                        <c:v>0</c:v>
                      </c:pt>
                      <c:pt idx="7813">
                        <c:v>0</c:v>
                      </c:pt>
                      <c:pt idx="7814">
                        <c:v>0</c:v>
                      </c:pt>
                      <c:pt idx="7815">
                        <c:v>0</c:v>
                      </c:pt>
                      <c:pt idx="7816">
                        <c:v>0</c:v>
                      </c:pt>
                      <c:pt idx="7817">
                        <c:v>0</c:v>
                      </c:pt>
                      <c:pt idx="7818">
                        <c:v>0</c:v>
                      </c:pt>
                      <c:pt idx="7819">
                        <c:v>0</c:v>
                      </c:pt>
                      <c:pt idx="7820">
                        <c:v>0</c:v>
                      </c:pt>
                      <c:pt idx="7821">
                        <c:v>0</c:v>
                      </c:pt>
                      <c:pt idx="7822">
                        <c:v>0</c:v>
                      </c:pt>
                      <c:pt idx="7823">
                        <c:v>0</c:v>
                      </c:pt>
                      <c:pt idx="7824">
                        <c:v>0</c:v>
                      </c:pt>
                      <c:pt idx="7825">
                        <c:v>0</c:v>
                      </c:pt>
                      <c:pt idx="7826">
                        <c:v>0</c:v>
                      </c:pt>
                      <c:pt idx="7827">
                        <c:v>0</c:v>
                      </c:pt>
                      <c:pt idx="7828">
                        <c:v>0</c:v>
                      </c:pt>
                      <c:pt idx="7829">
                        <c:v>0</c:v>
                      </c:pt>
                      <c:pt idx="7830">
                        <c:v>0</c:v>
                      </c:pt>
                      <c:pt idx="7831">
                        <c:v>0</c:v>
                      </c:pt>
                      <c:pt idx="7832">
                        <c:v>0</c:v>
                      </c:pt>
                      <c:pt idx="7833">
                        <c:v>0</c:v>
                      </c:pt>
                      <c:pt idx="7834">
                        <c:v>0</c:v>
                      </c:pt>
                      <c:pt idx="7835">
                        <c:v>0</c:v>
                      </c:pt>
                      <c:pt idx="7836">
                        <c:v>0</c:v>
                      </c:pt>
                      <c:pt idx="7837">
                        <c:v>0</c:v>
                      </c:pt>
                      <c:pt idx="7838">
                        <c:v>0</c:v>
                      </c:pt>
                      <c:pt idx="7839">
                        <c:v>0</c:v>
                      </c:pt>
                      <c:pt idx="7840">
                        <c:v>0</c:v>
                      </c:pt>
                      <c:pt idx="7841">
                        <c:v>0</c:v>
                      </c:pt>
                      <c:pt idx="7842">
                        <c:v>0</c:v>
                      </c:pt>
                      <c:pt idx="7843">
                        <c:v>0</c:v>
                      </c:pt>
                      <c:pt idx="7844">
                        <c:v>0</c:v>
                      </c:pt>
                      <c:pt idx="7845">
                        <c:v>0</c:v>
                      </c:pt>
                      <c:pt idx="7846">
                        <c:v>0</c:v>
                      </c:pt>
                      <c:pt idx="7847">
                        <c:v>0</c:v>
                      </c:pt>
                      <c:pt idx="7848">
                        <c:v>0</c:v>
                      </c:pt>
                      <c:pt idx="7849">
                        <c:v>0</c:v>
                      </c:pt>
                      <c:pt idx="7850">
                        <c:v>0</c:v>
                      </c:pt>
                      <c:pt idx="7851">
                        <c:v>0</c:v>
                      </c:pt>
                      <c:pt idx="7852">
                        <c:v>0</c:v>
                      </c:pt>
                      <c:pt idx="7853">
                        <c:v>0</c:v>
                      </c:pt>
                      <c:pt idx="7854">
                        <c:v>0</c:v>
                      </c:pt>
                      <c:pt idx="7855">
                        <c:v>0</c:v>
                      </c:pt>
                      <c:pt idx="7856">
                        <c:v>0</c:v>
                      </c:pt>
                      <c:pt idx="7857">
                        <c:v>0</c:v>
                      </c:pt>
                      <c:pt idx="7858">
                        <c:v>0</c:v>
                      </c:pt>
                      <c:pt idx="7859">
                        <c:v>0</c:v>
                      </c:pt>
                      <c:pt idx="7860">
                        <c:v>0</c:v>
                      </c:pt>
                      <c:pt idx="7861">
                        <c:v>0</c:v>
                      </c:pt>
                      <c:pt idx="7862">
                        <c:v>0</c:v>
                      </c:pt>
                      <c:pt idx="7863">
                        <c:v>0</c:v>
                      </c:pt>
                      <c:pt idx="7864">
                        <c:v>0</c:v>
                      </c:pt>
                      <c:pt idx="7865">
                        <c:v>0</c:v>
                      </c:pt>
                      <c:pt idx="7866">
                        <c:v>0</c:v>
                      </c:pt>
                      <c:pt idx="7867">
                        <c:v>0</c:v>
                      </c:pt>
                      <c:pt idx="7868">
                        <c:v>0</c:v>
                      </c:pt>
                      <c:pt idx="7869">
                        <c:v>0</c:v>
                      </c:pt>
                      <c:pt idx="7870">
                        <c:v>0</c:v>
                      </c:pt>
                      <c:pt idx="7871">
                        <c:v>0</c:v>
                      </c:pt>
                      <c:pt idx="7872">
                        <c:v>0</c:v>
                      </c:pt>
                      <c:pt idx="7873">
                        <c:v>0</c:v>
                      </c:pt>
                      <c:pt idx="7874">
                        <c:v>0</c:v>
                      </c:pt>
                      <c:pt idx="7875">
                        <c:v>0</c:v>
                      </c:pt>
                      <c:pt idx="7876">
                        <c:v>0</c:v>
                      </c:pt>
                      <c:pt idx="7877">
                        <c:v>0</c:v>
                      </c:pt>
                      <c:pt idx="7878">
                        <c:v>0</c:v>
                      </c:pt>
                      <c:pt idx="7879">
                        <c:v>0</c:v>
                      </c:pt>
                      <c:pt idx="7880">
                        <c:v>0</c:v>
                      </c:pt>
                      <c:pt idx="7881">
                        <c:v>0</c:v>
                      </c:pt>
                      <c:pt idx="7882">
                        <c:v>0</c:v>
                      </c:pt>
                      <c:pt idx="7883">
                        <c:v>0</c:v>
                      </c:pt>
                      <c:pt idx="7884">
                        <c:v>0</c:v>
                      </c:pt>
                      <c:pt idx="7885">
                        <c:v>0</c:v>
                      </c:pt>
                      <c:pt idx="7886">
                        <c:v>0</c:v>
                      </c:pt>
                      <c:pt idx="7887">
                        <c:v>0</c:v>
                      </c:pt>
                      <c:pt idx="7888">
                        <c:v>0</c:v>
                      </c:pt>
                      <c:pt idx="7889">
                        <c:v>0</c:v>
                      </c:pt>
                      <c:pt idx="7890">
                        <c:v>0</c:v>
                      </c:pt>
                      <c:pt idx="7891">
                        <c:v>0</c:v>
                      </c:pt>
                      <c:pt idx="7892">
                        <c:v>0</c:v>
                      </c:pt>
                      <c:pt idx="7893">
                        <c:v>0</c:v>
                      </c:pt>
                      <c:pt idx="7894">
                        <c:v>0</c:v>
                      </c:pt>
                      <c:pt idx="7895">
                        <c:v>0</c:v>
                      </c:pt>
                      <c:pt idx="7896">
                        <c:v>0</c:v>
                      </c:pt>
                      <c:pt idx="7897">
                        <c:v>0</c:v>
                      </c:pt>
                      <c:pt idx="7898">
                        <c:v>0</c:v>
                      </c:pt>
                      <c:pt idx="7899">
                        <c:v>0</c:v>
                      </c:pt>
                      <c:pt idx="7900">
                        <c:v>0</c:v>
                      </c:pt>
                      <c:pt idx="7901">
                        <c:v>0</c:v>
                      </c:pt>
                      <c:pt idx="7902">
                        <c:v>0</c:v>
                      </c:pt>
                      <c:pt idx="7903">
                        <c:v>0</c:v>
                      </c:pt>
                      <c:pt idx="7904">
                        <c:v>0</c:v>
                      </c:pt>
                      <c:pt idx="7905">
                        <c:v>0</c:v>
                      </c:pt>
                      <c:pt idx="7906">
                        <c:v>0</c:v>
                      </c:pt>
                      <c:pt idx="7907">
                        <c:v>0</c:v>
                      </c:pt>
                      <c:pt idx="7908">
                        <c:v>0</c:v>
                      </c:pt>
                      <c:pt idx="7909">
                        <c:v>0</c:v>
                      </c:pt>
                      <c:pt idx="7910">
                        <c:v>0</c:v>
                      </c:pt>
                      <c:pt idx="7911">
                        <c:v>0</c:v>
                      </c:pt>
                      <c:pt idx="7912">
                        <c:v>0</c:v>
                      </c:pt>
                      <c:pt idx="7913">
                        <c:v>0</c:v>
                      </c:pt>
                      <c:pt idx="7914">
                        <c:v>0</c:v>
                      </c:pt>
                      <c:pt idx="7915">
                        <c:v>0</c:v>
                      </c:pt>
                      <c:pt idx="7916">
                        <c:v>0</c:v>
                      </c:pt>
                      <c:pt idx="7917">
                        <c:v>0</c:v>
                      </c:pt>
                      <c:pt idx="7918">
                        <c:v>0</c:v>
                      </c:pt>
                      <c:pt idx="7919">
                        <c:v>0</c:v>
                      </c:pt>
                      <c:pt idx="7920">
                        <c:v>0</c:v>
                      </c:pt>
                      <c:pt idx="7921">
                        <c:v>0</c:v>
                      </c:pt>
                      <c:pt idx="7922">
                        <c:v>0</c:v>
                      </c:pt>
                      <c:pt idx="7923">
                        <c:v>0</c:v>
                      </c:pt>
                      <c:pt idx="7924">
                        <c:v>0</c:v>
                      </c:pt>
                      <c:pt idx="7925">
                        <c:v>0</c:v>
                      </c:pt>
                      <c:pt idx="7926">
                        <c:v>0</c:v>
                      </c:pt>
                      <c:pt idx="7927">
                        <c:v>0</c:v>
                      </c:pt>
                      <c:pt idx="7928">
                        <c:v>0</c:v>
                      </c:pt>
                      <c:pt idx="7929">
                        <c:v>0</c:v>
                      </c:pt>
                      <c:pt idx="7930">
                        <c:v>0</c:v>
                      </c:pt>
                      <c:pt idx="7931">
                        <c:v>0</c:v>
                      </c:pt>
                      <c:pt idx="7932">
                        <c:v>0</c:v>
                      </c:pt>
                      <c:pt idx="7933">
                        <c:v>0</c:v>
                      </c:pt>
                      <c:pt idx="7934">
                        <c:v>0</c:v>
                      </c:pt>
                      <c:pt idx="7935">
                        <c:v>0</c:v>
                      </c:pt>
                      <c:pt idx="7936">
                        <c:v>0</c:v>
                      </c:pt>
                      <c:pt idx="7937">
                        <c:v>0</c:v>
                      </c:pt>
                      <c:pt idx="7938">
                        <c:v>0</c:v>
                      </c:pt>
                      <c:pt idx="7939">
                        <c:v>0</c:v>
                      </c:pt>
                      <c:pt idx="7940">
                        <c:v>0</c:v>
                      </c:pt>
                      <c:pt idx="7941">
                        <c:v>0</c:v>
                      </c:pt>
                      <c:pt idx="7942">
                        <c:v>0</c:v>
                      </c:pt>
                      <c:pt idx="7943">
                        <c:v>0</c:v>
                      </c:pt>
                      <c:pt idx="7944">
                        <c:v>0</c:v>
                      </c:pt>
                      <c:pt idx="7945">
                        <c:v>0</c:v>
                      </c:pt>
                      <c:pt idx="7946">
                        <c:v>0</c:v>
                      </c:pt>
                      <c:pt idx="7947">
                        <c:v>0</c:v>
                      </c:pt>
                      <c:pt idx="7948">
                        <c:v>0</c:v>
                      </c:pt>
                      <c:pt idx="7949">
                        <c:v>0</c:v>
                      </c:pt>
                      <c:pt idx="7950">
                        <c:v>0</c:v>
                      </c:pt>
                      <c:pt idx="7951">
                        <c:v>0</c:v>
                      </c:pt>
                      <c:pt idx="7952">
                        <c:v>0</c:v>
                      </c:pt>
                      <c:pt idx="7953">
                        <c:v>0</c:v>
                      </c:pt>
                      <c:pt idx="7954">
                        <c:v>0</c:v>
                      </c:pt>
                      <c:pt idx="7955">
                        <c:v>0</c:v>
                      </c:pt>
                      <c:pt idx="7956">
                        <c:v>0</c:v>
                      </c:pt>
                      <c:pt idx="7957">
                        <c:v>0</c:v>
                      </c:pt>
                      <c:pt idx="7958">
                        <c:v>0</c:v>
                      </c:pt>
                      <c:pt idx="7959">
                        <c:v>0</c:v>
                      </c:pt>
                      <c:pt idx="7960">
                        <c:v>0</c:v>
                      </c:pt>
                      <c:pt idx="7961">
                        <c:v>0</c:v>
                      </c:pt>
                      <c:pt idx="7962">
                        <c:v>0</c:v>
                      </c:pt>
                      <c:pt idx="7963">
                        <c:v>0</c:v>
                      </c:pt>
                      <c:pt idx="7964">
                        <c:v>0</c:v>
                      </c:pt>
                      <c:pt idx="7965">
                        <c:v>0</c:v>
                      </c:pt>
                      <c:pt idx="7966">
                        <c:v>0</c:v>
                      </c:pt>
                      <c:pt idx="7967">
                        <c:v>0</c:v>
                      </c:pt>
                      <c:pt idx="7968">
                        <c:v>0</c:v>
                      </c:pt>
                      <c:pt idx="7969">
                        <c:v>0</c:v>
                      </c:pt>
                      <c:pt idx="7970">
                        <c:v>0</c:v>
                      </c:pt>
                      <c:pt idx="7971">
                        <c:v>0</c:v>
                      </c:pt>
                      <c:pt idx="7972">
                        <c:v>0</c:v>
                      </c:pt>
                      <c:pt idx="7973">
                        <c:v>0</c:v>
                      </c:pt>
                      <c:pt idx="7974">
                        <c:v>0</c:v>
                      </c:pt>
                      <c:pt idx="7975">
                        <c:v>0</c:v>
                      </c:pt>
                      <c:pt idx="7976">
                        <c:v>0</c:v>
                      </c:pt>
                      <c:pt idx="7977">
                        <c:v>0</c:v>
                      </c:pt>
                      <c:pt idx="7978">
                        <c:v>0</c:v>
                      </c:pt>
                      <c:pt idx="7979">
                        <c:v>0</c:v>
                      </c:pt>
                      <c:pt idx="7980">
                        <c:v>0</c:v>
                      </c:pt>
                      <c:pt idx="7981">
                        <c:v>0</c:v>
                      </c:pt>
                      <c:pt idx="7982">
                        <c:v>0</c:v>
                      </c:pt>
                      <c:pt idx="7983">
                        <c:v>0</c:v>
                      </c:pt>
                      <c:pt idx="7984">
                        <c:v>0</c:v>
                      </c:pt>
                      <c:pt idx="7985">
                        <c:v>0</c:v>
                      </c:pt>
                      <c:pt idx="7986">
                        <c:v>0</c:v>
                      </c:pt>
                      <c:pt idx="7987">
                        <c:v>0</c:v>
                      </c:pt>
                      <c:pt idx="7988">
                        <c:v>0</c:v>
                      </c:pt>
                      <c:pt idx="7989">
                        <c:v>0</c:v>
                      </c:pt>
                      <c:pt idx="7990">
                        <c:v>0</c:v>
                      </c:pt>
                      <c:pt idx="7991">
                        <c:v>0</c:v>
                      </c:pt>
                      <c:pt idx="7992">
                        <c:v>0</c:v>
                      </c:pt>
                      <c:pt idx="7993">
                        <c:v>0</c:v>
                      </c:pt>
                      <c:pt idx="7994">
                        <c:v>0</c:v>
                      </c:pt>
                      <c:pt idx="7995">
                        <c:v>0</c:v>
                      </c:pt>
                      <c:pt idx="7996">
                        <c:v>0</c:v>
                      </c:pt>
                      <c:pt idx="7997">
                        <c:v>0</c:v>
                      </c:pt>
                      <c:pt idx="7998">
                        <c:v>0</c:v>
                      </c:pt>
                      <c:pt idx="7999">
                        <c:v>0</c:v>
                      </c:pt>
                      <c:pt idx="8000">
                        <c:v>0</c:v>
                      </c:pt>
                      <c:pt idx="8001">
                        <c:v>0</c:v>
                      </c:pt>
                      <c:pt idx="8002">
                        <c:v>0</c:v>
                      </c:pt>
                      <c:pt idx="8003">
                        <c:v>0</c:v>
                      </c:pt>
                      <c:pt idx="8004">
                        <c:v>0</c:v>
                      </c:pt>
                      <c:pt idx="8005">
                        <c:v>0</c:v>
                      </c:pt>
                      <c:pt idx="8006">
                        <c:v>0</c:v>
                      </c:pt>
                      <c:pt idx="8007">
                        <c:v>0</c:v>
                      </c:pt>
                      <c:pt idx="8008">
                        <c:v>0</c:v>
                      </c:pt>
                      <c:pt idx="8009">
                        <c:v>0</c:v>
                      </c:pt>
                      <c:pt idx="8010">
                        <c:v>0</c:v>
                      </c:pt>
                      <c:pt idx="8011">
                        <c:v>0</c:v>
                      </c:pt>
                      <c:pt idx="8012">
                        <c:v>0</c:v>
                      </c:pt>
                      <c:pt idx="8013">
                        <c:v>0</c:v>
                      </c:pt>
                      <c:pt idx="8014">
                        <c:v>0</c:v>
                      </c:pt>
                      <c:pt idx="8015">
                        <c:v>0</c:v>
                      </c:pt>
                      <c:pt idx="8016">
                        <c:v>0</c:v>
                      </c:pt>
                      <c:pt idx="8017">
                        <c:v>0</c:v>
                      </c:pt>
                      <c:pt idx="8018">
                        <c:v>0</c:v>
                      </c:pt>
                      <c:pt idx="8019">
                        <c:v>0</c:v>
                      </c:pt>
                      <c:pt idx="8020">
                        <c:v>0</c:v>
                      </c:pt>
                      <c:pt idx="8021">
                        <c:v>0</c:v>
                      </c:pt>
                      <c:pt idx="8022">
                        <c:v>0</c:v>
                      </c:pt>
                      <c:pt idx="8023">
                        <c:v>0</c:v>
                      </c:pt>
                      <c:pt idx="8024">
                        <c:v>0</c:v>
                      </c:pt>
                      <c:pt idx="8025">
                        <c:v>0</c:v>
                      </c:pt>
                      <c:pt idx="8026">
                        <c:v>0</c:v>
                      </c:pt>
                      <c:pt idx="8027">
                        <c:v>0</c:v>
                      </c:pt>
                      <c:pt idx="8028">
                        <c:v>0</c:v>
                      </c:pt>
                      <c:pt idx="8029">
                        <c:v>0</c:v>
                      </c:pt>
                      <c:pt idx="8030">
                        <c:v>0</c:v>
                      </c:pt>
                      <c:pt idx="8031">
                        <c:v>0</c:v>
                      </c:pt>
                      <c:pt idx="8032">
                        <c:v>0</c:v>
                      </c:pt>
                      <c:pt idx="8033">
                        <c:v>0</c:v>
                      </c:pt>
                      <c:pt idx="8034">
                        <c:v>0</c:v>
                      </c:pt>
                      <c:pt idx="8035">
                        <c:v>0</c:v>
                      </c:pt>
                      <c:pt idx="8036">
                        <c:v>0</c:v>
                      </c:pt>
                      <c:pt idx="8037">
                        <c:v>0</c:v>
                      </c:pt>
                      <c:pt idx="8038">
                        <c:v>0</c:v>
                      </c:pt>
                      <c:pt idx="8039">
                        <c:v>0</c:v>
                      </c:pt>
                      <c:pt idx="8040">
                        <c:v>0</c:v>
                      </c:pt>
                      <c:pt idx="8041">
                        <c:v>0</c:v>
                      </c:pt>
                      <c:pt idx="8042">
                        <c:v>0</c:v>
                      </c:pt>
                      <c:pt idx="8043">
                        <c:v>0</c:v>
                      </c:pt>
                      <c:pt idx="8044">
                        <c:v>0</c:v>
                      </c:pt>
                      <c:pt idx="8045">
                        <c:v>0</c:v>
                      </c:pt>
                      <c:pt idx="8046">
                        <c:v>0</c:v>
                      </c:pt>
                      <c:pt idx="8047">
                        <c:v>0</c:v>
                      </c:pt>
                      <c:pt idx="8048">
                        <c:v>0</c:v>
                      </c:pt>
                      <c:pt idx="8049">
                        <c:v>0</c:v>
                      </c:pt>
                      <c:pt idx="8050">
                        <c:v>0</c:v>
                      </c:pt>
                      <c:pt idx="8051">
                        <c:v>0</c:v>
                      </c:pt>
                      <c:pt idx="8052">
                        <c:v>0</c:v>
                      </c:pt>
                      <c:pt idx="8053">
                        <c:v>0</c:v>
                      </c:pt>
                      <c:pt idx="8054">
                        <c:v>0</c:v>
                      </c:pt>
                      <c:pt idx="8055">
                        <c:v>0</c:v>
                      </c:pt>
                      <c:pt idx="8056">
                        <c:v>0</c:v>
                      </c:pt>
                      <c:pt idx="8057">
                        <c:v>0</c:v>
                      </c:pt>
                      <c:pt idx="8058">
                        <c:v>0</c:v>
                      </c:pt>
                      <c:pt idx="8059">
                        <c:v>0</c:v>
                      </c:pt>
                      <c:pt idx="8060">
                        <c:v>0</c:v>
                      </c:pt>
                      <c:pt idx="8061">
                        <c:v>0</c:v>
                      </c:pt>
                      <c:pt idx="8062">
                        <c:v>0</c:v>
                      </c:pt>
                      <c:pt idx="8063">
                        <c:v>0</c:v>
                      </c:pt>
                      <c:pt idx="8064">
                        <c:v>0</c:v>
                      </c:pt>
                      <c:pt idx="8065">
                        <c:v>0</c:v>
                      </c:pt>
                      <c:pt idx="8066">
                        <c:v>0</c:v>
                      </c:pt>
                      <c:pt idx="8067">
                        <c:v>0</c:v>
                      </c:pt>
                      <c:pt idx="8068">
                        <c:v>0</c:v>
                      </c:pt>
                      <c:pt idx="8069">
                        <c:v>0</c:v>
                      </c:pt>
                      <c:pt idx="8070">
                        <c:v>0</c:v>
                      </c:pt>
                      <c:pt idx="8071">
                        <c:v>0</c:v>
                      </c:pt>
                      <c:pt idx="8072">
                        <c:v>0</c:v>
                      </c:pt>
                      <c:pt idx="8073">
                        <c:v>0</c:v>
                      </c:pt>
                      <c:pt idx="8074">
                        <c:v>0</c:v>
                      </c:pt>
                      <c:pt idx="8075">
                        <c:v>0</c:v>
                      </c:pt>
                      <c:pt idx="8076">
                        <c:v>0</c:v>
                      </c:pt>
                      <c:pt idx="8077">
                        <c:v>0</c:v>
                      </c:pt>
                      <c:pt idx="8078">
                        <c:v>0</c:v>
                      </c:pt>
                      <c:pt idx="8079">
                        <c:v>0</c:v>
                      </c:pt>
                      <c:pt idx="8080">
                        <c:v>0</c:v>
                      </c:pt>
                      <c:pt idx="8081">
                        <c:v>0</c:v>
                      </c:pt>
                      <c:pt idx="8082">
                        <c:v>0</c:v>
                      </c:pt>
                      <c:pt idx="8083">
                        <c:v>0</c:v>
                      </c:pt>
                      <c:pt idx="8084">
                        <c:v>0</c:v>
                      </c:pt>
                      <c:pt idx="8085">
                        <c:v>0</c:v>
                      </c:pt>
                      <c:pt idx="8086">
                        <c:v>0</c:v>
                      </c:pt>
                      <c:pt idx="8087">
                        <c:v>0</c:v>
                      </c:pt>
                      <c:pt idx="8088">
                        <c:v>0</c:v>
                      </c:pt>
                      <c:pt idx="8089">
                        <c:v>0</c:v>
                      </c:pt>
                      <c:pt idx="8090">
                        <c:v>0</c:v>
                      </c:pt>
                      <c:pt idx="8091">
                        <c:v>0</c:v>
                      </c:pt>
                      <c:pt idx="8092">
                        <c:v>0</c:v>
                      </c:pt>
                      <c:pt idx="8093">
                        <c:v>0</c:v>
                      </c:pt>
                      <c:pt idx="8094">
                        <c:v>0</c:v>
                      </c:pt>
                      <c:pt idx="8095">
                        <c:v>0</c:v>
                      </c:pt>
                      <c:pt idx="8096">
                        <c:v>0</c:v>
                      </c:pt>
                      <c:pt idx="8097">
                        <c:v>0</c:v>
                      </c:pt>
                      <c:pt idx="8098">
                        <c:v>0</c:v>
                      </c:pt>
                      <c:pt idx="8099">
                        <c:v>0</c:v>
                      </c:pt>
                      <c:pt idx="8100">
                        <c:v>0</c:v>
                      </c:pt>
                      <c:pt idx="8101">
                        <c:v>0</c:v>
                      </c:pt>
                      <c:pt idx="8102">
                        <c:v>0</c:v>
                      </c:pt>
                      <c:pt idx="8103">
                        <c:v>0</c:v>
                      </c:pt>
                      <c:pt idx="8104">
                        <c:v>0</c:v>
                      </c:pt>
                      <c:pt idx="8105">
                        <c:v>0</c:v>
                      </c:pt>
                      <c:pt idx="8106">
                        <c:v>0</c:v>
                      </c:pt>
                      <c:pt idx="8107">
                        <c:v>0</c:v>
                      </c:pt>
                      <c:pt idx="8108">
                        <c:v>0</c:v>
                      </c:pt>
                      <c:pt idx="8109">
                        <c:v>0</c:v>
                      </c:pt>
                      <c:pt idx="8110">
                        <c:v>0</c:v>
                      </c:pt>
                      <c:pt idx="8111">
                        <c:v>0</c:v>
                      </c:pt>
                      <c:pt idx="8112">
                        <c:v>0</c:v>
                      </c:pt>
                      <c:pt idx="8113">
                        <c:v>0</c:v>
                      </c:pt>
                      <c:pt idx="8114">
                        <c:v>0</c:v>
                      </c:pt>
                      <c:pt idx="8115">
                        <c:v>0</c:v>
                      </c:pt>
                      <c:pt idx="8116">
                        <c:v>0</c:v>
                      </c:pt>
                      <c:pt idx="8117">
                        <c:v>0</c:v>
                      </c:pt>
                      <c:pt idx="8118">
                        <c:v>0</c:v>
                      </c:pt>
                      <c:pt idx="8119">
                        <c:v>0</c:v>
                      </c:pt>
                      <c:pt idx="8120">
                        <c:v>0</c:v>
                      </c:pt>
                      <c:pt idx="8121">
                        <c:v>0</c:v>
                      </c:pt>
                      <c:pt idx="8122">
                        <c:v>0</c:v>
                      </c:pt>
                      <c:pt idx="8123">
                        <c:v>0</c:v>
                      </c:pt>
                      <c:pt idx="8124">
                        <c:v>0</c:v>
                      </c:pt>
                      <c:pt idx="8125">
                        <c:v>0</c:v>
                      </c:pt>
                      <c:pt idx="8126">
                        <c:v>0</c:v>
                      </c:pt>
                      <c:pt idx="8127">
                        <c:v>0</c:v>
                      </c:pt>
                      <c:pt idx="8128">
                        <c:v>0</c:v>
                      </c:pt>
                      <c:pt idx="8129">
                        <c:v>0</c:v>
                      </c:pt>
                      <c:pt idx="8130">
                        <c:v>0</c:v>
                      </c:pt>
                      <c:pt idx="8131">
                        <c:v>0</c:v>
                      </c:pt>
                      <c:pt idx="8132">
                        <c:v>0</c:v>
                      </c:pt>
                      <c:pt idx="8133">
                        <c:v>0</c:v>
                      </c:pt>
                      <c:pt idx="8134">
                        <c:v>0</c:v>
                      </c:pt>
                      <c:pt idx="8135">
                        <c:v>0</c:v>
                      </c:pt>
                      <c:pt idx="8136">
                        <c:v>0</c:v>
                      </c:pt>
                      <c:pt idx="8137">
                        <c:v>0</c:v>
                      </c:pt>
                      <c:pt idx="8138">
                        <c:v>0</c:v>
                      </c:pt>
                      <c:pt idx="8139">
                        <c:v>0</c:v>
                      </c:pt>
                      <c:pt idx="8140">
                        <c:v>0</c:v>
                      </c:pt>
                      <c:pt idx="8141">
                        <c:v>0</c:v>
                      </c:pt>
                      <c:pt idx="8142">
                        <c:v>0</c:v>
                      </c:pt>
                      <c:pt idx="8143">
                        <c:v>0</c:v>
                      </c:pt>
                      <c:pt idx="8144">
                        <c:v>0</c:v>
                      </c:pt>
                      <c:pt idx="8145">
                        <c:v>0</c:v>
                      </c:pt>
                      <c:pt idx="8146">
                        <c:v>0</c:v>
                      </c:pt>
                      <c:pt idx="8147">
                        <c:v>0</c:v>
                      </c:pt>
                      <c:pt idx="8148">
                        <c:v>0</c:v>
                      </c:pt>
                      <c:pt idx="8149">
                        <c:v>0</c:v>
                      </c:pt>
                      <c:pt idx="8150">
                        <c:v>0</c:v>
                      </c:pt>
                      <c:pt idx="8151">
                        <c:v>0</c:v>
                      </c:pt>
                      <c:pt idx="8152">
                        <c:v>0</c:v>
                      </c:pt>
                      <c:pt idx="8153">
                        <c:v>0</c:v>
                      </c:pt>
                      <c:pt idx="8154">
                        <c:v>0</c:v>
                      </c:pt>
                      <c:pt idx="8155">
                        <c:v>0</c:v>
                      </c:pt>
                      <c:pt idx="8156">
                        <c:v>0</c:v>
                      </c:pt>
                      <c:pt idx="8157">
                        <c:v>0</c:v>
                      </c:pt>
                      <c:pt idx="8158">
                        <c:v>0</c:v>
                      </c:pt>
                      <c:pt idx="8159">
                        <c:v>0</c:v>
                      </c:pt>
                      <c:pt idx="8160">
                        <c:v>0</c:v>
                      </c:pt>
                      <c:pt idx="8161">
                        <c:v>0</c:v>
                      </c:pt>
                      <c:pt idx="8162">
                        <c:v>0</c:v>
                      </c:pt>
                      <c:pt idx="8163">
                        <c:v>0</c:v>
                      </c:pt>
                      <c:pt idx="8164">
                        <c:v>0</c:v>
                      </c:pt>
                      <c:pt idx="8165">
                        <c:v>0</c:v>
                      </c:pt>
                      <c:pt idx="8166">
                        <c:v>0</c:v>
                      </c:pt>
                      <c:pt idx="8167">
                        <c:v>0</c:v>
                      </c:pt>
                      <c:pt idx="8168">
                        <c:v>0</c:v>
                      </c:pt>
                      <c:pt idx="8169">
                        <c:v>0</c:v>
                      </c:pt>
                      <c:pt idx="8170">
                        <c:v>0</c:v>
                      </c:pt>
                      <c:pt idx="8171">
                        <c:v>0</c:v>
                      </c:pt>
                      <c:pt idx="8172">
                        <c:v>0</c:v>
                      </c:pt>
                      <c:pt idx="8173">
                        <c:v>0</c:v>
                      </c:pt>
                      <c:pt idx="8174">
                        <c:v>0</c:v>
                      </c:pt>
                      <c:pt idx="8175">
                        <c:v>0</c:v>
                      </c:pt>
                      <c:pt idx="8176">
                        <c:v>0</c:v>
                      </c:pt>
                      <c:pt idx="8177">
                        <c:v>0</c:v>
                      </c:pt>
                      <c:pt idx="8178">
                        <c:v>0</c:v>
                      </c:pt>
                      <c:pt idx="8179">
                        <c:v>0</c:v>
                      </c:pt>
                      <c:pt idx="8180">
                        <c:v>0</c:v>
                      </c:pt>
                      <c:pt idx="8181">
                        <c:v>0</c:v>
                      </c:pt>
                      <c:pt idx="8182">
                        <c:v>0</c:v>
                      </c:pt>
                      <c:pt idx="8183">
                        <c:v>0</c:v>
                      </c:pt>
                      <c:pt idx="8184">
                        <c:v>0</c:v>
                      </c:pt>
                      <c:pt idx="8185">
                        <c:v>0</c:v>
                      </c:pt>
                      <c:pt idx="8186">
                        <c:v>0</c:v>
                      </c:pt>
                      <c:pt idx="8187">
                        <c:v>0</c:v>
                      </c:pt>
                      <c:pt idx="8188">
                        <c:v>0</c:v>
                      </c:pt>
                      <c:pt idx="8189">
                        <c:v>0</c:v>
                      </c:pt>
                      <c:pt idx="8190">
                        <c:v>0</c:v>
                      </c:pt>
                      <c:pt idx="8191">
                        <c:v>0</c:v>
                      </c:pt>
                      <c:pt idx="8192">
                        <c:v>0</c:v>
                      </c:pt>
                      <c:pt idx="8193">
                        <c:v>0</c:v>
                      </c:pt>
                      <c:pt idx="8194">
                        <c:v>0</c:v>
                      </c:pt>
                      <c:pt idx="8195">
                        <c:v>0</c:v>
                      </c:pt>
                      <c:pt idx="8196">
                        <c:v>0</c:v>
                      </c:pt>
                      <c:pt idx="8197">
                        <c:v>0</c:v>
                      </c:pt>
                      <c:pt idx="8198">
                        <c:v>0</c:v>
                      </c:pt>
                      <c:pt idx="8199">
                        <c:v>0</c:v>
                      </c:pt>
                      <c:pt idx="8200">
                        <c:v>0</c:v>
                      </c:pt>
                      <c:pt idx="8201">
                        <c:v>0</c:v>
                      </c:pt>
                      <c:pt idx="8202">
                        <c:v>0</c:v>
                      </c:pt>
                      <c:pt idx="8203">
                        <c:v>0</c:v>
                      </c:pt>
                      <c:pt idx="8204">
                        <c:v>0</c:v>
                      </c:pt>
                      <c:pt idx="8205">
                        <c:v>0</c:v>
                      </c:pt>
                      <c:pt idx="8206">
                        <c:v>0</c:v>
                      </c:pt>
                      <c:pt idx="8207">
                        <c:v>0</c:v>
                      </c:pt>
                      <c:pt idx="8208">
                        <c:v>0</c:v>
                      </c:pt>
                      <c:pt idx="8209">
                        <c:v>0</c:v>
                      </c:pt>
                      <c:pt idx="8210">
                        <c:v>0</c:v>
                      </c:pt>
                      <c:pt idx="8211">
                        <c:v>0</c:v>
                      </c:pt>
                      <c:pt idx="8212">
                        <c:v>0</c:v>
                      </c:pt>
                      <c:pt idx="8213">
                        <c:v>0</c:v>
                      </c:pt>
                      <c:pt idx="8214">
                        <c:v>0</c:v>
                      </c:pt>
                      <c:pt idx="8215">
                        <c:v>0</c:v>
                      </c:pt>
                      <c:pt idx="8216">
                        <c:v>0</c:v>
                      </c:pt>
                      <c:pt idx="8217">
                        <c:v>0</c:v>
                      </c:pt>
                      <c:pt idx="8218">
                        <c:v>0</c:v>
                      </c:pt>
                      <c:pt idx="8219">
                        <c:v>0</c:v>
                      </c:pt>
                      <c:pt idx="8220">
                        <c:v>0</c:v>
                      </c:pt>
                      <c:pt idx="8221">
                        <c:v>0</c:v>
                      </c:pt>
                      <c:pt idx="8222">
                        <c:v>0</c:v>
                      </c:pt>
                      <c:pt idx="8223">
                        <c:v>0</c:v>
                      </c:pt>
                      <c:pt idx="8224">
                        <c:v>0</c:v>
                      </c:pt>
                      <c:pt idx="8225">
                        <c:v>0</c:v>
                      </c:pt>
                      <c:pt idx="8226">
                        <c:v>0</c:v>
                      </c:pt>
                      <c:pt idx="8227">
                        <c:v>0</c:v>
                      </c:pt>
                      <c:pt idx="8228">
                        <c:v>0</c:v>
                      </c:pt>
                      <c:pt idx="8229">
                        <c:v>0</c:v>
                      </c:pt>
                      <c:pt idx="8230">
                        <c:v>0</c:v>
                      </c:pt>
                      <c:pt idx="8231">
                        <c:v>0</c:v>
                      </c:pt>
                      <c:pt idx="8232">
                        <c:v>0</c:v>
                      </c:pt>
                      <c:pt idx="8233">
                        <c:v>0</c:v>
                      </c:pt>
                      <c:pt idx="8234">
                        <c:v>0</c:v>
                      </c:pt>
                      <c:pt idx="8235">
                        <c:v>0</c:v>
                      </c:pt>
                      <c:pt idx="8236">
                        <c:v>0</c:v>
                      </c:pt>
                      <c:pt idx="8237">
                        <c:v>0</c:v>
                      </c:pt>
                      <c:pt idx="8238">
                        <c:v>0</c:v>
                      </c:pt>
                      <c:pt idx="8239">
                        <c:v>0</c:v>
                      </c:pt>
                      <c:pt idx="8240">
                        <c:v>0</c:v>
                      </c:pt>
                      <c:pt idx="8241">
                        <c:v>0</c:v>
                      </c:pt>
                      <c:pt idx="8242">
                        <c:v>0</c:v>
                      </c:pt>
                      <c:pt idx="8243">
                        <c:v>0</c:v>
                      </c:pt>
                      <c:pt idx="8244">
                        <c:v>0</c:v>
                      </c:pt>
                      <c:pt idx="8245">
                        <c:v>0</c:v>
                      </c:pt>
                      <c:pt idx="8246">
                        <c:v>0</c:v>
                      </c:pt>
                      <c:pt idx="8247">
                        <c:v>0</c:v>
                      </c:pt>
                      <c:pt idx="8248">
                        <c:v>0</c:v>
                      </c:pt>
                      <c:pt idx="8249">
                        <c:v>0</c:v>
                      </c:pt>
                      <c:pt idx="8250">
                        <c:v>0</c:v>
                      </c:pt>
                      <c:pt idx="8251">
                        <c:v>0</c:v>
                      </c:pt>
                      <c:pt idx="8252">
                        <c:v>0</c:v>
                      </c:pt>
                      <c:pt idx="8253">
                        <c:v>0</c:v>
                      </c:pt>
                      <c:pt idx="8254">
                        <c:v>0</c:v>
                      </c:pt>
                      <c:pt idx="8255">
                        <c:v>0</c:v>
                      </c:pt>
                      <c:pt idx="8256">
                        <c:v>0</c:v>
                      </c:pt>
                      <c:pt idx="8257">
                        <c:v>0</c:v>
                      </c:pt>
                      <c:pt idx="8258">
                        <c:v>0</c:v>
                      </c:pt>
                      <c:pt idx="8259">
                        <c:v>0</c:v>
                      </c:pt>
                      <c:pt idx="8260">
                        <c:v>0</c:v>
                      </c:pt>
                      <c:pt idx="8261">
                        <c:v>0</c:v>
                      </c:pt>
                      <c:pt idx="8262">
                        <c:v>0</c:v>
                      </c:pt>
                      <c:pt idx="8263">
                        <c:v>0</c:v>
                      </c:pt>
                      <c:pt idx="8264">
                        <c:v>0</c:v>
                      </c:pt>
                      <c:pt idx="8265">
                        <c:v>0</c:v>
                      </c:pt>
                      <c:pt idx="8266">
                        <c:v>0</c:v>
                      </c:pt>
                      <c:pt idx="8267">
                        <c:v>0</c:v>
                      </c:pt>
                      <c:pt idx="8268">
                        <c:v>0</c:v>
                      </c:pt>
                      <c:pt idx="8269">
                        <c:v>0</c:v>
                      </c:pt>
                      <c:pt idx="8270">
                        <c:v>0</c:v>
                      </c:pt>
                      <c:pt idx="8271">
                        <c:v>0</c:v>
                      </c:pt>
                      <c:pt idx="8272">
                        <c:v>0</c:v>
                      </c:pt>
                      <c:pt idx="8273">
                        <c:v>0</c:v>
                      </c:pt>
                      <c:pt idx="8274">
                        <c:v>0</c:v>
                      </c:pt>
                      <c:pt idx="8275">
                        <c:v>0</c:v>
                      </c:pt>
                      <c:pt idx="8276">
                        <c:v>0</c:v>
                      </c:pt>
                      <c:pt idx="8277">
                        <c:v>0</c:v>
                      </c:pt>
                      <c:pt idx="8278">
                        <c:v>0</c:v>
                      </c:pt>
                      <c:pt idx="8279">
                        <c:v>0</c:v>
                      </c:pt>
                      <c:pt idx="8280">
                        <c:v>0</c:v>
                      </c:pt>
                      <c:pt idx="8281">
                        <c:v>0</c:v>
                      </c:pt>
                      <c:pt idx="8282">
                        <c:v>0</c:v>
                      </c:pt>
                      <c:pt idx="8283">
                        <c:v>0</c:v>
                      </c:pt>
                      <c:pt idx="8284">
                        <c:v>0</c:v>
                      </c:pt>
                      <c:pt idx="8285">
                        <c:v>0</c:v>
                      </c:pt>
                      <c:pt idx="8286">
                        <c:v>0</c:v>
                      </c:pt>
                      <c:pt idx="8287">
                        <c:v>0</c:v>
                      </c:pt>
                      <c:pt idx="8288">
                        <c:v>0</c:v>
                      </c:pt>
                      <c:pt idx="8289">
                        <c:v>0</c:v>
                      </c:pt>
                      <c:pt idx="8290">
                        <c:v>0</c:v>
                      </c:pt>
                      <c:pt idx="8291">
                        <c:v>0</c:v>
                      </c:pt>
                      <c:pt idx="8292">
                        <c:v>0</c:v>
                      </c:pt>
                      <c:pt idx="8293">
                        <c:v>0</c:v>
                      </c:pt>
                      <c:pt idx="8294">
                        <c:v>0</c:v>
                      </c:pt>
                      <c:pt idx="8295">
                        <c:v>0</c:v>
                      </c:pt>
                      <c:pt idx="8296">
                        <c:v>0</c:v>
                      </c:pt>
                      <c:pt idx="8297">
                        <c:v>0</c:v>
                      </c:pt>
                      <c:pt idx="8298">
                        <c:v>0</c:v>
                      </c:pt>
                      <c:pt idx="8299">
                        <c:v>0</c:v>
                      </c:pt>
                      <c:pt idx="8300">
                        <c:v>0</c:v>
                      </c:pt>
                      <c:pt idx="8301">
                        <c:v>0</c:v>
                      </c:pt>
                      <c:pt idx="8302">
                        <c:v>0</c:v>
                      </c:pt>
                      <c:pt idx="8303">
                        <c:v>0</c:v>
                      </c:pt>
                      <c:pt idx="8304">
                        <c:v>0</c:v>
                      </c:pt>
                      <c:pt idx="8305">
                        <c:v>0</c:v>
                      </c:pt>
                      <c:pt idx="8306">
                        <c:v>0</c:v>
                      </c:pt>
                      <c:pt idx="8307">
                        <c:v>0</c:v>
                      </c:pt>
                      <c:pt idx="8308">
                        <c:v>0</c:v>
                      </c:pt>
                      <c:pt idx="8309">
                        <c:v>0</c:v>
                      </c:pt>
                      <c:pt idx="8310">
                        <c:v>0</c:v>
                      </c:pt>
                      <c:pt idx="8311">
                        <c:v>0</c:v>
                      </c:pt>
                      <c:pt idx="8312">
                        <c:v>0</c:v>
                      </c:pt>
                      <c:pt idx="8313">
                        <c:v>0</c:v>
                      </c:pt>
                      <c:pt idx="8314">
                        <c:v>0</c:v>
                      </c:pt>
                      <c:pt idx="8315">
                        <c:v>0</c:v>
                      </c:pt>
                      <c:pt idx="8316">
                        <c:v>0</c:v>
                      </c:pt>
                      <c:pt idx="8317">
                        <c:v>0</c:v>
                      </c:pt>
                      <c:pt idx="8318">
                        <c:v>0</c:v>
                      </c:pt>
                      <c:pt idx="8319">
                        <c:v>0</c:v>
                      </c:pt>
                      <c:pt idx="8320">
                        <c:v>0</c:v>
                      </c:pt>
                      <c:pt idx="8321">
                        <c:v>0</c:v>
                      </c:pt>
                      <c:pt idx="8322">
                        <c:v>0</c:v>
                      </c:pt>
                      <c:pt idx="8323">
                        <c:v>0</c:v>
                      </c:pt>
                      <c:pt idx="8324">
                        <c:v>0</c:v>
                      </c:pt>
                      <c:pt idx="8325">
                        <c:v>0</c:v>
                      </c:pt>
                      <c:pt idx="8326">
                        <c:v>0</c:v>
                      </c:pt>
                      <c:pt idx="8327">
                        <c:v>0</c:v>
                      </c:pt>
                      <c:pt idx="8328">
                        <c:v>0</c:v>
                      </c:pt>
                      <c:pt idx="8329">
                        <c:v>0</c:v>
                      </c:pt>
                      <c:pt idx="8330">
                        <c:v>0</c:v>
                      </c:pt>
                      <c:pt idx="8331">
                        <c:v>0</c:v>
                      </c:pt>
                      <c:pt idx="8332">
                        <c:v>0</c:v>
                      </c:pt>
                      <c:pt idx="8333">
                        <c:v>0</c:v>
                      </c:pt>
                      <c:pt idx="8334">
                        <c:v>0</c:v>
                      </c:pt>
                      <c:pt idx="8335">
                        <c:v>0</c:v>
                      </c:pt>
                      <c:pt idx="8336">
                        <c:v>0</c:v>
                      </c:pt>
                      <c:pt idx="8337">
                        <c:v>0</c:v>
                      </c:pt>
                      <c:pt idx="8338">
                        <c:v>0</c:v>
                      </c:pt>
                      <c:pt idx="8339">
                        <c:v>0</c:v>
                      </c:pt>
                      <c:pt idx="8340">
                        <c:v>0</c:v>
                      </c:pt>
                      <c:pt idx="8341">
                        <c:v>0</c:v>
                      </c:pt>
                      <c:pt idx="8342">
                        <c:v>0</c:v>
                      </c:pt>
                      <c:pt idx="8343">
                        <c:v>0</c:v>
                      </c:pt>
                      <c:pt idx="8344">
                        <c:v>0</c:v>
                      </c:pt>
                      <c:pt idx="8345">
                        <c:v>0</c:v>
                      </c:pt>
                      <c:pt idx="8346">
                        <c:v>0</c:v>
                      </c:pt>
                      <c:pt idx="8347">
                        <c:v>0</c:v>
                      </c:pt>
                      <c:pt idx="8348">
                        <c:v>0</c:v>
                      </c:pt>
                      <c:pt idx="8349">
                        <c:v>0</c:v>
                      </c:pt>
                      <c:pt idx="8350">
                        <c:v>0</c:v>
                      </c:pt>
                      <c:pt idx="8351">
                        <c:v>0</c:v>
                      </c:pt>
                      <c:pt idx="8352">
                        <c:v>0</c:v>
                      </c:pt>
                      <c:pt idx="8353">
                        <c:v>0</c:v>
                      </c:pt>
                      <c:pt idx="8354">
                        <c:v>0</c:v>
                      </c:pt>
                      <c:pt idx="8355">
                        <c:v>0</c:v>
                      </c:pt>
                      <c:pt idx="8356">
                        <c:v>0</c:v>
                      </c:pt>
                      <c:pt idx="8357">
                        <c:v>0</c:v>
                      </c:pt>
                      <c:pt idx="8358">
                        <c:v>0</c:v>
                      </c:pt>
                      <c:pt idx="8359">
                        <c:v>0</c:v>
                      </c:pt>
                      <c:pt idx="8360">
                        <c:v>0</c:v>
                      </c:pt>
                      <c:pt idx="8361">
                        <c:v>0</c:v>
                      </c:pt>
                      <c:pt idx="8362">
                        <c:v>0</c:v>
                      </c:pt>
                      <c:pt idx="8363">
                        <c:v>0</c:v>
                      </c:pt>
                      <c:pt idx="8364">
                        <c:v>0</c:v>
                      </c:pt>
                      <c:pt idx="8365">
                        <c:v>0</c:v>
                      </c:pt>
                      <c:pt idx="8366">
                        <c:v>0</c:v>
                      </c:pt>
                      <c:pt idx="8367">
                        <c:v>0</c:v>
                      </c:pt>
                      <c:pt idx="8368">
                        <c:v>0</c:v>
                      </c:pt>
                      <c:pt idx="8369">
                        <c:v>0</c:v>
                      </c:pt>
                      <c:pt idx="8370">
                        <c:v>0</c:v>
                      </c:pt>
                      <c:pt idx="8371">
                        <c:v>0</c:v>
                      </c:pt>
                      <c:pt idx="8372">
                        <c:v>0</c:v>
                      </c:pt>
                      <c:pt idx="8373">
                        <c:v>0</c:v>
                      </c:pt>
                      <c:pt idx="8374">
                        <c:v>0</c:v>
                      </c:pt>
                      <c:pt idx="8375">
                        <c:v>0</c:v>
                      </c:pt>
                      <c:pt idx="8376">
                        <c:v>0</c:v>
                      </c:pt>
                      <c:pt idx="8377">
                        <c:v>0</c:v>
                      </c:pt>
                      <c:pt idx="8378">
                        <c:v>0</c:v>
                      </c:pt>
                      <c:pt idx="8379">
                        <c:v>0</c:v>
                      </c:pt>
                      <c:pt idx="8380">
                        <c:v>0</c:v>
                      </c:pt>
                      <c:pt idx="8381">
                        <c:v>0</c:v>
                      </c:pt>
                      <c:pt idx="8382">
                        <c:v>0</c:v>
                      </c:pt>
                      <c:pt idx="8383">
                        <c:v>0</c:v>
                      </c:pt>
                      <c:pt idx="8384">
                        <c:v>0</c:v>
                      </c:pt>
                      <c:pt idx="8385">
                        <c:v>0</c:v>
                      </c:pt>
                      <c:pt idx="8386">
                        <c:v>0</c:v>
                      </c:pt>
                      <c:pt idx="8387">
                        <c:v>0</c:v>
                      </c:pt>
                      <c:pt idx="8388">
                        <c:v>0</c:v>
                      </c:pt>
                      <c:pt idx="8389">
                        <c:v>0</c:v>
                      </c:pt>
                      <c:pt idx="8390">
                        <c:v>0</c:v>
                      </c:pt>
                      <c:pt idx="8391">
                        <c:v>0</c:v>
                      </c:pt>
                      <c:pt idx="8392">
                        <c:v>0</c:v>
                      </c:pt>
                      <c:pt idx="8393">
                        <c:v>0</c:v>
                      </c:pt>
                      <c:pt idx="8394">
                        <c:v>0</c:v>
                      </c:pt>
                      <c:pt idx="8395">
                        <c:v>0</c:v>
                      </c:pt>
                      <c:pt idx="8396">
                        <c:v>0</c:v>
                      </c:pt>
                      <c:pt idx="8397">
                        <c:v>0</c:v>
                      </c:pt>
                      <c:pt idx="8398">
                        <c:v>0</c:v>
                      </c:pt>
                      <c:pt idx="8399">
                        <c:v>0</c:v>
                      </c:pt>
                      <c:pt idx="8400">
                        <c:v>0</c:v>
                      </c:pt>
                      <c:pt idx="8401">
                        <c:v>0</c:v>
                      </c:pt>
                      <c:pt idx="8402">
                        <c:v>0</c:v>
                      </c:pt>
                      <c:pt idx="8403">
                        <c:v>0</c:v>
                      </c:pt>
                      <c:pt idx="8404">
                        <c:v>0</c:v>
                      </c:pt>
                      <c:pt idx="8405">
                        <c:v>0</c:v>
                      </c:pt>
                      <c:pt idx="8406">
                        <c:v>0</c:v>
                      </c:pt>
                      <c:pt idx="8407">
                        <c:v>0</c:v>
                      </c:pt>
                      <c:pt idx="8408">
                        <c:v>0</c:v>
                      </c:pt>
                      <c:pt idx="8409">
                        <c:v>0</c:v>
                      </c:pt>
                      <c:pt idx="8410">
                        <c:v>0</c:v>
                      </c:pt>
                      <c:pt idx="8411">
                        <c:v>0</c:v>
                      </c:pt>
                      <c:pt idx="8412">
                        <c:v>0</c:v>
                      </c:pt>
                      <c:pt idx="8413">
                        <c:v>0</c:v>
                      </c:pt>
                      <c:pt idx="8414">
                        <c:v>0</c:v>
                      </c:pt>
                      <c:pt idx="8415">
                        <c:v>0</c:v>
                      </c:pt>
                      <c:pt idx="8416">
                        <c:v>0</c:v>
                      </c:pt>
                      <c:pt idx="8417">
                        <c:v>0</c:v>
                      </c:pt>
                      <c:pt idx="8418">
                        <c:v>0</c:v>
                      </c:pt>
                      <c:pt idx="8419">
                        <c:v>0</c:v>
                      </c:pt>
                      <c:pt idx="8420">
                        <c:v>0</c:v>
                      </c:pt>
                      <c:pt idx="8421">
                        <c:v>0</c:v>
                      </c:pt>
                      <c:pt idx="8422">
                        <c:v>0</c:v>
                      </c:pt>
                      <c:pt idx="8423">
                        <c:v>0</c:v>
                      </c:pt>
                      <c:pt idx="8424">
                        <c:v>0</c:v>
                      </c:pt>
                      <c:pt idx="8425">
                        <c:v>0</c:v>
                      </c:pt>
                      <c:pt idx="8426">
                        <c:v>0</c:v>
                      </c:pt>
                      <c:pt idx="8427">
                        <c:v>0</c:v>
                      </c:pt>
                      <c:pt idx="8428">
                        <c:v>0</c:v>
                      </c:pt>
                      <c:pt idx="8429">
                        <c:v>0</c:v>
                      </c:pt>
                      <c:pt idx="8430">
                        <c:v>0</c:v>
                      </c:pt>
                      <c:pt idx="8431">
                        <c:v>0</c:v>
                      </c:pt>
                      <c:pt idx="8432">
                        <c:v>0</c:v>
                      </c:pt>
                      <c:pt idx="8433">
                        <c:v>0</c:v>
                      </c:pt>
                      <c:pt idx="8434">
                        <c:v>0</c:v>
                      </c:pt>
                      <c:pt idx="8435">
                        <c:v>0</c:v>
                      </c:pt>
                      <c:pt idx="8436">
                        <c:v>0</c:v>
                      </c:pt>
                      <c:pt idx="8437">
                        <c:v>0</c:v>
                      </c:pt>
                      <c:pt idx="8438">
                        <c:v>0</c:v>
                      </c:pt>
                      <c:pt idx="8439">
                        <c:v>0</c:v>
                      </c:pt>
                      <c:pt idx="8440">
                        <c:v>0</c:v>
                      </c:pt>
                      <c:pt idx="8441">
                        <c:v>0</c:v>
                      </c:pt>
                      <c:pt idx="8442">
                        <c:v>0</c:v>
                      </c:pt>
                      <c:pt idx="8443">
                        <c:v>0</c:v>
                      </c:pt>
                      <c:pt idx="8444">
                        <c:v>0</c:v>
                      </c:pt>
                      <c:pt idx="8445">
                        <c:v>0</c:v>
                      </c:pt>
                      <c:pt idx="8446">
                        <c:v>0</c:v>
                      </c:pt>
                      <c:pt idx="8447">
                        <c:v>0</c:v>
                      </c:pt>
                      <c:pt idx="8448">
                        <c:v>0</c:v>
                      </c:pt>
                      <c:pt idx="8449">
                        <c:v>0</c:v>
                      </c:pt>
                      <c:pt idx="8450">
                        <c:v>0</c:v>
                      </c:pt>
                      <c:pt idx="8451">
                        <c:v>0</c:v>
                      </c:pt>
                      <c:pt idx="8452">
                        <c:v>0</c:v>
                      </c:pt>
                      <c:pt idx="8453">
                        <c:v>0</c:v>
                      </c:pt>
                      <c:pt idx="8454">
                        <c:v>0</c:v>
                      </c:pt>
                      <c:pt idx="8455">
                        <c:v>0</c:v>
                      </c:pt>
                      <c:pt idx="8456">
                        <c:v>0</c:v>
                      </c:pt>
                      <c:pt idx="8457">
                        <c:v>0</c:v>
                      </c:pt>
                      <c:pt idx="8458">
                        <c:v>0</c:v>
                      </c:pt>
                      <c:pt idx="8459">
                        <c:v>0</c:v>
                      </c:pt>
                      <c:pt idx="8460">
                        <c:v>0</c:v>
                      </c:pt>
                      <c:pt idx="8461">
                        <c:v>0</c:v>
                      </c:pt>
                      <c:pt idx="8462">
                        <c:v>0</c:v>
                      </c:pt>
                      <c:pt idx="8463">
                        <c:v>0</c:v>
                      </c:pt>
                      <c:pt idx="8464">
                        <c:v>0</c:v>
                      </c:pt>
                      <c:pt idx="8465">
                        <c:v>0</c:v>
                      </c:pt>
                      <c:pt idx="8466">
                        <c:v>0</c:v>
                      </c:pt>
                      <c:pt idx="8467">
                        <c:v>0</c:v>
                      </c:pt>
                      <c:pt idx="8468">
                        <c:v>0</c:v>
                      </c:pt>
                      <c:pt idx="8469">
                        <c:v>0</c:v>
                      </c:pt>
                      <c:pt idx="8470">
                        <c:v>0</c:v>
                      </c:pt>
                      <c:pt idx="8471">
                        <c:v>0</c:v>
                      </c:pt>
                      <c:pt idx="8472">
                        <c:v>0</c:v>
                      </c:pt>
                      <c:pt idx="8473">
                        <c:v>0</c:v>
                      </c:pt>
                      <c:pt idx="8474">
                        <c:v>0</c:v>
                      </c:pt>
                      <c:pt idx="8475">
                        <c:v>0</c:v>
                      </c:pt>
                      <c:pt idx="8476">
                        <c:v>0</c:v>
                      </c:pt>
                      <c:pt idx="8477">
                        <c:v>0</c:v>
                      </c:pt>
                      <c:pt idx="8478">
                        <c:v>0</c:v>
                      </c:pt>
                      <c:pt idx="8479">
                        <c:v>0</c:v>
                      </c:pt>
                      <c:pt idx="8480">
                        <c:v>0</c:v>
                      </c:pt>
                      <c:pt idx="8481">
                        <c:v>0</c:v>
                      </c:pt>
                      <c:pt idx="8482">
                        <c:v>0</c:v>
                      </c:pt>
                      <c:pt idx="8483">
                        <c:v>0</c:v>
                      </c:pt>
                      <c:pt idx="8484">
                        <c:v>0</c:v>
                      </c:pt>
                      <c:pt idx="8485">
                        <c:v>0</c:v>
                      </c:pt>
                      <c:pt idx="8486">
                        <c:v>0</c:v>
                      </c:pt>
                      <c:pt idx="8487">
                        <c:v>0</c:v>
                      </c:pt>
                      <c:pt idx="8488">
                        <c:v>0</c:v>
                      </c:pt>
                      <c:pt idx="8489">
                        <c:v>0</c:v>
                      </c:pt>
                      <c:pt idx="8490">
                        <c:v>0</c:v>
                      </c:pt>
                      <c:pt idx="8491">
                        <c:v>0</c:v>
                      </c:pt>
                      <c:pt idx="8492">
                        <c:v>0</c:v>
                      </c:pt>
                      <c:pt idx="8493">
                        <c:v>0</c:v>
                      </c:pt>
                      <c:pt idx="8494">
                        <c:v>0</c:v>
                      </c:pt>
                      <c:pt idx="8495">
                        <c:v>0</c:v>
                      </c:pt>
                      <c:pt idx="8496">
                        <c:v>0</c:v>
                      </c:pt>
                      <c:pt idx="8497">
                        <c:v>0</c:v>
                      </c:pt>
                      <c:pt idx="8498">
                        <c:v>0</c:v>
                      </c:pt>
                      <c:pt idx="8499">
                        <c:v>0</c:v>
                      </c:pt>
                      <c:pt idx="8500">
                        <c:v>0</c:v>
                      </c:pt>
                      <c:pt idx="8501">
                        <c:v>0</c:v>
                      </c:pt>
                      <c:pt idx="8502">
                        <c:v>0</c:v>
                      </c:pt>
                      <c:pt idx="8503">
                        <c:v>0</c:v>
                      </c:pt>
                      <c:pt idx="8504">
                        <c:v>0</c:v>
                      </c:pt>
                      <c:pt idx="8505">
                        <c:v>0</c:v>
                      </c:pt>
                      <c:pt idx="8506">
                        <c:v>0</c:v>
                      </c:pt>
                      <c:pt idx="8507">
                        <c:v>0</c:v>
                      </c:pt>
                      <c:pt idx="8508">
                        <c:v>0</c:v>
                      </c:pt>
                      <c:pt idx="8509">
                        <c:v>0</c:v>
                      </c:pt>
                      <c:pt idx="8510">
                        <c:v>0</c:v>
                      </c:pt>
                      <c:pt idx="8511">
                        <c:v>0</c:v>
                      </c:pt>
                      <c:pt idx="8512">
                        <c:v>0</c:v>
                      </c:pt>
                      <c:pt idx="8513">
                        <c:v>0</c:v>
                      </c:pt>
                      <c:pt idx="8514">
                        <c:v>0</c:v>
                      </c:pt>
                      <c:pt idx="8515">
                        <c:v>0</c:v>
                      </c:pt>
                      <c:pt idx="8516">
                        <c:v>0</c:v>
                      </c:pt>
                      <c:pt idx="8517">
                        <c:v>0</c:v>
                      </c:pt>
                      <c:pt idx="8518">
                        <c:v>0</c:v>
                      </c:pt>
                      <c:pt idx="8519">
                        <c:v>0</c:v>
                      </c:pt>
                      <c:pt idx="8520">
                        <c:v>0</c:v>
                      </c:pt>
                      <c:pt idx="8521">
                        <c:v>0</c:v>
                      </c:pt>
                      <c:pt idx="8522">
                        <c:v>0</c:v>
                      </c:pt>
                      <c:pt idx="8523">
                        <c:v>0</c:v>
                      </c:pt>
                      <c:pt idx="8524">
                        <c:v>0</c:v>
                      </c:pt>
                      <c:pt idx="8525">
                        <c:v>0</c:v>
                      </c:pt>
                      <c:pt idx="8526">
                        <c:v>0</c:v>
                      </c:pt>
                      <c:pt idx="8527">
                        <c:v>0</c:v>
                      </c:pt>
                      <c:pt idx="8528">
                        <c:v>0</c:v>
                      </c:pt>
                      <c:pt idx="8529">
                        <c:v>0</c:v>
                      </c:pt>
                      <c:pt idx="8530">
                        <c:v>0</c:v>
                      </c:pt>
                      <c:pt idx="8531">
                        <c:v>0</c:v>
                      </c:pt>
                      <c:pt idx="8532">
                        <c:v>0</c:v>
                      </c:pt>
                      <c:pt idx="8533">
                        <c:v>0</c:v>
                      </c:pt>
                      <c:pt idx="8534">
                        <c:v>0</c:v>
                      </c:pt>
                      <c:pt idx="8535">
                        <c:v>0</c:v>
                      </c:pt>
                      <c:pt idx="8536">
                        <c:v>0</c:v>
                      </c:pt>
                      <c:pt idx="8537">
                        <c:v>0</c:v>
                      </c:pt>
                      <c:pt idx="8538">
                        <c:v>0</c:v>
                      </c:pt>
                      <c:pt idx="8539">
                        <c:v>0</c:v>
                      </c:pt>
                      <c:pt idx="8540">
                        <c:v>0</c:v>
                      </c:pt>
                      <c:pt idx="8541">
                        <c:v>0</c:v>
                      </c:pt>
                      <c:pt idx="8542">
                        <c:v>0</c:v>
                      </c:pt>
                      <c:pt idx="8543">
                        <c:v>0</c:v>
                      </c:pt>
                      <c:pt idx="8544">
                        <c:v>0</c:v>
                      </c:pt>
                      <c:pt idx="8545">
                        <c:v>0</c:v>
                      </c:pt>
                      <c:pt idx="8546">
                        <c:v>0</c:v>
                      </c:pt>
                      <c:pt idx="8547">
                        <c:v>0</c:v>
                      </c:pt>
                      <c:pt idx="8548">
                        <c:v>0</c:v>
                      </c:pt>
                      <c:pt idx="8549">
                        <c:v>0</c:v>
                      </c:pt>
                      <c:pt idx="8550">
                        <c:v>0</c:v>
                      </c:pt>
                      <c:pt idx="8551">
                        <c:v>0</c:v>
                      </c:pt>
                      <c:pt idx="8552">
                        <c:v>0</c:v>
                      </c:pt>
                      <c:pt idx="8553">
                        <c:v>0</c:v>
                      </c:pt>
                      <c:pt idx="8554">
                        <c:v>0</c:v>
                      </c:pt>
                      <c:pt idx="8555">
                        <c:v>0</c:v>
                      </c:pt>
                      <c:pt idx="8556">
                        <c:v>0</c:v>
                      </c:pt>
                      <c:pt idx="8557">
                        <c:v>0</c:v>
                      </c:pt>
                      <c:pt idx="8558">
                        <c:v>0</c:v>
                      </c:pt>
                      <c:pt idx="8559">
                        <c:v>0</c:v>
                      </c:pt>
                      <c:pt idx="8560">
                        <c:v>0</c:v>
                      </c:pt>
                      <c:pt idx="8561">
                        <c:v>0</c:v>
                      </c:pt>
                      <c:pt idx="8562">
                        <c:v>0</c:v>
                      </c:pt>
                      <c:pt idx="8563">
                        <c:v>0</c:v>
                      </c:pt>
                      <c:pt idx="8564">
                        <c:v>0</c:v>
                      </c:pt>
                      <c:pt idx="8565">
                        <c:v>0</c:v>
                      </c:pt>
                      <c:pt idx="8566">
                        <c:v>0</c:v>
                      </c:pt>
                      <c:pt idx="8567">
                        <c:v>0</c:v>
                      </c:pt>
                      <c:pt idx="8568">
                        <c:v>0</c:v>
                      </c:pt>
                      <c:pt idx="8569">
                        <c:v>0</c:v>
                      </c:pt>
                      <c:pt idx="8570">
                        <c:v>0</c:v>
                      </c:pt>
                      <c:pt idx="8571">
                        <c:v>0</c:v>
                      </c:pt>
                      <c:pt idx="8572">
                        <c:v>0</c:v>
                      </c:pt>
                      <c:pt idx="8573">
                        <c:v>0</c:v>
                      </c:pt>
                      <c:pt idx="8574">
                        <c:v>0</c:v>
                      </c:pt>
                      <c:pt idx="8575">
                        <c:v>0</c:v>
                      </c:pt>
                      <c:pt idx="8576">
                        <c:v>0</c:v>
                      </c:pt>
                      <c:pt idx="8577">
                        <c:v>0</c:v>
                      </c:pt>
                      <c:pt idx="8578">
                        <c:v>0</c:v>
                      </c:pt>
                      <c:pt idx="8579">
                        <c:v>0</c:v>
                      </c:pt>
                      <c:pt idx="8580">
                        <c:v>0</c:v>
                      </c:pt>
                      <c:pt idx="8581">
                        <c:v>0</c:v>
                      </c:pt>
                      <c:pt idx="8582">
                        <c:v>0</c:v>
                      </c:pt>
                      <c:pt idx="8583">
                        <c:v>0</c:v>
                      </c:pt>
                      <c:pt idx="8584">
                        <c:v>0</c:v>
                      </c:pt>
                      <c:pt idx="8585">
                        <c:v>0</c:v>
                      </c:pt>
                      <c:pt idx="8586">
                        <c:v>0</c:v>
                      </c:pt>
                      <c:pt idx="8587">
                        <c:v>0</c:v>
                      </c:pt>
                      <c:pt idx="8588">
                        <c:v>0</c:v>
                      </c:pt>
                      <c:pt idx="8589">
                        <c:v>0</c:v>
                      </c:pt>
                      <c:pt idx="8590">
                        <c:v>0</c:v>
                      </c:pt>
                      <c:pt idx="8591">
                        <c:v>0</c:v>
                      </c:pt>
                      <c:pt idx="8592">
                        <c:v>0</c:v>
                      </c:pt>
                      <c:pt idx="8593">
                        <c:v>0</c:v>
                      </c:pt>
                      <c:pt idx="8594">
                        <c:v>0</c:v>
                      </c:pt>
                      <c:pt idx="8595">
                        <c:v>0</c:v>
                      </c:pt>
                      <c:pt idx="8596">
                        <c:v>0</c:v>
                      </c:pt>
                      <c:pt idx="8597">
                        <c:v>0</c:v>
                      </c:pt>
                      <c:pt idx="8598">
                        <c:v>0</c:v>
                      </c:pt>
                      <c:pt idx="8599">
                        <c:v>0</c:v>
                      </c:pt>
                      <c:pt idx="8600">
                        <c:v>0</c:v>
                      </c:pt>
                      <c:pt idx="8601">
                        <c:v>0</c:v>
                      </c:pt>
                      <c:pt idx="8602">
                        <c:v>0</c:v>
                      </c:pt>
                      <c:pt idx="8603">
                        <c:v>0</c:v>
                      </c:pt>
                      <c:pt idx="8604">
                        <c:v>0</c:v>
                      </c:pt>
                      <c:pt idx="8605">
                        <c:v>0</c:v>
                      </c:pt>
                      <c:pt idx="8606">
                        <c:v>0</c:v>
                      </c:pt>
                      <c:pt idx="8607">
                        <c:v>0</c:v>
                      </c:pt>
                      <c:pt idx="8608">
                        <c:v>0</c:v>
                      </c:pt>
                      <c:pt idx="8609">
                        <c:v>0</c:v>
                      </c:pt>
                      <c:pt idx="8610">
                        <c:v>0</c:v>
                      </c:pt>
                      <c:pt idx="8611">
                        <c:v>0</c:v>
                      </c:pt>
                      <c:pt idx="8612">
                        <c:v>0</c:v>
                      </c:pt>
                      <c:pt idx="8613">
                        <c:v>0</c:v>
                      </c:pt>
                      <c:pt idx="8614">
                        <c:v>0</c:v>
                      </c:pt>
                      <c:pt idx="8615">
                        <c:v>0</c:v>
                      </c:pt>
                      <c:pt idx="8616">
                        <c:v>0</c:v>
                      </c:pt>
                      <c:pt idx="8617">
                        <c:v>0</c:v>
                      </c:pt>
                      <c:pt idx="8618">
                        <c:v>0</c:v>
                      </c:pt>
                      <c:pt idx="8619">
                        <c:v>0</c:v>
                      </c:pt>
                      <c:pt idx="8620">
                        <c:v>0</c:v>
                      </c:pt>
                      <c:pt idx="8621">
                        <c:v>0</c:v>
                      </c:pt>
                      <c:pt idx="8622">
                        <c:v>0</c:v>
                      </c:pt>
                      <c:pt idx="8623">
                        <c:v>0</c:v>
                      </c:pt>
                      <c:pt idx="8624">
                        <c:v>0</c:v>
                      </c:pt>
                      <c:pt idx="8625">
                        <c:v>0</c:v>
                      </c:pt>
                      <c:pt idx="8626">
                        <c:v>0</c:v>
                      </c:pt>
                      <c:pt idx="8627">
                        <c:v>0</c:v>
                      </c:pt>
                      <c:pt idx="8628">
                        <c:v>0</c:v>
                      </c:pt>
                      <c:pt idx="8629">
                        <c:v>0</c:v>
                      </c:pt>
                      <c:pt idx="8630">
                        <c:v>0</c:v>
                      </c:pt>
                      <c:pt idx="8631">
                        <c:v>0</c:v>
                      </c:pt>
                      <c:pt idx="8632">
                        <c:v>0</c:v>
                      </c:pt>
                      <c:pt idx="8633">
                        <c:v>0</c:v>
                      </c:pt>
                      <c:pt idx="8634">
                        <c:v>0</c:v>
                      </c:pt>
                      <c:pt idx="8635">
                        <c:v>0</c:v>
                      </c:pt>
                      <c:pt idx="8636">
                        <c:v>0</c:v>
                      </c:pt>
                      <c:pt idx="8637">
                        <c:v>0</c:v>
                      </c:pt>
                      <c:pt idx="8638">
                        <c:v>0</c:v>
                      </c:pt>
                      <c:pt idx="8639">
                        <c:v>0</c:v>
                      </c:pt>
                      <c:pt idx="8640">
                        <c:v>0</c:v>
                      </c:pt>
                      <c:pt idx="8641">
                        <c:v>0</c:v>
                      </c:pt>
                      <c:pt idx="8642">
                        <c:v>0</c:v>
                      </c:pt>
                      <c:pt idx="8643">
                        <c:v>0</c:v>
                      </c:pt>
                      <c:pt idx="8644">
                        <c:v>0</c:v>
                      </c:pt>
                      <c:pt idx="8645">
                        <c:v>0</c:v>
                      </c:pt>
                      <c:pt idx="8646">
                        <c:v>0</c:v>
                      </c:pt>
                      <c:pt idx="8647">
                        <c:v>0</c:v>
                      </c:pt>
                      <c:pt idx="8648">
                        <c:v>0</c:v>
                      </c:pt>
                      <c:pt idx="8649">
                        <c:v>0</c:v>
                      </c:pt>
                      <c:pt idx="8650">
                        <c:v>0</c:v>
                      </c:pt>
                      <c:pt idx="8651">
                        <c:v>0</c:v>
                      </c:pt>
                      <c:pt idx="8652">
                        <c:v>0</c:v>
                      </c:pt>
                      <c:pt idx="8653">
                        <c:v>0</c:v>
                      </c:pt>
                      <c:pt idx="8654">
                        <c:v>0</c:v>
                      </c:pt>
                      <c:pt idx="8655">
                        <c:v>0</c:v>
                      </c:pt>
                      <c:pt idx="8656">
                        <c:v>0</c:v>
                      </c:pt>
                      <c:pt idx="8657">
                        <c:v>0</c:v>
                      </c:pt>
                      <c:pt idx="8658">
                        <c:v>0</c:v>
                      </c:pt>
                      <c:pt idx="8659">
                        <c:v>0</c:v>
                      </c:pt>
                      <c:pt idx="8660">
                        <c:v>0</c:v>
                      </c:pt>
                      <c:pt idx="8661">
                        <c:v>0</c:v>
                      </c:pt>
                      <c:pt idx="8662">
                        <c:v>0</c:v>
                      </c:pt>
                      <c:pt idx="8663">
                        <c:v>0</c:v>
                      </c:pt>
                      <c:pt idx="8664">
                        <c:v>0</c:v>
                      </c:pt>
                      <c:pt idx="8665">
                        <c:v>0</c:v>
                      </c:pt>
                      <c:pt idx="8666">
                        <c:v>0</c:v>
                      </c:pt>
                      <c:pt idx="8667">
                        <c:v>0</c:v>
                      </c:pt>
                      <c:pt idx="8668">
                        <c:v>0</c:v>
                      </c:pt>
                      <c:pt idx="8669">
                        <c:v>0</c:v>
                      </c:pt>
                      <c:pt idx="8670">
                        <c:v>0</c:v>
                      </c:pt>
                      <c:pt idx="8671">
                        <c:v>0</c:v>
                      </c:pt>
                      <c:pt idx="8672">
                        <c:v>0</c:v>
                      </c:pt>
                      <c:pt idx="8673">
                        <c:v>0</c:v>
                      </c:pt>
                      <c:pt idx="8674">
                        <c:v>0</c:v>
                      </c:pt>
                      <c:pt idx="8675">
                        <c:v>0</c:v>
                      </c:pt>
                      <c:pt idx="8676">
                        <c:v>0</c:v>
                      </c:pt>
                      <c:pt idx="8677">
                        <c:v>0</c:v>
                      </c:pt>
                      <c:pt idx="8678">
                        <c:v>0</c:v>
                      </c:pt>
                      <c:pt idx="8679">
                        <c:v>0</c:v>
                      </c:pt>
                      <c:pt idx="8680">
                        <c:v>0</c:v>
                      </c:pt>
                      <c:pt idx="8681">
                        <c:v>0</c:v>
                      </c:pt>
                      <c:pt idx="8682">
                        <c:v>0</c:v>
                      </c:pt>
                      <c:pt idx="8683">
                        <c:v>0</c:v>
                      </c:pt>
                      <c:pt idx="8684">
                        <c:v>0</c:v>
                      </c:pt>
                      <c:pt idx="8685">
                        <c:v>0</c:v>
                      </c:pt>
                      <c:pt idx="8686">
                        <c:v>0</c:v>
                      </c:pt>
                      <c:pt idx="8687">
                        <c:v>0</c:v>
                      </c:pt>
                      <c:pt idx="8688">
                        <c:v>0</c:v>
                      </c:pt>
                      <c:pt idx="8689">
                        <c:v>0</c:v>
                      </c:pt>
                      <c:pt idx="8690">
                        <c:v>0</c:v>
                      </c:pt>
                      <c:pt idx="8691">
                        <c:v>0</c:v>
                      </c:pt>
                      <c:pt idx="8692">
                        <c:v>0</c:v>
                      </c:pt>
                      <c:pt idx="8693">
                        <c:v>0</c:v>
                      </c:pt>
                      <c:pt idx="8694">
                        <c:v>0</c:v>
                      </c:pt>
                      <c:pt idx="8695">
                        <c:v>0</c:v>
                      </c:pt>
                      <c:pt idx="8696">
                        <c:v>0</c:v>
                      </c:pt>
                      <c:pt idx="8697">
                        <c:v>0</c:v>
                      </c:pt>
                      <c:pt idx="8698">
                        <c:v>0</c:v>
                      </c:pt>
                      <c:pt idx="8699">
                        <c:v>0</c:v>
                      </c:pt>
                      <c:pt idx="8700">
                        <c:v>0</c:v>
                      </c:pt>
                      <c:pt idx="8701">
                        <c:v>0</c:v>
                      </c:pt>
                      <c:pt idx="8702">
                        <c:v>0</c:v>
                      </c:pt>
                      <c:pt idx="8703">
                        <c:v>0</c:v>
                      </c:pt>
                      <c:pt idx="8704">
                        <c:v>0</c:v>
                      </c:pt>
                      <c:pt idx="8705">
                        <c:v>0</c:v>
                      </c:pt>
                      <c:pt idx="8706">
                        <c:v>0</c:v>
                      </c:pt>
                      <c:pt idx="8707">
                        <c:v>0</c:v>
                      </c:pt>
                      <c:pt idx="8708">
                        <c:v>0</c:v>
                      </c:pt>
                      <c:pt idx="8709">
                        <c:v>0</c:v>
                      </c:pt>
                      <c:pt idx="8710">
                        <c:v>0</c:v>
                      </c:pt>
                      <c:pt idx="8711">
                        <c:v>0</c:v>
                      </c:pt>
                      <c:pt idx="8712">
                        <c:v>0</c:v>
                      </c:pt>
                      <c:pt idx="8713">
                        <c:v>0</c:v>
                      </c:pt>
                      <c:pt idx="8714">
                        <c:v>0</c:v>
                      </c:pt>
                      <c:pt idx="8715">
                        <c:v>0</c:v>
                      </c:pt>
                      <c:pt idx="8716">
                        <c:v>0</c:v>
                      </c:pt>
                      <c:pt idx="8717">
                        <c:v>0</c:v>
                      </c:pt>
                      <c:pt idx="8718">
                        <c:v>0</c:v>
                      </c:pt>
                      <c:pt idx="8719">
                        <c:v>0</c:v>
                      </c:pt>
                      <c:pt idx="8720">
                        <c:v>0</c:v>
                      </c:pt>
                      <c:pt idx="8721">
                        <c:v>0</c:v>
                      </c:pt>
                      <c:pt idx="8722">
                        <c:v>0</c:v>
                      </c:pt>
                      <c:pt idx="8723">
                        <c:v>0</c:v>
                      </c:pt>
                      <c:pt idx="8724">
                        <c:v>0</c:v>
                      </c:pt>
                      <c:pt idx="8725">
                        <c:v>0</c:v>
                      </c:pt>
                      <c:pt idx="8726">
                        <c:v>0</c:v>
                      </c:pt>
                      <c:pt idx="8727">
                        <c:v>0</c:v>
                      </c:pt>
                      <c:pt idx="8728">
                        <c:v>0</c:v>
                      </c:pt>
                      <c:pt idx="8729">
                        <c:v>0</c:v>
                      </c:pt>
                      <c:pt idx="8730">
                        <c:v>0</c:v>
                      </c:pt>
                      <c:pt idx="8731">
                        <c:v>0</c:v>
                      </c:pt>
                      <c:pt idx="8732">
                        <c:v>0</c:v>
                      </c:pt>
                      <c:pt idx="8733">
                        <c:v>0</c:v>
                      </c:pt>
                      <c:pt idx="8734">
                        <c:v>0</c:v>
                      </c:pt>
                      <c:pt idx="8735">
                        <c:v>0</c:v>
                      </c:pt>
                      <c:pt idx="8736">
                        <c:v>0</c:v>
                      </c:pt>
                      <c:pt idx="8737">
                        <c:v>0</c:v>
                      </c:pt>
                      <c:pt idx="8738">
                        <c:v>0</c:v>
                      </c:pt>
                      <c:pt idx="8739">
                        <c:v>0</c:v>
                      </c:pt>
                      <c:pt idx="8740">
                        <c:v>0</c:v>
                      </c:pt>
                      <c:pt idx="8741">
                        <c:v>0</c:v>
                      </c:pt>
                      <c:pt idx="8742">
                        <c:v>0</c:v>
                      </c:pt>
                      <c:pt idx="8743">
                        <c:v>0</c:v>
                      </c:pt>
                      <c:pt idx="8744">
                        <c:v>0</c:v>
                      </c:pt>
                      <c:pt idx="8745">
                        <c:v>0</c:v>
                      </c:pt>
                      <c:pt idx="8746">
                        <c:v>0</c:v>
                      </c:pt>
                      <c:pt idx="8747">
                        <c:v>0</c:v>
                      </c:pt>
                      <c:pt idx="8748">
                        <c:v>0</c:v>
                      </c:pt>
                      <c:pt idx="8749">
                        <c:v>0</c:v>
                      </c:pt>
                      <c:pt idx="8750">
                        <c:v>0</c:v>
                      </c:pt>
                      <c:pt idx="8751">
                        <c:v>0</c:v>
                      </c:pt>
                      <c:pt idx="8752">
                        <c:v>0</c:v>
                      </c:pt>
                      <c:pt idx="8753">
                        <c:v>0</c:v>
                      </c:pt>
                      <c:pt idx="8754">
                        <c:v>0</c:v>
                      </c:pt>
                      <c:pt idx="8755">
                        <c:v>0</c:v>
                      </c:pt>
                      <c:pt idx="8756">
                        <c:v>0</c:v>
                      </c:pt>
                      <c:pt idx="8757">
                        <c:v>0</c:v>
                      </c:pt>
                      <c:pt idx="8758">
                        <c:v>0</c:v>
                      </c:pt>
                      <c:pt idx="8759">
                        <c:v>0</c:v>
                      </c:pt>
                      <c:pt idx="8760">
                        <c:v>0</c:v>
                      </c:pt>
                      <c:pt idx="8761">
                        <c:v>0</c:v>
                      </c:pt>
                      <c:pt idx="8762">
                        <c:v>0</c:v>
                      </c:pt>
                      <c:pt idx="8763">
                        <c:v>0</c:v>
                      </c:pt>
                      <c:pt idx="8764">
                        <c:v>0</c:v>
                      </c:pt>
                      <c:pt idx="8765">
                        <c:v>0</c:v>
                      </c:pt>
                      <c:pt idx="8766">
                        <c:v>0</c:v>
                      </c:pt>
                      <c:pt idx="8767">
                        <c:v>0</c:v>
                      </c:pt>
                      <c:pt idx="8768">
                        <c:v>0</c:v>
                      </c:pt>
                      <c:pt idx="8769">
                        <c:v>0</c:v>
                      </c:pt>
                      <c:pt idx="8770">
                        <c:v>0</c:v>
                      </c:pt>
                      <c:pt idx="8771">
                        <c:v>0</c:v>
                      </c:pt>
                      <c:pt idx="8772">
                        <c:v>0</c:v>
                      </c:pt>
                      <c:pt idx="8773">
                        <c:v>0</c:v>
                      </c:pt>
                      <c:pt idx="8774">
                        <c:v>0</c:v>
                      </c:pt>
                      <c:pt idx="8775">
                        <c:v>0</c:v>
                      </c:pt>
                      <c:pt idx="8776">
                        <c:v>0</c:v>
                      </c:pt>
                      <c:pt idx="8777">
                        <c:v>0</c:v>
                      </c:pt>
                      <c:pt idx="8778">
                        <c:v>0</c:v>
                      </c:pt>
                      <c:pt idx="8779">
                        <c:v>0</c:v>
                      </c:pt>
                      <c:pt idx="8780">
                        <c:v>0</c:v>
                      </c:pt>
                      <c:pt idx="8781">
                        <c:v>0</c:v>
                      </c:pt>
                      <c:pt idx="8782">
                        <c:v>0</c:v>
                      </c:pt>
                      <c:pt idx="8783">
                        <c:v>0</c:v>
                      </c:pt>
                      <c:pt idx="8784">
                        <c:v>0</c:v>
                      </c:pt>
                      <c:pt idx="8785">
                        <c:v>0</c:v>
                      </c:pt>
                      <c:pt idx="8786">
                        <c:v>0</c:v>
                      </c:pt>
                      <c:pt idx="8787">
                        <c:v>0</c:v>
                      </c:pt>
                      <c:pt idx="8788">
                        <c:v>0</c:v>
                      </c:pt>
                      <c:pt idx="8789">
                        <c:v>0</c:v>
                      </c:pt>
                      <c:pt idx="8790">
                        <c:v>0</c:v>
                      </c:pt>
                      <c:pt idx="8791">
                        <c:v>0</c:v>
                      </c:pt>
                      <c:pt idx="8792">
                        <c:v>0</c:v>
                      </c:pt>
                      <c:pt idx="8793">
                        <c:v>0</c:v>
                      </c:pt>
                      <c:pt idx="8794">
                        <c:v>0</c:v>
                      </c:pt>
                      <c:pt idx="8795">
                        <c:v>0</c:v>
                      </c:pt>
                      <c:pt idx="8796">
                        <c:v>0</c:v>
                      </c:pt>
                      <c:pt idx="8797">
                        <c:v>0</c:v>
                      </c:pt>
                      <c:pt idx="8798">
                        <c:v>0</c:v>
                      </c:pt>
                      <c:pt idx="8799">
                        <c:v>0</c:v>
                      </c:pt>
                      <c:pt idx="8800">
                        <c:v>0</c:v>
                      </c:pt>
                      <c:pt idx="8801">
                        <c:v>0</c:v>
                      </c:pt>
                      <c:pt idx="8802">
                        <c:v>0</c:v>
                      </c:pt>
                      <c:pt idx="8803">
                        <c:v>0</c:v>
                      </c:pt>
                      <c:pt idx="8804">
                        <c:v>0</c:v>
                      </c:pt>
                      <c:pt idx="8805">
                        <c:v>0</c:v>
                      </c:pt>
                      <c:pt idx="8806">
                        <c:v>0</c:v>
                      </c:pt>
                      <c:pt idx="8807">
                        <c:v>0</c:v>
                      </c:pt>
                      <c:pt idx="8808">
                        <c:v>0</c:v>
                      </c:pt>
                      <c:pt idx="8809">
                        <c:v>0</c:v>
                      </c:pt>
                      <c:pt idx="8810">
                        <c:v>0</c:v>
                      </c:pt>
                      <c:pt idx="8811">
                        <c:v>0</c:v>
                      </c:pt>
                      <c:pt idx="8812">
                        <c:v>0</c:v>
                      </c:pt>
                      <c:pt idx="8813">
                        <c:v>0</c:v>
                      </c:pt>
                      <c:pt idx="8814">
                        <c:v>0</c:v>
                      </c:pt>
                      <c:pt idx="8815">
                        <c:v>0</c:v>
                      </c:pt>
                      <c:pt idx="8816">
                        <c:v>0</c:v>
                      </c:pt>
                      <c:pt idx="8817">
                        <c:v>0</c:v>
                      </c:pt>
                      <c:pt idx="8818">
                        <c:v>0</c:v>
                      </c:pt>
                      <c:pt idx="8819">
                        <c:v>0</c:v>
                      </c:pt>
                      <c:pt idx="8820">
                        <c:v>0</c:v>
                      </c:pt>
                      <c:pt idx="8821">
                        <c:v>0</c:v>
                      </c:pt>
                      <c:pt idx="8822">
                        <c:v>0</c:v>
                      </c:pt>
                      <c:pt idx="8823">
                        <c:v>0</c:v>
                      </c:pt>
                      <c:pt idx="8824">
                        <c:v>0</c:v>
                      </c:pt>
                      <c:pt idx="8825">
                        <c:v>0</c:v>
                      </c:pt>
                      <c:pt idx="8826">
                        <c:v>0</c:v>
                      </c:pt>
                      <c:pt idx="8827">
                        <c:v>0</c:v>
                      </c:pt>
                      <c:pt idx="8828">
                        <c:v>0</c:v>
                      </c:pt>
                      <c:pt idx="8829">
                        <c:v>0</c:v>
                      </c:pt>
                      <c:pt idx="8830">
                        <c:v>0</c:v>
                      </c:pt>
                      <c:pt idx="8831">
                        <c:v>0</c:v>
                      </c:pt>
                      <c:pt idx="8832">
                        <c:v>0</c:v>
                      </c:pt>
                      <c:pt idx="8833">
                        <c:v>0</c:v>
                      </c:pt>
                      <c:pt idx="8834">
                        <c:v>0</c:v>
                      </c:pt>
                      <c:pt idx="8835">
                        <c:v>0</c:v>
                      </c:pt>
                      <c:pt idx="8836">
                        <c:v>0</c:v>
                      </c:pt>
                      <c:pt idx="8837">
                        <c:v>0</c:v>
                      </c:pt>
                      <c:pt idx="8838">
                        <c:v>0</c:v>
                      </c:pt>
                      <c:pt idx="8839">
                        <c:v>0</c:v>
                      </c:pt>
                      <c:pt idx="8840">
                        <c:v>0</c:v>
                      </c:pt>
                      <c:pt idx="8841">
                        <c:v>0</c:v>
                      </c:pt>
                      <c:pt idx="8842">
                        <c:v>0</c:v>
                      </c:pt>
                      <c:pt idx="8843">
                        <c:v>0</c:v>
                      </c:pt>
                      <c:pt idx="8844">
                        <c:v>0</c:v>
                      </c:pt>
                      <c:pt idx="8845">
                        <c:v>0</c:v>
                      </c:pt>
                      <c:pt idx="8846">
                        <c:v>0</c:v>
                      </c:pt>
                      <c:pt idx="8847">
                        <c:v>0</c:v>
                      </c:pt>
                      <c:pt idx="8848">
                        <c:v>0</c:v>
                      </c:pt>
                      <c:pt idx="8849">
                        <c:v>0</c:v>
                      </c:pt>
                      <c:pt idx="8850">
                        <c:v>0</c:v>
                      </c:pt>
                      <c:pt idx="8851">
                        <c:v>0</c:v>
                      </c:pt>
                      <c:pt idx="8852">
                        <c:v>0</c:v>
                      </c:pt>
                      <c:pt idx="8853">
                        <c:v>0</c:v>
                      </c:pt>
                      <c:pt idx="8854">
                        <c:v>0</c:v>
                      </c:pt>
                      <c:pt idx="8855">
                        <c:v>0</c:v>
                      </c:pt>
                      <c:pt idx="8856">
                        <c:v>0</c:v>
                      </c:pt>
                      <c:pt idx="8857">
                        <c:v>0</c:v>
                      </c:pt>
                      <c:pt idx="8858">
                        <c:v>0</c:v>
                      </c:pt>
                      <c:pt idx="8859">
                        <c:v>0</c:v>
                      </c:pt>
                      <c:pt idx="8860">
                        <c:v>0</c:v>
                      </c:pt>
                      <c:pt idx="8861">
                        <c:v>0</c:v>
                      </c:pt>
                      <c:pt idx="8862">
                        <c:v>0</c:v>
                      </c:pt>
                      <c:pt idx="8863">
                        <c:v>0</c:v>
                      </c:pt>
                      <c:pt idx="8864">
                        <c:v>0</c:v>
                      </c:pt>
                      <c:pt idx="8865">
                        <c:v>0</c:v>
                      </c:pt>
                      <c:pt idx="8866">
                        <c:v>0</c:v>
                      </c:pt>
                      <c:pt idx="8867">
                        <c:v>0</c:v>
                      </c:pt>
                      <c:pt idx="8868">
                        <c:v>0</c:v>
                      </c:pt>
                      <c:pt idx="8869">
                        <c:v>0</c:v>
                      </c:pt>
                      <c:pt idx="8870">
                        <c:v>0</c:v>
                      </c:pt>
                      <c:pt idx="8871">
                        <c:v>0</c:v>
                      </c:pt>
                      <c:pt idx="8872">
                        <c:v>0</c:v>
                      </c:pt>
                      <c:pt idx="8873">
                        <c:v>0</c:v>
                      </c:pt>
                      <c:pt idx="8874">
                        <c:v>0</c:v>
                      </c:pt>
                      <c:pt idx="8875">
                        <c:v>0</c:v>
                      </c:pt>
                      <c:pt idx="8876">
                        <c:v>0</c:v>
                      </c:pt>
                      <c:pt idx="8877">
                        <c:v>0</c:v>
                      </c:pt>
                      <c:pt idx="8878">
                        <c:v>0</c:v>
                      </c:pt>
                      <c:pt idx="8879">
                        <c:v>0</c:v>
                      </c:pt>
                      <c:pt idx="8880">
                        <c:v>0</c:v>
                      </c:pt>
                      <c:pt idx="8881">
                        <c:v>0</c:v>
                      </c:pt>
                      <c:pt idx="8882">
                        <c:v>0</c:v>
                      </c:pt>
                      <c:pt idx="8883">
                        <c:v>0</c:v>
                      </c:pt>
                      <c:pt idx="8884">
                        <c:v>0</c:v>
                      </c:pt>
                      <c:pt idx="8885">
                        <c:v>0</c:v>
                      </c:pt>
                      <c:pt idx="8886">
                        <c:v>0</c:v>
                      </c:pt>
                      <c:pt idx="8887">
                        <c:v>0</c:v>
                      </c:pt>
                      <c:pt idx="8888">
                        <c:v>0</c:v>
                      </c:pt>
                      <c:pt idx="8889">
                        <c:v>0</c:v>
                      </c:pt>
                      <c:pt idx="8890">
                        <c:v>0</c:v>
                      </c:pt>
                      <c:pt idx="8891">
                        <c:v>0</c:v>
                      </c:pt>
                      <c:pt idx="8892">
                        <c:v>0</c:v>
                      </c:pt>
                      <c:pt idx="8893">
                        <c:v>0</c:v>
                      </c:pt>
                      <c:pt idx="8894">
                        <c:v>0</c:v>
                      </c:pt>
                      <c:pt idx="8895">
                        <c:v>0</c:v>
                      </c:pt>
                      <c:pt idx="8896">
                        <c:v>0</c:v>
                      </c:pt>
                      <c:pt idx="8897">
                        <c:v>0</c:v>
                      </c:pt>
                      <c:pt idx="8898">
                        <c:v>0</c:v>
                      </c:pt>
                      <c:pt idx="8899">
                        <c:v>0</c:v>
                      </c:pt>
                      <c:pt idx="8900">
                        <c:v>0</c:v>
                      </c:pt>
                      <c:pt idx="8901">
                        <c:v>0</c:v>
                      </c:pt>
                      <c:pt idx="8902">
                        <c:v>0</c:v>
                      </c:pt>
                      <c:pt idx="8903">
                        <c:v>0</c:v>
                      </c:pt>
                      <c:pt idx="8904">
                        <c:v>0</c:v>
                      </c:pt>
                      <c:pt idx="8905">
                        <c:v>0</c:v>
                      </c:pt>
                      <c:pt idx="8906">
                        <c:v>0</c:v>
                      </c:pt>
                      <c:pt idx="8907">
                        <c:v>0</c:v>
                      </c:pt>
                      <c:pt idx="8908">
                        <c:v>0</c:v>
                      </c:pt>
                      <c:pt idx="8909">
                        <c:v>0</c:v>
                      </c:pt>
                      <c:pt idx="8910">
                        <c:v>0</c:v>
                      </c:pt>
                      <c:pt idx="8911">
                        <c:v>0</c:v>
                      </c:pt>
                      <c:pt idx="8912">
                        <c:v>0</c:v>
                      </c:pt>
                      <c:pt idx="8913">
                        <c:v>0</c:v>
                      </c:pt>
                      <c:pt idx="8914">
                        <c:v>0</c:v>
                      </c:pt>
                      <c:pt idx="8915">
                        <c:v>0</c:v>
                      </c:pt>
                      <c:pt idx="8916">
                        <c:v>0</c:v>
                      </c:pt>
                      <c:pt idx="8917">
                        <c:v>0</c:v>
                      </c:pt>
                      <c:pt idx="8918">
                        <c:v>0</c:v>
                      </c:pt>
                      <c:pt idx="8919">
                        <c:v>0</c:v>
                      </c:pt>
                      <c:pt idx="8920">
                        <c:v>0</c:v>
                      </c:pt>
                      <c:pt idx="8921">
                        <c:v>0</c:v>
                      </c:pt>
                      <c:pt idx="8922">
                        <c:v>0</c:v>
                      </c:pt>
                      <c:pt idx="8923">
                        <c:v>0</c:v>
                      </c:pt>
                      <c:pt idx="8924">
                        <c:v>0</c:v>
                      </c:pt>
                      <c:pt idx="8925">
                        <c:v>0</c:v>
                      </c:pt>
                      <c:pt idx="8926">
                        <c:v>0</c:v>
                      </c:pt>
                      <c:pt idx="8927">
                        <c:v>0</c:v>
                      </c:pt>
                      <c:pt idx="8928">
                        <c:v>0</c:v>
                      </c:pt>
                      <c:pt idx="8929">
                        <c:v>0</c:v>
                      </c:pt>
                      <c:pt idx="8930">
                        <c:v>0</c:v>
                      </c:pt>
                      <c:pt idx="8931">
                        <c:v>0</c:v>
                      </c:pt>
                      <c:pt idx="8932">
                        <c:v>0</c:v>
                      </c:pt>
                      <c:pt idx="8933">
                        <c:v>0</c:v>
                      </c:pt>
                      <c:pt idx="8934">
                        <c:v>0</c:v>
                      </c:pt>
                      <c:pt idx="8935">
                        <c:v>0</c:v>
                      </c:pt>
                      <c:pt idx="8936">
                        <c:v>0</c:v>
                      </c:pt>
                      <c:pt idx="8937">
                        <c:v>0</c:v>
                      </c:pt>
                      <c:pt idx="8938">
                        <c:v>0</c:v>
                      </c:pt>
                      <c:pt idx="8939">
                        <c:v>0</c:v>
                      </c:pt>
                      <c:pt idx="8940">
                        <c:v>0</c:v>
                      </c:pt>
                      <c:pt idx="8941">
                        <c:v>0</c:v>
                      </c:pt>
                      <c:pt idx="8942">
                        <c:v>0</c:v>
                      </c:pt>
                      <c:pt idx="8943">
                        <c:v>0</c:v>
                      </c:pt>
                      <c:pt idx="8944">
                        <c:v>0</c:v>
                      </c:pt>
                      <c:pt idx="8945">
                        <c:v>0</c:v>
                      </c:pt>
                      <c:pt idx="8946">
                        <c:v>0</c:v>
                      </c:pt>
                      <c:pt idx="8947">
                        <c:v>0</c:v>
                      </c:pt>
                      <c:pt idx="8948">
                        <c:v>0</c:v>
                      </c:pt>
                      <c:pt idx="8949">
                        <c:v>0</c:v>
                      </c:pt>
                      <c:pt idx="8950">
                        <c:v>0</c:v>
                      </c:pt>
                      <c:pt idx="8951">
                        <c:v>0</c:v>
                      </c:pt>
                      <c:pt idx="8952">
                        <c:v>0</c:v>
                      </c:pt>
                      <c:pt idx="8953">
                        <c:v>0</c:v>
                      </c:pt>
                      <c:pt idx="8954">
                        <c:v>0</c:v>
                      </c:pt>
                      <c:pt idx="8955">
                        <c:v>0</c:v>
                      </c:pt>
                      <c:pt idx="8956">
                        <c:v>0</c:v>
                      </c:pt>
                      <c:pt idx="8957">
                        <c:v>0</c:v>
                      </c:pt>
                      <c:pt idx="8958">
                        <c:v>0</c:v>
                      </c:pt>
                      <c:pt idx="8959">
                        <c:v>0</c:v>
                      </c:pt>
                      <c:pt idx="8960">
                        <c:v>0</c:v>
                      </c:pt>
                      <c:pt idx="8961">
                        <c:v>0</c:v>
                      </c:pt>
                      <c:pt idx="8962">
                        <c:v>0</c:v>
                      </c:pt>
                      <c:pt idx="8963">
                        <c:v>0</c:v>
                      </c:pt>
                      <c:pt idx="8964">
                        <c:v>0</c:v>
                      </c:pt>
                      <c:pt idx="8965">
                        <c:v>0</c:v>
                      </c:pt>
                      <c:pt idx="8966">
                        <c:v>0</c:v>
                      </c:pt>
                      <c:pt idx="8967">
                        <c:v>0</c:v>
                      </c:pt>
                      <c:pt idx="8968">
                        <c:v>0</c:v>
                      </c:pt>
                      <c:pt idx="8969">
                        <c:v>0</c:v>
                      </c:pt>
                      <c:pt idx="8970">
                        <c:v>0</c:v>
                      </c:pt>
                      <c:pt idx="8971">
                        <c:v>0</c:v>
                      </c:pt>
                      <c:pt idx="8972">
                        <c:v>0</c:v>
                      </c:pt>
                      <c:pt idx="8973">
                        <c:v>0</c:v>
                      </c:pt>
                      <c:pt idx="8974">
                        <c:v>0</c:v>
                      </c:pt>
                      <c:pt idx="8975">
                        <c:v>0</c:v>
                      </c:pt>
                      <c:pt idx="8976">
                        <c:v>0</c:v>
                      </c:pt>
                      <c:pt idx="8977">
                        <c:v>0</c:v>
                      </c:pt>
                      <c:pt idx="8978">
                        <c:v>0</c:v>
                      </c:pt>
                      <c:pt idx="8979">
                        <c:v>0</c:v>
                      </c:pt>
                      <c:pt idx="8980">
                        <c:v>0</c:v>
                      </c:pt>
                      <c:pt idx="8981">
                        <c:v>0</c:v>
                      </c:pt>
                      <c:pt idx="8982">
                        <c:v>0</c:v>
                      </c:pt>
                      <c:pt idx="8983">
                        <c:v>0</c:v>
                      </c:pt>
                      <c:pt idx="8984">
                        <c:v>0</c:v>
                      </c:pt>
                      <c:pt idx="8985">
                        <c:v>0</c:v>
                      </c:pt>
                      <c:pt idx="8986">
                        <c:v>0</c:v>
                      </c:pt>
                      <c:pt idx="8987">
                        <c:v>0</c:v>
                      </c:pt>
                      <c:pt idx="8988">
                        <c:v>0</c:v>
                      </c:pt>
                      <c:pt idx="8989">
                        <c:v>0</c:v>
                      </c:pt>
                      <c:pt idx="8990">
                        <c:v>0</c:v>
                      </c:pt>
                      <c:pt idx="8991">
                        <c:v>0</c:v>
                      </c:pt>
                      <c:pt idx="8992">
                        <c:v>0</c:v>
                      </c:pt>
                      <c:pt idx="8993">
                        <c:v>0</c:v>
                      </c:pt>
                      <c:pt idx="8994">
                        <c:v>0</c:v>
                      </c:pt>
                      <c:pt idx="8995">
                        <c:v>0</c:v>
                      </c:pt>
                      <c:pt idx="8996">
                        <c:v>0</c:v>
                      </c:pt>
                      <c:pt idx="8997">
                        <c:v>0</c:v>
                      </c:pt>
                      <c:pt idx="8998">
                        <c:v>0</c:v>
                      </c:pt>
                      <c:pt idx="8999">
                        <c:v>0</c:v>
                      </c:pt>
                      <c:pt idx="9000">
                        <c:v>0</c:v>
                      </c:pt>
                      <c:pt idx="9001">
                        <c:v>0</c:v>
                      </c:pt>
                      <c:pt idx="9002">
                        <c:v>0</c:v>
                      </c:pt>
                      <c:pt idx="9003">
                        <c:v>0</c:v>
                      </c:pt>
                      <c:pt idx="9004">
                        <c:v>0</c:v>
                      </c:pt>
                      <c:pt idx="9005">
                        <c:v>0</c:v>
                      </c:pt>
                      <c:pt idx="9006">
                        <c:v>0</c:v>
                      </c:pt>
                      <c:pt idx="9007">
                        <c:v>0</c:v>
                      </c:pt>
                      <c:pt idx="9008">
                        <c:v>0</c:v>
                      </c:pt>
                      <c:pt idx="9009">
                        <c:v>0</c:v>
                      </c:pt>
                      <c:pt idx="9010">
                        <c:v>0</c:v>
                      </c:pt>
                      <c:pt idx="9011">
                        <c:v>0</c:v>
                      </c:pt>
                      <c:pt idx="9012">
                        <c:v>0</c:v>
                      </c:pt>
                      <c:pt idx="9013">
                        <c:v>0</c:v>
                      </c:pt>
                      <c:pt idx="9014">
                        <c:v>0</c:v>
                      </c:pt>
                      <c:pt idx="9015">
                        <c:v>0</c:v>
                      </c:pt>
                      <c:pt idx="9016">
                        <c:v>0</c:v>
                      </c:pt>
                      <c:pt idx="9017">
                        <c:v>0</c:v>
                      </c:pt>
                      <c:pt idx="9018">
                        <c:v>0</c:v>
                      </c:pt>
                      <c:pt idx="9019">
                        <c:v>0</c:v>
                      </c:pt>
                      <c:pt idx="9020">
                        <c:v>0</c:v>
                      </c:pt>
                      <c:pt idx="9021">
                        <c:v>0</c:v>
                      </c:pt>
                      <c:pt idx="9022">
                        <c:v>0</c:v>
                      </c:pt>
                      <c:pt idx="9023">
                        <c:v>0</c:v>
                      </c:pt>
                      <c:pt idx="9024">
                        <c:v>0</c:v>
                      </c:pt>
                      <c:pt idx="9025">
                        <c:v>0</c:v>
                      </c:pt>
                      <c:pt idx="9026">
                        <c:v>0</c:v>
                      </c:pt>
                      <c:pt idx="9027">
                        <c:v>0</c:v>
                      </c:pt>
                      <c:pt idx="9028">
                        <c:v>0</c:v>
                      </c:pt>
                      <c:pt idx="9029">
                        <c:v>0</c:v>
                      </c:pt>
                      <c:pt idx="9030">
                        <c:v>0</c:v>
                      </c:pt>
                      <c:pt idx="9031">
                        <c:v>0</c:v>
                      </c:pt>
                      <c:pt idx="9032">
                        <c:v>0</c:v>
                      </c:pt>
                      <c:pt idx="9033">
                        <c:v>0</c:v>
                      </c:pt>
                      <c:pt idx="9034">
                        <c:v>0</c:v>
                      </c:pt>
                      <c:pt idx="9035">
                        <c:v>0</c:v>
                      </c:pt>
                      <c:pt idx="9036">
                        <c:v>0</c:v>
                      </c:pt>
                      <c:pt idx="9037">
                        <c:v>0</c:v>
                      </c:pt>
                      <c:pt idx="9038">
                        <c:v>0</c:v>
                      </c:pt>
                      <c:pt idx="9039">
                        <c:v>0</c:v>
                      </c:pt>
                      <c:pt idx="9040">
                        <c:v>0</c:v>
                      </c:pt>
                      <c:pt idx="9041">
                        <c:v>0</c:v>
                      </c:pt>
                      <c:pt idx="9042">
                        <c:v>0</c:v>
                      </c:pt>
                      <c:pt idx="9043">
                        <c:v>0</c:v>
                      </c:pt>
                      <c:pt idx="9044">
                        <c:v>0</c:v>
                      </c:pt>
                      <c:pt idx="9045">
                        <c:v>0</c:v>
                      </c:pt>
                      <c:pt idx="9046">
                        <c:v>0</c:v>
                      </c:pt>
                      <c:pt idx="9047">
                        <c:v>0</c:v>
                      </c:pt>
                      <c:pt idx="9048">
                        <c:v>0</c:v>
                      </c:pt>
                      <c:pt idx="9049">
                        <c:v>0</c:v>
                      </c:pt>
                      <c:pt idx="9050">
                        <c:v>0</c:v>
                      </c:pt>
                      <c:pt idx="9051">
                        <c:v>0</c:v>
                      </c:pt>
                      <c:pt idx="9052">
                        <c:v>0</c:v>
                      </c:pt>
                      <c:pt idx="9053">
                        <c:v>0</c:v>
                      </c:pt>
                      <c:pt idx="9054">
                        <c:v>0</c:v>
                      </c:pt>
                      <c:pt idx="9055">
                        <c:v>0</c:v>
                      </c:pt>
                      <c:pt idx="9056">
                        <c:v>0</c:v>
                      </c:pt>
                      <c:pt idx="9057">
                        <c:v>0</c:v>
                      </c:pt>
                      <c:pt idx="9058">
                        <c:v>0</c:v>
                      </c:pt>
                      <c:pt idx="9059">
                        <c:v>0</c:v>
                      </c:pt>
                      <c:pt idx="9060">
                        <c:v>0</c:v>
                      </c:pt>
                      <c:pt idx="9061">
                        <c:v>0</c:v>
                      </c:pt>
                      <c:pt idx="9062">
                        <c:v>0</c:v>
                      </c:pt>
                      <c:pt idx="9063">
                        <c:v>0</c:v>
                      </c:pt>
                      <c:pt idx="9064">
                        <c:v>0</c:v>
                      </c:pt>
                      <c:pt idx="9065">
                        <c:v>0</c:v>
                      </c:pt>
                      <c:pt idx="9066">
                        <c:v>0</c:v>
                      </c:pt>
                      <c:pt idx="9067">
                        <c:v>0</c:v>
                      </c:pt>
                      <c:pt idx="9068">
                        <c:v>0</c:v>
                      </c:pt>
                      <c:pt idx="9069">
                        <c:v>0</c:v>
                      </c:pt>
                      <c:pt idx="9070">
                        <c:v>0</c:v>
                      </c:pt>
                      <c:pt idx="9071">
                        <c:v>0</c:v>
                      </c:pt>
                      <c:pt idx="9072">
                        <c:v>0</c:v>
                      </c:pt>
                      <c:pt idx="9073">
                        <c:v>0</c:v>
                      </c:pt>
                      <c:pt idx="9074">
                        <c:v>0</c:v>
                      </c:pt>
                      <c:pt idx="9075">
                        <c:v>0</c:v>
                      </c:pt>
                      <c:pt idx="9076">
                        <c:v>0</c:v>
                      </c:pt>
                      <c:pt idx="9077">
                        <c:v>0</c:v>
                      </c:pt>
                      <c:pt idx="9078">
                        <c:v>0</c:v>
                      </c:pt>
                      <c:pt idx="9079">
                        <c:v>0</c:v>
                      </c:pt>
                      <c:pt idx="9080">
                        <c:v>0</c:v>
                      </c:pt>
                      <c:pt idx="9081">
                        <c:v>0</c:v>
                      </c:pt>
                      <c:pt idx="9082">
                        <c:v>0</c:v>
                      </c:pt>
                      <c:pt idx="9083">
                        <c:v>0</c:v>
                      </c:pt>
                      <c:pt idx="9084">
                        <c:v>0</c:v>
                      </c:pt>
                      <c:pt idx="9085">
                        <c:v>0</c:v>
                      </c:pt>
                      <c:pt idx="9086">
                        <c:v>0</c:v>
                      </c:pt>
                      <c:pt idx="9087">
                        <c:v>0</c:v>
                      </c:pt>
                      <c:pt idx="9088">
                        <c:v>0</c:v>
                      </c:pt>
                      <c:pt idx="9089">
                        <c:v>0</c:v>
                      </c:pt>
                      <c:pt idx="9090">
                        <c:v>0</c:v>
                      </c:pt>
                      <c:pt idx="9091">
                        <c:v>0</c:v>
                      </c:pt>
                      <c:pt idx="9092">
                        <c:v>0</c:v>
                      </c:pt>
                      <c:pt idx="9093">
                        <c:v>0</c:v>
                      </c:pt>
                      <c:pt idx="9094">
                        <c:v>0</c:v>
                      </c:pt>
                      <c:pt idx="9095">
                        <c:v>0</c:v>
                      </c:pt>
                      <c:pt idx="9096">
                        <c:v>0</c:v>
                      </c:pt>
                      <c:pt idx="9097">
                        <c:v>0</c:v>
                      </c:pt>
                      <c:pt idx="9098">
                        <c:v>0</c:v>
                      </c:pt>
                      <c:pt idx="9099">
                        <c:v>0</c:v>
                      </c:pt>
                      <c:pt idx="9100">
                        <c:v>0</c:v>
                      </c:pt>
                      <c:pt idx="9101">
                        <c:v>0</c:v>
                      </c:pt>
                      <c:pt idx="9102">
                        <c:v>0</c:v>
                      </c:pt>
                      <c:pt idx="9103">
                        <c:v>0</c:v>
                      </c:pt>
                      <c:pt idx="9104">
                        <c:v>0</c:v>
                      </c:pt>
                      <c:pt idx="9105">
                        <c:v>0</c:v>
                      </c:pt>
                      <c:pt idx="9106">
                        <c:v>0</c:v>
                      </c:pt>
                      <c:pt idx="9107">
                        <c:v>0</c:v>
                      </c:pt>
                      <c:pt idx="9108">
                        <c:v>0</c:v>
                      </c:pt>
                      <c:pt idx="9109">
                        <c:v>0</c:v>
                      </c:pt>
                      <c:pt idx="9110">
                        <c:v>0</c:v>
                      </c:pt>
                      <c:pt idx="9111">
                        <c:v>0</c:v>
                      </c:pt>
                      <c:pt idx="9112">
                        <c:v>0</c:v>
                      </c:pt>
                      <c:pt idx="9113">
                        <c:v>0</c:v>
                      </c:pt>
                      <c:pt idx="9114">
                        <c:v>0</c:v>
                      </c:pt>
                      <c:pt idx="9115">
                        <c:v>0</c:v>
                      </c:pt>
                      <c:pt idx="9116">
                        <c:v>0</c:v>
                      </c:pt>
                      <c:pt idx="9117">
                        <c:v>0</c:v>
                      </c:pt>
                      <c:pt idx="9118">
                        <c:v>0</c:v>
                      </c:pt>
                      <c:pt idx="9119">
                        <c:v>0</c:v>
                      </c:pt>
                      <c:pt idx="9120">
                        <c:v>0</c:v>
                      </c:pt>
                      <c:pt idx="9121">
                        <c:v>0</c:v>
                      </c:pt>
                      <c:pt idx="9122">
                        <c:v>0</c:v>
                      </c:pt>
                      <c:pt idx="9123">
                        <c:v>0</c:v>
                      </c:pt>
                      <c:pt idx="9124">
                        <c:v>0</c:v>
                      </c:pt>
                      <c:pt idx="9125">
                        <c:v>0</c:v>
                      </c:pt>
                      <c:pt idx="9126">
                        <c:v>0</c:v>
                      </c:pt>
                      <c:pt idx="9127">
                        <c:v>0</c:v>
                      </c:pt>
                      <c:pt idx="9128">
                        <c:v>0</c:v>
                      </c:pt>
                      <c:pt idx="9129">
                        <c:v>0</c:v>
                      </c:pt>
                      <c:pt idx="9130">
                        <c:v>0</c:v>
                      </c:pt>
                      <c:pt idx="9131">
                        <c:v>0</c:v>
                      </c:pt>
                      <c:pt idx="9132">
                        <c:v>0</c:v>
                      </c:pt>
                      <c:pt idx="9133">
                        <c:v>0</c:v>
                      </c:pt>
                      <c:pt idx="9134">
                        <c:v>0</c:v>
                      </c:pt>
                      <c:pt idx="9135">
                        <c:v>0</c:v>
                      </c:pt>
                      <c:pt idx="9136">
                        <c:v>0</c:v>
                      </c:pt>
                      <c:pt idx="9137">
                        <c:v>0</c:v>
                      </c:pt>
                      <c:pt idx="9138">
                        <c:v>0</c:v>
                      </c:pt>
                      <c:pt idx="9139">
                        <c:v>0</c:v>
                      </c:pt>
                      <c:pt idx="9140">
                        <c:v>0</c:v>
                      </c:pt>
                      <c:pt idx="9141">
                        <c:v>0</c:v>
                      </c:pt>
                      <c:pt idx="9142">
                        <c:v>0</c:v>
                      </c:pt>
                      <c:pt idx="9143">
                        <c:v>0</c:v>
                      </c:pt>
                      <c:pt idx="9144">
                        <c:v>0</c:v>
                      </c:pt>
                      <c:pt idx="9145">
                        <c:v>0</c:v>
                      </c:pt>
                      <c:pt idx="9146">
                        <c:v>0</c:v>
                      </c:pt>
                      <c:pt idx="9147">
                        <c:v>0</c:v>
                      </c:pt>
                      <c:pt idx="9148">
                        <c:v>0</c:v>
                      </c:pt>
                      <c:pt idx="9149">
                        <c:v>0</c:v>
                      </c:pt>
                      <c:pt idx="9150">
                        <c:v>0</c:v>
                      </c:pt>
                      <c:pt idx="9151">
                        <c:v>0</c:v>
                      </c:pt>
                      <c:pt idx="9152">
                        <c:v>0</c:v>
                      </c:pt>
                      <c:pt idx="9153">
                        <c:v>0</c:v>
                      </c:pt>
                      <c:pt idx="9154">
                        <c:v>0</c:v>
                      </c:pt>
                      <c:pt idx="9155">
                        <c:v>0</c:v>
                      </c:pt>
                      <c:pt idx="9156">
                        <c:v>0</c:v>
                      </c:pt>
                      <c:pt idx="9157">
                        <c:v>0</c:v>
                      </c:pt>
                      <c:pt idx="9158">
                        <c:v>0</c:v>
                      </c:pt>
                      <c:pt idx="9159">
                        <c:v>0</c:v>
                      </c:pt>
                      <c:pt idx="9160">
                        <c:v>0</c:v>
                      </c:pt>
                      <c:pt idx="9161">
                        <c:v>0</c:v>
                      </c:pt>
                      <c:pt idx="9162">
                        <c:v>0</c:v>
                      </c:pt>
                      <c:pt idx="9163">
                        <c:v>0</c:v>
                      </c:pt>
                      <c:pt idx="9164">
                        <c:v>0</c:v>
                      </c:pt>
                      <c:pt idx="9165">
                        <c:v>0</c:v>
                      </c:pt>
                      <c:pt idx="9166">
                        <c:v>0</c:v>
                      </c:pt>
                      <c:pt idx="9167">
                        <c:v>0</c:v>
                      </c:pt>
                      <c:pt idx="9168">
                        <c:v>0</c:v>
                      </c:pt>
                      <c:pt idx="9169">
                        <c:v>0</c:v>
                      </c:pt>
                      <c:pt idx="9170">
                        <c:v>0</c:v>
                      </c:pt>
                      <c:pt idx="9171">
                        <c:v>0</c:v>
                      </c:pt>
                      <c:pt idx="9172">
                        <c:v>0</c:v>
                      </c:pt>
                      <c:pt idx="9173">
                        <c:v>0</c:v>
                      </c:pt>
                      <c:pt idx="9174">
                        <c:v>0</c:v>
                      </c:pt>
                      <c:pt idx="9175">
                        <c:v>0</c:v>
                      </c:pt>
                      <c:pt idx="9176">
                        <c:v>0</c:v>
                      </c:pt>
                      <c:pt idx="9177">
                        <c:v>0</c:v>
                      </c:pt>
                      <c:pt idx="9178">
                        <c:v>0</c:v>
                      </c:pt>
                      <c:pt idx="9179">
                        <c:v>0</c:v>
                      </c:pt>
                      <c:pt idx="9180">
                        <c:v>0</c:v>
                      </c:pt>
                      <c:pt idx="9181">
                        <c:v>0</c:v>
                      </c:pt>
                      <c:pt idx="9182">
                        <c:v>0</c:v>
                      </c:pt>
                      <c:pt idx="9183">
                        <c:v>0</c:v>
                      </c:pt>
                      <c:pt idx="9184">
                        <c:v>0</c:v>
                      </c:pt>
                      <c:pt idx="9185">
                        <c:v>0</c:v>
                      </c:pt>
                      <c:pt idx="9186">
                        <c:v>0</c:v>
                      </c:pt>
                      <c:pt idx="9187">
                        <c:v>0</c:v>
                      </c:pt>
                      <c:pt idx="9188">
                        <c:v>0</c:v>
                      </c:pt>
                      <c:pt idx="9189">
                        <c:v>0</c:v>
                      </c:pt>
                      <c:pt idx="9190">
                        <c:v>0</c:v>
                      </c:pt>
                      <c:pt idx="9191">
                        <c:v>0</c:v>
                      </c:pt>
                      <c:pt idx="9192">
                        <c:v>0</c:v>
                      </c:pt>
                      <c:pt idx="9193">
                        <c:v>0</c:v>
                      </c:pt>
                      <c:pt idx="9194">
                        <c:v>0</c:v>
                      </c:pt>
                      <c:pt idx="9195">
                        <c:v>0</c:v>
                      </c:pt>
                      <c:pt idx="9196">
                        <c:v>0</c:v>
                      </c:pt>
                      <c:pt idx="9197">
                        <c:v>0</c:v>
                      </c:pt>
                      <c:pt idx="9198">
                        <c:v>0</c:v>
                      </c:pt>
                      <c:pt idx="9199">
                        <c:v>0</c:v>
                      </c:pt>
                      <c:pt idx="9200">
                        <c:v>0</c:v>
                      </c:pt>
                      <c:pt idx="9201">
                        <c:v>0</c:v>
                      </c:pt>
                      <c:pt idx="9202">
                        <c:v>0</c:v>
                      </c:pt>
                      <c:pt idx="9203">
                        <c:v>0</c:v>
                      </c:pt>
                      <c:pt idx="9204">
                        <c:v>0</c:v>
                      </c:pt>
                      <c:pt idx="9205">
                        <c:v>0</c:v>
                      </c:pt>
                      <c:pt idx="9206">
                        <c:v>0</c:v>
                      </c:pt>
                      <c:pt idx="9207">
                        <c:v>0</c:v>
                      </c:pt>
                      <c:pt idx="9208">
                        <c:v>0</c:v>
                      </c:pt>
                      <c:pt idx="9209">
                        <c:v>0</c:v>
                      </c:pt>
                      <c:pt idx="9210">
                        <c:v>0</c:v>
                      </c:pt>
                      <c:pt idx="9211">
                        <c:v>0</c:v>
                      </c:pt>
                      <c:pt idx="9212">
                        <c:v>0</c:v>
                      </c:pt>
                      <c:pt idx="9213">
                        <c:v>0</c:v>
                      </c:pt>
                      <c:pt idx="9214">
                        <c:v>0</c:v>
                      </c:pt>
                      <c:pt idx="9215">
                        <c:v>0</c:v>
                      </c:pt>
                      <c:pt idx="9216">
                        <c:v>0</c:v>
                      </c:pt>
                      <c:pt idx="9217">
                        <c:v>0</c:v>
                      </c:pt>
                      <c:pt idx="9218">
                        <c:v>0</c:v>
                      </c:pt>
                      <c:pt idx="9219">
                        <c:v>0</c:v>
                      </c:pt>
                      <c:pt idx="9220">
                        <c:v>0</c:v>
                      </c:pt>
                      <c:pt idx="9221">
                        <c:v>0</c:v>
                      </c:pt>
                      <c:pt idx="9222">
                        <c:v>0</c:v>
                      </c:pt>
                      <c:pt idx="9223">
                        <c:v>0</c:v>
                      </c:pt>
                      <c:pt idx="9224">
                        <c:v>0</c:v>
                      </c:pt>
                      <c:pt idx="9225">
                        <c:v>0</c:v>
                      </c:pt>
                      <c:pt idx="9226">
                        <c:v>0</c:v>
                      </c:pt>
                      <c:pt idx="9227">
                        <c:v>0</c:v>
                      </c:pt>
                      <c:pt idx="9228">
                        <c:v>0</c:v>
                      </c:pt>
                      <c:pt idx="9229">
                        <c:v>0</c:v>
                      </c:pt>
                      <c:pt idx="9230">
                        <c:v>0</c:v>
                      </c:pt>
                      <c:pt idx="9231">
                        <c:v>0</c:v>
                      </c:pt>
                      <c:pt idx="9232">
                        <c:v>0</c:v>
                      </c:pt>
                      <c:pt idx="9233">
                        <c:v>0</c:v>
                      </c:pt>
                      <c:pt idx="9234">
                        <c:v>0</c:v>
                      </c:pt>
                      <c:pt idx="9235">
                        <c:v>0</c:v>
                      </c:pt>
                      <c:pt idx="9236">
                        <c:v>0</c:v>
                      </c:pt>
                      <c:pt idx="9237">
                        <c:v>0</c:v>
                      </c:pt>
                      <c:pt idx="9238">
                        <c:v>0</c:v>
                      </c:pt>
                      <c:pt idx="9239">
                        <c:v>0</c:v>
                      </c:pt>
                      <c:pt idx="9240">
                        <c:v>0</c:v>
                      </c:pt>
                      <c:pt idx="9241">
                        <c:v>0</c:v>
                      </c:pt>
                      <c:pt idx="9242">
                        <c:v>0</c:v>
                      </c:pt>
                      <c:pt idx="9243">
                        <c:v>0</c:v>
                      </c:pt>
                      <c:pt idx="9244">
                        <c:v>0</c:v>
                      </c:pt>
                      <c:pt idx="9245">
                        <c:v>0</c:v>
                      </c:pt>
                      <c:pt idx="9246">
                        <c:v>0</c:v>
                      </c:pt>
                      <c:pt idx="9247">
                        <c:v>0</c:v>
                      </c:pt>
                      <c:pt idx="9248">
                        <c:v>0</c:v>
                      </c:pt>
                      <c:pt idx="9249">
                        <c:v>0</c:v>
                      </c:pt>
                      <c:pt idx="9250">
                        <c:v>0</c:v>
                      </c:pt>
                      <c:pt idx="9251">
                        <c:v>0</c:v>
                      </c:pt>
                      <c:pt idx="9252">
                        <c:v>0</c:v>
                      </c:pt>
                      <c:pt idx="9253">
                        <c:v>0</c:v>
                      </c:pt>
                      <c:pt idx="9254">
                        <c:v>0</c:v>
                      </c:pt>
                      <c:pt idx="9255">
                        <c:v>0</c:v>
                      </c:pt>
                      <c:pt idx="9256">
                        <c:v>0</c:v>
                      </c:pt>
                      <c:pt idx="9257">
                        <c:v>0</c:v>
                      </c:pt>
                      <c:pt idx="9258">
                        <c:v>0</c:v>
                      </c:pt>
                      <c:pt idx="9259">
                        <c:v>0</c:v>
                      </c:pt>
                      <c:pt idx="9260">
                        <c:v>0</c:v>
                      </c:pt>
                      <c:pt idx="9261">
                        <c:v>0</c:v>
                      </c:pt>
                      <c:pt idx="9262">
                        <c:v>0</c:v>
                      </c:pt>
                      <c:pt idx="9263">
                        <c:v>0</c:v>
                      </c:pt>
                      <c:pt idx="9264">
                        <c:v>0</c:v>
                      </c:pt>
                      <c:pt idx="9265">
                        <c:v>0</c:v>
                      </c:pt>
                      <c:pt idx="9266">
                        <c:v>0</c:v>
                      </c:pt>
                      <c:pt idx="9267">
                        <c:v>0</c:v>
                      </c:pt>
                      <c:pt idx="9268">
                        <c:v>0</c:v>
                      </c:pt>
                      <c:pt idx="9269">
                        <c:v>0</c:v>
                      </c:pt>
                      <c:pt idx="9270">
                        <c:v>0</c:v>
                      </c:pt>
                      <c:pt idx="9271">
                        <c:v>0</c:v>
                      </c:pt>
                      <c:pt idx="9272">
                        <c:v>0</c:v>
                      </c:pt>
                      <c:pt idx="9273">
                        <c:v>0</c:v>
                      </c:pt>
                      <c:pt idx="9274">
                        <c:v>0</c:v>
                      </c:pt>
                      <c:pt idx="9275">
                        <c:v>0</c:v>
                      </c:pt>
                      <c:pt idx="9276">
                        <c:v>0</c:v>
                      </c:pt>
                      <c:pt idx="9277">
                        <c:v>0</c:v>
                      </c:pt>
                      <c:pt idx="9278">
                        <c:v>0</c:v>
                      </c:pt>
                      <c:pt idx="9279">
                        <c:v>0</c:v>
                      </c:pt>
                      <c:pt idx="9280">
                        <c:v>0</c:v>
                      </c:pt>
                      <c:pt idx="9281">
                        <c:v>0</c:v>
                      </c:pt>
                      <c:pt idx="9282">
                        <c:v>0</c:v>
                      </c:pt>
                      <c:pt idx="9283">
                        <c:v>0</c:v>
                      </c:pt>
                      <c:pt idx="9284">
                        <c:v>0</c:v>
                      </c:pt>
                      <c:pt idx="9285">
                        <c:v>0</c:v>
                      </c:pt>
                      <c:pt idx="9286">
                        <c:v>0</c:v>
                      </c:pt>
                      <c:pt idx="9287">
                        <c:v>0</c:v>
                      </c:pt>
                      <c:pt idx="9288">
                        <c:v>0</c:v>
                      </c:pt>
                      <c:pt idx="9289">
                        <c:v>0</c:v>
                      </c:pt>
                      <c:pt idx="9290">
                        <c:v>0</c:v>
                      </c:pt>
                      <c:pt idx="9291">
                        <c:v>0</c:v>
                      </c:pt>
                      <c:pt idx="9292">
                        <c:v>0</c:v>
                      </c:pt>
                      <c:pt idx="9293">
                        <c:v>0</c:v>
                      </c:pt>
                      <c:pt idx="9294">
                        <c:v>0</c:v>
                      </c:pt>
                      <c:pt idx="9295">
                        <c:v>0</c:v>
                      </c:pt>
                      <c:pt idx="9296">
                        <c:v>0</c:v>
                      </c:pt>
                      <c:pt idx="9297">
                        <c:v>0</c:v>
                      </c:pt>
                      <c:pt idx="9298">
                        <c:v>0</c:v>
                      </c:pt>
                      <c:pt idx="9299">
                        <c:v>0</c:v>
                      </c:pt>
                      <c:pt idx="9300">
                        <c:v>0</c:v>
                      </c:pt>
                      <c:pt idx="9301">
                        <c:v>0</c:v>
                      </c:pt>
                      <c:pt idx="9302">
                        <c:v>0</c:v>
                      </c:pt>
                      <c:pt idx="9303">
                        <c:v>0</c:v>
                      </c:pt>
                      <c:pt idx="9304">
                        <c:v>0</c:v>
                      </c:pt>
                      <c:pt idx="9305">
                        <c:v>0</c:v>
                      </c:pt>
                      <c:pt idx="9306">
                        <c:v>0</c:v>
                      </c:pt>
                      <c:pt idx="9307">
                        <c:v>0</c:v>
                      </c:pt>
                      <c:pt idx="9308">
                        <c:v>0</c:v>
                      </c:pt>
                      <c:pt idx="9309">
                        <c:v>0</c:v>
                      </c:pt>
                      <c:pt idx="9310">
                        <c:v>0</c:v>
                      </c:pt>
                      <c:pt idx="9311">
                        <c:v>0</c:v>
                      </c:pt>
                      <c:pt idx="9312">
                        <c:v>0</c:v>
                      </c:pt>
                      <c:pt idx="9313">
                        <c:v>0</c:v>
                      </c:pt>
                      <c:pt idx="9314">
                        <c:v>0</c:v>
                      </c:pt>
                      <c:pt idx="9315">
                        <c:v>0</c:v>
                      </c:pt>
                      <c:pt idx="9316">
                        <c:v>0</c:v>
                      </c:pt>
                      <c:pt idx="9317">
                        <c:v>0</c:v>
                      </c:pt>
                      <c:pt idx="9318">
                        <c:v>0</c:v>
                      </c:pt>
                      <c:pt idx="9319">
                        <c:v>0</c:v>
                      </c:pt>
                      <c:pt idx="9320">
                        <c:v>0</c:v>
                      </c:pt>
                      <c:pt idx="9321">
                        <c:v>0</c:v>
                      </c:pt>
                      <c:pt idx="9322">
                        <c:v>0</c:v>
                      </c:pt>
                      <c:pt idx="9323">
                        <c:v>0</c:v>
                      </c:pt>
                      <c:pt idx="9324">
                        <c:v>0</c:v>
                      </c:pt>
                      <c:pt idx="9325">
                        <c:v>0</c:v>
                      </c:pt>
                      <c:pt idx="9326">
                        <c:v>0</c:v>
                      </c:pt>
                      <c:pt idx="9327">
                        <c:v>0</c:v>
                      </c:pt>
                      <c:pt idx="9328">
                        <c:v>0</c:v>
                      </c:pt>
                      <c:pt idx="9329">
                        <c:v>0</c:v>
                      </c:pt>
                      <c:pt idx="9330">
                        <c:v>0</c:v>
                      </c:pt>
                      <c:pt idx="9331">
                        <c:v>0</c:v>
                      </c:pt>
                      <c:pt idx="9332">
                        <c:v>0</c:v>
                      </c:pt>
                      <c:pt idx="9333">
                        <c:v>0</c:v>
                      </c:pt>
                      <c:pt idx="9334">
                        <c:v>0</c:v>
                      </c:pt>
                      <c:pt idx="9335">
                        <c:v>0</c:v>
                      </c:pt>
                      <c:pt idx="9336">
                        <c:v>0</c:v>
                      </c:pt>
                      <c:pt idx="9337">
                        <c:v>0</c:v>
                      </c:pt>
                      <c:pt idx="9338">
                        <c:v>0</c:v>
                      </c:pt>
                      <c:pt idx="9339">
                        <c:v>0</c:v>
                      </c:pt>
                      <c:pt idx="9340">
                        <c:v>0</c:v>
                      </c:pt>
                      <c:pt idx="9341">
                        <c:v>0</c:v>
                      </c:pt>
                      <c:pt idx="9342">
                        <c:v>0</c:v>
                      </c:pt>
                      <c:pt idx="9343">
                        <c:v>0</c:v>
                      </c:pt>
                      <c:pt idx="9344">
                        <c:v>0</c:v>
                      </c:pt>
                      <c:pt idx="9345">
                        <c:v>0</c:v>
                      </c:pt>
                      <c:pt idx="9346">
                        <c:v>0</c:v>
                      </c:pt>
                      <c:pt idx="9347">
                        <c:v>0</c:v>
                      </c:pt>
                      <c:pt idx="9348">
                        <c:v>0</c:v>
                      </c:pt>
                      <c:pt idx="9349">
                        <c:v>0</c:v>
                      </c:pt>
                      <c:pt idx="9350">
                        <c:v>0</c:v>
                      </c:pt>
                      <c:pt idx="9351">
                        <c:v>0</c:v>
                      </c:pt>
                      <c:pt idx="9352">
                        <c:v>0</c:v>
                      </c:pt>
                      <c:pt idx="9353">
                        <c:v>0</c:v>
                      </c:pt>
                      <c:pt idx="9354">
                        <c:v>0</c:v>
                      </c:pt>
                      <c:pt idx="9355">
                        <c:v>0</c:v>
                      </c:pt>
                      <c:pt idx="9356">
                        <c:v>0</c:v>
                      </c:pt>
                      <c:pt idx="9357">
                        <c:v>0</c:v>
                      </c:pt>
                      <c:pt idx="9358">
                        <c:v>0</c:v>
                      </c:pt>
                      <c:pt idx="9359">
                        <c:v>0</c:v>
                      </c:pt>
                      <c:pt idx="9360">
                        <c:v>0</c:v>
                      </c:pt>
                      <c:pt idx="9361">
                        <c:v>0</c:v>
                      </c:pt>
                      <c:pt idx="9362">
                        <c:v>0</c:v>
                      </c:pt>
                      <c:pt idx="9363">
                        <c:v>0</c:v>
                      </c:pt>
                      <c:pt idx="9364">
                        <c:v>0</c:v>
                      </c:pt>
                      <c:pt idx="9365">
                        <c:v>0</c:v>
                      </c:pt>
                      <c:pt idx="9366">
                        <c:v>0</c:v>
                      </c:pt>
                      <c:pt idx="9367">
                        <c:v>0</c:v>
                      </c:pt>
                      <c:pt idx="9368">
                        <c:v>0</c:v>
                      </c:pt>
                      <c:pt idx="9369">
                        <c:v>0</c:v>
                      </c:pt>
                      <c:pt idx="9370">
                        <c:v>0</c:v>
                      </c:pt>
                      <c:pt idx="9371">
                        <c:v>0</c:v>
                      </c:pt>
                      <c:pt idx="9372">
                        <c:v>0</c:v>
                      </c:pt>
                      <c:pt idx="9373">
                        <c:v>0</c:v>
                      </c:pt>
                      <c:pt idx="9374">
                        <c:v>0</c:v>
                      </c:pt>
                      <c:pt idx="9375">
                        <c:v>0</c:v>
                      </c:pt>
                      <c:pt idx="9376">
                        <c:v>0</c:v>
                      </c:pt>
                      <c:pt idx="9377">
                        <c:v>0</c:v>
                      </c:pt>
                      <c:pt idx="9378">
                        <c:v>0</c:v>
                      </c:pt>
                      <c:pt idx="9379">
                        <c:v>0</c:v>
                      </c:pt>
                      <c:pt idx="9380">
                        <c:v>0</c:v>
                      </c:pt>
                      <c:pt idx="9381">
                        <c:v>0</c:v>
                      </c:pt>
                      <c:pt idx="9382">
                        <c:v>0</c:v>
                      </c:pt>
                      <c:pt idx="9383">
                        <c:v>0</c:v>
                      </c:pt>
                      <c:pt idx="9384">
                        <c:v>0</c:v>
                      </c:pt>
                      <c:pt idx="9385">
                        <c:v>0</c:v>
                      </c:pt>
                      <c:pt idx="9386">
                        <c:v>0</c:v>
                      </c:pt>
                      <c:pt idx="9387">
                        <c:v>0</c:v>
                      </c:pt>
                      <c:pt idx="9388">
                        <c:v>0</c:v>
                      </c:pt>
                      <c:pt idx="9389">
                        <c:v>0</c:v>
                      </c:pt>
                      <c:pt idx="9390">
                        <c:v>0</c:v>
                      </c:pt>
                      <c:pt idx="9391">
                        <c:v>0</c:v>
                      </c:pt>
                      <c:pt idx="9392">
                        <c:v>0</c:v>
                      </c:pt>
                      <c:pt idx="9393">
                        <c:v>0</c:v>
                      </c:pt>
                      <c:pt idx="9394">
                        <c:v>0</c:v>
                      </c:pt>
                      <c:pt idx="9395">
                        <c:v>0</c:v>
                      </c:pt>
                      <c:pt idx="9396">
                        <c:v>0</c:v>
                      </c:pt>
                      <c:pt idx="9397">
                        <c:v>0</c:v>
                      </c:pt>
                      <c:pt idx="9398">
                        <c:v>0</c:v>
                      </c:pt>
                      <c:pt idx="9399">
                        <c:v>0</c:v>
                      </c:pt>
                      <c:pt idx="9400">
                        <c:v>0</c:v>
                      </c:pt>
                      <c:pt idx="9401">
                        <c:v>0</c:v>
                      </c:pt>
                      <c:pt idx="9402">
                        <c:v>0</c:v>
                      </c:pt>
                      <c:pt idx="9403">
                        <c:v>0</c:v>
                      </c:pt>
                      <c:pt idx="9404">
                        <c:v>0</c:v>
                      </c:pt>
                      <c:pt idx="9405">
                        <c:v>0</c:v>
                      </c:pt>
                      <c:pt idx="9406">
                        <c:v>0</c:v>
                      </c:pt>
                      <c:pt idx="9407">
                        <c:v>0</c:v>
                      </c:pt>
                      <c:pt idx="9408">
                        <c:v>0</c:v>
                      </c:pt>
                      <c:pt idx="9409">
                        <c:v>0</c:v>
                      </c:pt>
                      <c:pt idx="9410">
                        <c:v>0</c:v>
                      </c:pt>
                      <c:pt idx="9411">
                        <c:v>0</c:v>
                      </c:pt>
                      <c:pt idx="9412">
                        <c:v>0</c:v>
                      </c:pt>
                      <c:pt idx="9413">
                        <c:v>0</c:v>
                      </c:pt>
                      <c:pt idx="9414">
                        <c:v>0</c:v>
                      </c:pt>
                      <c:pt idx="9415">
                        <c:v>0</c:v>
                      </c:pt>
                      <c:pt idx="9416">
                        <c:v>0</c:v>
                      </c:pt>
                      <c:pt idx="9417">
                        <c:v>0</c:v>
                      </c:pt>
                      <c:pt idx="9418">
                        <c:v>0</c:v>
                      </c:pt>
                      <c:pt idx="9419">
                        <c:v>0</c:v>
                      </c:pt>
                      <c:pt idx="9420">
                        <c:v>0</c:v>
                      </c:pt>
                      <c:pt idx="9421">
                        <c:v>0</c:v>
                      </c:pt>
                      <c:pt idx="9422">
                        <c:v>0</c:v>
                      </c:pt>
                      <c:pt idx="9423">
                        <c:v>0</c:v>
                      </c:pt>
                      <c:pt idx="9424">
                        <c:v>0</c:v>
                      </c:pt>
                      <c:pt idx="9425">
                        <c:v>0</c:v>
                      </c:pt>
                      <c:pt idx="9426">
                        <c:v>0</c:v>
                      </c:pt>
                      <c:pt idx="9427">
                        <c:v>0</c:v>
                      </c:pt>
                      <c:pt idx="9428">
                        <c:v>0</c:v>
                      </c:pt>
                      <c:pt idx="9429">
                        <c:v>0</c:v>
                      </c:pt>
                      <c:pt idx="9430">
                        <c:v>0</c:v>
                      </c:pt>
                      <c:pt idx="9431">
                        <c:v>0</c:v>
                      </c:pt>
                      <c:pt idx="9432">
                        <c:v>0</c:v>
                      </c:pt>
                      <c:pt idx="9433">
                        <c:v>0</c:v>
                      </c:pt>
                      <c:pt idx="9434">
                        <c:v>0</c:v>
                      </c:pt>
                      <c:pt idx="9435">
                        <c:v>0</c:v>
                      </c:pt>
                      <c:pt idx="9436">
                        <c:v>0</c:v>
                      </c:pt>
                      <c:pt idx="9437">
                        <c:v>0</c:v>
                      </c:pt>
                      <c:pt idx="9438">
                        <c:v>0</c:v>
                      </c:pt>
                      <c:pt idx="9439">
                        <c:v>0</c:v>
                      </c:pt>
                      <c:pt idx="9440">
                        <c:v>0</c:v>
                      </c:pt>
                      <c:pt idx="9441">
                        <c:v>0</c:v>
                      </c:pt>
                      <c:pt idx="9442">
                        <c:v>0</c:v>
                      </c:pt>
                      <c:pt idx="9443">
                        <c:v>0</c:v>
                      </c:pt>
                      <c:pt idx="9444">
                        <c:v>0</c:v>
                      </c:pt>
                      <c:pt idx="9445">
                        <c:v>0</c:v>
                      </c:pt>
                      <c:pt idx="9446">
                        <c:v>0</c:v>
                      </c:pt>
                      <c:pt idx="9447">
                        <c:v>0</c:v>
                      </c:pt>
                      <c:pt idx="9448">
                        <c:v>0</c:v>
                      </c:pt>
                      <c:pt idx="9449">
                        <c:v>0</c:v>
                      </c:pt>
                      <c:pt idx="9450">
                        <c:v>0</c:v>
                      </c:pt>
                      <c:pt idx="9451">
                        <c:v>0</c:v>
                      </c:pt>
                      <c:pt idx="9452">
                        <c:v>0</c:v>
                      </c:pt>
                      <c:pt idx="9453">
                        <c:v>0</c:v>
                      </c:pt>
                      <c:pt idx="9454">
                        <c:v>0</c:v>
                      </c:pt>
                      <c:pt idx="9455">
                        <c:v>0</c:v>
                      </c:pt>
                      <c:pt idx="9456">
                        <c:v>0</c:v>
                      </c:pt>
                      <c:pt idx="9457">
                        <c:v>0</c:v>
                      </c:pt>
                      <c:pt idx="9458">
                        <c:v>0</c:v>
                      </c:pt>
                      <c:pt idx="9459">
                        <c:v>0</c:v>
                      </c:pt>
                      <c:pt idx="9460">
                        <c:v>0</c:v>
                      </c:pt>
                      <c:pt idx="9461">
                        <c:v>0</c:v>
                      </c:pt>
                      <c:pt idx="9462">
                        <c:v>0</c:v>
                      </c:pt>
                      <c:pt idx="9463">
                        <c:v>0</c:v>
                      </c:pt>
                      <c:pt idx="9464">
                        <c:v>0</c:v>
                      </c:pt>
                      <c:pt idx="9465">
                        <c:v>0</c:v>
                      </c:pt>
                      <c:pt idx="9466">
                        <c:v>0</c:v>
                      </c:pt>
                      <c:pt idx="9467">
                        <c:v>0</c:v>
                      </c:pt>
                      <c:pt idx="9468">
                        <c:v>0</c:v>
                      </c:pt>
                      <c:pt idx="9469">
                        <c:v>0</c:v>
                      </c:pt>
                      <c:pt idx="9470">
                        <c:v>0</c:v>
                      </c:pt>
                      <c:pt idx="9471">
                        <c:v>0</c:v>
                      </c:pt>
                      <c:pt idx="9472">
                        <c:v>0</c:v>
                      </c:pt>
                      <c:pt idx="9473">
                        <c:v>0</c:v>
                      </c:pt>
                      <c:pt idx="9474">
                        <c:v>0</c:v>
                      </c:pt>
                      <c:pt idx="9475">
                        <c:v>0</c:v>
                      </c:pt>
                      <c:pt idx="9476">
                        <c:v>0</c:v>
                      </c:pt>
                      <c:pt idx="9477">
                        <c:v>0</c:v>
                      </c:pt>
                      <c:pt idx="9478">
                        <c:v>0</c:v>
                      </c:pt>
                      <c:pt idx="9479">
                        <c:v>0</c:v>
                      </c:pt>
                      <c:pt idx="9480">
                        <c:v>0</c:v>
                      </c:pt>
                      <c:pt idx="9481">
                        <c:v>0</c:v>
                      </c:pt>
                      <c:pt idx="9482">
                        <c:v>0</c:v>
                      </c:pt>
                      <c:pt idx="9483">
                        <c:v>0</c:v>
                      </c:pt>
                      <c:pt idx="9484">
                        <c:v>0</c:v>
                      </c:pt>
                      <c:pt idx="9485">
                        <c:v>0</c:v>
                      </c:pt>
                      <c:pt idx="9486">
                        <c:v>0</c:v>
                      </c:pt>
                      <c:pt idx="9487">
                        <c:v>0</c:v>
                      </c:pt>
                      <c:pt idx="9488">
                        <c:v>0</c:v>
                      </c:pt>
                      <c:pt idx="9489">
                        <c:v>0</c:v>
                      </c:pt>
                      <c:pt idx="9490">
                        <c:v>0</c:v>
                      </c:pt>
                      <c:pt idx="9491">
                        <c:v>0</c:v>
                      </c:pt>
                      <c:pt idx="9492">
                        <c:v>0</c:v>
                      </c:pt>
                      <c:pt idx="9493">
                        <c:v>0</c:v>
                      </c:pt>
                      <c:pt idx="9494">
                        <c:v>0</c:v>
                      </c:pt>
                      <c:pt idx="9495">
                        <c:v>0</c:v>
                      </c:pt>
                      <c:pt idx="9496">
                        <c:v>0</c:v>
                      </c:pt>
                      <c:pt idx="9497">
                        <c:v>0</c:v>
                      </c:pt>
                      <c:pt idx="9498">
                        <c:v>0</c:v>
                      </c:pt>
                      <c:pt idx="9499">
                        <c:v>0</c:v>
                      </c:pt>
                      <c:pt idx="9500">
                        <c:v>0</c:v>
                      </c:pt>
                      <c:pt idx="9501">
                        <c:v>0</c:v>
                      </c:pt>
                      <c:pt idx="9502">
                        <c:v>0</c:v>
                      </c:pt>
                      <c:pt idx="9503">
                        <c:v>0</c:v>
                      </c:pt>
                      <c:pt idx="9504">
                        <c:v>0</c:v>
                      </c:pt>
                      <c:pt idx="9505">
                        <c:v>0</c:v>
                      </c:pt>
                      <c:pt idx="9506">
                        <c:v>0</c:v>
                      </c:pt>
                      <c:pt idx="9507">
                        <c:v>0</c:v>
                      </c:pt>
                      <c:pt idx="9508">
                        <c:v>0</c:v>
                      </c:pt>
                      <c:pt idx="9509">
                        <c:v>0</c:v>
                      </c:pt>
                      <c:pt idx="9510">
                        <c:v>0</c:v>
                      </c:pt>
                      <c:pt idx="9511">
                        <c:v>0</c:v>
                      </c:pt>
                      <c:pt idx="9512">
                        <c:v>0</c:v>
                      </c:pt>
                      <c:pt idx="9513">
                        <c:v>0</c:v>
                      </c:pt>
                      <c:pt idx="9514">
                        <c:v>0</c:v>
                      </c:pt>
                      <c:pt idx="9515">
                        <c:v>0</c:v>
                      </c:pt>
                      <c:pt idx="9516">
                        <c:v>0</c:v>
                      </c:pt>
                      <c:pt idx="9517">
                        <c:v>0</c:v>
                      </c:pt>
                      <c:pt idx="9518">
                        <c:v>0</c:v>
                      </c:pt>
                      <c:pt idx="9519">
                        <c:v>0</c:v>
                      </c:pt>
                      <c:pt idx="9520">
                        <c:v>0</c:v>
                      </c:pt>
                      <c:pt idx="9521">
                        <c:v>0</c:v>
                      </c:pt>
                      <c:pt idx="9522">
                        <c:v>0</c:v>
                      </c:pt>
                      <c:pt idx="9523">
                        <c:v>0</c:v>
                      </c:pt>
                      <c:pt idx="9524">
                        <c:v>0</c:v>
                      </c:pt>
                      <c:pt idx="9525">
                        <c:v>0</c:v>
                      </c:pt>
                      <c:pt idx="9526">
                        <c:v>0</c:v>
                      </c:pt>
                      <c:pt idx="9527">
                        <c:v>0</c:v>
                      </c:pt>
                      <c:pt idx="9528">
                        <c:v>0</c:v>
                      </c:pt>
                      <c:pt idx="9529">
                        <c:v>0</c:v>
                      </c:pt>
                      <c:pt idx="9530">
                        <c:v>0</c:v>
                      </c:pt>
                      <c:pt idx="9531">
                        <c:v>0</c:v>
                      </c:pt>
                      <c:pt idx="9532">
                        <c:v>0</c:v>
                      </c:pt>
                      <c:pt idx="9533">
                        <c:v>0</c:v>
                      </c:pt>
                      <c:pt idx="9534">
                        <c:v>0</c:v>
                      </c:pt>
                      <c:pt idx="9535">
                        <c:v>0</c:v>
                      </c:pt>
                      <c:pt idx="9536">
                        <c:v>0</c:v>
                      </c:pt>
                      <c:pt idx="9537">
                        <c:v>0</c:v>
                      </c:pt>
                      <c:pt idx="9538">
                        <c:v>0</c:v>
                      </c:pt>
                      <c:pt idx="9539">
                        <c:v>0</c:v>
                      </c:pt>
                      <c:pt idx="9540">
                        <c:v>0</c:v>
                      </c:pt>
                      <c:pt idx="9541">
                        <c:v>0</c:v>
                      </c:pt>
                      <c:pt idx="9542">
                        <c:v>0</c:v>
                      </c:pt>
                      <c:pt idx="9543">
                        <c:v>0</c:v>
                      </c:pt>
                      <c:pt idx="9544">
                        <c:v>0</c:v>
                      </c:pt>
                      <c:pt idx="9545">
                        <c:v>0</c:v>
                      </c:pt>
                      <c:pt idx="9546">
                        <c:v>0</c:v>
                      </c:pt>
                      <c:pt idx="9547">
                        <c:v>0</c:v>
                      </c:pt>
                      <c:pt idx="9548">
                        <c:v>0</c:v>
                      </c:pt>
                      <c:pt idx="9549">
                        <c:v>0</c:v>
                      </c:pt>
                      <c:pt idx="9550">
                        <c:v>0</c:v>
                      </c:pt>
                      <c:pt idx="9551">
                        <c:v>0</c:v>
                      </c:pt>
                      <c:pt idx="9552">
                        <c:v>0</c:v>
                      </c:pt>
                      <c:pt idx="9553">
                        <c:v>0</c:v>
                      </c:pt>
                      <c:pt idx="9554">
                        <c:v>0</c:v>
                      </c:pt>
                      <c:pt idx="9555">
                        <c:v>0</c:v>
                      </c:pt>
                      <c:pt idx="9556">
                        <c:v>0</c:v>
                      </c:pt>
                      <c:pt idx="9557">
                        <c:v>0</c:v>
                      </c:pt>
                      <c:pt idx="9558">
                        <c:v>0</c:v>
                      </c:pt>
                      <c:pt idx="9559">
                        <c:v>0</c:v>
                      </c:pt>
                      <c:pt idx="9560">
                        <c:v>0</c:v>
                      </c:pt>
                      <c:pt idx="9561">
                        <c:v>0</c:v>
                      </c:pt>
                      <c:pt idx="9562">
                        <c:v>0</c:v>
                      </c:pt>
                      <c:pt idx="9563">
                        <c:v>0</c:v>
                      </c:pt>
                      <c:pt idx="9564">
                        <c:v>0</c:v>
                      </c:pt>
                      <c:pt idx="9565">
                        <c:v>0</c:v>
                      </c:pt>
                      <c:pt idx="9566">
                        <c:v>0</c:v>
                      </c:pt>
                      <c:pt idx="9567">
                        <c:v>0</c:v>
                      </c:pt>
                      <c:pt idx="9568">
                        <c:v>0</c:v>
                      </c:pt>
                      <c:pt idx="9569">
                        <c:v>0</c:v>
                      </c:pt>
                      <c:pt idx="9570">
                        <c:v>0</c:v>
                      </c:pt>
                      <c:pt idx="9571">
                        <c:v>0</c:v>
                      </c:pt>
                      <c:pt idx="9572">
                        <c:v>0</c:v>
                      </c:pt>
                      <c:pt idx="9573">
                        <c:v>0</c:v>
                      </c:pt>
                      <c:pt idx="9574">
                        <c:v>0</c:v>
                      </c:pt>
                      <c:pt idx="9575">
                        <c:v>0</c:v>
                      </c:pt>
                      <c:pt idx="9576">
                        <c:v>0</c:v>
                      </c:pt>
                      <c:pt idx="9577">
                        <c:v>0</c:v>
                      </c:pt>
                      <c:pt idx="9578">
                        <c:v>0</c:v>
                      </c:pt>
                      <c:pt idx="9579">
                        <c:v>0</c:v>
                      </c:pt>
                      <c:pt idx="9580">
                        <c:v>0</c:v>
                      </c:pt>
                      <c:pt idx="9581">
                        <c:v>0</c:v>
                      </c:pt>
                      <c:pt idx="9582">
                        <c:v>0</c:v>
                      </c:pt>
                      <c:pt idx="9583">
                        <c:v>0</c:v>
                      </c:pt>
                      <c:pt idx="9584">
                        <c:v>0</c:v>
                      </c:pt>
                      <c:pt idx="9585">
                        <c:v>0</c:v>
                      </c:pt>
                      <c:pt idx="9586">
                        <c:v>0</c:v>
                      </c:pt>
                      <c:pt idx="9587">
                        <c:v>0</c:v>
                      </c:pt>
                      <c:pt idx="9588">
                        <c:v>0</c:v>
                      </c:pt>
                      <c:pt idx="9589">
                        <c:v>0</c:v>
                      </c:pt>
                      <c:pt idx="9590">
                        <c:v>0</c:v>
                      </c:pt>
                      <c:pt idx="9591">
                        <c:v>0</c:v>
                      </c:pt>
                      <c:pt idx="9592">
                        <c:v>0</c:v>
                      </c:pt>
                      <c:pt idx="9593">
                        <c:v>0</c:v>
                      </c:pt>
                      <c:pt idx="9594">
                        <c:v>0</c:v>
                      </c:pt>
                      <c:pt idx="9595">
                        <c:v>0</c:v>
                      </c:pt>
                      <c:pt idx="9596">
                        <c:v>0</c:v>
                      </c:pt>
                      <c:pt idx="9597">
                        <c:v>0</c:v>
                      </c:pt>
                      <c:pt idx="9598">
                        <c:v>0</c:v>
                      </c:pt>
                      <c:pt idx="9599">
                        <c:v>0</c:v>
                      </c:pt>
                      <c:pt idx="9600">
                        <c:v>0</c:v>
                      </c:pt>
                      <c:pt idx="9601">
                        <c:v>0</c:v>
                      </c:pt>
                      <c:pt idx="9602">
                        <c:v>0</c:v>
                      </c:pt>
                      <c:pt idx="9603">
                        <c:v>0</c:v>
                      </c:pt>
                      <c:pt idx="9604">
                        <c:v>0</c:v>
                      </c:pt>
                      <c:pt idx="9605">
                        <c:v>0</c:v>
                      </c:pt>
                      <c:pt idx="9606">
                        <c:v>0</c:v>
                      </c:pt>
                      <c:pt idx="9607">
                        <c:v>0</c:v>
                      </c:pt>
                      <c:pt idx="9608">
                        <c:v>0</c:v>
                      </c:pt>
                      <c:pt idx="9609">
                        <c:v>0</c:v>
                      </c:pt>
                      <c:pt idx="9610">
                        <c:v>0</c:v>
                      </c:pt>
                      <c:pt idx="9611">
                        <c:v>0</c:v>
                      </c:pt>
                      <c:pt idx="9612">
                        <c:v>0</c:v>
                      </c:pt>
                      <c:pt idx="9613">
                        <c:v>0</c:v>
                      </c:pt>
                      <c:pt idx="9614">
                        <c:v>0</c:v>
                      </c:pt>
                      <c:pt idx="9615">
                        <c:v>0</c:v>
                      </c:pt>
                      <c:pt idx="9616">
                        <c:v>0</c:v>
                      </c:pt>
                      <c:pt idx="9617">
                        <c:v>0</c:v>
                      </c:pt>
                      <c:pt idx="9618">
                        <c:v>0</c:v>
                      </c:pt>
                      <c:pt idx="9619">
                        <c:v>0</c:v>
                      </c:pt>
                      <c:pt idx="9620">
                        <c:v>0</c:v>
                      </c:pt>
                      <c:pt idx="9621">
                        <c:v>0</c:v>
                      </c:pt>
                      <c:pt idx="9622">
                        <c:v>0</c:v>
                      </c:pt>
                      <c:pt idx="9623">
                        <c:v>0</c:v>
                      </c:pt>
                      <c:pt idx="9624">
                        <c:v>0</c:v>
                      </c:pt>
                      <c:pt idx="9625">
                        <c:v>0</c:v>
                      </c:pt>
                      <c:pt idx="9626">
                        <c:v>0</c:v>
                      </c:pt>
                      <c:pt idx="9627">
                        <c:v>0</c:v>
                      </c:pt>
                      <c:pt idx="9628">
                        <c:v>0</c:v>
                      </c:pt>
                      <c:pt idx="9629">
                        <c:v>0</c:v>
                      </c:pt>
                      <c:pt idx="9630">
                        <c:v>0</c:v>
                      </c:pt>
                      <c:pt idx="9631">
                        <c:v>0</c:v>
                      </c:pt>
                      <c:pt idx="9632">
                        <c:v>0</c:v>
                      </c:pt>
                      <c:pt idx="9633">
                        <c:v>0</c:v>
                      </c:pt>
                      <c:pt idx="9634">
                        <c:v>0</c:v>
                      </c:pt>
                      <c:pt idx="9635">
                        <c:v>0</c:v>
                      </c:pt>
                      <c:pt idx="9636">
                        <c:v>0</c:v>
                      </c:pt>
                      <c:pt idx="9637">
                        <c:v>0</c:v>
                      </c:pt>
                      <c:pt idx="9638">
                        <c:v>0</c:v>
                      </c:pt>
                      <c:pt idx="9639">
                        <c:v>0</c:v>
                      </c:pt>
                      <c:pt idx="9640">
                        <c:v>0</c:v>
                      </c:pt>
                      <c:pt idx="9641">
                        <c:v>0</c:v>
                      </c:pt>
                      <c:pt idx="9642">
                        <c:v>0</c:v>
                      </c:pt>
                      <c:pt idx="9643">
                        <c:v>0</c:v>
                      </c:pt>
                      <c:pt idx="9644">
                        <c:v>0</c:v>
                      </c:pt>
                      <c:pt idx="9645">
                        <c:v>0</c:v>
                      </c:pt>
                      <c:pt idx="9646">
                        <c:v>0</c:v>
                      </c:pt>
                      <c:pt idx="9647">
                        <c:v>0</c:v>
                      </c:pt>
                      <c:pt idx="9648">
                        <c:v>0</c:v>
                      </c:pt>
                      <c:pt idx="9649">
                        <c:v>0</c:v>
                      </c:pt>
                      <c:pt idx="9650">
                        <c:v>0</c:v>
                      </c:pt>
                      <c:pt idx="9651">
                        <c:v>0</c:v>
                      </c:pt>
                      <c:pt idx="9652">
                        <c:v>0</c:v>
                      </c:pt>
                      <c:pt idx="9653">
                        <c:v>0</c:v>
                      </c:pt>
                      <c:pt idx="9654">
                        <c:v>0</c:v>
                      </c:pt>
                      <c:pt idx="9655">
                        <c:v>0</c:v>
                      </c:pt>
                      <c:pt idx="9656">
                        <c:v>0</c:v>
                      </c:pt>
                      <c:pt idx="9657">
                        <c:v>0</c:v>
                      </c:pt>
                      <c:pt idx="9658">
                        <c:v>0</c:v>
                      </c:pt>
                      <c:pt idx="9659">
                        <c:v>0</c:v>
                      </c:pt>
                      <c:pt idx="9660">
                        <c:v>0</c:v>
                      </c:pt>
                      <c:pt idx="9661">
                        <c:v>0</c:v>
                      </c:pt>
                      <c:pt idx="9662">
                        <c:v>0</c:v>
                      </c:pt>
                      <c:pt idx="9663">
                        <c:v>0</c:v>
                      </c:pt>
                      <c:pt idx="9664">
                        <c:v>0</c:v>
                      </c:pt>
                      <c:pt idx="9665">
                        <c:v>0</c:v>
                      </c:pt>
                      <c:pt idx="9666">
                        <c:v>0</c:v>
                      </c:pt>
                      <c:pt idx="9667">
                        <c:v>0</c:v>
                      </c:pt>
                      <c:pt idx="9668">
                        <c:v>0</c:v>
                      </c:pt>
                      <c:pt idx="9669">
                        <c:v>0</c:v>
                      </c:pt>
                      <c:pt idx="9670">
                        <c:v>0</c:v>
                      </c:pt>
                      <c:pt idx="9671">
                        <c:v>0</c:v>
                      </c:pt>
                      <c:pt idx="9672">
                        <c:v>0</c:v>
                      </c:pt>
                      <c:pt idx="9673">
                        <c:v>0</c:v>
                      </c:pt>
                      <c:pt idx="9674">
                        <c:v>0</c:v>
                      </c:pt>
                      <c:pt idx="9675">
                        <c:v>0</c:v>
                      </c:pt>
                      <c:pt idx="9676">
                        <c:v>0</c:v>
                      </c:pt>
                      <c:pt idx="9677">
                        <c:v>0</c:v>
                      </c:pt>
                      <c:pt idx="9678">
                        <c:v>0</c:v>
                      </c:pt>
                      <c:pt idx="9679">
                        <c:v>0</c:v>
                      </c:pt>
                      <c:pt idx="9680">
                        <c:v>0</c:v>
                      </c:pt>
                      <c:pt idx="9681">
                        <c:v>0</c:v>
                      </c:pt>
                      <c:pt idx="9682">
                        <c:v>0</c:v>
                      </c:pt>
                      <c:pt idx="9683">
                        <c:v>0</c:v>
                      </c:pt>
                      <c:pt idx="9684">
                        <c:v>0</c:v>
                      </c:pt>
                      <c:pt idx="9685">
                        <c:v>0</c:v>
                      </c:pt>
                      <c:pt idx="9686">
                        <c:v>0</c:v>
                      </c:pt>
                      <c:pt idx="9687">
                        <c:v>0</c:v>
                      </c:pt>
                      <c:pt idx="9688">
                        <c:v>0</c:v>
                      </c:pt>
                      <c:pt idx="9689">
                        <c:v>0</c:v>
                      </c:pt>
                      <c:pt idx="9690">
                        <c:v>0</c:v>
                      </c:pt>
                      <c:pt idx="9691">
                        <c:v>0</c:v>
                      </c:pt>
                      <c:pt idx="9692">
                        <c:v>0</c:v>
                      </c:pt>
                      <c:pt idx="9693">
                        <c:v>0</c:v>
                      </c:pt>
                      <c:pt idx="9694">
                        <c:v>0</c:v>
                      </c:pt>
                      <c:pt idx="9695">
                        <c:v>0</c:v>
                      </c:pt>
                      <c:pt idx="9696">
                        <c:v>0</c:v>
                      </c:pt>
                      <c:pt idx="9697">
                        <c:v>0</c:v>
                      </c:pt>
                      <c:pt idx="9698">
                        <c:v>0</c:v>
                      </c:pt>
                      <c:pt idx="9699">
                        <c:v>0</c:v>
                      </c:pt>
                      <c:pt idx="9700">
                        <c:v>0</c:v>
                      </c:pt>
                      <c:pt idx="9701">
                        <c:v>0</c:v>
                      </c:pt>
                      <c:pt idx="9702">
                        <c:v>0</c:v>
                      </c:pt>
                      <c:pt idx="9703">
                        <c:v>0</c:v>
                      </c:pt>
                      <c:pt idx="9704">
                        <c:v>0</c:v>
                      </c:pt>
                      <c:pt idx="9705">
                        <c:v>0</c:v>
                      </c:pt>
                      <c:pt idx="9706">
                        <c:v>0</c:v>
                      </c:pt>
                      <c:pt idx="9707">
                        <c:v>0</c:v>
                      </c:pt>
                      <c:pt idx="9708">
                        <c:v>0</c:v>
                      </c:pt>
                      <c:pt idx="9709">
                        <c:v>0</c:v>
                      </c:pt>
                      <c:pt idx="9710">
                        <c:v>0</c:v>
                      </c:pt>
                      <c:pt idx="9711">
                        <c:v>0</c:v>
                      </c:pt>
                      <c:pt idx="9712">
                        <c:v>0</c:v>
                      </c:pt>
                      <c:pt idx="9713">
                        <c:v>0</c:v>
                      </c:pt>
                      <c:pt idx="9714">
                        <c:v>0</c:v>
                      </c:pt>
                      <c:pt idx="9715">
                        <c:v>0</c:v>
                      </c:pt>
                      <c:pt idx="9716">
                        <c:v>0</c:v>
                      </c:pt>
                      <c:pt idx="9717">
                        <c:v>0</c:v>
                      </c:pt>
                      <c:pt idx="9718">
                        <c:v>0</c:v>
                      </c:pt>
                      <c:pt idx="9719">
                        <c:v>0</c:v>
                      </c:pt>
                      <c:pt idx="9720">
                        <c:v>0</c:v>
                      </c:pt>
                      <c:pt idx="9721">
                        <c:v>0</c:v>
                      </c:pt>
                      <c:pt idx="9722">
                        <c:v>0</c:v>
                      </c:pt>
                      <c:pt idx="9723">
                        <c:v>0</c:v>
                      </c:pt>
                      <c:pt idx="9724">
                        <c:v>0</c:v>
                      </c:pt>
                      <c:pt idx="9725">
                        <c:v>0</c:v>
                      </c:pt>
                      <c:pt idx="9726">
                        <c:v>0</c:v>
                      </c:pt>
                      <c:pt idx="9727">
                        <c:v>0</c:v>
                      </c:pt>
                      <c:pt idx="9728">
                        <c:v>0</c:v>
                      </c:pt>
                      <c:pt idx="9729">
                        <c:v>0</c:v>
                      </c:pt>
                      <c:pt idx="9730">
                        <c:v>0</c:v>
                      </c:pt>
                      <c:pt idx="9731">
                        <c:v>0</c:v>
                      </c:pt>
                      <c:pt idx="9732">
                        <c:v>0</c:v>
                      </c:pt>
                      <c:pt idx="9733">
                        <c:v>0</c:v>
                      </c:pt>
                      <c:pt idx="9734">
                        <c:v>0</c:v>
                      </c:pt>
                      <c:pt idx="9735">
                        <c:v>0</c:v>
                      </c:pt>
                      <c:pt idx="9736">
                        <c:v>0</c:v>
                      </c:pt>
                      <c:pt idx="9737">
                        <c:v>0</c:v>
                      </c:pt>
                      <c:pt idx="9738">
                        <c:v>0</c:v>
                      </c:pt>
                      <c:pt idx="9739">
                        <c:v>0</c:v>
                      </c:pt>
                      <c:pt idx="9740">
                        <c:v>0</c:v>
                      </c:pt>
                      <c:pt idx="9741">
                        <c:v>0</c:v>
                      </c:pt>
                      <c:pt idx="9742">
                        <c:v>0</c:v>
                      </c:pt>
                      <c:pt idx="9743">
                        <c:v>0</c:v>
                      </c:pt>
                      <c:pt idx="9744">
                        <c:v>0</c:v>
                      </c:pt>
                      <c:pt idx="9745">
                        <c:v>0</c:v>
                      </c:pt>
                      <c:pt idx="9746">
                        <c:v>0</c:v>
                      </c:pt>
                      <c:pt idx="9747">
                        <c:v>0</c:v>
                      </c:pt>
                      <c:pt idx="9748">
                        <c:v>0</c:v>
                      </c:pt>
                      <c:pt idx="9749">
                        <c:v>0</c:v>
                      </c:pt>
                      <c:pt idx="9750">
                        <c:v>0</c:v>
                      </c:pt>
                      <c:pt idx="9751">
                        <c:v>0</c:v>
                      </c:pt>
                      <c:pt idx="9752">
                        <c:v>0</c:v>
                      </c:pt>
                      <c:pt idx="9753">
                        <c:v>0</c:v>
                      </c:pt>
                      <c:pt idx="9754">
                        <c:v>0</c:v>
                      </c:pt>
                      <c:pt idx="9755">
                        <c:v>0</c:v>
                      </c:pt>
                      <c:pt idx="9756">
                        <c:v>0</c:v>
                      </c:pt>
                      <c:pt idx="9757">
                        <c:v>0</c:v>
                      </c:pt>
                      <c:pt idx="9758">
                        <c:v>0</c:v>
                      </c:pt>
                      <c:pt idx="9759">
                        <c:v>0</c:v>
                      </c:pt>
                      <c:pt idx="9760">
                        <c:v>0</c:v>
                      </c:pt>
                      <c:pt idx="9761">
                        <c:v>0</c:v>
                      </c:pt>
                      <c:pt idx="9762">
                        <c:v>0</c:v>
                      </c:pt>
                      <c:pt idx="9763">
                        <c:v>0</c:v>
                      </c:pt>
                      <c:pt idx="9764">
                        <c:v>0</c:v>
                      </c:pt>
                      <c:pt idx="9765">
                        <c:v>0</c:v>
                      </c:pt>
                      <c:pt idx="9766">
                        <c:v>0</c:v>
                      </c:pt>
                      <c:pt idx="9767">
                        <c:v>0</c:v>
                      </c:pt>
                      <c:pt idx="9768">
                        <c:v>0</c:v>
                      </c:pt>
                      <c:pt idx="9769">
                        <c:v>0</c:v>
                      </c:pt>
                      <c:pt idx="9770">
                        <c:v>0</c:v>
                      </c:pt>
                      <c:pt idx="9771">
                        <c:v>0</c:v>
                      </c:pt>
                      <c:pt idx="9772">
                        <c:v>0</c:v>
                      </c:pt>
                      <c:pt idx="9773">
                        <c:v>0</c:v>
                      </c:pt>
                      <c:pt idx="9774">
                        <c:v>0</c:v>
                      </c:pt>
                      <c:pt idx="9775">
                        <c:v>0</c:v>
                      </c:pt>
                      <c:pt idx="9776">
                        <c:v>0</c:v>
                      </c:pt>
                      <c:pt idx="9777">
                        <c:v>0</c:v>
                      </c:pt>
                      <c:pt idx="9778">
                        <c:v>0</c:v>
                      </c:pt>
                      <c:pt idx="9779">
                        <c:v>0</c:v>
                      </c:pt>
                      <c:pt idx="9780">
                        <c:v>0</c:v>
                      </c:pt>
                      <c:pt idx="9781">
                        <c:v>0</c:v>
                      </c:pt>
                      <c:pt idx="9782">
                        <c:v>0</c:v>
                      </c:pt>
                      <c:pt idx="9783">
                        <c:v>0</c:v>
                      </c:pt>
                      <c:pt idx="9784">
                        <c:v>0</c:v>
                      </c:pt>
                      <c:pt idx="9785">
                        <c:v>0</c:v>
                      </c:pt>
                      <c:pt idx="9786">
                        <c:v>0</c:v>
                      </c:pt>
                      <c:pt idx="9787">
                        <c:v>0</c:v>
                      </c:pt>
                      <c:pt idx="9788">
                        <c:v>0</c:v>
                      </c:pt>
                      <c:pt idx="9789">
                        <c:v>0</c:v>
                      </c:pt>
                      <c:pt idx="9790">
                        <c:v>0</c:v>
                      </c:pt>
                      <c:pt idx="9791">
                        <c:v>0</c:v>
                      </c:pt>
                      <c:pt idx="9792">
                        <c:v>0</c:v>
                      </c:pt>
                      <c:pt idx="9793">
                        <c:v>0</c:v>
                      </c:pt>
                      <c:pt idx="9794">
                        <c:v>0</c:v>
                      </c:pt>
                      <c:pt idx="9795">
                        <c:v>0</c:v>
                      </c:pt>
                      <c:pt idx="9796">
                        <c:v>0</c:v>
                      </c:pt>
                      <c:pt idx="9797">
                        <c:v>0</c:v>
                      </c:pt>
                      <c:pt idx="9798">
                        <c:v>0</c:v>
                      </c:pt>
                      <c:pt idx="9799">
                        <c:v>0</c:v>
                      </c:pt>
                      <c:pt idx="9800">
                        <c:v>0</c:v>
                      </c:pt>
                      <c:pt idx="9801">
                        <c:v>0</c:v>
                      </c:pt>
                      <c:pt idx="9802">
                        <c:v>0</c:v>
                      </c:pt>
                      <c:pt idx="9803">
                        <c:v>0</c:v>
                      </c:pt>
                      <c:pt idx="9804">
                        <c:v>0</c:v>
                      </c:pt>
                      <c:pt idx="9805">
                        <c:v>0</c:v>
                      </c:pt>
                      <c:pt idx="9806">
                        <c:v>0</c:v>
                      </c:pt>
                      <c:pt idx="9807">
                        <c:v>0</c:v>
                      </c:pt>
                      <c:pt idx="9808">
                        <c:v>0</c:v>
                      </c:pt>
                      <c:pt idx="9809">
                        <c:v>0</c:v>
                      </c:pt>
                      <c:pt idx="9810">
                        <c:v>0</c:v>
                      </c:pt>
                      <c:pt idx="9811">
                        <c:v>0</c:v>
                      </c:pt>
                      <c:pt idx="9812">
                        <c:v>0</c:v>
                      </c:pt>
                      <c:pt idx="9813">
                        <c:v>0</c:v>
                      </c:pt>
                      <c:pt idx="9814">
                        <c:v>0</c:v>
                      </c:pt>
                      <c:pt idx="9815">
                        <c:v>0</c:v>
                      </c:pt>
                      <c:pt idx="9816">
                        <c:v>0</c:v>
                      </c:pt>
                      <c:pt idx="9817">
                        <c:v>0</c:v>
                      </c:pt>
                      <c:pt idx="9818">
                        <c:v>0</c:v>
                      </c:pt>
                      <c:pt idx="9819">
                        <c:v>0</c:v>
                      </c:pt>
                      <c:pt idx="9820">
                        <c:v>0</c:v>
                      </c:pt>
                      <c:pt idx="9821">
                        <c:v>0</c:v>
                      </c:pt>
                      <c:pt idx="9822">
                        <c:v>0</c:v>
                      </c:pt>
                      <c:pt idx="9823">
                        <c:v>0</c:v>
                      </c:pt>
                      <c:pt idx="9824">
                        <c:v>0</c:v>
                      </c:pt>
                      <c:pt idx="9825">
                        <c:v>0</c:v>
                      </c:pt>
                      <c:pt idx="9826">
                        <c:v>0</c:v>
                      </c:pt>
                      <c:pt idx="9827">
                        <c:v>0</c:v>
                      </c:pt>
                      <c:pt idx="9828">
                        <c:v>0</c:v>
                      </c:pt>
                      <c:pt idx="9829">
                        <c:v>0</c:v>
                      </c:pt>
                      <c:pt idx="9830">
                        <c:v>0</c:v>
                      </c:pt>
                      <c:pt idx="9831">
                        <c:v>0</c:v>
                      </c:pt>
                      <c:pt idx="9832">
                        <c:v>0</c:v>
                      </c:pt>
                      <c:pt idx="9833">
                        <c:v>0</c:v>
                      </c:pt>
                      <c:pt idx="9834">
                        <c:v>0</c:v>
                      </c:pt>
                      <c:pt idx="9835">
                        <c:v>0</c:v>
                      </c:pt>
                      <c:pt idx="9836">
                        <c:v>0</c:v>
                      </c:pt>
                      <c:pt idx="9837">
                        <c:v>0</c:v>
                      </c:pt>
                      <c:pt idx="9838">
                        <c:v>0</c:v>
                      </c:pt>
                      <c:pt idx="9839">
                        <c:v>0</c:v>
                      </c:pt>
                      <c:pt idx="9840">
                        <c:v>0</c:v>
                      </c:pt>
                      <c:pt idx="9841">
                        <c:v>0</c:v>
                      </c:pt>
                      <c:pt idx="9842">
                        <c:v>0</c:v>
                      </c:pt>
                      <c:pt idx="9843">
                        <c:v>0</c:v>
                      </c:pt>
                      <c:pt idx="9844">
                        <c:v>0</c:v>
                      </c:pt>
                      <c:pt idx="9845">
                        <c:v>0</c:v>
                      </c:pt>
                      <c:pt idx="9846">
                        <c:v>0</c:v>
                      </c:pt>
                      <c:pt idx="9847">
                        <c:v>0</c:v>
                      </c:pt>
                      <c:pt idx="9848">
                        <c:v>0</c:v>
                      </c:pt>
                      <c:pt idx="9849">
                        <c:v>0</c:v>
                      </c:pt>
                      <c:pt idx="9850">
                        <c:v>0</c:v>
                      </c:pt>
                      <c:pt idx="9851">
                        <c:v>0</c:v>
                      </c:pt>
                      <c:pt idx="9852">
                        <c:v>0</c:v>
                      </c:pt>
                      <c:pt idx="9853">
                        <c:v>0</c:v>
                      </c:pt>
                      <c:pt idx="9854">
                        <c:v>0</c:v>
                      </c:pt>
                      <c:pt idx="9855">
                        <c:v>0</c:v>
                      </c:pt>
                      <c:pt idx="9856">
                        <c:v>0</c:v>
                      </c:pt>
                      <c:pt idx="9857">
                        <c:v>0</c:v>
                      </c:pt>
                      <c:pt idx="9858">
                        <c:v>0</c:v>
                      </c:pt>
                      <c:pt idx="9859">
                        <c:v>0</c:v>
                      </c:pt>
                      <c:pt idx="9860">
                        <c:v>0</c:v>
                      </c:pt>
                      <c:pt idx="9861">
                        <c:v>0</c:v>
                      </c:pt>
                      <c:pt idx="9862">
                        <c:v>0</c:v>
                      </c:pt>
                      <c:pt idx="9863">
                        <c:v>0</c:v>
                      </c:pt>
                      <c:pt idx="9864">
                        <c:v>0</c:v>
                      </c:pt>
                      <c:pt idx="9865">
                        <c:v>0</c:v>
                      </c:pt>
                      <c:pt idx="9866">
                        <c:v>0</c:v>
                      </c:pt>
                      <c:pt idx="9867">
                        <c:v>0</c:v>
                      </c:pt>
                      <c:pt idx="9868">
                        <c:v>0</c:v>
                      </c:pt>
                      <c:pt idx="9869">
                        <c:v>0</c:v>
                      </c:pt>
                      <c:pt idx="9870">
                        <c:v>0</c:v>
                      </c:pt>
                      <c:pt idx="9871">
                        <c:v>0</c:v>
                      </c:pt>
                      <c:pt idx="9872">
                        <c:v>0</c:v>
                      </c:pt>
                      <c:pt idx="9873">
                        <c:v>0</c:v>
                      </c:pt>
                      <c:pt idx="9874">
                        <c:v>0</c:v>
                      </c:pt>
                      <c:pt idx="9875">
                        <c:v>0</c:v>
                      </c:pt>
                      <c:pt idx="9876">
                        <c:v>0</c:v>
                      </c:pt>
                      <c:pt idx="9877">
                        <c:v>0</c:v>
                      </c:pt>
                      <c:pt idx="9878">
                        <c:v>0</c:v>
                      </c:pt>
                      <c:pt idx="9879">
                        <c:v>0</c:v>
                      </c:pt>
                      <c:pt idx="9880">
                        <c:v>0</c:v>
                      </c:pt>
                      <c:pt idx="9881">
                        <c:v>0</c:v>
                      </c:pt>
                      <c:pt idx="9882">
                        <c:v>0</c:v>
                      </c:pt>
                      <c:pt idx="9883">
                        <c:v>0</c:v>
                      </c:pt>
                      <c:pt idx="9884">
                        <c:v>0</c:v>
                      </c:pt>
                      <c:pt idx="9885">
                        <c:v>0</c:v>
                      </c:pt>
                      <c:pt idx="9886">
                        <c:v>0</c:v>
                      </c:pt>
                      <c:pt idx="9887">
                        <c:v>0</c:v>
                      </c:pt>
                      <c:pt idx="9888">
                        <c:v>0</c:v>
                      </c:pt>
                      <c:pt idx="9889">
                        <c:v>0</c:v>
                      </c:pt>
                      <c:pt idx="9890">
                        <c:v>0</c:v>
                      </c:pt>
                      <c:pt idx="9891">
                        <c:v>0</c:v>
                      </c:pt>
                      <c:pt idx="9892">
                        <c:v>0</c:v>
                      </c:pt>
                      <c:pt idx="9893">
                        <c:v>0</c:v>
                      </c:pt>
                      <c:pt idx="9894">
                        <c:v>0</c:v>
                      </c:pt>
                      <c:pt idx="9895">
                        <c:v>0</c:v>
                      </c:pt>
                      <c:pt idx="9896">
                        <c:v>0</c:v>
                      </c:pt>
                      <c:pt idx="9897">
                        <c:v>0</c:v>
                      </c:pt>
                      <c:pt idx="9898">
                        <c:v>0</c:v>
                      </c:pt>
                      <c:pt idx="9899">
                        <c:v>0</c:v>
                      </c:pt>
                      <c:pt idx="9900">
                        <c:v>0</c:v>
                      </c:pt>
                      <c:pt idx="9901">
                        <c:v>0</c:v>
                      </c:pt>
                      <c:pt idx="9902">
                        <c:v>0</c:v>
                      </c:pt>
                      <c:pt idx="9903">
                        <c:v>0</c:v>
                      </c:pt>
                      <c:pt idx="9904">
                        <c:v>0</c:v>
                      </c:pt>
                      <c:pt idx="9905">
                        <c:v>0</c:v>
                      </c:pt>
                      <c:pt idx="9906">
                        <c:v>0</c:v>
                      </c:pt>
                      <c:pt idx="9907">
                        <c:v>0</c:v>
                      </c:pt>
                      <c:pt idx="9908">
                        <c:v>0</c:v>
                      </c:pt>
                      <c:pt idx="9909">
                        <c:v>0</c:v>
                      </c:pt>
                      <c:pt idx="9910">
                        <c:v>0</c:v>
                      </c:pt>
                      <c:pt idx="9911">
                        <c:v>0</c:v>
                      </c:pt>
                      <c:pt idx="9912">
                        <c:v>0</c:v>
                      </c:pt>
                      <c:pt idx="9913">
                        <c:v>0</c:v>
                      </c:pt>
                      <c:pt idx="9914">
                        <c:v>0</c:v>
                      </c:pt>
                      <c:pt idx="9915">
                        <c:v>0</c:v>
                      </c:pt>
                      <c:pt idx="9916">
                        <c:v>0</c:v>
                      </c:pt>
                      <c:pt idx="9917">
                        <c:v>0</c:v>
                      </c:pt>
                      <c:pt idx="9918">
                        <c:v>0</c:v>
                      </c:pt>
                      <c:pt idx="9919">
                        <c:v>0</c:v>
                      </c:pt>
                      <c:pt idx="9920">
                        <c:v>0</c:v>
                      </c:pt>
                      <c:pt idx="9921">
                        <c:v>0</c:v>
                      </c:pt>
                      <c:pt idx="9922">
                        <c:v>0</c:v>
                      </c:pt>
                      <c:pt idx="9923">
                        <c:v>0</c:v>
                      </c:pt>
                      <c:pt idx="9924">
                        <c:v>0</c:v>
                      </c:pt>
                      <c:pt idx="9925">
                        <c:v>0</c:v>
                      </c:pt>
                      <c:pt idx="9926">
                        <c:v>0</c:v>
                      </c:pt>
                      <c:pt idx="9927">
                        <c:v>0</c:v>
                      </c:pt>
                      <c:pt idx="9928">
                        <c:v>0</c:v>
                      </c:pt>
                      <c:pt idx="9929">
                        <c:v>0</c:v>
                      </c:pt>
                      <c:pt idx="9930">
                        <c:v>0</c:v>
                      </c:pt>
                      <c:pt idx="9931">
                        <c:v>0</c:v>
                      </c:pt>
                      <c:pt idx="9932">
                        <c:v>0</c:v>
                      </c:pt>
                      <c:pt idx="9933">
                        <c:v>0</c:v>
                      </c:pt>
                      <c:pt idx="9934">
                        <c:v>0</c:v>
                      </c:pt>
                      <c:pt idx="9935">
                        <c:v>0</c:v>
                      </c:pt>
                      <c:pt idx="9936">
                        <c:v>0</c:v>
                      </c:pt>
                      <c:pt idx="9937">
                        <c:v>0</c:v>
                      </c:pt>
                      <c:pt idx="9938">
                        <c:v>0</c:v>
                      </c:pt>
                      <c:pt idx="9939">
                        <c:v>0</c:v>
                      </c:pt>
                      <c:pt idx="9940">
                        <c:v>0</c:v>
                      </c:pt>
                      <c:pt idx="9941">
                        <c:v>0</c:v>
                      </c:pt>
                      <c:pt idx="9942">
                        <c:v>0</c:v>
                      </c:pt>
                      <c:pt idx="9943">
                        <c:v>0</c:v>
                      </c:pt>
                      <c:pt idx="9944">
                        <c:v>0</c:v>
                      </c:pt>
                      <c:pt idx="9945">
                        <c:v>0</c:v>
                      </c:pt>
                      <c:pt idx="9946">
                        <c:v>0</c:v>
                      </c:pt>
                      <c:pt idx="9947">
                        <c:v>0</c:v>
                      </c:pt>
                      <c:pt idx="9948">
                        <c:v>0</c:v>
                      </c:pt>
                      <c:pt idx="9949">
                        <c:v>0</c:v>
                      </c:pt>
                      <c:pt idx="9950">
                        <c:v>0</c:v>
                      </c:pt>
                      <c:pt idx="9951">
                        <c:v>0</c:v>
                      </c:pt>
                      <c:pt idx="9952">
                        <c:v>0</c:v>
                      </c:pt>
                      <c:pt idx="9953">
                        <c:v>0</c:v>
                      </c:pt>
                      <c:pt idx="9954">
                        <c:v>0</c:v>
                      </c:pt>
                      <c:pt idx="9955">
                        <c:v>0</c:v>
                      </c:pt>
                      <c:pt idx="9956">
                        <c:v>0</c:v>
                      </c:pt>
                      <c:pt idx="9957">
                        <c:v>0</c:v>
                      </c:pt>
                      <c:pt idx="9958">
                        <c:v>0</c:v>
                      </c:pt>
                      <c:pt idx="9959">
                        <c:v>0</c:v>
                      </c:pt>
                      <c:pt idx="9960">
                        <c:v>0</c:v>
                      </c:pt>
                      <c:pt idx="9961">
                        <c:v>0</c:v>
                      </c:pt>
                      <c:pt idx="9962">
                        <c:v>0</c:v>
                      </c:pt>
                      <c:pt idx="9963">
                        <c:v>0</c:v>
                      </c:pt>
                      <c:pt idx="9964">
                        <c:v>0</c:v>
                      </c:pt>
                      <c:pt idx="9965">
                        <c:v>0</c:v>
                      </c:pt>
                      <c:pt idx="9966">
                        <c:v>0</c:v>
                      </c:pt>
                      <c:pt idx="9967">
                        <c:v>0</c:v>
                      </c:pt>
                      <c:pt idx="9968">
                        <c:v>0</c:v>
                      </c:pt>
                      <c:pt idx="9969">
                        <c:v>0</c:v>
                      </c:pt>
                      <c:pt idx="9970">
                        <c:v>0</c:v>
                      </c:pt>
                      <c:pt idx="9971">
                        <c:v>0</c:v>
                      </c:pt>
                      <c:pt idx="9972">
                        <c:v>0</c:v>
                      </c:pt>
                      <c:pt idx="9973">
                        <c:v>0</c:v>
                      </c:pt>
                      <c:pt idx="9974">
                        <c:v>0</c:v>
                      </c:pt>
                      <c:pt idx="9975">
                        <c:v>0</c:v>
                      </c:pt>
                      <c:pt idx="9976">
                        <c:v>0</c:v>
                      </c:pt>
                      <c:pt idx="9977">
                        <c:v>0</c:v>
                      </c:pt>
                      <c:pt idx="9978">
                        <c:v>0</c:v>
                      </c:pt>
                      <c:pt idx="9979">
                        <c:v>0</c:v>
                      </c:pt>
                      <c:pt idx="9980">
                        <c:v>0</c:v>
                      </c:pt>
                      <c:pt idx="9981">
                        <c:v>0</c:v>
                      </c:pt>
                      <c:pt idx="9982">
                        <c:v>0</c:v>
                      </c:pt>
                      <c:pt idx="9983">
                        <c:v>0</c:v>
                      </c:pt>
                      <c:pt idx="9984">
                        <c:v>0</c:v>
                      </c:pt>
                      <c:pt idx="9985">
                        <c:v>0</c:v>
                      </c:pt>
                      <c:pt idx="9986">
                        <c:v>0</c:v>
                      </c:pt>
                      <c:pt idx="9987">
                        <c:v>0</c:v>
                      </c:pt>
                      <c:pt idx="9988">
                        <c:v>0</c:v>
                      </c:pt>
                      <c:pt idx="9989">
                        <c:v>0</c:v>
                      </c:pt>
                      <c:pt idx="9990">
                        <c:v>0</c:v>
                      </c:pt>
                      <c:pt idx="9991">
                        <c:v>0</c:v>
                      </c:pt>
                      <c:pt idx="9992">
                        <c:v>0</c:v>
                      </c:pt>
                      <c:pt idx="9993">
                        <c:v>0</c:v>
                      </c:pt>
                      <c:pt idx="9994">
                        <c:v>0</c:v>
                      </c:pt>
                      <c:pt idx="9995">
                        <c:v>0</c:v>
                      </c:pt>
                      <c:pt idx="9996">
                        <c:v>0</c:v>
                      </c:pt>
                      <c:pt idx="9997">
                        <c:v>0</c:v>
                      </c:pt>
                      <c:pt idx="9998">
                        <c:v>0</c:v>
                      </c:pt>
                      <c:pt idx="9999">
                        <c:v>0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B1FF-4F49-8804-0688C45994C3}"/>
                  </c:ext>
                </c:extLst>
              </c15:ser>
            </c15:filteredLineSeries>
          </c:ext>
        </c:extLst>
      </c:lineChart>
      <c:valAx>
        <c:axId val="600018703"/>
        <c:scaling>
          <c:orientation val="minMax"/>
          <c:max val="10"/>
          <c:min val="-10"/>
        </c:scaling>
        <c:delete val="0"/>
        <c:axPos val="l"/>
        <c:majorGridlines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0"/>
        <c:axPos val="b"/>
        <c:numFmt formatCode="General" sourceLinked="0"/>
        <c:majorTickMark val="cross"/>
        <c:minorTickMark val="cross"/>
        <c:tickLblPos val="none"/>
        <c:spPr>
          <a:ln>
            <a:noFill/>
          </a:ln>
        </c:spPr>
        <c:crossAx val="600018703"/>
        <c:crosses val="autoZero"/>
        <c:auto val="1"/>
        <c:lblAlgn val="ctr"/>
        <c:lblOffset val="100"/>
        <c:noMultiLvlLbl val="1"/>
      </c:catAx>
    </c:plotArea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nl-NL"/>
              <a:t>After Maintenance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$3</c:f>
              <c:strCache>
                <c:ptCount val="1"/>
                <c:pt idx="0">
                  <c:v>6640-102788</c:v>
                </c:pt>
              </c:strCache>
            </c:strRef>
          </c:tx>
          <c:spPr>
            <a:ln w="3175">
              <a:solidFill>
                <a:srgbClr val="1F77B4"/>
              </a:solidFill>
              <a:round/>
            </a:ln>
          </c:spPr>
          <c:marker>
            <c:symbol val="none"/>
          </c:marker>
          <c:cat>
            <c:strRef>
              <c:f>Data!$A$4:$A$10003</c:f>
              <c:strCache>
                <c:ptCount val="10000"/>
                <c:pt idx="0">
                  <c:v>0.010-0.017</c:v>
                </c:pt>
                <c:pt idx="1">
                  <c:v>0.017-0.023</c:v>
                </c:pt>
                <c:pt idx="2">
                  <c:v>0.023-0.030</c:v>
                </c:pt>
                <c:pt idx="3">
                  <c:v>0.030-0.037</c:v>
                </c:pt>
                <c:pt idx="4">
                  <c:v>0.037-0.044</c:v>
                </c:pt>
                <c:pt idx="5">
                  <c:v>0.044-0.050</c:v>
                </c:pt>
                <c:pt idx="6">
                  <c:v>0.050-0.057</c:v>
                </c:pt>
                <c:pt idx="7">
                  <c:v>0.057-0.064</c:v>
                </c:pt>
                <c:pt idx="8">
                  <c:v>0.064-0.070</c:v>
                </c:pt>
                <c:pt idx="9">
                  <c:v>0.070-0.077</c:v>
                </c:pt>
                <c:pt idx="10">
                  <c:v>0.077-0.084</c:v>
                </c:pt>
                <c:pt idx="11">
                  <c:v>0.084-0.091</c:v>
                </c:pt>
                <c:pt idx="12">
                  <c:v>0.091-0.097</c:v>
                </c:pt>
                <c:pt idx="13">
                  <c:v>0.097-0.104</c:v>
                </c:pt>
                <c:pt idx="14">
                  <c:v>0.104-0.111</c:v>
                </c:pt>
                <c:pt idx="15">
                  <c:v>0.111-0.117</c:v>
                </c:pt>
                <c:pt idx="16">
                  <c:v>0.117-0.124</c:v>
                </c:pt>
                <c:pt idx="17">
                  <c:v>0.124-0.131</c:v>
                </c:pt>
                <c:pt idx="18">
                  <c:v>0.131-0.138</c:v>
                </c:pt>
                <c:pt idx="19">
                  <c:v>0.138-0.144</c:v>
                </c:pt>
                <c:pt idx="20">
                  <c:v>0.144-0.151</c:v>
                </c:pt>
                <c:pt idx="21">
                  <c:v>0.151-0.158</c:v>
                </c:pt>
                <c:pt idx="22">
                  <c:v>0.158-0.164</c:v>
                </c:pt>
                <c:pt idx="23">
                  <c:v>0.164-0.171</c:v>
                </c:pt>
                <c:pt idx="24">
                  <c:v>0.171-0.178</c:v>
                </c:pt>
                <c:pt idx="25">
                  <c:v>0.178-0.184</c:v>
                </c:pt>
                <c:pt idx="26">
                  <c:v>0.184-0.191</c:v>
                </c:pt>
                <c:pt idx="27">
                  <c:v>0.191-0.198</c:v>
                </c:pt>
                <c:pt idx="28">
                  <c:v>0.198-0.205</c:v>
                </c:pt>
                <c:pt idx="29">
                  <c:v>0.205-0.211</c:v>
                </c:pt>
                <c:pt idx="30">
                  <c:v>0.211-0.218</c:v>
                </c:pt>
                <c:pt idx="31">
                  <c:v>0.218-0.225</c:v>
                </c:pt>
                <c:pt idx="32">
                  <c:v>0.225-0.231</c:v>
                </c:pt>
                <c:pt idx="33">
                  <c:v>0.231-0.238</c:v>
                </c:pt>
                <c:pt idx="34">
                  <c:v>0.238-0.245</c:v>
                </c:pt>
                <c:pt idx="35">
                  <c:v>0.245-0.252</c:v>
                </c:pt>
                <c:pt idx="36">
                  <c:v>0.252-0.258</c:v>
                </c:pt>
                <c:pt idx="37">
                  <c:v>0.258-0.265</c:v>
                </c:pt>
                <c:pt idx="38">
                  <c:v>0.265-0.272</c:v>
                </c:pt>
                <c:pt idx="39">
                  <c:v>0.272-0.278</c:v>
                </c:pt>
                <c:pt idx="40">
                  <c:v>0.278-0.285</c:v>
                </c:pt>
                <c:pt idx="41">
                  <c:v>0.285-0.292</c:v>
                </c:pt>
                <c:pt idx="42">
                  <c:v>0.292-0.299</c:v>
                </c:pt>
                <c:pt idx="43">
                  <c:v>0.299-0.305</c:v>
                </c:pt>
                <c:pt idx="44">
                  <c:v>0.305-0.312</c:v>
                </c:pt>
                <c:pt idx="45">
                  <c:v>0.312-0.319</c:v>
                </c:pt>
                <c:pt idx="46">
                  <c:v>0.319-0.325</c:v>
                </c:pt>
                <c:pt idx="47">
                  <c:v>0.325-0.332</c:v>
                </c:pt>
                <c:pt idx="48">
                  <c:v>0.332-0.339</c:v>
                </c:pt>
                <c:pt idx="49">
                  <c:v>0.339-0.346</c:v>
                </c:pt>
                <c:pt idx="50">
                  <c:v>0.346-0.352</c:v>
                </c:pt>
                <c:pt idx="51">
                  <c:v>0.352-0.359</c:v>
                </c:pt>
                <c:pt idx="52">
                  <c:v>0.359-0.366</c:v>
                </c:pt>
                <c:pt idx="53">
                  <c:v>0.366-0.372</c:v>
                </c:pt>
                <c:pt idx="54">
                  <c:v>0.372-0.379</c:v>
                </c:pt>
                <c:pt idx="55">
                  <c:v>0.379-0.386</c:v>
                </c:pt>
                <c:pt idx="56">
                  <c:v>0.386-0.393</c:v>
                </c:pt>
                <c:pt idx="57">
                  <c:v>0.393-0.399</c:v>
                </c:pt>
                <c:pt idx="58">
                  <c:v>0.399-0.406</c:v>
                </c:pt>
                <c:pt idx="59">
                  <c:v>0.406-0.413</c:v>
                </c:pt>
                <c:pt idx="60">
                  <c:v>0.413-0.419</c:v>
                </c:pt>
                <c:pt idx="61">
                  <c:v>0.419-0.426</c:v>
                </c:pt>
                <c:pt idx="62">
                  <c:v>0.426-0.433</c:v>
                </c:pt>
                <c:pt idx="63">
                  <c:v>0.433-0.439</c:v>
                </c:pt>
                <c:pt idx="64">
                  <c:v>0.439-0.446</c:v>
                </c:pt>
                <c:pt idx="65">
                  <c:v>0.446-0.453</c:v>
                </c:pt>
                <c:pt idx="66">
                  <c:v>0.453-0.460</c:v>
                </c:pt>
                <c:pt idx="67">
                  <c:v>0.460-0.466</c:v>
                </c:pt>
                <c:pt idx="68">
                  <c:v>0.466-0.473</c:v>
                </c:pt>
                <c:pt idx="69">
                  <c:v>0.473-0.480</c:v>
                </c:pt>
                <c:pt idx="70">
                  <c:v>0.480-0.486</c:v>
                </c:pt>
                <c:pt idx="71">
                  <c:v>0.486-0.493</c:v>
                </c:pt>
                <c:pt idx="72">
                  <c:v>0.493-0.500</c:v>
                </c:pt>
                <c:pt idx="73">
                  <c:v>0.500-0.507</c:v>
                </c:pt>
                <c:pt idx="74">
                  <c:v>0.507-0.513</c:v>
                </c:pt>
                <c:pt idx="75">
                  <c:v>0.513-0.520</c:v>
                </c:pt>
                <c:pt idx="76">
                  <c:v>0.520-0.527</c:v>
                </c:pt>
                <c:pt idx="77">
                  <c:v>0.527-0.533</c:v>
                </c:pt>
                <c:pt idx="78">
                  <c:v>0.533-0.540</c:v>
                </c:pt>
                <c:pt idx="79">
                  <c:v>0.540-0.547</c:v>
                </c:pt>
                <c:pt idx="80">
                  <c:v>0.547-0.554</c:v>
                </c:pt>
                <c:pt idx="81">
                  <c:v>0.554-0.560</c:v>
                </c:pt>
                <c:pt idx="82">
                  <c:v>0.560-0.567</c:v>
                </c:pt>
                <c:pt idx="83">
                  <c:v>0.567-0.574</c:v>
                </c:pt>
                <c:pt idx="84">
                  <c:v>0.574-0.580</c:v>
                </c:pt>
                <c:pt idx="85">
                  <c:v>0.580-0.587</c:v>
                </c:pt>
                <c:pt idx="86">
                  <c:v>0.587-0.594</c:v>
                </c:pt>
                <c:pt idx="87">
                  <c:v>0.594-0.601</c:v>
                </c:pt>
                <c:pt idx="88">
                  <c:v>0.601-0.607</c:v>
                </c:pt>
                <c:pt idx="89">
                  <c:v>0.607-0.614</c:v>
                </c:pt>
                <c:pt idx="90">
                  <c:v>0.614-0.621</c:v>
                </c:pt>
                <c:pt idx="91">
                  <c:v>0.621-0.627</c:v>
                </c:pt>
                <c:pt idx="92">
                  <c:v>0.627-0.634</c:v>
                </c:pt>
                <c:pt idx="93">
                  <c:v>0.634-0.641</c:v>
                </c:pt>
                <c:pt idx="94">
                  <c:v>0.641-0.648</c:v>
                </c:pt>
                <c:pt idx="95">
                  <c:v>0.648-0.654</c:v>
                </c:pt>
                <c:pt idx="96">
                  <c:v>0.654-0.661</c:v>
                </c:pt>
                <c:pt idx="97">
                  <c:v>0.661-0.668</c:v>
                </c:pt>
                <c:pt idx="98">
                  <c:v>0.668-0.674</c:v>
                </c:pt>
                <c:pt idx="99">
                  <c:v>0.674-0.681</c:v>
                </c:pt>
                <c:pt idx="100">
                  <c:v>0.681-0.688</c:v>
                </c:pt>
                <c:pt idx="101">
                  <c:v>0.688-0.695</c:v>
                </c:pt>
                <c:pt idx="102">
                  <c:v>0.695-0.701</c:v>
                </c:pt>
                <c:pt idx="103">
                  <c:v>0.701-0.708</c:v>
                </c:pt>
                <c:pt idx="104">
                  <c:v>0.708-0.715</c:v>
                </c:pt>
                <c:pt idx="105">
                  <c:v>0.715-0.721</c:v>
                </c:pt>
                <c:pt idx="106">
                  <c:v>0.721-0.728</c:v>
                </c:pt>
                <c:pt idx="107">
                  <c:v>0.728-0.735</c:v>
                </c:pt>
                <c:pt idx="108">
                  <c:v>0.735-0.741</c:v>
                </c:pt>
                <c:pt idx="109">
                  <c:v>0.741-0.748</c:v>
                </c:pt>
                <c:pt idx="110">
                  <c:v>0.748-0.755</c:v>
                </c:pt>
                <c:pt idx="111">
                  <c:v>0.755-0.762</c:v>
                </c:pt>
                <c:pt idx="112">
                  <c:v>0.762-0.768</c:v>
                </c:pt>
                <c:pt idx="113">
                  <c:v>0.768-0.775</c:v>
                </c:pt>
                <c:pt idx="114">
                  <c:v>0.775-0.782</c:v>
                </c:pt>
                <c:pt idx="115">
                  <c:v>0.782-0.788</c:v>
                </c:pt>
                <c:pt idx="116">
                  <c:v>0.788-0.795</c:v>
                </c:pt>
                <c:pt idx="117">
                  <c:v>0.795-0.802</c:v>
                </c:pt>
                <c:pt idx="118">
                  <c:v>0.802-0.809</c:v>
                </c:pt>
                <c:pt idx="119">
                  <c:v>0.809-0.815</c:v>
                </c:pt>
                <c:pt idx="120">
                  <c:v>0.815-0.822</c:v>
                </c:pt>
                <c:pt idx="121">
                  <c:v>0.822-0.829</c:v>
                </c:pt>
                <c:pt idx="122">
                  <c:v>0.829-0.835</c:v>
                </c:pt>
                <c:pt idx="123">
                  <c:v>0.835-0.842</c:v>
                </c:pt>
                <c:pt idx="124">
                  <c:v>0.842-0.849</c:v>
                </c:pt>
                <c:pt idx="125">
                  <c:v>0.849-0.856</c:v>
                </c:pt>
                <c:pt idx="126">
                  <c:v>0.856-0.862</c:v>
                </c:pt>
                <c:pt idx="127">
                  <c:v>0.862-0.869</c:v>
                </c:pt>
                <c:pt idx="128">
                  <c:v>0.869-0.876</c:v>
                </c:pt>
                <c:pt idx="129">
                  <c:v>0.876-0.882</c:v>
                </c:pt>
                <c:pt idx="130">
                  <c:v>0.882-0.889</c:v>
                </c:pt>
                <c:pt idx="131">
                  <c:v>0.889-0.896</c:v>
                </c:pt>
                <c:pt idx="132">
                  <c:v>0.896-0.903</c:v>
                </c:pt>
                <c:pt idx="133">
                  <c:v>0.903-0.909</c:v>
                </c:pt>
                <c:pt idx="134">
                  <c:v>0.909-0.916</c:v>
                </c:pt>
                <c:pt idx="135">
                  <c:v>0.916-0.923</c:v>
                </c:pt>
                <c:pt idx="136">
                  <c:v>0.923-0.929</c:v>
                </c:pt>
                <c:pt idx="137">
                  <c:v>0.929-0.936</c:v>
                </c:pt>
                <c:pt idx="138">
                  <c:v>0.936-0.943</c:v>
                </c:pt>
                <c:pt idx="139">
                  <c:v>0.943-0.950</c:v>
                </c:pt>
                <c:pt idx="140">
                  <c:v>0.950-0.956</c:v>
                </c:pt>
                <c:pt idx="141">
                  <c:v>0.956-0.963</c:v>
                </c:pt>
                <c:pt idx="142">
                  <c:v>0.963-0.970</c:v>
                </c:pt>
                <c:pt idx="143">
                  <c:v>0.970-0.976</c:v>
                </c:pt>
                <c:pt idx="144">
                  <c:v>0.976-0.983</c:v>
                </c:pt>
                <c:pt idx="145">
                  <c:v>0.983-0.990</c:v>
                </c:pt>
                <c:pt idx="146">
                  <c:v>0.990-0.996</c:v>
                </c:pt>
                <c:pt idx="147">
                  <c:v>0.996-1.003</c:v>
                </c:pt>
                <c:pt idx="148">
                  <c:v>1.003-1.010</c:v>
                </c:pt>
                <c:pt idx="149">
                  <c:v>1.010-1.017</c:v>
                </c:pt>
                <c:pt idx="150">
                  <c:v>1.017-1.023</c:v>
                </c:pt>
                <c:pt idx="151">
                  <c:v>1.023-1.030</c:v>
                </c:pt>
                <c:pt idx="152">
                  <c:v>1.030-1.037</c:v>
                </c:pt>
                <c:pt idx="153">
                  <c:v>1.037-1.043</c:v>
                </c:pt>
                <c:pt idx="154">
                  <c:v>1.043-1.050</c:v>
                </c:pt>
                <c:pt idx="155">
                  <c:v>1.050-1.057</c:v>
                </c:pt>
                <c:pt idx="156">
                  <c:v>1.057-1.064</c:v>
                </c:pt>
                <c:pt idx="157">
                  <c:v>1.064-1.070</c:v>
                </c:pt>
                <c:pt idx="158">
                  <c:v>1.070-1.077</c:v>
                </c:pt>
                <c:pt idx="159">
                  <c:v>1.077-1.084</c:v>
                </c:pt>
                <c:pt idx="160">
                  <c:v>1.084-1.090</c:v>
                </c:pt>
                <c:pt idx="161">
                  <c:v>1.090-1.097</c:v>
                </c:pt>
                <c:pt idx="162">
                  <c:v>1.097-1.104</c:v>
                </c:pt>
                <c:pt idx="163">
                  <c:v>1.104-1.111</c:v>
                </c:pt>
                <c:pt idx="164">
                  <c:v>1.111-1.117</c:v>
                </c:pt>
                <c:pt idx="165">
                  <c:v>1.117-1.124</c:v>
                </c:pt>
                <c:pt idx="166">
                  <c:v>1.124-1.131</c:v>
                </c:pt>
                <c:pt idx="167">
                  <c:v>1.131-1.137</c:v>
                </c:pt>
                <c:pt idx="168">
                  <c:v>1.137-1.144</c:v>
                </c:pt>
                <c:pt idx="169">
                  <c:v>1.144-1.151</c:v>
                </c:pt>
                <c:pt idx="170">
                  <c:v>1.151-1.158</c:v>
                </c:pt>
                <c:pt idx="171">
                  <c:v>1.158-1.164</c:v>
                </c:pt>
                <c:pt idx="172">
                  <c:v>1.164-1.171</c:v>
                </c:pt>
                <c:pt idx="173">
                  <c:v>1.171-1.178</c:v>
                </c:pt>
                <c:pt idx="174">
                  <c:v>1.178-1.184</c:v>
                </c:pt>
                <c:pt idx="175">
                  <c:v>1.184-1.191</c:v>
                </c:pt>
                <c:pt idx="176">
                  <c:v>1.191-1.198</c:v>
                </c:pt>
                <c:pt idx="177">
                  <c:v>1.198-1.205</c:v>
                </c:pt>
                <c:pt idx="178">
                  <c:v>1.205-1.211</c:v>
                </c:pt>
                <c:pt idx="179">
                  <c:v>1.211-1.218</c:v>
                </c:pt>
                <c:pt idx="180">
                  <c:v>1.218-1.225</c:v>
                </c:pt>
                <c:pt idx="181">
                  <c:v>1.225-1.231</c:v>
                </c:pt>
                <c:pt idx="182">
                  <c:v>1.231-1.238</c:v>
                </c:pt>
                <c:pt idx="183">
                  <c:v>1.238-1.245</c:v>
                </c:pt>
                <c:pt idx="184">
                  <c:v>1.245-1.251</c:v>
                </c:pt>
                <c:pt idx="185">
                  <c:v>1.251-1.258</c:v>
                </c:pt>
                <c:pt idx="186">
                  <c:v>1.258-1.265</c:v>
                </c:pt>
                <c:pt idx="187">
                  <c:v>1.265-1.272</c:v>
                </c:pt>
                <c:pt idx="188">
                  <c:v>1.272-1.278</c:v>
                </c:pt>
                <c:pt idx="189">
                  <c:v>1.278-1.285</c:v>
                </c:pt>
                <c:pt idx="190">
                  <c:v>1.285-1.292</c:v>
                </c:pt>
                <c:pt idx="191">
                  <c:v>1.292-1.298</c:v>
                </c:pt>
                <c:pt idx="192">
                  <c:v>1.298-1.305</c:v>
                </c:pt>
                <c:pt idx="193">
                  <c:v>1.305-1.312</c:v>
                </c:pt>
                <c:pt idx="194">
                  <c:v>1.312-1.319</c:v>
                </c:pt>
                <c:pt idx="195">
                  <c:v>1.319-1.325</c:v>
                </c:pt>
                <c:pt idx="196">
                  <c:v>1.325-1.332</c:v>
                </c:pt>
                <c:pt idx="197">
                  <c:v>1.332-1.339</c:v>
                </c:pt>
                <c:pt idx="198">
                  <c:v>1.339-1.345</c:v>
                </c:pt>
                <c:pt idx="199">
                  <c:v>1.345-1.352</c:v>
                </c:pt>
                <c:pt idx="200">
                  <c:v>1.352-1.359</c:v>
                </c:pt>
                <c:pt idx="201">
                  <c:v>1.359-1.366</c:v>
                </c:pt>
                <c:pt idx="202">
                  <c:v>1.366-1.372</c:v>
                </c:pt>
                <c:pt idx="203">
                  <c:v>1.372-1.379</c:v>
                </c:pt>
                <c:pt idx="204">
                  <c:v>1.379-1.386</c:v>
                </c:pt>
                <c:pt idx="205">
                  <c:v>1.386-1.392</c:v>
                </c:pt>
                <c:pt idx="206">
                  <c:v>1.392-1.399</c:v>
                </c:pt>
                <c:pt idx="207">
                  <c:v>1.399-1.406</c:v>
                </c:pt>
                <c:pt idx="208">
                  <c:v>1.406-1.413</c:v>
                </c:pt>
                <c:pt idx="209">
                  <c:v>1.413-1.419</c:v>
                </c:pt>
                <c:pt idx="210">
                  <c:v>1.419-1.426</c:v>
                </c:pt>
                <c:pt idx="211">
                  <c:v>1.426-1.433</c:v>
                </c:pt>
                <c:pt idx="212">
                  <c:v>1.433-1.439</c:v>
                </c:pt>
                <c:pt idx="213">
                  <c:v>1.439-1.446</c:v>
                </c:pt>
                <c:pt idx="214">
                  <c:v>1.446-1.453</c:v>
                </c:pt>
                <c:pt idx="215">
                  <c:v>1.453-1.460</c:v>
                </c:pt>
                <c:pt idx="216">
                  <c:v>1.460-1.466</c:v>
                </c:pt>
                <c:pt idx="217">
                  <c:v>1.466-1.473</c:v>
                </c:pt>
                <c:pt idx="218">
                  <c:v>1.473-1.480</c:v>
                </c:pt>
                <c:pt idx="219">
                  <c:v>1.480-1.486</c:v>
                </c:pt>
                <c:pt idx="220">
                  <c:v>1.486-1.493</c:v>
                </c:pt>
                <c:pt idx="221">
                  <c:v>1.493-1.500</c:v>
                </c:pt>
                <c:pt idx="222">
                  <c:v>1.500-1.507</c:v>
                </c:pt>
                <c:pt idx="223">
                  <c:v>1.507-1.513</c:v>
                </c:pt>
                <c:pt idx="224">
                  <c:v>1.513-1.520</c:v>
                </c:pt>
                <c:pt idx="225">
                  <c:v>1.520-1.527</c:v>
                </c:pt>
                <c:pt idx="226">
                  <c:v>1.527-1.533</c:v>
                </c:pt>
                <c:pt idx="227">
                  <c:v>1.533-1.540</c:v>
                </c:pt>
                <c:pt idx="228">
                  <c:v>1.540-1.547</c:v>
                </c:pt>
                <c:pt idx="229">
                  <c:v>1.547-1.553</c:v>
                </c:pt>
                <c:pt idx="230">
                  <c:v>1.553-1.560</c:v>
                </c:pt>
                <c:pt idx="231">
                  <c:v>1.560-1.567</c:v>
                </c:pt>
                <c:pt idx="232">
                  <c:v>1.567-1.574</c:v>
                </c:pt>
                <c:pt idx="233">
                  <c:v>1.574-1.580</c:v>
                </c:pt>
                <c:pt idx="234">
                  <c:v>1.580-1.587</c:v>
                </c:pt>
                <c:pt idx="235">
                  <c:v>1.587-1.594</c:v>
                </c:pt>
                <c:pt idx="236">
                  <c:v>1.594-1.600</c:v>
                </c:pt>
                <c:pt idx="237">
                  <c:v>1.600-1.607</c:v>
                </c:pt>
                <c:pt idx="238">
                  <c:v>1.607-1.614</c:v>
                </c:pt>
                <c:pt idx="239">
                  <c:v>1.614-1.621</c:v>
                </c:pt>
                <c:pt idx="240">
                  <c:v>1.621-1.627</c:v>
                </c:pt>
                <c:pt idx="241">
                  <c:v>1.627-1.634</c:v>
                </c:pt>
                <c:pt idx="242">
                  <c:v>1.634-1.641</c:v>
                </c:pt>
                <c:pt idx="243">
                  <c:v>1.641-1.647</c:v>
                </c:pt>
                <c:pt idx="244">
                  <c:v>1.647-1.654</c:v>
                </c:pt>
                <c:pt idx="245">
                  <c:v>1.654-1.661</c:v>
                </c:pt>
                <c:pt idx="246">
                  <c:v>1.661-1.668</c:v>
                </c:pt>
                <c:pt idx="247">
                  <c:v>1.668-1.674</c:v>
                </c:pt>
                <c:pt idx="248">
                  <c:v>1.674-1.681</c:v>
                </c:pt>
                <c:pt idx="249">
                  <c:v>1.681-1.688</c:v>
                </c:pt>
                <c:pt idx="250">
                  <c:v>1.688-1.694</c:v>
                </c:pt>
                <c:pt idx="251">
                  <c:v>1.694-1.701</c:v>
                </c:pt>
                <c:pt idx="252">
                  <c:v>1.701-1.708</c:v>
                </c:pt>
                <c:pt idx="253">
                  <c:v>1.708-1.715</c:v>
                </c:pt>
                <c:pt idx="254">
                  <c:v>1.715-1.721</c:v>
                </c:pt>
                <c:pt idx="255">
                  <c:v>1.721-1.728</c:v>
                </c:pt>
                <c:pt idx="256">
                  <c:v>1.728-1.735</c:v>
                </c:pt>
                <c:pt idx="257">
                  <c:v>1.735-1.741</c:v>
                </c:pt>
                <c:pt idx="258">
                  <c:v>1.741-1.748</c:v>
                </c:pt>
                <c:pt idx="259">
                  <c:v>1.748-1.755</c:v>
                </c:pt>
                <c:pt idx="260">
                  <c:v>1.755-1.762</c:v>
                </c:pt>
                <c:pt idx="261">
                  <c:v>1.762-1.768</c:v>
                </c:pt>
                <c:pt idx="262">
                  <c:v>1.768-1.775</c:v>
                </c:pt>
                <c:pt idx="263">
                  <c:v>1.775-1.782</c:v>
                </c:pt>
                <c:pt idx="264">
                  <c:v>1.782-1.788</c:v>
                </c:pt>
                <c:pt idx="265">
                  <c:v>1.788-1.795</c:v>
                </c:pt>
                <c:pt idx="266">
                  <c:v>1.795-1.802</c:v>
                </c:pt>
                <c:pt idx="267">
                  <c:v>1.802-1.808</c:v>
                </c:pt>
                <c:pt idx="268">
                  <c:v>1.808-1.815</c:v>
                </c:pt>
                <c:pt idx="269">
                  <c:v>1.815-1.822</c:v>
                </c:pt>
                <c:pt idx="270">
                  <c:v>1.822-1.829</c:v>
                </c:pt>
                <c:pt idx="271">
                  <c:v>1.829-1.835</c:v>
                </c:pt>
                <c:pt idx="272">
                  <c:v>1.835-1.842</c:v>
                </c:pt>
                <c:pt idx="273">
                  <c:v>1.842-1.849</c:v>
                </c:pt>
                <c:pt idx="274">
                  <c:v>1.849-1.855</c:v>
                </c:pt>
                <c:pt idx="275">
                  <c:v>1.855-1.862</c:v>
                </c:pt>
                <c:pt idx="276">
                  <c:v>1.862-1.869</c:v>
                </c:pt>
                <c:pt idx="277">
                  <c:v>1.869-1.876</c:v>
                </c:pt>
                <c:pt idx="278">
                  <c:v>1.876-1.882</c:v>
                </c:pt>
                <c:pt idx="279">
                  <c:v>1.882-1.889</c:v>
                </c:pt>
                <c:pt idx="280">
                  <c:v>1.889-1.896</c:v>
                </c:pt>
                <c:pt idx="281">
                  <c:v>1.896-1.902</c:v>
                </c:pt>
                <c:pt idx="282">
                  <c:v>1.902-1.909</c:v>
                </c:pt>
                <c:pt idx="283">
                  <c:v>1.909-1.916</c:v>
                </c:pt>
                <c:pt idx="284">
                  <c:v>1.916-1.923</c:v>
                </c:pt>
                <c:pt idx="285">
                  <c:v>1.923-1.929</c:v>
                </c:pt>
                <c:pt idx="286">
                  <c:v>1.929-1.936</c:v>
                </c:pt>
                <c:pt idx="287">
                  <c:v>1.936-1.943</c:v>
                </c:pt>
                <c:pt idx="288">
                  <c:v>1.943-1.949</c:v>
                </c:pt>
                <c:pt idx="289">
                  <c:v>1.949-1.956</c:v>
                </c:pt>
                <c:pt idx="290">
                  <c:v>1.956-1.963</c:v>
                </c:pt>
                <c:pt idx="291">
                  <c:v>1.963-1.970</c:v>
                </c:pt>
                <c:pt idx="292">
                  <c:v>1.970-1.976</c:v>
                </c:pt>
                <c:pt idx="293">
                  <c:v>1.976-1.983</c:v>
                </c:pt>
                <c:pt idx="294">
                  <c:v>1.983-1.990</c:v>
                </c:pt>
                <c:pt idx="295">
                  <c:v>1.990-1.996</c:v>
                </c:pt>
                <c:pt idx="296">
                  <c:v>1.996-2.003</c:v>
                </c:pt>
                <c:pt idx="297">
                  <c:v>2.003-2.010</c:v>
                </c:pt>
                <c:pt idx="298">
                  <c:v>2.010-2.017</c:v>
                </c:pt>
                <c:pt idx="299">
                  <c:v>2.017-2.023</c:v>
                </c:pt>
                <c:pt idx="300">
                  <c:v>2.023-2.030</c:v>
                </c:pt>
                <c:pt idx="301">
                  <c:v>2.030-2.037</c:v>
                </c:pt>
                <c:pt idx="302">
                  <c:v>2.037-2.043</c:v>
                </c:pt>
                <c:pt idx="303">
                  <c:v>2.043-2.050</c:v>
                </c:pt>
                <c:pt idx="304">
                  <c:v>2.050-2.057</c:v>
                </c:pt>
                <c:pt idx="305">
                  <c:v>2.057-2.064</c:v>
                </c:pt>
                <c:pt idx="306">
                  <c:v>2.064-2.070</c:v>
                </c:pt>
                <c:pt idx="307">
                  <c:v>2.070-2.077</c:v>
                </c:pt>
                <c:pt idx="308">
                  <c:v>2.077-2.084</c:v>
                </c:pt>
                <c:pt idx="309">
                  <c:v>2.084-2.090</c:v>
                </c:pt>
                <c:pt idx="310">
                  <c:v>2.090-2.097</c:v>
                </c:pt>
                <c:pt idx="311">
                  <c:v>2.097-2.104</c:v>
                </c:pt>
                <c:pt idx="312">
                  <c:v>2.104-2.110</c:v>
                </c:pt>
                <c:pt idx="313">
                  <c:v>2.110-2.117</c:v>
                </c:pt>
                <c:pt idx="314">
                  <c:v>2.117-2.124</c:v>
                </c:pt>
                <c:pt idx="315">
                  <c:v>2.124-2.131</c:v>
                </c:pt>
                <c:pt idx="316">
                  <c:v>2.131-2.137</c:v>
                </c:pt>
                <c:pt idx="317">
                  <c:v>2.137-2.144</c:v>
                </c:pt>
                <c:pt idx="318">
                  <c:v>2.144-2.151</c:v>
                </c:pt>
                <c:pt idx="319">
                  <c:v>2.151-2.157</c:v>
                </c:pt>
                <c:pt idx="320">
                  <c:v>2.157-2.164</c:v>
                </c:pt>
                <c:pt idx="321">
                  <c:v>2.164-2.171</c:v>
                </c:pt>
                <c:pt idx="322">
                  <c:v>2.171-2.178</c:v>
                </c:pt>
                <c:pt idx="323">
                  <c:v>2.178-2.184</c:v>
                </c:pt>
                <c:pt idx="324">
                  <c:v>2.184-2.191</c:v>
                </c:pt>
                <c:pt idx="325">
                  <c:v>2.191-2.198</c:v>
                </c:pt>
                <c:pt idx="326">
                  <c:v>2.198-2.204</c:v>
                </c:pt>
                <c:pt idx="327">
                  <c:v>2.204-2.211</c:v>
                </c:pt>
                <c:pt idx="328">
                  <c:v>2.211-2.218</c:v>
                </c:pt>
                <c:pt idx="329">
                  <c:v>2.218-2.225</c:v>
                </c:pt>
                <c:pt idx="330">
                  <c:v>2.225-2.231</c:v>
                </c:pt>
                <c:pt idx="331">
                  <c:v>2.231-2.238</c:v>
                </c:pt>
                <c:pt idx="332">
                  <c:v>2.238-2.245</c:v>
                </c:pt>
                <c:pt idx="333">
                  <c:v>2.245-2.251</c:v>
                </c:pt>
                <c:pt idx="334">
                  <c:v>2.251-2.258</c:v>
                </c:pt>
                <c:pt idx="335">
                  <c:v>2.258-2.265</c:v>
                </c:pt>
                <c:pt idx="336">
                  <c:v>2.265-2.272</c:v>
                </c:pt>
                <c:pt idx="337">
                  <c:v>2.272-2.278</c:v>
                </c:pt>
                <c:pt idx="338">
                  <c:v>2.278-2.285</c:v>
                </c:pt>
                <c:pt idx="339">
                  <c:v>2.285-2.292</c:v>
                </c:pt>
                <c:pt idx="340">
                  <c:v>2.292-2.298</c:v>
                </c:pt>
                <c:pt idx="341">
                  <c:v>2.298-2.305</c:v>
                </c:pt>
                <c:pt idx="342">
                  <c:v>2.305-2.312</c:v>
                </c:pt>
                <c:pt idx="343">
                  <c:v>2.312-2.319</c:v>
                </c:pt>
                <c:pt idx="344">
                  <c:v>2.319-2.325</c:v>
                </c:pt>
                <c:pt idx="345">
                  <c:v>2.325-2.332</c:v>
                </c:pt>
                <c:pt idx="346">
                  <c:v>2.332-2.339</c:v>
                </c:pt>
                <c:pt idx="347">
                  <c:v>2.339-2.345</c:v>
                </c:pt>
                <c:pt idx="348">
                  <c:v>2.345-2.352</c:v>
                </c:pt>
                <c:pt idx="349">
                  <c:v>2.352-2.359</c:v>
                </c:pt>
                <c:pt idx="350">
                  <c:v>2.359-2.365</c:v>
                </c:pt>
                <c:pt idx="351">
                  <c:v>2.365-2.372</c:v>
                </c:pt>
                <c:pt idx="352">
                  <c:v>2.372-2.379</c:v>
                </c:pt>
                <c:pt idx="353">
                  <c:v>2.379-2.386</c:v>
                </c:pt>
                <c:pt idx="354">
                  <c:v>2.386-2.392</c:v>
                </c:pt>
                <c:pt idx="355">
                  <c:v>2.392-2.399</c:v>
                </c:pt>
                <c:pt idx="356">
                  <c:v>2.399-2.406</c:v>
                </c:pt>
                <c:pt idx="357">
                  <c:v>2.406-2.412</c:v>
                </c:pt>
                <c:pt idx="358">
                  <c:v>2.412-2.419</c:v>
                </c:pt>
                <c:pt idx="359">
                  <c:v>2.419-2.426</c:v>
                </c:pt>
                <c:pt idx="360">
                  <c:v>2.426-2.433</c:v>
                </c:pt>
                <c:pt idx="361">
                  <c:v>2.433-2.439</c:v>
                </c:pt>
                <c:pt idx="362">
                  <c:v>2.439-2.446</c:v>
                </c:pt>
                <c:pt idx="363">
                  <c:v>2.446-2.453</c:v>
                </c:pt>
                <c:pt idx="364">
                  <c:v>2.453-2.459</c:v>
                </c:pt>
                <c:pt idx="365">
                  <c:v>2.459-2.466</c:v>
                </c:pt>
                <c:pt idx="366">
                  <c:v>2.466-2.473</c:v>
                </c:pt>
                <c:pt idx="367">
                  <c:v>2.473-2.480</c:v>
                </c:pt>
                <c:pt idx="368">
                  <c:v>2.480-2.486</c:v>
                </c:pt>
                <c:pt idx="369">
                  <c:v>2.486-2.493</c:v>
                </c:pt>
                <c:pt idx="370">
                  <c:v>2.493-2.500</c:v>
                </c:pt>
                <c:pt idx="371">
                  <c:v>2.500-2.506</c:v>
                </c:pt>
                <c:pt idx="372">
                  <c:v>2.506-2.513</c:v>
                </c:pt>
                <c:pt idx="373">
                  <c:v>2.513-2.520</c:v>
                </c:pt>
                <c:pt idx="374">
                  <c:v>2.520-2.527</c:v>
                </c:pt>
                <c:pt idx="375">
                  <c:v>2.527-2.533</c:v>
                </c:pt>
                <c:pt idx="376">
                  <c:v>2.533-2.540</c:v>
                </c:pt>
                <c:pt idx="377">
                  <c:v>2.540-2.547</c:v>
                </c:pt>
                <c:pt idx="378">
                  <c:v>2.547-2.553</c:v>
                </c:pt>
                <c:pt idx="379">
                  <c:v>2.553-2.560</c:v>
                </c:pt>
                <c:pt idx="380">
                  <c:v>2.560-2.567</c:v>
                </c:pt>
                <c:pt idx="381">
                  <c:v>2.567-2.574</c:v>
                </c:pt>
                <c:pt idx="382">
                  <c:v>2.574-2.580</c:v>
                </c:pt>
                <c:pt idx="383">
                  <c:v>2.580-2.587</c:v>
                </c:pt>
                <c:pt idx="384">
                  <c:v>2.587-2.594</c:v>
                </c:pt>
                <c:pt idx="385">
                  <c:v>2.594-2.600</c:v>
                </c:pt>
                <c:pt idx="386">
                  <c:v>2.600-2.607</c:v>
                </c:pt>
                <c:pt idx="387">
                  <c:v>2.607-2.614</c:v>
                </c:pt>
                <c:pt idx="388">
                  <c:v>2.614-2.621</c:v>
                </c:pt>
                <c:pt idx="389">
                  <c:v>2.621-2.627</c:v>
                </c:pt>
                <c:pt idx="390">
                  <c:v>2.627-2.634</c:v>
                </c:pt>
                <c:pt idx="391">
                  <c:v>2.634-2.641</c:v>
                </c:pt>
                <c:pt idx="392">
                  <c:v>2.641-2.647</c:v>
                </c:pt>
                <c:pt idx="393">
                  <c:v>2.647-2.654</c:v>
                </c:pt>
                <c:pt idx="394">
                  <c:v>2.654-2.661</c:v>
                </c:pt>
                <c:pt idx="395">
                  <c:v>2.661-2.667</c:v>
                </c:pt>
                <c:pt idx="396">
                  <c:v>2.667-2.674</c:v>
                </c:pt>
                <c:pt idx="397">
                  <c:v>2.674-2.681</c:v>
                </c:pt>
                <c:pt idx="398">
                  <c:v>2.681-2.688</c:v>
                </c:pt>
                <c:pt idx="399">
                  <c:v>2.688-2.694</c:v>
                </c:pt>
                <c:pt idx="400">
                  <c:v>2.694-2.701</c:v>
                </c:pt>
                <c:pt idx="401">
                  <c:v>2.701-2.708</c:v>
                </c:pt>
                <c:pt idx="402">
                  <c:v>2.708-2.714</c:v>
                </c:pt>
                <c:pt idx="403">
                  <c:v>2.714-2.721</c:v>
                </c:pt>
                <c:pt idx="404">
                  <c:v>2.721-2.728</c:v>
                </c:pt>
                <c:pt idx="405">
                  <c:v>2.728-2.735</c:v>
                </c:pt>
                <c:pt idx="406">
                  <c:v>2.735-2.741</c:v>
                </c:pt>
                <c:pt idx="407">
                  <c:v>2.741-2.748</c:v>
                </c:pt>
                <c:pt idx="408">
                  <c:v>2.748-2.755</c:v>
                </c:pt>
                <c:pt idx="409">
                  <c:v>2.755-2.761</c:v>
                </c:pt>
                <c:pt idx="410">
                  <c:v>2.761-2.768</c:v>
                </c:pt>
                <c:pt idx="411">
                  <c:v>2.768-2.775</c:v>
                </c:pt>
                <c:pt idx="412">
                  <c:v>2.775-2.782</c:v>
                </c:pt>
                <c:pt idx="413">
                  <c:v>2.782-2.788</c:v>
                </c:pt>
                <c:pt idx="414">
                  <c:v>2.788-2.795</c:v>
                </c:pt>
                <c:pt idx="415">
                  <c:v>2.795-2.802</c:v>
                </c:pt>
                <c:pt idx="416">
                  <c:v>2.802-2.808</c:v>
                </c:pt>
                <c:pt idx="417">
                  <c:v>2.808-2.815</c:v>
                </c:pt>
                <c:pt idx="418">
                  <c:v>2.815-2.822</c:v>
                </c:pt>
                <c:pt idx="419">
                  <c:v>2.822-2.829</c:v>
                </c:pt>
                <c:pt idx="420">
                  <c:v>2.829-2.835</c:v>
                </c:pt>
                <c:pt idx="421">
                  <c:v>2.835-2.842</c:v>
                </c:pt>
                <c:pt idx="422">
                  <c:v>2.842-2.849</c:v>
                </c:pt>
                <c:pt idx="423">
                  <c:v>2.849-2.855</c:v>
                </c:pt>
                <c:pt idx="424">
                  <c:v>2.855-2.862</c:v>
                </c:pt>
                <c:pt idx="425">
                  <c:v>2.862-2.869</c:v>
                </c:pt>
                <c:pt idx="426">
                  <c:v>2.869-2.876</c:v>
                </c:pt>
                <c:pt idx="427">
                  <c:v>2.876-2.882</c:v>
                </c:pt>
                <c:pt idx="428">
                  <c:v>2.882-2.889</c:v>
                </c:pt>
                <c:pt idx="429">
                  <c:v>2.889-2.896</c:v>
                </c:pt>
                <c:pt idx="430">
                  <c:v>2.896-2.902</c:v>
                </c:pt>
                <c:pt idx="431">
                  <c:v>2.902-2.909</c:v>
                </c:pt>
                <c:pt idx="432">
                  <c:v>2.909-2.916</c:v>
                </c:pt>
                <c:pt idx="433">
                  <c:v>2.916-2.922</c:v>
                </c:pt>
                <c:pt idx="434">
                  <c:v>2.922-2.929</c:v>
                </c:pt>
                <c:pt idx="435">
                  <c:v>2.929-2.936</c:v>
                </c:pt>
                <c:pt idx="436">
                  <c:v>2.936-2.943</c:v>
                </c:pt>
                <c:pt idx="437">
                  <c:v>2.943-2.949</c:v>
                </c:pt>
                <c:pt idx="438">
                  <c:v>2.949-2.956</c:v>
                </c:pt>
                <c:pt idx="439">
                  <c:v>2.956-2.963</c:v>
                </c:pt>
                <c:pt idx="440">
                  <c:v>2.963-2.969</c:v>
                </c:pt>
                <c:pt idx="441">
                  <c:v>2.969-2.976</c:v>
                </c:pt>
                <c:pt idx="442">
                  <c:v>2.976-2.983</c:v>
                </c:pt>
                <c:pt idx="443">
                  <c:v>2.983-2.990</c:v>
                </c:pt>
                <c:pt idx="444">
                  <c:v>2.990-2.996</c:v>
                </c:pt>
                <c:pt idx="445">
                  <c:v>2.996-3.003</c:v>
                </c:pt>
                <c:pt idx="446">
                  <c:v>3.003-3.010</c:v>
                </c:pt>
                <c:pt idx="447">
                  <c:v>3.010-3.016</c:v>
                </c:pt>
                <c:pt idx="448">
                  <c:v>3.016-3.023</c:v>
                </c:pt>
                <c:pt idx="449">
                  <c:v>3.023-3.030</c:v>
                </c:pt>
                <c:pt idx="450">
                  <c:v>3.030-3.037</c:v>
                </c:pt>
                <c:pt idx="451">
                  <c:v>3.037-3.043</c:v>
                </c:pt>
                <c:pt idx="452">
                  <c:v>3.043-3.050</c:v>
                </c:pt>
                <c:pt idx="453">
                  <c:v>3.050-3.057</c:v>
                </c:pt>
                <c:pt idx="454">
                  <c:v>3.057-3.063</c:v>
                </c:pt>
                <c:pt idx="455">
                  <c:v>3.063-3.070</c:v>
                </c:pt>
                <c:pt idx="456">
                  <c:v>3.070-3.077</c:v>
                </c:pt>
                <c:pt idx="457">
                  <c:v>3.077-3.084</c:v>
                </c:pt>
                <c:pt idx="458">
                  <c:v>3.084-3.090</c:v>
                </c:pt>
                <c:pt idx="459">
                  <c:v>3.090-3.097</c:v>
                </c:pt>
                <c:pt idx="460">
                  <c:v>3.097-3.104</c:v>
                </c:pt>
                <c:pt idx="461">
                  <c:v>3.104-3.110</c:v>
                </c:pt>
                <c:pt idx="462">
                  <c:v>3.110-3.117</c:v>
                </c:pt>
                <c:pt idx="463">
                  <c:v>3.117-3.124</c:v>
                </c:pt>
                <c:pt idx="464">
                  <c:v>3.124-3.131</c:v>
                </c:pt>
                <c:pt idx="465">
                  <c:v>3.131-3.137</c:v>
                </c:pt>
                <c:pt idx="466">
                  <c:v>3.137-3.144</c:v>
                </c:pt>
                <c:pt idx="467">
                  <c:v>3.144-3.151</c:v>
                </c:pt>
                <c:pt idx="468">
                  <c:v>3.151-3.157</c:v>
                </c:pt>
                <c:pt idx="469">
                  <c:v>3.157-3.164</c:v>
                </c:pt>
                <c:pt idx="470">
                  <c:v>3.164-3.171</c:v>
                </c:pt>
                <c:pt idx="471">
                  <c:v>3.171-3.177</c:v>
                </c:pt>
                <c:pt idx="472">
                  <c:v>3.177-3.184</c:v>
                </c:pt>
                <c:pt idx="473">
                  <c:v>3.184-3.191</c:v>
                </c:pt>
                <c:pt idx="474">
                  <c:v>3.191-3.198</c:v>
                </c:pt>
                <c:pt idx="475">
                  <c:v>3.198-3.204</c:v>
                </c:pt>
                <c:pt idx="476">
                  <c:v>3.204-3.211</c:v>
                </c:pt>
                <c:pt idx="477">
                  <c:v>3.211-3.218</c:v>
                </c:pt>
                <c:pt idx="478">
                  <c:v>3.218-3.224</c:v>
                </c:pt>
                <c:pt idx="479">
                  <c:v>3.224-3.231</c:v>
                </c:pt>
                <c:pt idx="480">
                  <c:v>3.231-3.238</c:v>
                </c:pt>
                <c:pt idx="481">
                  <c:v>3.238-3.245</c:v>
                </c:pt>
                <c:pt idx="482">
                  <c:v>3.245-3.251</c:v>
                </c:pt>
                <c:pt idx="483">
                  <c:v>3.251-3.258</c:v>
                </c:pt>
                <c:pt idx="484">
                  <c:v>3.258-3.265</c:v>
                </c:pt>
                <c:pt idx="485">
                  <c:v>3.265-3.271</c:v>
                </c:pt>
                <c:pt idx="486">
                  <c:v>3.271-3.278</c:v>
                </c:pt>
                <c:pt idx="487">
                  <c:v>3.278-3.285</c:v>
                </c:pt>
                <c:pt idx="488">
                  <c:v>3.285-3.292</c:v>
                </c:pt>
                <c:pt idx="489">
                  <c:v>3.292-3.298</c:v>
                </c:pt>
                <c:pt idx="490">
                  <c:v>3.298-3.305</c:v>
                </c:pt>
                <c:pt idx="491">
                  <c:v>3.305-3.312</c:v>
                </c:pt>
                <c:pt idx="492">
                  <c:v>3.312-3.318</c:v>
                </c:pt>
                <c:pt idx="493">
                  <c:v>3.318-3.325</c:v>
                </c:pt>
                <c:pt idx="494">
                  <c:v>3.325-3.332</c:v>
                </c:pt>
                <c:pt idx="495">
                  <c:v>3.332-3.339</c:v>
                </c:pt>
                <c:pt idx="496">
                  <c:v>3.339-3.345</c:v>
                </c:pt>
                <c:pt idx="497">
                  <c:v>3.345-3.352</c:v>
                </c:pt>
                <c:pt idx="498">
                  <c:v>3.352-3.359</c:v>
                </c:pt>
                <c:pt idx="499">
                  <c:v>3.359-3.365</c:v>
                </c:pt>
                <c:pt idx="500">
                  <c:v>3.365-3.372</c:v>
                </c:pt>
                <c:pt idx="501">
                  <c:v>3.372-3.379</c:v>
                </c:pt>
                <c:pt idx="502">
                  <c:v>3.379-3.386</c:v>
                </c:pt>
                <c:pt idx="503">
                  <c:v>3.386-3.392</c:v>
                </c:pt>
                <c:pt idx="504">
                  <c:v>3.392-3.399</c:v>
                </c:pt>
                <c:pt idx="505">
                  <c:v>3.399-3.406</c:v>
                </c:pt>
                <c:pt idx="506">
                  <c:v>3.406-3.412</c:v>
                </c:pt>
                <c:pt idx="507">
                  <c:v>3.412-3.419</c:v>
                </c:pt>
                <c:pt idx="508">
                  <c:v>3.419-3.426</c:v>
                </c:pt>
                <c:pt idx="509">
                  <c:v>3.426-3.433</c:v>
                </c:pt>
                <c:pt idx="510">
                  <c:v>3.433-3.439</c:v>
                </c:pt>
                <c:pt idx="511">
                  <c:v>3.439-3.446</c:v>
                </c:pt>
                <c:pt idx="512">
                  <c:v>3.446-3.453</c:v>
                </c:pt>
                <c:pt idx="513">
                  <c:v>3.453-3.459</c:v>
                </c:pt>
                <c:pt idx="514">
                  <c:v>3.459-3.466</c:v>
                </c:pt>
                <c:pt idx="515">
                  <c:v>3.466-3.473</c:v>
                </c:pt>
                <c:pt idx="516">
                  <c:v>3.473-3.479</c:v>
                </c:pt>
                <c:pt idx="517">
                  <c:v>3.479-3.486</c:v>
                </c:pt>
                <c:pt idx="518">
                  <c:v>3.486-3.493</c:v>
                </c:pt>
                <c:pt idx="519">
                  <c:v>3.493-3.500</c:v>
                </c:pt>
                <c:pt idx="520">
                  <c:v>3.500-3.506</c:v>
                </c:pt>
                <c:pt idx="521">
                  <c:v>3.506-3.513</c:v>
                </c:pt>
                <c:pt idx="522">
                  <c:v>3.513-3.520</c:v>
                </c:pt>
                <c:pt idx="523">
                  <c:v>3.520-3.526</c:v>
                </c:pt>
                <c:pt idx="524">
                  <c:v>3.526-3.533</c:v>
                </c:pt>
                <c:pt idx="525">
                  <c:v>3.533-3.540</c:v>
                </c:pt>
                <c:pt idx="526">
                  <c:v>3.540-3.547</c:v>
                </c:pt>
                <c:pt idx="527">
                  <c:v>3.547-3.553</c:v>
                </c:pt>
                <c:pt idx="528">
                  <c:v>3.553-3.560</c:v>
                </c:pt>
                <c:pt idx="529">
                  <c:v>3.560-3.567</c:v>
                </c:pt>
                <c:pt idx="530">
                  <c:v>3.567-3.573</c:v>
                </c:pt>
                <c:pt idx="531">
                  <c:v>3.573-3.580</c:v>
                </c:pt>
                <c:pt idx="532">
                  <c:v>3.580-3.587</c:v>
                </c:pt>
                <c:pt idx="533">
                  <c:v>3.587-3.594</c:v>
                </c:pt>
                <c:pt idx="534">
                  <c:v>3.594-3.600</c:v>
                </c:pt>
                <c:pt idx="535">
                  <c:v>3.600-3.607</c:v>
                </c:pt>
                <c:pt idx="536">
                  <c:v>3.607-3.614</c:v>
                </c:pt>
                <c:pt idx="537">
                  <c:v>3.614-3.620</c:v>
                </c:pt>
                <c:pt idx="538">
                  <c:v>3.620-3.627</c:v>
                </c:pt>
                <c:pt idx="539">
                  <c:v>3.627-3.634</c:v>
                </c:pt>
                <c:pt idx="540">
                  <c:v>3.634-3.641</c:v>
                </c:pt>
                <c:pt idx="541">
                  <c:v>3.641-3.647</c:v>
                </c:pt>
                <c:pt idx="542">
                  <c:v>3.647-3.654</c:v>
                </c:pt>
                <c:pt idx="543">
                  <c:v>3.654-3.661</c:v>
                </c:pt>
                <c:pt idx="544">
                  <c:v>3.661-3.667</c:v>
                </c:pt>
                <c:pt idx="545">
                  <c:v>3.667-3.674</c:v>
                </c:pt>
                <c:pt idx="546">
                  <c:v>3.674-3.681</c:v>
                </c:pt>
                <c:pt idx="547">
                  <c:v>3.681-3.688</c:v>
                </c:pt>
                <c:pt idx="548">
                  <c:v>3.688-3.694</c:v>
                </c:pt>
                <c:pt idx="549">
                  <c:v>3.694-3.701</c:v>
                </c:pt>
                <c:pt idx="550">
                  <c:v>3.701-3.708</c:v>
                </c:pt>
                <c:pt idx="551">
                  <c:v>3.708-3.714</c:v>
                </c:pt>
                <c:pt idx="552">
                  <c:v>3.714-3.721</c:v>
                </c:pt>
                <c:pt idx="553">
                  <c:v>3.721-3.728</c:v>
                </c:pt>
                <c:pt idx="554">
                  <c:v>3.728-3.734</c:v>
                </c:pt>
                <c:pt idx="555">
                  <c:v>3.734-3.741</c:v>
                </c:pt>
                <c:pt idx="556">
                  <c:v>3.741-3.748</c:v>
                </c:pt>
                <c:pt idx="557">
                  <c:v>3.748-3.755</c:v>
                </c:pt>
                <c:pt idx="558">
                  <c:v>3.755-3.761</c:v>
                </c:pt>
                <c:pt idx="559">
                  <c:v>3.761-3.768</c:v>
                </c:pt>
                <c:pt idx="560">
                  <c:v>3.768-3.775</c:v>
                </c:pt>
                <c:pt idx="561">
                  <c:v>3.775-3.781</c:v>
                </c:pt>
                <c:pt idx="562">
                  <c:v>3.781-3.788</c:v>
                </c:pt>
                <c:pt idx="563">
                  <c:v>3.788-3.795</c:v>
                </c:pt>
                <c:pt idx="564">
                  <c:v>3.795-3.802</c:v>
                </c:pt>
                <c:pt idx="565">
                  <c:v>3.802-3.808</c:v>
                </c:pt>
                <c:pt idx="566">
                  <c:v>3.808-3.815</c:v>
                </c:pt>
                <c:pt idx="567">
                  <c:v>3.815-3.822</c:v>
                </c:pt>
                <c:pt idx="568">
                  <c:v>3.822-3.828</c:v>
                </c:pt>
                <c:pt idx="569">
                  <c:v>3.828-3.835</c:v>
                </c:pt>
                <c:pt idx="570">
                  <c:v>3.835-3.842</c:v>
                </c:pt>
                <c:pt idx="571">
                  <c:v>3.842-3.849</c:v>
                </c:pt>
                <c:pt idx="572">
                  <c:v>3.849-3.855</c:v>
                </c:pt>
                <c:pt idx="573">
                  <c:v>3.855-3.862</c:v>
                </c:pt>
                <c:pt idx="574">
                  <c:v>3.862-3.869</c:v>
                </c:pt>
                <c:pt idx="575">
                  <c:v>3.869-3.875</c:v>
                </c:pt>
                <c:pt idx="576">
                  <c:v>3.875-3.882</c:v>
                </c:pt>
                <c:pt idx="577">
                  <c:v>3.882-3.889</c:v>
                </c:pt>
                <c:pt idx="578">
                  <c:v>3.889-3.896</c:v>
                </c:pt>
                <c:pt idx="579">
                  <c:v>3.896-3.902</c:v>
                </c:pt>
                <c:pt idx="580">
                  <c:v>3.902-3.909</c:v>
                </c:pt>
                <c:pt idx="581">
                  <c:v>3.909-3.916</c:v>
                </c:pt>
                <c:pt idx="582">
                  <c:v>3.916-3.922</c:v>
                </c:pt>
                <c:pt idx="583">
                  <c:v>3.922-3.929</c:v>
                </c:pt>
                <c:pt idx="584">
                  <c:v>3.929-3.936</c:v>
                </c:pt>
                <c:pt idx="585">
                  <c:v>3.936-3.943</c:v>
                </c:pt>
                <c:pt idx="586">
                  <c:v>3.943-3.949</c:v>
                </c:pt>
                <c:pt idx="587">
                  <c:v>3.949-3.956</c:v>
                </c:pt>
                <c:pt idx="588">
                  <c:v>3.956-3.963</c:v>
                </c:pt>
                <c:pt idx="589">
                  <c:v>3.963-3.969</c:v>
                </c:pt>
                <c:pt idx="590">
                  <c:v>3.969-3.976</c:v>
                </c:pt>
                <c:pt idx="591">
                  <c:v>3.976-3.983</c:v>
                </c:pt>
                <c:pt idx="592">
                  <c:v>3.983-3.990</c:v>
                </c:pt>
                <c:pt idx="593">
                  <c:v>3.990-3.996</c:v>
                </c:pt>
                <c:pt idx="594">
                  <c:v>3.996-4.003</c:v>
                </c:pt>
                <c:pt idx="595">
                  <c:v>4.003-4.010</c:v>
                </c:pt>
                <c:pt idx="596">
                  <c:v>4.010-4.016</c:v>
                </c:pt>
                <c:pt idx="597">
                  <c:v>4.016-4.023</c:v>
                </c:pt>
                <c:pt idx="598">
                  <c:v>4.023-4.030</c:v>
                </c:pt>
                <c:pt idx="599">
                  <c:v>4.030-4.036</c:v>
                </c:pt>
                <c:pt idx="600">
                  <c:v>4.036-4.043</c:v>
                </c:pt>
                <c:pt idx="601">
                  <c:v>4.043-4.050</c:v>
                </c:pt>
                <c:pt idx="602">
                  <c:v>4.050-4.057</c:v>
                </c:pt>
                <c:pt idx="603">
                  <c:v>4.057-4.063</c:v>
                </c:pt>
                <c:pt idx="604">
                  <c:v>4.063-4.070</c:v>
                </c:pt>
                <c:pt idx="605">
                  <c:v>4.070-4.077</c:v>
                </c:pt>
                <c:pt idx="606">
                  <c:v>4.077-4.083</c:v>
                </c:pt>
                <c:pt idx="607">
                  <c:v>4.083-4.090</c:v>
                </c:pt>
                <c:pt idx="608">
                  <c:v>4.090-4.097</c:v>
                </c:pt>
                <c:pt idx="609">
                  <c:v>4.097-4.104</c:v>
                </c:pt>
                <c:pt idx="610">
                  <c:v>4.104-4.110</c:v>
                </c:pt>
                <c:pt idx="611">
                  <c:v>4.110-4.117</c:v>
                </c:pt>
                <c:pt idx="612">
                  <c:v>4.117-4.124</c:v>
                </c:pt>
                <c:pt idx="613">
                  <c:v>4.124-4.130</c:v>
                </c:pt>
                <c:pt idx="614">
                  <c:v>4.130-4.137</c:v>
                </c:pt>
                <c:pt idx="615">
                  <c:v>4.137-4.144</c:v>
                </c:pt>
                <c:pt idx="616">
                  <c:v>4.144-4.151</c:v>
                </c:pt>
                <c:pt idx="617">
                  <c:v>4.151-4.157</c:v>
                </c:pt>
                <c:pt idx="618">
                  <c:v>4.157-4.164</c:v>
                </c:pt>
                <c:pt idx="619">
                  <c:v>4.164-4.171</c:v>
                </c:pt>
                <c:pt idx="620">
                  <c:v>4.171-4.177</c:v>
                </c:pt>
                <c:pt idx="621">
                  <c:v>4.177-4.184</c:v>
                </c:pt>
                <c:pt idx="622">
                  <c:v>4.184-4.191</c:v>
                </c:pt>
                <c:pt idx="623">
                  <c:v>4.191-4.198</c:v>
                </c:pt>
                <c:pt idx="624">
                  <c:v>4.198-4.204</c:v>
                </c:pt>
                <c:pt idx="625">
                  <c:v>4.204-4.211</c:v>
                </c:pt>
                <c:pt idx="626">
                  <c:v>4.211-4.218</c:v>
                </c:pt>
                <c:pt idx="627">
                  <c:v>4.218-4.224</c:v>
                </c:pt>
                <c:pt idx="628">
                  <c:v>4.224-4.231</c:v>
                </c:pt>
                <c:pt idx="629">
                  <c:v>4.231-4.238</c:v>
                </c:pt>
                <c:pt idx="630">
                  <c:v>4.238-4.245</c:v>
                </c:pt>
                <c:pt idx="631">
                  <c:v>4.245-4.251</c:v>
                </c:pt>
                <c:pt idx="632">
                  <c:v>4.251-4.258</c:v>
                </c:pt>
                <c:pt idx="633">
                  <c:v>4.258-4.265</c:v>
                </c:pt>
                <c:pt idx="634">
                  <c:v>4.265-4.271</c:v>
                </c:pt>
                <c:pt idx="635">
                  <c:v>4.271-4.278</c:v>
                </c:pt>
                <c:pt idx="636">
                  <c:v>4.278-4.285</c:v>
                </c:pt>
                <c:pt idx="637">
                  <c:v>4.285-4.291</c:v>
                </c:pt>
                <c:pt idx="638">
                  <c:v>4.291-4.298</c:v>
                </c:pt>
                <c:pt idx="639">
                  <c:v>4.298-4.305</c:v>
                </c:pt>
                <c:pt idx="640">
                  <c:v>4.305-4.312</c:v>
                </c:pt>
                <c:pt idx="641">
                  <c:v>4.312-4.318</c:v>
                </c:pt>
                <c:pt idx="642">
                  <c:v>4.318-4.325</c:v>
                </c:pt>
                <c:pt idx="643">
                  <c:v>4.325-4.332</c:v>
                </c:pt>
                <c:pt idx="644">
                  <c:v>4.332-4.338</c:v>
                </c:pt>
                <c:pt idx="645">
                  <c:v>4.338-4.345</c:v>
                </c:pt>
                <c:pt idx="646">
                  <c:v>4.345-4.352</c:v>
                </c:pt>
                <c:pt idx="647">
                  <c:v>4.352-4.359</c:v>
                </c:pt>
                <c:pt idx="648">
                  <c:v>4.359-4.365</c:v>
                </c:pt>
                <c:pt idx="649">
                  <c:v>4.365-4.372</c:v>
                </c:pt>
                <c:pt idx="650">
                  <c:v>4.372-4.379</c:v>
                </c:pt>
                <c:pt idx="651">
                  <c:v>4.379-4.385</c:v>
                </c:pt>
                <c:pt idx="652">
                  <c:v>4.385-4.392</c:v>
                </c:pt>
                <c:pt idx="653">
                  <c:v>4.392-4.399</c:v>
                </c:pt>
                <c:pt idx="654">
                  <c:v>4.399-4.406</c:v>
                </c:pt>
                <c:pt idx="655">
                  <c:v>4.406-4.412</c:v>
                </c:pt>
                <c:pt idx="656">
                  <c:v>4.412-4.419</c:v>
                </c:pt>
                <c:pt idx="657">
                  <c:v>4.419-4.426</c:v>
                </c:pt>
                <c:pt idx="658">
                  <c:v>4.426-4.432</c:v>
                </c:pt>
                <c:pt idx="659">
                  <c:v>4.432-4.439</c:v>
                </c:pt>
                <c:pt idx="660">
                  <c:v>4.439-4.446</c:v>
                </c:pt>
                <c:pt idx="661">
                  <c:v>4.446-4.453</c:v>
                </c:pt>
                <c:pt idx="662">
                  <c:v>4.453-4.459</c:v>
                </c:pt>
                <c:pt idx="663">
                  <c:v>4.459-4.466</c:v>
                </c:pt>
                <c:pt idx="664">
                  <c:v>4.466-4.473</c:v>
                </c:pt>
                <c:pt idx="665">
                  <c:v>4.473-4.479</c:v>
                </c:pt>
                <c:pt idx="666">
                  <c:v>4.479-4.486</c:v>
                </c:pt>
                <c:pt idx="667">
                  <c:v>4.486-4.493</c:v>
                </c:pt>
                <c:pt idx="668">
                  <c:v>4.493-4.500</c:v>
                </c:pt>
                <c:pt idx="669">
                  <c:v>4.500-4.506</c:v>
                </c:pt>
                <c:pt idx="670">
                  <c:v>4.506-4.513</c:v>
                </c:pt>
                <c:pt idx="671">
                  <c:v>4.513-4.520</c:v>
                </c:pt>
                <c:pt idx="672">
                  <c:v>4.520-4.526</c:v>
                </c:pt>
                <c:pt idx="673">
                  <c:v>4.526-4.533</c:v>
                </c:pt>
                <c:pt idx="674">
                  <c:v>4.533-4.540</c:v>
                </c:pt>
                <c:pt idx="675">
                  <c:v>4.540-4.547</c:v>
                </c:pt>
                <c:pt idx="676">
                  <c:v>4.547-4.553</c:v>
                </c:pt>
                <c:pt idx="677">
                  <c:v>4.553-4.560</c:v>
                </c:pt>
                <c:pt idx="678">
                  <c:v>4.560-4.567</c:v>
                </c:pt>
                <c:pt idx="679">
                  <c:v>4.567-4.573</c:v>
                </c:pt>
                <c:pt idx="680">
                  <c:v>4.573-4.580</c:v>
                </c:pt>
                <c:pt idx="681">
                  <c:v>4.580-4.587</c:v>
                </c:pt>
                <c:pt idx="682">
                  <c:v>4.587-4.593</c:v>
                </c:pt>
                <c:pt idx="683">
                  <c:v>4.593-4.600</c:v>
                </c:pt>
                <c:pt idx="684">
                  <c:v>4.600-4.607</c:v>
                </c:pt>
                <c:pt idx="685">
                  <c:v>4.607-4.614</c:v>
                </c:pt>
                <c:pt idx="686">
                  <c:v>4.614-4.620</c:v>
                </c:pt>
                <c:pt idx="687">
                  <c:v>4.620-4.627</c:v>
                </c:pt>
                <c:pt idx="688">
                  <c:v>4.627-4.634</c:v>
                </c:pt>
                <c:pt idx="689">
                  <c:v>4.634-4.640</c:v>
                </c:pt>
                <c:pt idx="690">
                  <c:v>4.640-4.647</c:v>
                </c:pt>
                <c:pt idx="691">
                  <c:v>4.647-4.654</c:v>
                </c:pt>
                <c:pt idx="692">
                  <c:v>4.654-4.661</c:v>
                </c:pt>
                <c:pt idx="693">
                  <c:v>4.661-4.667</c:v>
                </c:pt>
                <c:pt idx="694">
                  <c:v>4.667-4.674</c:v>
                </c:pt>
                <c:pt idx="695">
                  <c:v>4.674-4.681</c:v>
                </c:pt>
                <c:pt idx="696">
                  <c:v>4.681-4.687</c:v>
                </c:pt>
                <c:pt idx="697">
                  <c:v>4.687-4.694</c:v>
                </c:pt>
                <c:pt idx="698">
                  <c:v>4.694-4.701</c:v>
                </c:pt>
                <c:pt idx="699">
                  <c:v>4.701-4.708</c:v>
                </c:pt>
                <c:pt idx="700">
                  <c:v>4.708-4.714</c:v>
                </c:pt>
                <c:pt idx="701">
                  <c:v>4.714-4.721</c:v>
                </c:pt>
                <c:pt idx="702">
                  <c:v>4.721-4.728</c:v>
                </c:pt>
                <c:pt idx="703">
                  <c:v>4.728-4.734</c:v>
                </c:pt>
                <c:pt idx="704">
                  <c:v>4.734-4.741</c:v>
                </c:pt>
                <c:pt idx="705">
                  <c:v>4.741-4.748</c:v>
                </c:pt>
                <c:pt idx="706">
                  <c:v>4.748-4.755</c:v>
                </c:pt>
                <c:pt idx="707">
                  <c:v>4.755-4.761</c:v>
                </c:pt>
                <c:pt idx="708">
                  <c:v>4.761-4.768</c:v>
                </c:pt>
                <c:pt idx="709">
                  <c:v>4.768-4.775</c:v>
                </c:pt>
                <c:pt idx="710">
                  <c:v>4.775-4.781</c:v>
                </c:pt>
                <c:pt idx="711">
                  <c:v>4.781-4.788</c:v>
                </c:pt>
                <c:pt idx="712">
                  <c:v>4.788-4.795</c:v>
                </c:pt>
                <c:pt idx="713">
                  <c:v>4.795-4.802</c:v>
                </c:pt>
                <c:pt idx="714">
                  <c:v>4.802-4.808</c:v>
                </c:pt>
                <c:pt idx="715">
                  <c:v>4.808-4.815</c:v>
                </c:pt>
                <c:pt idx="716">
                  <c:v>4.815-4.822</c:v>
                </c:pt>
                <c:pt idx="717">
                  <c:v>4.822-4.828</c:v>
                </c:pt>
                <c:pt idx="718">
                  <c:v>4.828-4.835</c:v>
                </c:pt>
                <c:pt idx="719">
                  <c:v>4.835-4.842</c:v>
                </c:pt>
                <c:pt idx="720">
                  <c:v>4.842-4.848</c:v>
                </c:pt>
                <c:pt idx="721">
                  <c:v>4.848-4.855</c:v>
                </c:pt>
                <c:pt idx="722">
                  <c:v>4.855-4.862</c:v>
                </c:pt>
                <c:pt idx="723">
                  <c:v>4.862-4.869</c:v>
                </c:pt>
                <c:pt idx="724">
                  <c:v>4.869-4.875</c:v>
                </c:pt>
                <c:pt idx="725">
                  <c:v>4.875-4.882</c:v>
                </c:pt>
                <c:pt idx="726">
                  <c:v>4.882-4.889</c:v>
                </c:pt>
                <c:pt idx="727">
                  <c:v>4.889-4.895</c:v>
                </c:pt>
                <c:pt idx="728">
                  <c:v>4.895-4.902</c:v>
                </c:pt>
                <c:pt idx="729">
                  <c:v>4.902-4.909</c:v>
                </c:pt>
                <c:pt idx="730">
                  <c:v>4.909-4.916</c:v>
                </c:pt>
                <c:pt idx="731">
                  <c:v>4.916-4.922</c:v>
                </c:pt>
                <c:pt idx="732">
                  <c:v>4.922-4.929</c:v>
                </c:pt>
                <c:pt idx="733">
                  <c:v>4.929-4.936</c:v>
                </c:pt>
                <c:pt idx="734">
                  <c:v>4.936-4.942</c:v>
                </c:pt>
                <c:pt idx="735">
                  <c:v>4.942-4.949</c:v>
                </c:pt>
                <c:pt idx="736">
                  <c:v>4.949-4.956</c:v>
                </c:pt>
                <c:pt idx="737">
                  <c:v>4.956-4.963</c:v>
                </c:pt>
                <c:pt idx="738">
                  <c:v>4.963-4.969</c:v>
                </c:pt>
                <c:pt idx="739">
                  <c:v>4.969-4.976</c:v>
                </c:pt>
                <c:pt idx="740">
                  <c:v>4.976-4.983</c:v>
                </c:pt>
                <c:pt idx="741">
                  <c:v>4.983-4.989</c:v>
                </c:pt>
                <c:pt idx="742">
                  <c:v>4.989-4.996</c:v>
                </c:pt>
                <c:pt idx="743">
                  <c:v>4.996-5.003</c:v>
                </c:pt>
                <c:pt idx="744">
                  <c:v>5.003-5.010</c:v>
                </c:pt>
                <c:pt idx="745">
                  <c:v>5.010-5.016</c:v>
                </c:pt>
                <c:pt idx="746">
                  <c:v>5.016-5.023</c:v>
                </c:pt>
                <c:pt idx="747">
                  <c:v>5.023-5.030</c:v>
                </c:pt>
                <c:pt idx="748">
                  <c:v>5.030-5.036</c:v>
                </c:pt>
                <c:pt idx="749">
                  <c:v>5.036-5.043</c:v>
                </c:pt>
                <c:pt idx="750">
                  <c:v>5.043-5.050</c:v>
                </c:pt>
                <c:pt idx="751">
                  <c:v>5.050-5.057</c:v>
                </c:pt>
                <c:pt idx="752">
                  <c:v>5.057-5.063</c:v>
                </c:pt>
                <c:pt idx="753">
                  <c:v>5.063-5.070</c:v>
                </c:pt>
                <c:pt idx="754">
                  <c:v>5.070-5.077</c:v>
                </c:pt>
                <c:pt idx="755">
                  <c:v>5.077-5.083</c:v>
                </c:pt>
                <c:pt idx="756">
                  <c:v>5.083-5.090</c:v>
                </c:pt>
                <c:pt idx="757">
                  <c:v>5.090-5.097</c:v>
                </c:pt>
                <c:pt idx="758">
                  <c:v>5.097-5.103</c:v>
                </c:pt>
                <c:pt idx="759">
                  <c:v>5.103-5.110</c:v>
                </c:pt>
                <c:pt idx="760">
                  <c:v>5.110-5.117</c:v>
                </c:pt>
                <c:pt idx="761">
                  <c:v>5.117-5.124</c:v>
                </c:pt>
                <c:pt idx="762">
                  <c:v>5.124-5.130</c:v>
                </c:pt>
                <c:pt idx="763">
                  <c:v>5.130-5.137</c:v>
                </c:pt>
                <c:pt idx="764">
                  <c:v>5.137-5.144</c:v>
                </c:pt>
                <c:pt idx="765">
                  <c:v>5.144-5.150</c:v>
                </c:pt>
                <c:pt idx="766">
                  <c:v>5.150-5.157</c:v>
                </c:pt>
                <c:pt idx="767">
                  <c:v>5.157-5.164</c:v>
                </c:pt>
                <c:pt idx="768">
                  <c:v>5.164-5.171</c:v>
                </c:pt>
                <c:pt idx="769">
                  <c:v>5.171-5.177</c:v>
                </c:pt>
                <c:pt idx="770">
                  <c:v>5.177-5.184</c:v>
                </c:pt>
                <c:pt idx="771">
                  <c:v>5.184-5.191</c:v>
                </c:pt>
                <c:pt idx="772">
                  <c:v>5.191-5.197</c:v>
                </c:pt>
                <c:pt idx="773">
                  <c:v>5.197-5.204</c:v>
                </c:pt>
                <c:pt idx="774">
                  <c:v>5.204-5.211</c:v>
                </c:pt>
                <c:pt idx="775">
                  <c:v>5.211-5.218</c:v>
                </c:pt>
                <c:pt idx="776">
                  <c:v>5.218-5.224</c:v>
                </c:pt>
                <c:pt idx="777">
                  <c:v>5.224-5.231</c:v>
                </c:pt>
                <c:pt idx="778">
                  <c:v>5.231-5.238</c:v>
                </c:pt>
                <c:pt idx="779">
                  <c:v>5.238-5.244</c:v>
                </c:pt>
                <c:pt idx="780">
                  <c:v>5.244-5.251</c:v>
                </c:pt>
                <c:pt idx="781">
                  <c:v>5.251-5.258</c:v>
                </c:pt>
                <c:pt idx="782">
                  <c:v>5.258-5.265</c:v>
                </c:pt>
                <c:pt idx="783">
                  <c:v>5.265-5.271</c:v>
                </c:pt>
                <c:pt idx="784">
                  <c:v>5.271-5.278</c:v>
                </c:pt>
                <c:pt idx="785">
                  <c:v>5.278-5.285</c:v>
                </c:pt>
                <c:pt idx="786">
                  <c:v>5.285-5.291</c:v>
                </c:pt>
                <c:pt idx="787">
                  <c:v>5.291-5.298</c:v>
                </c:pt>
                <c:pt idx="788">
                  <c:v>5.298-5.305</c:v>
                </c:pt>
                <c:pt idx="789">
                  <c:v>5.305-5.312</c:v>
                </c:pt>
                <c:pt idx="790">
                  <c:v>5.312-5.318</c:v>
                </c:pt>
                <c:pt idx="791">
                  <c:v>5.318-5.325</c:v>
                </c:pt>
                <c:pt idx="792">
                  <c:v>5.325-5.332</c:v>
                </c:pt>
                <c:pt idx="793">
                  <c:v>5.332-5.338</c:v>
                </c:pt>
                <c:pt idx="794">
                  <c:v>5.338-5.345</c:v>
                </c:pt>
                <c:pt idx="795">
                  <c:v>5.345-5.352</c:v>
                </c:pt>
                <c:pt idx="796">
                  <c:v>5.352-5.359</c:v>
                </c:pt>
                <c:pt idx="797">
                  <c:v>5.359-5.365</c:v>
                </c:pt>
                <c:pt idx="798">
                  <c:v>5.365-5.372</c:v>
                </c:pt>
                <c:pt idx="799">
                  <c:v>5.372-5.379</c:v>
                </c:pt>
                <c:pt idx="800">
                  <c:v>5.379-5.385</c:v>
                </c:pt>
                <c:pt idx="801">
                  <c:v>5.385-5.392</c:v>
                </c:pt>
                <c:pt idx="802">
                  <c:v>5.392-5.399</c:v>
                </c:pt>
                <c:pt idx="803">
                  <c:v>5.399-5.405</c:v>
                </c:pt>
                <c:pt idx="804">
                  <c:v>5.405-5.412</c:v>
                </c:pt>
                <c:pt idx="805">
                  <c:v>5.412-5.419</c:v>
                </c:pt>
                <c:pt idx="806">
                  <c:v>5.419-5.426</c:v>
                </c:pt>
                <c:pt idx="807">
                  <c:v>5.426-5.432</c:v>
                </c:pt>
                <c:pt idx="808">
                  <c:v>5.432-5.439</c:v>
                </c:pt>
                <c:pt idx="809">
                  <c:v>5.439-5.446</c:v>
                </c:pt>
                <c:pt idx="810">
                  <c:v>5.446-5.452</c:v>
                </c:pt>
                <c:pt idx="811">
                  <c:v>5.452-5.459</c:v>
                </c:pt>
                <c:pt idx="812">
                  <c:v>5.459-5.466</c:v>
                </c:pt>
                <c:pt idx="813">
                  <c:v>5.466-5.473</c:v>
                </c:pt>
                <c:pt idx="814">
                  <c:v>5.473-5.479</c:v>
                </c:pt>
                <c:pt idx="815">
                  <c:v>5.479-5.486</c:v>
                </c:pt>
                <c:pt idx="816">
                  <c:v>5.486-5.493</c:v>
                </c:pt>
                <c:pt idx="817">
                  <c:v>5.493-5.499</c:v>
                </c:pt>
                <c:pt idx="818">
                  <c:v>5.499-5.506</c:v>
                </c:pt>
                <c:pt idx="819">
                  <c:v>5.506-5.513</c:v>
                </c:pt>
                <c:pt idx="820">
                  <c:v>5.513-5.520</c:v>
                </c:pt>
                <c:pt idx="821">
                  <c:v>5.520-5.526</c:v>
                </c:pt>
                <c:pt idx="822">
                  <c:v>5.526-5.533</c:v>
                </c:pt>
                <c:pt idx="823">
                  <c:v>5.533-5.540</c:v>
                </c:pt>
                <c:pt idx="824">
                  <c:v>5.540-5.546</c:v>
                </c:pt>
                <c:pt idx="825">
                  <c:v>5.546-5.553</c:v>
                </c:pt>
                <c:pt idx="826">
                  <c:v>5.553-5.560</c:v>
                </c:pt>
                <c:pt idx="827">
                  <c:v>5.560-5.567</c:v>
                </c:pt>
                <c:pt idx="828">
                  <c:v>5.567-5.573</c:v>
                </c:pt>
                <c:pt idx="829">
                  <c:v>5.573-5.580</c:v>
                </c:pt>
                <c:pt idx="830">
                  <c:v>5.580-5.587</c:v>
                </c:pt>
                <c:pt idx="831">
                  <c:v>5.587-5.593</c:v>
                </c:pt>
                <c:pt idx="832">
                  <c:v>5.593-5.600</c:v>
                </c:pt>
                <c:pt idx="833">
                  <c:v>5.600-5.607</c:v>
                </c:pt>
                <c:pt idx="834">
                  <c:v>5.607-5.614</c:v>
                </c:pt>
                <c:pt idx="835">
                  <c:v>5.614-5.620</c:v>
                </c:pt>
                <c:pt idx="836">
                  <c:v>5.620-5.627</c:v>
                </c:pt>
                <c:pt idx="837">
                  <c:v>5.627-5.634</c:v>
                </c:pt>
                <c:pt idx="838">
                  <c:v>5.634-5.640</c:v>
                </c:pt>
                <c:pt idx="839">
                  <c:v>5.640-5.647</c:v>
                </c:pt>
                <c:pt idx="840">
                  <c:v>5.647-5.654</c:v>
                </c:pt>
                <c:pt idx="841">
                  <c:v>5.654-5.660</c:v>
                </c:pt>
                <c:pt idx="842">
                  <c:v>5.660-5.667</c:v>
                </c:pt>
                <c:pt idx="843">
                  <c:v>5.667-5.674</c:v>
                </c:pt>
                <c:pt idx="844">
                  <c:v>5.674-5.681</c:v>
                </c:pt>
                <c:pt idx="845">
                  <c:v>5.681-5.687</c:v>
                </c:pt>
                <c:pt idx="846">
                  <c:v>5.687-5.694</c:v>
                </c:pt>
                <c:pt idx="847">
                  <c:v>5.694-5.701</c:v>
                </c:pt>
                <c:pt idx="848">
                  <c:v>5.701-5.707</c:v>
                </c:pt>
                <c:pt idx="849">
                  <c:v>5.707-5.714</c:v>
                </c:pt>
                <c:pt idx="850">
                  <c:v>5.714-5.721</c:v>
                </c:pt>
                <c:pt idx="851">
                  <c:v>5.721-5.728</c:v>
                </c:pt>
                <c:pt idx="852">
                  <c:v>5.728-5.734</c:v>
                </c:pt>
                <c:pt idx="853">
                  <c:v>5.734-5.741</c:v>
                </c:pt>
                <c:pt idx="854">
                  <c:v>5.741-5.748</c:v>
                </c:pt>
                <c:pt idx="855">
                  <c:v>5.748-5.754</c:v>
                </c:pt>
                <c:pt idx="856">
                  <c:v>5.754-5.761</c:v>
                </c:pt>
                <c:pt idx="857">
                  <c:v>5.761-5.768</c:v>
                </c:pt>
                <c:pt idx="858">
                  <c:v>5.768-5.775</c:v>
                </c:pt>
                <c:pt idx="859">
                  <c:v>5.775-5.781</c:v>
                </c:pt>
                <c:pt idx="860">
                  <c:v>5.781-5.788</c:v>
                </c:pt>
                <c:pt idx="861">
                  <c:v>5.788-5.795</c:v>
                </c:pt>
                <c:pt idx="862">
                  <c:v>5.795-5.801</c:v>
                </c:pt>
                <c:pt idx="863">
                  <c:v>5.801-5.808</c:v>
                </c:pt>
                <c:pt idx="864">
                  <c:v>5.808-5.815</c:v>
                </c:pt>
                <c:pt idx="865">
                  <c:v>5.815-5.822</c:v>
                </c:pt>
                <c:pt idx="866">
                  <c:v>5.822-5.828</c:v>
                </c:pt>
                <c:pt idx="867">
                  <c:v>5.828-5.835</c:v>
                </c:pt>
                <c:pt idx="868">
                  <c:v>5.835-5.842</c:v>
                </c:pt>
                <c:pt idx="869">
                  <c:v>5.842-5.848</c:v>
                </c:pt>
                <c:pt idx="870">
                  <c:v>5.848-5.855</c:v>
                </c:pt>
                <c:pt idx="871">
                  <c:v>5.855-5.862</c:v>
                </c:pt>
                <c:pt idx="872">
                  <c:v>5.862-5.869</c:v>
                </c:pt>
                <c:pt idx="873">
                  <c:v>5.869-5.875</c:v>
                </c:pt>
                <c:pt idx="874">
                  <c:v>5.875-5.882</c:v>
                </c:pt>
                <c:pt idx="875">
                  <c:v>5.882-5.889</c:v>
                </c:pt>
                <c:pt idx="876">
                  <c:v>5.889-5.895</c:v>
                </c:pt>
                <c:pt idx="877">
                  <c:v>5.895-5.902</c:v>
                </c:pt>
                <c:pt idx="878">
                  <c:v>5.902-5.909</c:v>
                </c:pt>
                <c:pt idx="879">
                  <c:v>5.909-5.916</c:v>
                </c:pt>
                <c:pt idx="880">
                  <c:v>5.916-5.922</c:v>
                </c:pt>
                <c:pt idx="881">
                  <c:v>5.922-5.929</c:v>
                </c:pt>
                <c:pt idx="882">
                  <c:v>5.929-5.936</c:v>
                </c:pt>
                <c:pt idx="883">
                  <c:v>5.936-5.942</c:v>
                </c:pt>
                <c:pt idx="884">
                  <c:v>5.942-5.949</c:v>
                </c:pt>
                <c:pt idx="885">
                  <c:v>5.949-5.956</c:v>
                </c:pt>
                <c:pt idx="886">
                  <c:v>5.956-5.962</c:v>
                </c:pt>
                <c:pt idx="887">
                  <c:v>5.962-5.969</c:v>
                </c:pt>
                <c:pt idx="888">
                  <c:v>5.969-5.976</c:v>
                </c:pt>
                <c:pt idx="889">
                  <c:v>5.976-5.983</c:v>
                </c:pt>
                <c:pt idx="890">
                  <c:v>5.983-5.989</c:v>
                </c:pt>
                <c:pt idx="891">
                  <c:v>5.989-5.996</c:v>
                </c:pt>
                <c:pt idx="892">
                  <c:v>5.996-6.003</c:v>
                </c:pt>
                <c:pt idx="893">
                  <c:v>6.003-6.009</c:v>
                </c:pt>
                <c:pt idx="894">
                  <c:v>6.009-6.016</c:v>
                </c:pt>
                <c:pt idx="895">
                  <c:v>6.016-6.023</c:v>
                </c:pt>
                <c:pt idx="896">
                  <c:v>6.023-6.030</c:v>
                </c:pt>
                <c:pt idx="897">
                  <c:v>6.030-6.036</c:v>
                </c:pt>
                <c:pt idx="898">
                  <c:v>6.036-6.043</c:v>
                </c:pt>
                <c:pt idx="899">
                  <c:v>6.043-6.050</c:v>
                </c:pt>
                <c:pt idx="900">
                  <c:v>6.050-6.056</c:v>
                </c:pt>
                <c:pt idx="901">
                  <c:v>6.056-6.063</c:v>
                </c:pt>
                <c:pt idx="902">
                  <c:v>6.063-6.070</c:v>
                </c:pt>
                <c:pt idx="903">
                  <c:v>6.070-6.077</c:v>
                </c:pt>
                <c:pt idx="904">
                  <c:v>6.077-6.083</c:v>
                </c:pt>
                <c:pt idx="905">
                  <c:v>6.083-6.090</c:v>
                </c:pt>
                <c:pt idx="906">
                  <c:v>6.090-6.097</c:v>
                </c:pt>
                <c:pt idx="907">
                  <c:v>6.097-6.103</c:v>
                </c:pt>
                <c:pt idx="908">
                  <c:v>6.103-6.110</c:v>
                </c:pt>
                <c:pt idx="909">
                  <c:v>6.110-6.117</c:v>
                </c:pt>
                <c:pt idx="910">
                  <c:v>6.117-6.124</c:v>
                </c:pt>
                <c:pt idx="911">
                  <c:v>6.124-6.130</c:v>
                </c:pt>
                <c:pt idx="912">
                  <c:v>6.130-6.137</c:v>
                </c:pt>
                <c:pt idx="913">
                  <c:v>6.137-6.144</c:v>
                </c:pt>
                <c:pt idx="914">
                  <c:v>6.144-6.150</c:v>
                </c:pt>
                <c:pt idx="915">
                  <c:v>6.150-6.157</c:v>
                </c:pt>
                <c:pt idx="916">
                  <c:v>6.157-6.164</c:v>
                </c:pt>
                <c:pt idx="917">
                  <c:v>6.164-6.171</c:v>
                </c:pt>
                <c:pt idx="918">
                  <c:v>6.171-6.177</c:v>
                </c:pt>
                <c:pt idx="919">
                  <c:v>6.177-6.184</c:v>
                </c:pt>
                <c:pt idx="920">
                  <c:v>6.184-6.191</c:v>
                </c:pt>
                <c:pt idx="921">
                  <c:v>6.191-6.197</c:v>
                </c:pt>
                <c:pt idx="922">
                  <c:v>6.197-6.204</c:v>
                </c:pt>
                <c:pt idx="923">
                  <c:v>6.204-6.211</c:v>
                </c:pt>
                <c:pt idx="924">
                  <c:v>6.211-6.217</c:v>
                </c:pt>
                <c:pt idx="925">
                  <c:v>6.217-6.224</c:v>
                </c:pt>
                <c:pt idx="926">
                  <c:v>6.224-6.231</c:v>
                </c:pt>
                <c:pt idx="927">
                  <c:v>6.231-6.238</c:v>
                </c:pt>
                <c:pt idx="928">
                  <c:v>6.238-6.244</c:v>
                </c:pt>
                <c:pt idx="929">
                  <c:v>6.244-6.251</c:v>
                </c:pt>
                <c:pt idx="930">
                  <c:v>6.251-6.258</c:v>
                </c:pt>
                <c:pt idx="931">
                  <c:v>6.258-6.264</c:v>
                </c:pt>
                <c:pt idx="932">
                  <c:v>6.264-6.271</c:v>
                </c:pt>
                <c:pt idx="933">
                  <c:v>6.271-6.278</c:v>
                </c:pt>
                <c:pt idx="934">
                  <c:v>6.278-6.285</c:v>
                </c:pt>
                <c:pt idx="935">
                  <c:v>6.285-6.291</c:v>
                </c:pt>
                <c:pt idx="936">
                  <c:v>6.291-6.298</c:v>
                </c:pt>
                <c:pt idx="937">
                  <c:v>6.298-6.305</c:v>
                </c:pt>
                <c:pt idx="938">
                  <c:v>6.305-6.311</c:v>
                </c:pt>
                <c:pt idx="939">
                  <c:v>6.311-6.318</c:v>
                </c:pt>
                <c:pt idx="940">
                  <c:v>6.318-6.325</c:v>
                </c:pt>
                <c:pt idx="941">
                  <c:v>6.325-6.332</c:v>
                </c:pt>
                <c:pt idx="942">
                  <c:v>6.332-6.338</c:v>
                </c:pt>
                <c:pt idx="943">
                  <c:v>6.338-6.345</c:v>
                </c:pt>
                <c:pt idx="944">
                  <c:v>6.345-6.352</c:v>
                </c:pt>
                <c:pt idx="945">
                  <c:v>6.352-6.358</c:v>
                </c:pt>
                <c:pt idx="946">
                  <c:v>6.358-6.365</c:v>
                </c:pt>
                <c:pt idx="947">
                  <c:v>6.365-6.372</c:v>
                </c:pt>
                <c:pt idx="948">
                  <c:v>6.372-6.379</c:v>
                </c:pt>
                <c:pt idx="949">
                  <c:v>6.379-6.385</c:v>
                </c:pt>
                <c:pt idx="950">
                  <c:v>6.385-6.392</c:v>
                </c:pt>
                <c:pt idx="951">
                  <c:v>6.392-6.399</c:v>
                </c:pt>
                <c:pt idx="952">
                  <c:v>6.399-6.405</c:v>
                </c:pt>
                <c:pt idx="953">
                  <c:v>6.405-6.412</c:v>
                </c:pt>
                <c:pt idx="954">
                  <c:v>6.412-6.419</c:v>
                </c:pt>
                <c:pt idx="955">
                  <c:v>6.419-6.426</c:v>
                </c:pt>
                <c:pt idx="956">
                  <c:v>6.426-6.432</c:v>
                </c:pt>
                <c:pt idx="957">
                  <c:v>6.432-6.439</c:v>
                </c:pt>
                <c:pt idx="958">
                  <c:v>6.439-6.446</c:v>
                </c:pt>
                <c:pt idx="959">
                  <c:v>6.446-6.452</c:v>
                </c:pt>
                <c:pt idx="960">
                  <c:v>6.452-6.459</c:v>
                </c:pt>
                <c:pt idx="961">
                  <c:v>6.459-6.466</c:v>
                </c:pt>
                <c:pt idx="962">
                  <c:v>6.466-6.473</c:v>
                </c:pt>
                <c:pt idx="963">
                  <c:v>6.473-6.479</c:v>
                </c:pt>
                <c:pt idx="964">
                  <c:v>6.479-6.486</c:v>
                </c:pt>
                <c:pt idx="965">
                  <c:v>6.486-6.493</c:v>
                </c:pt>
                <c:pt idx="966">
                  <c:v>6.493-6.499</c:v>
                </c:pt>
                <c:pt idx="967">
                  <c:v>6.499-6.506</c:v>
                </c:pt>
                <c:pt idx="968">
                  <c:v>6.506-6.513</c:v>
                </c:pt>
                <c:pt idx="969">
                  <c:v>6.513-6.519</c:v>
                </c:pt>
                <c:pt idx="970">
                  <c:v>6.519-6.526</c:v>
                </c:pt>
                <c:pt idx="971">
                  <c:v>6.526-6.533</c:v>
                </c:pt>
                <c:pt idx="972">
                  <c:v>6.533-6.540</c:v>
                </c:pt>
                <c:pt idx="973">
                  <c:v>6.540-6.546</c:v>
                </c:pt>
                <c:pt idx="974">
                  <c:v>6.546-6.553</c:v>
                </c:pt>
                <c:pt idx="975">
                  <c:v>6.553-6.560</c:v>
                </c:pt>
                <c:pt idx="976">
                  <c:v>6.560-6.566</c:v>
                </c:pt>
                <c:pt idx="977">
                  <c:v>6.566-6.573</c:v>
                </c:pt>
                <c:pt idx="978">
                  <c:v>6.573-6.580</c:v>
                </c:pt>
                <c:pt idx="979">
                  <c:v>6.580-6.587</c:v>
                </c:pt>
                <c:pt idx="980">
                  <c:v>6.587-6.593</c:v>
                </c:pt>
                <c:pt idx="981">
                  <c:v>6.593-6.600</c:v>
                </c:pt>
                <c:pt idx="982">
                  <c:v>6.600-6.607</c:v>
                </c:pt>
                <c:pt idx="983">
                  <c:v>6.607-6.613</c:v>
                </c:pt>
                <c:pt idx="984">
                  <c:v>6.613-6.620</c:v>
                </c:pt>
                <c:pt idx="985">
                  <c:v>6.620-6.627</c:v>
                </c:pt>
                <c:pt idx="986">
                  <c:v>6.627-6.634</c:v>
                </c:pt>
                <c:pt idx="987">
                  <c:v>6.634-6.640</c:v>
                </c:pt>
                <c:pt idx="988">
                  <c:v>6.640-6.647</c:v>
                </c:pt>
                <c:pt idx="989">
                  <c:v>6.647-6.654</c:v>
                </c:pt>
                <c:pt idx="990">
                  <c:v>6.654-6.660</c:v>
                </c:pt>
                <c:pt idx="991">
                  <c:v>6.660-6.667</c:v>
                </c:pt>
                <c:pt idx="992">
                  <c:v>6.667-6.674</c:v>
                </c:pt>
                <c:pt idx="993">
                  <c:v>6.674-6.681</c:v>
                </c:pt>
                <c:pt idx="994">
                  <c:v>6.681-6.687</c:v>
                </c:pt>
                <c:pt idx="995">
                  <c:v>6.687-6.694</c:v>
                </c:pt>
                <c:pt idx="996">
                  <c:v>6.694-6.701</c:v>
                </c:pt>
                <c:pt idx="997">
                  <c:v>6.701-6.707</c:v>
                </c:pt>
                <c:pt idx="998">
                  <c:v>6.707-6.714</c:v>
                </c:pt>
                <c:pt idx="999">
                  <c:v>6.714-6.721</c:v>
                </c:pt>
                <c:pt idx="1000">
                  <c:v>6.721-6.728</c:v>
                </c:pt>
                <c:pt idx="1001">
                  <c:v>6.728-6.734</c:v>
                </c:pt>
                <c:pt idx="1002">
                  <c:v>6.734-6.741</c:v>
                </c:pt>
                <c:pt idx="1003">
                  <c:v>6.741-6.748</c:v>
                </c:pt>
                <c:pt idx="1004">
                  <c:v>6.748-6.754</c:v>
                </c:pt>
                <c:pt idx="1005">
                  <c:v>6.754-6.761</c:v>
                </c:pt>
                <c:pt idx="1006">
                  <c:v>6.761-6.768</c:v>
                </c:pt>
                <c:pt idx="1007">
                  <c:v>6.768-6.774</c:v>
                </c:pt>
                <c:pt idx="1008">
                  <c:v>6.774-6.781</c:v>
                </c:pt>
                <c:pt idx="1009">
                  <c:v>6.781-6.788</c:v>
                </c:pt>
                <c:pt idx="1010">
                  <c:v>6.788-6.795</c:v>
                </c:pt>
                <c:pt idx="1011">
                  <c:v>6.795-6.801</c:v>
                </c:pt>
                <c:pt idx="1012">
                  <c:v>6.801-6.808</c:v>
                </c:pt>
                <c:pt idx="1013">
                  <c:v>6.808-6.815</c:v>
                </c:pt>
                <c:pt idx="1014">
                  <c:v>6.815-6.821</c:v>
                </c:pt>
                <c:pt idx="1015">
                  <c:v>6.821-6.828</c:v>
                </c:pt>
                <c:pt idx="1016">
                  <c:v>6.828-6.835</c:v>
                </c:pt>
                <c:pt idx="1017">
                  <c:v>6.835-6.842</c:v>
                </c:pt>
                <c:pt idx="1018">
                  <c:v>6.842-6.848</c:v>
                </c:pt>
                <c:pt idx="1019">
                  <c:v>6.848-6.855</c:v>
                </c:pt>
                <c:pt idx="1020">
                  <c:v>6.855-6.862</c:v>
                </c:pt>
                <c:pt idx="1021">
                  <c:v>6.862-6.868</c:v>
                </c:pt>
                <c:pt idx="1022">
                  <c:v>6.868-6.875</c:v>
                </c:pt>
                <c:pt idx="1023">
                  <c:v>6.875-6.882</c:v>
                </c:pt>
                <c:pt idx="1024">
                  <c:v>6.882-6.889</c:v>
                </c:pt>
                <c:pt idx="1025">
                  <c:v>6.889-6.895</c:v>
                </c:pt>
                <c:pt idx="1026">
                  <c:v>6.895-6.902</c:v>
                </c:pt>
                <c:pt idx="1027">
                  <c:v>6.902-6.909</c:v>
                </c:pt>
                <c:pt idx="1028">
                  <c:v>6.909-6.915</c:v>
                </c:pt>
                <c:pt idx="1029">
                  <c:v>6.915-6.922</c:v>
                </c:pt>
                <c:pt idx="1030">
                  <c:v>6.922-6.929</c:v>
                </c:pt>
                <c:pt idx="1031">
                  <c:v>6.929-6.936</c:v>
                </c:pt>
                <c:pt idx="1032">
                  <c:v>6.936-6.942</c:v>
                </c:pt>
                <c:pt idx="1033">
                  <c:v>6.942-6.949</c:v>
                </c:pt>
                <c:pt idx="1034">
                  <c:v>6.949-6.956</c:v>
                </c:pt>
                <c:pt idx="1035">
                  <c:v>6.956-6.962</c:v>
                </c:pt>
                <c:pt idx="1036">
                  <c:v>6.962-6.969</c:v>
                </c:pt>
                <c:pt idx="1037">
                  <c:v>6.969-6.976</c:v>
                </c:pt>
                <c:pt idx="1038">
                  <c:v>6.976-6.983</c:v>
                </c:pt>
                <c:pt idx="1039">
                  <c:v>6.983-6.989</c:v>
                </c:pt>
                <c:pt idx="1040">
                  <c:v>6.989-6.996</c:v>
                </c:pt>
                <c:pt idx="1041">
                  <c:v>6.996-7.003</c:v>
                </c:pt>
                <c:pt idx="1042">
                  <c:v>7.003-7.009</c:v>
                </c:pt>
                <c:pt idx="1043">
                  <c:v>7.009-7.016</c:v>
                </c:pt>
                <c:pt idx="1044">
                  <c:v>7.016-7.023</c:v>
                </c:pt>
                <c:pt idx="1045">
                  <c:v>7.023-7.029</c:v>
                </c:pt>
                <c:pt idx="1046">
                  <c:v>7.029-7.036</c:v>
                </c:pt>
                <c:pt idx="1047">
                  <c:v>7.036-7.043</c:v>
                </c:pt>
                <c:pt idx="1048">
                  <c:v>7.043-7.050</c:v>
                </c:pt>
                <c:pt idx="1049">
                  <c:v>7.050-7.056</c:v>
                </c:pt>
                <c:pt idx="1050">
                  <c:v>7.056-7.063</c:v>
                </c:pt>
                <c:pt idx="1051">
                  <c:v>7.063-7.070</c:v>
                </c:pt>
                <c:pt idx="1052">
                  <c:v>7.070-7.076</c:v>
                </c:pt>
                <c:pt idx="1053">
                  <c:v>7.076-7.083</c:v>
                </c:pt>
                <c:pt idx="1054">
                  <c:v>7.083-7.090</c:v>
                </c:pt>
                <c:pt idx="1055">
                  <c:v>7.090-7.097</c:v>
                </c:pt>
                <c:pt idx="1056">
                  <c:v>7.097-7.103</c:v>
                </c:pt>
                <c:pt idx="1057">
                  <c:v>7.103-7.110</c:v>
                </c:pt>
                <c:pt idx="1058">
                  <c:v>7.110-7.117</c:v>
                </c:pt>
                <c:pt idx="1059">
                  <c:v>7.117-7.123</c:v>
                </c:pt>
                <c:pt idx="1060">
                  <c:v>7.123-7.130</c:v>
                </c:pt>
                <c:pt idx="1061">
                  <c:v>7.130-7.137</c:v>
                </c:pt>
                <c:pt idx="1062">
                  <c:v>7.137-7.144</c:v>
                </c:pt>
                <c:pt idx="1063">
                  <c:v>7.144-7.150</c:v>
                </c:pt>
                <c:pt idx="1064">
                  <c:v>7.150-7.157</c:v>
                </c:pt>
                <c:pt idx="1065">
                  <c:v>7.157-7.164</c:v>
                </c:pt>
                <c:pt idx="1066">
                  <c:v>7.164-7.170</c:v>
                </c:pt>
                <c:pt idx="1067">
                  <c:v>7.170-7.177</c:v>
                </c:pt>
                <c:pt idx="1068">
                  <c:v>7.177-7.184</c:v>
                </c:pt>
                <c:pt idx="1069">
                  <c:v>7.184-7.191</c:v>
                </c:pt>
                <c:pt idx="1070">
                  <c:v>7.191-7.197</c:v>
                </c:pt>
                <c:pt idx="1071">
                  <c:v>7.197-7.204</c:v>
                </c:pt>
                <c:pt idx="1072">
                  <c:v>7.204-7.211</c:v>
                </c:pt>
                <c:pt idx="1073">
                  <c:v>7.211-7.217</c:v>
                </c:pt>
                <c:pt idx="1074">
                  <c:v>7.217-7.224</c:v>
                </c:pt>
                <c:pt idx="1075">
                  <c:v>7.224-7.231</c:v>
                </c:pt>
                <c:pt idx="1076">
                  <c:v>7.231-7.238</c:v>
                </c:pt>
                <c:pt idx="1077">
                  <c:v>7.238-7.244</c:v>
                </c:pt>
                <c:pt idx="1078">
                  <c:v>7.244-7.251</c:v>
                </c:pt>
                <c:pt idx="1079">
                  <c:v>7.251-7.258</c:v>
                </c:pt>
                <c:pt idx="1080">
                  <c:v>7.258-7.264</c:v>
                </c:pt>
                <c:pt idx="1081">
                  <c:v>7.264-7.271</c:v>
                </c:pt>
                <c:pt idx="1082">
                  <c:v>7.271-7.278</c:v>
                </c:pt>
                <c:pt idx="1083">
                  <c:v>7.278-7.285</c:v>
                </c:pt>
                <c:pt idx="1084">
                  <c:v>7.285-7.291</c:v>
                </c:pt>
                <c:pt idx="1085">
                  <c:v>7.291-7.298</c:v>
                </c:pt>
                <c:pt idx="1086">
                  <c:v>7.298-7.305</c:v>
                </c:pt>
                <c:pt idx="1087">
                  <c:v>7.305-7.311</c:v>
                </c:pt>
                <c:pt idx="1088">
                  <c:v>7.311-7.318</c:v>
                </c:pt>
                <c:pt idx="1089">
                  <c:v>7.318-7.325</c:v>
                </c:pt>
                <c:pt idx="1090">
                  <c:v>7.325-7.331</c:v>
                </c:pt>
                <c:pt idx="1091">
                  <c:v>7.331-7.338</c:v>
                </c:pt>
                <c:pt idx="1092">
                  <c:v>7.338-7.345</c:v>
                </c:pt>
                <c:pt idx="1093">
                  <c:v>7.345-7.352</c:v>
                </c:pt>
                <c:pt idx="1094">
                  <c:v>7.352-7.358</c:v>
                </c:pt>
                <c:pt idx="1095">
                  <c:v>7.358-7.365</c:v>
                </c:pt>
                <c:pt idx="1096">
                  <c:v>7.365-7.372</c:v>
                </c:pt>
                <c:pt idx="1097">
                  <c:v>7.372-7.378</c:v>
                </c:pt>
                <c:pt idx="1098">
                  <c:v>7.378-7.385</c:v>
                </c:pt>
                <c:pt idx="1099">
                  <c:v>7.385-7.392</c:v>
                </c:pt>
                <c:pt idx="1100">
                  <c:v>7.392-7.399</c:v>
                </c:pt>
                <c:pt idx="1101">
                  <c:v>7.399-7.405</c:v>
                </c:pt>
                <c:pt idx="1102">
                  <c:v>7.405-7.412</c:v>
                </c:pt>
                <c:pt idx="1103">
                  <c:v>7.412-7.419</c:v>
                </c:pt>
                <c:pt idx="1104">
                  <c:v>7.419-7.425</c:v>
                </c:pt>
                <c:pt idx="1105">
                  <c:v>7.425-7.432</c:v>
                </c:pt>
                <c:pt idx="1106">
                  <c:v>7.432-7.439</c:v>
                </c:pt>
                <c:pt idx="1107">
                  <c:v>7.439-7.446</c:v>
                </c:pt>
                <c:pt idx="1108">
                  <c:v>7.446-7.452</c:v>
                </c:pt>
                <c:pt idx="1109">
                  <c:v>7.452-7.459</c:v>
                </c:pt>
                <c:pt idx="1110">
                  <c:v>7.459-7.466</c:v>
                </c:pt>
                <c:pt idx="1111">
                  <c:v>7.466-7.472</c:v>
                </c:pt>
                <c:pt idx="1112">
                  <c:v>7.472-7.479</c:v>
                </c:pt>
                <c:pt idx="1113">
                  <c:v>7.479-7.486</c:v>
                </c:pt>
                <c:pt idx="1114">
                  <c:v>7.486-7.493</c:v>
                </c:pt>
                <c:pt idx="1115">
                  <c:v>7.493-7.499</c:v>
                </c:pt>
                <c:pt idx="1116">
                  <c:v>7.499-7.506</c:v>
                </c:pt>
                <c:pt idx="1117">
                  <c:v>7.506-7.513</c:v>
                </c:pt>
                <c:pt idx="1118">
                  <c:v>7.513-7.519</c:v>
                </c:pt>
                <c:pt idx="1119">
                  <c:v>7.519-7.526</c:v>
                </c:pt>
                <c:pt idx="1120">
                  <c:v>7.526-7.533</c:v>
                </c:pt>
                <c:pt idx="1121">
                  <c:v>7.533-7.540</c:v>
                </c:pt>
                <c:pt idx="1122">
                  <c:v>7.540-7.546</c:v>
                </c:pt>
                <c:pt idx="1123">
                  <c:v>7.546-7.553</c:v>
                </c:pt>
                <c:pt idx="1124">
                  <c:v>7.553-7.560</c:v>
                </c:pt>
                <c:pt idx="1125">
                  <c:v>7.560-7.566</c:v>
                </c:pt>
                <c:pt idx="1126">
                  <c:v>7.566-7.573</c:v>
                </c:pt>
                <c:pt idx="1127">
                  <c:v>7.573-7.580</c:v>
                </c:pt>
                <c:pt idx="1128">
                  <c:v>7.580-7.586</c:v>
                </c:pt>
                <c:pt idx="1129">
                  <c:v>7.586-7.593</c:v>
                </c:pt>
                <c:pt idx="1130">
                  <c:v>7.593-7.600</c:v>
                </c:pt>
                <c:pt idx="1131">
                  <c:v>7.600-7.607</c:v>
                </c:pt>
                <c:pt idx="1132">
                  <c:v>7.607-7.613</c:v>
                </c:pt>
                <c:pt idx="1133">
                  <c:v>7.613-7.620</c:v>
                </c:pt>
                <c:pt idx="1134">
                  <c:v>7.620-7.627</c:v>
                </c:pt>
                <c:pt idx="1135">
                  <c:v>7.627-7.633</c:v>
                </c:pt>
                <c:pt idx="1136">
                  <c:v>7.633-7.640</c:v>
                </c:pt>
                <c:pt idx="1137">
                  <c:v>7.640-7.647</c:v>
                </c:pt>
                <c:pt idx="1138">
                  <c:v>7.647-7.654</c:v>
                </c:pt>
                <c:pt idx="1139">
                  <c:v>7.654-7.660</c:v>
                </c:pt>
                <c:pt idx="1140">
                  <c:v>7.660-7.667</c:v>
                </c:pt>
                <c:pt idx="1141">
                  <c:v>7.667-7.674</c:v>
                </c:pt>
                <c:pt idx="1142">
                  <c:v>7.674-7.680</c:v>
                </c:pt>
                <c:pt idx="1143">
                  <c:v>7.680-7.687</c:v>
                </c:pt>
                <c:pt idx="1144">
                  <c:v>7.687-7.694</c:v>
                </c:pt>
                <c:pt idx="1145">
                  <c:v>7.694-7.701</c:v>
                </c:pt>
                <c:pt idx="1146">
                  <c:v>7.701-7.707</c:v>
                </c:pt>
                <c:pt idx="1147">
                  <c:v>7.707-7.714</c:v>
                </c:pt>
                <c:pt idx="1148">
                  <c:v>7.714-7.721</c:v>
                </c:pt>
                <c:pt idx="1149">
                  <c:v>7.721-7.727</c:v>
                </c:pt>
                <c:pt idx="1150">
                  <c:v>7.727-7.734</c:v>
                </c:pt>
                <c:pt idx="1151">
                  <c:v>7.734-7.741</c:v>
                </c:pt>
                <c:pt idx="1152">
                  <c:v>7.741-7.748</c:v>
                </c:pt>
                <c:pt idx="1153">
                  <c:v>7.748-7.754</c:v>
                </c:pt>
                <c:pt idx="1154">
                  <c:v>7.754-7.761</c:v>
                </c:pt>
                <c:pt idx="1155">
                  <c:v>7.761-7.768</c:v>
                </c:pt>
                <c:pt idx="1156">
                  <c:v>7.768-7.774</c:v>
                </c:pt>
                <c:pt idx="1157">
                  <c:v>7.774-7.781</c:v>
                </c:pt>
                <c:pt idx="1158">
                  <c:v>7.781-7.788</c:v>
                </c:pt>
                <c:pt idx="1159">
                  <c:v>7.788-7.795</c:v>
                </c:pt>
                <c:pt idx="1160">
                  <c:v>7.795-7.801</c:v>
                </c:pt>
                <c:pt idx="1161">
                  <c:v>7.801-7.808</c:v>
                </c:pt>
                <c:pt idx="1162">
                  <c:v>7.808-7.815</c:v>
                </c:pt>
                <c:pt idx="1163">
                  <c:v>7.815-7.821</c:v>
                </c:pt>
                <c:pt idx="1164">
                  <c:v>7.821-7.828</c:v>
                </c:pt>
                <c:pt idx="1165">
                  <c:v>7.828-7.835</c:v>
                </c:pt>
                <c:pt idx="1166">
                  <c:v>7.835-7.842</c:v>
                </c:pt>
                <c:pt idx="1167">
                  <c:v>7.842-7.848</c:v>
                </c:pt>
                <c:pt idx="1168">
                  <c:v>7.848-7.855</c:v>
                </c:pt>
                <c:pt idx="1169">
                  <c:v>7.855-7.862</c:v>
                </c:pt>
                <c:pt idx="1170">
                  <c:v>7.862-7.868</c:v>
                </c:pt>
                <c:pt idx="1171">
                  <c:v>7.868-7.875</c:v>
                </c:pt>
                <c:pt idx="1172">
                  <c:v>7.875-7.882</c:v>
                </c:pt>
                <c:pt idx="1173">
                  <c:v>7.882-7.888</c:v>
                </c:pt>
                <c:pt idx="1174">
                  <c:v>7.888-7.895</c:v>
                </c:pt>
                <c:pt idx="1175">
                  <c:v>7.895-7.902</c:v>
                </c:pt>
                <c:pt idx="1176">
                  <c:v>7.902-7.909</c:v>
                </c:pt>
                <c:pt idx="1177">
                  <c:v>7.909-7.915</c:v>
                </c:pt>
                <c:pt idx="1178">
                  <c:v>7.915-7.922</c:v>
                </c:pt>
                <c:pt idx="1179">
                  <c:v>7.922-7.929</c:v>
                </c:pt>
                <c:pt idx="1180">
                  <c:v>7.929-7.935</c:v>
                </c:pt>
                <c:pt idx="1181">
                  <c:v>7.935-7.942</c:v>
                </c:pt>
                <c:pt idx="1182">
                  <c:v>7.942-7.949</c:v>
                </c:pt>
                <c:pt idx="1183">
                  <c:v>7.949-7.956</c:v>
                </c:pt>
                <c:pt idx="1184">
                  <c:v>7.956-7.962</c:v>
                </c:pt>
                <c:pt idx="1185">
                  <c:v>7.962-7.969</c:v>
                </c:pt>
                <c:pt idx="1186">
                  <c:v>7.969-7.976</c:v>
                </c:pt>
                <c:pt idx="1187">
                  <c:v>7.976-7.982</c:v>
                </c:pt>
                <c:pt idx="1188">
                  <c:v>7.982-7.989</c:v>
                </c:pt>
                <c:pt idx="1189">
                  <c:v>7.989-7.996</c:v>
                </c:pt>
                <c:pt idx="1190">
                  <c:v>7.996-8.003</c:v>
                </c:pt>
                <c:pt idx="1191">
                  <c:v>8.003-8.009</c:v>
                </c:pt>
                <c:pt idx="1192">
                  <c:v>8.009-8.016</c:v>
                </c:pt>
                <c:pt idx="1193">
                  <c:v>8.016-8.023</c:v>
                </c:pt>
                <c:pt idx="1194">
                  <c:v>8.023-8.029</c:v>
                </c:pt>
                <c:pt idx="1195">
                  <c:v>8.029-8.036</c:v>
                </c:pt>
                <c:pt idx="1196">
                  <c:v>8.036-8.043</c:v>
                </c:pt>
                <c:pt idx="1197">
                  <c:v>8.043-8.050</c:v>
                </c:pt>
                <c:pt idx="1198">
                  <c:v>8.050-8.056</c:v>
                </c:pt>
                <c:pt idx="1199">
                  <c:v>8.056-8.063</c:v>
                </c:pt>
                <c:pt idx="1200">
                  <c:v>8.063-8.070</c:v>
                </c:pt>
                <c:pt idx="1201">
                  <c:v>8.070-8.076</c:v>
                </c:pt>
                <c:pt idx="1202">
                  <c:v>8.076-8.083</c:v>
                </c:pt>
                <c:pt idx="1203">
                  <c:v>8.083-8.090</c:v>
                </c:pt>
                <c:pt idx="1204">
                  <c:v>8.090-8.097</c:v>
                </c:pt>
                <c:pt idx="1205">
                  <c:v>8.097-8.103</c:v>
                </c:pt>
                <c:pt idx="1206">
                  <c:v>8.103-8.110</c:v>
                </c:pt>
                <c:pt idx="1207">
                  <c:v>8.110-8.117</c:v>
                </c:pt>
                <c:pt idx="1208">
                  <c:v>8.117-8.123</c:v>
                </c:pt>
                <c:pt idx="1209">
                  <c:v>8.123-8.130</c:v>
                </c:pt>
                <c:pt idx="1210">
                  <c:v>8.130-8.137</c:v>
                </c:pt>
                <c:pt idx="1211">
                  <c:v>8.137-8.143</c:v>
                </c:pt>
                <c:pt idx="1212">
                  <c:v>8.143-8.150</c:v>
                </c:pt>
                <c:pt idx="1213">
                  <c:v>8.150-8.157</c:v>
                </c:pt>
                <c:pt idx="1214">
                  <c:v>8.157-8.164</c:v>
                </c:pt>
                <c:pt idx="1215">
                  <c:v>8.164-8.170</c:v>
                </c:pt>
                <c:pt idx="1216">
                  <c:v>8.170-8.177</c:v>
                </c:pt>
                <c:pt idx="1217">
                  <c:v>8.177-8.184</c:v>
                </c:pt>
                <c:pt idx="1218">
                  <c:v>8.184-8.190</c:v>
                </c:pt>
                <c:pt idx="1219">
                  <c:v>8.190-8.197</c:v>
                </c:pt>
                <c:pt idx="1220">
                  <c:v>8.197-8.204</c:v>
                </c:pt>
                <c:pt idx="1221">
                  <c:v>8.204-8.211</c:v>
                </c:pt>
                <c:pt idx="1222">
                  <c:v>8.211-8.217</c:v>
                </c:pt>
                <c:pt idx="1223">
                  <c:v>8.217-8.224</c:v>
                </c:pt>
                <c:pt idx="1224">
                  <c:v>8.224-8.231</c:v>
                </c:pt>
                <c:pt idx="1225">
                  <c:v>8.231-8.237</c:v>
                </c:pt>
                <c:pt idx="1226">
                  <c:v>8.237-8.244</c:v>
                </c:pt>
                <c:pt idx="1227">
                  <c:v>8.244-8.251</c:v>
                </c:pt>
                <c:pt idx="1228">
                  <c:v>8.251-8.258</c:v>
                </c:pt>
                <c:pt idx="1229">
                  <c:v>8.258-8.264</c:v>
                </c:pt>
                <c:pt idx="1230">
                  <c:v>8.264-8.271</c:v>
                </c:pt>
                <c:pt idx="1231">
                  <c:v>8.271-8.278</c:v>
                </c:pt>
                <c:pt idx="1232">
                  <c:v>8.278-8.284</c:v>
                </c:pt>
                <c:pt idx="1233">
                  <c:v>8.284-8.291</c:v>
                </c:pt>
                <c:pt idx="1234">
                  <c:v>8.291-8.298</c:v>
                </c:pt>
                <c:pt idx="1235">
                  <c:v>8.298-8.305</c:v>
                </c:pt>
                <c:pt idx="1236">
                  <c:v>8.305-8.311</c:v>
                </c:pt>
                <c:pt idx="1237">
                  <c:v>8.311-8.318</c:v>
                </c:pt>
                <c:pt idx="1238">
                  <c:v>8.318-8.325</c:v>
                </c:pt>
                <c:pt idx="1239">
                  <c:v>8.325-8.331</c:v>
                </c:pt>
                <c:pt idx="1240">
                  <c:v>8.331-8.338</c:v>
                </c:pt>
                <c:pt idx="1241">
                  <c:v>8.338-8.345</c:v>
                </c:pt>
                <c:pt idx="1242">
                  <c:v>8.345-8.352</c:v>
                </c:pt>
                <c:pt idx="1243">
                  <c:v>8.352-8.358</c:v>
                </c:pt>
                <c:pt idx="1244">
                  <c:v>8.358-8.365</c:v>
                </c:pt>
                <c:pt idx="1245">
                  <c:v>8.365-8.372</c:v>
                </c:pt>
                <c:pt idx="1246">
                  <c:v>8.372-8.378</c:v>
                </c:pt>
                <c:pt idx="1247">
                  <c:v>8.378-8.385</c:v>
                </c:pt>
                <c:pt idx="1248">
                  <c:v>8.385-8.392</c:v>
                </c:pt>
                <c:pt idx="1249">
                  <c:v>8.392-8.398</c:v>
                </c:pt>
                <c:pt idx="1250">
                  <c:v>8.398-8.405</c:v>
                </c:pt>
                <c:pt idx="1251">
                  <c:v>8.405-8.412</c:v>
                </c:pt>
                <c:pt idx="1252">
                  <c:v>8.412-8.419</c:v>
                </c:pt>
                <c:pt idx="1253">
                  <c:v>8.419-8.425</c:v>
                </c:pt>
                <c:pt idx="1254">
                  <c:v>8.425-8.432</c:v>
                </c:pt>
                <c:pt idx="1255">
                  <c:v>8.432-8.439</c:v>
                </c:pt>
                <c:pt idx="1256">
                  <c:v>8.439-8.445</c:v>
                </c:pt>
                <c:pt idx="1257">
                  <c:v>8.445-8.452</c:v>
                </c:pt>
                <c:pt idx="1258">
                  <c:v>8.452-8.459</c:v>
                </c:pt>
                <c:pt idx="1259">
                  <c:v>8.459-8.466</c:v>
                </c:pt>
                <c:pt idx="1260">
                  <c:v>8.466-8.472</c:v>
                </c:pt>
                <c:pt idx="1261">
                  <c:v>8.472-8.479</c:v>
                </c:pt>
                <c:pt idx="1262">
                  <c:v>8.479-8.486</c:v>
                </c:pt>
                <c:pt idx="1263">
                  <c:v>8.486-8.492</c:v>
                </c:pt>
                <c:pt idx="1264">
                  <c:v>8.492-8.499</c:v>
                </c:pt>
                <c:pt idx="1265">
                  <c:v>8.499-8.506</c:v>
                </c:pt>
                <c:pt idx="1266">
                  <c:v>8.506-8.513</c:v>
                </c:pt>
                <c:pt idx="1267">
                  <c:v>8.513-8.519</c:v>
                </c:pt>
                <c:pt idx="1268">
                  <c:v>8.519-8.526</c:v>
                </c:pt>
                <c:pt idx="1269">
                  <c:v>8.526-8.533</c:v>
                </c:pt>
                <c:pt idx="1270">
                  <c:v>8.533-8.539</c:v>
                </c:pt>
                <c:pt idx="1271">
                  <c:v>8.539-8.546</c:v>
                </c:pt>
                <c:pt idx="1272">
                  <c:v>8.546-8.553</c:v>
                </c:pt>
                <c:pt idx="1273">
                  <c:v>8.553-8.560</c:v>
                </c:pt>
                <c:pt idx="1274">
                  <c:v>8.560-8.566</c:v>
                </c:pt>
                <c:pt idx="1275">
                  <c:v>8.566-8.573</c:v>
                </c:pt>
                <c:pt idx="1276">
                  <c:v>8.573-8.580</c:v>
                </c:pt>
                <c:pt idx="1277">
                  <c:v>8.580-8.586</c:v>
                </c:pt>
                <c:pt idx="1278">
                  <c:v>8.586-8.593</c:v>
                </c:pt>
                <c:pt idx="1279">
                  <c:v>8.593-8.600</c:v>
                </c:pt>
                <c:pt idx="1280">
                  <c:v>8.600-8.607</c:v>
                </c:pt>
                <c:pt idx="1281">
                  <c:v>8.607-8.613</c:v>
                </c:pt>
                <c:pt idx="1282">
                  <c:v>8.613-8.620</c:v>
                </c:pt>
                <c:pt idx="1283">
                  <c:v>8.620-8.627</c:v>
                </c:pt>
                <c:pt idx="1284">
                  <c:v>8.627-8.633</c:v>
                </c:pt>
                <c:pt idx="1285">
                  <c:v>8.633-8.640</c:v>
                </c:pt>
                <c:pt idx="1286">
                  <c:v>8.640-8.647</c:v>
                </c:pt>
                <c:pt idx="1287">
                  <c:v>8.647-8.654</c:v>
                </c:pt>
                <c:pt idx="1288">
                  <c:v>8.654-8.660</c:v>
                </c:pt>
                <c:pt idx="1289">
                  <c:v>8.660-8.667</c:v>
                </c:pt>
                <c:pt idx="1290">
                  <c:v>8.667-8.674</c:v>
                </c:pt>
                <c:pt idx="1291">
                  <c:v>8.674-8.680</c:v>
                </c:pt>
                <c:pt idx="1292">
                  <c:v>8.680-8.687</c:v>
                </c:pt>
                <c:pt idx="1293">
                  <c:v>8.687-8.694</c:v>
                </c:pt>
                <c:pt idx="1294">
                  <c:v>8.694-8.700</c:v>
                </c:pt>
                <c:pt idx="1295">
                  <c:v>8.700-8.707</c:v>
                </c:pt>
                <c:pt idx="1296">
                  <c:v>8.707-8.714</c:v>
                </c:pt>
                <c:pt idx="1297">
                  <c:v>8.714-8.721</c:v>
                </c:pt>
                <c:pt idx="1298">
                  <c:v>8.721-8.727</c:v>
                </c:pt>
                <c:pt idx="1299">
                  <c:v>8.727-8.734</c:v>
                </c:pt>
                <c:pt idx="1300">
                  <c:v>8.734-8.741</c:v>
                </c:pt>
                <c:pt idx="1301">
                  <c:v>8.741-8.747</c:v>
                </c:pt>
                <c:pt idx="1302">
                  <c:v>8.747-8.754</c:v>
                </c:pt>
                <c:pt idx="1303">
                  <c:v>8.754-8.761</c:v>
                </c:pt>
                <c:pt idx="1304">
                  <c:v>8.761-8.768</c:v>
                </c:pt>
                <c:pt idx="1305">
                  <c:v>8.768-8.774</c:v>
                </c:pt>
                <c:pt idx="1306">
                  <c:v>8.774-8.781</c:v>
                </c:pt>
                <c:pt idx="1307">
                  <c:v>8.781-8.788</c:v>
                </c:pt>
                <c:pt idx="1308">
                  <c:v>8.788-8.794</c:v>
                </c:pt>
                <c:pt idx="1309">
                  <c:v>8.794-8.801</c:v>
                </c:pt>
                <c:pt idx="1310">
                  <c:v>8.801-8.808</c:v>
                </c:pt>
                <c:pt idx="1311">
                  <c:v>8.808-8.815</c:v>
                </c:pt>
                <c:pt idx="1312">
                  <c:v>8.815-8.821</c:v>
                </c:pt>
                <c:pt idx="1313">
                  <c:v>8.821-8.828</c:v>
                </c:pt>
                <c:pt idx="1314">
                  <c:v>8.828-8.835</c:v>
                </c:pt>
                <c:pt idx="1315">
                  <c:v>8.835-8.841</c:v>
                </c:pt>
                <c:pt idx="1316">
                  <c:v>8.841-8.848</c:v>
                </c:pt>
                <c:pt idx="1317">
                  <c:v>8.848-8.855</c:v>
                </c:pt>
                <c:pt idx="1318">
                  <c:v>8.855-8.862</c:v>
                </c:pt>
                <c:pt idx="1319">
                  <c:v>8.862-8.868</c:v>
                </c:pt>
                <c:pt idx="1320">
                  <c:v>8.868-8.875</c:v>
                </c:pt>
                <c:pt idx="1321">
                  <c:v>8.875-8.882</c:v>
                </c:pt>
                <c:pt idx="1322">
                  <c:v>8.882-8.888</c:v>
                </c:pt>
                <c:pt idx="1323">
                  <c:v>8.888-8.895</c:v>
                </c:pt>
                <c:pt idx="1324">
                  <c:v>8.895-8.902</c:v>
                </c:pt>
                <c:pt idx="1325">
                  <c:v>8.902-8.909</c:v>
                </c:pt>
                <c:pt idx="1326">
                  <c:v>8.909-8.915</c:v>
                </c:pt>
                <c:pt idx="1327">
                  <c:v>8.915-8.922</c:v>
                </c:pt>
                <c:pt idx="1328">
                  <c:v>8.922-8.929</c:v>
                </c:pt>
                <c:pt idx="1329">
                  <c:v>8.929-8.935</c:v>
                </c:pt>
                <c:pt idx="1330">
                  <c:v>8.935-8.942</c:v>
                </c:pt>
                <c:pt idx="1331">
                  <c:v>8.942-8.949</c:v>
                </c:pt>
                <c:pt idx="1332">
                  <c:v>8.949-8.955</c:v>
                </c:pt>
                <c:pt idx="1333">
                  <c:v>8.955-8.962</c:v>
                </c:pt>
                <c:pt idx="1334">
                  <c:v>8.962-8.969</c:v>
                </c:pt>
                <c:pt idx="1335">
                  <c:v>8.969-8.976</c:v>
                </c:pt>
                <c:pt idx="1336">
                  <c:v>8.976-8.982</c:v>
                </c:pt>
                <c:pt idx="1337">
                  <c:v>8.982-8.989</c:v>
                </c:pt>
                <c:pt idx="1338">
                  <c:v>8.989-8.996</c:v>
                </c:pt>
                <c:pt idx="1339">
                  <c:v>8.996-9.002</c:v>
                </c:pt>
                <c:pt idx="1340">
                  <c:v>9.002-9.009</c:v>
                </c:pt>
                <c:pt idx="1341">
                  <c:v>9.009-9.016</c:v>
                </c:pt>
                <c:pt idx="1342">
                  <c:v>9.016-9.023</c:v>
                </c:pt>
                <c:pt idx="1343">
                  <c:v>9.023-9.029</c:v>
                </c:pt>
                <c:pt idx="1344">
                  <c:v>9.029-9.036</c:v>
                </c:pt>
                <c:pt idx="1345">
                  <c:v>9.036-9.043</c:v>
                </c:pt>
                <c:pt idx="1346">
                  <c:v>9.043-9.049</c:v>
                </c:pt>
                <c:pt idx="1347">
                  <c:v>9.049-9.056</c:v>
                </c:pt>
                <c:pt idx="1348">
                  <c:v>9.056-9.063</c:v>
                </c:pt>
                <c:pt idx="1349">
                  <c:v>9.063-9.070</c:v>
                </c:pt>
                <c:pt idx="1350">
                  <c:v>9.070-9.076</c:v>
                </c:pt>
                <c:pt idx="1351">
                  <c:v>9.076-9.083</c:v>
                </c:pt>
                <c:pt idx="1352">
                  <c:v>9.083-9.090</c:v>
                </c:pt>
                <c:pt idx="1353">
                  <c:v>9.090-9.096</c:v>
                </c:pt>
                <c:pt idx="1354">
                  <c:v>9.096-9.103</c:v>
                </c:pt>
                <c:pt idx="1355">
                  <c:v>9.103-9.110</c:v>
                </c:pt>
                <c:pt idx="1356">
                  <c:v>9.110-9.117</c:v>
                </c:pt>
                <c:pt idx="1357">
                  <c:v>9.117-9.123</c:v>
                </c:pt>
                <c:pt idx="1358">
                  <c:v>9.123-9.130</c:v>
                </c:pt>
                <c:pt idx="1359">
                  <c:v>9.130-9.137</c:v>
                </c:pt>
                <c:pt idx="1360">
                  <c:v>9.137-9.143</c:v>
                </c:pt>
                <c:pt idx="1361">
                  <c:v>9.143-9.150</c:v>
                </c:pt>
                <c:pt idx="1362">
                  <c:v>9.150-9.157</c:v>
                </c:pt>
                <c:pt idx="1363">
                  <c:v>9.157-9.164</c:v>
                </c:pt>
                <c:pt idx="1364">
                  <c:v>9.164-9.170</c:v>
                </c:pt>
                <c:pt idx="1365">
                  <c:v>9.170-9.177</c:v>
                </c:pt>
                <c:pt idx="1366">
                  <c:v>9.177-9.184</c:v>
                </c:pt>
                <c:pt idx="1367">
                  <c:v>9.184-9.190</c:v>
                </c:pt>
                <c:pt idx="1368">
                  <c:v>9.190-9.197</c:v>
                </c:pt>
                <c:pt idx="1369">
                  <c:v>9.197-9.204</c:v>
                </c:pt>
                <c:pt idx="1370">
                  <c:v>9.204-9.211</c:v>
                </c:pt>
                <c:pt idx="1371">
                  <c:v>9.211-9.217</c:v>
                </c:pt>
                <c:pt idx="1372">
                  <c:v>9.217-9.224</c:v>
                </c:pt>
                <c:pt idx="1373">
                  <c:v>9.224-9.231</c:v>
                </c:pt>
                <c:pt idx="1374">
                  <c:v>9.231-9.237</c:v>
                </c:pt>
                <c:pt idx="1375">
                  <c:v>9.237-9.244</c:v>
                </c:pt>
                <c:pt idx="1376">
                  <c:v>9.244-9.251</c:v>
                </c:pt>
                <c:pt idx="1377">
                  <c:v>9.251-9.257</c:v>
                </c:pt>
                <c:pt idx="1378">
                  <c:v>9.257-9.264</c:v>
                </c:pt>
                <c:pt idx="1379">
                  <c:v>9.264-9.271</c:v>
                </c:pt>
                <c:pt idx="1380">
                  <c:v>9.271-9.278</c:v>
                </c:pt>
                <c:pt idx="1381">
                  <c:v>9.278-9.284</c:v>
                </c:pt>
                <c:pt idx="1382">
                  <c:v>9.284-9.291</c:v>
                </c:pt>
                <c:pt idx="1383">
                  <c:v>9.291-9.298</c:v>
                </c:pt>
                <c:pt idx="1384">
                  <c:v>9.298-9.304</c:v>
                </c:pt>
                <c:pt idx="1385">
                  <c:v>9.304-9.311</c:v>
                </c:pt>
                <c:pt idx="1386">
                  <c:v>9.311-9.318</c:v>
                </c:pt>
                <c:pt idx="1387">
                  <c:v>9.318-9.325</c:v>
                </c:pt>
                <c:pt idx="1388">
                  <c:v>9.325-9.331</c:v>
                </c:pt>
                <c:pt idx="1389">
                  <c:v>9.331-9.338</c:v>
                </c:pt>
                <c:pt idx="1390">
                  <c:v>9.338-9.345</c:v>
                </c:pt>
                <c:pt idx="1391">
                  <c:v>9.345-9.351</c:v>
                </c:pt>
                <c:pt idx="1392">
                  <c:v>9.351-9.358</c:v>
                </c:pt>
                <c:pt idx="1393">
                  <c:v>9.358-9.365</c:v>
                </c:pt>
                <c:pt idx="1394">
                  <c:v>9.365-9.372</c:v>
                </c:pt>
                <c:pt idx="1395">
                  <c:v>9.372-9.378</c:v>
                </c:pt>
                <c:pt idx="1396">
                  <c:v>9.378-9.385</c:v>
                </c:pt>
                <c:pt idx="1397">
                  <c:v>9.385-9.392</c:v>
                </c:pt>
                <c:pt idx="1398">
                  <c:v>9.392-9.398</c:v>
                </c:pt>
                <c:pt idx="1399">
                  <c:v>9.398-9.405</c:v>
                </c:pt>
                <c:pt idx="1400">
                  <c:v>9.405-9.412</c:v>
                </c:pt>
                <c:pt idx="1401">
                  <c:v>9.412-9.419</c:v>
                </c:pt>
                <c:pt idx="1402">
                  <c:v>9.419-9.425</c:v>
                </c:pt>
                <c:pt idx="1403">
                  <c:v>9.425-9.432</c:v>
                </c:pt>
                <c:pt idx="1404">
                  <c:v>9.432-9.439</c:v>
                </c:pt>
                <c:pt idx="1405">
                  <c:v>9.439-9.445</c:v>
                </c:pt>
                <c:pt idx="1406">
                  <c:v>9.445-9.452</c:v>
                </c:pt>
                <c:pt idx="1407">
                  <c:v>9.452-9.459</c:v>
                </c:pt>
                <c:pt idx="1408">
                  <c:v>9.459-9.466</c:v>
                </c:pt>
                <c:pt idx="1409">
                  <c:v>9.466-9.472</c:v>
                </c:pt>
                <c:pt idx="1410">
                  <c:v>9.472-9.479</c:v>
                </c:pt>
                <c:pt idx="1411">
                  <c:v>9.479-9.486</c:v>
                </c:pt>
                <c:pt idx="1412">
                  <c:v>9.486-9.492</c:v>
                </c:pt>
                <c:pt idx="1413">
                  <c:v>9.492-9.499</c:v>
                </c:pt>
                <c:pt idx="1414">
                  <c:v>9.499-9.506</c:v>
                </c:pt>
                <c:pt idx="1415">
                  <c:v>9.506-9.512</c:v>
                </c:pt>
                <c:pt idx="1416">
                  <c:v>9.512-9.519</c:v>
                </c:pt>
                <c:pt idx="1417">
                  <c:v>9.519-9.526</c:v>
                </c:pt>
                <c:pt idx="1418">
                  <c:v>9.526-9.533</c:v>
                </c:pt>
                <c:pt idx="1419">
                  <c:v>9.533-9.539</c:v>
                </c:pt>
                <c:pt idx="1420">
                  <c:v>9.539-9.546</c:v>
                </c:pt>
                <c:pt idx="1421">
                  <c:v>9.546-9.553</c:v>
                </c:pt>
                <c:pt idx="1422">
                  <c:v>9.553-9.559</c:v>
                </c:pt>
                <c:pt idx="1423">
                  <c:v>9.559-9.566</c:v>
                </c:pt>
                <c:pt idx="1424">
                  <c:v>9.566-9.573</c:v>
                </c:pt>
                <c:pt idx="1425">
                  <c:v>9.573-9.580</c:v>
                </c:pt>
                <c:pt idx="1426">
                  <c:v>9.580-9.586</c:v>
                </c:pt>
                <c:pt idx="1427">
                  <c:v>9.586-9.593</c:v>
                </c:pt>
                <c:pt idx="1428">
                  <c:v>9.593-9.600</c:v>
                </c:pt>
                <c:pt idx="1429">
                  <c:v>9.600-9.606</c:v>
                </c:pt>
                <c:pt idx="1430">
                  <c:v>9.606-9.613</c:v>
                </c:pt>
                <c:pt idx="1431">
                  <c:v>9.613-9.620</c:v>
                </c:pt>
                <c:pt idx="1432">
                  <c:v>9.620-9.627</c:v>
                </c:pt>
                <c:pt idx="1433">
                  <c:v>9.627-9.633</c:v>
                </c:pt>
                <c:pt idx="1434">
                  <c:v>9.633-9.640</c:v>
                </c:pt>
                <c:pt idx="1435">
                  <c:v>9.640-9.647</c:v>
                </c:pt>
                <c:pt idx="1436">
                  <c:v>9.647-9.653</c:v>
                </c:pt>
                <c:pt idx="1437">
                  <c:v>9.653-9.660</c:v>
                </c:pt>
                <c:pt idx="1438">
                  <c:v>9.660-9.667</c:v>
                </c:pt>
                <c:pt idx="1439">
                  <c:v>9.667-9.674</c:v>
                </c:pt>
                <c:pt idx="1440">
                  <c:v>9.674-9.680</c:v>
                </c:pt>
                <c:pt idx="1441">
                  <c:v>9.680-9.687</c:v>
                </c:pt>
                <c:pt idx="1442">
                  <c:v>9.687-9.694</c:v>
                </c:pt>
                <c:pt idx="1443">
                  <c:v>9.694-9.700</c:v>
                </c:pt>
                <c:pt idx="1444">
                  <c:v>9.700-9.707</c:v>
                </c:pt>
                <c:pt idx="1445">
                  <c:v>9.707-9.714</c:v>
                </c:pt>
                <c:pt idx="1446">
                  <c:v>9.714-9.721</c:v>
                </c:pt>
                <c:pt idx="1447">
                  <c:v>9.721-9.727</c:v>
                </c:pt>
                <c:pt idx="1448">
                  <c:v>9.727-9.734</c:v>
                </c:pt>
                <c:pt idx="1449">
                  <c:v>9.734-9.741</c:v>
                </c:pt>
                <c:pt idx="1450">
                  <c:v>9.741-9.747</c:v>
                </c:pt>
                <c:pt idx="1451">
                  <c:v>9.747-9.754</c:v>
                </c:pt>
                <c:pt idx="1452">
                  <c:v>9.754-9.761</c:v>
                </c:pt>
                <c:pt idx="1453">
                  <c:v>9.761-9.768</c:v>
                </c:pt>
                <c:pt idx="1454">
                  <c:v>9.768-9.774</c:v>
                </c:pt>
                <c:pt idx="1455">
                  <c:v>9.774-9.781</c:v>
                </c:pt>
                <c:pt idx="1456">
                  <c:v>9.781-9.788</c:v>
                </c:pt>
                <c:pt idx="1457">
                  <c:v>9.788-9.794</c:v>
                </c:pt>
                <c:pt idx="1458">
                  <c:v>9.794-9.801</c:v>
                </c:pt>
                <c:pt idx="1459">
                  <c:v>9.801-9.808</c:v>
                </c:pt>
                <c:pt idx="1460">
                  <c:v>9.808-9.814</c:v>
                </c:pt>
                <c:pt idx="1461">
                  <c:v>9.814-9.821</c:v>
                </c:pt>
                <c:pt idx="1462">
                  <c:v>9.821-9.828</c:v>
                </c:pt>
                <c:pt idx="1463">
                  <c:v>9.828-9.835</c:v>
                </c:pt>
                <c:pt idx="1464">
                  <c:v>9.835-9.841</c:v>
                </c:pt>
                <c:pt idx="1465">
                  <c:v>9.841-9.848</c:v>
                </c:pt>
                <c:pt idx="1466">
                  <c:v>9.848-9.855</c:v>
                </c:pt>
                <c:pt idx="1467">
                  <c:v>9.855-9.861</c:v>
                </c:pt>
                <c:pt idx="1468">
                  <c:v>9.861-9.868</c:v>
                </c:pt>
                <c:pt idx="1469">
                  <c:v>9.868-9.875</c:v>
                </c:pt>
                <c:pt idx="1470">
                  <c:v>9.875-9.882</c:v>
                </c:pt>
                <c:pt idx="1471">
                  <c:v>9.882-9.888</c:v>
                </c:pt>
                <c:pt idx="1472">
                  <c:v>9.888-9.895</c:v>
                </c:pt>
                <c:pt idx="1473">
                  <c:v>9.895-9.902</c:v>
                </c:pt>
                <c:pt idx="1474">
                  <c:v>9.902-9.908</c:v>
                </c:pt>
                <c:pt idx="1475">
                  <c:v>9.908-9.915</c:v>
                </c:pt>
                <c:pt idx="1476">
                  <c:v>9.915-9.922</c:v>
                </c:pt>
                <c:pt idx="1477">
                  <c:v>9.922-9.929</c:v>
                </c:pt>
                <c:pt idx="1478">
                  <c:v>9.929-9.935</c:v>
                </c:pt>
                <c:pt idx="1479">
                  <c:v>9.935-9.942</c:v>
                </c:pt>
                <c:pt idx="1480">
                  <c:v>9.942-9.949</c:v>
                </c:pt>
                <c:pt idx="1481">
                  <c:v>9.949-9.955</c:v>
                </c:pt>
                <c:pt idx="1482">
                  <c:v>9.955-9.962</c:v>
                </c:pt>
                <c:pt idx="1483">
                  <c:v>9.962-9.969</c:v>
                </c:pt>
                <c:pt idx="1484">
                  <c:v>9.969-9.976</c:v>
                </c:pt>
                <c:pt idx="1485">
                  <c:v>9.976-9.982</c:v>
                </c:pt>
                <c:pt idx="1486">
                  <c:v>9.982-9.989</c:v>
                </c:pt>
                <c:pt idx="1487">
                  <c:v>9.989-9.996</c:v>
                </c:pt>
                <c:pt idx="1488">
                  <c:v>9.996-10.002</c:v>
                </c:pt>
                <c:pt idx="1489">
                  <c:v>10.002-10.009</c:v>
                </c:pt>
                <c:pt idx="1490">
                  <c:v>10.009-10.016</c:v>
                </c:pt>
                <c:pt idx="1491">
                  <c:v>10.016-10.023</c:v>
                </c:pt>
                <c:pt idx="1492">
                  <c:v>10.023-10.029</c:v>
                </c:pt>
                <c:pt idx="1493">
                  <c:v>10.029-10.036</c:v>
                </c:pt>
                <c:pt idx="1494">
                  <c:v>10.036-10.043</c:v>
                </c:pt>
                <c:pt idx="1495">
                  <c:v>10.043-10.049</c:v>
                </c:pt>
                <c:pt idx="1496">
                  <c:v>10.049-10.056</c:v>
                </c:pt>
                <c:pt idx="1497">
                  <c:v>10.056-10.063</c:v>
                </c:pt>
                <c:pt idx="1498">
                  <c:v>10.063-10.069</c:v>
                </c:pt>
                <c:pt idx="1499">
                  <c:v>10.069-10.076</c:v>
                </c:pt>
                <c:pt idx="1500">
                  <c:v>10.076-10.083</c:v>
                </c:pt>
                <c:pt idx="1501">
                  <c:v>10.083-10.090</c:v>
                </c:pt>
                <c:pt idx="1502">
                  <c:v>10.090-10.096</c:v>
                </c:pt>
                <c:pt idx="1503">
                  <c:v>10.096-10.103</c:v>
                </c:pt>
                <c:pt idx="1504">
                  <c:v>10.103-10.110</c:v>
                </c:pt>
                <c:pt idx="1505">
                  <c:v>10.110-10.116</c:v>
                </c:pt>
                <c:pt idx="1506">
                  <c:v>10.116-10.123</c:v>
                </c:pt>
                <c:pt idx="1507">
                  <c:v>10.123-10.130</c:v>
                </c:pt>
                <c:pt idx="1508">
                  <c:v>10.130-10.137</c:v>
                </c:pt>
                <c:pt idx="1509">
                  <c:v>10.137-10.143</c:v>
                </c:pt>
                <c:pt idx="1510">
                  <c:v>10.143-10.150</c:v>
                </c:pt>
                <c:pt idx="1511">
                  <c:v>10.150-10.157</c:v>
                </c:pt>
                <c:pt idx="1512">
                  <c:v>10.157-10.163</c:v>
                </c:pt>
                <c:pt idx="1513">
                  <c:v>10.163-10.170</c:v>
                </c:pt>
                <c:pt idx="1514">
                  <c:v>10.170-10.177</c:v>
                </c:pt>
                <c:pt idx="1515">
                  <c:v>10.177-10.184</c:v>
                </c:pt>
                <c:pt idx="1516">
                  <c:v>10.184-10.190</c:v>
                </c:pt>
                <c:pt idx="1517">
                  <c:v>10.190-10.197</c:v>
                </c:pt>
                <c:pt idx="1518">
                  <c:v>10.197-10.204</c:v>
                </c:pt>
                <c:pt idx="1519">
                  <c:v>10.204-10.210</c:v>
                </c:pt>
                <c:pt idx="1520">
                  <c:v>10.210-10.217</c:v>
                </c:pt>
                <c:pt idx="1521">
                  <c:v>10.217-10.224</c:v>
                </c:pt>
                <c:pt idx="1522">
                  <c:v>10.224-10.231</c:v>
                </c:pt>
                <c:pt idx="1523">
                  <c:v>10.231-10.237</c:v>
                </c:pt>
                <c:pt idx="1524">
                  <c:v>10.237-10.244</c:v>
                </c:pt>
                <c:pt idx="1525">
                  <c:v>10.244-10.251</c:v>
                </c:pt>
                <c:pt idx="1526">
                  <c:v>10.251-10.257</c:v>
                </c:pt>
                <c:pt idx="1527">
                  <c:v>10.257-10.264</c:v>
                </c:pt>
                <c:pt idx="1528">
                  <c:v>10.264-10.271</c:v>
                </c:pt>
                <c:pt idx="1529">
                  <c:v>10.271-10.278</c:v>
                </c:pt>
                <c:pt idx="1530">
                  <c:v>10.278-10.284</c:v>
                </c:pt>
                <c:pt idx="1531">
                  <c:v>10.284-10.291</c:v>
                </c:pt>
                <c:pt idx="1532">
                  <c:v>10.291-10.298</c:v>
                </c:pt>
                <c:pt idx="1533">
                  <c:v>10.298-10.304</c:v>
                </c:pt>
                <c:pt idx="1534">
                  <c:v>10.304-10.311</c:v>
                </c:pt>
                <c:pt idx="1535">
                  <c:v>10.311-10.318</c:v>
                </c:pt>
                <c:pt idx="1536">
                  <c:v>10.318-10.324</c:v>
                </c:pt>
                <c:pt idx="1537">
                  <c:v>10.324-10.331</c:v>
                </c:pt>
                <c:pt idx="1538">
                  <c:v>10.331-10.338</c:v>
                </c:pt>
                <c:pt idx="1539">
                  <c:v>10.338-10.345</c:v>
                </c:pt>
                <c:pt idx="1540">
                  <c:v>10.345-10.351</c:v>
                </c:pt>
                <c:pt idx="1541">
                  <c:v>10.351-10.358</c:v>
                </c:pt>
                <c:pt idx="1542">
                  <c:v>10.358-10.365</c:v>
                </c:pt>
                <c:pt idx="1543">
                  <c:v>10.365-10.371</c:v>
                </c:pt>
                <c:pt idx="1544">
                  <c:v>10.371-10.378</c:v>
                </c:pt>
                <c:pt idx="1545">
                  <c:v>10.378-10.385</c:v>
                </c:pt>
                <c:pt idx="1546">
                  <c:v>10.385-10.392</c:v>
                </c:pt>
                <c:pt idx="1547">
                  <c:v>10.392-10.398</c:v>
                </c:pt>
                <c:pt idx="1548">
                  <c:v>10.398-10.405</c:v>
                </c:pt>
                <c:pt idx="1549">
                  <c:v>10.405-10.412</c:v>
                </c:pt>
                <c:pt idx="1550">
                  <c:v>10.412-10.418</c:v>
                </c:pt>
                <c:pt idx="1551">
                  <c:v>10.418-10.425</c:v>
                </c:pt>
                <c:pt idx="1552">
                  <c:v>10.425-10.432</c:v>
                </c:pt>
                <c:pt idx="1553">
                  <c:v>10.432-10.439</c:v>
                </c:pt>
                <c:pt idx="1554">
                  <c:v>10.439-10.445</c:v>
                </c:pt>
                <c:pt idx="1555">
                  <c:v>10.445-10.452</c:v>
                </c:pt>
                <c:pt idx="1556">
                  <c:v>10.452-10.459</c:v>
                </c:pt>
                <c:pt idx="1557">
                  <c:v>10.459-10.465</c:v>
                </c:pt>
                <c:pt idx="1558">
                  <c:v>10.465-10.472</c:v>
                </c:pt>
                <c:pt idx="1559">
                  <c:v>10.472-10.479</c:v>
                </c:pt>
                <c:pt idx="1560">
                  <c:v>10.479-10.486</c:v>
                </c:pt>
                <c:pt idx="1561">
                  <c:v>10.486-10.492</c:v>
                </c:pt>
                <c:pt idx="1562">
                  <c:v>10.492-10.499</c:v>
                </c:pt>
                <c:pt idx="1563">
                  <c:v>10.499-10.506</c:v>
                </c:pt>
                <c:pt idx="1564">
                  <c:v>10.506-10.512</c:v>
                </c:pt>
                <c:pt idx="1565">
                  <c:v>10.512-10.519</c:v>
                </c:pt>
                <c:pt idx="1566">
                  <c:v>10.519-10.526</c:v>
                </c:pt>
                <c:pt idx="1567">
                  <c:v>10.526-10.533</c:v>
                </c:pt>
                <c:pt idx="1568">
                  <c:v>10.533-10.539</c:v>
                </c:pt>
                <c:pt idx="1569">
                  <c:v>10.539-10.546</c:v>
                </c:pt>
                <c:pt idx="1570">
                  <c:v>10.546-10.553</c:v>
                </c:pt>
                <c:pt idx="1571">
                  <c:v>10.553-10.559</c:v>
                </c:pt>
                <c:pt idx="1572">
                  <c:v>10.559-10.566</c:v>
                </c:pt>
                <c:pt idx="1573">
                  <c:v>10.566-10.573</c:v>
                </c:pt>
                <c:pt idx="1574">
                  <c:v>10.573-10.580</c:v>
                </c:pt>
                <c:pt idx="1575">
                  <c:v>10.580-10.586</c:v>
                </c:pt>
                <c:pt idx="1576">
                  <c:v>10.586-10.593</c:v>
                </c:pt>
                <c:pt idx="1577">
                  <c:v>10.593-10.600</c:v>
                </c:pt>
                <c:pt idx="1578">
                  <c:v>10.600-10.606</c:v>
                </c:pt>
                <c:pt idx="1579">
                  <c:v>10.606-10.613</c:v>
                </c:pt>
                <c:pt idx="1580">
                  <c:v>10.613-10.620</c:v>
                </c:pt>
                <c:pt idx="1581">
                  <c:v>10.620-10.626</c:v>
                </c:pt>
                <c:pt idx="1582">
                  <c:v>10.626-10.633</c:v>
                </c:pt>
                <c:pt idx="1583">
                  <c:v>10.633-10.640</c:v>
                </c:pt>
                <c:pt idx="1584">
                  <c:v>10.640-10.647</c:v>
                </c:pt>
                <c:pt idx="1585">
                  <c:v>10.647-10.653</c:v>
                </c:pt>
                <c:pt idx="1586">
                  <c:v>10.653-10.660</c:v>
                </c:pt>
                <c:pt idx="1587">
                  <c:v>10.660-10.667</c:v>
                </c:pt>
                <c:pt idx="1588">
                  <c:v>10.667-10.673</c:v>
                </c:pt>
                <c:pt idx="1589">
                  <c:v>10.673-10.680</c:v>
                </c:pt>
                <c:pt idx="1590">
                  <c:v>10.680-10.687</c:v>
                </c:pt>
                <c:pt idx="1591">
                  <c:v>10.687-10.694</c:v>
                </c:pt>
                <c:pt idx="1592">
                  <c:v>10.694-10.700</c:v>
                </c:pt>
                <c:pt idx="1593">
                  <c:v>10.700-10.707</c:v>
                </c:pt>
                <c:pt idx="1594">
                  <c:v>10.707-10.714</c:v>
                </c:pt>
                <c:pt idx="1595">
                  <c:v>10.714-10.720</c:v>
                </c:pt>
                <c:pt idx="1596">
                  <c:v>10.720-10.727</c:v>
                </c:pt>
                <c:pt idx="1597">
                  <c:v>10.727-10.734</c:v>
                </c:pt>
                <c:pt idx="1598">
                  <c:v>10.734-10.741</c:v>
                </c:pt>
                <c:pt idx="1599">
                  <c:v>10.741-10.747</c:v>
                </c:pt>
                <c:pt idx="1600">
                  <c:v>10.747-10.754</c:v>
                </c:pt>
                <c:pt idx="1601">
                  <c:v>10.754-10.761</c:v>
                </c:pt>
                <c:pt idx="1602">
                  <c:v>10.761-10.767</c:v>
                </c:pt>
                <c:pt idx="1603">
                  <c:v>10.767-10.774</c:v>
                </c:pt>
                <c:pt idx="1604">
                  <c:v>10.774-10.781</c:v>
                </c:pt>
                <c:pt idx="1605">
                  <c:v>10.781-10.788</c:v>
                </c:pt>
                <c:pt idx="1606">
                  <c:v>10.788-10.794</c:v>
                </c:pt>
                <c:pt idx="1607">
                  <c:v>10.794-10.801</c:v>
                </c:pt>
                <c:pt idx="1608">
                  <c:v>10.801-10.808</c:v>
                </c:pt>
                <c:pt idx="1609">
                  <c:v>10.808-10.814</c:v>
                </c:pt>
                <c:pt idx="1610">
                  <c:v>10.814-10.821</c:v>
                </c:pt>
                <c:pt idx="1611">
                  <c:v>10.821-10.828</c:v>
                </c:pt>
                <c:pt idx="1612">
                  <c:v>10.828-10.835</c:v>
                </c:pt>
                <c:pt idx="1613">
                  <c:v>10.835-10.841</c:v>
                </c:pt>
                <c:pt idx="1614">
                  <c:v>10.841-10.848</c:v>
                </c:pt>
                <c:pt idx="1615">
                  <c:v>10.848-10.855</c:v>
                </c:pt>
                <c:pt idx="1616">
                  <c:v>10.855-10.861</c:v>
                </c:pt>
                <c:pt idx="1617">
                  <c:v>10.861-10.868</c:v>
                </c:pt>
                <c:pt idx="1618">
                  <c:v>10.868-10.875</c:v>
                </c:pt>
                <c:pt idx="1619">
                  <c:v>10.875-10.881</c:v>
                </c:pt>
                <c:pt idx="1620">
                  <c:v>10.881-10.888</c:v>
                </c:pt>
                <c:pt idx="1621">
                  <c:v>10.888-10.895</c:v>
                </c:pt>
                <c:pt idx="1622">
                  <c:v>10.895-10.902</c:v>
                </c:pt>
                <c:pt idx="1623">
                  <c:v>10.902-10.908</c:v>
                </c:pt>
                <c:pt idx="1624">
                  <c:v>10.908-10.915</c:v>
                </c:pt>
                <c:pt idx="1625">
                  <c:v>10.915-10.922</c:v>
                </c:pt>
                <c:pt idx="1626">
                  <c:v>10.922-10.928</c:v>
                </c:pt>
                <c:pt idx="1627">
                  <c:v>10.928-10.935</c:v>
                </c:pt>
                <c:pt idx="1628">
                  <c:v>10.935-10.942</c:v>
                </c:pt>
                <c:pt idx="1629">
                  <c:v>10.942-10.949</c:v>
                </c:pt>
                <c:pt idx="1630">
                  <c:v>10.949-10.955</c:v>
                </c:pt>
                <c:pt idx="1631">
                  <c:v>10.955-10.962</c:v>
                </c:pt>
                <c:pt idx="1632">
                  <c:v>10.962-10.969</c:v>
                </c:pt>
                <c:pt idx="1633">
                  <c:v>10.969-10.975</c:v>
                </c:pt>
                <c:pt idx="1634">
                  <c:v>10.975-10.982</c:v>
                </c:pt>
                <c:pt idx="1635">
                  <c:v>10.982-10.989</c:v>
                </c:pt>
                <c:pt idx="1636">
                  <c:v>10.989-10.996</c:v>
                </c:pt>
                <c:pt idx="1637">
                  <c:v>10.996-11.002</c:v>
                </c:pt>
                <c:pt idx="1638">
                  <c:v>11.002-11.009</c:v>
                </c:pt>
                <c:pt idx="1639">
                  <c:v>11.009-11.016</c:v>
                </c:pt>
                <c:pt idx="1640">
                  <c:v>11.016-11.022</c:v>
                </c:pt>
                <c:pt idx="1641">
                  <c:v>11.022-11.029</c:v>
                </c:pt>
                <c:pt idx="1642">
                  <c:v>11.029-11.036</c:v>
                </c:pt>
                <c:pt idx="1643">
                  <c:v>11.036-11.043</c:v>
                </c:pt>
                <c:pt idx="1644">
                  <c:v>11.043-11.049</c:v>
                </c:pt>
                <c:pt idx="1645">
                  <c:v>11.049-11.056</c:v>
                </c:pt>
                <c:pt idx="1646">
                  <c:v>11.056-11.063</c:v>
                </c:pt>
                <c:pt idx="1647">
                  <c:v>11.063-11.069</c:v>
                </c:pt>
                <c:pt idx="1648">
                  <c:v>11.069-11.076</c:v>
                </c:pt>
                <c:pt idx="1649">
                  <c:v>11.076-11.083</c:v>
                </c:pt>
                <c:pt idx="1650">
                  <c:v>11.083-11.090</c:v>
                </c:pt>
                <c:pt idx="1651">
                  <c:v>11.090-11.096</c:v>
                </c:pt>
                <c:pt idx="1652">
                  <c:v>11.096-11.103</c:v>
                </c:pt>
                <c:pt idx="1653">
                  <c:v>11.103-11.110</c:v>
                </c:pt>
                <c:pt idx="1654">
                  <c:v>11.110-11.116</c:v>
                </c:pt>
                <c:pt idx="1655">
                  <c:v>11.116-11.123</c:v>
                </c:pt>
                <c:pt idx="1656">
                  <c:v>11.123-11.130</c:v>
                </c:pt>
                <c:pt idx="1657">
                  <c:v>11.130-11.137</c:v>
                </c:pt>
                <c:pt idx="1658">
                  <c:v>11.137-11.143</c:v>
                </c:pt>
                <c:pt idx="1659">
                  <c:v>11.143-11.150</c:v>
                </c:pt>
                <c:pt idx="1660">
                  <c:v>11.150-11.157</c:v>
                </c:pt>
                <c:pt idx="1661">
                  <c:v>11.157-11.163</c:v>
                </c:pt>
                <c:pt idx="1662">
                  <c:v>11.163-11.170</c:v>
                </c:pt>
                <c:pt idx="1663">
                  <c:v>11.170-11.177</c:v>
                </c:pt>
                <c:pt idx="1664">
                  <c:v>11.177-11.183</c:v>
                </c:pt>
                <c:pt idx="1665">
                  <c:v>11.183-11.190</c:v>
                </c:pt>
                <c:pt idx="1666">
                  <c:v>11.190-11.197</c:v>
                </c:pt>
                <c:pt idx="1667">
                  <c:v>11.197-11.204</c:v>
                </c:pt>
                <c:pt idx="1668">
                  <c:v>11.204-11.210</c:v>
                </c:pt>
                <c:pt idx="1669">
                  <c:v>11.210-11.217</c:v>
                </c:pt>
                <c:pt idx="1670">
                  <c:v>11.217-11.224</c:v>
                </c:pt>
                <c:pt idx="1671">
                  <c:v>11.224-11.230</c:v>
                </c:pt>
                <c:pt idx="1672">
                  <c:v>11.230-11.237</c:v>
                </c:pt>
                <c:pt idx="1673">
                  <c:v>11.237-11.244</c:v>
                </c:pt>
                <c:pt idx="1674">
                  <c:v>11.244-11.251</c:v>
                </c:pt>
                <c:pt idx="1675">
                  <c:v>11.251-11.257</c:v>
                </c:pt>
                <c:pt idx="1676">
                  <c:v>11.257-11.264</c:v>
                </c:pt>
                <c:pt idx="1677">
                  <c:v>11.264-11.271</c:v>
                </c:pt>
                <c:pt idx="1678">
                  <c:v>11.271-11.277</c:v>
                </c:pt>
                <c:pt idx="1679">
                  <c:v>11.277-11.284</c:v>
                </c:pt>
                <c:pt idx="1680">
                  <c:v>11.284-11.291</c:v>
                </c:pt>
                <c:pt idx="1681">
                  <c:v>11.291-11.298</c:v>
                </c:pt>
                <c:pt idx="1682">
                  <c:v>11.298-11.304</c:v>
                </c:pt>
                <c:pt idx="1683">
                  <c:v>11.304-11.311</c:v>
                </c:pt>
                <c:pt idx="1684">
                  <c:v>11.311-11.318</c:v>
                </c:pt>
                <c:pt idx="1685">
                  <c:v>11.318-11.324</c:v>
                </c:pt>
                <c:pt idx="1686">
                  <c:v>11.324-11.331</c:v>
                </c:pt>
                <c:pt idx="1687">
                  <c:v>11.331-11.338</c:v>
                </c:pt>
                <c:pt idx="1688">
                  <c:v>11.338-11.345</c:v>
                </c:pt>
                <c:pt idx="1689">
                  <c:v>11.345-11.351</c:v>
                </c:pt>
                <c:pt idx="1690">
                  <c:v>11.351-11.358</c:v>
                </c:pt>
                <c:pt idx="1691">
                  <c:v>11.358-11.365</c:v>
                </c:pt>
                <c:pt idx="1692">
                  <c:v>11.365-11.371</c:v>
                </c:pt>
                <c:pt idx="1693">
                  <c:v>11.371-11.378</c:v>
                </c:pt>
                <c:pt idx="1694">
                  <c:v>11.378-11.385</c:v>
                </c:pt>
                <c:pt idx="1695">
                  <c:v>11.385-11.392</c:v>
                </c:pt>
                <c:pt idx="1696">
                  <c:v>11.392-11.398</c:v>
                </c:pt>
                <c:pt idx="1697">
                  <c:v>11.398-11.405</c:v>
                </c:pt>
                <c:pt idx="1698">
                  <c:v>11.405-11.412</c:v>
                </c:pt>
                <c:pt idx="1699">
                  <c:v>11.412-11.418</c:v>
                </c:pt>
                <c:pt idx="1700">
                  <c:v>11.418-11.425</c:v>
                </c:pt>
                <c:pt idx="1701">
                  <c:v>11.425-11.432</c:v>
                </c:pt>
                <c:pt idx="1702">
                  <c:v>11.432-11.438</c:v>
                </c:pt>
                <c:pt idx="1703">
                  <c:v>11.438-11.445</c:v>
                </c:pt>
                <c:pt idx="1704">
                  <c:v>11.445-11.452</c:v>
                </c:pt>
                <c:pt idx="1705">
                  <c:v>11.452-11.459</c:v>
                </c:pt>
                <c:pt idx="1706">
                  <c:v>11.459-11.465</c:v>
                </c:pt>
                <c:pt idx="1707">
                  <c:v>11.465-11.472</c:v>
                </c:pt>
                <c:pt idx="1708">
                  <c:v>11.472-11.479</c:v>
                </c:pt>
                <c:pt idx="1709">
                  <c:v>11.479-11.485</c:v>
                </c:pt>
                <c:pt idx="1710">
                  <c:v>11.485-11.492</c:v>
                </c:pt>
                <c:pt idx="1711">
                  <c:v>11.492-11.499</c:v>
                </c:pt>
                <c:pt idx="1712">
                  <c:v>11.499-11.506</c:v>
                </c:pt>
                <c:pt idx="1713">
                  <c:v>11.506-11.512</c:v>
                </c:pt>
                <c:pt idx="1714">
                  <c:v>11.512-11.519</c:v>
                </c:pt>
                <c:pt idx="1715">
                  <c:v>11.519-11.526</c:v>
                </c:pt>
                <c:pt idx="1716">
                  <c:v>11.526-11.532</c:v>
                </c:pt>
                <c:pt idx="1717">
                  <c:v>11.532-11.539</c:v>
                </c:pt>
                <c:pt idx="1718">
                  <c:v>11.539-11.546</c:v>
                </c:pt>
                <c:pt idx="1719">
                  <c:v>11.546-11.553</c:v>
                </c:pt>
                <c:pt idx="1720">
                  <c:v>11.553-11.559</c:v>
                </c:pt>
                <c:pt idx="1721">
                  <c:v>11.559-11.566</c:v>
                </c:pt>
                <c:pt idx="1722">
                  <c:v>11.566-11.573</c:v>
                </c:pt>
                <c:pt idx="1723">
                  <c:v>11.573-11.579</c:v>
                </c:pt>
                <c:pt idx="1724">
                  <c:v>11.579-11.586</c:v>
                </c:pt>
                <c:pt idx="1725">
                  <c:v>11.586-11.593</c:v>
                </c:pt>
                <c:pt idx="1726">
                  <c:v>11.593-11.600</c:v>
                </c:pt>
                <c:pt idx="1727">
                  <c:v>11.600-11.606</c:v>
                </c:pt>
                <c:pt idx="1728">
                  <c:v>11.606-11.613</c:v>
                </c:pt>
                <c:pt idx="1729">
                  <c:v>11.613-11.620</c:v>
                </c:pt>
                <c:pt idx="1730">
                  <c:v>11.620-11.626</c:v>
                </c:pt>
                <c:pt idx="1731">
                  <c:v>11.626-11.633</c:v>
                </c:pt>
                <c:pt idx="1732">
                  <c:v>11.633-11.640</c:v>
                </c:pt>
                <c:pt idx="1733">
                  <c:v>11.640-11.647</c:v>
                </c:pt>
                <c:pt idx="1734">
                  <c:v>11.647-11.653</c:v>
                </c:pt>
                <c:pt idx="1735">
                  <c:v>11.653-11.660</c:v>
                </c:pt>
                <c:pt idx="1736">
                  <c:v>11.660-11.667</c:v>
                </c:pt>
                <c:pt idx="1737">
                  <c:v>11.667-11.673</c:v>
                </c:pt>
                <c:pt idx="1738">
                  <c:v>11.673-11.680</c:v>
                </c:pt>
                <c:pt idx="1739">
                  <c:v>11.680-11.687</c:v>
                </c:pt>
                <c:pt idx="1740">
                  <c:v>11.687-11.694</c:v>
                </c:pt>
                <c:pt idx="1741">
                  <c:v>11.694-11.700</c:v>
                </c:pt>
                <c:pt idx="1742">
                  <c:v>11.700-11.707</c:v>
                </c:pt>
                <c:pt idx="1743">
                  <c:v>11.707-11.714</c:v>
                </c:pt>
                <c:pt idx="1744">
                  <c:v>11.714-11.720</c:v>
                </c:pt>
                <c:pt idx="1745">
                  <c:v>11.720-11.727</c:v>
                </c:pt>
                <c:pt idx="1746">
                  <c:v>11.727-11.734</c:v>
                </c:pt>
                <c:pt idx="1747">
                  <c:v>11.734-11.740</c:v>
                </c:pt>
                <c:pt idx="1748">
                  <c:v>11.740-11.747</c:v>
                </c:pt>
                <c:pt idx="1749">
                  <c:v>11.747-11.754</c:v>
                </c:pt>
                <c:pt idx="1750">
                  <c:v>11.754-11.761</c:v>
                </c:pt>
                <c:pt idx="1751">
                  <c:v>11.761-11.767</c:v>
                </c:pt>
                <c:pt idx="1752">
                  <c:v>11.767-11.774</c:v>
                </c:pt>
                <c:pt idx="1753">
                  <c:v>11.774-11.781</c:v>
                </c:pt>
                <c:pt idx="1754">
                  <c:v>11.781-11.787</c:v>
                </c:pt>
                <c:pt idx="1755">
                  <c:v>11.787-11.794</c:v>
                </c:pt>
                <c:pt idx="1756">
                  <c:v>11.794-11.801</c:v>
                </c:pt>
                <c:pt idx="1757">
                  <c:v>11.801-11.808</c:v>
                </c:pt>
                <c:pt idx="1758">
                  <c:v>11.808-11.814</c:v>
                </c:pt>
                <c:pt idx="1759">
                  <c:v>11.814-11.821</c:v>
                </c:pt>
                <c:pt idx="1760">
                  <c:v>11.821-11.828</c:v>
                </c:pt>
                <c:pt idx="1761">
                  <c:v>11.828-11.834</c:v>
                </c:pt>
                <c:pt idx="1762">
                  <c:v>11.834-11.841</c:v>
                </c:pt>
                <c:pt idx="1763">
                  <c:v>11.841-11.848</c:v>
                </c:pt>
                <c:pt idx="1764">
                  <c:v>11.848-11.855</c:v>
                </c:pt>
                <c:pt idx="1765">
                  <c:v>11.855-11.861</c:v>
                </c:pt>
                <c:pt idx="1766">
                  <c:v>11.861-11.868</c:v>
                </c:pt>
                <c:pt idx="1767">
                  <c:v>11.868-11.875</c:v>
                </c:pt>
                <c:pt idx="1768">
                  <c:v>11.875-11.881</c:v>
                </c:pt>
                <c:pt idx="1769">
                  <c:v>11.881-11.888</c:v>
                </c:pt>
                <c:pt idx="1770">
                  <c:v>11.888-11.895</c:v>
                </c:pt>
                <c:pt idx="1771">
                  <c:v>11.895-11.902</c:v>
                </c:pt>
                <c:pt idx="1772">
                  <c:v>11.902-11.908</c:v>
                </c:pt>
                <c:pt idx="1773">
                  <c:v>11.908-11.915</c:v>
                </c:pt>
                <c:pt idx="1774">
                  <c:v>11.915-11.922</c:v>
                </c:pt>
                <c:pt idx="1775">
                  <c:v>11.922-11.928</c:v>
                </c:pt>
                <c:pt idx="1776">
                  <c:v>11.928-11.935</c:v>
                </c:pt>
                <c:pt idx="1777">
                  <c:v>11.935-11.942</c:v>
                </c:pt>
                <c:pt idx="1778">
                  <c:v>11.942-11.949</c:v>
                </c:pt>
                <c:pt idx="1779">
                  <c:v>11.949-11.955</c:v>
                </c:pt>
                <c:pt idx="1780">
                  <c:v>11.955-11.962</c:v>
                </c:pt>
                <c:pt idx="1781">
                  <c:v>11.962-11.969</c:v>
                </c:pt>
                <c:pt idx="1782">
                  <c:v>11.969-11.975</c:v>
                </c:pt>
                <c:pt idx="1783">
                  <c:v>11.975-11.982</c:v>
                </c:pt>
                <c:pt idx="1784">
                  <c:v>11.982-11.989</c:v>
                </c:pt>
                <c:pt idx="1785">
                  <c:v>11.989-11.995</c:v>
                </c:pt>
                <c:pt idx="1786">
                  <c:v>11.995-12.002</c:v>
                </c:pt>
                <c:pt idx="1787">
                  <c:v>12.002-12.009</c:v>
                </c:pt>
                <c:pt idx="1788">
                  <c:v>12.009-12.016</c:v>
                </c:pt>
                <c:pt idx="1789">
                  <c:v>12.016-12.022</c:v>
                </c:pt>
                <c:pt idx="1790">
                  <c:v>12.022-12.029</c:v>
                </c:pt>
                <c:pt idx="1791">
                  <c:v>12.029-12.036</c:v>
                </c:pt>
                <c:pt idx="1792">
                  <c:v>12.036-12.042</c:v>
                </c:pt>
                <c:pt idx="1793">
                  <c:v>12.042-12.049</c:v>
                </c:pt>
                <c:pt idx="1794">
                  <c:v>12.049-12.056</c:v>
                </c:pt>
                <c:pt idx="1795">
                  <c:v>12.056-12.063</c:v>
                </c:pt>
                <c:pt idx="1796">
                  <c:v>12.063-12.069</c:v>
                </c:pt>
                <c:pt idx="1797">
                  <c:v>12.069-12.076</c:v>
                </c:pt>
                <c:pt idx="1798">
                  <c:v>12.076-12.083</c:v>
                </c:pt>
                <c:pt idx="1799">
                  <c:v>12.083-12.089</c:v>
                </c:pt>
                <c:pt idx="1800">
                  <c:v>12.089-12.096</c:v>
                </c:pt>
                <c:pt idx="1801">
                  <c:v>12.096-12.103</c:v>
                </c:pt>
                <c:pt idx="1802">
                  <c:v>12.103-12.110</c:v>
                </c:pt>
                <c:pt idx="1803">
                  <c:v>12.110-12.116</c:v>
                </c:pt>
                <c:pt idx="1804">
                  <c:v>12.116-12.123</c:v>
                </c:pt>
                <c:pt idx="1805">
                  <c:v>12.123-12.130</c:v>
                </c:pt>
                <c:pt idx="1806">
                  <c:v>12.130-12.136</c:v>
                </c:pt>
                <c:pt idx="1807">
                  <c:v>12.136-12.143</c:v>
                </c:pt>
                <c:pt idx="1808">
                  <c:v>12.143-12.150</c:v>
                </c:pt>
                <c:pt idx="1809">
                  <c:v>12.150-12.157</c:v>
                </c:pt>
                <c:pt idx="1810">
                  <c:v>12.157-12.163</c:v>
                </c:pt>
                <c:pt idx="1811">
                  <c:v>12.163-12.170</c:v>
                </c:pt>
                <c:pt idx="1812">
                  <c:v>12.170-12.177</c:v>
                </c:pt>
                <c:pt idx="1813">
                  <c:v>12.177-12.183</c:v>
                </c:pt>
                <c:pt idx="1814">
                  <c:v>12.183-12.190</c:v>
                </c:pt>
                <c:pt idx="1815">
                  <c:v>12.190-12.197</c:v>
                </c:pt>
                <c:pt idx="1816">
                  <c:v>12.197-12.204</c:v>
                </c:pt>
                <c:pt idx="1817">
                  <c:v>12.204-12.210</c:v>
                </c:pt>
                <c:pt idx="1818">
                  <c:v>12.210-12.217</c:v>
                </c:pt>
                <c:pt idx="1819">
                  <c:v>12.217-12.224</c:v>
                </c:pt>
                <c:pt idx="1820">
                  <c:v>12.224-12.230</c:v>
                </c:pt>
                <c:pt idx="1821">
                  <c:v>12.230-12.237</c:v>
                </c:pt>
                <c:pt idx="1822">
                  <c:v>12.237-12.244</c:v>
                </c:pt>
                <c:pt idx="1823">
                  <c:v>12.244-12.250</c:v>
                </c:pt>
                <c:pt idx="1824">
                  <c:v>12.250-12.257</c:v>
                </c:pt>
                <c:pt idx="1825">
                  <c:v>12.257-12.264</c:v>
                </c:pt>
                <c:pt idx="1826">
                  <c:v>12.264-12.271</c:v>
                </c:pt>
                <c:pt idx="1827">
                  <c:v>12.271-12.277</c:v>
                </c:pt>
                <c:pt idx="1828">
                  <c:v>12.277-12.284</c:v>
                </c:pt>
                <c:pt idx="1829">
                  <c:v>12.284-12.291</c:v>
                </c:pt>
                <c:pt idx="1830">
                  <c:v>12.291-12.297</c:v>
                </c:pt>
                <c:pt idx="1831">
                  <c:v>12.297-12.304</c:v>
                </c:pt>
                <c:pt idx="1832">
                  <c:v>12.304-12.311</c:v>
                </c:pt>
                <c:pt idx="1833">
                  <c:v>12.311-12.318</c:v>
                </c:pt>
                <c:pt idx="1834">
                  <c:v>12.318-12.324</c:v>
                </c:pt>
                <c:pt idx="1835">
                  <c:v>12.324-12.331</c:v>
                </c:pt>
                <c:pt idx="1836">
                  <c:v>12.331-12.338</c:v>
                </c:pt>
                <c:pt idx="1837">
                  <c:v>12.338-12.344</c:v>
                </c:pt>
                <c:pt idx="1838">
                  <c:v>12.344-12.351</c:v>
                </c:pt>
                <c:pt idx="1839">
                  <c:v>12.351-12.358</c:v>
                </c:pt>
                <c:pt idx="1840">
                  <c:v>12.358-12.365</c:v>
                </c:pt>
                <c:pt idx="1841">
                  <c:v>12.365-12.371</c:v>
                </c:pt>
                <c:pt idx="1842">
                  <c:v>12.371-12.378</c:v>
                </c:pt>
                <c:pt idx="1843">
                  <c:v>12.378-12.385</c:v>
                </c:pt>
                <c:pt idx="1844">
                  <c:v>12.385-12.391</c:v>
                </c:pt>
                <c:pt idx="1845">
                  <c:v>12.391-12.398</c:v>
                </c:pt>
                <c:pt idx="1846">
                  <c:v>12.398-12.405</c:v>
                </c:pt>
                <c:pt idx="1847">
                  <c:v>12.405-12.412</c:v>
                </c:pt>
                <c:pt idx="1848">
                  <c:v>12.412-12.418</c:v>
                </c:pt>
                <c:pt idx="1849">
                  <c:v>12.418-12.425</c:v>
                </c:pt>
                <c:pt idx="1850">
                  <c:v>12.425-12.432</c:v>
                </c:pt>
                <c:pt idx="1851">
                  <c:v>12.432-12.438</c:v>
                </c:pt>
                <c:pt idx="1852">
                  <c:v>12.438-12.445</c:v>
                </c:pt>
                <c:pt idx="1853">
                  <c:v>12.445-12.452</c:v>
                </c:pt>
                <c:pt idx="1854">
                  <c:v>12.452-12.459</c:v>
                </c:pt>
                <c:pt idx="1855">
                  <c:v>12.459-12.465</c:v>
                </c:pt>
                <c:pt idx="1856">
                  <c:v>12.465-12.472</c:v>
                </c:pt>
                <c:pt idx="1857">
                  <c:v>12.472-12.479</c:v>
                </c:pt>
                <c:pt idx="1858">
                  <c:v>12.479-12.485</c:v>
                </c:pt>
                <c:pt idx="1859">
                  <c:v>12.485-12.492</c:v>
                </c:pt>
                <c:pt idx="1860">
                  <c:v>12.492-12.499</c:v>
                </c:pt>
                <c:pt idx="1861">
                  <c:v>12.499-12.506</c:v>
                </c:pt>
                <c:pt idx="1862">
                  <c:v>12.506-12.512</c:v>
                </c:pt>
                <c:pt idx="1863">
                  <c:v>12.512-12.519</c:v>
                </c:pt>
                <c:pt idx="1864">
                  <c:v>12.519-12.526</c:v>
                </c:pt>
                <c:pt idx="1865">
                  <c:v>12.526-12.532</c:v>
                </c:pt>
                <c:pt idx="1866">
                  <c:v>12.532-12.539</c:v>
                </c:pt>
                <c:pt idx="1867">
                  <c:v>12.539-12.546</c:v>
                </c:pt>
                <c:pt idx="1868">
                  <c:v>12.546-12.552</c:v>
                </c:pt>
                <c:pt idx="1869">
                  <c:v>12.552-12.559</c:v>
                </c:pt>
                <c:pt idx="1870">
                  <c:v>12.559-12.566</c:v>
                </c:pt>
                <c:pt idx="1871">
                  <c:v>12.566-12.573</c:v>
                </c:pt>
                <c:pt idx="1872">
                  <c:v>12.573-12.579</c:v>
                </c:pt>
                <c:pt idx="1873">
                  <c:v>12.579-12.586</c:v>
                </c:pt>
                <c:pt idx="1874">
                  <c:v>12.586-12.593</c:v>
                </c:pt>
                <c:pt idx="1875">
                  <c:v>12.593-12.599</c:v>
                </c:pt>
                <c:pt idx="1876">
                  <c:v>12.599-12.606</c:v>
                </c:pt>
                <c:pt idx="1877">
                  <c:v>12.606-12.613</c:v>
                </c:pt>
                <c:pt idx="1878">
                  <c:v>12.613-12.620</c:v>
                </c:pt>
                <c:pt idx="1879">
                  <c:v>12.620-12.626</c:v>
                </c:pt>
                <c:pt idx="1880">
                  <c:v>12.626-12.633</c:v>
                </c:pt>
                <c:pt idx="1881">
                  <c:v>12.633-12.640</c:v>
                </c:pt>
                <c:pt idx="1882">
                  <c:v>12.640-12.646</c:v>
                </c:pt>
                <c:pt idx="1883">
                  <c:v>12.646-12.653</c:v>
                </c:pt>
                <c:pt idx="1884">
                  <c:v>12.653-12.660</c:v>
                </c:pt>
                <c:pt idx="1885">
                  <c:v>12.660-12.667</c:v>
                </c:pt>
                <c:pt idx="1886">
                  <c:v>12.667-12.673</c:v>
                </c:pt>
                <c:pt idx="1887">
                  <c:v>12.673-12.680</c:v>
                </c:pt>
                <c:pt idx="1888">
                  <c:v>12.680-12.687</c:v>
                </c:pt>
                <c:pt idx="1889">
                  <c:v>12.687-12.693</c:v>
                </c:pt>
                <c:pt idx="1890">
                  <c:v>12.693-12.700</c:v>
                </c:pt>
                <c:pt idx="1891">
                  <c:v>12.700-12.707</c:v>
                </c:pt>
                <c:pt idx="1892">
                  <c:v>12.707-12.714</c:v>
                </c:pt>
                <c:pt idx="1893">
                  <c:v>12.714-12.720</c:v>
                </c:pt>
                <c:pt idx="1894">
                  <c:v>12.720-12.727</c:v>
                </c:pt>
                <c:pt idx="1895">
                  <c:v>12.727-12.734</c:v>
                </c:pt>
                <c:pt idx="1896">
                  <c:v>12.734-12.740</c:v>
                </c:pt>
                <c:pt idx="1897">
                  <c:v>12.740-12.747</c:v>
                </c:pt>
                <c:pt idx="1898">
                  <c:v>12.747-12.754</c:v>
                </c:pt>
                <c:pt idx="1899">
                  <c:v>12.754-12.761</c:v>
                </c:pt>
                <c:pt idx="1900">
                  <c:v>12.761-12.767</c:v>
                </c:pt>
                <c:pt idx="1901">
                  <c:v>12.767-12.774</c:v>
                </c:pt>
                <c:pt idx="1902">
                  <c:v>12.774-12.781</c:v>
                </c:pt>
                <c:pt idx="1903">
                  <c:v>12.781-12.787</c:v>
                </c:pt>
                <c:pt idx="1904">
                  <c:v>12.787-12.794</c:v>
                </c:pt>
                <c:pt idx="1905">
                  <c:v>12.794-12.801</c:v>
                </c:pt>
                <c:pt idx="1906">
                  <c:v>12.801-12.807</c:v>
                </c:pt>
                <c:pt idx="1907">
                  <c:v>12.807-12.814</c:v>
                </c:pt>
                <c:pt idx="1908">
                  <c:v>12.814-12.821</c:v>
                </c:pt>
                <c:pt idx="1909">
                  <c:v>12.821-12.828</c:v>
                </c:pt>
                <c:pt idx="1910">
                  <c:v>12.828-12.834</c:v>
                </c:pt>
                <c:pt idx="1911">
                  <c:v>12.834-12.841</c:v>
                </c:pt>
                <c:pt idx="1912">
                  <c:v>12.841-12.848</c:v>
                </c:pt>
                <c:pt idx="1913">
                  <c:v>12.848-12.854</c:v>
                </c:pt>
                <c:pt idx="1914">
                  <c:v>12.854-12.861</c:v>
                </c:pt>
                <c:pt idx="1915">
                  <c:v>12.861-12.868</c:v>
                </c:pt>
                <c:pt idx="1916">
                  <c:v>12.868-12.875</c:v>
                </c:pt>
                <c:pt idx="1917">
                  <c:v>12.875-12.881</c:v>
                </c:pt>
                <c:pt idx="1918">
                  <c:v>12.881-12.888</c:v>
                </c:pt>
                <c:pt idx="1919">
                  <c:v>12.888-12.895</c:v>
                </c:pt>
                <c:pt idx="1920">
                  <c:v>12.895-12.901</c:v>
                </c:pt>
                <c:pt idx="1921">
                  <c:v>12.901-12.908</c:v>
                </c:pt>
                <c:pt idx="1922">
                  <c:v>12.908-12.915</c:v>
                </c:pt>
                <c:pt idx="1923">
                  <c:v>12.915-12.922</c:v>
                </c:pt>
                <c:pt idx="1924">
                  <c:v>12.922-12.928</c:v>
                </c:pt>
                <c:pt idx="1925">
                  <c:v>12.928-12.935</c:v>
                </c:pt>
                <c:pt idx="1926">
                  <c:v>12.935-12.942</c:v>
                </c:pt>
                <c:pt idx="1927">
                  <c:v>12.942-12.948</c:v>
                </c:pt>
                <c:pt idx="1928">
                  <c:v>12.948-12.955</c:v>
                </c:pt>
                <c:pt idx="1929">
                  <c:v>12.955-12.962</c:v>
                </c:pt>
                <c:pt idx="1930">
                  <c:v>12.962-12.969</c:v>
                </c:pt>
                <c:pt idx="1931">
                  <c:v>12.969-12.975</c:v>
                </c:pt>
                <c:pt idx="1932">
                  <c:v>12.975-12.982</c:v>
                </c:pt>
                <c:pt idx="1933">
                  <c:v>12.982-12.989</c:v>
                </c:pt>
                <c:pt idx="1934">
                  <c:v>12.989-12.995</c:v>
                </c:pt>
                <c:pt idx="1935">
                  <c:v>12.995-13.002</c:v>
                </c:pt>
                <c:pt idx="1936">
                  <c:v>13.002-13.009</c:v>
                </c:pt>
                <c:pt idx="1937">
                  <c:v>13.009-13.016</c:v>
                </c:pt>
                <c:pt idx="1938">
                  <c:v>13.016-13.022</c:v>
                </c:pt>
                <c:pt idx="1939">
                  <c:v>13.022-13.029</c:v>
                </c:pt>
                <c:pt idx="1940">
                  <c:v>13.029-13.036</c:v>
                </c:pt>
                <c:pt idx="1941">
                  <c:v>13.036-13.042</c:v>
                </c:pt>
                <c:pt idx="1942">
                  <c:v>13.042-13.049</c:v>
                </c:pt>
                <c:pt idx="1943">
                  <c:v>13.049-13.056</c:v>
                </c:pt>
                <c:pt idx="1944">
                  <c:v>13.056-13.063</c:v>
                </c:pt>
                <c:pt idx="1945">
                  <c:v>13.063-13.069</c:v>
                </c:pt>
                <c:pt idx="1946">
                  <c:v>13.069-13.076</c:v>
                </c:pt>
                <c:pt idx="1947">
                  <c:v>13.076-13.083</c:v>
                </c:pt>
                <c:pt idx="1948">
                  <c:v>13.083-13.089</c:v>
                </c:pt>
                <c:pt idx="1949">
                  <c:v>13.089-13.096</c:v>
                </c:pt>
                <c:pt idx="1950">
                  <c:v>13.096-13.103</c:v>
                </c:pt>
                <c:pt idx="1951">
                  <c:v>13.103-13.109</c:v>
                </c:pt>
                <c:pt idx="1952">
                  <c:v>13.109-13.116</c:v>
                </c:pt>
                <c:pt idx="1953">
                  <c:v>13.116-13.123</c:v>
                </c:pt>
                <c:pt idx="1954">
                  <c:v>13.123-13.130</c:v>
                </c:pt>
                <c:pt idx="1955">
                  <c:v>13.130-13.136</c:v>
                </c:pt>
                <c:pt idx="1956">
                  <c:v>13.136-13.143</c:v>
                </c:pt>
                <c:pt idx="1957">
                  <c:v>13.143-13.150</c:v>
                </c:pt>
                <c:pt idx="1958">
                  <c:v>13.150-13.156</c:v>
                </c:pt>
                <c:pt idx="1959">
                  <c:v>13.156-13.163</c:v>
                </c:pt>
                <c:pt idx="1960">
                  <c:v>13.163-13.170</c:v>
                </c:pt>
                <c:pt idx="1961">
                  <c:v>13.170-13.177</c:v>
                </c:pt>
                <c:pt idx="1962">
                  <c:v>13.177-13.183</c:v>
                </c:pt>
                <c:pt idx="1963">
                  <c:v>13.183-13.190</c:v>
                </c:pt>
                <c:pt idx="1964">
                  <c:v>13.190-13.197</c:v>
                </c:pt>
                <c:pt idx="1965">
                  <c:v>13.197-13.203</c:v>
                </c:pt>
                <c:pt idx="1966">
                  <c:v>13.203-13.210</c:v>
                </c:pt>
                <c:pt idx="1967">
                  <c:v>13.210-13.217</c:v>
                </c:pt>
                <c:pt idx="1968">
                  <c:v>13.217-13.224</c:v>
                </c:pt>
                <c:pt idx="1969">
                  <c:v>13.224-13.230</c:v>
                </c:pt>
                <c:pt idx="1970">
                  <c:v>13.230-13.237</c:v>
                </c:pt>
                <c:pt idx="1971">
                  <c:v>13.237-13.244</c:v>
                </c:pt>
                <c:pt idx="1972">
                  <c:v>13.244-13.250</c:v>
                </c:pt>
                <c:pt idx="1973">
                  <c:v>13.250-13.257</c:v>
                </c:pt>
                <c:pt idx="1974">
                  <c:v>13.257-13.264</c:v>
                </c:pt>
                <c:pt idx="1975">
                  <c:v>13.264-13.271</c:v>
                </c:pt>
                <c:pt idx="1976">
                  <c:v>13.271-13.277</c:v>
                </c:pt>
                <c:pt idx="1977">
                  <c:v>13.277-13.284</c:v>
                </c:pt>
                <c:pt idx="1978">
                  <c:v>13.284-13.291</c:v>
                </c:pt>
                <c:pt idx="1979">
                  <c:v>13.291-13.297</c:v>
                </c:pt>
                <c:pt idx="1980">
                  <c:v>13.297-13.304</c:v>
                </c:pt>
                <c:pt idx="1981">
                  <c:v>13.304-13.311</c:v>
                </c:pt>
                <c:pt idx="1982">
                  <c:v>13.311-13.318</c:v>
                </c:pt>
                <c:pt idx="1983">
                  <c:v>13.318-13.324</c:v>
                </c:pt>
                <c:pt idx="1984">
                  <c:v>13.324-13.331</c:v>
                </c:pt>
                <c:pt idx="1985">
                  <c:v>13.331-13.338</c:v>
                </c:pt>
                <c:pt idx="1986">
                  <c:v>13.338-13.344</c:v>
                </c:pt>
                <c:pt idx="1987">
                  <c:v>13.344-13.351</c:v>
                </c:pt>
                <c:pt idx="1988">
                  <c:v>13.351-13.358</c:v>
                </c:pt>
                <c:pt idx="1989">
                  <c:v>13.358-13.364</c:v>
                </c:pt>
                <c:pt idx="1990">
                  <c:v>13.364-13.371</c:v>
                </c:pt>
                <c:pt idx="1991">
                  <c:v>13.371-13.378</c:v>
                </c:pt>
                <c:pt idx="1992">
                  <c:v>13.378-13.385</c:v>
                </c:pt>
                <c:pt idx="1993">
                  <c:v>13.385-13.391</c:v>
                </c:pt>
                <c:pt idx="1994">
                  <c:v>13.391-13.398</c:v>
                </c:pt>
                <c:pt idx="1995">
                  <c:v>13.398-13.405</c:v>
                </c:pt>
                <c:pt idx="1996">
                  <c:v>13.405-13.411</c:v>
                </c:pt>
                <c:pt idx="1997">
                  <c:v>13.411-13.418</c:v>
                </c:pt>
                <c:pt idx="1998">
                  <c:v>13.418-13.425</c:v>
                </c:pt>
                <c:pt idx="1999">
                  <c:v>13.425-13.432</c:v>
                </c:pt>
                <c:pt idx="2000">
                  <c:v>13.432-13.438</c:v>
                </c:pt>
                <c:pt idx="2001">
                  <c:v>13.438-13.445</c:v>
                </c:pt>
                <c:pt idx="2002">
                  <c:v>13.445-13.452</c:v>
                </c:pt>
                <c:pt idx="2003">
                  <c:v>13.452-13.458</c:v>
                </c:pt>
                <c:pt idx="2004">
                  <c:v>13.458-13.465</c:v>
                </c:pt>
                <c:pt idx="2005">
                  <c:v>13.465-13.472</c:v>
                </c:pt>
                <c:pt idx="2006">
                  <c:v>13.472-13.479</c:v>
                </c:pt>
                <c:pt idx="2007">
                  <c:v>13.479-13.485</c:v>
                </c:pt>
                <c:pt idx="2008">
                  <c:v>13.485-13.492</c:v>
                </c:pt>
                <c:pt idx="2009">
                  <c:v>13.492-13.499</c:v>
                </c:pt>
                <c:pt idx="2010">
                  <c:v>13.499-13.505</c:v>
                </c:pt>
                <c:pt idx="2011">
                  <c:v>13.505-13.512</c:v>
                </c:pt>
                <c:pt idx="2012">
                  <c:v>13.512-13.519</c:v>
                </c:pt>
                <c:pt idx="2013">
                  <c:v>13.519-13.526</c:v>
                </c:pt>
                <c:pt idx="2014">
                  <c:v>13.526-13.532</c:v>
                </c:pt>
                <c:pt idx="2015">
                  <c:v>13.532-13.539</c:v>
                </c:pt>
                <c:pt idx="2016">
                  <c:v>13.539-13.546</c:v>
                </c:pt>
                <c:pt idx="2017">
                  <c:v>13.546-13.552</c:v>
                </c:pt>
                <c:pt idx="2018">
                  <c:v>13.552-13.559</c:v>
                </c:pt>
                <c:pt idx="2019">
                  <c:v>13.559-13.566</c:v>
                </c:pt>
                <c:pt idx="2020">
                  <c:v>13.566-13.573</c:v>
                </c:pt>
                <c:pt idx="2021">
                  <c:v>13.573-13.579</c:v>
                </c:pt>
                <c:pt idx="2022">
                  <c:v>13.579-13.586</c:v>
                </c:pt>
                <c:pt idx="2023">
                  <c:v>13.586-13.593</c:v>
                </c:pt>
                <c:pt idx="2024">
                  <c:v>13.593-13.599</c:v>
                </c:pt>
                <c:pt idx="2025">
                  <c:v>13.599-13.606</c:v>
                </c:pt>
                <c:pt idx="2026">
                  <c:v>13.606-13.613</c:v>
                </c:pt>
                <c:pt idx="2027">
                  <c:v>13.613-13.620</c:v>
                </c:pt>
                <c:pt idx="2028">
                  <c:v>13.620-13.626</c:v>
                </c:pt>
                <c:pt idx="2029">
                  <c:v>13.626-13.633</c:v>
                </c:pt>
                <c:pt idx="2030">
                  <c:v>13.633-13.640</c:v>
                </c:pt>
                <c:pt idx="2031">
                  <c:v>13.640-13.646</c:v>
                </c:pt>
                <c:pt idx="2032">
                  <c:v>13.646-13.653</c:v>
                </c:pt>
                <c:pt idx="2033">
                  <c:v>13.653-13.660</c:v>
                </c:pt>
                <c:pt idx="2034">
                  <c:v>13.660-13.666</c:v>
                </c:pt>
                <c:pt idx="2035">
                  <c:v>13.666-13.673</c:v>
                </c:pt>
                <c:pt idx="2036">
                  <c:v>13.673-13.680</c:v>
                </c:pt>
                <c:pt idx="2037">
                  <c:v>13.680-13.687</c:v>
                </c:pt>
                <c:pt idx="2038">
                  <c:v>13.687-13.693</c:v>
                </c:pt>
                <c:pt idx="2039">
                  <c:v>13.693-13.700</c:v>
                </c:pt>
                <c:pt idx="2040">
                  <c:v>13.700-13.707</c:v>
                </c:pt>
                <c:pt idx="2041">
                  <c:v>13.707-13.713</c:v>
                </c:pt>
                <c:pt idx="2042">
                  <c:v>13.713-13.720</c:v>
                </c:pt>
                <c:pt idx="2043">
                  <c:v>13.720-13.727</c:v>
                </c:pt>
                <c:pt idx="2044">
                  <c:v>13.727-13.734</c:v>
                </c:pt>
                <c:pt idx="2045">
                  <c:v>13.734-13.740</c:v>
                </c:pt>
                <c:pt idx="2046">
                  <c:v>13.740-13.747</c:v>
                </c:pt>
                <c:pt idx="2047">
                  <c:v>13.747-13.754</c:v>
                </c:pt>
                <c:pt idx="2048">
                  <c:v>13.754-13.760</c:v>
                </c:pt>
                <c:pt idx="2049">
                  <c:v>13.760-13.767</c:v>
                </c:pt>
                <c:pt idx="2050">
                  <c:v>13.767-13.774</c:v>
                </c:pt>
                <c:pt idx="2051">
                  <c:v>13.774-13.781</c:v>
                </c:pt>
                <c:pt idx="2052">
                  <c:v>13.781-13.787</c:v>
                </c:pt>
                <c:pt idx="2053">
                  <c:v>13.787-13.794</c:v>
                </c:pt>
                <c:pt idx="2054">
                  <c:v>13.794-13.801</c:v>
                </c:pt>
                <c:pt idx="2055">
                  <c:v>13.801-13.807</c:v>
                </c:pt>
                <c:pt idx="2056">
                  <c:v>13.807-13.814</c:v>
                </c:pt>
                <c:pt idx="2057">
                  <c:v>13.814-13.821</c:v>
                </c:pt>
                <c:pt idx="2058">
                  <c:v>13.821-13.828</c:v>
                </c:pt>
                <c:pt idx="2059">
                  <c:v>13.828-13.834</c:v>
                </c:pt>
                <c:pt idx="2060">
                  <c:v>13.834-13.841</c:v>
                </c:pt>
                <c:pt idx="2061">
                  <c:v>13.841-13.848</c:v>
                </c:pt>
                <c:pt idx="2062">
                  <c:v>13.848-13.854</c:v>
                </c:pt>
                <c:pt idx="2063">
                  <c:v>13.854-13.861</c:v>
                </c:pt>
                <c:pt idx="2064">
                  <c:v>13.861-13.868</c:v>
                </c:pt>
                <c:pt idx="2065">
                  <c:v>13.868-13.875</c:v>
                </c:pt>
                <c:pt idx="2066">
                  <c:v>13.875-13.881</c:v>
                </c:pt>
                <c:pt idx="2067">
                  <c:v>13.881-13.888</c:v>
                </c:pt>
                <c:pt idx="2068">
                  <c:v>13.888-13.895</c:v>
                </c:pt>
                <c:pt idx="2069">
                  <c:v>13.895-13.901</c:v>
                </c:pt>
                <c:pt idx="2070">
                  <c:v>13.901-13.908</c:v>
                </c:pt>
                <c:pt idx="2071">
                  <c:v>13.908-13.915</c:v>
                </c:pt>
                <c:pt idx="2072">
                  <c:v>13.915-13.921</c:v>
                </c:pt>
                <c:pt idx="2073">
                  <c:v>13.921-13.928</c:v>
                </c:pt>
                <c:pt idx="2074">
                  <c:v>13.928-13.935</c:v>
                </c:pt>
                <c:pt idx="2075">
                  <c:v>13.935-13.942</c:v>
                </c:pt>
                <c:pt idx="2076">
                  <c:v>13.942-13.948</c:v>
                </c:pt>
                <c:pt idx="2077">
                  <c:v>13.948-13.955</c:v>
                </c:pt>
                <c:pt idx="2078">
                  <c:v>13.955-13.962</c:v>
                </c:pt>
                <c:pt idx="2079">
                  <c:v>13.962-13.968</c:v>
                </c:pt>
                <c:pt idx="2080">
                  <c:v>13.968-13.975</c:v>
                </c:pt>
                <c:pt idx="2081">
                  <c:v>13.975-13.982</c:v>
                </c:pt>
                <c:pt idx="2082">
                  <c:v>13.982-13.989</c:v>
                </c:pt>
                <c:pt idx="2083">
                  <c:v>13.989-13.995</c:v>
                </c:pt>
                <c:pt idx="2084">
                  <c:v>13.995-14.002</c:v>
                </c:pt>
                <c:pt idx="2085">
                  <c:v>14.002-14.009</c:v>
                </c:pt>
                <c:pt idx="2086">
                  <c:v>14.009-14.015</c:v>
                </c:pt>
                <c:pt idx="2087">
                  <c:v>14.015-14.022</c:v>
                </c:pt>
                <c:pt idx="2088">
                  <c:v>14.022-14.029</c:v>
                </c:pt>
                <c:pt idx="2089">
                  <c:v>14.029-14.036</c:v>
                </c:pt>
                <c:pt idx="2090">
                  <c:v>14.036-14.042</c:v>
                </c:pt>
                <c:pt idx="2091">
                  <c:v>14.042-14.049</c:v>
                </c:pt>
                <c:pt idx="2092">
                  <c:v>14.049-14.056</c:v>
                </c:pt>
                <c:pt idx="2093">
                  <c:v>14.056-14.062</c:v>
                </c:pt>
                <c:pt idx="2094">
                  <c:v>14.062-14.069</c:v>
                </c:pt>
                <c:pt idx="2095">
                  <c:v>14.069-14.076</c:v>
                </c:pt>
                <c:pt idx="2096">
                  <c:v>14.076-14.083</c:v>
                </c:pt>
                <c:pt idx="2097">
                  <c:v>14.083-14.089</c:v>
                </c:pt>
                <c:pt idx="2098">
                  <c:v>14.089-14.096</c:v>
                </c:pt>
                <c:pt idx="2099">
                  <c:v>14.096-14.103</c:v>
                </c:pt>
                <c:pt idx="2100">
                  <c:v>14.103-14.109</c:v>
                </c:pt>
                <c:pt idx="2101">
                  <c:v>14.109-14.116</c:v>
                </c:pt>
                <c:pt idx="2102">
                  <c:v>14.116-14.123</c:v>
                </c:pt>
                <c:pt idx="2103">
                  <c:v>14.123-14.130</c:v>
                </c:pt>
                <c:pt idx="2104">
                  <c:v>14.130-14.136</c:v>
                </c:pt>
                <c:pt idx="2105">
                  <c:v>14.136-14.143</c:v>
                </c:pt>
                <c:pt idx="2106">
                  <c:v>14.143-14.150</c:v>
                </c:pt>
                <c:pt idx="2107">
                  <c:v>14.150-14.156</c:v>
                </c:pt>
                <c:pt idx="2108">
                  <c:v>14.156-14.163</c:v>
                </c:pt>
                <c:pt idx="2109">
                  <c:v>14.163-14.170</c:v>
                </c:pt>
                <c:pt idx="2110">
                  <c:v>14.170-14.176</c:v>
                </c:pt>
                <c:pt idx="2111">
                  <c:v>14.176-14.183</c:v>
                </c:pt>
                <c:pt idx="2112">
                  <c:v>14.183-14.190</c:v>
                </c:pt>
                <c:pt idx="2113">
                  <c:v>14.190-14.197</c:v>
                </c:pt>
                <c:pt idx="2114">
                  <c:v>14.197-14.203</c:v>
                </c:pt>
                <c:pt idx="2115">
                  <c:v>14.203-14.210</c:v>
                </c:pt>
                <c:pt idx="2116">
                  <c:v>14.210-14.217</c:v>
                </c:pt>
                <c:pt idx="2117">
                  <c:v>14.217-14.223</c:v>
                </c:pt>
                <c:pt idx="2118">
                  <c:v>14.223-14.230</c:v>
                </c:pt>
                <c:pt idx="2119">
                  <c:v>14.230-14.237</c:v>
                </c:pt>
                <c:pt idx="2120">
                  <c:v>14.237-14.244</c:v>
                </c:pt>
                <c:pt idx="2121">
                  <c:v>14.244-14.250</c:v>
                </c:pt>
                <c:pt idx="2122">
                  <c:v>14.250-14.257</c:v>
                </c:pt>
                <c:pt idx="2123">
                  <c:v>14.257-14.264</c:v>
                </c:pt>
                <c:pt idx="2124">
                  <c:v>14.264-14.270</c:v>
                </c:pt>
                <c:pt idx="2125">
                  <c:v>14.270-14.277</c:v>
                </c:pt>
                <c:pt idx="2126">
                  <c:v>14.277-14.284</c:v>
                </c:pt>
                <c:pt idx="2127">
                  <c:v>14.284-14.291</c:v>
                </c:pt>
                <c:pt idx="2128">
                  <c:v>14.291-14.297</c:v>
                </c:pt>
                <c:pt idx="2129">
                  <c:v>14.297-14.304</c:v>
                </c:pt>
                <c:pt idx="2130">
                  <c:v>14.304-14.311</c:v>
                </c:pt>
                <c:pt idx="2131">
                  <c:v>14.311-14.317</c:v>
                </c:pt>
                <c:pt idx="2132">
                  <c:v>14.317-14.324</c:v>
                </c:pt>
                <c:pt idx="2133">
                  <c:v>14.324-14.331</c:v>
                </c:pt>
                <c:pt idx="2134">
                  <c:v>14.331-14.338</c:v>
                </c:pt>
                <c:pt idx="2135">
                  <c:v>14.338-14.344</c:v>
                </c:pt>
                <c:pt idx="2136">
                  <c:v>14.344-14.351</c:v>
                </c:pt>
                <c:pt idx="2137">
                  <c:v>14.351-14.358</c:v>
                </c:pt>
                <c:pt idx="2138">
                  <c:v>14.358-14.364</c:v>
                </c:pt>
                <c:pt idx="2139">
                  <c:v>14.364-14.371</c:v>
                </c:pt>
                <c:pt idx="2140">
                  <c:v>14.371-14.378</c:v>
                </c:pt>
                <c:pt idx="2141">
                  <c:v>14.378-14.385</c:v>
                </c:pt>
                <c:pt idx="2142">
                  <c:v>14.385-14.391</c:v>
                </c:pt>
                <c:pt idx="2143">
                  <c:v>14.391-14.398</c:v>
                </c:pt>
                <c:pt idx="2144">
                  <c:v>14.398-14.405</c:v>
                </c:pt>
                <c:pt idx="2145">
                  <c:v>14.405-14.411</c:v>
                </c:pt>
                <c:pt idx="2146">
                  <c:v>14.411-14.418</c:v>
                </c:pt>
                <c:pt idx="2147">
                  <c:v>14.418-14.425</c:v>
                </c:pt>
                <c:pt idx="2148">
                  <c:v>14.425-14.432</c:v>
                </c:pt>
                <c:pt idx="2149">
                  <c:v>14.432-14.438</c:v>
                </c:pt>
                <c:pt idx="2150">
                  <c:v>14.438-14.445</c:v>
                </c:pt>
                <c:pt idx="2151">
                  <c:v>14.445-14.452</c:v>
                </c:pt>
                <c:pt idx="2152">
                  <c:v>14.452-14.458</c:v>
                </c:pt>
                <c:pt idx="2153">
                  <c:v>14.458-14.465</c:v>
                </c:pt>
                <c:pt idx="2154">
                  <c:v>14.465-14.472</c:v>
                </c:pt>
                <c:pt idx="2155">
                  <c:v>14.472-14.478</c:v>
                </c:pt>
                <c:pt idx="2156">
                  <c:v>14.478-14.485</c:v>
                </c:pt>
                <c:pt idx="2157">
                  <c:v>14.485-14.492</c:v>
                </c:pt>
                <c:pt idx="2158">
                  <c:v>14.492-14.499</c:v>
                </c:pt>
                <c:pt idx="2159">
                  <c:v>14.499-14.505</c:v>
                </c:pt>
                <c:pt idx="2160">
                  <c:v>14.505-14.512</c:v>
                </c:pt>
                <c:pt idx="2161">
                  <c:v>14.512-14.519</c:v>
                </c:pt>
                <c:pt idx="2162">
                  <c:v>14.519-14.525</c:v>
                </c:pt>
                <c:pt idx="2163">
                  <c:v>14.525-14.532</c:v>
                </c:pt>
                <c:pt idx="2164">
                  <c:v>14.532-14.539</c:v>
                </c:pt>
                <c:pt idx="2165">
                  <c:v>14.539-14.546</c:v>
                </c:pt>
                <c:pt idx="2166">
                  <c:v>14.546-14.552</c:v>
                </c:pt>
                <c:pt idx="2167">
                  <c:v>14.552-14.559</c:v>
                </c:pt>
                <c:pt idx="2168">
                  <c:v>14.559-14.566</c:v>
                </c:pt>
                <c:pt idx="2169">
                  <c:v>14.566-14.572</c:v>
                </c:pt>
                <c:pt idx="2170">
                  <c:v>14.572-14.579</c:v>
                </c:pt>
                <c:pt idx="2171">
                  <c:v>14.579-14.586</c:v>
                </c:pt>
                <c:pt idx="2172">
                  <c:v>14.586-14.593</c:v>
                </c:pt>
                <c:pt idx="2173">
                  <c:v>14.593-14.599</c:v>
                </c:pt>
                <c:pt idx="2174">
                  <c:v>14.599-14.606</c:v>
                </c:pt>
                <c:pt idx="2175">
                  <c:v>14.606-14.613</c:v>
                </c:pt>
                <c:pt idx="2176">
                  <c:v>14.613-14.619</c:v>
                </c:pt>
                <c:pt idx="2177">
                  <c:v>14.619-14.626</c:v>
                </c:pt>
                <c:pt idx="2178">
                  <c:v>14.626-14.633</c:v>
                </c:pt>
                <c:pt idx="2179">
                  <c:v>14.633-14.640</c:v>
                </c:pt>
                <c:pt idx="2180">
                  <c:v>14.640-14.646</c:v>
                </c:pt>
                <c:pt idx="2181">
                  <c:v>14.646-14.653</c:v>
                </c:pt>
                <c:pt idx="2182">
                  <c:v>14.653-14.660</c:v>
                </c:pt>
                <c:pt idx="2183">
                  <c:v>14.660-14.666</c:v>
                </c:pt>
                <c:pt idx="2184">
                  <c:v>14.666-14.673</c:v>
                </c:pt>
                <c:pt idx="2185">
                  <c:v>14.673-14.680</c:v>
                </c:pt>
                <c:pt idx="2186">
                  <c:v>14.680-14.687</c:v>
                </c:pt>
                <c:pt idx="2187">
                  <c:v>14.687-14.693</c:v>
                </c:pt>
                <c:pt idx="2188">
                  <c:v>14.693-14.700</c:v>
                </c:pt>
                <c:pt idx="2189">
                  <c:v>14.700-14.707</c:v>
                </c:pt>
                <c:pt idx="2190">
                  <c:v>14.707-14.713</c:v>
                </c:pt>
                <c:pt idx="2191">
                  <c:v>14.713-14.720</c:v>
                </c:pt>
                <c:pt idx="2192">
                  <c:v>14.720-14.727</c:v>
                </c:pt>
                <c:pt idx="2193">
                  <c:v>14.727-14.733</c:v>
                </c:pt>
                <c:pt idx="2194">
                  <c:v>14.733-14.740</c:v>
                </c:pt>
                <c:pt idx="2195">
                  <c:v>14.740-14.747</c:v>
                </c:pt>
                <c:pt idx="2196">
                  <c:v>14.747-14.754</c:v>
                </c:pt>
                <c:pt idx="2197">
                  <c:v>14.754-14.760</c:v>
                </c:pt>
                <c:pt idx="2198">
                  <c:v>14.760-14.767</c:v>
                </c:pt>
                <c:pt idx="2199">
                  <c:v>14.767-14.774</c:v>
                </c:pt>
                <c:pt idx="2200">
                  <c:v>14.774-14.780</c:v>
                </c:pt>
                <c:pt idx="2201">
                  <c:v>14.780-14.787</c:v>
                </c:pt>
                <c:pt idx="2202">
                  <c:v>14.787-14.794</c:v>
                </c:pt>
                <c:pt idx="2203">
                  <c:v>14.794-14.801</c:v>
                </c:pt>
                <c:pt idx="2204">
                  <c:v>14.801-14.807</c:v>
                </c:pt>
                <c:pt idx="2205">
                  <c:v>14.807-14.814</c:v>
                </c:pt>
                <c:pt idx="2206">
                  <c:v>14.814-14.821</c:v>
                </c:pt>
                <c:pt idx="2207">
                  <c:v>14.821-14.827</c:v>
                </c:pt>
                <c:pt idx="2208">
                  <c:v>14.827-14.834</c:v>
                </c:pt>
                <c:pt idx="2209">
                  <c:v>14.834-14.841</c:v>
                </c:pt>
                <c:pt idx="2210">
                  <c:v>14.841-14.848</c:v>
                </c:pt>
                <c:pt idx="2211">
                  <c:v>14.848-14.854</c:v>
                </c:pt>
                <c:pt idx="2212">
                  <c:v>14.854-14.861</c:v>
                </c:pt>
                <c:pt idx="2213">
                  <c:v>14.861-14.868</c:v>
                </c:pt>
                <c:pt idx="2214">
                  <c:v>14.868-14.874</c:v>
                </c:pt>
                <c:pt idx="2215">
                  <c:v>14.874-14.881</c:v>
                </c:pt>
                <c:pt idx="2216">
                  <c:v>14.881-14.888</c:v>
                </c:pt>
                <c:pt idx="2217">
                  <c:v>14.888-14.895</c:v>
                </c:pt>
                <c:pt idx="2218">
                  <c:v>14.895-14.901</c:v>
                </c:pt>
                <c:pt idx="2219">
                  <c:v>14.901-14.908</c:v>
                </c:pt>
                <c:pt idx="2220">
                  <c:v>14.908-14.915</c:v>
                </c:pt>
                <c:pt idx="2221">
                  <c:v>14.915-14.921</c:v>
                </c:pt>
                <c:pt idx="2222">
                  <c:v>14.921-14.928</c:v>
                </c:pt>
                <c:pt idx="2223">
                  <c:v>14.928-14.935</c:v>
                </c:pt>
                <c:pt idx="2224">
                  <c:v>14.935-14.942</c:v>
                </c:pt>
                <c:pt idx="2225">
                  <c:v>14.942-14.948</c:v>
                </c:pt>
                <c:pt idx="2226">
                  <c:v>14.948-14.955</c:v>
                </c:pt>
                <c:pt idx="2227">
                  <c:v>14.955-14.962</c:v>
                </c:pt>
                <c:pt idx="2228">
                  <c:v>14.962-14.968</c:v>
                </c:pt>
                <c:pt idx="2229">
                  <c:v>14.968-14.975</c:v>
                </c:pt>
                <c:pt idx="2230">
                  <c:v>14.975-14.982</c:v>
                </c:pt>
                <c:pt idx="2231">
                  <c:v>14.982-14.989</c:v>
                </c:pt>
                <c:pt idx="2232">
                  <c:v>14.989-14.995</c:v>
                </c:pt>
                <c:pt idx="2233">
                  <c:v>14.995-15.002</c:v>
                </c:pt>
                <c:pt idx="2234">
                  <c:v>15.002-15.009</c:v>
                </c:pt>
                <c:pt idx="2235">
                  <c:v>15.009-15.015</c:v>
                </c:pt>
                <c:pt idx="2236">
                  <c:v>15.015-15.022</c:v>
                </c:pt>
                <c:pt idx="2237">
                  <c:v>15.022-15.029</c:v>
                </c:pt>
                <c:pt idx="2238">
                  <c:v>15.029-15.035</c:v>
                </c:pt>
                <c:pt idx="2239">
                  <c:v>15.035-15.042</c:v>
                </c:pt>
                <c:pt idx="2240">
                  <c:v>15.042-15.049</c:v>
                </c:pt>
                <c:pt idx="2241">
                  <c:v>15.049-15.056</c:v>
                </c:pt>
                <c:pt idx="2242">
                  <c:v>15.056-15.062</c:v>
                </c:pt>
                <c:pt idx="2243">
                  <c:v>15.062-15.069</c:v>
                </c:pt>
                <c:pt idx="2244">
                  <c:v>15.069-15.076</c:v>
                </c:pt>
                <c:pt idx="2245">
                  <c:v>15.076-15.082</c:v>
                </c:pt>
                <c:pt idx="2246">
                  <c:v>15.082-15.089</c:v>
                </c:pt>
                <c:pt idx="2247">
                  <c:v>15.089-15.096</c:v>
                </c:pt>
                <c:pt idx="2248">
                  <c:v>15.096-15.103</c:v>
                </c:pt>
                <c:pt idx="2249">
                  <c:v>15.103-15.109</c:v>
                </c:pt>
                <c:pt idx="2250">
                  <c:v>15.109-15.116</c:v>
                </c:pt>
                <c:pt idx="2251">
                  <c:v>15.116-15.123</c:v>
                </c:pt>
                <c:pt idx="2252">
                  <c:v>15.123-15.129</c:v>
                </c:pt>
                <c:pt idx="2253">
                  <c:v>15.129-15.136</c:v>
                </c:pt>
                <c:pt idx="2254">
                  <c:v>15.136-15.143</c:v>
                </c:pt>
                <c:pt idx="2255">
                  <c:v>15.143-15.150</c:v>
                </c:pt>
                <c:pt idx="2256">
                  <c:v>15.150-15.156</c:v>
                </c:pt>
                <c:pt idx="2257">
                  <c:v>15.156-15.163</c:v>
                </c:pt>
                <c:pt idx="2258">
                  <c:v>15.163-15.170</c:v>
                </c:pt>
                <c:pt idx="2259">
                  <c:v>15.170-15.176</c:v>
                </c:pt>
                <c:pt idx="2260">
                  <c:v>15.176-15.183</c:v>
                </c:pt>
                <c:pt idx="2261">
                  <c:v>15.183-15.190</c:v>
                </c:pt>
                <c:pt idx="2262">
                  <c:v>15.190-15.197</c:v>
                </c:pt>
                <c:pt idx="2263">
                  <c:v>15.197-15.203</c:v>
                </c:pt>
                <c:pt idx="2264">
                  <c:v>15.203-15.210</c:v>
                </c:pt>
                <c:pt idx="2265">
                  <c:v>15.210-15.217</c:v>
                </c:pt>
                <c:pt idx="2266">
                  <c:v>15.217-15.223</c:v>
                </c:pt>
                <c:pt idx="2267">
                  <c:v>15.223-15.230</c:v>
                </c:pt>
                <c:pt idx="2268">
                  <c:v>15.230-15.237</c:v>
                </c:pt>
                <c:pt idx="2269">
                  <c:v>15.237-15.244</c:v>
                </c:pt>
                <c:pt idx="2270">
                  <c:v>15.244-15.250</c:v>
                </c:pt>
                <c:pt idx="2271">
                  <c:v>15.250-15.257</c:v>
                </c:pt>
                <c:pt idx="2272">
                  <c:v>15.257-15.264</c:v>
                </c:pt>
                <c:pt idx="2273">
                  <c:v>15.264-15.270</c:v>
                </c:pt>
                <c:pt idx="2274">
                  <c:v>15.270-15.277</c:v>
                </c:pt>
                <c:pt idx="2275">
                  <c:v>15.277-15.284</c:v>
                </c:pt>
                <c:pt idx="2276">
                  <c:v>15.284-15.290</c:v>
                </c:pt>
                <c:pt idx="2277">
                  <c:v>15.290-15.297</c:v>
                </c:pt>
                <c:pt idx="2278">
                  <c:v>15.297-15.304</c:v>
                </c:pt>
                <c:pt idx="2279">
                  <c:v>15.304-15.311</c:v>
                </c:pt>
                <c:pt idx="2280">
                  <c:v>15.311-15.317</c:v>
                </c:pt>
                <c:pt idx="2281">
                  <c:v>15.317-15.324</c:v>
                </c:pt>
                <c:pt idx="2282">
                  <c:v>15.324-15.331</c:v>
                </c:pt>
                <c:pt idx="2283">
                  <c:v>15.331-15.337</c:v>
                </c:pt>
                <c:pt idx="2284">
                  <c:v>15.337-15.344</c:v>
                </c:pt>
                <c:pt idx="2285">
                  <c:v>15.344-15.351</c:v>
                </c:pt>
                <c:pt idx="2286">
                  <c:v>15.351-15.358</c:v>
                </c:pt>
                <c:pt idx="2287">
                  <c:v>15.358-15.364</c:v>
                </c:pt>
                <c:pt idx="2288">
                  <c:v>15.364-15.371</c:v>
                </c:pt>
                <c:pt idx="2289">
                  <c:v>15.371-15.378</c:v>
                </c:pt>
                <c:pt idx="2290">
                  <c:v>15.378-15.384</c:v>
                </c:pt>
                <c:pt idx="2291">
                  <c:v>15.384-15.391</c:v>
                </c:pt>
                <c:pt idx="2292">
                  <c:v>15.391-15.398</c:v>
                </c:pt>
                <c:pt idx="2293">
                  <c:v>15.398-15.405</c:v>
                </c:pt>
                <c:pt idx="2294">
                  <c:v>15.405-15.411</c:v>
                </c:pt>
                <c:pt idx="2295">
                  <c:v>15.411-15.418</c:v>
                </c:pt>
                <c:pt idx="2296">
                  <c:v>15.418-15.425</c:v>
                </c:pt>
                <c:pt idx="2297">
                  <c:v>15.425-15.431</c:v>
                </c:pt>
                <c:pt idx="2298">
                  <c:v>15.431-15.438</c:v>
                </c:pt>
                <c:pt idx="2299">
                  <c:v>15.438-15.445</c:v>
                </c:pt>
                <c:pt idx="2300">
                  <c:v>15.445-15.452</c:v>
                </c:pt>
                <c:pt idx="2301">
                  <c:v>15.452-15.458</c:v>
                </c:pt>
                <c:pt idx="2302">
                  <c:v>15.458-15.465</c:v>
                </c:pt>
                <c:pt idx="2303">
                  <c:v>15.465-15.472</c:v>
                </c:pt>
                <c:pt idx="2304">
                  <c:v>15.472-15.478</c:v>
                </c:pt>
                <c:pt idx="2305">
                  <c:v>15.478-15.485</c:v>
                </c:pt>
                <c:pt idx="2306">
                  <c:v>15.485-15.492</c:v>
                </c:pt>
                <c:pt idx="2307">
                  <c:v>15.492-15.499</c:v>
                </c:pt>
                <c:pt idx="2308">
                  <c:v>15.499-15.505</c:v>
                </c:pt>
                <c:pt idx="2309">
                  <c:v>15.505-15.512</c:v>
                </c:pt>
                <c:pt idx="2310">
                  <c:v>15.512-15.519</c:v>
                </c:pt>
                <c:pt idx="2311">
                  <c:v>15.519-15.525</c:v>
                </c:pt>
                <c:pt idx="2312">
                  <c:v>15.525-15.532</c:v>
                </c:pt>
                <c:pt idx="2313">
                  <c:v>15.532-15.539</c:v>
                </c:pt>
                <c:pt idx="2314">
                  <c:v>15.539-15.546</c:v>
                </c:pt>
                <c:pt idx="2315">
                  <c:v>15.546-15.552</c:v>
                </c:pt>
                <c:pt idx="2316">
                  <c:v>15.552-15.559</c:v>
                </c:pt>
                <c:pt idx="2317">
                  <c:v>15.559-15.566</c:v>
                </c:pt>
                <c:pt idx="2318">
                  <c:v>15.566-15.572</c:v>
                </c:pt>
                <c:pt idx="2319">
                  <c:v>15.572-15.579</c:v>
                </c:pt>
                <c:pt idx="2320">
                  <c:v>15.579-15.586</c:v>
                </c:pt>
                <c:pt idx="2321">
                  <c:v>15.586-15.592</c:v>
                </c:pt>
                <c:pt idx="2322">
                  <c:v>15.592-15.599</c:v>
                </c:pt>
                <c:pt idx="2323">
                  <c:v>15.599-15.606</c:v>
                </c:pt>
                <c:pt idx="2324">
                  <c:v>15.606-15.613</c:v>
                </c:pt>
                <c:pt idx="2325">
                  <c:v>15.613-15.619</c:v>
                </c:pt>
                <c:pt idx="2326">
                  <c:v>15.619-15.626</c:v>
                </c:pt>
                <c:pt idx="2327">
                  <c:v>15.626-15.633</c:v>
                </c:pt>
                <c:pt idx="2328">
                  <c:v>15.633-15.639</c:v>
                </c:pt>
                <c:pt idx="2329">
                  <c:v>15.639-15.646</c:v>
                </c:pt>
                <c:pt idx="2330">
                  <c:v>15.646-15.653</c:v>
                </c:pt>
                <c:pt idx="2331">
                  <c:v>15.653-15.660</c:v>
                </c:pt>
                <c:pt idx="2332">
                  <c:v>15.660-15.666</c:v>
                </c:pt>
                <c:pt idx="2333">
                  <c:v>15.666-15.673</c:v>
                </c:pt>
                <c:pt idx="2334">
                  <c:v>15.673-15.680</c:v>
                </c:pt>
                <c:pt idx="2335">
                  <c:v>15.680-15.686</c:v>
                </c:pt>
                <c:pt idx="2336">
                  <c:v>15.686-15.693</c:v>
                </c:pt>
                <c:pt idx="2337">
                  <c:v>15.693-15.700</c:v>
                </c:pt>
                <c:pt idx="2338">
                  <c:v>15.700-15.707</c:v>
                </c:pt>
                <c:pt idx="2339">
                  <c:v>15.707-15.713</c:v>
                </c:pt>
                <c:pt idx="2340">
                  <c:v>15.713-15.720</c:v>
                </c:pt>
                <c:pt idx="2341">
                  <c:v>15.720-15.727</c:v>
                </c:pt>
                <c:pt idx="2342">
                  <c:v>15.727-15.733</c:v>
                </c:pt>
                <c:pt idx="2343">
                  <c:v>15.733-15.740</c:v>
                </c:pt>
                <c:pt idx="2344">
                  <c:v>15.740-15.747</c:v>
                </c:pt>
                <c:pt idx="2345">
                  <c:v>15.747-15.754</c:v>
                </c:pt>
                <c:pt idx="2346">
                  <c:v>15.754-15.760</c:v>
                </c:pt>
                <c:pt idx="2347">
                  <c:v>15.760-15.767</c:v>
                </c:pt>
                <c:pt idx="2348">
                  <c:v>15.767-15.774</c:v>
                </c:pt>
                <c:pt idx="2349">
                  <c:v>15.774-15.780</c:v>
                </c:pt>
                <c:pt idx="2350">
                  <c:v>15.780-15.787</c:v>
                </c:pt>
                <c:pt idx="2351">
                  <c:v>15.787-15.794</c:v>
                </c:pt>
                <c:pt idx="2352">
                  <c:v>15.794-15.801</c:v>
                </c:pt>
                <c:pt idx="2353">
                  <c:v>15.801-15.807</c:v>
                </c:pt>
                <c:pt idx="2354">
                  <c:v>15.807-15.814</c:v>
                </c:pt>
                <c:pt idx="2355">
                  <c:v>15.814-15.821</c:v>
                </c:pt>
                <c:pt idx="2356">
                  <c:v>15.821-15.827</c:v>
                </c:pt>
                <c:pt idx="2357">
                  <c:v>15.827-15.834</c:v>
                </c:pt>
                <c:pt idx="2358">
                  <c:v>15.834-15.841</c:v>
                </c:pt>
                <c:pt idx="2359">
                  <c:v>15.841-15.847</c:v>
                </c:pt>
                <c:pt idx="2360">
                  <c:v>15.847-15.854</c:v>
                </c:pt>
                <c:pt idx="2361">
                  <c:v>15.854-15.861</c:v>
                </c:pt>
                <c:pt idx="2362">
                  <c:v>15.861-15.868</c:v>
                </c:pt>
                <c:pt idx="2363">
                  <c:v>15.868-15.874</c:v>
                </c:pt>
                <c:pt idx="2364">
                  <c:v>15.874-15.881</c:v>
                </c:pt>
                <c:pt idx="2365">
                  <c:v>15.881-15.888</c:v>
                </c:pt>
                <c:pt idx="2366">
                  <c:v>15.888-15.894</c:v>
                </c:pt>
                <c:pt idx="2367">
                  <c:v>15.894-15.901</c:v>
                </c:pt>
                <c:pt idx="2368">
                  <c:v>15.901-15.908</c:v>
                </c:pt>
                <c:pt idx="2369">
                  <c:v>15.908-15.915</c:v>
                </c:pt>
                <c:pt idx="2370">
                  <c:v>15.915-15.921</c:v>
                </c:pt>
                <c:pt idx="2371">
                  <c:v>15.921-15.928</c:v>
                </c:pt>
                <c:pt idx="2372">
                  <c:v>15.928-15.935</c:v>
                </c:pt>
                <c:pt idx="2373">
                  <c:v>15.935-15.941</c:v>
                </c:pt>
                <c:pt idx="2374">
                  <c:v>15.941-15.948</c:v>
                </c:pt>
                <c:pt idx="2375">
                  <c:v>15.948-15.955</c:v>
                </c:pt>
                <c:pt idx="2376">
                  <c:v>15.955-15.962</c:v>
                </c:pt>
                <c:pt idx="2377">
                  <c:v>15.962-15.968</c:v>
                </c:pt>
                <c:pt idx="2378">
                  <c:v>15.968-15.975</c:v>
                </c:pt>
                <c:pt idx="2379">
                  <c:v>15.975-15.982</c:v>
                </c:pt>
                <c:pt idx="2380">
                  <c:v>15.982-15.988</c:v>
                </c:pt>
                <c:pt idx="2381">
                  <c:v>15.988-15.995</c:v>
                </c:pt>
                <c:pt idx="2382">
                  <c:v>15.995-16.002</c:v>
                </c:pt>
                <c:pt idx="2383">
                  <c:v>16.002-16.009</c:v>
                </c:pt>
                <c:pt idx="2384">
                  <c:v>16.009-16.015</c:v>
                </c:pt>
                <c:pt idx="2385">
                  <c:v>16.015-16.022</c:v>
                </c:pt>
                <c:pt idx="2386">
                  <c:v>16.022-16.029</c:v>
                </c:pt>
                <c:pt idx="2387">
                  <c:v>16.029-16.035</c:v>
                </c:pt>
                <c:pt idx="2388">
                  <c:v>16.035-16.042</c:v>
                </c:pt>
                <c:pt idx="2389">
                  <c:v>16.042-16.049</c:v>
                </c:pt>
                <c:pt idx="2390">
                  <c:v>16.049-16.056</c:v>
                </c:pt>
                <c:pt idx="2391">
                  <c:v>16.056-16.062</c:v>
                </c:pt>
                <c:pt idx="2392">
                  <c:v>16.062-16.069</c:v>
                </c:pt>
                <c:pt idx="2393">
                  <c:v>16.069-16.076</c:v>
                </c:pt>
                <c:pt idx="2394">
                  <c:v>16.076-16.082</c:v>
                </c:pt>
                <c:pt idx="2395">
                  <c:v>16.082-16.089</c:v>
                </c:pt>
                <c:pt idx="2396">
                  <c:v>16.089-16.096</c:v>
                </c:pt>
                <c:pt idx="2397">
                  <c:v>16.096-16.102</c:v>
                </c:pt>
                <c:pt idx="2398">
                  <c:v>16.102-16.109</c:v>
                </c:pt>
                <c:pt idx="2399">
                  <c:v>16.109-16.116</c:v>
                </c:pt>
                <c:pt idx="2400">
                  <c:v>16.116-16.123</c:v>
                </c:pt>
                <c:pt idx="2401">
                  <c:v>16.123-16.129</c:v>
                </c:pt>
                <c:pt idx="2402">
                  <c:v>16.129-16.136</c:v>
                </c:pt>
                <c:pt idx="2403">
                  <c:v>16.136-16.143</c:v>
                </c:pt>
                <c:pt idx="2404">
                  <c:v>16.143-16.149</c:v>
                </c:pt>
                <c:pt idx="2405">
                  <c:v>16.149-16.156</c:v>
                </c:pt>
                <c:pt idx="2406">
                  <c:v>16.156-16.163</c:v>
                </c:pt>
                <c:pt idx="2407">
                  <c:v>16.163-16.170</c:v>
                </c:pt>
                <c:pt idx="2408">
                  <c:v>16.170-16.176</c:v>
                </c:pt>
                <c:pt idx="2409">
                  <c:v>16.176-16.183</c:v>
                </c:pt>
                <c:pt idx="2410">
                  <c:v>16.183-16.190</c:v>
                </c:pt>
                <c:pt idx="2411">
                  <c:v>16.190-16.196</c:v>
                </c:pt>
                <c:pt idx="2412">
                  <c:v>16.196-16.203</c:v>
                </c:pt>
                <c:pt idx="2413">
                  <c:v>16.203-16.210</c:v>
                </c:pt>
                <c:pt idx="2414">
                  <c:v>16.210-16.217</c:v>
                </c:pt>
                <c:pt idx="2415">
                  <c:v>16.217-16.223</c:v>
                </c:pt>
                <c:pt idx="2416">
                  <c:v>16.223-16.230</c:v>
                </c:pt>
                <c:pt idx="2417">
                  <c:v>16.230-16.237</c:v>
                </c:pt>
                <c:pt idx="2418">
                  <c:v>16.237-16.243</c:v>
                </c:pt>
                <c:pt idx="2419">
                  <c:v>16.243-16.250</c:v>
                </c:pt>
                <c:pt idx="2420">
                  <c:v>16.250-16.257</c:v>
                </c:pt>
                <c:pt idx="2421">
                  <c:v>16.257-16.264</c:v>
                </c:pt>
                <c:pt idx="2422">
                  <c:v>16.264-16.270</c:v>
                </c:pt>
                <c:pt idx="2423">
                  <c:v>16.270-16.277</c:v>
                </c:pt>
                <c:pt idx="2424">
                  <c:v>16.277-16.284</c:v>
                </c:pt>
                <c:pt idx="2425">
                  <c:v>16.284-16.290</c:v>
                </c:pt>
                <c:pt idx="2426">
                  <c:v>16.290-16.297</c:v>
                </c:pt>
                <c:pt idx="2427">
                  <c:v>16.297-16.304</c:v>
                </c:pt>
                <c:pt idx="2428">
                  <c:v>16.304-16.311</c:v>
                </c:pt>
                <c:pt idx="2429">
                  <c:v>16.311-16.317</c:v>
                </c:pt>
                <c:pt idx="2430">
                  <c:v>16.317-16.324</c:v>
                </c:pt>
                <c:pt idx="2431">
                  <c:v>16.324-16.331</c:v>
                </c:pt>
                <c:pt idx="2432">
                  <c:v>16.331-16.337</c:v>
                </c:pt>
                <c:pt idx="2433">
                  <c:v>16.337-16.344</c:v>
                </c:pt>
                <c:pt idx="2434">
                  <c:v>16.344-16.351</c:v>
                </c:pt>
                <c:pt idx="2435">
                  <c:v>16.351-16.358</c:v>
                </c:pt>
                <c:pt idx="2436">
                  <c:v>16.358-16.364</c:v>
                </c:pt>
                <c:pt idx="2437">
                  <c:v>16.364-16.371</c:v>
                </c:pt>
                <c:pt idx="2438">
                  <c:v>16.371-16.378</c:v>
                </c:pt>
                <c:pt idx="2439">
                  <c:v>16.378-16.384</c:v>
                </c:pt>
                <c:pt idx="2440">
                  <c:v>16.384-16.391</c:v>
                </c:pt>
                <c:pt idx="2441">
                  <c:v>16.391-16.398</c:v>
                </c:pt>
                <c:pt idx="2442">
                  <c:v>16.398-16.404</c:v>
                </c:pt>
                <c:pt idx="2443">
                  <c:v>16.404-16.411</c:v>
                </c:pt>
                <c:pt idx="2444">
                  <c:v>16.411-16.418</c:v>
                </c:pt>
                <c:pt idx="2445">
                  <c:v>16.418-16.425</c:v>
                </c:pt>
                <c:pt idx="2446">
                  <c:v>16.425-16.431</c:v>
                </c:pt>
                <c:pt idx="2447">
                  <c:v>16.431-16.438</c:v>
                </c:pt>
                <c:pt idx="2448">
                  <c:v>16.438-16.445</c:v>
                </c:pt>
                <c:pt idx="2449">
                  <c:v>16.445-16.451</c:v>
                </c:pt>
                <c:pt idx="2450">
                  <c:v>16.451-16.458</c:v>
                </c:pt>
                <c:pt idx="2451">
                  <c:v>16.458-16.465</c:v>
                </c:pt>
                <c:pt idx="2452">
                  <c:v>16.465-16.472</c:v>
                </c:pt>
                <c:pt idx="2453">
                  <c:v>16.472-16.478</c:v>
                </c:pt>
                <c:pt idx="2454">
                  <c:v>16.478-16.485</c:v>
                </c:pt>
                <c:pt idx="2455">
                  <c:v>16.485-16.492</c:v>
                </c:pt>
                <c:pt idx="2456">
                  <c:v>16.492-16.498</c:v>
                </c:pt>
                <c:pt idx="2457">
                  <c:v>16.498-16.505</c:v>
                </c:pt>
                <c:pt idx="2458">
                  <c:v>16.505-16.512</c:v>
                </c:pt>
                <c:pt idx="2459">
                  <c:v>16.512-16.519</c:v>
                </c:pt>
                <c:pt idx="2460">
                  <c:v>16.519-16.525</c:v>
                </c:pt>
                <c:pt idx="2461">
                  <c:v>16.525-16.532</c:v>
                </c:pt>
                <c:pt idx="2462">
                  <c:v>16.532-16.539</c:v>
                </c:pt>
                <c:pt idx="2463">
                  <c:v>16.539-16.545</c:v>
                </c:pt>
                <c:pt idx="2464">
                  <c:v>16.545-16.552</c:v>
                </c:pt>
                <c:pt idx="2465">
                  <c:v>16.552-16.559</c:v>
                </c:pt>
                <c:pt idx="2466">
                  <c:v>16.559-16.566</c:v>
                </c:pt>
                <c:pt idx="2467">
                  <c:v>16.566-16.572</c:v>
                </c:pt>
                <c:pt idx="2468">
                  <c:v>16.572-16.579</c:v>
                </c:pt>
                <c:pt idx="2469">
                  <c:v>16.579-16.586</c:v>
                </c:pt>
                <c:pt idx="2470">
                  <c:v>16.586-16.592</c:v>
                </c:pt>
                <c:pt idx="2471">
                  <c:v>16.592-16.599</c:v>
                </c:pt>
                <c:pt idx="2472">
                  <c:v>16.599-16.606</c:v>
                </c:pt>
                <c:pt idx="2473">
                  <c:v>16.606-16.613</c:v>
                </c:pt>
                <c:pt idx="2474">
                  <c:v>16.613-16.619</c:v>
                </c:pt>
                <c:pt idx="2475">
                  <c:v>16.619-16.626</c:v>
                </c:pt>
                <c:pt idx="2476">
                  <c:v>16.626-16.633</c:v>
                </c:pt>
                <c:pt idx="2477">
                  <c:v>16.633-16.639</c:v>
                </c:pt>
                <c:pt idx="2478">
                  <c:v>16.639-16.646</c:v>
                </c:pt>
                <c:pt idx="2479">
                  <c:v>16.646-16.653</c:v>
                </c:pt>
                <c:pt idx="2480">
                  <c:v>16.653-16.659</c:v>
                </c:pt>
                <c:pt idx="2481">
                  <c:v>16.659-16.666</c:v>
                </c:pt>
                <c:pt idx="2482">
                  <c:v>16.666-16.673</c:v>
                </c:pt>
                <c:pt idx="2483">
                  <c:v>16.673-16.680</c:v>
                </c:pt>
                <c:pt idx="2484">
                  <c:v>16.680-16.686</c:v>
                </c:pt>
                <c:pt idx="2485">
                  <c:v>16.686-16.693</c:v>
                </c:pt>
                <c:pt idx="2486">
                  <c:v>16.693-16.700</c:v>
                </c:pt>
                <c:pt idx="2487">
                  <c:v>16.700-16.706</c:v>
                </c:pt>
                <c:pt idx="2488">
                  <c:v>16.706-16.713</c:v>
                </c:pt>
                <c:pt idx="2489">
                  <c:v>16.713-16.720</c:v>
                </c:pt>
                <c:pt idx="2490">
                  <c:v>16.720-16.727</c:v>
                </c:pt>
                <c:pt idx="2491">
                  <c:v>16.727-16.733</c:v>
                </c:pt>
                <c:pt idx="2492">
                  <c:v>16.733-16.740</c:v>
                </c:pt>
                <c:pt idx="2493">
                  <c:v>16.740-16.747</c:v>
                </c:pt>
                <c:pt idx="2494">
                  <c:v>16.747-16.753</c:v>
                </c:pt>
                <c:pt idx="2495">
                  <c:v>16.753-16.760</c:v>
                </c:pt>
                <c:pt idx="2496">
                  <c:v>16.760-16.767</c:v>
                </c:pt>
                <c:pt idx="2497">
                  <c:v>16.767-16.774</c:v>
                </c:pt>
                <c:pt idx="2498">
                  <c:v>16.774-16.780</c:v>
                </c:pt>
                <c:pt idx="2499">
                  <c:v>16.780-16.787</c:v>
                </c:pt>
                <c:pt idx="2500">
                  <c:v>16.787-16.794</c:v>
                </c:pt>
                <c:pt idx="2501">
                  <c:v>16.794-16.800</c:v>
                </c:pt>
                <c:pt idx="2502">
                  <c:v>16.800-16.807</c:v>
                </c:pt>
                <c:pt idx="2503">
                  <c:v>16.807-16.814</c:v>
                </c:pt>
                <c:pt idx="2504">
                  <c:v>16.814-16.821</c:v>
                </c:pt>
                <c:pt idx="2505">
                  <c:v>16.821-16.827</c:v>
                </c:pt>
                <c:pt idx="2506">
                  <c:v>16.827-16.834</c:v>
                </c:pt>
                <c:pt idx="2507">
                  <c:v>16.834-16.841</c:v>
                </c:pt>
                <c:pt idx="2508">
                  <c:v>16.841-16.847</c:v>
                </c:pt>
                <c:pt idx="2509">
                  <c:v>16.847-16.854</c:v>
                </c:pt>
                <c:pt idx="2510">
                  <c:v>16.854-16.861</c:v>
                </c:pt>
                <c:pt idx="2511">
                  <c:v>16.861-16.868</c:v>
                </c:pt>
                <c:pt idx="2512">
                  <c:v>16.868-16.874</c:v>
                </c:pt>
                <c:pt idx="2513">
                  <c:v>16.874-16.881</c:v>
                </c:pt>
                <c:pt idx="2514">
                  <c:v>16.881-16.888</c:v>
                </c:pt>
                <c:pt idx="2515">
                  <c:v>16.888-16.894</c:v>
                </c:pt>
                <c:pt idx="2516">
                  <c:v>16.894-16.901</c:v>
                </c:pt>
                <c:pt idx="2517">
                  <c:v>16.901-16.908</c:v>
                </c:pt>
                <c:pt idx="2518">
                  <c:v>16.908-16.915</c:v>
                </c:pt>
                <c:pt idx="2519">
                  <c:v>16.915-16.921</c:v>
                </c:pt>
                <c:pt idx="2520">
                  <c:v>16.921-16.928</c:v>
                </c:pt>
                <c:pt idx="2521">
                  <c:v>16.928-16.935</c:v>
                </c:pt>
                <c:pt idx="2522">
                  <c:v>16.935-16.941</c:v>
                </c:pt>
                <c:pt idx="2523">
                  <c:v>16.941-16.948</c:v>
                </c:pt>
                <c:pt idx="2524">
                  <c:v>16.948-16.955</c:v>
                </c:pt>
                <c:pt idx="2525">
                  <c:v>16.955-16.961</c:v>
                </c:pt>
                <c:pt idx="2526">
                  <c:v>16.961-16.968</c:v>
                </c:pt>
                <c:pt idx="2527">
                  <c:v>16.968-16.975</c:v>
                </c:pt>
                <c:pt idx="2528">
                  <c:v>16.975-16.982</c:v>
                </c:pt>
                <c:pt idx="2529">
                  <c:v>16.982-16.988</c:v>
                </c:pt>
                <c:pt idx="2530">
                  <c:v>16.988-16.995</c:v>
                </c:pt>
                <c:pt idx="2531">
                  <c:v>16.995-17.002</c:v>
                </c:pt>
                <c:pt idx="2532">
                  <c:v>17.002-17.008</c:v>
                </c:pt>
                <c:pt idx="2533">
                  <c:v>17.008-17.015</c:v>
                </c:pt>
                <c:pt idx="2534">
                  <c:v>17.015-17.022</c:v>
                </c:pt>
                <c:pt idx="2535">
                  <c:v>17.022-17.029</c:v>
                </c:pt>
                <c:pt idx="2536">
                  <c:v>17.029-17.035</c:v>
                </c:pt>
                <c:pt idx="2537">
                  <c:v>17.035-17.042</c:v>
                </c:pt>
                <c:pt idx="2538">
                  <c:v>17.042-17.049</c:v>
                </c:pt>
                <c:pt idx="2539">
                  <c:v>17.049-17.055</c:v>
                </c:pt>
                <c:pt idx="2540">
                  <c:v>17.055-17.062</c:v>
                </c:pt>
                <c:pt idx="2541">
                  <c:v>17.062-17.069</c:v>
                </c:pt>
                <c:pt idx="2542">
                  <c:v>17.069-17.076</c:v>
                </c:pt>
                <c:pt idx="2543">
                  <c:v>17.076-17.082</c:v>
                </c:pt>
                <c:pt idx="2544">
                  <c:v>17.082-17.089</c:v>
                </c:pt>
                <c:pt idx="2545">
                  <c:v>17.089-17.096</c:v>
                </c:pt>
                <c:pt idx="2546">
                  <c:v>17.096-17.102</c:v>
                </c:pt>
                <c:pt idx="2547">
                  <c:v>17.102-17.109</c:v>
                </c:pt>
                <c:pt idx="2548">
                  <c:v>17.109-17.116</c:v>
                </c:pt>
                <c:pt idx="2549">
                  <c:v>17.116-17.123</c:v>
                </c:pt>
                <c:pt idx="2550">
                  <c:v>17.123-17.129</c:v>
                </c:pt>
                <c:pt idx="2551">
                  <c:v>17.129-17.136</c:v>
                </c:pt>
                <c:pt idx="2552">
                  <c:v>17.136-17.143</c:v>
                </c:pt>
                <c:pt idx="2553">
                  <c:v>17.143-17.149</c:v>
                </c:pt>
                <c:pt idx="2554">
                  <c:v>17.149-17.156</c:v>
                </c:pt>
                <c:pt idx="2555">
                  <c:v>17.156-17.163</c:v>
                </c:pt>
                <c:pt idx="2556">
                  <c:v>17.163-17.170</c:v>
                </c:pt>
                <c:pt idx="2557">
                  <c:v>17.170-17.176</c:v>
                </c:pt>
                <c:pt idx="2558">
                  <c:v>17.176-17.183</c:v>
                </c:pt>
                <c:pt idx="2559">
                  <c:v>17.183-17.190</c:v>
                </c:pt>
                <c:pt idx="2560">
                  <c:v>17.190-17.196</c:v>
                </c:pt>
                <c:pt idx="2561">
                  <c:v>17.196-17.203</c:v>
                </c:pt>
                <c:pt idx="2562">
                  <c:v>17.203-17.210</c:v>
                </c:pt>
                <c:pt idx="2563">
                  <c:v>17.210-17.216</c:v>
                </c:pt>
                <c:pt idx="2564">
                  <c:v>17.216-17.223</c:v>
                </c:pt>
                <c:pt idx="2565">
                  <c:v>17.223-17.230</c:v>
                </c:pt>
                <c:pt idx="2566">
                  <c:v>17.230-17.237</c:v>
                </c:pt>
                <c:pt idx="2567">
                  <c:v>17.237-17.243</c:v>
                </c:pt>
                <c:pt idx="2568">
                  <c:v>17.243-17.250</c:v>
                </c:pt>
                <c:pt idx="2569">
                  <c:v>17.250-17.257</c:v>
                </c:pt>
                <c:pt idx="2570">
                  <c:v>17.257-17.263</c:v>
                </c:pt>
                <c:pt idx="2571">
                  <c:v>17.263-17.270</c:v>
                </c:pt>
                <c:pt idx="2572">
                  <c:v>17.270-17.277</c:v>
                </c:pt>
                <c:pt idx="2573">
                  <c:v>17.277-17.284</c:v>
                </c:pt>
                <c:pt idx="2574">
                  <c:v>17.284-17.290</c:v>
                </c:pt>
                <c:pt idx="2575">
                  <c:v>17.290-17.297</c:v>
                </c:pt>
                <c:pt idx="2576">
                  <c:v>17.297-17.304</c:v>
                </c:pt>
                <c:pt idx="2577">
                  <c:v>17.304-17.310</c:v>
                </c:pt>
                <c:pt idx="2578">
                  <c:v>17.310-17.317</c:v>
                </c:pt>
                <c:pt idx="2579">
                  <c:v>17.317-17.324</c:v>
                </c:pt>
                <c:pt idx="2580">
                  <c:v>17.324-17.331</c:v>
                </c:pt>
                <c:pt idx="2581">
                  <c:v>17.331-17.337</c:v>
                </c:pt>
                <c:pt idx="2582">
                  <c:v>17.337-17.344</c:v>
                </c:pt>
                <c:pt idx="2583">
                  <c:v>17.344-17.351</c:v>
                </c:pt>
                <c:pt idx="2584">
                  <c:v>17.351-17.357</c:v>
                </c:pt>
                <c:pt idx="2585">
                  <c:v>17.357-17.364</c:v>
                </c:pt>
                <c:pt idx="2586">
                  <c:v>17.364-17.371</c:v>
                </c:pt>
                <c:pt idx="2587">
                  <c:v>17.371-17.378</c:v>
                </c:pt>
                <c:pt idx="2588">
                  <c:v>17.378-17.384</c:v>
                </c:pt>
                <c:pt idx="2589">
                  <c:v>17.384-17.391</c:v>
                </c:pt>
                <c:pt idx="2590">
                  <c:v>17.391-17.398</c:v>
                </c:pt>
                <c:pt idx="2591">
                  <c:v>17.398-17.404</c:v>
                </c:pt>
                <c:pt idx="2592">
                  <c:v>17.404-17.411</c:v>
                </c:pt>
                <c:pt idx="2593">
                  <c:v>17.411-17.418</c:v>
                </c:pt>
                <c:pt idx="2594">
                  <c:v>17.418-17.425</c:v>
                </c:pt>
                <c:pt idx="2595">
                  <c:v>17.425-17.431</c:v>
                </c:pt>
                <c:pt idx="2596">
                  <c:v>17.431-17.438</c:v>
                </c:pt>
                <c:pt idx="2597">
                  <c:v>17.438-17.445</c:v>
                </c:pt>
                <c:pt idx="2598">
                  <c:v>17.445-17.451</c:v>
                </c:pt>
                <c:pt idx="2599">
                  <c:v>17.451-17.458</c:v>
                </c:pt>
                <c:pt idx="2600">
                  <c:v>17.458-17.465</c:v>
                </c:pt>
                <c:pt idx="2601">
                  <c:v>17.465-17.472</c:v>
                </c:pt>
                <c:pt idx="2602">
                  <c:v>17.472-17.478</c:v>
                </c:pt>
                <c:pt idx="2603">
                  <c:v>17.478-17.485</c:v>
                </c:pt>
                <c:pt idx="2604">
                  <c:v>17.485-17.492</c:v>
                </c:pt>
                <c:pt idx="2605">
                  <c:v>17.492-17.498</c:v>
                </c:pt>
                <c:pt idx="2606">
                  <c:v>17.498-17.505</c:v>
                </c:pt>
                <c:pt idx="2607">
                  <c:v>17.505-17.512</c:v>
                </c:pt>
                <c:pt idx="2608">
                  <c:v>17.512-17.518</c:v>
                </c:pt>
                <c:pt idx="2609">
                  <c:v>17.518-17.525</c:v>
                </c:pt>
                <c:pt idx="2610">
                  <c:v>17.525-17.532</c:v>
                </c:pt>
                <c:pt idx="2611">
                  <c:v>17.532-17.539</c:v>
                </c:pt>
                <c:pt idx="2612">
                  <c:v>17.539-17.545</c:v>
                </c:pt>
                <c:pt idx="2613">
                  <c:v>17.545-17.552</c:v>
                </c:pt>
                <c:pt idx="2614">
                  <c:v>17.552-17.559</c:v>
                </c:pt>
                <c:pt idx="2615">
                  <c:v>17.559-17.565</c:v>
                </c:pt>
                <c:pt idx="2616">
                  <c:v>17.565-17.572</c:v>
                </c:pt>
                <c:pt idx="2617">
                  <c:v>17.572-17.579</c:v>
                </c:pt>
                <c:pt idx="2618">
                  <c:v>17.579-17.586</c:v>
                </c:pt>
                <c:pt idx="2619">
                  <c:v>17.586-17.592</c:v>
                </c:pt>
                <c:pt idx="2620">
                  <c:v>17.592-17.599</c:v>
                </c:pt>
                <c:pt idx="2621">
                  <c:v>17.599-17.606</c:v>
                </c:pt>
                <c:pt idx="2622">
                  <c:v>17.606-17.612</c:v>
                </c:pt>
                <c:pt idx="2623">
                  <c:v>17.612-17.619</c:v>
                </c:pt>
                <c:pt idx="2624">
                  <c:v>17.619-17.626</c:v>
                </c:pt>
                <c:pt idx="2625">
                  <c:v>17.626-17.633</c:v>
                </c:pt>
                <c:pt idx="2626">
                  <c:v>17.633-17.639</c:v>
                </c:pt>
                <c:pt idx="2627">
                  <c:v>17.639-17.646</c:v>
                </c:pt>
                <c:pt idx="2628">
                  <c:v>17.646-17.653</c:v>
                </c:pt>
                <c:pt idx="2629">
                  <c:v>17.653-17.659</c:v>
                </c:pt>
                <c:pt idx="2630">
                  <c:v>17.659-17.666</c:v>
                </c:pt>
                <c:pt idx="2631">
                  <c:v>17.666-17.673</c:v>
                </c:pt>
                <c:pt idx="2632">
                  <c:v>17.673-17.680</c:v>
                </c:pt>
                <c:pt idx="2633">
                  <c:v>17.680-17.686</c:v>
                </c:pt>
                <c:pt idx="2634">
                  <c:v>17.686-17.693</c:v>
                </c:pt>
                <c:pt idx="2635">
                  <c:v>17.693-17.700</c:v>
                </c:pt>
                <c:pt idx="2636">
                  <c:v>17.700-17.706</c:v>
                </c:pt>
                <c:pt idx="2637">
                  <c:v>17.706-17.713</c:v>
                </c:pt>
                <c:pt idx="2638">
                  <c:v>17.713-17.720</c:v>
                </c:pt>
                <c:pt idx="2639">
                  <c:v>17.720-17.727</c:v>
                </c:pt>
                <c:pt idx="2640">
                  <c:v>17.727-17.733</c:v>
                </c:pt>
                <c:pt idx="2641">
                  <c:v>17.733-17.740</c:v>
                </c:pt>
                <c:pt idx="2642">
                  <c:v>17.740-17.747</c:v>
                </c:pt>
                <c:pt idx="2643">
                  <c:v>17.747-17.753</c:v>
                </c:pt>
                <c:pt idx="2644">
                  <c:v>17.753-17.760</c:v>
                </c:pt>
                <c:pt idx="2645">
                  <c:v>17.760-17.767</c:v>
                </c:pt>
                <c:pt idx="2646">
                  <c:v>17.767-17.773</c:v>
                </c:pt>
                <c:pt idx="2647">
                  <c:v>17.773-17.780</c:v>
                </c:pt>
                <c:pt idx="2648">
                  <c:v>17.780-17.787</c:v>
                </c:pt>
                <c:pt idx="2649">
                  <c:v>17.787-17.794</c:v>
                </c:pt>
                <c:pt idx="2650">
                  <c:v>17.794-17.800</c:v>
                </c:pt>
                <c:pt idx="2651">
                  <c:v>17.800-17.807</c:v>
                </c:pt>
                <c:pt idx="2652">
                  <c:v>17.807-17.814</c:v>
                </c:pt>
                <c:pt idx="2653">
                  <c:v>17.814-17.820</c:v>
                </c:pt>
                <c:pt idx="2654">
                  <c:v>17.820-17.827</c:v>
                </c:pt>
                <c:pt idx="2655">
                  <c:v>17.827-17.834</c:v>
                </c:pt>
                <c:pt idx="2656">
                  <c:v>17.834-17.841</c:v>
                </c:pt>
                <c:pt idx="2657">
                  <c:v>17.841-17.847</c:v>
                </c:pt>
                <c:pt idx="2658">
                  <c:v>17.847-17.854</c:v>
                </c:pt>
                <c:pt idx="2659">
                  <c:v>17.854-17.861</c:v>
                </c:pt>
                <c:pt idx="2660">
                  <c:v>17.861-17.867</c:v>
                </c:pt>
                <c:pt idx="2661">
                  <c:v>17.867-17.874</c:v>
                </c:pt>
                <c:pt idx="2662">
                  <c:v>17.874-17.881</c:v>
                </c:pt>
                <c:pt idx="2663">
                  <c:v>17.881-17.888</c:v>
                </c:pt>
                <c:pt idx="2664">
                  <c:v>17.888-17.894</c:v>
                </c:pt>
                <c:pt idx="2665">
                  <c:v>17.894-17.901</c:v>
                </c:pt>
                <c:pt idx="2666">
                  <c:v>17.901-17.908</c:v>
                </c:pt>
                <c:pt idx="2667">
                  <c:v>17.908-17.914</c:v>
                </c:pt>
                <c:pt idx="2668">
                  <c:v>17.914-17.921</c:v>
                </c:pt>
                <c:pt idx="2669">
                  <c:v>17.921-17.928</c:v>
                </c:pt>
                <c:pt idx="2670">
                  <c:v>17.928-17.935</c:v>
                </c:pt>
                <c:pt idx="2671">
                  <c:v>17.935-17.941</c:v>
                </c:pt>
                <c:pt idx="2672">
                  <c:v>17.941-17.948</c:v>
                </c:pt>
                <c:pt idx="2673">
                  <c:v>17.948-17.955</c:v>
                </c:pt>
                <c:pt idx="2674">
                  <c:v>17.955-17.961</c:v>
                </c:pt>
                <c:pt idx="2675">
                  <c:v>17.961-17.968</c:v>
                </c:pt>
                <c:pt idx="2676">
                  <c:v>17.968-17.975</c:v>
                </c:pt>
                <c:pt idx="2677">
                  <c:v>17.975-17.982</c:v>
                </c:pt>
                <c:pt idx="2678">
                  <c:v>17.982-17.988</c:v>
                </c:pt>
                <c:pt idx="2679">
                  <c:v>17.988-17.995</c:v>
                </c:pt>
                <c:pt idx="2680">
                  <c:v>17.995-18.002</c:v>
                </c:pt>
                <c:pt idx="2681">
                  <c:v>18.002-18.008</c:v>
                </c:pt>
                <c:pt idx="2682">
                  <c:v>18.008-18.015</c:v>
                </c:pt>
                <c:pt idx="2683">
                  <c:v>18.015-18.022</c:v>
                </c:pt>
                <c:pt idx="2684">
                  <c:v>18.022-18.028</c:v>
                </c:pt>
                <c:pt idx="2685">
                  <c:v>18.028-18.035</c:v>
                </c:pt>
                <c:pt idx="2686">
                  <c:v>18.035-18.042</c:v>
                </c:pt>
                <c:pt idx="2687">
                  <c:v>18.042-18.049</c:v>
                </c:pt>
                <c:pt idx="2688">
                  <c:v>18.049-18.055</c:v>
                </c:pt>
                <c:pt idx="2689">
                  <c:v>18.055-18.062</c:v>
                </c:pt>
                <c:pt idx="2690">
                  <c:v>18.062-18.069</c:v>
                </c:pt>
                <c:pt idx="2691">
                  <c:v>18.069-18.075</c:v>
                </c:pt>
                <c:pt idx="2692">
                  <c:v>18.075-18.082</c:v>
                </c:pt>
                <c:pt idx="2693">
                  <c:v>18.082-18.089</c:v>
                </c:pt>
                <c:pt idx="2694">
                  <c:v>18.089-18.096</c:v>
                </c:pt>
                <c:pt idx="2695">
                  <c:v>18.096-18.102</c:v>
                </c:pt>
                <c:pt idx="2696">
                  <c:v>18.102-18.109</c:v>
                </c:pt>
                <c:pt idx="2697">
                  <c:v>18.109-18.116</c:v>
                </c:pt>
                <c:pt idx="2698">
                  <c:v>18.116-18.122</c:v>
                </c:pt>
                <c:pt idx="2699">
                  <c:v>18.122-18.129</c:v>
                </c:pt>
                <c:pt idx="2700">
                  <c:v>18.129-18.136</c:v>
                </c:pt>
                <c:pt idx="2701">
                  <c:v>18.136-18.143</c:v>
                </c:pt>
                <c:pt idx="2702">
                  <c:v>18.143-18.149</c:v>
                </c:pt>
                <c:pt idx="2703">
                  <c:v>18.149-18.156</c:v>
                </c:pt>
                <c:pt idx="2704">
                  <c:v>18.156-18.163</c:v>
                </c:pt>
                <c:pt idx="2705">
                  <c:v>18.163-18.169</c:v>
                </c:pt>
                <c:pt idx="2706">
                  <c:v>18.169-18.176</c:v>
                </c:pt>
                <c:pt idx="2707">
                  <c:v>18.176-18.183</c:v>
                </c:pt>
                <c:pt idx="2708">
                  <c:v>18.183-18.190</c:v>
                </c:pt>
                <c:pt idx="2709">
                  <c:v>18.190-18.196</c:v>
                </c:pt>
                <c:pt idx="2710">
                  <c:v>18.196-18.203</c:v>
                </c:pt>
                <c:pt idx="2711">
                  <c:v>18.203-18.210</c:v>
                </c:pt>
                <c:pt idx="2712">
                  <c:v>18.210-18.216</c:v>
                </c:pt>
                <c:pt idx="2713">
                  <c:v>18.216-18.223</c:v>
                </c:pt>
                <c:pt idx="2714">
                  <c:v>18.223-18.230</c:v>
                </c:pt>
                <c:pt idx="2715">
                  <c:v>18.230-18.237</c:v>
                </c:pt>
                <c:pt idx="2716">
                  <c:v>18.237-18.243</c:v>
                </c:pt>
                <c:pt idx="2717">
                  <c:v>18.243-18.250</c:v>
                </c:pt>
                <c:pt idx="2718">
                  <c:v>18.250-18.257</c:v>
                </c:pt>
                <c:pt idx="2719">
                  <c:v>18.257-18.263</c:v>
                </c:pt>
                <c:pt idx="2720">
                  <c:v>18.263-18.270</c:v>
                </c:pt>
                <c:pt idx="2721">
                  <c:v>18.270-18.277</c:v>
                </c:pt>
                <c:pt idx="2722">
                  <c:v>18.277-18.284</c:v>
                </c:pt>
                <c:pt idx="2723">
                  <c:v>18.284-18.290</c:v>
                </c:pt>
                <c:pt idx="2724">
                  <c:v>18.290-18.297</c:v>
                </c:pt>
                <c:pt idx="2725">
                  <c:v>18.297-18.304</c:v>
                </c:pt>
                <c:pt idx="2726">
                  <c:v>18.304-18.310</c:v>
                </c:pt>
                <c:pt idx="2727">
                  <c:v>18.310-18.317</c:v>
                </c:pt>
                <c:pt idx="2728">
                  <c:v>18.317-18.324</c:v>
                </c:pt>
                <c:pt idx="2729">
                  <c:v>18.324-18.330</c:v>
                </c:pt>
                <c:pt idx="2730">
                  <c:v>18.330-18.337</c:v>
                </c:pt>
                <c:pt idx="2731">
                  <c:v>18.337-18.344</c:v>
                </c:pt>
                <c:pt idx="2732">
                  <c:v>18.344-18.351</c:v>
                </c:pt>
                <c:pt idx="2733">
                  <c:v>18.351-18.357</c:v>
                </c:pt>
                <c:pt idx="2734">
                  <c:v>18.357-18.364</c:v>
                </c:pt>
                <c:pt idx="2735">
                  <c:v>18.364-18.371</c:v>
                </c:pt>
                <c:pt idx="2736">
                  <c:v>18.371-18.377</c:v>
                </c:pt>
                <c:pt idx="2737">
                  <c:v>18.377-18.384</c:v>
                </c:pt>
                <c:pt idx="2738">
                  <c:v>18.384-18.391</c:v>
                </c:pt>
                <c:pt idx="2739">
                  <c:v>18.391-18.398</c:v>
                </c:pt>
                <c:pt idx="2740">
                  <c:v>18.398-18.404</c:v>
                </c:pt>
                <c:pt idx="2741">
                  <c:v>18.404-18.411</c:v>
                </c:pt>
                <c:pt idx="2742">
                  <c:v>18.411-18.418</c:v>
                </c:pt>
                <c:pt idx="2743">
                  <c:v>18.418-18.424</c:v>
                </c:pt>
                <c:pt idx="2744">
                  <c:v>18.424-18.431</c:v>
                </c:pt>
                <c:pt idx="2745">
                  <c:v>18.431-18.438</c:v>
                </c:pt>
                <c:pt idx="2746">
                  <c:v>18.438-18.445</c:v>
                </c:pt>
                <c:pt idx="2747">
                  <c:v>18.445-18.451</c:v>
                </c:pt>
                <c:pt idx="2748">
                  <c:v>18.451-18.458</c:v>
                </c:pt>
                <c:pt idx="2749">
                  <c:v>18.458-18.465</c:v>
                </c:pt>
                <c:pt idx="2750">
                  <c:v>18.465-18.471</c:v>
                </c:pt>
                <c:pt idx="2751">
                  <c:v>18.471-18.478</c:v>
                </c:pt>
                <c:pt idx="2752">
                  <c:v>18.478-18.485</c:v>
                </c:pt>
                <c:pt idx="2753">
                  <c:v>18.485-18.492</c:v>
                </c:pt>
                <c:pt idx="2754">
                  <c:v>18.492-18.498</c:v>
                </c:pt>
                <c:pt idx="2755">
                  <c:v>18.498-18.505</c:v>
                </c:pt>
                <c:pt idx="2756">
                  <c:v>18.505-18.512</c:v>
                </c:pt>
                <c:pt idx="2757">
                  <c:v>18.512-18.518</c:v>
                </c:pt>
                <c:pt idx="2758">
                  <c:v>18.518-18.525</c:v>
                </c:pt>
                <c:pt idx="2759">
                  <c:v>18.525-18.532</c:v>
                </c:pt>
                <c:pt idx="2760">
                  <c:v>18.532-18.539</c:v>
                </c:pt>
                <c:pt idx="2761">
                  <c:v>18.539-18.545</c:v>
                </c:pt>
                <c:pt idx="2762">
                  <c:v>18.545-18.552</c:v>
                </c:pt>
                <c:pt idx="2763">
                  <c:v>18.552-18.559</c:v>
                </c:pt>
                <c:pt idx="2764">
                  <c:v>18.559-18.565</c:v>
                </c:pt>
                <c:pt idx="2765">
                  <c:v>18.565-18.572</c:v>
                </c:pt>
                <c:pt idx="2766">
                  <c:v>18.572-18.579</c:v>
                </c:pt>
                <c:pt idx="2767">
                  <c:v>18.579-18.585</c:v>
                </c:pt>
                <c:pt idx="2768">
                  <c:v>18.585-18.592</c:v>
                </c:pt>
                <c:pt idx="2769">
                  <c:v>18.592-18.599</c:v>
                </c:pt>
                <c:pt idx="2770">
                  <c:v>18.599-18.606</c:v>
                </c:pt>
                <c:pt idx="2771">
                  <c:v>18.606-18.612</c:v>
                </c:pt>
                <c:pt idx="2772">
                  <c:v>18.612-18.619</c:v>
                </c:pt>
                <c:pt idx="2773">
                  <c:v>18.619-18.626</c:v>
                </c:pt>
                <c:pt idx="2774">
                  <c:v>18.626-18.632</c:v>
                </c:pt>
                <c:pt idx="2775">
                  <c:v>18.632-18.639</c:v>
                </c:pt>
                <c:pt idx="2776">
                  <c:v>18.639-18.646</c:v>
                </c:pt>
                <c:pt idx="2777">
                  <c:v>18.646-18.653</c:v>
                </c:pt>
                <c:pt idx="2778">
                  <c:v>18.653-18.659</c:v>
                </c:pt>
                <c:pt idx="2779">
                  <c:v>18.659-18.666</c:v>
                </c:pt>
                <c:pt idx="2780">
                  <c:v>18.666-18.673</c:v>
                </c:pt>
                <c:pt idx="2781">
                  <c:v>18.673-18.679</c:v>
                </c:pt>
                <c:pt idx="2782">
                  <c:v>18.679-18.686</c:v>
                </c:pt>
                <c:pt idx="2783">
                  <c:v>18.686-18.693</c:v>
                </c:pt>
                <c:pt idx="2784">
                  <c:v>18.693-18.700</c:v>
                </c:pt>
                <c:pt idx="2785">
                  <c:v>18.700-18.706</c:v>
                </c:pt>
                <c:pt idx="2786">
                  <c:v>18.706-18.713</c:v>
                </c:pt>
                <c:pt idx="2787">
                  <c:v>18.713-18.720</c:v>
                </c:pt>
                <c:pt idx="2788">
                  <c:v>18.720-18.726</c:v>
                </c:pt>
                <c:pt idx="2789">
                  <c:v>18.726-18.733</c:v>
                </c:pt>
                <c:pt idx="2790">
                  <c:v>18.733-18.740</c:v>
                </c:pt>
                <c:pt idx="2791">
                  <c:v>18.740-18.747</c:v>
                </c:pt>
                <c:pt idx="2792">
                  <c:v>18.747-18.753</c:v>
                </c:pt>
                <c:pt idx="2793">
                  <c:v>18.753-18.760</c:v>
                </c:pt>
                <c:pt idx="2794">
                  <c:v>18.760-18.767</c:v>
                </c:pt>
                <c:pt idx="2795">
                  <c:v>18.767-18.773</c:v>
                </c:pt>
                <c:pt idx="2796">
                  <c:v>18.773-18.780</c:v>
                </c:pt>
                <c:pt idx="2797">
                  <c:v>18.780-18.787</c:v>
                </c:pt>
                <c:pt idx="2798">
                  <c:v>18.787-18.794</c:v>
                </c:pt>
                <c:pt idx="2799">
                  <c:v>18.794-18.800</c:v>
                </c:pt>
                <c:pt idx="2800">
                  <c:v>18.800-18.807</c:v>
                </c:pt>
                <c:pt idx="2801">
                  <c:v>18.807-18.814</c:v>
                </c:pt>
                <c:pt idx="2802">
                  <c:v>18.814-18.820</c:v>
                </c:pt>
                <c:pt idx="2803">
                  <c:v>18.820-18.827</c:v>
                </c:pt>
                <c:pt idx="2804">
                  <c:v>18.827-18.834</c:v>
                </c:pt>
                <c:pt idx="2805">
                  <c:v>18.834-18.841</c:v>
                </c:pt>
                <c:pt idx="2806">
                  <c:v>18.841-18.847</c:v>
                </c:pt>
                <c:pt idx="2807">
                  <c:v>18.847-18.854</c:v>
                </c:pt>
                <c:pt idx="2808">
                  <c:v>18.854-18.861</c:v>
                </c:pt>
                <c:pt idx="2809">
                  <c:v>18.861-18.867</c:v>
                </c:pt>
                <c:pt idx="2810">
                  <c:v>18.867-18.874</c:v>
                </c:pt>
                <c:pt idx="2811">
                  <c:v>18.874-18.881</c:v>
                </c:pt>
                <c:pt idx="2812">
                  <c:v>18.881-18.887</c:v>
                </c:pt>
                <c:pt idx="2813">
                  <c:v>18.887-18.894</c:v>
                </c:pt>
                <c:pt idx="2814">
                  <c:v>18.894-18.901</c:v>
                </c:pt>
                <c:pt idx="2815">
                  <c:v>18.901-18.908</c:v>
                </c:pt>
                <c:pt idx="2816">
                  <c:v>18.908-18.914</c:v>
                </c:pt>
                <c:pt idx="2817">
                  <c:v>18.914-18.921</c:v>
                </c:pt>
                <c:pt idx="2818">
                  <c:v>18.921-18.928</c:v>
                </c:pt>
                <c:pt idx="2819">
                  <c:v>18.928-18.934</c:v>
                </c:pt>
                <c:pt idx="2820">
                  <c:v>18.934-18.941</c:v>
                </c:pt>
                <c:pt idx="2821">
                  <c:v>18.941-18.948</c:v>
                </c:pt>
                <c:pt idx="2822">
                  <c:v>18.948-18.955</c:v>
                </c:pt>
                <c:pt idx="2823">
                  <c:v>18.955-18.961</c:v>
                </c:pt>
                <c:pt idx="2824">
                  <c:v>18.961-18.968</c:v>
                </c:pt>
                <c:pt idx="2825">
                  <c:v>18.968-18.975</c:v>
                </c:pt>
                <c:pt idx="2826">
                  <c:v>18.975-18.981</c:v>
                </c:pt>
                <c:pt idx="2827">
                  <c:v>18.981-18.988</c:v>
                </c:pt>
                <c:pt idx="2828">
                  <c:v>18.988-18.995</c:v>
                </c:pt>
                <c:pt idx="2829">
                  <c:v>18.995-19.002</c:v>
                </c:pt>
                <c:pt idx="2830">
                  <c:v>19.002-19.008</c:v>
                </c:pt>
                <c:pt idx="2831">
                  <c:v>19.008-19.015</c:v>
                </c:pt>
                <c:pt idx="2832">
                  <c:v>19.015-19.022</c:v>
                </c:pt>
                <c:pt idx="2833">
                  <c:v>19.022-19.028</c:v>
                </c:pt>
                <c:pt idx="2834">
                  <c:v>19.028-19.035</c:v>
                </c:pt>
                <c:pt idx="2835">
                  <c:v>19.035-19.042</c:v>
                </c:pt>
                <c:pt idx="2836">
                  <c:v>19.042-19.049</c:v>
                </c:pt>
                <c:pt idx="2837">
                  <c:v>19.049-19.055</c:v>
                </c:pt>
                <c:pt idx="2838">
                  <c:v>19.055-19.062</c:v>
                </c:pt>
                <c:pt idx="2839">
                  <c:v>19.062-19.069</c:v>
                </c:pt>
                <c:pt idx="2840">
                  <c:v>19.069-19.075</c:v>
                </c:pt>
                <c:pt idx="2841">
                  <c:v>19.075-19.082</c:v>
                </c:pt>
                <c:pt idx="2842">
                  <c:v>19.082-19.089</c:v>
                </c:pt>
                <c:pt idx="2843">
                  <c:v>19.089-19.096</c:v>
                </c:pt>
                <c:pt idx="2844">
                  <c:v>19.096-19.102</c:v>
                </c:pt>
                <c:pt idx="2845">
                  <c:v>19.102-19.109</c:v>
                </c:pt>
                <c:pt idx="2846">
                  <c:v>19.109-19.116</c:v>
                </c:pt>
                <c:pt idx="2847">
                  <c:v>19.116-19.122</c:v>
                </c:pt>
                <c:pt idx="2848">
                  <c:v>19.122-19.129</c:v>
                </c:pt>
                <c:pt idx="2849">
                  <c:v>19.129-19.136</c:v>
                </c:pt>
                <c:pt idx="2850">
                  <c:v>19.136-19.142</c:v>
                </c:pt>
                <c:pt idx="2851">
                  <c:v>19.142-19.149</c:v>
                </c:pt>
                <c:pt idx="2852">
                  <c:v>19.149-19.156</c:v>
                </c:pt>
                <c:pt idx="2853">
                  <c:v>19.156-19.163</c:v>
                </c:pt>
                <c:pt idx="2854">
                  <c:v>19.163-19.169</c:v>
                </c:pt>
                <c:pt idx="2855">
                  <c:v>19.169-19.176</c:v>
                </c:pt>
                <c:pt idx="2856">
                  <c:v>19.176-19.183</c:v>
                </c:pt>
                <c:pt idx="2857">
                  <c:v>19.183-19.189</c:v>
                </c:pt>
                <c:pt idx="2858">
                  <c:v>19.189-19.196</c:v>
                </c:pt>
                <c:pt idx="2859">
                  <c:v>19.196-19.203</c:v>
                </c:pt>
                <c:pt idx="2860">
                  <c:v>19.203-19.210</c:v>
                </c:pt>
                <c:pt idx="2861">
                  <c:v>19.210-19.216</c:v>
                </c:pt>
                <c:pt idx="2862">
                  <c:v>19.216-19.223</c:v>
                </c:pt>
                <c:pt idx="2863">
                  <c:v>19.223-19.230</c:v>
                </c:pt>
                <c:pt idx="2864">
                  <c:v>19.230-19.236</c:v>
                </c:pt>
                <c:pt idx="2865">
                  <c:v>19.236-19.243</c:v>
                </c:pt>
                <c:pt idx="2866">
                  <c:v>19.243-19.250</c:v>
                </c:pt>
                <c:pt idx="2867">
                  <c:v>19.250-19.257</c:v>
                </c:pt>
                <c:pt idx="2868">
                  <c:v>19.257-19.263</c:v>
                </c:pt>
                <c:pt idx="2869">
                  <c:v>19.263-19.270</c:v>
                </c:pt>
                <c:pt idx="2870">
                  <c:v>19.270-19.277</c:v>
                </c:pt>
                <c:pt idx="2871">
                  <c:v>19.277-19.283</c:v>
                </c:pt>
                <c:pt idx="2872">
                  <c:v>19.283-19.290</c:v>
                </c:pt>
                <c:pt idx="2873">
                  <c:v>19.290-19.297</c:v>
                </c:pt>
                <c:pt idx="2874">
                  <c:v>19.297-19.304</c:v>
                </c:pt>
                <c:pt idx="2875">
                  <c:v>19.304-19.310</c:v>
                </c:pt>
                <c:pt idx="2876">
                  <c:v>19.310-19.317</c:v>
                </c:pt>
                <c:pt idx="2877">
                  <c:v>19.317-19.324</c:v>
                </c:pt>
                <c:pt idx="2878">
                  <c:v>19.324-19.330</c:v>
                </c:pt>
                <c:pt idx="2879">
                  <c:v>19.330-19.337</c:v>
                </c:pt>
                <c:pt idx="2880">
                  <c:v>19.337-19.344</c:v>
                </c:pt>
                <c:pt idx="2881">
                  <c:v>19.344-19.351</c:v>
                </c:pt>
                <c:pt idx="2882">
                  <c:v>19.351-19.357</c:v>
                </c:pt>
                <c:pt idx="2883">
                  <c:v>19.357-19.364</c:v>
                </c:pt>
                <c:pt idx="2884">
                  <c:v>19.364-19.371</c:v>
                </c:pt>
                <c:pt idx="2885">
                  <c:v>19.371-19.377</c:v>
                </c:pt>
                <c:pt idx="2886">
                  <c:v>19.377-19.384</c:v>
                </c:pt>
                <c:pt idx="2887">
                  <c:v>19.384-19.391</c:v>
                </c:pt>
                <c:pt idx="2888">
                  <c:v>19.391-19.398</c:v>
                </c:pt>
                <c:pt idx="2889">
                  <c:v>19.398-19.404</c:v>
                </c:pt>
                <c:pt idx="2890">
                  <c:v>19.404-19.411</c:v>
                </c:pt>
                <c:pt idx="2891">
                  <c:v>19.411-19.418</c:v>
                </c:pt>
                <c:pt idx="2892">
                  <c:v>19.418-19.424</c:v>
                </c:pt>
                <c:pt idx="2893">
                  <c:v>19.424-19.431</c:v>
                </c:pt>
                <c:pt idx="2894">
                  <c:v>19.431-19.438</c:v>
                </c:pt>
                <c:pt idx="2895">
                  <c:v>19.438-19.444</c:v>
                </c:pt>
                <c:pt idx="2896">
                  <c:v>19.444-19.451</c:v>
                </c:pt>
                <c:pt idx="2897">
                  <c:v>19.451-19.458</c:v>
                </c:pt>
                <c:pt idx="2898">
                  <c:v>19.458-19.465</c:v>
                </c:pt>
                <c:pt idx="2899">
                  <c:v>19.465-19.471</c:v>
                </c:pt>
                <c:pt idx="2900">
                  <c:v>19.471-19.478</c:v>
                </c:pt>
                <c:pt idx="2901">
                  <c:v>19.478-19.485</c:v>
                </c:pt>
                <c:pt idx="2902">
                  <c:v>19.485-19.491</c:v>
                </c:pt>
                <c:pt idx="2903">
                  <c:v>19.491-19.498</c:v>
                </c:pt>
                <c:pt idx="2904">
                  <c:v>19.498-19.505</c:v>
                </c:pt>
                <c:pt idx="2905">
                  <c:v>19.505-19.512</c:v>
                </c:pt>
                <c:pt idx="2906">
                  <c:v>19.512-19.518</c:v>
                </c:pt>
                <c:pt idx="2907">
                  <c:v>19.518-19.525</c:v>
                </c:pt>
                <c:pt idx="2908">
                  <c:v>19.525-19.532</c:v>
                </c:pt>
                <c:pt idx="2909">
                  <c:v>19.532-19.538</c:v>
                </c:pt>
                <c:pt idx="2910">
                  <c:v>19.538-19.545</c:v>
                </c:pt>
                <c:pt idx="2911">
                  <c:v>19.545-19.552</c:v>
                </c:pt>
                <c:pt idx="2912">
                  <c:v>19.552-19.559</c:v>
                </c:pt>
                <c:pt idx="2913">
                  <c:v>19.559-19.565</c:v>
                </c:pt>
                <c:pt idx="2914">
                  <c:v>19.565-19.572</c:v>
                </c:pt>
                <c:pt idx="2915">
                  <c:v>19.572-19.579</c:v>
                </c:pt>
                <c:pt idx="2916">
                  <c:v>19.579-19.585</c:v>
                </c:pt>
                <c:pt idx="2917">
                  <c:v>19.585-19.592</c:v>
                </c:pt>
                <c:pt idx="2918">
                  <c:v>19.592-19.599</c:v>
                </c:pt>
                <c:pt idx="2919">
                  <c:v>19.599-19.606</c:v>
                </c:pt>
                <c:pt idx="2920">
                  <c:v>19.606-19.612</c:v>
                </c:pt>
                <c:pt idx="2921">
                  <c:v>19.612-19.619</c:v>
                </c:pt>
                <c:pt idx="2922">
                  <c:v>19.619-19.626</c:v>
                </c:pt>
                <c:pt idx="2923">
                  <c:v>19.626-19.632</c:v>
                </c:pt>
                <c:pt idx="2924">
                  <c:v>19.632-19.639</c:v>
                </c:pt>
                <c:pt idx="2925">
                  <c:v>19.639-19.646</c:v>
                </c:pt>
                <c:pt idx="2926">
                  <c:v>19.646-19.653</c:v>
                </c:pt>
                <c:pt idx="2927">
                  <c:v>19.653-19.659</c:v>
                </c:pt>
                <c:pt idx="2928">
                  <c:v>19.659-19.666</c:v>
                </c:pt>
                <c:pt idx="2929">
                  <c:v>19.666-19.673</c:v>
                </c:pt>
                <c:pt idx="2930">
                  <c:v>19.673-19.679</c:v>
                </c:pt>
                <c:pt idx="2931">
                  <c:v>19.679-19.686</c:v>
                </c:pt>
                <c:pt idx="2932">
                  <c:v>19.686-19.693</c:v>
                </c:pt>
                <c:pt idx="2933">
                  <c:v>19.693-19.699</c:v>
                </c:pt>
                <c:pt idx="2934">
                  <c:v>19.699-19.706</c:v>
                </c:pt>
                <c:pt idx="2935">
                  <c:v>19.706-19.713</c:v>
                </c:pt>
                <c:pt idx="2936">
                  <c:v>19.713-19.720</c:v>
                </c:pt>
                <c:pt idx="2937">
                  <c:v>19.720-19.726</c:v>
                </c:pt>
                <c:pt idx="2938">
                  <c:v>19.726-19.733</c:v>
                </c:pt>
                <c:pt idx="2939">
                  <c:v>19.733-19.740</c:v>
                </c:pt>
                <c:pt idx="2940">
                  <c:v>19.740-19.746</c:v>
                </c:pt>
                <c:pt idx="2941">
                  <c:v>19.746-19.753</c:v>
                </c:pt>
                <c:pt idx="2942">
                  <c:v>19.753-19.760</c:v>
                </c:pt>
                <c:pt idx="2943">
                  <c:v>19.760-19.767</c:v>
                </c:pt>
                <c:pt idx="2944">
                  <c:v>19.767-19.773</c:v>
                </c:pt>
                <c:pt idx="2945">
                  <c:v>19.773-19.780</c:v>
                </c:pt>
                <c:pt idx="2946">
                  <c:v>19.780-19.787</c:v>
                </c:pt>
                <c:pt idx="2947">
                  <c:v>19.787-19.793</c:v>
                </c:pt>
                <c:pt idx="2948">
                  <c:v>19.793-19.800</c:v>
                </c:pt>
                <c:pt idx="2949">
                  <c:v>19.800-19.807</c:v>
                </c:pt>
                <c:pt idx="2950">
                  <c:v>19.807-19.814</c:v>
                </c:pt>
                <c:pt idx="2951">
                  <c:v>19.814-19.820</c:v>
                </c:pt>
                <c:pt idx="2952">
                  <c:v>19.820-19.827</c:v>
                </c:pt>
                <c:pt idx="2953">
                  <c:v>19.827-19.834</c:v>
                </c:pt>
                <c:pt idx="2954">
                  <c:v>19.834-19.840</c:v>
                </c:pt>
                <c:pt idx="2955">
                  <c:v>19.840-19.847</c:v>
                </c:pt>
                <c:pt idx="2956">
                  <c:v>19.847-19.854</c:v>
                </c:pt>
                <c:pt idx="2957">
                  <c:v>19.854-19.861</c:v>
                </c:pt>
                <c:pt idx="2958">
                  <c:v>19.861-19.867</c:v>
                </c:pt>
                <c:pt idx="2959">
                  <c:v>19.867-19.874</c:v>
                </c:pt>
                <c:pt idx="2960">
                  <c:v>19.874-19.881</c:v>
                </c:pt>
                <c:pt idx="2961">
                  <c:v>19.881-19.887</c:v>
                </c:pt>
                <c:pt idx="2962">
                  <c:v>19.887-19.894</c:v>
                </c:pt>
                <c:pt idx="2963">
                  <c:v>19.894-19.901</c:v>
                </c:pt>
                <c:pt idx="2964">
                  <c:v>19.901-19.908</c:v>
                </c:pt>
                <c:pt idx="2965">
                  <c:v>19.908-19.914</c:v>
                </c:pt>
                <c:pt idx="2966">
                  <c:v>19.914-19.921</c:v>
                </c:pt>
                <c:pt idx="2967">
                  <c:v>19.921-19.928</c:v>
                </c:pt>
                <c:pt idx="2968">
                  <c:v>19.928-19.934</c:v>
                </c:pt>
                <c:pt idx="2969">
                  <c:v>19.934-19.941</c:v>
                </c:pt>
                <c:pt idx="2970">
                  <c:v>19.941-19.948</c:v>
                </c:pt>
                <c:pt idx="2971">
                  <c:v>19.948-19.954</c:v>
                </c:pt>
                <c:pt idx="2972">
                  <c:v>19.954-19.961</c:v>
                </c:pt>
                <c:pt idx="2973">
                  <c:v>19.961-19.968</c:v>
                </c:pt>
                <c:pt idx="2974">
                  <c:v>19.968-19.975</c:v>
                </c:pt>
                <c:pt idx="2975">
                  <c:v>19.975-19.981</c:v>
                </c:pt>
                <c:pt idx="2976">
                  <c:v>19.981-19.988</c:v>
                </c:pt>
                <c:pt idx="2977">
                  <c:v>19.988-19.995</c:v>
                </c:pt>
                <c:pt idx="2978">
                  <c:v>19.995-20.001</c:v>
                </c:pt>
                <c:pt idx="2979">
                  <c:v>20.001-20.008</c:v>
                </c:pt>
                <c:pt idx="2980">
                  <c:v>20.008-20.015</c:v>
                </c:pt>
                <c:pt idx="2981">
                  <c:v>20.015-20.022</c:v>
                </c:pt>
                <c:pt idx="2982">
                  <c:v>20.022-20.028</c:v>
                </c:pt>
                <c:pt idx="2983">
                  <c:v>20.028-20.035</c:v>
                </c:pt>
                <c:pt idx="2984">
                  <c:v>20.035-20.042</c:v>
                </c:pt>
                <c:pt idx="2985">
                  <c:v>20.042-20.048</c:v>
                </c:pt>
                <c:pt idx="2986">
                  <c:v>20.048-20.055</c:v>
                </c:pt>
                <c:pt idx="2987">
                  <c:v>20.055-20.062</c:v>
                </c:pt>
                <c:pt idx="2988">
                  <c:v>20.062-20.069</c:v>
                </c:pt>
                <c:pt idx="2989">
                  <c:v>20.069-20.075</c:v>
                </c:pt>
                <c:pt idx="2990">
                  <c:v>20.075-20.082</c:v>
                </c:pt>
                <c:pt idx="2991">
                  <c:v>20.082-20.089</c:v>
                </c:pt>
                <c:pt idx="2992">
                  <c:v>20.089-20.095</c:v>
                </c:pt>
                <c:pt idx="2993">
                  <c:v>20.095-20.102</c:v>
                </c:pt>
                <c:pt idx="2994">
                  <c:v>20.102-20.109</c:v>
                </c:pt>
                <c:pt idx="2995">
                  <c:v>20.109-20.116</c:v>
                </c:pt>
                <c:pt idx="2996">
                  <c:v>20.116-20.122</c:v>
                </c:pt>
                <c:pt idx="2997">
                  <c:v>20.122-20.129</c:v>
                </c:pt>
                <c:pt idx="2998">
                  <c:v>20.129-20.136</c:v>
                </c:pt>
                <c:pt idx="2999">
                  <c:v>20.136-20.142</c:v>
                </c:pt>
                <c:pt idx="3000">
                  <c:v>20.142-20.149</c:v>
                </c:pt>
                <c:pt idx="3001">
                  <c:v>20.149-20.156</c:v>
                </c:pt>
                <c:pt idx="3002">
                  <c:v>20.156-20.163</c:v>
                </c:pt>
                <c:pt idx="3003">
                  <c:v>20.163-20.169</c:v>
                </c:pt>
                <c:pt idx="3004">
                  <c:v>20.169-20.176</c:v>
                </c:pt>
                <c:pt idx="3005">
                  <c:v>20.176-20.183</c:v>
                </c:pt>
                <c:pt idx="3006">
                  <c:v>20.183-20.189</c:v>
                </c:pt>
                <c:pt idx="3007">
                  <c:v>20.189-20.196</c:v>
                </c:pt>
                <c:pt idx="3008">
                  <c:v>20.196-20.203</c:v>
                </c:pt>
                <c:pt idx="3009">
                  <c:v>20.203-20.210</c:v>
                </c:pt>
                <c:pt idx="3010">
                  <c:v>20.210-20.216</c:v>
                </c:pt>
                <c:pt idx="3011">
                  <c:v>20.216-20.223</c:v>
                </c:pt>
                <c:pt idx="3012">
                  <c:v>20.223-20.230</c:v>
                </c:pt>
                <c:pt idx="3013">
                  <c:v>20.230-20.236</c:v>
                </c:pt>
                <c:pt idx="3014">
                  <c:v>20.236-20.243</c:v>
                </c:pt>
                <c:pt idx="3015">
                  <c:v>20.243-20.250</c:v>
                </c:pt>
                <c:pt idx="3016">
                  <c:v>20.250-20.256</c:v>
                </c:pt>
                <c:pt idx="3017">
                  <c:v>20.256-20.263</c:v>
                </c:pt>
                <c:pt idx="3018">
                  <c:v>20.263-20.270</c:v>
                </c:pt>
                <c:pt idx="3019">
                  <c:v>20.270-20.277</c:v>
                </c:pt>
                <c:pt idx="3020">
                  <c:v>20.277-20.283</c:v>
                </c:pt>
                <c:pt idx="3021">
                  <c:v>20.283-20.290</c:v>
                </c:pt>
                <c:pt idx="3022">
                  <c:v>20.290-20.297</c:v>
                </c:pt>
                <c:pt idx="3023">
                  <c:v>20.297-20.303</c:v>
                </c:pt>
                <c:pt idx="3024">
                  <c:v>20.303-20.310</c:v>
                </c:pt>
                <c:pt idx="3025">
                  <c:v>20.310-20.317</c:v>
                </c:pt>
                <c:pt idx="3026">
                  <c:v>20.317-20.324</c:v>
                </c:pt>
                <c:pt idx="3027">
                  <c:v>20.324-20.330</c:v>
                </c:pt>
                <c:pt idx="3028">
                  <c:v>20.330-20.337</c:v>
                </c:pt>
                <c:pt idx="3029">
                  <c:v>20.337-20.344</c:v>
                </c:pt>
                <c:pt idx="3030">
                  <c:v>20.344-20.350</c:v>
                </c:pt>
                <c:pt idx="3031">
                  <c:v>20.350-20.357</c:v>
                </c:pt>
                <c:pt idx="3032">
                  <c:v>20.357-20.364</c:v>
                </c:pt>
                <c:pt idx="3033">
                  <c:v>20.364-20.371</c:v>
                </c:pt>
                <c:pt idx="3034">
                  <c:v>20.371-20.377</c:v>
                </c:pt>
                <c:pt idx="3035">
                  <c:v>20.377-20.384</c:v>
                </c:pt>
                <c:pt idx="3036">
                  <c:v>20.384-20.391</c:v>
                </c:pt>
                <c:pt idx="3037">
                  <c:v>20.391-20.397</c:v>
                </c:pt>
                <c:pt idx="3038">
                  <c:v>20.397-20.404</c:v>
                </c:pt>
                <c:pt idx="3039">
                  <c:v>20.404-20.411</c:v>
                </c:pt>
                <c:pt idx="3040">
                  <c:v>20.411-20.418</c:v>
                </c:pt>
                <c:pt idx="3041">
                  <c:v>20.418-20.424</c:v>
                </c:pt>
                <c:pt idx="3042">
                  <c:v>20.424-20.431</c:v>
                </c:pt>
                <c:pt idx="3043">
                  <c:v>20.431-20.438</c:v>
                </c:pt>
                <c:pt idx="3044">
                  <c:v>20.438-20.444</c:v>
                </c:pt>
                <c:pt idx="3045">
                  <c:v>20.444-20.451</c:v>
                </c:pt>
                <c:pt idx="3046">
                  <c:v>20.451-20.458</c:v>
                </c:pt>
                <c:pt idx="3047">
                  <c:v>20.458-20.465</c:v>
                </c:pt>
                <c:pt idx="3048">
                  <c:v>20.465-20.471</c:v>
                </c:pt>
                <c:pt idx="3049">
                  <c:v>20.471-20.478</c:v>
                </c:pt>
                <c:pt idx="3050">
                  <c:v>20.478-20.485</c:v>
                </c:pt>
                <c:pt idx="3051">
                  <c:v>20.485-20.491</c:v>
                </c:pt>
                <c:pt idx="3052">
                  <c:v>20.491-20.498</c:v>
                </c:pt>
                <c:pt idx="3053">
                  <c:v>20.498-20.505</c:v>
                </c:pt>
                <c:pt idx="3054">
                  <c:v>20.505-20.511</c:v>
                </c:pt>
                <c:pt idx="3055">
                  <c:v>20.511-20.518</c:v>
                </c:pt>
                <c:pt idx="3056">
                  <c:v>20.518-20.525</c:v>
                </c:pt>
                <c:pt idx="3057">
                  <c:v>20.525-20.532</c:v>
                </c:pt>
                <c:pt idx="3058">
                  <c:v>20.532-20.538</c:v>
                </c:pt>
                <c:pt idx="3059">
                  <c:v>20.538-20.545</c:v>
                </c:pt>
                <c:pt idx="3060">
                  <c:v>20.545-20.552</c:v>
                </c:pt>
                <c:pt idx="3061">
                  <c:v>20.552-20.558</c:v>
                </c:pt>
                <c:pt idx="3062">
                  <c:v>20.558-20.565</c:v>
                </c:pt>
                <c:pt idx="3063">
                  <c:v>20.565-20.572</c:v>
                </c:pt>
                <c:pt idx="3064">
                  <c:v>20.572-20.579</c:v>
                </c:pt>
                <c:pt idx="3065">
                  <c:v>20.579-20.585</c:v>
                </c:pt>
                <c:pt idx="3066">
                  <c:v>20.585-20.592</c:v>
                </c:pt>
                <c:pt idx="3067">
                  <c:v>20.592-20.599</c:v>
                </c:pt>
                <c:pt idx="3068">
                  <c:v>20.599-20.605</c:v>
                </c:pt>
                <c:pt idx="3069">
                  <c:v>20.605-20.612</c:v>
                </c:pt>
                <c:pt idx="3070">
                  <c:v>20.612-20.619</c:v>
                </c:pt>
                <c:pt idx="3071">
                  <c:v>20.619-20.626</c:v>
                </c:pt>
                <c:pt idx="3072">
                  <c:v>20.626-20.632</c:v>
                </c:pt>
                <c:pt idx="3073">
                  <c:v>20.632-20.639</c:v>
                </c:pt>
                <c:pt idx="3074">
                  <c:v>20.639-20.646</c:v>
                </c:pt>
                <c:pt idx="3075">
                  <c:v>20.646-20.652</c:v>
                </c:pt>
                <c:pt idx="3076">
                  <c:v>20.652-20.659</c:v>
                </c:pt>
                <c:pt idx="3077">
                  <c:v>20.659-20.666</c:v>
                </c:pt>
                <c:pt idx="3078">
                  <c:v>20.666-20.673</c:v>
                </c:pt>
                <c:pt idx="3079">
                  <c:v>20.673-20.679</c:v>
                </c:pt>
                <c:pt idx="3080">
                  <c:v>20.679-20.686</c:v>
                </c:pt>
                <c:pt idx="3081">
                  <c:v>20.686-20.693</c:v>
                </c:pt>
                <c:pt idx="3082">
                  <c:v>20.693-20.699</c:v>
                </c:pt>
                <c:pt idx="3083">
                  <c:v>20.699-20.706</c:v>
                </c:pt>
                <c:pt idx="3084">
                  <c:v>20.706-20.713</c:v>
                </c:pt>
                <c:pt idx="3085">
                  <c:v>20.713-20.720</c:v>
                </c:pt>
                <c:pt idx="3086">
                  <c:v>20.720-20.726</c:v>
                </c:pt>
                <c:pt idx="3087">
                  <c:v>20.726-20.733</c:v>
                </c:pt>
                <c:pt idx="3088">
                  <c:v>20.733-20.740</c:v>
                </c:pt>
                <c:pt idx="3089">
                  <c:v>20.740-20.746</c:v>
                </c:pt>
                <c:pt idx="3090">
                  <c:v>20.746-20.753</c:v>
                </c:pt>
                <c:pt idx="3091">
                  <c:v>20.753-20.760</c:v>
                </c:pt>
                <c:pt idx="3092">
                  <c:v>20.760-20.767</c:v>
                </c:pt>
                <c:pt idx="3093">
                  <c:v>20.767-20.773</c:v>
                </c:pt>
                <c:pt idx="3094">
                  <c:v>20.773-20.780</c:v>
                </c:pt>
                <c:pt idx="3095">
                  <c:v>20.780-20.787</c:v>
                </c:pt>
                <c:pt idx="3096">
                  <c:v>20.787-20.793</c:v>
                </c:pt>
                <c:pt idx="3097">
                  <c:v>20.793-20.800</c:v>
                </c:pt>
                <c:pt idx="3098">
                  <c:v>20.800-20.807</c:v>
                </c:pt>
                <c:pt idx="3099">
                  <c:v>20.807-20.813</c:v>
                </c:pt>
                <c:pt idx="3100">
                  <c:v>20.813-20.820</c:v>
                </c:pt>
                <c:pt idx="3101">
                  <c:v>20.820-20.827</c:v>
                </c:pt>
                <c:pt idx="3102">
                  <c:v>20.827-20.834</c:v>
                </c:pt>
                <c:pt idx="3103">
                  <c:v>20.834-20.840</c:v>
                </c:pt>
                <c:pt idx="3104">
                  <c:v>20.840-20.847</c:v>
                </c:pt>
                <c:pt idx="3105">
                  <c:v>20.847-20.854</c:v>
                </c:pt>
                <c:pt idx="3106">
                  <c:v>20.854-20.860</c:v>
                </c:pt>
                <c:pt idx="3107">
                  <c:v>20.860-20.867</c:v>
                </c:pt>
                <c:pt idx="3108">
                  <c:v>20.867-20.874</c:v>
                </c:pt>
                <c:pt idx="3109">
                  <c:v>20.874-20.881</c:v>
                </c:pt>
                <c:pt idx="3110">
                  <c:v>20.881-20.887</c:v>
                </c:pt>
                <c:pt idx="3111">
                  <c:v>20.887-20.894</c:v>
                </c:pt>
                <c:pt idx="3112">
                  <c:v>20.894-20.901</c:v>
                </c:pt>
                <c:pt idx="3113">
                  <c:v>20.901-20.907</c:v>
                </c:pt>
                <c:pt idx="3114">
                  <c:v>20.907-20.914</c:v>
                </c:pt>
                <c:pt idx="3115">
                  <c:v>20.914-20.921</c:v>
                </c:pt>
                <c:pt idx="3116">
                  <c:v>20.921-20.928</c:v>
                </c:pt>
                <c:pt idx="3117">
                  <c:v>20.928-20.934</c:v>
                </c:pt>
                <c:pt idx="3118">
                  <c:v>20.934-20.941</c:v>
                </c:pt>
                <c:pt idx="3119">
                  <c:v>20.941-20.948</c:v>
                </c:pt>
                <c:pt idx="3120">
                  <c:v>20.948-20.954</c:v>
                </c:pt>
                <c:pt idx="3121">
                  <c:v>20.954-20.961</c:v>
                </c:pt>
                <c:pt idx="3122">
                  <c:v>20.961-20.968</c:v>
                </c:pt>
                <c:pt idx="3123">
                  <c:v>20.968-20.975</c:v>
                </c:pt>
                <c:pt idx="3124">
                  <c:v>20.975-20.981</c:v>
                </c:pt>
                <c:pt idx="3125">
                  <c:v>20.981-20.988</c:v>
                </c:pt>
                <c:pt idx="3126">
                  <c:v>20.988-20.995</c:v>
                </c:pt>
                <c:pt idx="3127">
                  <c:v>20.995-21.001</c:v>
                </c:pt>
                <c:pt idx="3128">
                  <c:v>21.001-21.008</c:v>
                </c:pt>
                <c:pt idx="3129">
                  <c:v>21.008-21.015</c:v>
                </c:pt>
                <c:pt idx="3130">
                  <c:v>21.015-21.022</c:v>
                </c:pt>
                <c:pt idx="3131">
                  <c:v>21.022-21.028</c:v>
                </c:pt>
                <c:pt idx="3132">
                  <c:v>21.028-21.035</c:v>
                </c:pt>
                <c:pt idx="3133">
                  <c:v>21.035-21.042</c:v>
                </c:pt>
                <c:pt idx="3134">
                  <c:v>21.042-21.048</c:v>
                </c:pt>
                <c:pt idx="3135">
                  <c:v>21.048-21.055</c:v>
                </c:pt>
                <c:pt idx="3136">
                  <c:v>21.055-21.062</c:v>
                </c:pt>
                <c:pt idx="3137">
                  <c:v>21.062-21.068</c:v>
                </c:pt>
                <c:pt idx="3138">
                  <c:v>21.068-21.075</c:v>
                </c:pt>
                <c:pt idx="3139">
                  <c:v>21.075-21.082</c:v>
                </c:pt>
                <c:pt idx="3140">
                  <c:v>21.082-21.089</c:v>
                </c:pt>
                <c:pt idx="3141">
                  <c:v>21.089-21.095</c:v>
                </c:pt>
                <c:pt idx="3142">
                  <c:v>21.095-21.102</c:v>
                </c:pt>
                <c:pt idx="3143">
                  <c:v>21.102-21.109</c:v>
                </c:pt>
                <c:pt idx="3144">
                  <c:v>21.109-21.115</c:v>
                </c:pt>
                <c:pt idx="3145">
                  <c:v>21.115-21.122</c:v>
                </c:pt>
                <c:pt idx="3146">
                  <c:v>21.122-21.129</c:v>
                </c:pt>
                <c:pt idx="3147">
                  <c:v>21.129-21.136</c:v>
                </c:pt>
                <c:pt idx="3148">
                  <c:v>21.136-21.142</c:v>
                </c:pt>
                <c:pt idx="3149">
                  <c:v>21.142-21.149</c:v>
                </c:pt>
                <c:pt idx="3150">
                  <c:v>21.149-21.156</c:v>
                </c:pt>
                <c:pt idx="3151">
                  <c:v>21.156-21.162</c:v>
                </c:pt>
                <c:pt idx="3152">
                  <c:v>21.162-21.169</c:v>
                </c:pt>
                <c:pt idx="3153">
                  <c:v>21.169-21.176</c:v>
                </c:pt>
                <c:pt idx="3154">
                  <c:v>21.176-21.183</c:v>
                </c:pt>
                <c:pt idx="3155">
                  <c:v>21.183-21.189</c:v>
                </c:pt>
                <c:pt idx="3156">
                  <c:v>21.189-21.196</c:v>
                </c:pt>
                <c:pt idx="3157">
                  <c:v>21.196-21.203</c:v>
                </c:pt>
                <c:pt idx="3158">
                  <c:v>21.203-21.209</c:v>
                </c:pt>
                <c:pt idx="3159">
                  <c:v>21.209-21.216</c:v>
                </c:pt>
                <c:pt idx="3160">
                  <c:v>21.216-21.223</c:v>
                </c:pt>
                <c:pt idx="3161">
                  <c:v>21.223-21.230</c:v>
                </c:pt>
                <c:pt idx="3162">
                  <c:v>21.230-21.236</c:v>
                </c:pt>
                <c:pt idx="3163">
                  <c:v>21.236-21.243</c:v>
                </c:pt>
                <c:pt idx="3164">
                  <c:v>21.243-21.250</c:v>
                </c:pt>
                <c:pt idx="3165">
                  <c:v>21.250-21.256</c:v>
                </c:pt>
                <c:pt idx="3166">
                  <c:v>21.256-21.263</c:v>
                </c:pt>
                <c:pt idx="3167">
                  <c:v>21.263-21.270</c:v>
                </c:pt>
                <c:pt idx="3168">
                  <c:v>21.270-21.277</c:v>
                </c:pt>
                <c:pt idx="3169">
                  <c:v>21.277-21.283</c:v>
                </c:pt>
                <c:pt idx="3170">
                  <c:v>21.283-21.290</c:v>
                </c:pt>
                <c:pt idx="3171">
                  <c:v>21.290-21.297</c:v>
                </c:pt>
                <c:pt idx="3172">
                  <c:v>21.297-21.303</c:v>
                </c:pt>
                <c:pt idx="3173">
                  <c:v>21.303-21.310</c:v>
                </c:pt>
                <c:pt idx="3174">
                  <c:v>21.310-21.317</c:v>
                </c:pt>
                <c:pt idx="3175">
                  <c:v>21.317-21.324</c:v>
                </c:pt>
                <c:pt idx="3176">
                  <c:v>21.324-21.330</c:v>
                </c:pt>
                <c:pt idx="3177">
                  <c:v>21.330-21.337</c:v>
                </c:pt>
                <c:pt idx="3178">
                  <c:v>21.337-21.344</c:v>
                </c:pt>
                <c:pt idx="3179">
                  <c:v>21.344-21.350</c:v>
                </c:pt>
                <c:pt idx="3180">
                  <c:v>21.350-21.357</c:v>
                </c:pt>
                <c:pt idx="3181">
                  <c:v>21.357-21.364</c:v>
                </c:pt>
                <c:pt idx="3182">
                  <c:v>21.364-21.370</c:v>
                </c:pt>
                <c:pt idx="3183">
                  <c:v>21.370-21.377</c:v>
                </c:pt>
                <c:pt idx="3184">
                  <c:v>21.377-21.384</c:v>
                </c:pt>
                <c:pt idx="3185">
                  <c:v>21.384-21.391</c:v>
                </c:pt>
                <c:pt idx="3186">
                  <c:v>21.391-21.397</c:v>
                </c:pt>
                <c:pt idx="3187">
                  <c:v>21.397-21.404</c:v>
                </c:pt>
                <c:pt idx="3188">
                  <c:v>21.404-21.411</c:v>
                </c:pt>
                <c:pt idx="3189">
                  <c:v>21.411-21.417</c:v>
                </c:pt>
                <c:pt idx="3190">
                  <c:v>21.417-21.424</c:v>
                </c:pt>
                <c:pt idx="3191">
                  <c:v>21.424-21.431</c:v>
                </c:pt>
                <c:pt idx="3192">
                  <c:v>21.431-21.438</c:v>
                </c:pt>
                <c:pt idx="3193">
                  <c:v>21.438-21.444</c:v>
                </c:pt>
                <c:pt idx="3194">
                  <c:v>21.444-21.451</c:v>
                </c:pt>
                <c:pt idx="3195">
                  <c:v>21.451-21.458</c:v>
                </c:pt>
                <c:pt idx="3196">
                  <c:v>21.458-21.464</c:v>
                </c:pt>
                <c:pt idx="3197">
                  <c:v>21.464-21.471</c:v>
                </c:pt>
                <c:pt idx="3198">
                  <c:v>21.471-21.478</c:v>
                </c:pt>
                <c:pt idx="3199">
                  <c:v>21.478-21.485</c:v>
                </c:pt>
                <c:pt idx="3200">
                  <c:v>21.485-21.491</c:v>
                </c:pt>
                <c:pt idx="3201">
                  <c:v>21.491-21.498</c:v>
                </c:pt>
                <c:pt idx="3202">
                  <c:v>21.498-21.505</c:v>
                </c:pt>
                <c:pt idx="3203">
                  <c:v>21.505-21.511</c:v>
                </c:pt>
                <c:pt idx="3204">
                  <c:v>21.511-21.518</c:v>
                </c:pt>
                <c:pt idx="3205">
                  <c:v>21.518-21.525</c:v>
                </c:pt>
                <c:pt idx="3206">
                  <c:v>21.525-21.532</c:v>
                </c:pt>
                <c:pt idx="3207">
                  <c:v>21.532-21.538</c:v>
                </c:pt>
                <c:pt idx="3208">
                  <c:v>21.538-21.545</c:v>
                </c:pt>
                <c:pt idx="3209">
                  <c:v>21.545-21.552</c:v>
                </c:pt>
                <c:pt idx="3210">
                  <c:v>21.552-21.558</c:v>
                </c:pt>
                <c:pt idx="3211">
                  <c:v>21.558-21.565</c:v>
                </c:pt>
                <c:pt idx="3212">
                  <c:v>21.565-21.572</c:v>
                </c:pt>
                <c:pt idx="3213">
                  <c:v>21.572-21.579</c:v>
                </c:pt>
                <c:pt idx="3214">
                  <c:v>21.579-21.585</c:v>
                </c:pt>
                <c:pt idx="3215">
                  <c:v>21.585-21.592</c:v>
                </c:pt>
                <c:pt idx="3216">
                  <c:v>21.592-21.599</c:v>
                </c:pt>
                <c:pt idx="3217">
                  <c:v>21.599-21.605</c:v>
                </c:pt>
                <c:pt idx="3218">
                  <c:v>21.605-21.612</c:v>
                </c:pt>
                <c:pt idx="3219">
                  <c:v>21.612-21.619</c:v>
                </c:pt>
                <c:pt idx="3220">
                  <c:v>21.619-21.625</c:v>
                </c:pt>
                <c:pt idx="3221">
                  <c:v>21.625-21.632</c:v>
                </c:pt>
                <c:pt idx="3222">
                  <c:v>21.632-21.639</c:v>
                </c:pt>
                <c:pt idx="3223">
                  <c:v>21.639-21.646</c:v>
                </c:pt>
                <c:pt idx="3224">
                  <c:v>21.646-21.652</c:v>
                </c:pt>
                <c:pt idx="3225">
                  <c:v>21.652-21.659</c:v>
                </c:pt>
                <c:pt idx="3226">
                  <c:v>21.659-21.666</c:v>
                </c:pt>
                <c:pt idx="3227">
                  <c:v>21.666-21.672</c:v>
                </c:pt>
                <c:pt idx="3228">
                  <c:v>21.672-21.679</c:v>
                </c:pt>
                <c:pt idx="3229">
                  <c:v>21.679-21.686</c:v>
                </c:pt>
                <c:pt idx="3230">
                  <c:v>21.686-21.693</c:v>
                </c:pt>
                <c:pt idx="3231">
                  <c:v>21.693-21.699</c:v>
                </c:pt>
                <c:pt idx="3232">
                  <c:v>21.699-21.706</c:v>
                </c:pt>
                <c:pt idx="3233">
                  <c:v>21.706-21.713</c:v>
                </c:pt>
                <c:pt idx="3234">
                  <c:v>21.713-21.719</c:v>
                </c:pt>
                <c:pt idx="3235">
                  <c:v>21.719-21.726</c:v>
                </c:pt>
                <c:pt idx="3236">
                  <c:v>21.726-21.733</c:v>
                </c:pt>
                <c:pt idx="3237">
                  <c:v>21.733-21.740</c:v>
                </c:pt>
                <c:pt idx="3238">
                  <c:v>21.740-21.746</c:v>
                </c:pt>
                <c:pt idx="3239">
                  <c:v>21.746-21.753</c:v>
                </c:pt>
                <c:pt idx="3240">
                  <c:v>21.753-21.760</c:v>
                </c:pt>
                <c:pt idx="3241">
                  <c:v>21.760-21.766</c:v>
                </c:pt>
                <c:pt idx="3242">
                  <c:v>21.766-21.773</c:v>
                </c:pt>
                <c:pt idx="3243">
                  <c:v>21.773-21.780</c:v>
                </c:pt>
                <c:pt idx="3244">
                  <c:v>21.780-21.787</c:v>
                </c:pt>
                <c:pt idx="3245">
                  <c:v>21.787-21.793</c:v>
                </c:pt>
                <c:pt idx="3246">
                  <c:v>21.793-21.800</c:v>
                </c:pt>
                <c:pt idx="3247">
                  <c:v>21.800-21.807</c:v>
                </c:pt>
                <c:pt idx="3248">
                  <c:v>21.807-21.813</c:v>
                </c:pt>
                <c:pt idx="3249">
                  <c:v>21.813-21.820</c:v>
                </c:pt>
                <c:pt idx="3250">
                  <c:v>21.820-21.827</c:v>
                </c:pt>
                <c:pt idx="3251">
                  <c:v>21.827-21.834</c:v>
                </c:pt>
                <c:pt idx="3252">
                  <c:v>21.834-21.840</c:v>
                </c:pt>
                <c:pt idx="3253">
                  <c:v>21.840-21.847</c:v>
                </c:pt>
                <c:pt idx="3254">
                  <c:v>21.847-21.854</c:v>
                </c:pt>
                <c:pt idx="3255">
                  <c:v>21.854-21.860</c:v>
                </c:pt>
                <c:pt idx="3256">
                  <c:v>21.860-21.867</c:v>
                </c:pt>
                <c:pt idx="3257">
                  <c:v>21.867-21.874</c:v>
                </c:pt>
                <c:pt idx="3258">
                  <c:v>21.874-21.880</c:v>
                </c:pt>
                <c:pt idx="3259">
                  <c:v>21.880-21.887</c:v>
                </c:pt>
                <c:pt idx="3260">
                  <c:v>21.887-21.894</c:v>
                </c:pt>
                <c:pt idx="3261">
                  <c:v>21.894-21.901</c:v>
                </c:pt>
                <c:pt idx="3262">
                  <c:v>21.901-21.907</c:v>
                </c:pt>
                <c:pt idx="3263">
                  <c:v>21.907-21.914</c:v>
                </c:pt>
                <c:pt idx="3264">
                  <c:v>21.914-21.921</c:v>
                </c:pt>
                <c:pt idx="3265">
                  <c:v>21.921-21.927</c:v>
                </c:pt>
                <c:pt idx="3266">
                  <c:v>21.927-21.934</c:v>
                </c:pt>
                <c:pt idx="3267">
                  <c:v>21.934-21.941</c:v>
                </c:pt>
                <c:pt idx="3268">
                  <c:v>21.941-21.948</c:v>
                </c:pt>
                <c:pt idx="3269">
                  <c:v>21.948-21.954</c:v>
                </c:pt>
                <c:pt idx="3270">
                  <c:v>21.954-21.961</c:v>
                </c:pt>
                <c:pt idx="3271">
                  <c:v>21.961-21.968</c:v>
                </c:pt>
                <c:pt idx="3272">
                  <c:v>21.968-21.974</c:v>
                </c:pt>
                <c:pt idx="3273">
                  <c:v>21.974-21.981</c:v>
                </c:pt>
                <c:pt idx="3274">
                  <c:v>21.981-21.988</c:v>
                </c:pt>
                <c:pt idx="3275">
                  <c:v>21.988-21.995</c:v>
                </c:pt>
                <c:pt idx="3276">
                  <c:v>21.995-22.001</c:v>
                </c:pt>
                <c:pt idx="3277">
                  <c:v>22.001-22.008</c:v>
                </c:pt>
                <c:pt idx="3278">
                  <c:v>22.008-22.015</c:v>
                </c:pt>
                <c:pt idx="3279">
                  <c:v>22.015-22.021</c:v>
                </c:pt>
                <c:pt idx="3280">
                  <c:v>22.021-22.028</c:v>
                </c:pt>
                <c:pt idx="3281">
                  <c:v>22.028-22.035</c:v>
                </c:pt>
                <c:pt idx="3282">
                  <c:v>22.035-22.042</c:v>
                </c:pt>
                <c:pt idx="3283">
                  <c:v>22.042-22.048</c:v>
                </c:pt>
                <c:pt idx="3284">
                  <c:v>22.048-22.055</c:v>
                </c:pt>
                <c:pt idx="3285">
                  <c:v>22.055-22.062</c:v>
                </c:pt>
                <c:pt idx="3286">
                  <c:v>22.062-22.068</c:v>
                </c:pt>
                <c:pt idx="3287">
                  <c:v>22.068-22.075</c:v>
                </c:pt>
                <c:pt idx="3288">
                  <c:v>22.075-22.082</c:v>
                </c:pt>
                <c:pt idx="3289">
                  <c:v>22.082-22.089</c:v>
                </c:pt>
                <c:pt idx="3290">
                  <c:v>22.089-22.095</c:v>
                </c:pt>
                <c:pt idx="3291">
                  <c:v>22.095-22.102</c:v>
                </c:pt>
                <c:pt idx="3292">
                  <c:v>22.102-22.109</c:v>
                </c:pt>
                <c:pt idx="3293">
                  <c:v>22.109-22.115</c:v>
                </c:pt>
                <c:pt idx="3294">
                  <c:v>22.115-22.122</c:v>
                </c:pt>
                <c:pt idx="3295">
                  <c:v>22.122-22.129</c:v>
                </c:pt>
                <c:pt idx="3296">
                  <c:v>22.129-22.136</c:v>
                </c:pt>
                <c:pt idx="3297">
                  <c:v>22.136-22.142</c:v>
                </c:pt>
                <c:pt idx="3298">
                  <c:v>22.142-22.149</c:v>
                </c:pt>
                <c:pt idx="3299">
                  <c:v>22.149-22.156</c:v>
                </c:pt>
                <c:pt idx="3300">
                  <c:v>22.156-22.162</c:v>
                </c:pt>
                <c:pt idx="3301">
                  <c:v>22.162-22.169</c:v>
                </c:pt>
                <c:pt idx="3302">
                  <c:v>22.169-22.176</c:v>
                </c:pt>
                <c:pt idx="3303">
                  <c:v>22.176-22.182</c:v>
                </c:pt>
                <c:pt idx="3304">
                  <c:v>22.182-22.189</c:v>
                </c:pt>
                <c:pt idx="3305">
                  <c:v>22.189-22.196</c:v>
                </c:pt>
                <c:pt idx="3306">
                  <c:v>22.196-22.203</c:v>
                </c:pt>
                <c:pt idx="3307">
                  <c:v>22.203-22.209</c:v>
                </c:pt>
                <c:pt idx="3308">
                  <c:v>22.209-22.216</c:v>
                </c:pt>
                <c:pt idx="3309">
                  <c:v>22.216-22.223</c:v>
                </c:pt>
                <c:pt idx="3310">
                  <c:v>22.223-22.229</c:v>
                </c:pt>
                <c:pt idx="3311">
                  <c:v>22.229-22.236</c:v>
                </c:pt>
                <c:pt idx="3312">
                  <c:v>22.236-22.243</c:v>
                </c:pt>
                <c:pt idx="3313">
                  <c:v>22.243-22.250</c:v>
                </c:pt>
                <c:pt idx="3314">
                  <c:v>22.250-22.256</c:v>
                </c:pt>
                <c:pt idx="3315">
                  <c:v>22.256-22.263</c:v>
                </c:pt>
                <c:pt idx="3316">
                  <c:v>22.263-22.270</c:v>
                </c:pt>
                <c:pt idx="3317">
                  <c:v>22.270-22.276</c:v>
                </c:pt>
                <c:pt idx="3318">
                  <c:v>22.276-22.283</c:v>
                </c:pt>
                <c:pt idx="3319">
                  <c:v>22.283-22.290</c:v>
                </c:pt>
                <c:pt idx="3320">
                  <c:v>22.290-22.297</c:v>
                </c:pt>
                <c:pt idx="3321">
                  <c:v>22.297-22.303</c:v>
                </c:pt>
                <c:pt idx="3322">
                  <c:v>22.303-22.310</c:v>
                </c:pt>
                <c:pt idx="3323">
                  <c:v>22.310-22.317</c:v>
                </c:pt>
                <c:pt idx="3324">
                  <c:v>22.317-22.323</c:v>
                </c:pt>
                <c:pt idx="3325">
                  <c:v>22.323-22.330</c:v>
                </c:pt>
                <c:pt idx="3326">
                  <c:v>22.330-22.337</c:v>
                </c:pt>
                <c:pt idx="3327">
                  <c:v>22.337-22.344</c:v>
                </c:pt>
                <c:pt idx="3328">
                  <c:v>22.344-22.350</c:v>
                </c:pt>
                <c:pt idx="3329">
                  <c:v>22.350-22.357</c:v>
                </c:pt>
                <c:pt idx="3330">
                  <c:v>22.357-22.364</c:v>
                </c:pt>
                <c:pt idx="3331">
                  <c:v>22.364-22.370</c:v>
                </c:pt>
                <c:pt idx="3332">
                  <c:v>22.370-22.377</c:v>
                </c:pt>
                <c:pt idx="3333">
                  <c:v>22.377-22.384</c:v>
                </c:pt>
                <c:pt idx="3334">
                  <c:v>22.384-22.391</c:v>
                </c:pt>
                <c:pt idx="3335">
                  <c:v>22.391-22.397</c:v>
                </c:pt>
                <c:pt idx="3336">
                  <c:v>22.397-22.404</c:v>
                </c:pt>
                <c:pt idx="3337">
                  <c:v>22.404-22.411</c:v>
                </c:pt>
                <c:pt idx="3338">
                  <c:v>22.411-22.417</c:v>
                </c:pt>
                <c:pt idx="3339">
                  <c:v>22.417-22.424</c:v>
                </c:pt>
                <c:pt idx="3340">
                  <c:v>22.424-22.431</c:v>
                </c:pt>
                <c:pt idx="3341">
                  <c:v>22.431-22.437</c:v>
                </c:pt>
                <c:pt idx="3342">
                  <c:v>22.437-22.444</c:v>
                </c:pt>
                <c:pt idx="3343">
                  <c:v>22.444-22.451</c:v>
                </c:pt>
                <c:pt idx="3344">
                  <c:v>22.451-22.458</c:v>
                </c:pt>
                <c:pt idx="3345">
                  <c:v>22.458-22.464</c:v>
                </c:pt>
                <c:pt idx="3346">
                  <c:v>22.464-22.471</c:v>
                </c:pt>
                <c:pt idx="3347">
                  <c:v>22.471-22.478</c:v>
                </c:pt>
                <c:pt idx="3348">
                  <c:v>22.478-22.484</c:v>
                </c:pt>
                <c:pt idx="3349">
                  <c:v>22.484-22.491</c:v>
                </c:pt>
                <c:pt idx="3350">
                  <c:v>22.491-22.498</c:v>
                </c:pt>
                <c:pt idx="3351">
                  <c:v>22.498-22.505</c:v>
                </c:pt>
                <c:pt idx="3352">
                  <c:v>22.505-22.511</c:v>
                </c:pt>
                <c:pt idx="3353">
                  <c:v>22.511-22.518</c:v>
                </c:pt>
                <c:pt idx="3354">
                  <c:v>22.518-22.525</c:v>
                </c:pt>
                <c:pt idx="3355">
                  <c:v>22.525-22.531</c:v>
                </c:pt>
                <c:pt idx="3356">
                  <c:v>22.531-22.538</c:v>
                </c:pt>
                <c:pt idx="3357">
                  <c:v>22.538-22.545</c:v>
                </c:pt>
                <c:pt idx="3358">
                  <c:v>22.545-22.552</c:v>
                </c:pt>
                <c:pt idx="3359">
                  <c:v>22.552-22.558</c:v>
                </c:pt>
                <c:pt idx="3360">
                  <c:v>22.558-22.565</c:v>
                </c:pt>
                <c:pt idx="3361">
                  <c:v>22.565-22.572</c:v>
                </c:pt>
                <c:pt idx="3362">
                  <c:v>22.572-22.578</c:v>
                </c:pt>
                <c:pt idx="3363">
                  <c:v>22.578-22.585</c:v>
                </c:pt>
                <c:pt idx="3364">
                  <c:v>22.585-22.592</c:v>
                </c:pt>
                <c:pt idx="3365">
                  <c:v>22.592-22.599</c:v>
                </c:pt>
                <c:pt idx="3366">
                  <c:v>22.599-22.605</c:v>
                </c:pt>
                <c:pt idx="3367">
                  <c:v>22.605-22.612</c:v>
                </c:pt>
                <c:pt idx="3368">
                  <c:v>22.612-22.619</c:v>
                </c:pt>
                <c:pt idx="3369">
                  <c:v>22.619-22.625</c:v>
                </c:pt>
                <c:pt idx="3370">
                  <c:v>22.625-22.632</c:v>
                </c:pt>
                <c:pt idx="3371">
                  <c:v>22.632-22.639</c:v>
                </c:pt>
                <c:pt idx="3372">
                  <c:v>22.639-22.646</c:v>
                </c:pt>
                <c:pt idx="3373">
                  <c:v>22.646-22.652</c:v>
                </c:pt>
                <c:pt idx="3374">
                  <c:v>22.652-22.659</c:v>
                </c:pt>
                <c:pt idx="3375">
                  <c:v>22.659-22.666</c:v>
                </c:pt>
                <c:pt idx="3376">
                  <c:v>22.666-22.672</c:v>
                </c:pt>
                <c:pt idx="3377">
                  <c:v>22.672-22.679</c:v>
                </c:pt>
                <c:pt idx="3378">
                  <c:v>22.679-22.686</c:v>
                </c:pt>
                <c:pt idx="3379">
                  <c:v>22.686-22.693</c:v>
                </c:pt>
                <c:pt idx="3380">
                  <c:v>22.693-22.699</c:v>
                </c:pt>
                <c:pt idx="3381">
                  <c:v>22.699-22.706</c:v>
                </c:pt>
                <c:pt idx="3382">
                  <c:v>22.706-22.713</c:v>
                </c:pt>
                <c:pt idx="3383">
                  <c:v>22.713-22.719</c:v>
                </c:pt>
                <c:pt idx="3384">
                  <c:v>22.719-22.726</c:v>
                </c:pt>
                <c:pt idx="3385">
                  <c:v>22.726-22.733</c:v>
                </c:pt>
                <c:pt idx="3386">
                  <c:v>22.733-22.739</c:v>
                </c:pt>
                <c:pt idx="3387">
                  <c:v>22.739-22.746</c:v>
                </c:pt>
                <c:pt idx="3388">
                  <c:v>22.746-22.753</c:v>
                </c:pt>
                <c:pt idx="3389">
                  <c:v>22.753-22.760</c:v>
                </c:pt>
                <c:pt idx="3390">
                  <c:v>22.760-22.766</c:v>
                </c:pt>
                <c:pt idx="3391">
                  <c:v>22.766-22.773</c:v>
                </c:pt>
                <c:pt idx="3392">
                  <c:v>22.773-22.780</c:v>
                </c:pt>
                <c:pt idx="3393">
                  <c:v>22.780-22.786</c:v>
                </c:pt>
                <c:pt idx="3394">
                  <c:v>22.786-22.793</c:v>
                </c:pt>
                <c:pt idx="3395">
                  <c:v>22.793-22.800</c:v>
                </c:pt>
                <c:pt idx="3396">
                  <c:v>22.800-22.807</c:v>
                </c:pt>
                <c:pt idx="3397">
                  <c:v>22.807-22.813</c:v>
                </c:pt>
                <c:pt idx="3398">
                  <c:v>22.813-22.820</c:v>
                </c:pt>
                <c:pt idx="3399">
                  <c:v>22.820-22.827</c:v>
                </c:pt>
                <c:pt idx="3400">
                  <c:v>22.827-22.833</c:v>
                </c:pt>
                <c:pt idx="3401">
                  <c:v>22.833-22.840</c:v>
                </c:pt>
                <c:pt idx="3402">
                  <c:v>22.840-22.847</c:v>
                </c:pt>
                <c:pt idx="3403">
                  <c:v>22.847-22.854</c:v>
                </c:pt>
                <c:pt idx="3404">
                  <c:v>22.854-22.860</c:v>
                </c:pt>
                <c:pt idx="3405">
                  <c:v>22.860-22.867</c:v>
                </c:pt>
                <c:pt idx="3406">
                  <c:v>22.867-22.874</c:v>
                </c:pt>
                <c:pt idx="3407">
                  <c:v>22.874-22.880</c:v>
                </c:pt>
                <c:pt idx="3408">
                  <c:v>22.880-22.887</c:v>
                </c:pt>
                <c:pt idx="3409">
                  <c:v>22.887-22.894</c:v>
                </c:pt>
                <c:pt idx="3410">
                  <c:v>22.894-22.901</c:v>
                </c:pt>
                <c:pt idx="3411">
                  <c:v>22.901-22.907</c:v>
                </c:pt>
                <c:pt idx="3412">
                  <c:v>22.907-22.914</c:v>
                </c:pt>
                <c:pt idx="3413">
                  <c:v>22.914-22.921</c:v>
                </c:pt>
                <c:pt idx="3414">
                  <c:v>22.921-22.927</c:v>
                </c:pt>
                <c:pt idx="3415">
                  <c:v>22.927-22.934</c:v>
                </c:pt>
                <c:pt idx="3416">
                  <c:v>22.934-22.941</c:v>
                </c:pt>
                <c:pt idx="3417">
                  <c:v>22.941-22.948</c:v>
                </c:pt>
                <c:pt idx="3418">
                  <c:v>22.948-22.954</c:v>
                </c:pt>
                <c:pt idx="3419">
                  <c:v>22.954-22.961</c:v>
                </c:pt>
                <c:pt idx="3420">
                  <c:v>22.961-22.968</c:v>
                </c:pt>
                <c:pt idx="3421">
                  <c:v>22.968-22.974</c:v>
                </c:pt>
                <c:pt idx="3422">
                  <c:v>22.974-22.981</c:v>
                </c:pt>
                <c:pt idx="3423">
                  <c:v>22.981-22.988</c:v>
                </c:pt>
                <c:pt idx="3424">
                  <c:v>22.988-22.994</c:v>
                </c:pt>
                <c:pt idx="3425">
                  <c:v>22.994-23.001</c:v>
                </c:pt>
                <c:pt idx="3426">
                  <c:v>23.001-23.008</c:v>
                </c:pt>
                <c:pt idx="3427">
                  <c:v>23.008-23.015</c:v>
                </c:pt>
                <c:pt idx="3428">
                  <c:v>23.015-23.021</c:v>
                </c:pt>
                <c:pt idx="3429">
                  <c:v>23.021-23.028</c:v>
                </c:pt>
                <c:pt idx="3430">
                  <c:v>23.028-23.035</c:v>
                </c:pt>
                <c:pt idx="3431">
                  <c:v>23.035-23.041</c:v>
                </c:pt>
                <c:pt idx="3432">
                  <c:v>23.041-23.048</c:v>
                </c:pt>
                <c:pt idx="3433">
                  <c:v>23.048-23.055</c:v>
                </c:pt>
                <c:pt idx="3434">
                  <c:v>23.055-23.062</c:v>
                </c:pt>
                <c:pt idx="3435">
                  <c:v>23.062-23.068</c:v>
                </c:pt>
                <c:pt idx="3436">
                  <c:v>23.068-23.075</c:v>
                </c:pt>
                <c:pt idx="3437">
                  <c:v>23.075-23.082</c:v>
                </c:pt>
                <c:pt idx="3438">
                  <c:v>23.082-23.088</c:v>
                </c:pt>
                <c:pt idx="3439">
                  <c:v>23.088-23.095</c:v>
                </c:pt>
                <c:pt idx="3440">
                  <c:v>23.095-23.102</c:v>
                </c:pt>
                <c:pt idx="3441">
                  <c:v>23.102-23.109</c:v>
                </c:pt>
                <c:pt idx="3442">
                  <c:v>23.109-23.115</c:v>
                </c:pt>
                <c:pt idx="3443">
                  <c:v>23.115-23.122</c:v>
                </c:pt>
                <c:pt idx="3444">
                  <c:v>23.122-23.129</c:v>
                </c:pt>
                <c:pt idx="3445">
                  <c:v>23.129-23.135</c:v>
                </c:pt>
                <c:pt idx="3446">
                  <c:v>23.135-23.142</c:v>
                </c:pt>
                <c:pt idx="3447">
                  <c:v>23.142-23.149</c:v>
                </c:pt>
                <c:pt idx="3448">
                  <c:v>23.149-23.156</c:v>
                </c:pt>
                <c:pt idx="3449">
                  <c:v>23.156-23.162</c:v>
                </c:pt>
                <c:pt idx="3450">
                  <c:v>23.162-23.169</c:v>
                </c:pt>
                <c:pt idx="3451">
                  <c:v>23.169-23.176</c:v>
                </c:pt>
                <c:pt idx="3452">
                  <c:v>23.176-23.182</c:v>
                </c:pt>
                <c:pt idx="3453">
                  <c:v>23.182-23.189</c:v>
                </c:pt>
                <c:pt idx="3454">
                  <c:v>23.189-23.196</c:v>
                </c:pt>
                <c:pt idx="3455">
                  <c:v>23.196-23.203</c:v>
                </c:pt>
                <c:pt idx="3456">
                  <c:v>23.203-23.209</c:v>
                </c:pt>
                <c:pt idx="3457">
                  <c:v>23.209-23.216</c:v>
                </c:pt>
                <c:pt idx="3458">
                  <c:v>23.216-23.223</c:v>
                </c:pt>
                <c:pt idx="3459">
                  <c:v>23.223-23.229</c:v>
                </c:pt>
                <c:pt idx="3460">
                  <c:v>23.229-23.236</c:v>
                </c:pt>
                <c:pt idx="3461">
                  <c:v>23.236-23.243</c:v>
                </c:pt>
                <c:pt idx="3462">
                  <c:v>23.243-23.250</c:v>
                </c:pt>
                <c:pt idx="3463">
                  <c:v>23.250-23.256</c:v>
                </c:pt>
                <c:pt idx="3464">
                  <c:v>23.256-23.263</c:v>
                </c:pt>
                <c:pt idx="3465">
                  <c:v>23.263-23.270</c:v>
                </c:pt>
                <c:pt idx="3466">
                  <c:v>23.270-23.276</c:v>
                </c:pt>
                <c:pt idx="3467">
                  <c:v>23.276-23.283</c:v>
                </c:pt>
                <c:pt idx="3468">
                  <c:v>23.283-23.290</c:v>
                </c:pt>
                <c:pt idx="3469">
                  <c:v>23.290-23.296</c:v>
                </c:pt>
                <c:pt idx="3470">
                  <c:v>23.296-23.303</c:v>
                </c:pt>
                <c:pt idx="3471">
                  <c:v>23.303-23.310</c:v>
                </c:pt>
                <c:pt idx="3472">
                  <c:v>23.310-23.317</c:v>
                </c:pt>
                <c:pt idx="3473">
                  <c:v>23.317-23.323</c:v>
                </c:pt>
                <c:pt idx="3474">
                  <c:v>23.323-23.330</c:v>
                </c:pt>
                <c:pt idx="3475">
                  <c:v>23.330-23.337</c:v>
                </c:pt>
                <c:pt idx="3476">
                  <c:v>23.337-23.343</c:v>
                </c:pt>
                <c:pt idx="3477">
                  <c:v>23.343-23.350</c:v>
                </c:pt>
                <c:pt idx="3478">
                  <c:v>23.350-23.357</c:v>
                </c:pt>
                <c:pt idx="3479">
                  <c:v>23.357-23.364</c:v>
                </c:pt>
                <c:pt idx="3480">
                  <c:v>23.364-23.370</c:v>
                </c:pt>
                <c:pt idx="3481">
                  <c:v>23.370-23.377</c:v>
                </c:pt>
                <c:pt idx="3482">
                  <c:v>23.377-23.384</c:v>
                </c:pt>
                <c:pt idx="3483">
                  <c:v>23.384-23.390</c:v>
                </c:pt>
                <c:pt idx="3484">
                  <c:v>23.390-23.397</c:v>
                </c:pt>
                <c:pt idx="3485">
                  <c:v>23.397-23.404</c:v>
                </c:pt>
                <c:pt idx="3486">
                  <c:v>23.404-23.411</c:v>
                </c:pt>
                <c:pt idx="3487">
                  <c:v>23.411-23.417</c:v>
                </c:pt>
                <c:pt idx="3488">
                  <c:v>23.417-23.424</c:v>
                </c:pt>
                <c:pt idx="3489">
                  <c:v>23.424-23.431</c:v>
                </c:pt>
                <c:pt idx="3490">
                  <c:v>23.431-23.437</c:v>
                </c:pt>
                <c:pt idx="3491">
                  <c:v>23.437-23.444</c:v>
                </c:pt>
                <c:pt idx="3492">
                  <c:v>23.444-23.451</c:v>
                </c:pt>
                <c:pt idx="3493">
                  <c:v>23.451-23.458</c:v>
                </c:pt>
                <c:pt idx="3494">
                  <c:v>23.458-23.464</c:v>
                </c:pt>
                <c:pt idx="3495">
                  <c:v>23.464-23.471</c:v>
                </c:pt>
                <c:pt idx="3496">
                  <c:v>23.471-23.478</c:v>
                </c:pt>
                <c:pt idx="3497">
                  <c:v>23.478-23.484</c:v>
                </c:pt>
                <c:pt idx="3498">
                  <c:v>23.484-23.491</c:v>
                </c:pt>
                <c:pt idx="3499">
                  <c:v>23.491-23.498</c:v>
                </c:pt>
                <c:pt idx="3500">
                  <c:v>23.498-23.505</c:v>
                </c:pt>
                <c:pt idx="3501">
                  <c:v>23.505-23.511</c:v>
                </c:pt>
                <c:pt idx="3502">
                  <c:v>23.511-23.518</c:v>
                </c:pt>
                <c:pt idx="3503">
                  <c:v>23.518-23.525</c:v>
                </c:pt>
                <c:pt idx="3504">
                  <c:v>23.525-23.531</c:v>
                </c:pt>
                <c:pt idx="3505">
                  <c:v>23.531-23.538</c:v>
                </c:pt>
                <c:pt idx="3506">
                  <c:v>23.538-23.545</c:v>
                </c:pt>
                <c:pt idx="3507">
                  <c:v>23.545-23.551</c:v>
                </c:pt>
                <c:pt idx="3508">
                  <c:v>23.551-23.558</c:v>
                </c:pt>
                <c:pt idx="3509">
                  <c:v>23.558-23.565</c:v>
                </c:pt>
                <c:pt idx="3510">
                  <c:v>23.565-23.572</c:v>
                </c:pt>
                <c:pt idx="3511">
                  <c:v>23.572-23.578</c:v>
                </c:pt>
                <c:pt idx="3512">
                  <c:v>23.578-23.585</c:v>
                </c:pt>
                <c:pt idx="3513">
                  <c:v>23.585-23.592</c:v>
                </c:pt>
                <c:pt idx="3514">
                  <c:v>23.592-23.598</c:v>
                </c:pt>
                <c:pt idx="3515">
                  <c:v>23.598-23.605</c:v>
                </c:pt>
                <c:pt idx="3516">
                  <c:v>23.605-23.612</c:v>
                </c:pt>
                <c:pt idx="3517">
                  <c:v>23.612-23.619</c:v>
                </c:pt>
                <c:pt idx="3518">
                  <c:v>23.619-23.625</c:v>
                </c:pt>
                <c:pt idx="3519">
                  <c:v>23.625-23.632</c:v>
                </c:pt>
                <c:pt idx="3520">
                  <c:v>23.632-23.639</c:v>
                </c:pt>
                <c:pt idx="3521">
                  <c:v>23.639-23.645</c:v>
                </c:pt>
                <c:pt idx="3522">
                  <c:v>23.645-23.652</c:v>
                </c:pt>
                <c:pt idx="3523">
                  <c:v>23.652-23.659</c:v>
                </c:pt>
                <c:pt idx="3524">
                  <c:v>23.659-23.666</c:v>
                </c:pt>
                <c:pt idx="3525">
                  <c:v>23.666-23.672</c:v>
                </c:pt>
                <c:pt idx="3526">
                  <c:v>23.672-23.679</c:v>
                </c:pt>
                <c:pt idx="3527">
                  <c:v>23.679-23.686</c:v>
                </c:pt>
                <c:pt idx="3528">
                  <c:v>23.686-23.692</c:v>
                </c:pt>
                <c:pt idx="3529">
                  <c:v>23.692-23.699</c:v>
                </c:pt>
                <c:pt idx="3530">
                  <c:v>23.699-23.706</c:v>
                </c:pt>
                <c:pt idx="3531">
                  <c:v>23.706-23.713</c:v>
                </c:pt>
                <c:pt idx="3532">
                  <c:v>23.713-23.719</c:v>
                </c:pt>
                <c:pt idx="3533">
                  <c:v>23.719-23.726</c:v>
                </c:pt>
                <c:pt idx="3534">
                  <c:v>23.726-23.733</c:v>
                </c:pt>
                <c:pt idx="3535">
                  <c:v>23.733-23.739</c:v>
                </c:pt>
                <c:pt idx="3536">
                  <c:v>23.739-23.746</c:v>
                </c:pt>
                <c:pt idx="3537">
                  <c:v>23.746-23.753</c:v>
                </c:pt>
                <c:pt idx="3538">
                  <c:v>23.753-23.760</c:v>
                </c:pt>
                <c:pt idx="3539">
                  <c:v>23.760-23.766</c:v>
                </c:pt>
                <c:pt idx="3540">
                  <c:v>23.766-23.773</c:v>
                </c:pt>
                <c:pt idx="3541">
                  <c:v>23.773-23.780</c:v>
                </c:pt>
                <c:pt idx="3542">
                  <c:v>23.780-23.786</c:v>
                </c:pt>
                <c:pt idx="3543">
                  <c:v>23.786-23.793</c:v>
                </c:pt>
                <c:pt idx="3544">
                  <c:v>23.793-23.800</c:v>
                </c:pt>
                <c:pt idx="3545">
                  <c:v>23.800-23.806</c:v>
                </c:pt>
                <c:pt idx="3546">
                  <c:v>23.806-23.813</c:v>
                </c:pt>
                <c:pt idx="3547">
                  <c:v>23.813-23.820</c:v>
                </c:pt>
                <c:pt idx="3548">
                  <c:v>23.820-23.827</c:v>
                </c:pt>
                <c:pt idx="3549">
                  <c:v>23.827-23.833</c:v>
                </c:pt>
                <c:pt idx="3550">
                  <c:v>23.833-23.840</c:v>
                </c:pt>
                <c:pt idx="3551">
                  <c:v>23.840-23.847</c:v>
                </c:pt>
                <c:pt idx="3552">
                  <c:v>23.847-23.853</c:v>
                </c:pt>
                <c:pt idx="3553">
                  <c:v>23.853-23.860</c:v>
                </c:pt>
                <c:pt idx="3554">
                  <c:v>23.860-23.867</c:v>
                </c:pt>
                <c:pt idx="3555">
                  <c:v>23.867-23.874</c:v>
                </c:pt>
                <c:pt idx="3556">
                  <c:v>23.874-23.880</c:v>
                </c:pt>
                <c:pt idx="3557">
                  <c:v>23.880-23.887</c:v>
                </c:pt>
                <c:pt idx="3558">
                  <c:v>23.887-23.894</c:v>
                </c:pt>
                <c:pt idx="3559">
                  <c:v>23.894-23.900</c:v>
                </c:pt>
                <c:pt idx="3560">
                  <c:v>23.900-23.907</c:v>
                </c:pt>
                <c:pt idx="3561">
                  <c:v>23.907-23.914</c:v>
                </c:pt>
                <c:pt idx="3562">
                  <c:v>23.914-23.921</c:v>
                </c:pt>
                <c:pt idx="3563">
                  <c:v>23.921-23.927</c:v>
                </c:pt>
                <c:pt idx="3564">
                  <c:v>23.927-23.934</c:v>
                </c:pt>
                <c:pt idx="3565">
                  <c:v>23.934-23.941</c:v>
                </c:pt>
                <c:pt idx="3566">
                  <c:v>23.941-23.947</c:v>
                </c:pt>
                <c:pt idx="3567">
                  <c:v>23.947-23.954</c:v>
                </c:pt>
                <c:pt idx="3568">
                  <c:v>23.954-23.961</c:v>
                </c:pt>
                <c:pt idx="3569">
                  <c:v>23.961-23.968</c:v>
                </c:pt>
                <c:pt idx="3570">
                  <c:v>23.968-23.974</c:v>
                </c:pt>
                <c:pt idx="3571">
                  <c:v>23.974-23.981</c:v>
                </c:pt>
                <c:pt idx="3572">
                  <c:v>23.981-23.988</c:v>
                </c:pt>
                <c:pt idx="3573">
                  <c:v>23.988-23.994</c:v>
                </c:pt>
                <c:pt idx="3574">
                  <c:v>23.994-24.001</c:v>
                </c:pt>
                <c:pt idx="3575">
                  <c:v>24.001-24.008</c:v>
                </c:pt>
                <c:pt idx="3576">
                  <c:v>24.008-24.015</c:v>
                </c:pt>
                <c:pt idx="3577">
                  <c:v>24.015-24.021</c:v>
                </c:pt>
                <c:pt idx="3578">
                  <c:v>24.021-24.028</c:v>
                </c:pt>
                <c:pt idx="3579">
                  <c:v>24.028-24.035</c:v>
                </c:pt>
                <c:pt idx="3580">
                  <c:v>24.035-24.041</c:v>
                </c:pt>
                <c:pt idx="3581">
                  <c:v>24.041-24.048</c:v>
                </c:pt>
                <c:pt idx="3582">
                  <c:v>24.048-24.055</c:v>
                </c:pt>
                <c:pt idx="3583">
                  <c:v>24.055-24.062</c:v>
                </c:pt>
                <c:pt idx="3584">
                  <c:v>24.062-24.068</c:v>
                </c:pt>
                <c:pt idx="3585">
                  <c:v>24.068-24.075</c:v>
                </c:pt>
                <c:pt idx="3586">
                  <c:v>24.075-24.082</c:v>
                </c:pt>
                <c:pt idx="3587">
                  <c:v>24.082-24.088</c:v>
                </c:pt>
                <c:pt idx="3588">
                  <c:v>24.088-24.095</c:v>
                </c:pt>
                <c:pt idx="3589">
                  <c:v>24.095-24.102</c:v>
                </c:pt>
                <c:pt idx="3590">
                  <c:v>24.102-24.108</c:v>
                </c:pt>
                <c:pt idx="3591">
                  <c:v>24.108-24.115</c:v>
                </c:pt>
                <c:pt idx="3592">
                  <c:v>24.115-24.122</c:v>
                </c:pt>
                <c:pt idx="3593">
                  <c:v>24.122-24.129</c:v>
                </c:pt>
                <c:pt idx="3594">
                  <c:v>24.129-24.135</c:v>
                </c:pt>
                <c:pt idx="3595">
                  <c:v>24.135-24.142</c:v>
                </c:pt>
                <c:pt idx="3596">
                  <c:v>24.142-24.149</c:v>
                </c:pt>
                <c:pt idx="3597">
                  <c:v>24.149-24.155</c:v>
                </c:pt>
                <c:pt idx="3598">
                  <c:v>24.155-24.162</c:v>
                </c:pt>
                <c:pt idx="3599">
                  <c:v>24.162-24.169</c:v>
                </c:pt>
                <c:pt idx="3600">
                  <c:v>24.169-24.176</c:v>
                </c:pt>
                <c:pt idx="3601">
                  <c:v>24.176-24.182</c:v>
                </c:pt>
                <c:pt idx="3602">
                  <c:v>24.182-24.189</c:v>
                </c:pt>
                <c:pt idx="3603">
                  <c:v>24.189-24.196</c:v>
                </c:pt>
                <c:pt idx="3604">
                  <c:v>24.196-24.202</c:v>
                </c:pt>
                <c:pt idx="3605">
                  <c:v>24.202-24.209</c:v>
                </c:pt>
                <c:pt idx="3606">
                  <c:v>24.209-24.216</c:v>
                </c:pt>
                <c:pt idx="3607">
                  <c:v>24.216-24.223</c:v>
                </c:pt>
                <c:pt idx="3608">
                  <c:v>24.223-24.229</c:v>
                </c:pt>
                <c:pt idx="3609">
                  <c:v>24.229-24.236</c:v>
                </c:pt>
                <c:pt idx="3610">
                  <c:v>24.236-24.243</c:v>
                </c:pt>
                <c:pt idx="3611">
                  <c:v>24.243-24.249</c:v>
                </c:pt>
                <c:pt idx="3612">
                  <c:v>24.249-24.256</c:v>
                </c:pt>
                <c:pt idx="3613">
                  <c:v>24.256-24.263</c:v>
                </c:pt>
                <c:pt idx="3614">
                  <c:v>24.263-24.270</c:v>
                </c:pt>
                <c:pt idx="3615">
                  <c:v>24.270-24.276</c:v>
                </c:pt>
                <c:pt idx="3616">
                  <c:v>24.276-24.283</c:v>
                </c:pt>
                <c:pt idx="3617">
                  <c:v>24.283-24.290</c:v>
                </c:pt>
                <c:pt idx="3618">
                  <c:v>24.290-24.296</c:v>
                </c:pt>
                <c:pt idx="3619">
                  <c:v>24.296-24.303</c:v>
                </c:pt>
                <c:pt idx="3620">
                  <c:v>24.303-24.310</c:v>
                </c:pt>
                <c:pt idx="3621">
                  <c:v>24.310-24.317</c:v>
                </c:pt>
                <c:pt idx="3622">
                  <c:v>24.317-24.323</c:v>
                </c:pt>
                <c:pt idx="3623">
                  <c:v>24.323-24.330</c:v>
                </c:pt>
                <c:pt idx="3624">
                  <c:v>24.330-24.337</c:v>
                </c:pt>
                <c:pt idx="3625">
                  <c:v>24.337-24.343</c:v>
                </c:pt>
                <c:pt idx="3626">
                  <c:v>24.343-24.350</c:v>
                </c:pt>
                <c:pt idx="3627">
                  <c:v>24.350-24.357</c:v>
                </c:pt>
                <c:pt idx="3628">
                  <c:v>24.357-24.363</c:v>
                </c:pt>
                <c:pt idx="3629">
                  <c:v>24.363-24.370</c:v>
                </c:pt>
                <c:pt idx="3630">
                  <c:v>24.370-24.377</c:v>
                </c:pt>
                <c:pt idx="3631">
                  <c:v>24.377-24.384</c:v>
                </c:pt>
                <c:pt idx="3632">
                  <c:v>24.384-24.390</c:v>
                </c:pt>
                <c:pt idx="3633">
                  <c:v>24.390-24.397</c:v>
                </c:pt>
                <c:pt idx="3634">
                  <c:v>24.397-24.404</c:v>
                </c:pt>
                <c:pt idx="3635">
                  <c:v>24.404-24.410</c:v>
                </c:pt>
                <c:pt idx="3636">
                  <c:v>24.410-24.417</c:v>
                </c:pt>
                <c:pt idx="3637">
                  <c:v>24.417-24.424</c:v>
                </c:pt>
                <c:pt idx="3638">
                  <c:v>24.424-24.431</c:v>
                </c:pt>
                <c:pt idx="3639">
                  <c:v>24.431-24.437</c:v>
                </c:pt>
                <c:pt idx="3640">
                  <c:v>24.437-24.444</c:v>
                </c:pt>
                <c:pt idx="3641">
                  <c:v>24.444-24.451</c:v>
                </c:pt>
                <c:pt idx="3642">
                  <c:v>24.451-24.457</c:v>
                </c:pt>
                <c:pt idx="3643">
                  <c:v>24.457-24.464</c:v>
                </c:pt>
                <c:pt idx="3644">
                  <c:v>24.464-24.471</c:v>
                </c:pt>
                <c:pt idx="3645">
                  <c:v>24.471-24.478</c:v>
                </c:pt>
                <c:pt idx="3646">
                  <c:v>24.478-24.484</c:v>
                </c:pt>
                <c:pt idx="3647">
                  <c:v>24.484-24.491</c:v>
                </c:pt>
                <c:pt idx="3648">
                  <c:v>24.491-24.498</c:v>
                </c:pt>
                <c:pt idx="3649">
                  <c:v>24.498-24.504</c:v>
                </c:pt>
                <c:pt idx="3650">
                  <c:v>24.504-24.511</c:v>
                </c:pt>
                <c:pt idx="3651">
                  <c:v>24.511-24.518</c:v>
                </c:pt>
                <c:pt idx="3652">
                  <c:v>24.518-24.525</c:v>
                </c:pt>
                <c:pt idx="3653">
                  <c:v>24.525-24.531</c:v>
                </c:pt>
                <c:pt idx="3654">
                  <c:v>24.531-24.538</c:v>
                </c:pt>
                <c:pt idx="3655">
                  <c:v>24.538-24.545</c:v>
                </c:pt>
                <c:pt idx="3656">
                  <c:v>24.545-24.551</c:v>
                </c:pt>
                <c:pt idx="3657">
                  <c:v>24.551-24.558</c:v>
                </c:pt>
                <c:pt idx="3658">
                  <c:v>24.558-24.565</c:v>
                </c:pt>
                <c:pt idx="3659">
                  <c:v>24.565-24.572</c:v>
                </c:pt>
                <c:pt idx="3660">
                  <c:v>24.572-24.578</c:v>
                </c:pt>
                <c:pt idx="3661">
                  <c:v>24.578-24.585</c:v>
                </c:pt>
                <c:pt idx="3662">
                  <c:v>24.585-24.592</c:v>
                </c:pt>
                <c:pt idx="3663">
                  <c:v>24.592-24.598</c:v>
                </c:pt>
                <c:pt idx="3664">
                  <c:v>24.598-24.605</c:v>
                </c:pt>
                <c:pt idx="3665">
                  <c:v>24.605-24.612</c:v>
                </c:pt>
                <c:pt idx="3666">
                  <c:v>24.612-24.619</c:v>
                </c:pt>
                <c:pt idx="3667">
                  <c:v>24.619-24.625</c:v>
                </c:pt>
                <c:pt idx="3668">
                  <c:v>24.625-24.632</c:v>
                </c:pt>
                <c:pt idx="3669">
                  <c:v>24.632-24.639</c:v>
                </c:pt>
                <c:pt idx="3670">
                  <c:v>24.639-24.645</c:v>
                </c:pt>
                <c:pt idx="3671">
                  <c:v>24.645-24.652</c:v>
                </c:pt>
                <c:pt idx="3672">
                  <c:v>24.652-24.659</c:v>
                </c:pt>
                <c:pt idx="3673">
                  <c:v>24.659-24.665</c:v>
                </c:pt>
                <c:pt idx="3674">
                  <c:v>24.665-24.672</c:v>
                </c:pt>
                <c:pt idx="3675">
                  <c:v>24.672-24.679</c:v>
                </c:pt>
                <c:pt idx="3676">
                  <c:v>24.679-24.686</c:v>
                </c:pt>
                <c:pt idx="3677">
                  <c:v>24.686-24.692</c:v>
                </c:pt>
                <c:pt idx="3678">
                  <c:v>24.692-24.699</c:v>
                </c:pt>
                <c:pt idx="3679">
                  <c:v>24.699-24.706</c:v>
                </c:pt>
                <c:pt idx="3680">
                  <c:v>24.706-24.712</c:v>
                </c:pt>
                <c:pt idx="3681">
                  <c:v>24.712-24.719</c:v>
                </c:pt>
                <c:pt idx="3682">
                  <c:v>24.719-24.726</c:v>
                </c:pt>
                <c:pt idx="3683">
                  <c:v>24.726-24.733</c:v>
                </c:pt>
                <c:pt idx="3684">
                  <c:v>24.733-24.739</c:v>
                </c:pt>
                <c:pt idx="3685">
                  <c:v>24.739-24.746</c:v>
                </c:pt>
                <c:pt idx="3686">
                  <c:v>24.746-24.753</c:v>
                </c:pt>
                <c:pt idx="3687">
                  <c:v>24.753-24.759</c:v>
                </c:pt>
                <c:pt idx="3688">
                  <c:v>24.759-24.766</c:v>
                </c:pt>
                <c:pt idx="3689">
                  <c:v>24.766-24.773</c:v>
                </c:pt>
                <c:pt idx="3690">
                  <c:v>24.773-24.780</c:v>
                </c:pt>
                <c:pt idx="3691">
                  <c:v>24.780-24.786</c:v>
                </c:pt>
                <c:pt idx="3692">
                  <c:v>24.786-24.793</c:v>
                </c:pt>
                <c:pt idx="3693">
                  <c:v>24.793-24.800</c:v>
                </c:pt>
                <c:pt idx="3694">
                  <c:v>24.800-24.806</c:v>
                </c:pt>
                <c:pt idx="3695">
                  <c:v>24.806-24.813</c:v>
                </c:pt>
                <c:pt idx="3696">
                  <c:v>24.813-24.820</c:v>
                </c:pt>
                <c:pt idx="3697">
                  <c:v>24.820-24.827</c:v>
                </c:pt>
                <c:pt idx="3698">
                  <c:v>24.827-24.833</c:v>
                </c:pt>
                <c:pt idx="3699">
                  <c:v>24.833-24.840</c:v>
                </c:pt>
                <c:pt idx="3700">
                  <c:v>24.840-24.847</c:v>
                </c:pt>
                <c:pt idx="3701">
                  <c:v>24.847-24.853</c:v>
                </c:pt>
                <c:pt idx="3702">
                  <c:v>24.853-24.860</c:v>
                </c:pt>
                <c:pt idx="3703">
                  <c:v>24.860-24.867</c:v>
                </c:pt>
                <c:pt idx="3704">
                  <c:v>24.867-24.874</c:v>
                </c:pt>
                <c:pt idx="3705">
                  <c:v>24.874-24.880</c:v>
                </c:pt>
                <c:pt idx="3706">
                  <c:v>24.880-24.887</c:v>
                </c:pt>
                <c:pt idx="3707">
                  <c:v>24.887-24.894</c:v>
                </c:pt>
                <c:pt idx="3708">
                  <c:v>24.894-24.900</c:v>
                </c:pt>
                <c:pt idx="3709">
                  <c:v>24.900-24.907</c:v>
                </c:pt>
                <c:pt idx="3710">
                  <c:v>24.907-24.914</c:v>
                </c:pt>
                <c:pt idx="3711">
                  <c:v>24.914-24.920</c:v>
                </c:pt>
                <c:pt idx="3712">
                  <c:v>24.920-24.927</c:v>
                </c:pt>
                <c:pt idx="3713">
                  <c:v>24.927-24.934</c:v>
                </c:pt>
                <c:pt idx="3714">
                  <c:v>24.934-24.941</c:v>
                </c:pt>
                <c:pt idx="3715">
                  <c:v>24.941-24.947</c:v>
                </c:pt>
                <c:pt idx="3716">
                  <c:v>24.947-24.954</c:v>
                </c:pt>
                <c:pt idx="3717">
                  <c:v>24.954-24.961</c:v>
                </c:pt>
                <c:pt idx="3718">
                  <c:v>24.961-24.967</c:v>
                </c:pt>
                <c:pt idx="3719">
                  <c:v>24.967-24.974</c:v>
                </c:pt>
                <c:pt idx="3720">
                  <c:v>24.974-24.981</c:v>
                </c:pt>
                <c:pt idx="3721">
                  <c:v>24.981-24.988</c:v>
                </c:pt>
                <c:pt idx="3722">
                  <c:v>24.988-24.994</c:v>
                </c:pt>
                <c:pt idx="3723">
                  <c:v>24.994-25.001</c:v>
                </c:pt>
                <c:pt idx="3724">
                  <c:v>25.001-25.008</c:v>
                </c:pt>
                <c:pt idx="3725">
                  <c:v>25.008-25.014</c:v>
                </c:pt>
                <c:pt idx="3726">
                  <c:v>25.014-25.021</c:v>
                </c:pt>
                <c:pt idx="3727">
                  <c:v>25.021-25.028</c:v>
                </c:pt>
                <c:pt idx="3728">
                  <c:v>25.028-25.035</c:v>
                </c:pt>
                <c:pt idx="3729">
                  <c:v>25.035-25.041</c:v>
                </c:pt>
                <c:pt idx="3730">
                  <c:v>25.041-25.048</c:v>
                </c:pt>
                <c:pt idx="3731">
                  <c:v>25.048-25.055</c:v>
                </c:pt>
                <c:pt idx="3732">
                  <c:v>25.055-25.061</c:v>
                </c:pt>
                <c:pt idx="3733">
                  <c:v>25.061-25.068</c:v>
                </c:pt>
                <c:pt idx="3734">
                  <c:v>25.068-25.075</c:v>
                </c:pt>
                <c:pt idx="3735">
                  <c:v>25.075-25.082</c:v>
                </c:pt>
                <c:pt idx="3736">
                  <c:v>25.082-25.088</c:v>
                </c:pt>
                <c:pt idx="3737">
                  <c:v>25.088-25.095</c:v>
                </c:pt>
                <c:pt idx="3738">
                  <c:v>25.095-25.102</c:v>
                </c:pt>
                <c:pt idx="3739">
                  <c:v>25.102-25.108</c:v>
                </c:pt>
                <c:pt idx="3740">
                  <c:v>25.108-25.115</c:v>
                </c:pt>
                <c:pt idx="3741">
                  <c:v>25.115-25.122</c:v>
                </c:pt>
                <c:pt idx="3742">
                  <c:v>25.122-25.129</c:v>
                </c:pt>
                <c:pt idx="3743">
                  <c:v>25.129-25.135</c:v>
                </c:pt>
                <c:pt idx="3744">
                  <c:v>25.135-25.142</c:v>
                </c:pt>
                <c:pt idx="3745">
                  <c:v>25.142-25.149</c:v>
                </c:pt>
                <c:pt idx="3746">
                  <c:v>25.149-25.155</c:v>
                </c:pt>
                <c:pt idx="3747">
                  <c:v>25.155-25.162</c:v>
                </c:pt>
                <c:pt idx="3748">
                  <c:v>25.162-25.169</c:v>
                </c:pt>
                <c:pt idx="3749">
                  <c:v>25.169-25.176</c:v>
                </c:pt>
                <c:pt idx="3750">
                  <c:v>25.176-25.182</c:v>
                </c:pt>
                <c:pt idx="3751">
                  <c:v>25.182-25.189</c:v>
                </c:pt>
                <c:pt idx="3752">
                  <c:v>25.189-25.196</c:v>
                </c:pt>
                <c:pt idx="3753">
                  <c:v>25.196-25.202</c:v>
                </c:pt>
                <c:pt idx="3754">
                  <c:v>25.202-25.209</c:v>
                </c:pt>
                <c:pt idx="3755">
                  <c:v>25.209-25.216</c:v>
                </c:pt>
                <c:pt idx="3756">
                  <c:v>25.216-25.222</c:v>
                </c:pt>
                <c:pt idx="3757">
                  <c:v>25.222-25.229</c:v>
                </c:pt>
                <c:pt idx="3758">
                  <c:v>25.229-25.236</c:v>
                </c:pt>
                <c:pt idx="3759">
                  <c:v>25.236-25.243</c:v>
                </c:pt>
                <c:pt idx="3760">
                  <c:v>25.243-25.249</c:v>
                </c:pt>
                <c:pt idx="3761">
                  <c:v>25.249-25.256</c:v>
                </c:pt>
                <c:pt idx="3762">
                  <c:v>25.256-25.263</c:v>
                </c:pt>
                <c:pt idx="3763">
                  <c:v>25.263-25.269</c:v>
                </c:pt>
                <c:pt idx="3764">
                  <c:v>25.269-25.276</c:v>
                </c:pt>
                <c:pt idx="3765">
                  <c:v>25.276-25.283</c:v>
                </c:pt>
                <c:pt idx="3766">
                  <c:v>25.283-25.290</c:v>
                </c:pt>
                <c:pt idx="3767">
                  <c:v>25.290-25.296</c:v>
                </c:pt>
                <c:pt idx="3768">
                  <c:v>25.296-25.303</c:v>
                </c:pt>
                <c:pt idx="3769">
                  <c:v>25.303-25.310</c:v>
                </c:pt>
                <c:pt idx="3770">
                  <c:v>25.310-25.316</c:v>
                </c:pt>
                <c:pt idx="3771">
                  <c:v>25.316-25.323</c:v>
                </c:pt>
                <c:pt idx="3772">
                  <c:v>25.323-25.330</c:v>
                </c:pt>
                <c:pt idx="3773">
                  <c:v>25.330-25.337</c:v>
                </c:pt>
                <c:pt idx="3774">
                  <c:v>25.337-25.343</c:v>
                </c:pt>
                <c:pt idx="3775">
                  <c:v>25.343-25.350</c:v>
                </c:pt>
                <c:pt idx="3776">
                  <c:v>25.350-25.357</c:v>
                </c:pt>
                <c:pt idx="3777">
                  <c:v>25.357-25.363</c:v>
                </c:pt>
                <c:pt idx="3778">
                  <c:v>25.363-25.370</c:v>
                </c:pt>
                <c:pt idx="3779">
                  <c:v>25.370-25.377</c:v>
                </c:pt>
                <c:pt idx="3780">
                  <c:v>25.377-25.384</c:v>
                </c:pt>
                <c:pt idx="3781">
                  <c:v>25.384-25.390</c:v>
                </c:pt>
                <c:pt idx="3782">
                  <c:v>25.390-25.397</c:v>
                </c:pt>
                <c:pt idx="3783">
                  <c:v>25.397-25.404</c:v>
                </c:pt>
                <c:pt idx="3784">
                  <c:v>25.404-25.410</c:v>
                </c:pt>
                <c:pt idx="3785">
                  <c:v>25.410-25.417</c:v>
                </c:pt>
                <c:pt idx="3786">
                  <c:v>25.417-25.424</c:v>
                </c:pt>
                <c:pt idx="3787">
                  <c:v>25.424-25.431</c:v>
                </c:pt>
                <c:pt idx="3788">
                  <c:v>25.431-25.437</c:v>
                </c:pt>
                <c:pt idx="3789">
                  <c:v>25.437-25.444</c:v>
                </c:pt>
                <c:pt idx="3790">
                  <c:v>25.444-25.451</c:v>
                </c:pt>
                <c:pt idx="3791">
                  <c:v>25.451-25.457</c:v>
                </c:pt>
                <c:pt idx="3792">
                  <c:v>25.457-25.464</c:v>
                </c:pt>
                <c:pt idx="3793">
                  <c:v>25.464-25.471</c:v>
                </c:pt>
                <c:pt idx="3794">
                  <c:v>25.471-25.477</c:v>
                </c:pt>
                <c:pt idx="3795">
                  <c:v>25.477-25.484</c:v>
                </c:pt>
                <c:pt idx="3796">
                  <c:v>25.484-25.491</c:v>
                </c:pt>
                <c:pt idx="3797">
                  <c:v>25.491-25.498</c:v>
                </c:pt>
                <c:pt idx="3798">
                  <c:v>25.498-25.504</c:v>
                </c:pt>
                <c:pt idx="3799">
                  <c:v>25.504-25.511</c:v>
                </c:pt>
                <c:pt idx="3800">
                  <c:v>25.511-25.518</c:v>
                </c:pt>
                <c:pt idx="3801">
                  <c:v>25.518-25.524</c:v>
                </c:pt>
                <c:pt idx="3802">
                  <c:v>25.524-25.531</c:v>
                </c:pt>
                <c:pt idx="3803">
                  <c:v>25.531-25.538</c:v>
                </c:pt>
                <c:pt idx="3804">
                  <c:v>25.538-25.545</c:v>
                </c:pt>
                <c:pt idx="3805">
                  <c:v>25.545-25.551</c:v>
                </c:pt>
                <c:pt idx="3806">
                  <c:v>25.551-25.558</c:v>
                </c:pt>
                <c:pt idx="3807">
                  <c:v>25.558-25.565</c:v>
                </c:pt>
                <c:pt idx="3808">
                  <c:v>25.565-25.571</c:v>
                </c:pt>
                <c:pt idx="3809">
                  <c:v>25.571-25.578</c:v>
                </c:pt>
                <c:pt idx="3810">
                  <c:v>25.578-25.585</c:v>
                </c:pt>
                <c:pt idx="3811">
                  <c:v>25.585-25.592</c:v>
                </c:pt>
                <c:pt idx="3812">
                  <c:v>25.592-25.598</c:v>
                </c:pt>
                <c:pt idx="3813">
                  <c:v>25.598-25.605</c:v>
                </c:pt>
                <c:pt idx="3814">
                  <c:v>25.605-25.612</c:v>
                </c:pt>
                <c:pt idx="3815">
                  <c:v>25.612-25.618</c:v>
                </c:pt>
                <c:pt idx="3816">
                  <c:v>25.618-25.625</c:v>
                </c:pt>
                <c:pt idx="3817">
                  <c:v>25.625-25.632</c:v>
                </c:pt>
                <c:pt idx="3818">
                  <c:v>25.632-25.639</c:v>
                </c:pt>
                <c:pt idx="3819">
                  <c:v>25.639-25.645</c:v>
                </c:pt>
                <c:pt idx="3820">
                  <c:v>25.645-25.652</c:v>
                </c:pt>
                <c:pt idx="3821">
                  <c:v>25.652-25.659</c:v>
                </c:pt>
                <c:pt idx="3822">
                  <c:v>25.659-25.665</c:v>
                </c:pt>
                <c:pt idx="3823">
                  <c:v>25.665-25.672</c:v>
                </c:pt>
                <c:pt idx="3824">
                  <c:v>25.672-25.679</c:v>
                </c:pt>
                <c:pt idx="3825">
                  <c:v>25.679-25.686</c:v>
                </c:pt>
                <c:pt idx="3826">
                  <c:v>25.686-25.692</c:v>
                </c:pt>
                <c:pt idx="3827">
                  <c:v>25.692-25.699</c:v>
                </c:pt>
                <c:pt idx="3828">
                  <c:v>25.699-25.706</c:v>
                </c:pt>
                <c:pt idx="3829">
                  <c:v>25.706-25.712</c:v>
                </c:pt>
                <c:pt idx="3830">
                  <c:v>25.712-25.719</c:v>
                </c:pt>
                <c:pt idx="3831">
                  <c:v>25.719-25.726</c:v>
                </c:pt>
                <c:pt idx="3832">
                  <c:v>25.726-25.732</c:v>
                </c:pt>
                <c:pt idx="3833">
                  <c:v>25.732-25.739</c:v>
                </c:pt>
                <c:pt idx="3834">
                  <c:v>25.739-25.746</c:v>
                </c:pt>
                <c:pt idx="3835">
                  <c:v>25.746-25.753</c:v>
                </c:pt>
                <c:pt idx="3836">
                  <c:v>25.753-25.759</c:v>
                </c:pt>
                <c:pt idx="3837">
                  <c:v>25.759-25.766</c:v>
                </c:pt>
                <c:pt idx="3838">
                  <c:v>25.766-25.773</c:v>
                </c:pt>
                <c:pt idx="3839">
                  <c:v>25.773-25.779</c:v>
                </c:pt>
                <c:pt idx="3840">
                  <c:v>25.779-25.786</c:v>
                </c:pt>
                <c:pt idx="3841">
                  <c:v>25.786-25.793</c:v>
                </c:pt>
                <c:pt idx="3842">
                  <c:v>25.793-25.800</c:v>
                </c:pt>
                <c:pt idx="3843">
                  <c:v>25.800-25.806</c:v>
                </c:pt>
                <c:pt idx="3844">
                  <c:v>25.806-25.813</c:v>
                </c:pt>
                <c:pt idx="3845">
                  <c:v>25.813-25.820</c:v>
                </c:pt>
                <c:pt idx="3846">
                  <c:v>25.820-25.826</c:v>
                </c:pt>
                <c:pt idx="3847">
                  <c:v>25.826-25.833</c:v>
                </c:pt>
                <c:pt idx="3848">
                  <c:v>25.833-25.840</c:v>
                </c:pt>
                <c:pt idx="3849">
                  <c:v>25.840-25.847</c:v>
                </c:pt>
                <c:pt idx="3850">
                  <c:v>25.847-25.853</c:v>
                </c:pt>
                <c:pt idx="3851">
                  <c:v>25.853-25.860</c:v>
                </c:pt>
                <c:pt idx="3852">
                  <c:v>25.860-25.867</c:v>
                </c:pt>
                <c:pt idx="3853">
                  <c:v>25.867-25.873</c:v>
                </c:pt>
                <c:pt idx="3854">
                  <c:v>25.873-25.880</c:v>
                </c:pt>
                <c:pt idx="3855">
                  <c:v>25.880-25.887</c:v>
                </c:pt>
                <c:pt idx="3856">
                  <c:v>25.887-25.894</c:v>
                </c:pt>
                <c:pt idx="3857">
                  <c:v>25.894-25.900</c:v>
                </c:pt>
                <c:pt idx="3858">
                  <c:v>25.900-25.907</c:v>
                </c:pt>
                <c:pt idx="3859">
                  <c:v>25.907-25.914</c:v>
                </c:pt>
                <c:pt idx="3860">
                  <c:v>25.914-25.920</c:v>
                </c:pt>
                <c:pt idx="3861">
                  <c:v>25.920-25.927</c:v>
                </c:pt>
                <c:pt idx="3862">
                  <c:v>25.927-25.934</c:v>
                </c:pt>
                <c:pt idx="3863">
                  <c:v>25.934-25.941</c:v>
                </c:pt>
                <c:pt idx="3864">
                  <c:v>25.941-25.947</c:v>
                </c:pt>
                <c:pt idx="3865">
                  <c:v>25.947-25.954</c:v>
                </c:pt>
                <c:pt idx="3866">
                  <c:v>25.954-25.961</c:v>
                </c:pt>
                <c:pt idx="3867">
                  <c:v>25.961-25.967</c:v>
                </c:pt>
                <c:pt idx="3868">
                  <c:v>25.967-25.974</c:v>
                </c:pt>
                <c:pt idx="3869">
                  <c:v>25.974-25.981</c:v>
                </c:pt>
                <c:pt idx="3870">
                  <c:v>25.981-25.988</c:v>
                </c:pt>
                <c:pt idx="3871">
                  <c:v>25.988-25.994</c:v>
                </c:pt>
                <c:pt idx="3872">
                  <c:v>25.994-26.001</c:v>
                </c:pt>
                <c:pt idx="3873">
                  <c:v>26.001-26.008</c:v>
                </c:pt>
                <c:pt idx="3874">
                  <c:v>26.008-26.014</c:v>
                </c:pt>
                <c:pt idx="3875">
                  <c:v>26.014-26.021</c:v>
                </c:pt>
                <c:pt idx="3876">
                  <c:v>26.021-26.028</c:v>
                </c:pt>
                <c:pt idx="3877">
                  <c:v>26.028-26.034</c:v>
                </c:pt>
                <c:pt idx="3878">
                  <c:v>26.034-26.041</c:v>
                </c:pt>
                <c:pt idx="3879">
                  <c:v>26.041-26.048</c:v>
                </c:pt>
                <c:pt idx="3880">
                  <c:v>26.048-26.055</c:v>
                </c:pt>
                <c:pt idx="3881">
                  <c:v>26.055-26.061</c:v>
                </c:pt>
                <c:pt idx="3882">
                  <c:v>26.061-26.068</c:v>
                </c:pt>
                <c:pt idx="3883">
                  <c:v>26.068-26.075</c:v>
                </c:pt>
                <c:pt idx="3884">
                  <c:v>26.075-26.081</c:v>
                </c:pt>
                <c:pt idx="3885">
                  <c:v>26.081-26.088</c:v>
                </c:pt>
                <c:pt idx="3886">
                  <c:v>26.088-26.095</c:v>
                </c:pt>
                <c:pt idx="3887">
                  <c:v>26.095-26.102</c:v>
                </c:pt>
                <c:pt idx="3888">
                  <c:v>26.102-26.108</c:v>
                </c:pt>
                <c:pt idx="3889">
                  <c:v>26.108-26.115</c:v>
                </c:pt>
                <c:pt idx="3890">
                  <c:v>26.115-26.122</c:v>
                </c:pt>
                <c:pt idx="3891">
                  <c:v>26.122-26.128</c:v>
                </c:pt>
                <c:pt idx="3892">
                  <c:v>26.128-26.135</c:v>
                </c:pt>
                <c:pt idx="3893">
                  <c:v>26.135-26.142</c:v>
                </c:pt>
                <c:pt idx="3894">
                  <c:v>26.142-26.149</c:v>
                </c:pt>
                <c:pt idx="3895">
                  <c:v>26.149-26.155</c:v>
                </c:pt>
                <c:pt idx="3896">
                  <c:v>26.155-26.162</c:v>
                </c:pt>
                <c:pt idx="3897">
                  <c:v>26.162-26.169</c:v>
                </c:pt>
                <c:pt idx="3898">
                  <c:v>26.169-26.175</c:v>
                </c:pt>
                <c:pt idx="3899">
                  <c:v>26.175-26.182</c:v>
                </c:pt>
                <c:pt idx="3900">
                  <c:v>26.182-26.189</c:v>
                </c:pt>
                <c:pt idx="3901">
                  <c:v>26.189-26.196</c:v>
                </c:pt>
                <c:pt idx="3902">
                  <c:v>26.196-26.202</c:v>
                </c:pt>
                <c:pt idx="3903">
                  <c:v>26.202-26.209</c:v>
                </c:pt>
                <c:pt idx="3904">
                  <c:v>26.209-26.216</c:v>
                </c:pt>
                <c:pt idx="3905">
                  <c:v>26.216-26.222</c:v>
                </c:pt>
                <c:pt idx="3906">
                  <c:v>26.222-26.229</c:v>
                </c:pt>
                <c:pt idx="3907">
                  <c:v>26.229-26.236</c:v>
                </c:pt>
                <c:pt idx="3908">
                  <c:v>26.236-26.243</c:v>
                </c:pt>
                <c:pt idx="3909">
                  <c:v>26.243-26.249</c:v>
                </c:pt>
                <c:pt idx="3910">
                  <c:v>26.249-26.256</c:v>
                </c:pt>
                <c:pt idx="3911">
                  <c:v>26.256-26.263</c:v>
                </c:pt>
                <c:pt idx="3912">
                  <c:v>26.263-26.269</c:v>
                </c:pt>
                <c:pt idx="3913">
                  <c:v>26.269-26.276</c:v>
                </c:pt>
                <c:pt idx="3914">
                  <c:v>26.276-26.283</c:v>
                </c:pt>
                <c:pt idx="3915">
                  <c:v>26.283-26.289</c:v>
                </c:pt>
                <c:pt idx="3916">
                  <c:v>26.289-26.296</c:v>
                </c:pt>
                <c:pt idx="3917">
                  <c:v>26.296-26.303</c:v>
                </c:pt>
                <c:pt idx="3918">
                  <c:v>26.303-26.310</c:v>
                </c:pt>
                <c:pt idx="3919">
                  <c:v>26.310-26.316</c:v>
                </c:pt>
                <c:pt idx="3920">
                  <c:v>26.316-26.323</c:v>
                </c:pt>
                <c:pt idx="3921">
                  <c:v>26.323-26.330</c:v>
                </c:pt>
                <c:pt idx="3922">
                  <c:v>26.330-26.336</c:v>
                </c:pt>
                <c:pt idx="3923">
                  <c:v>26.336-26.343</c:v>
                </c:pt>
                <c:pt idx="3924">
                  <c:v>26.343-26.350</c:v>
                </c:pt>
                <c:pt idx="3925">
                  <c:v>26.350-26.357</c:v>
                </c:pt>
                <c:pt idx="3926">
                  <c:v>26.357-26.363</c:v>
                </c:pt>
                <c:pt idx="3927">
                  <c:v>26.363-26.370</c:v>
                </c:pt>
                <c:pt idx="3928">
                  <c:v>26.370-26.377</c:v>
                </c:pt>
                <c:pt idx="3929">
                  <c:v>26.377-26.383</c:v>
                </c:pt>
                <c:pt idx="3930">
                  <c:v>26.383-26.390</c:v>
                </c:pt>
                <c:pt idx="3931">
                  <c:v>26.390-26.397</c:v>
                </c:pt>
                <c:pt idx="3932">
                  <c:v>26.397-26.404</c:v>
                </c:pt>
                <c:pt idx="3933">
                  <c:v>26.404-26.410</c:v>
                </c:pt>
                <c:pt idx="3934">
                  <c:v>26.410-26.417</c:v>
                </c:pt>
                <c:pt idx="3935">
                  <c:v>26.417-26.424</c:v>
                </c:pt>
                <c:pt idx="3936">
                  <c:v>26.424-26.430</c:v>
                </c:pt>
                <c:pt idx="3937">
                  <c:v>26.430-26.437</c:v>
                </c:pt>
                <c:pt idx="3938">
                  <c:v>26.437-26.444</c:v>
                </c:pt>
                <c:pt idx="3939">
                  <c:v>26.444-26.451</c:v>
                </c:pt>
                <c:pt idx="3940">
                  <c:v>26.451-26.457</c:v>
                </c:pt>
                <c:pt idx="3941">
                  <c:v>26.457-26.464</c:v>
                </c:pt>
                <c:pt idx="3942">
                  <c:v>26.464-26.471</c:v>
                </c:pt>
                <c:pt idx="3943">
                  <c:v>26.471-26.477</c:v>
                </c:pt>
                <c:pt idx="3944">
                  <c:v>26.477-26.484</c:v>
                </c:pt>
                <c:pt idx="3945">
                  <c:v>26.484-26.491</c:v>
                </c:pt>
                <c:pt idx="3946">
                  <c:v>26.491-26.498</c:v>
                </c:pt>
                <c:pt idx="3947">
                  <c:v>26.498-26.504</c:v>
                </c:pt>
                <c:pt idx="3948">
                  <c:v>26.504-26.511</c:v>
                </c:pt>
                <c:pt idx="3949">
                  <c:v>26.511-26.518</c:v>
                </c:pt>
                <c:pt idx="3950">
                  <c:v>26.518-26.524</c:v>
                </c:pt>
                <c:pt idx="3951">
                  <c:v>26.524-26.531</c:v>
                </c:pt>
                <c:pt idx="3952">
                  <c:v>26.531-26.538</c:v>
                </c:pt>
                <c:pt idx="3953">
                  <c:v>26.538-26.545</c:v>
                </c:pt>
                <c:pt idx="3954">
                  <c:v>26.545-26.551</c:v>
                </c:pt>
                <c:pt idx="3955">
                  <c:v>26.551-26.558</c:v>
                </c:pt>
                <c:pt idx="3956">
                  <c:v>26.558-26.565</c:v>
                </c:pt>
                <c:pt idx="3957">
                  <c:v>26.565-26.571</c:v>
                </c:pt>
                <c:pt idx="3958">
                  <c:v>26.571-26.578</c:v>
                </c:pt>
                <c:pt idx="3959">
                  <c:v>26.578-26.585</c:v>
                </c:pt>
                <c:pt idx="3960">
                  <c:v>26.585-26.591</c:v>
                </c:pt>
                <c:pt idx="3961">
                  <c:v>26.591-26.598</c:v>
                </c:pt>
                <c:pt idx="3962">
                  <c:v>26.598-26.605</c:v>
                </c:pt>
                <c:pt idx="3963">
                  <c:v>26.605-26.612</c:v>
                </c:pt>
                <c:pt idx="3964">
                  <c:v>26.612-26.618</c:v>
                </c:pt>
                <c:pt idx="3965">
                  <c:v>26.618-26.625</c:v>
                </c:pt>
                <c:pt idx="3966">
                  <c:v>26.625-26.632</c:v>
                </c:pt>
                <c:pt idx="3967">
                  <c:v>26.632-26.638</c:v>
                </c:pt>
                <c:pt idx="3968">
                  <c:v>26.638-26.645</c:v>
                </c:pt>
                <c:pt idx="3969">
                  <c:v>26.645-26.652</c:v>
                </c:pt>
                <c:pt idx="3970">
                  <c:v>26.652-26.659</c:v>
                </c:pt>
                <c:pt idx="3971">
                  <c:v>26.659-26.665</c:v>
                </c:pt>
                <c:pt idx="3972">
                  <c:v>26.665-26.672</c:v>
                </c:pt>
                <c:pt idx="3973">
                  <c:v>26.672-26.679</c:v>
                </c:pt>
                <c:pt idx="3974">
                  <c:v>26.679-26.685</c:v>
                </c:pt>
                <c:pt idx="3975">
                  <c:v>26.685-26.692</c:v>
                </c:pt>
                <c:pt idx="3976">
                  <c:v>26.692-26.699</c:v>
                </c:pt>
                <c:pt idx="3977">
                  <c:v>26.699-26.706</c:v>
                </c:pt>
                <c:pt idx="3978">
                  <c:v>26.706-26.712</c:v>
                </c:pt>
                <c:pt idx="3979">
                  <c:v>26.712-26.719</c:v>
                </c:pt>
                <c:pt idx="3980">
                  <c:v>26.719-26.726</c:v>
                </c:pt>
                <c:pt idx="3981">
                  <c:v>26.726-26.732</c:v>
                </c:pt>
                <c:pt idx="3982">
                  <c:v>26.732-26.739</c:v>
                </c:pt>
                <c:pt idx="3983">
                  <c:v>26.739-26.746</c:v>
                </c:pt>
                <c:pt idx="3984">
                  <c:v>26.746-26.753</c:v>
                </c:pt>
                <c:pt idx="3985">
                  <c:v>26.753-26.759</c:v>
                </c:pt>
                <c:pt idx="3986">
                  <c:v>26.759-26.766</c:v>
                </c:pt>
                <c:pt idx="3987">
                  <c:v>26.766-26.773</c:v>
                </c:pt>
                <c:pt idx="3988">
                  <c:v>26.773-26.779</c:v>
                </c:pt>
                <c:pt idx="3989">
                  <c:v>26.779-26.786</c:v>
                </c:pt>
                <c:pt idx="3990">
                  <c:v>26.786-26.793</c:v>
                </c:pt>
                <c:pt idx="3991">
                  <c:v>26.793-26.800</c:v>
                </c:pt>
                <c:pt idx="3992">
                  <c:v>26.800-26.806</c:v>
                </c:pt>
                <c:pt idx="3993">
                  <c:v>26.806-26.813</c:v>
                </c:pt>
                <c:pt idx="3994">
                  <c:v>26.813-26.820</c:v>
                </c:pt>
                <c:pt idx="3995">
                  <c:v>26.820-26.826</c:v>
                </c:pt>
                <c:pt idx="3996">
                  <c:v>26.826-26.833</c:v>
                </c:pt>
                <c:pt idx="3997">
                  <c:v>26.833-26.840</c:v>
                </c:pt>
                <c:pt idx="3998">
                  <c:v>26.840-26.846</c:v>
                </c:pt>
                <c:pt idx="3999">
                  <c:v>26.846-26.853</c:v>
                </c:pt>
                <c:pt idx="4000">
                  <c:v>26.853-26.860</c:v>
                </c:pt>
                <c:pt idx="4001">
                  <c:v>26.860-26.867</c:v>
                </c:pt>
                <c:pt idx="4002">
                  <c:v>26.867-26.873</c:v>
                </c:pt>
                <c:pt idx="4003">
                  <c:v>26.873-26.880</c:v>
                </c:pt>
                <c:pt idx="4004">
                  <c:v>26.880-26.887</c:v>
                </c:pt>
                <c:pt idx="4005">
                  <c:v>26.887-26.893</c:v>
                </c:pt>
                <c:pt idx="4006">
                  <c:v>26.893-26.900</c:v>
                </c:pt>
                <c:pt idx="4007">
                  <c:v>26.900-26.907</c:v>
                </c:pt>
                <c:pt idx="4008">
                  <c:v>26.907-26.914</c:v>
                </c:pt>
                <c:pt idx="4009">
                  <c:v>26.914-26.920</c:v>
                </c:pt>
                <c:pt idx="4010">
                  <c:v>26.920-26.927</c:v>
                </c:pt>
                <c:pt idx="4011">
                  <c:v>26.927-26.934</c:v>
                </c:pt>
                <c:pt idx="4012">
                  <c:v>26.934-26.940</c:v>
                </c:pt>
                <c:pt idx="4013">
                  <c:v>26.940-26.947</c:v>
                </c:pt>
                <c:pt idx="4014">
                  <c:v>26.947-26.954</c:v>
                </c:pt>
                <c:pt idx="4015">
                  <c:v>26.954-26.961</c:v>
                </c:pt>
                <c:pt idx="4016">
                  <c:v>26.961-26.967</c:v>
                </c:pt>
                <c:pt idx="4017">
                  <c:v>26.967-26.974</c:v>
                </c:pt>
                <c:pt idx="4018">
                  <c:v>26.974-26.981</c:v>
                </c:pt>
                <c:pt idx="4019">
                  <c:v>26.981-26.987</c:v>
                </c:pt>
                <c:pt idx="4020">
                  <c:v>26.987-26.994</c:v>
                </c:pt>
                <c:pt idx="4021">
                  <c:v>26.994-27.001</c:v>
                </c:pt>
                <c:pt idx="4022">
                  <c:v>27.001-27.008</c:v>
                </c:pt>
                <c:pt idx="4023">
                  <c:v>27.008-27.014</c:v>
                </c:pt>
                <c:pt idx="4024">
                  <c:v>27.014-27.021</c:v>
                </c:pt>
                <c:pt idx="4025">
                  <c:v>27.021-27.028</c:v>
                </c:pt>
                <c:pt idx="4026">
                  <c:v>27.028-27.034</c:v>
                </c:pt>
                <c:pt idx="4027">
                  <c:v>27.034-27.041</c:v>
                </c:pt>
                <c:pt idx="4028">
                  <c:v>27.041-27.048</c:v>
                </c:pt>
                <c:pt idx="4029">
                  <c:v>27.048-27.055</c:v>
                </c:pt>
                <c:pt idx="4030">
                  <c:v>27.055-27.061</c:v>
                </c:pt>
                <c:pt idx="4031">
                  <c:v>27.061-27.068</c:v>
                </c:pt>
                <c:pt idx="4032">
                  <c:v>27.068-27.075</c:v>
                </c:pt>
                <c:pt idx="4033">
                  <c:v>27.075-27.081</c:v>
                </c:pt>
                <c:pt idx="4034">
                  <c:v>27.081-27.088</c:v>
                </c:pt>
                <c:pt idx="4035">
                  <c:v>27.088-27.095</c:v>
                </c:pt>
                <c:pt idx="4036">
                  <c:v>27.095-27.101</c:v>
                </c:pt>
                <c:pt idx="4037">
                  <c:v>27.101-27.108</c:v>
                </c:pt>
                <c:pt idx="4038">
                  <c:v>27.108-27.115</c:v>
                </c:pt>
                <c:pt idx="4039">
                  <c:v>27.115-27.122</c:v>
                </c:pt>
                <c:pt idx="4040">
                  <c:v>27.122-27.128</c:v>
                </c:pt>
                <c:pt idx="4041">
                  <c:v>27.128-27.135</c:v>
                </c:pt>
                <c:pt idx="4042">
                  <c:v>27.135-27.142</c:v>
                </c:pt>
                <c:pt idx="4043">
                  <c:v>27.142-27.148</c:v>
                </c:pt>
                <c:pt idx="4044">
                  <c:v>27.148-27.155</c:v>
                </c:pt>
                <c:pt idx="4045">
                  <c:v>27.155-27.162</c:v>
                </c:pt>
                <c:pt idx="4046">
                  <c:v>27.162-27.169</c:v>
                </c:pt>
                <c:pt idx="4047">
                  <c:v>27.169-27.175</c:v>
                </c:pt>
                <c:pt idx="4048">
                  <c:v>27.175-27.182</c:v>
                </c:pt>
                <c:pt idx="4049">
                  <c:v>27.182-27.189</c:v>
                </c:pt>
                <c:pt idx="4050">
                  <c:v>27.189-27.195</c:v>
                </c:pt>
                <c:pt idx="4051">
                  <c:v>27.195-27.202</c:v>
                </c:pt>
                <c:pt idx="4052">
                  <c:v>27.202-27.209</c:v>
                </c:pt>
                <c:pt idx="4053">
                  <c:v>27.209-27.216</c:v>
                </c:pt>
                <c:pt idx="4054">
                  <c:v>27.216-27.222</c:v>
                </c:pt>
                <c:pt idx="4055">
                  <c:v>27.222-27.229</c:v>
                </c:pt>
                <c:pt idx="4056">
                  <c:v>27.229-27.236</c:v>
                </c:pt>
                <c:pt idx="4057">
                  <c:v>27.236-27.242</c:v>
                </c:pt>
                <c:pt idx="4058">
                  <c:v>27.242-27.249</c:v>
                </c:pt>
                <c:pt idx="4059">
                  <c:v>27.249-27.256</c:v>
                </c:pt>
                <c:pt idx="4060">
                  <c:v>27.256-27.263</c:v>
                </c:pt>
                <c:pt idx="4061">
                  <c:v>27.263-27.269</c:v>
                </c:pt>
                <c:pt idx="4062">
                  <c:v>27.269-27.276</c:v>
                </c:pt>
                <c:pt idx="4063">
                  <c:v>27.276-27.283</c:v>
                </c:pt>
                <c:pt idx="4064">
                  <c:v>27.283-27.289</c:v>
                </c:pt>
                <c:pt idx="4065">
                  <c:v>27.289-27.296</c:v>
                </c:pt>
                <c:pt idx="4066">
                  <c:v>27.296-27.303</c:v>
                </c:pt>
                <c:pt idx="4067">
                  <c:v>27.303-27.310</c:v>
                </c:pt>
                <c:pt idx="4068">
                  <c:v>27.310-27.316</c:v>
                </c:pt>
                <c:pt idx="4069">
                  <c:v>27.316-27.323</c:v>
                </c:pt>
                <c:pt idx="4070">
                  <c:v>27.323-27.330</c:v>
                </c:pt>
                <c:pt idx="4071">
                  <c:v>27.330-27.336</c:v>
                </c:pt>
                <c:pt idx="4072">
                  <c:v>27.336-27.343</c:v>
                </c:pt>
                <c:pt idx="4073">
                  <c:v>27.343-27.350</c:v>
                </c:pt>
                <c:pt idx="4074">
                  <c:v>27.350-27.357</c:v>
                </c:pt>
                <c:pt idx="4075">
                  <c:v>27.357-27.363</c:v>
                </c:pt>
                <c:pt idx="4076">
                  <c:v>27.363-27.370</c:v>
                </c:pt>
                <c:pt idx="4077">
                  <c:v>27.370-27.377</c:v>
                </c:pt>
                <c:pt idx="4078">
                  <c:v>27.377-27.383</c:v>
                </c:pt>
                <c:pt idx="4079">
                  <c:v>27.383-27.390</c:v>
                </c:pt>
                <c:pt idx="4080">
                  <c:v>27.390-27.397</c:v>
                </c:pt>
                <c:pt idx="4081">
                  <c:v>27.397-27.403</c:v>
                </c:pt>
                <c:pt idx="4082">
                  <c:v>27.403-27.410</c:v>
                </c:pt>
                <c:pt idx="4083">
                  <c:v>27.410-27.417</c:v>
                </c:pt>
                <c:pt idx="4084">
                  <c:v>27.417-27.424</c:v>
                </c:pt>
                <c:pt idx="4085">
                  <c:v>27.424-27.430</c:v>
                </c:pt>
                <c:pt idx="4086">
                  <c:v>27.430-27.437</c:v>
                </c:pt>
                <c:pt idx="4087">
                  <c:v>27.437-27.444</c:v>
                </c:pt>
                <c:pt idx="4088">
                  <c:v>27.444-27.450</c:v>
                </c:pt>
                <c:pt idx="4089">
                  <c:v>27.450-27.457</c:v>
                </c:pt>
                <c:pt idx="4090">
                  <c:v>27.457-27.464</c:v>
                </c:pt>
                <c:pt idx="4091">
                  <c:v>27.464-27.471</c:v>
                </c:pt>
                <c:pt idx="4092">
                  <c:v>27.471-27.477</c:v>
                </c:pt>
                <c:pt idx="4093">
                  <c:v>27.477-27.484</c:v>
                </c:pt>
                <c:pt idx="4094">
                  <c:v>27.484-27.491</c:v>
                </c:pt>
                <c:pt idx="4095">
                  <c:v>27.491-27.497</c:v>
                </c:pt>
                <c:pt idx="4096">
                  <c:v>27.497-27.504</c:v>
                </c:pt>
                <c:pt idx="4097">
                  <c:v>27.504-27.511</c:v>
                </c:pt>
                <c:pt idx="4098">
                  <c:v>27.511-27.518</c:v>
                </c:pt>
                <c:pt idx="4099">
                  <c:v>27.518-27.524</c:v>
                </c:pt>
                <c:pt idx="4100">
                  <c:v>27.524-27.531</c:v>
                </c:pt>
                <c:pt idx="4101">
                  <c:v>27.531-27.538</c:v>
                </c:pt>
                <c:pt idx="4102">
                  <c:v>27.538-27.544</c:v>
                </c:pt>
                <c:pt idx="4103">
                  <c:v>27.544-27.551</c:v>
                </c:pt>
                <c:pt idx="4104">
                  <c:v>27.551-27.558</c:v>
                </c:pt>
                <c:pt idx="4105">
                  <c:v>27.558-27.565</c:v>
                </c:pt>
                <c:pt idx="4106">
                  <c:v>27.565-27.571</c:v>
                </c:pt>
                <c:pt idx="4107">
                  <c:v>27.571-27.578</c:v>
                </c:pt>
                <c:pt idx="4108">
                  <c:v>27.578-27.585</c:v>
                </c:pt>
                <c:pt idx="4109">
                  <c:v>27.585-27.591</c:v>
                </c:pt>
                <c:pt idx="4110">
                  <c:v>27.591-27.598</c:v>
                </c:pt>
                <c:pt idx="4111">
                  <c:v>27.598-27.605</c:v>
                </c:pt>
                <c:pt idx="4112">
                  <c:v>27.605-27.612</c:v>
                </c:pt>
                <c:pt idx="4113">
                  <c:v>27.612-27.618</c:v>
                </c:pt>
                <c:pt idx="4114">
                  <c:v>27.618-27.625</c:v>
                </c:pt>
                <c:pt idx="4115">
                  <c:v>27.625-27.632</c:v>
                </c:pt>
                <c:pt idx="4116">
                  <c:v>27.632-27.638</c:v>
                </c:pt>
                <c:pt idx="4117">
                  <c:v>27.638-27.645</c:v>
                </c:pt>
                <c:pt idx="4118">
                  <c:v>27.645-27.652</c:v>
                </c:pt>
                <c:pt idx="4119">
                  <c:v>27.652-27.658</c:v>
                </c:pt>
                <c:pt idx="4120">
                  <c:v>27.658-27.665</c:v>
                </c:pt>
                <c:pt idx="4121">
                  <c:v>27.665-27.672</c:v>
                </c:pt>
                <c:pt idx="4122">
                  <c:v>27.672-27.679</c:v>
                </c:pt>
                <c:pt idx="4123">
                  <c:v>27.679-27.685</c:v>
                </c:pt>
                <c:pt idx="4124">
                  <c:v>27.685-27.692</c:v>
                </c:pt>
                <c:pt idx="4125">
                  <c:v>27.692-27.699</c:v>
                </c:pt>
                <c:pt idx="4126">
                  <c:v>27.699-27.705</c:v>
                </c:pt>
                <c:pt idx="4127">
                  <c:v>27.705-27.712</c:v>
                </c:pt>
                <c:pt idx="4128">
                  <c:v>27.712-27.719</c:v>
                </c:pt>
                <c:pt idx="4129">
                  <c:v>27.719-27.726</c:v>
                </c:pt>
                <c:pt idx="4130">
                  <c:v>27.726-27.732</c:v>
                </c:pt>
                <c:pt idx="4131">
                  <c:v>27.732-27.739</c:v>
                </c:pt>
                <c:pt idx="4132">
                  <c:v>27.739-27.746</c:v>
                </c:pt>
                <c:pt idx="4133">
                  <c:v>27.746-27.752</c:v>
                </c:pt>
                <c:pt idx="4134">
                  <c:v>27.752-27.759</c:v>
                </c:pt>
                <c:pt idx="4135">
                  <c:v>27.759-27.766</c:v>
                </c:pt>
                <c:pt idx="4136">
                  <c:v>27.766-27.773</c:v>
                </c:pt>
                <c:pt idx="4137">
                  <c:v>27.773-27.779</c:v>
                </c:pt>
                <c:pt idx="4138">
                  <c:v>27.779-27.786</c:v>
                </c:pt>
                <c:pt idx="4139">
                  <c:v>27.786-27.793</c:v>
                </c:pt>
                <c:pt idx="4140">
                  <c:v>27.793-27.799</c:v>
                </c:pt>
                <c:pt idx="4141">
                  <c:v>27.799-27.806</c:v>
                </c:pt>
                <c:pt idx="4142">
                  <c:v>27.806-27.813</c:v>
                </c:pt>
                <c:pt idx="4143">
                  <c:v>27.813-27.820</c:v>
                </c:pt>
                <c:pt idx="4144">
                  <c:v>27.820-27.826</c:v>
                </c:pt>
                <c:pt idx="4145">
                  <c:v>27.826-27.833</c:v>
                </c:pt>
                <c:pt idx="4146">
                  <c:v>27.833-27.840</c:v>
                </c:pt>
                <c:pt idx="4147">
                  <c:v>27.840-27.846</c:v>
                </c:pt>
                <c:pt idx="4148">
                  <c:v>27.846-27.853</c:v>
                </c:pt>
                <c:pt idx="4149">
                  <c:v>27.853-27.860</c:v>
                </c:pt>
                <c:pt idx="4150">
                  <c:v>27.860-27.867</c:v>
                </c:pt>
                <c:pt idx="4151">
                  <c:v>27.867-27.873</c:v>
                </c:pt>
                <c:pt idx="4152">
                  <c:v>27.873-27.880</c:v>
                </c:pt>
                <c:pt idx="4153">
                  <c:v>27.880-27.887</c:v>
                </c:pt>
                <c:pt idx="4154">
                  <c:v>27.887-27.893</c:v>
                </c:pt>
                <c:pt idx="4155">
                  <c:v>27.893-27.900</c:v>
                </c:pt>
                <c:pt idx="4156">
                  <c:v>27.900-27.907</c:v>
                </c:pt>
                <c:pt idx="4157">
                  <c:v>27.907-27.914</c:v>
                </c:pt>
                <c:pt idx="4158">
                  <c:v>27.914-27.920</c:v>
                </c:pt>
                <c:pt idx="4159">
                  <c:v>27.920-27.927</c:v>
                </c:pt>
                <c:pt idx="4160">
                  <c:v>27.927-27.934</c:v>
                </c:pt>
                <c:pt idx="4161">
                  <c:v>27.934-27.940</c:v>
                </c:pt>
                <c:pt idx="4162">
                  <c:v>27.940-27.947</c:v>
                </c:pt>
                <c:pt idx="4163">
                  <c:v>27.947-27.954</c:v>
                </c:pt>
                <c:pt idx="4164">
                  <c:v>27.954-27.960</c:v>
                </c:pt>
                <c:pt idx="4165">
                  <c:v>27.960-27.967</c:v>
                </c:pt>
                <c:pt idx="4166">
                  <c:v>27.967-27.974</c:v>
                </c:pt>
                <c:pt idx="4167">
                  <c:v>27.974-27.981</c:v>
                </c:pt>
                <c:pt idx="4168">
                  <c:v>27.981-27.987</c:v>
                </c:pt>
                <c:pt idx="4169">
                  <c:v>27.987-27.994</c:v>
                </c:pt>
                <c:pt idx="4170">
                  <c:v>27.994-28.001</c:v>
                </c:pt>
                <c:pt idx="4171">
                  <c:v>28.001-28.007</c:v>
                </c:pt>
                <c:pt idx="4172">
                  <c:v>28.007-28.014</c:v>
                </c:pt>
                <c:pt idx="4173">
                  <c:v>28.014-28.021</c:v>
                </c:pt>
                <c:pt idx="4174">
                  <c:v>28.021-28.028</c:v>
                </c:pt>
                <c:pt idx="4175">
                  <c:v>28.028-28.034</c:v>
                </c:pt>
                <c:pt idx="4176">
                  <c:v>28.034-28.041</c:v>
                </c:pt>
                <c:pt idx="4177">
                  <c:v>28.041-28.048</c:v>
                </c:pt>
                <c:pt idx="4178">
                  <c:v>28.048-28.054</c:v>
                </c:pt>
                <c:pt idx="4179">
                  <c:v>28.054-28.061</c:v>
                </c:pt>
                <c:pt idx="4180">
                  <c:v>28.061-28.068</c:v>
                </c:pt>
                <c:pt idx="4181">
                  <c:v>28.068-28.075</c:v>
                </c:pt>
                <c:pt idx="4182">
                  <c:v>28.075-28.081</c:v>
                </c:pt>
                <c:pt idx="4183">
                  <c:v>28.081-28.088</c:v>
                </c:pt>
                <c:pt idx="4184">
                  <c:v>28.088-28.095</c:v>
                </c:pt>
                <c:pt idx="4185">
                  <c:v>28.095-28.101</c:v>
                </c:pt>
                <c:pt idx="4186">
                  <c:v>28.101-28.108</c:v>
                </c:pt>
                <c:pt idx="4187">
                  <c:v>28.108-28.115</c:v>
                </c:pt>
                <c:pt idx="4188">
                  <c:v>28.115-28.122</c:v>
                </c:pt>
                <c:pt idx="4189">
                  <c:v>28.122-28.128</c:v>
                </c:pt>
                <c:pt idx="4190">
                  <c:v>28.128-28.135</c:v>
                </c:pt>
                <c:pt idx="4191">
                  <c:v>28.135-28.142</c:v>
                </c:pt>
                <c:pt idx="4192">
                  <c:v>28.142-28.148</c:v>
                </c:pt>
                <c:pt idx="4193">
                  <c:v>28.148-28.155</c:v>
                </c:pt>
                <c:pt idx="4194">
                  <c:v>28.155-28.162</c:v>
                </c:pt>
                <c:pt idx="4195">
                  <c:v>28.162-28.169</c:v>
                </c:pt>
                <c:pt idx="4196">
                  <c:v>28.169-28.175</c:v>
                </c:pt>
                <c:pt idx="4197">
                  <c:v>28.175-28.182</c:v>
                </c:pt>
                <c:pt idx="4198">
                  <c:v>28.182-28.189</c:v>
                </c:pt>
                <c:pt idx="4199">
                  <c:v>28.189-28.195</c:v>
                </c:pt>
                <c:pt idx="4200">
                  <c:v>28.195-28.202</c:v>
                </c:pt>
                <c:pt idx="4201">
                  <c:v>28.202-28.209</c:v>
                </c:pt>
                <c:pt idx="4202">
                  <c:v>28.209-28.215</c:v>
                </c:pt>
                <c:pt idx="4203">
                  <c:v>28.215-28.222</c:v>
                </c:pt>
                <c:pt idx="4204">
                  <c:v>28.222-28.229</c:v>
                </c:pt>
                <c:pt idx="4205">
                  <c:v>28.229-28.236</c:v>
                </c:pt>
                <c:pt idx="4206">
                  <c:v>28.236-28.242</c:v>
                </c:pt>
                <c:pt idx="4207">
                  <c:v>28.242-28.249</c:v>
                </c:pt>
                <c:pt idx="4208">
                  <c:v>28.249-28.256</c:v>
                </c:pt>
                <c:pt idx="4209">
                  <c:v>28.256-28.262</c:v>
                </c:pt>
                <c:pt idx="4210">
                  <c:v>28.262-28.269</c:v>
                </c:pt>
                <c:pt idx="4211">
                  <c:v>28.269-28.276</c:v>
                </c:pt>
                <c:pt idx="4212">
                  <c:v>28.276-28.283</c:v>
                </c:pt>
                <c:pt idx="4213">
                  <c:v>28.283-28.289</c:v>
                </c:pt>
                <c:pt idx="4214">
                  <c:v>28.289-28.296</c:v>
                </c:pt>
                <c:pt idx="4215">
                  <c:v>28.296-28.303</c:v>
                </c:pt>
                <c:pt idx="4216">
                  <c:v>28.303-28.309</c:v>
                </c:pt>
                <c:pt idx="4217">
                  <c:v>28.309-28.316</c:v>
                </c:pt>
                <c:pt idx="4218">
                  <c:v>28.316-28.323</c:v>
                </c:pt>
                <c:pt idx="4219">
                  <c:v>28.323-28.330</c:v>
                </c:pt>
                <c:pt idx="4220">
                  <c:v>28.330-28.336</c:v>
                </c:pt>
                <c:pt idx="4221">
                  <c:v>28.336-28.343</c:v>
                </c:pt>
                <c:pt idx="4222">
                  <c:v>28.343-28.350</c:v>
                </c:pt>
                <c:pt idx="4223">
                  <c:v>28.350-28.356</c:v>
                </c:pt>
                <c:pt idx="4224">
                  <c:v>28.356-28.363</c:v>
                </c:pt>
                <c:pt idx="4225">
                  <c:v>28.363-28.370</c:v>
                </c:pt>
                <c:pt idx="4226">
                  <c:v>28.370-28.377</c:v>
                </c:pt>
                <c:pt idx="4227">
                  <c:v>28.377-28.383</c:v>
                </c:pt>
                <c:pt idx="4228">
                  <c:v>28.383-28.390</c:v>
                </c:pt>
                <c:pt idx="4229">
                  <c:v>28.390-28.397</c:v>
                </c:pt>
                <c:pt idx="4230">
                  <c:v>28.397-28.403</c:v>
                </c:pt>
                <c:pt idx="4231">
                  <c:v>28.403-28.410</c:v>
                </c:pt>
                <c:pt idx="4232">
                  <c:v>28.410-28.417</c:v>
                </c:pt>
                <c:pt idx="4233">
                  <c:v>28.417-28.424</c:v>
                </c:pt>
                <c:pt idx="4234">
                  <c:v>28.424-28.430</c:v>
                </c:pt>
                <c:pt idx="4235">
                  <c:v>28.430-28.437</c:v>
                </c:pt>
                <c:pt idx="4236">
                  <c:v>28.437-28.444</c:v>
                </c:pt>
                <c:pt idx="4237">
                  <c:v>28.444-28.450</c:v>
                </c:pt>
                <c:pt idx="4238">
                  <c:v>28.450-28.457</c:v>
                </c:pt>
                <c:pt idx="4239">
                  <c:v>28.457-28.464</c:v>
                </c:pt>
                <c:pt idx="4240">
                  <c:v>28.464-28.471</c:v>
                </c:pt>
                <c:pt idx="4241">
                  <c:v>28.471-28.477</c:v>
                </c:pt>
                <c:pt idx="4242">
                  <c:v>28.477-28.484</c:v>
                </c:pt>
                <c:pt idx="4243">
                  <c:v>28.484-28.491</c:v>
                </c:pt>
                <c:pt idx="4244">
                  <c:v>28.491-28.497</c:v>
                </c:pt>
                <c:pt idx="4245">
                  <c:v>28.497-28.504</c:v>
                </c:pt>
                <c:pt idx="4246">
                  <c:v>28.504-28.511</c:v>
                </c:pt>
                <c:pt idx="4247">
                  <c:v>28.511-28.517</c:v>
                </c:pt>
                <c:pt idx="4248">
                  <c:v>28.517-28.524</c:v>
                </c:pt>
                <c:pt idx="4249">
                  <c:v>28.524-28.531</c:v>
                </c:pt>
                <c:pt idx="4250">
                  <c:v>28.531-28.538</c:v>
                </c:pt>
                <c:pt idx="4251">
                  <c:v>28.538-28.544</c:v>
                </c:pt>
                <c:pt idx="4252">
                  <c:v>28.544-28.551</c:v>
                </c:pt>
                <c:pt idx="4253">
                  <c:v>28.551-28.558</c:v>
                </c:pt>
                <c:pt idx="4254">
                  <c:v>28.558-28.564</c:v>
                </c:pt>
                <c:pt idx="4255">
                  <c:v>28.564-28.571</c:v>
                </c:pt>
                <c:pt idx="4256">
                  <c:v>28.571-28.578</c:v>
                </c:pt>
                <c:pt idx="4257">
                  <c:v>28.578-28.585</c:v>
                </c:pt>
                <c:pt idx="4258">
                  <c:v>28.585-28.591</c:v>
                </c:pt>
                <c:pt idx="4259">
                  <c:v>28.591-28.598</c:v>
                </c:pt>
                <c:pt idx="4260">
                  <c:v>28.598-28.605</c:v>
                </c:pt>
                <c:pt idx="4261">
                  <c:v>28.605-28.611</c:v>
                </c:pt>
                <c:pt idx="4262">
                  <c:v>28.611-28.618</c:v>
                </c:pt>
                <c:pt idx="4263">
                  <c:v>28.618-28.625</c:v>
                </c:pt>
                <c:pt idx="4264">
                  <c:v>28.625-28.632</c:v>
                </c:pt>
                <c:pt idx="4265">
                  <c:v>28.632-28.638</c:v>
                </c:pt>
                <c:pt idx="4266">
                  <c:v>28.638-28.645</c:v>
                </c:pt>
                <c:pt idx="4267">
                  <c:v>28.645-28.652</c:v>
                </c:pt>
                <c:pt idx="4268">
                  <c:v>28.652-28.658</c:v>
                </c:pt>
                <c:pt idx="4269">
                  <c:v>28.658-28.665</c:v>
                </c:pt>
                <c:pt idx="4270">
                  <c:v>28.665-28.672</c:v>
                </c:pt>
                <c:pt idx="4271">
                  <c:v>28.672-28.679</c:v>
                </c:pt>
                <c:pt idx="4272">
                  <c:v>28.679-28.685</c:v>
                </c:pt>
                <c:pt idx="4273">
                  <c:v>28.685-28.692</c:v>
                </c:pt>
                <c:pt idx="4274">
                  <c:v>28.692-28.699</c:v>
                </c:pt>
                <c:pt idx="4275">
                  <c:v>28.699-28.705</c:v>
                </c:pt>
                <c:pt idx="4276">
                  <c:v>28.705-28.712</c:v>
                </c:pt>
                <c:pt idx="4277">
                  <c:v>28.712-28.719</c:v>
                </c:pt>
                <c:pt idx="4278">
                  <c:v>28.719-28.726</c:v>
                </c:pt>
                <c:pt idx="4279">
                  <c:v>28.726-28.732</c:v>
                </c:pt>
                <c:pt idx="4280">
                  <c:v>28.732-28.739</c:v>
                </c:pt>
                <c:pt idx="4281">
                  <c:v>28.739-28.746</c:v>
                </c:pt>
                <c:pt idx="4282">
                  <c:v>28.746-28.752</c:v>
                </c:pt>
                <c:pt idx="4283">
                  <c:v>28.752-28.759</c:v>
                </c:pt>
                <c:pt idx="4284">
                  <c:v>28.759-28.766</c:v>
                </c:pt>
                <c:pt idx="4285">
                  <c:v>28.766-28.772</c:v>
                </c:pt>
                <c:pt idx="4286">
                  <c:v>28.772-28.779</c:v>
                </c:pt>
                <c:pt idx="4287">
                  <c:v>28.779-28.786</c:v>
                </c:pt>
                <c:pt idx="4288">
                  <c:v>28.786-28.793</c:v>
                </c:pt>
                <c:pt idx="4289">
                  <c:v>28.793-28.799</c:v>
                </c:pt>
                <c:pt idx="4290">
                  <c:v>28.799-28.806</c:v>
                </c:pt>
                <c:pt idx="4291">
                  <c:v>28.806-28.813</c:v>
                </c:pt>
                <c:pt idx="4292">
                  <c:v>28.813-28.819</c:v>
                </c:pt>
                <c:pt idx="4293">
                  <c:v>28.819-28.826</c:v>
                </c:pt>
                <c:pt idx="4294">
                  <c:v>28.826-28.833</c:v>
                </c:pt>
                <c:pt idx="4295">
                  <c:v>28.833-28.840</c:v>
                </c:pt>
                <c:pt idx="4296">
                  <c:v>28.840-28.846</c:v>
                </c:pt>
                <c:pt idx="4297">
                  <c:v>28.846-28.853</c:v>
                </c:pt>
                <c:pt idx="4298">
                  <c:v>28.853-28.860</c:v>
                </c:pt>
                <c:pt idx="4299">
                  <c:v>28.860-28.866</c:v>
                </c:pt>
                <c:pt idx="4300">
                  <c:v>28.866-28.873</c:v>
                </c:pt>
                <c:pt idx="4301">
                  <c:v>28.873-28.880</c:v>
                </c:pt>
                <c:pt idx="4302">
                  <c:v>28.880-28.887</c:v>
                </c:pt>
                <c:pt idx="4303">
                  <c:v>28.887-28.893</c:v>
                </c:pt>
                <c:pt idx="4304">
                  <c:v>28.893-28.900</c:v>
                </c:pt>
                <c:pt idx="4305">
                  <c:v>28.900-28.907</c:v>
                </c:pt>
                <c:pt idx="4306">
                  <c:v>28.907-28.913</c:v>
                </c:pt>
                <c:pt idx="4307">
                  <c:v>28.913-28.920</c:v>
                </c:pt>
                <c:pt idx="4308">
                  <c:v>28.920-28.927</c:v>
                </c:pt>
                <c:pt idx="4309">
                  <c:v>28.927-28.934</c:v>
                </c:pt>
                <c:pt idx="4310">
                  <c:v>28.934-28.940</c:v>
                </c:pt>
                <c:pt idx="4311">
                  <c:v>28.940-28.947</c:v>
                </c:pt>
                <c:pt idx="4312">
                  <c:v>28.947-28.954</c:v>
                </c:pt>
                <c:pt idx="4313">
                  <c:v>28.954-28.960</c:v>
                </c:pt>
                <c:pt idx="4314">
                  <c:v>28.960-28.967</c:v>
                </c:pt>
                <c:pt idx="4315">
                  <c:v>28.967-28.974</c:v>
                </c:pt>
                <c:pt idx="4316">
                  <c:v>28.974-28.981</c:v>
                </c:pt>
                <c:pt idx="4317">
                  <c:v>28.981-28.987</c:v>
                </c:pt>
                <c:pt idx="4318">
                  <c:v>28.987-28.994</c:v>
                </c:pt>
                <c:pt idx="4319">
                  <c:v>28.994-29.001</c:v>
                </c:pt>
                <c:pt idx="4320">
                  <c:v>29.001-29.007</c:v>
                </c:pt>
                <c:pt idx="4321">
                  <c:v>29.007-29.014</c:v>
                </c:pt>
                <c:pt idx="4322">
                  <c:v>29.014-29.021</c:v>
                </c:pt>
                <c:pt idx="4323">
                  <c:v>29.021-29.027</c:v>
                </c:pt>
                <c:pt idx="4324">
                  <c:v>29.027-29.034</c:v>
                </c:pt>
                <c:pt idx="4325">
                  <c:v>29.034-29.041</c:v>
                </c:pt>
                <c:pt idx="4326">
                  <c:v>29.041-29.048</c:v>
                </c:pt>
                <c:pt idx="4327">
                  <c:v>29.048-29.054</c:v>
                </c:pt>
                <c:pt idx="4328">
                  <c:v>29.054-29.061</c:v>
                </c:pt>
                <c:pt idx="4329">
                  <c:v>29.061-29.068</c:v>
                </c:pt>
                <c:pt idx="4330">
                  <c:v>29.068-29.074</c:v>
                </c:pt>
                <c:pt idx="4331">
                  <c:v>29.074-29.081</c:v>
                </c:pt>
                <c:pt idx="4332">
                  <c:v>29.081-29.088</c:v>
                </c:pt>
                <c:pt idx="4333">
                  <c:v>29.088-29.095</c:v>
                </c:pt>
                <c:pt idx="4334">
                  <c:v>29.095-29.101</c:v>
                </c:pt>
                <c:pt idx="4335">
                  <c:v>29.101-29.108</c:v>
                </c:pt>
                <c:pt idx="4336">
                  <c:v>29.108-29.115</c:v>
                </c:pt>
                <c:pt idx="4337">
                  <c:v>29.115-29.121</c:v>
                </c:pt>
                <c:pt idx="4338">
                  <c:v>29.121-29.128</c:v>
                </c:pt>
                <c:pt idx="4339">
                  <c:v>29.128-29.135</c:v>
                </c:pt>
                <c:pt idx="4340">
                  <c:v>29.135-29.142</c:v>
                </c:pt>
                <c:pt idx="4341">
                  <c:v>29.142-29.148</c:v>
                </c:pt>
                <c:pt idx="4342">
                  <c:v>29.148-29.155</c:v>
                </c:pt>
                <c:pt idx="4343">
                  <c:v>29.155-29.162</c:v>
                </c:pt>
                <c:pt idx="4344">
                  <c:v>29.162-29.168</c:v>
                </c:pt>
                <c:pt idx="4345">
                  <c:v>29.168-29.175</c:v>
                </c:pt>
                <c:pt idx="4346">
                  <c:v>29.175-29.182</c:v>
                </c:pt>
                <c:pt idx="4347">
                  <c:v>29.182-29.189</c:v>
                </c:pt>
                <c:pt idx="4348">
                  <c:v>29.189-29.195</c:v>
                </c:pt>
                <c:pt idx="4349">
                  <c:v>29.195-29.202</c:v>
                </c:pt>
                <c:pt idx="4350">
                  <c:v>29.202-29.209</c:v>
                </c:pt>
                <c:pt idx="4351">
                  <c:v>29.209-29.215</c:v>
                </c:pt>
                <c:pt idx="4352">
                  <c:v>29.215-29.222</c:v>
                </c:pt>
                <c:pt idx="4353">
                  <c:v>29.222-29.229</c:v>
                </c:pt>
                <c:pt idx="4354">
                  <c:v>29.229-29.236</c:v>
                </c:pt>
                <c:pt idx="4355">
                  <c:v>29.236-29.242</c:v>
                </c:pt>
                <c:pt idx="4356">
                  <c:v>29.242-29.249</c:v>
                </c:pt>
                <c:pt idx="4357">
                  <c:v>29.249-29.256</c:v>
                </c:pt>
                <c:pt idx="4358">
                  <c:v>29.256-29.262</c:v>
                </c:pt>
                <c:pt idx="4359">
                  <c:v>29.262-29.269</c:v>
                </c:pt>
                <c:pt idx="4360">
                  <c:v>29.269-29.276</c:v>
                </c:pt>
                <c:pt idx="4361">
                  <c:v>29.276-29.283</c:v>
                </c:pt>
                <c:pt idx="4362">
                  <c:v>29.283-29.289</c:v>
                </c:pt>
                <c:pt idx="4363">
                  <c:v>29.289-29.296</c:v>
                </c:pt>
                <c:pt idx="4364">
                  <c:v>29.296-29.303</c:v>
                </c:pt>
                <c:pt idx="4365">
                  <c:v>29.303-29.309</c:v>
                </c:pt>
                <c:pt idx="4366">
                  <c:v>29.309-29.316</c:v>
                </c:pt>
                <c:pt idx="4367">
                  <c:v>29.316-29.323</c:v>
                </c:pt>
                <c:pt idx="4368">
                  <c:v>29.323-29.329</c:v>
                </c:pt>
                <c:pt idx="4369">
                  <c:v>29.329-29.336</c:v>
                </c:pt>
                <c:pt idx="4370">
                  <c:v>29.336-29.343</c:v>
                </c:pt>
                <c:pt idx="4371">
                  <c:v>29.343-29.350</c:v>
                </c:pt>
                <c:pt idx="4372">
                  <c:v>29.350-29.356</c:v>
                </c:pt>
                <c:pt idx="4373">
                  <c:v>29.356-29.363</c:v>
                </c:pt>
                <c:pt idx="4374">
                  <c:v>29.363-29.370</c:v>
                </c:pt>
                <c:pt idx="4375">
                  <c:v>29.370-29.376</c:v>
                </c:pt>
                <c:pt idx="4376">
                  <c:v>29.376-29.383</c:v>
                </c:pt>
                <c:pt idx="4377">
                  <c:v>29.383-29.390</c:v>
                </c:pt>
                <c:pt idx="4378">
                  <c:v>29.390-29.397</c:v>
                </c:pt>
                <c:pt idx="4379">
                  <c:v>29.397-29.403</c:v>
                </c:pt>
                <c:pt idx="4380">
                  <c:v>29.403-29.410</c:v>
                </c:pt>
                <c:pt idx="4381">
                  <c:v>29.410-29.417</c:v>
                </c:pt>
                <c:pt idx="4382">
                  <c:v>29.417-29.423</c:v>
                </c:pt>
                <c:pt idx="4383">
                  <c:v>29.423-29.430</c:v>
                </c:pt>
                <c:pt idx="4384">
                  <c:v>29.430-29.437</c:v>
                </c:pt>
                <c:pt idx="4385">
                  <c:v>29.437-29.444</c:v>
                </c:pt>
                <c:pt idx="4386">
                  <c:v>29.444-29.450</c:v>
                </c:pt>
                <c:pt idx="4387">
                  <c:v>29.450-29.457</c:v>
                </c:pt>
                <c:pt idx="4388">
                  <c:v>29.457-29.464</c:v>
                </c:pt>
                <c:pt idx="4389">
                  <c:v>29.464-29.470</c:v>
                </c:pt>
                <c:pt idx="4390">
                  <c:v>29.470-29.477</c:v>
                </c:pt>
                <c:pt idx="4391">
                  <c:v>29.477-29.484</c:v>
                </c:pt>
                <c:pt idx="4392">
                  <c:v>29.484-29.491</c:v>
                </c:pt>
                <c:pt idx="4393">
                  <c:v>29.491-29.497</c:v>
                </c:pt>
                <c:pt idx="4394">
                  <c:v>29.497-29.504</c:v>
                </c:pt>
                <c:pt idx="4395">
                  <c:v>29.504-29.511</c:v>
                </c:pt>
                <c:pt idx="4396">
                  <c:v>29.511-29.517</c:v>
                </c:pt>
                <c:pt idx="4397">
                  <c:v>29.517-29.524</c:v>
                </c:pt>
                <c:pt idx="4398">
                  <c:v>29.524-29.531</c:v>
                </c:pt>
                <c:pt idx="4399">
                  <c:v>29.531-29.538</c:v>
                </c:pt>
                <c:pt idx="4400">
                  <c:v>29.538-29.544</c:v>
                </c:pt>
                <c:pt idx="4401">
                  <c:v>29.544-29.551</c:v>
                </c:pt>
                <c:pt idx="4402">
                  <c:v>29.551-29.558</c:v>
                </c:pt>
                <c:pt idx="4403">
                  <c:v>29.558-29.564</c:v>
                </c:pt>
                <c:pt idx="4404">
                  <c:v>29.564-29.571</c:v>
                </c:pt>
                <c:pt idx="4405">
                  <c:v>29.571-29.578</c:v>
                </c:pt>
                <c:pt idx="4406">
                  <c:v>29.578-29.584</c:v>
                </c:pt>
                <c:pt idx="4407">
                  <c:v>29.584-29.591</c:v>
                </c:pt>
                <c:pt idx="4408">
                  <c:v>29.591-29.598</c:v>
                </c:pt>
                <c:pt idx="4409">
                  <c:v>29.598-29.605</c:v>
                </c:pt>
                <c:pt idx="4410">
                  <c:v>29.605-29.611</c:v>
                </c:pt>
                <c:pt idx="4411">
                  <c:v>29.611-29.618</c:v>
                </c:pt>
                <c:pt idx="4412">
                  <c:v>29.618-29.625</c:v>
                </c:pt>
                <c:pt idx="4413">
                  <c:v>29.625-29.631</c:v>
                </c:pt>
                <c:pt idx="4414">
                  <c:v>29.631-29.638</c:v>
                </c:pt>
                <c:pt idx="4415">
                  <c:v>29.638-29.645</c:v>
                </c:pt>
                <c:pt idx="4416">
                  <c:v>29.645-29.652</c:v>
                </c:pt>
                <c:pt idx="4417">
                  <c:v>29.652-29.658</c:v>
                </c:pt>
                <c:pt idx="4418">
                  <c:v>29.658-29.665</c:v>
                </c:pt>
                <c:pt idx="4419">
                  <c:v>29.665-29.672</c:v>
                </c:pt>
                <c:pt idx="4420">
                  <c:v>29.672-29.678</c:v>
                </c:pt>
                <c:pt idx="4421">
                  <c:v>29.678-29.685</c:v>
                </c:pt>
                <c:pt idx="4422">
                  <c:v>29.685-29.692</c:v>
                </c:pt>
                <c:pt idx="4423">
                  <c:v>29.692-29.699</c:v>
                </c:pt>
                <c:pt idx="4424">
                  <c:v>29.699-29.705</c:v>
                </c:pt>
                <c:pt idx="4425">
                  <c:v>29.705-29.712</c:v>
                </c:pt>
                <c:pt idx="4426">
                  <c:v>29.712-29.719</c:v>
                </c:pt>
                <c:pt idx="4427">
                  <c:v>29.719-29.725</c:v>
                </c:pt>
                <c:pt idx="4428">
                  <c:v>29.725-29.732</c:v>
                </c:pt>
                <c:pt idx="4429">
                  <c:v>29.732-29.739</c:v>
                </c:pt>
                <c:pt idx="4430">
                  <c:v>29.739-29.746</c:v>
                </c:pt>
                <c:pt idx="4431">
                  <c:v>29.746-29.752</c:v>
                </c:pt>
                <c:pt idx="4432">
                  <c:v>29.752-29.759</c:v>
                </c:pt>
                <c:pt idx="4433">
                  <c:v>29.759-29.766</c:v>
                </c:pt>
                <c:pt idx="4434">
                  <c:v>29.766-29.772</c:v>
                </c:pt>
                <c:pt idx="4435">
                  <c:v>29.772-29.779</c:v>
                </c:pt>
                <c:pt idx="4436">
                  <c:v>29.779-29.786</c:v>
                </c:pt>
                <c:pt idx="4437">
                  <c:v>29.786-29.793</c:v>
                </c:pt>
                <c:pt idx="4438">
                  <c:v>29.793-29.799</c:v>
                </c:pt>
                <c:pt idx="4439">
                  <c:v>29.799-29.806</c:v>
                </c:pt>
                <c:pt idx="4440">
                  <c:v>29.806-29.813</c:v>
                </c:pt>
                <c:pt idx="4441">
                  <c:v>29.813-29.819</c:v>
                </c:pt>
                <c:pt idx="4442">
                  <c:v>29.819-29.826</c:v>
                </c:pt>
                <c:pt idx="4443">
                  <c:v>29.826-29.833</c:v>
                </c:pt>
                <c:pt idx="4444">
                  <c:v>29.833-29.840</c:v>
                </c:pt>
                <c:pt idx="4445">
                  <c:v>29.840-29.846</c:v>
                </c:pt>
                <c:pt idx="4446">
                  <c:v>29.846-29.853</c:v>
                </c:pt>
                <c:pt idx="4447">
                  <c:v>29.853-29.860</c:v>
                </c:pt>
                <c:pt idx="4448">
                  <c:v>29.860-29.866</c:v>
                </c:pt>
                <c:pt idx="4449">
                  <c:v>29.866-29.873</c:v>
                </c:pt>
                <c:pt idx="4450">
                  <c:v>29.873-29.880</c:v>
                </c:pt>
                <c:pt idx="4451">
                  <c:v>29.880-29.886</c:v>
                </c:pt>
                <c:pt idx="4452">
                  <c:v>29.886-29.893</c:v>
                </c:pt>
                <c:pt idx="4453">
                  <c:v>29.893-29.900</c:v>
                </c:pt>
                <c:pt idx="4454">
                  <c:v>29.900-29.907</c:v>
                </c:pt>
                <c:pt idx="4455">
                  <c:v>29.907-29.913</c:v>
                </c:pt>
                <c:pt idx="4456">
                  <c:v>29.913-29.920</c:v>
                </c:pt>
                <c:pt idx="4457">
                  <c:v>29.920-29.927</c:v>
                </c:pt>
                <c:pt idx="4458">
                  <c:v>29.927-29.933</c:v>
                </c:pt>
                <c:pt idx="4459">
                  <c:v>29.933-29.940</c:v>
                </c:pt>
                <c:pt idx="4460">
                  <c:v>29.940-29.947</c:v>
                </c:pt>
                <c:pt idx="4461">
                  <c:v>29.947-29.954</c:v>
                </c:pt>
                <c:pt idx="4462">
                  <c:v>29.954-29.960</c:v>
                </c:pt>
                <c:pt idx="4463">
                  <c:v>29.960-29.967</c:v>
                </c:pt>
                <c:pt idx="4464">
                  <c:v>29.967-29.974</c:v>
                </c:pt>
                <c:pt idx="4465">
                  <c:v>29.974-29.980</c:v>
                </c:pt>
                <c:pt idx="4466">
                  <c:v>29.980-29.987</c:v>
                </c:pt>
                <c:pt idx="4467">
                  <c:v>29.987-29.994</c:v>
                </c:pt>
                <c:pt idx="4468">
                  <c:v>29.994-30.001</c:v>
                </c:pt>
                <c:pt idx="4469">
                  <c:v>30.001-30.007</c:v>
                </c:pt>
                <c:pt idx="4470">
                  <c:v>30.007-30.014</c:v>
                </c:pt>
                <c:pt idx="4471">
                  <c:v>30.014-30.021</c:v>
                </c:pt>
                <c:pt idx="4472">
                  <c:v>30.021-30.027</c:v>
                </c:pt>
                <c:pt idx="4473">
                  <c:v>30.027-30.034</c:v>
                </c:pt>
                <c:pt idx="4474">
                  <c:v>30.034-30.041</c:v>
                </c:pt>
                <c:pt idx="4475">
                  <c:v>30.041-30.048</c:v>
                </c:pt>
                <c:pt idx="4476">
                  <c:v>30.048-30.054</c:v>
                </c:pt>
                <c:pt idx="4477">
                  <c:v>30.054-30.061</c:v>
                </c:pt>
                <c:pt idx="4478">
                  <c:v>30.061-30.068</c:v>
                </c:pt>
                <c:pt idx="4479">
                  <c:v>30.068-30.074</c:v>
                </c:pt>
                <c:pt idx="4480">
                  <c:v>30.074-30.081</c:v>
                </c:pt>
                <c:pt idx="4481">
                  <c:v>30.081-30.088</c:v>
                </c:pt>
                <c:pt idx="4482">
                  <c:v>30.088-30.095</c:v>
                </c:pt>
                <c:pt idx="4483">
                  <c:v>30.095-30.101</c:v>
                </c:pt>
                <c:pt idx="4484">
                  <c:v>30.101-30.108</c:v>
                </c:pt>
                <c:pt idx="4485">
                  <c:v>30.108-30.115</c:v>
                </c:pt>
                <c:pt idx="4486">
                  <c:v>30.115-30.121</c:v>
                </c:pt>
                <c:pt idx="4487">
                  <c:v>30.121-30.128</c:v>
                </c:pt>
                <c:pt idx="4488">
                  <c:v>30.128-30.135</c:v>
                </c:pt>
                <c:pt idx="4489">
                  <c:v>30.135-30.141</c:v>
                </c:pt>
                <c:pt idx="4490">
                  <c:v>30.141-30.148</c:v>
                </c:pt>
                <c:pt idx="4491">
                  <c:v>30.148-30.155</c:v>
                </c:pt>
                <c:pt idx="4492">
                  <c:v>30.155-30.162</c:v>
                </c:pt>
                <c:pt idx="4493">
                  <c:v>30.162-30.168</c:v>
                </c:pt>
                <c:pt idx="4494">
                  <c:v>30.168-30.175</c:v>
                </c:pt>
                <c:pt idx="4495">
                  <c:v>30.175-30.182</c:v>
                </c:pt>
                <c:pt idx="4496">
                  <c:v>30.182-30.188</c:v>
                </c:pt>
                <c:pt idx="4497">
                  <c:v>30.188-30.195</c:v>
                </c:pt>
                <c:pt idx="4498">
                  <c:v>30.195-30.202</c:v>
                </c:pt>
                <c:pt idx="4499">
                  <c:v>30.202-30.209</c:v>
                </c:pt>
                <c:pt idx="4500">
                  <c:v>30.209-30.215</c:v>
                </c:pt>
                <c:pt idx="4501">
                  <c:v>30.215-30.222</c:v>
                </c:pt>
                <c:pt idx="4502">
                  <c:v>30.222-30.229</c:v>
                </c:pt>
                <c:pt idx="4503">
                  <c:v>30.229-30.235</c:v>
                </c:pt>
                <c:pt idx="4504">
                  <c:v>30.235-30.242</c:v>
                </c:pt>
                <c:pt idx="4505">
                  <c:v>30.242-30.249</c:v>
                </c:pt>
                <c:pt idx="4506">
                  <c:v>30.249-30.256</c:v>
                </c:pt>
                <c:pt idx="4507">
                  <c:v>30.256-30.262</c:v>
                </c:pt>
                <c:pt idx="4508">
                  <c:v>30.262-30.269</c:v>
                </c:pt>
                <c:pt idx="4509">
                  <c:v>30.269-30.276</c:v>
                </c:pt>
                <c:pt idx="4510">
                  <c:v>30.276-30.282</c:v>
                </c:pt>
                <c:pt idx="4511">
                  <c:v>30.282-30.289</c:v>
                </c:pt>
                <c:pt idx="4512">
                  <c:v>30.289-30.296</c:v>
                </c:pt>
                <c:pt idx="4513">
                  <c:v>30.296-30.303</c:v>
                </c:pt>
                <c:pt idx="4514">
                  <c:v>30.303-30.309</c:v>
                </c:pt>
                <c:pt idx="4515">
                  <c:v>30.309-30.316</c:v>
                </c:pt>
                <c:pt idx="4516">
                  <c:v>30.316-30.323</c:v>
                </c:pt>
                <c:pt idx="4517">
                  <c:v>30.323-30.329</c:v>
                </c:pt>
                <c:pt idx="4518">
                  <c:v>30.329-30.336</c:v>
                </c:pt>
                <c:pt idx="4519">
                  <c:v>30.336-30.343</c:v>
                </c:pt>
                <c:pt idx="4520">
                  <c:v>30.343-30.350</c:v>
                </c:pt>
                <c:pt idx="4521">
                  <c:v>30.350-30.356</c:v>
                </c:pt>
                <c:pt idx="4522">
                  <c:v>30.356-30.363</c:v>
                </c:pt>
                <c:pt idx="4523">
                  <c:v>30.363-30.370</c:v>
                </c:pt>
                <c:pt idx="4524">
                  <c:v>30.370-30.376</c:v>
                </c:pt>
                <c:pt idx="4525">
                  <c:v>30.376-30.383</c:v>
                </c:pt>
                <c:pt idx="4526">
                  <c:v>30.383-30.390</c:v>
                </c:pt>
                <c:pt idx="4527">
                  <c:v>30.390-30.397</c:v>
                </c:pt>
                <c:pt idx="4528">
                  <c:v>30.397-30.403</c:v>
                </c:pt>
                <c:pt idx="4529">
                  <c:v>30.403-30.410</c:v>
                </c:pt>
                <c:pt idx="4530">
                  <c:v>30.410-30.417</c:v>
                </c:pt>
                <c:pt idx="4531">
                  <c:v>30.417-30.423</c:v>
                </c:pt>
                <c:pt idx="4532">
                  <c:v>30.423-30.430</c:v>
                </c:pt>
                <c:pt idx="4533">
                  <c:v>30.430-30.437</c:v>
                </c:pt>
                <c:pt idx="4534">
                  <c:v>30.437-30.443</c:v>
                </c:pt>
                <c:pt idx="4535">
                  <c:v>30.443-30.450</c:v>
                </c:pt>
                <c:pt idx="4536">
                  <c:v>30.450-30.457</c:v>
                </c:pt>
                <c:pt idx="4537">
                  <c:v>30.457-30.464</c:v>
                </c:pt>
                <c:pt idx="4538">
                  <c:v>30.464-30.470</c:v>
                </c:pt>
                <c:pt idx="4539">
                  <c:v>30.470-30.477</c:v>
                </c:pt>
                <c:pt idx="4540">
                  <c:v>30.477-30.484</c:v>
                </c:pt>
                <c:pt idx="4541">
                  <c:v>30.484-30.490</c:v>
                </c:pt>
                <c:pt idx="4542">
                  <c:v>30.490-30.497</c:v>
                </c:pt>
                <c:pt idx="4543">
                  <c:v>30.497-30.504</c:v>
                </c:pt>
                <c:pt idx="4544">
                  <c:v>30.504-30.511</c:v>
                </c:pt>
                <c:pt idx="4545">
                  <c:v>30.511-30.517</c:v>
                </c:pt>
                <c:pt idx="4546">
                  <c:v>30.517-30.524</c:v>
                </c:pt>
                <c:pt idx="4547">
                  <c:v>30.524-30.531</c:v>
                </c:pt>
                <c:pt idx="4548">
                  <c:v>30.531-30.537</c:v>
                </c:pt>
                <c:pt idx="4549">
                  <c:v>30.537-30.544</c:v>
                </c:pt>
                <c:pt idx="4550">
                  <c:v>30.544-30.551</c:v>
                </c:pt>
                <c:pt idx="4551">
                  <c:v>30.551-30.558</c:v>
                </c:pt>
                <c:pt idx="4552">
                  <c:v>30.558-30.564</c:v>
                </c:pt>
                <c:pt idx="4553">
                  <c:v>30.564-30.571</c:v>
                </c:pt>
                <c:pt idx="4554">
                  <c:v>30.571-30.578</c:v>
                </c:pt>
                <c:pt idx="4555">
                  <c:v>30.578-30.584</c:v>
                </c:pt>
                <c:pt idx="4556">
                  <c:v>30.584-30.591</c:v>
                </c:pt>
                <c:pt idx="4557">
                  <c:v>30.591-30.598</c:v>
                </c:pt>
                <c:pt idx="4558">
                  <c:v>30.598-30.605</c:v>
                </c:pt>
                <c:pt idx="4559">
                  <c:v>30.605-30.611</c:v>
                </c:pt>
                <c:pt idx="4560">
                  <c:v>30.611-30.618</c:v>
                </c:pt>
                <c:pt idx="4561">
                  <c:v>30.618-30.625</c:v>
                </c:pt>
                <c:pt idx="4562">
                  <c:v>30.625-30.631</c:v>
                </c:pt>
                <c:pt idx="4563">
                  <c:v>30.631-30.638</c:v>
                </c:pt>
                <c:pt idx="4564">
                  <c:v>30.638-30.645</c:v>
                </c:pt>
                <c:pt idx="4565">
                  <c:v>30.645-30.652</c:v>
                </c:pt>
                <c:pt idx="4566">
                  <c:v>30.652-30.658</c:v>
                </c:pt>
                <c:pt idx="4567">
                  <c:v>30.658-30.665</c:v>
                </c:pt>
                <c:pt idx="4568">
                  <c:v>30.665-30.672</c:v>
                </c:pt>
                <c:pt idx="4569">
                  <c:v>30.672-30.678</c:v>
                </c:pt>
                <c:pt idx="4570">
                  <c:v>30.678-30.685</c:v>
                </c:pt>
                <c:pt idx="4571">
                  <c:v>30.685-30.692</c:v>
                </c:pt>
                <c:pt idx="4572">
                  <c:v>30.692-30.698</c:v>
                </c:pt>
                <c:pt idx="4573">
                  <c:v>30.698-30.705</c:v>
                </c:pt>
                <c:pt idx="4574">
                  <c:v>30.705-30.712</c:v>
                </c:pt>
                <c:pt idx="4575">
                  <c:v>30.712-30.719</c:v>
                </c:pt>
                <c:pt idx="4576">
                  <c:v>30.719-30.725</c:v>
                </c:pt>
                <c:pt idx="4577">
                  <c:v>30.725-30.732</c:v>
                </c:pt>
                <c:pt idx="4578">
                  <c:v>30.732-30.739</c:v>
                </c:pt>
                <c:pt idx="4579">
                  <c:v>30.739-30.745</c:v>
                </c:pt>
                <c:pt idx="4580">
                  <c:v>30.745-30.752</c:v>
                </c:pt>
                <c:pt idx="4581">
                  <c:v>30.752-30.759</c:v>
                </c:pt>
                <c:pt idx="4582">
                  <c:v>30.759-30.766</c:v>
                </c:pt>
                <c:pt idx="4583">
                  <c:v>30.766-30.772</c:v>
                </c:pt>
                <c:pt idx="4584">
                  <c:v>30.772-30.779</c:v>
                </c:pt>
                <c:pt idx="4585">
                  <c:v>30.779-30.786</c:v>
                </c:pt>
                <c:pt idx="4586">
                  <c:v>30.786-30.792</c:v>
                </c:pt>
                <c:pt idx="4587">
                  <c:v>30.792-30.799</c:v>
                </c:pt>
                <c:pt idx="4588">
                  <c:v>30.799-30.806</c:v>
                </c:pt>
                <c:pt idx="4589">
                  <c:v>30.806-30.813</c:v>
                </c:pt>
                <c:pt idx="4590">
                  <c:v>30.813-30.819</c:v>
                </c:pt>
                <c:pt idx="4591">
                  <c:v>30.819-30.826</c:v>
                </c:pt>
                <c:pt idx="4592">
                  <c:v>30.826-30.833</c:v>
                </c:pt>
                <c:pt idx="4593">
                  <c:v>30.833-30.839</c:v>
                </c:pt>
                <c:pt idx="4594">
                  <c:v>30.839-30.846</c:v>
                </c:pt>
                <c:pt idx="4595">
                  <c:v>30.846-30.853</c:v>
                </c:pt>
                <c:pt idx="4596">
                  <c:v>30.853-30.860</c:v>
                </c:pt>
                <c:pt idx="4597">
                  <c:v>30.860-30.866</c:v>
                </c:pt>
                <c:pt idx="4598">
                  <c:v>30.866-30.873</c:v>
                </c:pt>
                <c:pt idx="4599">
                  <c:v>30.873-30.880</c:v>
                </c:pt>
                <c:pt idx="4600">
                  <c:v>30.880-30.886</c:v>
                </c:pt>
                <c:pt idx="4601">
                  <c:v>30.886-30.893</c:v>
                </c:pt>
                <c:pt idx="4602">
                  <c:v>30.893-30.900</c:v>
                </c:pt>
                <c:pt idx="4603">
                  <c:v>30.900-30.907</c:v>
                </c:pt>
                <c:pt idx="4604">
                  <c:v>30.907-30.913</c:v>
                </c:pt>
                <c:pt idx="4605">
                  <c:v>30.913-30.920</c:v>
                </c:pt>
                <c:pt idx="4606">
                  <c:v>30.920-30.927</c:v>
                </c:pt>
                <c:pt idx="4607">
                  <c:v>30.927-30.933</c:v>
                </c:pt>
                <c:pt idx="4608">
                  <c:v>30.933-30.940</c:v>
                </c:pt>
                <c:pt idx="4609">
                  <c:v>30.940-30.947</c:v>
                </c:pt>
                <c:pt idx="4610">
                  <c:v>30.947-30.953</c:v>
                </c:pt>
                <c:pt idx="4611">
                  <c:v>30.953-30.960</c:v>
                </c:pt>
                <c:pt idx="4612">
                  <c:v>30.960-30.967</c:v>
                </c:pt>
                <c:pt idx="4613">
                  <c:v>30.967-30.974</c:v>
                </c:pt>
                <c:pt idx="4614">
                  <c:v>30.974-30.980</c:v>
                </c:pt>
                <c:pt idx="4615">
                  <c:v>30.980-30.987</c:v>
                </c:pt>
                <c:pt idx="4616">
                  <c:v>30.987-30.994</c:v>
                </c:pt>
                <c:pt idx="4617">
                  <c:v>30.994-31.000</c:v>
                </c:pt>
                <c:pt idx="4618">
                  <c:v>31.000-31.007</c:v>
                </c:pt>
                <c:pt idx="4619">
                  <c:v>31.007-31.014</c:v>
                </c:pt>
                <c:pt idx="4620">
                  <c:v>31.014-31.021</c:v>
                </c:pt>
                <c:pt idx="4621">
                  <c:v>31.021-31.027</c:v>
                </c:pt>
                <c:pt idx="4622">
                  <c:v>31.027-31.034</c:v>
                </c:pt>
                <c:pt idx="4623">
                  <c:v>31.034-31.041</c:v>
                </c:pt>
                <c:pt idx="4624">
                  <c:v>31.041-31.047</c:v>
                </c:pt>
                <c:pt idx="4625">
                  <c:v>31.047-31.054</c:v>
                </c:pt>
                <c:pt idx="4626">
                  <c:v>31.054-31.061</c:v>
                </c:pt>
                <c:pt idx="4627">
                  <c:v>31.061-31.068</c:v>
                </c:pt>
                <c:pt idx="4628">
                  <c:v>31.068-31.074</c:v>
                </c:pt>
                <c:pt idx="4629">
                  <c:v>31.074-31.081</c:v>
                </c:pt>
                <c:pt idx="4630">
                  <c:v>31.081-31.088</c:v>
                </c:pt>
                <c:pt idx="4631">
                  <c:v>31.088-31.094</c:v>
                </c:pt>
                <c:pt idx="4632">
                  <c:v>31.094-31.101</c:v>
                </c:pt>
                <c:pt idx="4633">
                  <c:v>31.101-31.108</c:v>
                </c:pt>
                <c:pt idx="4634">
                  <c:v>31.108-31.115</c:v>
                </c:pt>
                <c:pt idx="4635">
                  <c:v>31.115-31.121</c:v>
                </c:pt>
                <c:pt idx="4636">
                  <c:v>31.121-31.128</c:v>
                </c:pt>
                <c:pt idx="4637">
                  <c:v>31.128-31.135</c:v>
                </c:pt>
                <c:pt idx="4638">
                  <c:v>31.135-31.141</c:v>
                </c:pt>
                <c:pt idx="4639">
                  <c:v>31.141-31.148</c:v>
                </c:pt>
                <c:pt idx="4640">
                  <c:v>31.148-31.155</c:v>
                </c:pt>
                <c:pt idx="4641">
                  <c:v>31.155-31.162</c:v>
                </c:pt>
                <c:pt idx="4642">
                  <c:v>31.162-31.168</c:v>
                </c:pt>
                <c:pt idx="4643">
                  <c:v>31.168-31.175</c:v>
                </c:pt>
                <c:pt idx="4644">
                  <c:v>31.175-31.182</c:v>
                </c:pt>
                <c:pt idx="4645">
                  <c:v>31.182-31.188</c:v>
                </c:pt>
                <c:pt idx="4646">
                  <c:v>31.188-31.195</c:v>
                </c:pt>
                <c:pt idx="4647">
                  <c:v>31.195-31.202</c:v>
                </c:pt>
                <c:pt idx="4648">
                  <c:v>31.202-31.209</c:v>
                </c:pt>
                <c:pt idx="4649">
                  <c:v>31.209-31.215</c:v>
                </c:pt>
                <c:pt idx="4650">
                  <c:v>31.215-31.222</c:v>
                </c:pt>
                <c:pt idx="4651">
                  <c:v>31.222-31.229</c:v>
                </c:pt>
                <c:pt idx="4652">
                  <c:v>31.229-31.235</c:v>
                </c:pt>
                <c:pt idx="4653">
                  <c:v>31.235-31.242</c:v>
                </c:pt>
                <c:pt idx="4654">
                  <c:v>31.242-31.249</c:v>
                </c:pt>
                <c:pt idx="4655">
                  <c:v>31.249-31.255</c:v>
                </c:pt>
                <c:pt idx="4656">
                  <c:v>31.255-31.262</c:v>
                </c:pt>
                <c:pt idx="4657">
                  <c:v>31.262-31.269</c:v>
                </c:pt>
                <c:pt idx="4658">
                  <c:v>31.269-31.276</c:v>
                </c:pt>
                <c:pt idx="4659">
                  <c:v>31.276-31.282</c:v>
                </c:pt>
                <c:pt idx="4660">
                  <c:v>31.282-31.289</c:v>
                </c:pt>
                <c:pt idx="4661">
                  <c:v>31.289-31.296</c:v>
                </c:pt>
                <c:pt idx="4662">
                  <c:v>31.296-31.302</c:v>
                </c:pt>
                <c:pt idx="4663">
                  <c:v>31.302-31.309</c:v>
                </c:pt>
                <c:pt idx="4664">
                  <c:v>31.309-31.316</c:v>
                </c:pt>
                <c:pt idx="4665">
                  <c:v>31.316-31.323</c:v>
                </c:pt>
                <c:pt idx="4666">
                  <c:v>31.323-31.329</c:v>
                </c:pt>
                <c:pt idx="4667">
                  <c:v>31.329-31.336</c:v>
                </c:pt>
                <c:pt idx="4668">
                  <c:v>31.336-31.343</c:v>
                </c:pt>
                <c:pt idx="4669">
                  <c:v>31.343-31.349</c:v>
                </c:pt>
                <c:pt idx="4670">
                  <c:v>31.349-31.356</c:v>
                </c:pt>
                <c:pt idx="4671">
                  <c:v>31.356-31.363</c:v>
                </c:pt>
                <c:pt idx="4672">
                  <c:v>31.363-31.370</c:v>
                </c:pt>
                <c:pt idx="4673">
                  <c:v>31.370-31.376</c:v>
                </c:pt>
                <c:pt idx="4674">
                  <c:v>31.376-31.383</c:v>
                </c:pt>
                <c:pt idx="4675">
                  <c:v>31.383-31.390</c:v>
                </c:pt>
                <c:pt idx="4676">
                  <c:v>31.390-31.396</c:v>
                </c:pt>
                <c:pt idx="4677">
                  <c:v>31.396-31.403</c:v>
                </c:pt>
                <c:pt idx="4678">
                  <c:v>31.403-31.410</c:v>
                </c:pt>
                <c:pt idx="4679">
                  <c:v>31.410-31.417</c:v>
                </c:pt>
                <c:pt idx="4680">
                  <c:v>31.417-31.423</c:v>
                </c:pt>
                <c:pt idx="4681">
                  <c:v>31.423-31.430</c:v>
                </c:pt>
                <c:pt idx="4682">
                  <c:v>31.430-31.437</c:v>
                </c:pt>
                <c:pt idx="4683">
                  <c:v>31.437-31.443</c:v>
                </c:pt>
                <c:pt idx="4684">
                  <c:v>31.443-31.450</c:v>
                </c:pt>
                <c:pt idx="4685">
                  <c:v>31.450-31.457</c:v>
                </c:pt>
                <c:pt idx="4686">
                  <c:v>31.457-31.464</c:v>
                </c:pt>
                <c:pt idx="4687">
                  <c:v>31.464-31.470</c:v>
                </c:pt>
                <c:pt idx="4688">
                  <c:v>31.470-31.477</c:v>
                </c:pt>
                <c:pt idx="4689">
                  <c:v>31.477-31.484</c:v>
                </c:pt>
                <c:pt idx="4690">
                  <c:v>31.484-31.490</c:v>
                </c:pt>
                <c:pt idx="4691">
                  <c:v>31.490-31.497</c:v>
                </c:pt>
                <c:pt idx="4692">
                  <c:v>31.497-31.504</c:v>
                </c:pt>
                <c:pt idx="4693">
                  <c:v>31.504-31.510</c:v>
                </c:pt>
                <c:pt idx="4694">
                  <c:v>31.510-31.517</c:v>
                </c:pt>
                <c:pt idx="4695">
                  <c:v>31.517-31.524</c:v>
                </c:pt>
                <c:pt idx="4696">
                  <c:v>31.524-31.531</c:v>
                </c:pt>
                <c:pt idx="4697">
                  <c:v>31.531-31.537</c:v>
                </c:pt>
                <c:pt idx="4698">
                  <c:v>31.537-31.544</c:v>
                </c:pt>
                <c:pt idx="4699">
                  <c:v>31.544-31.551</c:v>
                </c:pt>
                <c:pt idx="4700">
                  <c:v>31.551-31.557</c:v>
                </c:pt>
                <c:pt idx="4701">
                  <c:v>31.557-31.564</c:v>
                </c:pt>
                <c:pt idx="4702">
                  <c:v>31.564-31.571</c:v>
                </c:pt>
                <c:pt idx="4703">
                  <c:v>31.571-31.578</c:v>
                </c:pt>
                <c:pt idx="4704">
                  <c:v>31.578-31.584</c:v>
                </c:pt>
                <c:pt idx="4705">
                  <c:v>31.584-31.591</c:v>
                </c:pt>
                <c:pt idx="4706">
                  <c:v>31.591-31.598</c:v>
                </c:pt>
                <c:pt idx="4707">
                  <c:v>31.598-31.604</c:v>
                </c:pt>
                <c:pt idx="4708">
                  <c:v>31.604-31.611</c:v>
                </c:pt>
                <c:pt idx="4709">
                  <c:v>31.611-31.618</c:v>
                </c:pt>
                <c:pt idx="4710">
                  <c:v>31.618-31.625</c:v>
                </c:pt>
                <c:pt idx="4711">
                  <c:v>31.625-31.631</c:v>
                </c:pt>
                <c:pt idx="4712">
                  <c:v>31.631-31.638</c:v>
                </c:pt>
                <c:pt idx="4713">
                  <c:v>31.638-31.645</c:v>
                </c:pt>
                <c:pt idx="4714">
                  <c:v>31.645-31.651</c:v>
                </c:pt>
                <c:pt idx="4715">
                  <c:v>31.651-31.658</c:v>
                </c:pt>
                <c:pt idx="4716">
                  <c:v>31.658-31.665</c:v>
                </c:pt>
                <c:pt idx="4717">
                  <c:v>31.665-31.672</c:v>
                </c:pt>
                <c:pt idx="4718">
                  <c:v>31.672-31.678</c:v>
                </c:pt>
                <c:pt idx="4719">
                  <c:v>31.678-31.685</c:v>
                </c:pt>
                <c:pt idx="4720">
                  <c:v>31.685-31.692</c:v>
                </c:pt>
                <c:pt idx="4721">
                  <c:v>31.692-31.698</c:v>
                </c:pt>
                <c:pt idx="4722">
                  <c:v>31.698-31.705</c:v>
                </c:pt>
                <c:pt idx="4723">
                  <c:v>31.705-31.712</c:v>
                </c:pt>
                <c:pt idx="4724">
                  <c:v>31.712-31.719</c:v>
                </c:pt>
                <c:pt idx="4725">
                  <c:v>31.719-31.725</c:v>
                </c:pt>
                <c:pt idx="4726">
                  <c:v>31.725-31.732</c:v>
                </c:pt>
                <c:pt idx="4727">
                  <c:v>31.732-31.739</c:v>
                </c:pt>
                <c:pt idx="4728">
                  <c:v>31.739-31.745</c:v>
                </c:pt>
                <c:pt idx="4729">
                  <c:v>31.745-31.752</c:v>
                </c:pt>
                <c:pt idx="4730">
                  <c:v>31.752-31.759</c:v>
                </c:pt>
                <c:pt idx="4731">
                  <c:v>31.759-31.766</c:v>
                </c:pt>
                <c:pt idx="4732">
                  <c:v>31.766-31.772</c:v>
                </c:pt>
                <c:pt idx="4733">
                  <c:v>31.772-31.779</c:v>
                </c:pt>
                <c:pt idx="4734">
                  <c:v>31.779-31.786</c:v>
                </c:pt>
                <c:pt idx="4735">
                  <c:v>31.786-31.792</c:v>
                </c:pt>
                <c:pt idx="4736">
                  <c:v>31.792-31.799</c:v>
                </c:pt>
                <c:pt idx="4737">
                  <c:v>31.799-31.806</c:v>
                </c:pt>
                <c:pt idx="4738">
                  <c:v>31.806-31.812</c:v>
                </c:pt>
                <c:pt idx="4739">
                  <c:v>31.812-31.819</c:v>
                </c:pt>
                <c:pt idx="4740">
                  <c:v>31.819-31.826</c:v>
                </c:pt>
                <c:pt idx="4741">
                  <c:v>31.826-31.833</c:v>
                </c:pt>
                <c:pt idx="4742">
                  <c:v>31.833-31.839</c:v>
                </c:pt>
                <c:pt idx="4743">
                  <c:v>31.839-31.846</c:v>
                </c:pt>
                <c:pt idx="4744">
                  <c:v>31.846-31.853</c:v>
                </c:pt>
                <c:pt idx="4745">
                  <c:v>31.853-31.859</c:v>
                </c:pt>
                <c:pt idx="4746">
                  <c:v>31.859-31.866</c:v>
                </c:pt>
                <c:pt idx="4747">
                  <c:v>31.866-31.873</c:v>
                </c:pt>
                <c:pt idx="4748">
                  <c:v>31.873-31.880</c:v>
                </c:pt>
                <c:pt idx="4749">
                  <c:v>31.880-31.886</c:v>
                </c:pt>
                <c:pt idx="4750">
                  <c:v>31.886-31.893</c:v>
                </c:pt>
                <c:pt idx="4751">
                  <c:v>31.893-31.900</c:v>
                </c:pt>
                <c:pt idx="4752">
                  <c:v>31.900-31.906</c:v>
                </c:pt>
                <c:pt idx="4753">
                  <c:v>31.906-31.913</c:v>
                </c:pt>
                <c:pt idx="4754">
                  <c:v>31.913-31.920</c:v>
                </c:pt>
                <c:pt idx="4755">
                  <c:v>31.920-31.927</c:v>
                </c:pt>
                <c:pt idx="4756">
                  <c:v>31.927-31.933</c:v>
                </c:pt>
                <c:pt idx="4757">
                  <c:v>31.933-31.940</c:v>
                </c:pt>
                <c:pt idx="4758">
                  <c:v>31.940-31.947</c:v>
                </c:pt>
                <c:pt idx="4759">
                  <c:v>31.947-31.953</c:v>
                </c:pt>
                <c:pt idx="4760">
                  <c:v>31.953-31.960</c:v>
                </c:pt>
                <c:pt idx="4761">
                  <c:v>31.960-31.967</c:v>
                </c:pt>
                <c:pt idx="4762">
                  <c:v>31.967-31.974</c:v>
                </c:pt>
                <c:pt idx="4763">
                  <c:v>31.974-31.980</c:v>
                </c:pt>
                <c:pt idx="4764">
                  <c:v>31.980-31.987</c:v>
                </c:pt>
                <c:pt idx="4765">
                  <c:v>31.987-31.994</c:v>
                </c:pt>
                <c:pt idx="4766">
                  <c:v>31.994-32.000</c:v>
                </c:pt>
                <c:pt idx="4767">
                  <c:v>32.000-32.007</c:v>
                </c:pt>
                <c:pt idx="4768">
                  <c:v>32.007-32.014</c:v>
                </c:pt>
                <c:pt idx="4769">
                  <c:v>32.014-32.021</c:v>
                </c:pt>
                <c:pt idx="4770">
                  <c:v>32.021-32.027</c:v>
                </c:pt>
                <c:pt idx="4771">
                  <c:v>32.027-32.034</c:v>
                </c:pt>
                <c:pt idx="4772">
                  <c:v>32.034-32.041</c:v>
                </c:pt>
                <c:pt idx="4773">
                  <c:v>32.041-32.047</c:v>
                </c:pt>
                <c:pt idx="4774">
                  <c:v>32.047-32.054</c:v>
                </c:pt>
                <c:pt idx="4775">
                  <c:v>32.054-32.061</c:v>
                </c:pt>
                <c:pt idx="4776">
                  <c:v>32.061-32.067</c:v>
                </c:pt>
                <c:pt idx="4777">
                  <c:v>32.067-32.074</c:v>
                </c:pt>
                <c:pt idx="4778">
                  <c:v>32.074-32.081</c:v>
                </c:pt>
                <c:pt idx="4779">
                  <c:v>32.081-32.088</c:v>
                </c:pt>
                <c:pt idx="4780">
                  <c:v>32.088-32.094</c:v>
                </c:pt>
                <c:pt idx="4781">
                  <c:v>32.094-32.101</c:v>
                </c:pt>
                <c:pt idx="4782">
                  <c:v>32.101-32.108</c:v>
                </c:pt>
                <c:pt idx="4783">
                  <c:v>32.108-32.114</c:v>
                </c:pt>
                <c:pt idx="4784">
                  <c:v>32.114-32.121</c:v>
                </c:pt>
                <c:pt idx="4785">
                  <c:v>32.121-32.128</c:v>
                </c:pt>
                <c:pt idx="4786">
                  <c:v>32.128-32.135</c:v>
                </c:pt>
                <c:pt idx="4787">
                  <c:v>32.135-32.141</c:v>
                </c:pt>
                <c:pt idx="4788">
                  <c:v>32.141-32.148</c:v>
                </c:pt>
                <c:pt idx="4789">
                  <c:v>32.148-32.155</c:v>
                </c:pt>
                <c:pt idx="4790">
                  <c:v>32.155-32.161</c:v>
                </c:pt>
                <c:pt idx="4791">
                  <c:v>32.161-32.168</c:v>
                </c:pt>
                <c:pt idx="4792">
                  <c:v>32.168-32.175</c:v>
                </c:pt>
                <c:pt idx="4793">
                  <c:v>32.175-32.182</c:v>
                </c:pt>
                <c:pt idx="4794">
                  <c:v>32.182-32.188</c:v>
                </c:pt>
                <c:pt idx="4795">
                  <c:v>32.188-32.195</c:v>
                </c:pt>
                <c:pt idx="4796">
                  <c:v>32.195-32.202</c:v>
                </c:pt>
                <c:pt idx="4797">
                  <c:v>32.202-32.208</c:v>
                </c:pt>
                <c:pt idx="4798">
                  <c:v>32.208-32.215</c:v>
                </c:pt>
                <c:pt idx="4799">
                  <c:v>32.215-32.222</c:v>
                </c:pt>
                <c:pt idx="4800">
                  <c:v>32.222-32.229</c:v>
                </c:pt>
                <c:pt idx="4801">
                  <c:v>32.229-32.235</c:v>
                </c:pt>
                <c:pt idx="4802">
                  <c:v>32.235-32.242</c:v>
                </c:pt>
                <c:pt idx="4803">
                  <c:v>32.242-32.249</c:v>
                </c:pt>
                <c:pt idx="4804">
                  <c:v>32.249-32.255</c:v>
                </c:pt>
                <c:pt idx="4805">
                  <c:v>32.255-32.262</c:v>
                </c:pt>
                <c:pt idx="4806">
                  <c:v>32.262-32.269</c:v>
                </c:pt>
                <c:pt idx="4807">
                  <c:v>32.269-32.276</c:v>
                </c:pt>
                <c:pt idx="4808">
                  <c:v>32.276-32.282</c:v>
                </c:pt>
                <c:pt idx="4809">
                  <c:v>32.282-32.289</c:v>
                </c:pt>
                <c:pt idx="4810">
                  <c:v>32.289-32.296</c:v>
                </c:pt>
                <c:pt idx="4811">
                  <c:v>32.296-32.302</c:v>
                </c:pt>
                <c:pt idx="4812">
                  <c:v>32.302-32.309</c:v>
                </c:pt>
                <c:pt idx="4813">
                  <c:v>32.309-32.316</c:v>
                </c:pt>
                <c:pt idx="4814">
                  <c:v>32.316-32.323</c:v>
                </c:pt>
                <c:pt idx="4815">
                  <c:v>32.323-32.329</c:v>
                </c:pt>
                <c:pt idx="4816">
                  <c:v>32.329-32.336</c:v>
                </c:pt>
                <c:pt idx="4817">
                  <c:v>32.336-32.343</c:v>
                </c:pt>
                <c:pt idx="4818">
                  <c:v>32.343-32.349</c:v>
                </c:pt>
                <c:pt idx="4819">
                  <c:v>32.349-32.356</c:v>
                </c:pt>
                <c:pt idx="4820">
                  <c:v>32.356-32.363</c:v>
                </c:pt>
                <c:pt idx="4821">
                  <c:v>32.363-32.369</c:v>
                </c:pt>
                <c:pt idx="4822">
                  <c:v>32.369-32.376</c:v>
                </c:pt>
                <c:pt idx="4823">
                  <c:v>32.376-32.383</c:v>
                </c:pt>
                <c:pt idx="4824">
                  <c:v>32.383-32.390</c:v>
                </c:pt>
                <c:pt idx="4825">
                  <c:v>32.390-32.396</c:v>
                </c:pt>
                <c:pt idx="4826">
                  <c:v>32.396-32.403</c:v>
                </c:pt>
                <c:pt idx="4827">
                  <c:v>32.403-32.410</c:v>
                </c:pt>
                <c:pt idx="4828">
                  <c:v>32.410-32.416</c:v>
                </c:pt>
                <c:pt idx="4829">
                  <c:v>32.416-32.423</c:v>
                </c:pt>
                <c:pt idx="4830">
                  <c:v>32.423-32.430</c:v>
                </c:pt>
                <c:pt idx="4831">
                  <c:v>32.430-32.437</c:v>
                </c:pt>
                <c:pt idx="4832">
                  <c:v>32.437-32.443</c:v>
                </c:pt>
                <c:pt idx="4833">
                  <c:v>32.443-32.450</c:v>
                </c:pt>
                <c:pt idx="4834">
                  <c:v>32.450-32.457</c:v>
                </c:pt>
                <c:pt idx="4835">
                  <c:v>32.457-32.463</c:v>
                </c:pt>
                <c:pt idx="4836">
                  <c:v>32.463-32.470</c:v>
                </c:pt>
                <c:pt idx="4837">
                  <c:v>32.470-32.477</c:v>
                </c:pt>
                <c:pt idx="4838">
                  <c:v>32.477-32.484</c:v>
                </c:pt>
                <c:pt idx="4839">
                  <c:v>32.484-32.490</c:v>
                </c:pt>
                <c:pt idx="4840">
                  <c:v>32.490-32.497</c:v>
                </c:pt>
                <c:pt idx="4841">
                  <c:v>32.497-32.504</c:v>
                </c:pt>
                <c:pt idx="4842">
                  <c:v>32.504-32.510</c:v>
                </c:pt>
                <c:pt idx="4843">
                  <c:v>32.510-32.517</c:v>
                </c:pt>
                <c:pt idx="4844">
                  <c:v>32.517-32.524</c:v>
                </c:pt>
                <c:pt idx="4845">
                  <c:v>32.524-32.531</c:v>
                </c:pt>
                <c:pt idx="4846">
                  <c:v>32.531-32.537</c:v>
                </c:pt>
                <c:pt idx="4847">
                  <c:v>32.537-32.544</c:v>
                </c:pt>
                <c:pt idx="4848">
                  <c:v>32.544-32.551</c:v>
                </c:pt>
                <c:pt idx="4849">
                  <c:v>32.551-32.557</c:v>
                </c:pt>
                <c:pt idx="4850">
                  <c:v>32.557-32.564</c:v>
                </c:pt>
                <c:pt idx="4851">
                  <c:v>32.564-32.571</c:v>
                </c:pt>
                <c:pt idx="4852">
                  <c:v>32.571-32.578</c:v>
                </c:pt>
                <c:pt idx="4853">
                  <c:v>32.578-32.584</c:v>
                </c:pt>
                <c:pt idx="4854">
                  <c:v>32.584-32.591</c:v>
                </c:pt>
                <c:pt idx="4855">
                  <c:v>32.591-32.598</c:v>
                </c:pt>
                <c:pt idx="4856">
                  <c:v>32.598-32.604</c:v>
                </c:pt>
                <c:pt idx="4857">
                  <c:v>32.604-32.611</c:v>
                </c:pt>
                <c:pt idx="4858">
                  <c:v>32.611-32.618</c:v>
                </c:pt>
                <c:pt idx="4859">
                  <c:v>32.618-32.624</c:v>
                </c:pt>
                <c:pt idx="4860">
                  <c:v>32.624-32.631</c:v>
                </c:pt>
                <c:pt idx="4861">
                  <c:v>32.631-32.638</c:v>
                </c:pt>
                <c:pt idx="4862">
                  <c:v>32.638-32.645</c:v>
                </c:pt>
                <c:pt idx="4863">
                  <c:v>32.645-32.651</c:v>
                </c:pt>
                <c:pt idx="4864">
                  <c:v>32.651-32.658</c:v>
                </c:pt>
                <c:pt idx="4865">
                  <c:v>32.658-32.665</c:v>
                </c:pt>
                <c:pt idx="4866">
                  <c:v>32.665-32.671</c:v>
                </c:pt>
                <c:pt idx="4867">
                  <c:v>32.671-32.678</c:v>
                </c:pt>
                <c:pt idx="4868">
                  <c:v>32.678-32.685</c:v>
                </c:pt>
                <c:pt idx="4869">
                  <c:v>32.685-32.692</c:v>
                </c:pt>
                <c:pt idx="4870">
                  <c:v>32.692-32.698</c:v>
                </c:pt>
                <c:pt idx="4871">
                  <c:v>32.698-32.705</c:v>
                </c:pt>
                <c:pt idx="4872">
                  <c:v>32.705-32.712</c:v>
                </c:pt>
                <c:pt idx="4873">
                  <c:v>32.712-32.718</c:v>
                </c:pt>
                <c:pt idx="4874">
                  <c:v>32.718-32.725</c:v>
                </c:pt>
                <c:pt idx="4875">
                  <c:v>32.725-32.732</c:v>
                </c:pt>
                <c:pt idx="4876">
                  <c:v>32.732-32.739</c:v>
                </c:pt>
                <c:pt idx="4877">
                  <c:v>32.739-32.745</c:v>
                </c:pt>
                <c:pt idx="4878">
                  <c:v>32.745-32.752</c:v>
                </c:pt>
                <c:pt idx="4879">
                  <c:v>32.752-32.759</c:v>
                </c:pt>
                <c:pt idx="4880">
                  <c:v>32.759-32.765</c:v>
                </c:pt>
                <c:pt idx="4881">
                  <c:v>32.765-32.772</c:v>
                </c:pt>
                <c:pt idx="4882">
                  <c:v>32.772-32.779</c:v>
                </c:pt>
                <c:pt idx="4883">
                  <c:v>32.779-32.786</c:v>
                </c:pt>
                <c:pt idx="4884">
                  <c:v>32.786-32.792</c:v>
                </c:pt>
                <c:pt idx="4885">
                  <c:v>32.792-32.799</c:v>
                </c:pt>
                <c:pt idx="4886">
                  <c:v>32.799-32.806</c:v>
                </c:pt>
                <c:pt idx="4887">
                  <c:v>32.806-32.812</c:v>
                </c:pt>
                <c:pt idx="4888">
                  <c:v>32.812-32.819</c:v>
                </c:pt>
                <c:pt idx="4889">
                  <c:v>32.819-32.826</c:v>
                </c:pt>
                <c:pt idx="4890">
                  <c:v>32.826-32.833</c:v>
                </c:pt>
                <c:pt idx="4891">
                  <c:v>32.833-32.839</c:v>
                </c:pt>
                <c:pt idx="4892">
                  <c:v>32.839-32.846</c:v>
                </c:pt>
                <c:pt idx="4893">
                  <c:v>32.846-32.853</c:v>
                </c:pt>
                <c:pt idx="4894">
                  <c:v>32.853-32.859</c:v>
                </c:pt>
                <c:pt idx="4895">
                  <c:v>32.859-32.866</c:v>
                </c:pt>
                <c:pt idx="4896">
                  <c:v>32.866-32.873</c:v>
                </c:pt>
                <c:pt idx="4897">
                  <c:v>32.873-32.879</c:v>
                </c:pt>
                <c:pt idx="4898">
                  <c:v>32.879-32.886</c:v>
                </c:pt>
                <c:pt idx="4899">
                  <c:v>32.886-32.893</c:v>
                </c:pt>
                <c:pt idx="4900">
                  <c:v>32.893-32.900</c:v>
                </c:pt>
                <c:pt idx="4901">
                  <c:v>32.900-32.906</c:v>
                </c:pt>
                <c:pt idx="4902">
                  <c:v>32.906-32.913</c:v>
                </c:pt>
                <c:pt idx="4903">
                  <c:v>32.913-32.920</c:v>
                </c:pt>
                <c:pt idx="4904">
                  <c:v>32.920-32.926</c:v>
                </c:pt>
                <c:pt idx="4905">
                  <c:v>32.926-32.933</c:v>
                </c:pt>
                <c:pt idx="4906">
                  <c:v>32.933-32.940</c:v>
                </c:pt>
                <c:pt idx="4907">
                  <c:v>32.940-32.947</c:v>
                </c:pt>
                <c:pt idx="4908">
                  <c:v>32.947-32.953</c:v>
                </c:pt>
                <c:pt idx="4909">
                  <c:v>32.953-32.960</c:v>
                </c:pt>
                <c:pt idx="4910">
                  <c:v>32.960-32.967</c:v>
                </c:pt>
                <c:pt idx="4911">
                  <c:v>32.967-32.973</c:v>
                </c:pt>
                <c:pt idx="4912">
                  <c:v>32.973-32.980</c:v>
                </c:pt>
                <c:pt idx="4913">
                  <c:v>32.980-32.987</c:v>
                </c:pt>
                <c:pt idx="4914">
                  <c:v>32.987-32.994</c:v>
                </c:pt>
                <c:pt idx="4915">
                  <c:v>32.994-33.000</c:v>
                </c:pt>
                <c:pt idx="4916">
                  <c:v>33.000-33.007</c:v>
                </c:pt>
                <c:pt idx="4917">
                  <c:v>33.007-33.014</c:v>
                </c:pt>
                <c:pt idx="4918">
                  <c:v>33.014-33.020</c:v>
                </c:pt>
                <c:pt idx="4919">
                  <c:v>33.020-33.027</c:v>
                </c:pt>
                <c:pt idx="4920">
                  <c:v>33.027-33.034</c:v>
                </c:pt>
                <c:pt idx="4921">
                  <c:v>33.034-33.041</c:v>
                </c:pt>
                <c:pt idx="4922">
                  <c:v>33.041-33.047</c:v>
                </c:pt>
                <c:pt idx="4923">
                  <c:v>33.047-33.054</c:v>
                </c:pt>
                <c:pt idx="4924">
                  <c:v>33.054-33.061</c:v>
                </c:pt>
                <c:pt idx="4925">
                  <c:v>33.061-33.067</c:v>
                </c:pt>
                <c:pt idx="4926">
                  <c:v>33.067-33.074</c:v>
                </c:pt>
                <c:pt idx="4927">
                  <c:v>33.074-33.081</c:v>
                </c:pt>
                <c:pt idx="4928">
                  <c:v>33.081-33.088</c:v>
                </c:pt>
                <c:pt idx="4929">
                  <c:v>33.088-33.094</c:v>
                </c:pt>
                <c:pt idx="4930">
                  <c:v>33.094-33.101</c:v>
                </c:pt>
                <c:pt idx="4931">
                  <c:v>33.101-33.108</c:v>
                </c:pt>
                <c:pt idx="4932">
                  <c:v>33.108-33.114</c:v>
                </c:pt>
                <c:pt idx="4933">
                  <c:v>33.114-33.121</c:v>
                </c:pt>
                <c:pt idx="4934">
                  <c:v>33.121-33.128</c:v>
                </c:pt>
                <c:pt idx="4935">
                  <c:v>33.128-33.135</c:v>
                </c:pt>
                <c:pt idx="4936">
                  <c:v>33.135-33.141</c:v>
                </c:pt>
                <c:pt idx="4937">
                  <c:v>33.141-33.148</c:v>
                </c:pt>
                <c:pt idx="4938">
                  <c:v>33.148-33.155</c:v>
                </c:pt>
                <c:pt idx="4939">
                  <c:v>33.155-33.161</c:v>
                </c:pt>
                <c:pt idx="4940">
                  <c:v>33.161-33.168</c:v>
                </c:pt>
                <c:pt idx="4941">
                  <c:v>33.168-33.175</c:v>
                </c:pt>
                <c:pt idx="4942">
                  <c:v>33.175-33.181</c:v>
                </c:pt>
                <c:pt idx="4943">
                  <c:v>33.181-33.188</c:v>
                </c:pt>
                <c:pt idx="4944">
                  <c:v>33.188-33.195</c:v>
                </c:pt>
                <c:pt idx="4945">
                  <c:v>33.195-33.202</c:v>
                </c:pt>
                <c:pt idx="4946">
                  <c:v>33.202-33.208</c:v>
                </c:pt>
                <c:pt idx="4947">
                  <c:v>33.208-33.215</c:v>
                </c:pt>
                <c:pt idx="4948">
                  <c:v>33.215-33.222</c:v>
                </c:pt>
                <c:pt idx="4949">
                  <c:v>33.222-33.228</c:v>
                </c:pt>
                <c:pt idx="4950">
                  <c:v>33.228-33.235</c:v>
                </c:pt>
                <c:pt idx="4951">
                  <c:v>33.235-33.242</c:v>
                </c:pt>
                <c:pt idx="4952">
                  <c:v>33.242-33.249</c:v>
                </c:pt>
                <c:pt idx="4953">
                  <c:v>33.249-33.255</c:v>
                </c:pt>
                <c:pt idx="4954">
                  <c:v>33.255-33.262</c:v>
                </c:pt>
                <c:pt idx="4955">
                  <c:v>33.262-33.269</c:v>
                </c:pt>
                <c:pt idx="4956">
                  <c:v>33.269-33.275</c:v>
                </c:pt>
                <c:pt idx="4957">
                  <c:v>33.275-33.282</c:v>
                </c:pt>
                <c:pt idx="4958">
                  <c:v>33.282-33.289</c:v>
                </c:pt>
                <c:pt idx="4959">
                  <c:v>33.289-33.296</c:v>
                </c:pt>
                <c:pt idx="4960">
                  <c:v>33.296-33.302</c:v>
                </c:pt>
                <c:pt idx="4961">
                  <c:v>33.302-33.309</c:v>
                </c:pt>
                <c:pt idx="4962">
                  <c:v>33.309-33.316</c:v>
                </c:pt>
                <c:pt idx="4963">
                  <c:v>33.316-33.322</c:v>
                </c:pt>
                <c:pt idx="4964">
                  <c:v>33.322-33.329</c:v>
                </c:pt>
                <c:pt idx="4965">
                  <c:v>33.329-33.336</c:v>
                </c:pt>
                <c:pt idx="4966">
                  <c:v>33.336-33.343</c:v>
                </c:pt>
                <c:pt idx="4967">
                  <c:v>33.343-33.349</c:v>
                </c:pt>
                <c:pt idx="4968">
                  <c:v>33.349-33.356</c:v>
                </c:pt>
                <c:pt idx="4969">
                  <c:v>33.356-33.363</c:v>
                </c:pt>
                <c:pt idx="4970">
                  <c:v>33.363-33.369</c:v>
                </c:pt>
                <c:pt idx="4971">
                  <c:v>33.369-33.376</c:v>
                </c:pt>
                <c:pt idx="4972">
                  <c:v>33.376-33.383</c:v>
                </c:pt>
                <c:pt idx="4973">
                  <c:v>33.383-33.390</c:v>
                </c:pt>
                <c:pt idx="4974">
                  <c:v>33.390-33.396</c:v>
                </c:pt>
                <c:pt idx="4975">
                  <c:v>33.396-33.403</c:v>
                </c:pt>
                <c:pt idx="4976">
                  <c:v>33.403-33.410</c:v>
                </c:pt>
                <c:pt idx="4977">
                  <c:v>33.410-33.416</c:v>
                </c:pt>
                <c:pt idx="4978">
                  <c:v>33.416-33.423</c:v>
                </c:pt>
                <c:pt idx="4979">
                  <c:v>33.423-33.430</c:v>
                </c:pt>
                <c:pt idx="4980">
                  <c:v>33.430-33.436</c:v>
                </c:pt>
                <c:pt idx="4981">
                  <c:v>33.436-33.443</c:v>
                </c:pt>
                <c:pt idx="4982">
                  <c:v>33.443-33.450</c:v>
                </c:pt>
                <c:pt idx="4983">
                  <c:v>33.450-33.457</c:v>
                </c:pt>
                <c:pt idx="4984">
                  <c:v>33.457-33.463</c:v>
                </c:pt>
                <c:pt idx="4985">
                  <c:v>33.463-33.470</c:v>
                </c:pt>
                <c:pt idx="4986">
                  <c:v>33.470-33.477</c:v>
                </c:pt>
                <c:pt idx="4987">
                  <c:v>33.477-33.483</c:v>
                </c:pt>
                <c:pt idx="4988">
                  <c:v>33.483-33.490</c:v>
                </c:pt>
                <c:pt idx="4989">
                  <c:v>33.490-33.497</c:v>
                </c:pt>
                <c:pt idx="4990">
                  <c:v>33.497-33.504</c:v>
                </c:pt>
                <c:pt idx="4991">
                  <c:v>33.504-33.510</c:v>
                </c:pt>
                <c:pt idx="4992">
                  <c:v>33.510-33.517</c:v>
                </c:pt>
                <c:pt idx="4993">
                  <c:v>33.517-33.524</c:v>
                </c:pt>
                <c:pt idx="4994">
                  <c:v>33.524-33.530</c:v>
                </c:pt>
                <c:pt idx="4995">
                  <c:v>33.530-33.537</c:v>
                </c:pt>
                <c:pt idx="4996">
                  <c:v>33.537-33.544</c:v>
                </c:pt>
                <c:pt idx="4997">
                  <c:v>33.544-33.551</c:v>
                </c:pt>
                <c:pt idx="4998">
                  <c:v>33.551-33.557</c:v>
                </c:pt>
                <c:pt idx="4999">
                  <c:v>33.557-33.564</c:v>
                </c:pt>
                <c:pt idx="5000">
                  <c:v>33.564-33.571</c:v>
                </c:pt>
                <c:pt idx="5001">
                  <c:v>33.571-33.577</c:v>
                </c:pt>
                <c:pt idx="5002">
                  <c:v>33.577-33.584</c:v>
                </c:pt>
                <c:pt idx="5003">
                  <c:v>33.584-33.591</c:v>
                </c:pt>
                <c:pt idx="5004">
                  <c:v>33.591-33.598</c:v>
                </c:pt>
                <c:pt idx="5005">
                  <c:v>33.598-33.604</c:v>
                </c:pt>
                <c:pt idx="5006">
                  <c:v>33.604-33.611</c:v>
                </c:pt>
                <c:pt idx="5007">
                  <c:v>33.611-33.618</c:v>
                </c:pt>
                <c:pt idx="5008">
                  <c:v>33.618-33.624</c:v>
                </c:pt>
                <c:pt idx="5009">
                  <c:v>33.624-33.631</c:v>
                </c:pt>
                <c:pt idx="5010">
                  <c:v>33.631-33.638</c:v>
                </c:pt>
                <c:pt idx="5011">
                  <c:v>33.638-33.645</c:v>
                </c:pt>
                <c:pt idx="5012">
                  <c:v>33.645-33.651</c:v>
                </c:pt>
                <c:pt idx="5013">
                  <c:v>33.651-33.658</c:v>
                </c:pt>
                <c:pt idx="5014">
                  <c:v>33.658-33.665</c:v>
                </c:pt>
                <c:pt idx="5015">
                  <c:v>33.665-33.671</c:v>
                </c:pt>
                <c:pt idx="5016">
                  <c:v>33.671-33.678</c:v>
                </c:pt>
                <c:pt idx="5017">
                  <c:v>33.678-33.685</c:v>
                </c:pt>
                <c:pt idx="5018">
                  <c:v>33.685-33.692</c:v>
                </c:pt>
                <c:pt idx="5019">
                  <c:v>33.692-33.698</c:v>
                </c:pt>
                <c:pt idx="5020">
                  <c:v>33.698-33.705</c:v>
                </c:pt>
                <c:pt idx="5021">
                  <c:v>33.705-33.712</c:v>
                </c:pt>
                <c:pt idx="5022">
                  <c:v>33.712-33.718</c:v>
                </c:pt>
                <c:pt idx="5023">
                  <c:v>33.718-33.725</c:v>
                </c:pt>
                <c:pt idx="5024">
                  <c:v>33.725-33.732</c:v>
                </c:pt>
                <c:pt idx="5025">
                  <c:v>33.732-33.738</c:v>
                </c:pt>
                <c:pt idx="5026">
                  <c:v>33.738-33.745</c:v>
                </c:pt>
                <c:pt idx="5027">
                  <c:v>33.745-33.752</c:v>
                </c:pt>
                <c:pt idx="5028">
                  <c:v>33.752-33.759</c:v>
                </c:pt>
                <c:pt idx="5029">
                  <c:v>33.759-33.765</c:v>
                </c:pt>
                <c:pt idx="5030">
                  <c:v>33.765-33.772</c:v>
                </c:pt>
                <c:pt idx="5031">
                  <c:v>33.772-33.779</c:v>
                </c:pt>
                <c:pt idx="5032">
                  <c:v>33.779-33.785</c:v>
                </c:pt>
                <c:pt idx="5033">
                  <c:v>33.785-33.792</c:v>
                </c:pt>
                <c:pt idx="5034">
                  <c:v>33.792-33.799</c:v>
                </c:pt>
                <c:pt idx="5035">
                  <c:v>33.799-33.806</c:v>
                </c:pt>
                <c:pt idx="5036">
                  <c:v>33.806-33.812</c:v>
                </c:pt>
                <c:pt idx="5037">
                  <c:v>33.812-33.819</c:v>
                </c:pt>
                <c:pt idx="5038">
                  <c:v>33.819-33.826</c:v>
                </c:pt>
                <c:pt idx="5039">
                  <c:v>33.826-33.832</c:v>
                </c:pt>
                <c:pt idx="5040">
                  <c:v>33.832-33.839</c:v>
                </c:pt>
                <c:pt idx="5041">
                  <c:v>33.839-33.846</c:v>
                </c:pt>
                <c:pt idx="5042">
                  <c:v>33.846-33.853</c:v>
                </c:pt>
                <c:pt idx="5043">
                  <c:v>33.853-33.859</c:v>
                </c:pt>
                <c:pt idx="5044">
                  <c:v>33.859-33.866</c:v>
                </c:pt>
                <c:pt idx="5045">
                  <c:v>33.866-33.873</c:v>
                </c:pt>
                <c:pt idx="5046">
                  <c:v>33.873-33.879</c:v>
                </c:pt>
                <c:pt idx="5047">
                  <c:v>33.879-33.886</c:v>
                </c:pt>
                <c:pt idx="5048">
                  <c:v>33.886-33.893</c:v>
                </c:pt>
                <c:pt idx="5049">
                  <c:v>33.893-33.900</c:v>
                </c:pt>
                <c:pt idx="5050">
                  <c:v>33.900-33.906</c:v>
                </c:pt>
                <c:pt idx="5051">
                  <c:v>33.906-33.913</c:v>
                </c:pt>
                <c:pt idx="5052">
                  <c:v>33.913-33.920</c:v>
                </c:pt>
                <c:pt idx="5053">
                  <c:v>33.920-33.926</c:v>
                </c:pt>
                <c:pt idx="5054">
                  <c:v>33.926-33.933</c:v>
                </c:pt>
                <c:pt idx="5055">
                  <c:v>33.933-33.940</c:v>
                </c:pt>
                <c:pt idx="5056">
                  <c:v>33.940-33.947</c:v>
                </c:pt>
                <c:pt idx="5057">
                  <c:v>33.947-33.953</c:v>
                </c:pt>
                <c:pt idx="5058">
                  <c:v>33.953-33.960</c:v>
                </c:pt>
                <c:pt idx="5059">
                  <c:v>33.960-33.967</c:v>
                </c:pt>
                <c:pt idx="5060">
                  <c:v>33.967-33.973</c:v>
                </c:pt>
                <c:pt idx="5061">
                  <c:v>33.973-33.980</c:v>
                </c:pt>
                <c:pt idx="5062">
                  <c:v>33.980-33.987</c:v>
                </c:pt>
                <c:pt idx="5063">
                  <c:v>33.987-33.993</c:v>
                </c:pt>
                <c:pt idx="5064">
                  <c:v>33.993-34.000</c:v>
                </c:pt>
                <c:pt idx="5065">
                  <c:v>34.000-34.007</c:v>
                </c:pt>
                <c:pt idx="5066">
                  <c:v>34.007-34.014</c:v>
                </c:pt>
                <c:pt idx="5067">
                  <c:v>34.014-34.020</c:v>
                </c:pt>
                <c:pt idx="5068">
                  <c:v>34.020-34.027</c:v>
                </c:pt>
                <c:pt idx="5069">
                  <c:v>34.027-34.034</c:v>
                </c:pt>
                <c:pt idx="5070">
                  <c:v>34.034-34.040</c:v>
                </c:pt>
                <c:pt idx="5071">
                  <c:v>34.040-34.047</c:v>
                </c:pt>
                <c:pt idx="5072">
                  <c:v>34.047-34.054</c:v>
                </c:pt>
                <c:pt idx="5073">
                  <c:v>34.054-34.061</c:v>
                </c:pt>
                <c:pt idx="5074">
                  <c:v>34.061-34.067</c:v>
                </c:pt>
                <c:pt idx="5075">
                  <c:v>34.067-34.074</c:v>
                </c:pt>
                <c:pt idx="5076">
                  <c:v>34.074-34.081</c:v>
                </c:pt>
                <c:pt idx="5077">
                  <c:v>34.081-34.087</c:v>
                </c:pt>
                <c:pt idx="5078">
                  <c:v>34.087-34.094</c:v>
                </c:pt>
                <c:pt idx="5079">
                  <c:v>34.094-34.101</c:v>
                </c:pt>
                <c:pt idx="5080">
                  <c:v>34.101-34.108</c:v>
                </c:pt>
                <c:pt idx="5081">
                  <c:v>34.108-34.114</c:v>
                </c:pt>
                <c:pt idx="5082">
                  <c:v>34.114-34.121</c:v>
                </c:pt>
                <c:pt idx="5083">
                  <c:v>34.121-34.128</c:v>
                </c:pt>
                <c:pt idx="5084">
                  <c:v>34.128-34.134</c:v>
                </c:pt>
                <c:pt idx="5085">
                  <c:v>34.134-34.141</c:v>
                </c:pt>
                <c:pt idx="5086">
                  <c:v>34.141-34.148</c:v>
                </c:pt>
                <c:pt idx="5087">
                  <c:v>34.148-34.155</c:v>
                </c:pt>
                <c:pt idx="5088">
                  <c:v>34.155-34.161</c:v>
                </c:pt>
                <c:pt idx="5089">
                  <c:v>34.161-34.168</c:v>
                </c:pt>
                <c:pt idx="5090">
                  <c:v>34.168-34.175</c:v>
                </c:pt>
                <c:pt idx="5091">
                  <c:v>34.175-34.181</c:v>
                </c:pt>
                <c:pt idx="5092">
                  <c:v>34.181-34.188</c:v>
                </c:pt>
                <c:pt idx="5093">
                  <c:v>34.188-34.195</c:v>
                </c:pt>
                <c:pt idx="5094">
                  <c:v>34.195-34.202</c:v>
                </c:pt>
                <c:pt idx="5095">
                  <c:v>34.202-34.208</c:v>
                </c:pt>
                <c:pt idx="5096">
                  <c:v>34.208-34.215</c:v>
                </c:pt>
                <c:pt idx="5097">
                  <c:v>34.215-34.222</c:v>
                </c:pt>
                <c:pt idx="5098">
                  <c:v>34.222-34.228</c:v>
                </c:pt>
                <c:pt idx="5099">
                  <c:v>34.228-34.235</c:v>
                </c:pt>
                <c:pt idx="5100">
                  <c:v>34.235-34.242</c:v>
                </c:pt>
                <c:pt idx="5101">
                  <c:v>34.242-34.249</c:v>
                </c:pt>
                <c:pt idx="5102">
                  <c:v>34.249-34.255</c:v>
                </c:pt>
                <c:pt idx="5103">
                  <c:v>34.255-34.262</c:v>
                </c:pt>
                <c:pt idx="5104">
                  <c:v>34.262-34.269</c:v>
                </c:pt>
                <c:pt idx="5105">
                  <c:v>34.269-34.275</c:v>
                </c:pt>
                <c:pt idx="5106">
                  <c:v>34.275-34.282</c:v>
                </c:pt>
                <c:pt idx="5107">
                  <c:v>34.282-34.289</c:v>
                </c:pt>
                <c:pt idx="5108">
                  <c:v>34.289-34.295</c:v>
                </c:pt>
                <c:pt idx="5109">
                  <c:v>34.295-34.302</c:v>
                </c:pt>
                <c:pt idx="5110">
                  <c:v>34.302-34.309</c:v>
                </c:pt>
                <c:pt idx="5111">
                  <c:v>34.309-34.316</c:v>
                </c:pt>
                <c:pt idx="5112">
                  <c:v>34.316-34.322</c:v>
                </c:pt>
                <c:pt idx="5113">
                  <c:v>34.322-34.329</c:v>
                </c:pt>
                <c:pt idx="5114">
                  <c:v>34.329-34.336</c:v>
                </c:pt>
                <c:pt idx="5115">
                  <c:v>34.336-34.342</c:v>
                </c:pt>
                <c:pt idx="5116">
                  <c:v>34.342-34.349</c:v>
                </c:pt>
                <c:pt idx="5117">
                  <c:v>34.349-34.356</c:v>
                </c:pt>
                <c:pt idx="5118">
                  <c:v>34.356-34.363</c:v>
                </c:pt>
                <c:pt idx="5119">
                  <c:v>34.363-34.369</c:v>
                </c:pt>
                <c:pt idx="5120">
                  <c:v>34.369-34.376</c:v>
                </c:pt>
                <c:pt idx="5121">
                  <c:v>34.376-34.383</c:v>
                </c:pt>
                <c:pt idx="5122">
                  <c:v>34.383-34.389</c:v>
                </c:pt>
                <c:pt idx="5123">
                  <c:v>34.389-34.396</c:v>
                </c:pt>
                <c:pt idx="5124">
                  <c:v>34.396-34.403</c:v>
                </c:pt>
                <c:pt idx="5125">
                  <c:v>34.403-34.410</c:v>
                </c:pt>
                <c:pt idx="5126">
                  <c:v>34.410-34.416</c:v>
                </c:pt>
                <c:pt idx="5127">
                  <c:v>34.416-34.423</c:v>
                </c:pt>
                <c:pt idx="5128">
                  <c:v>34.423-34.430</c:v>
                </c:pt>
                <c:pt idx="5129">
                  <c:v>34.430-34.436</c:v>
                </c:pt>
                <c:pt idx="5130">
                  <c:v>34.436-34.443</c:v>
                </c:pt>
                <c:pt idx="5131">
                  <c:v>34.443-34.450</c:v>
                </c:pt>
                <c:pt idx="5132">
                  <c:v>34.450-34.457</c:v>
                </c:pt>
                <c:pt idx="5133">
                  <c:v>34.457-34.463</c:v>
                </c:pt>
                <c:pt idx="5134">
                  <c:v>34.463-34.470</c:v>
                </c:pt>
                <c:pt idx="5135">
                  <c:v>34.470-34.477</c:v>
                </c:pt>
                <c:pt idx="5136">
                  <c:v>34.477-34.483</c:v>
                </c:pt>
                <c:pt idx="5137">
                  <c:v>34.483-34.490</c:v>
                </c:pt>
                <c:pt idx="5138">
                  <c:v>34.490-34.497</c:v>
                </c:pt>
                <c:pt idx="5139">
                  <c:v>34.497-34.504</c:v>
                </c:pt>
                <c:pt idx="5140">
                  <c:v>34.504-34.510</c:v>
                </c:pt>
                <c:pt idx="5141">
                  <c:v>34.510-34.517</c:v>
                </c:pt>
                <c:pt idx="5142">
                  <c:v>34.517-34.524</c:v>
                </c:pt>
                <c:pt idx="5143">
                  <c:v>34.524-34.530</c:v>
                </c:pt>
                <c:pt idx="5144">
                  <c:v>34.530-34.537</c:v>
                </c:pt>
                <c:pt idx="5145">
                  <c:v>34.537-34.544</c:v>
                </c:pt>
                <c:pt idx="5146">
                  <c:v>34.544-34.550</c:v>
                </c:pt>
                <c:pt idx="5147">
                  <c:v>34.550-34.557</c:v>
                </c:pt>
                <c:pt idx="5148">
                  <c:v>34.557-34.564</c:v>
                </c:pt>
                <c:pt idx="5149">
                  <c:v>34.564-34.571</c:v>
                </c:pt>
                <c:pt idx="5150">
                  <c:v>34.571-34.577</c:v>
                </c:pt>
                <c:pt idx="5151">
                  <c:v>34.577-34.584</c:v>
                </c:pt>
                <c:pt idx="5152">
                  <c:v>34.584-34.591</c:v>
                </c:pt>
                <c:pt idx="5153">
                  <c:v>34.591-34.597</c:v>
                </c:pt>
                <c:pt idx="5154">
                  <c:v>34.597-34.604</c:v>
                </c:pt>
                <c:pt idx="5155">
                  <c:v>34.604-34.611</c:v>
                </c:pt>
                <c:pt idx="5156">
                  <c:v>34.611-34.618</c:v>
                </c:pt>
                <c:pt idx="5157">
                  <c:v>34.618-34.624</c:v>
                </c:pt>
                <c:pt idx="5158">
                  <c:v>34.624-34.631</c:v>
                </c:pt>
                <c:pt idx="5159">
                  <c:v>34.631-34.638</c:v>
                </c:pt>
                <c:pt idx="5160">
                  <c:v>34.638-34.644</c:v>
                </c:pt>
                <c:pt idx="5161">
                  <c:v>34.644-34.651</c:v>
                </c:pt>
                <c:pt idx="5162">
                  <c:v>34.651-34.658</c:v>
                </c:pt>
                <c:pt idx="5163">
                  <c:v>34.658-34.665</c:v>
                </c:pt>
                <c:pt idx="5164">
                  <c:v>34.665-34.671</c:v>
                </c:pt>
                <c:pt idx="5165">
                  <c:v>34.671-34.678</c:v>
                </c:pt>
                <c:pt idx="5166">
                  <c:v>34.678-34.685</c:v>
                </c:pt>
                <c:pt idx="5167">
                  <c:v>34.685-34.691</c:v>
                </c:pt>
                <c:pt idx="5168">
                  <c:v>34.691-34.698</c:v>
                </c:pt>
                <c:pt idx="5169">
                  <c:v>34.698-34.705</c:v>
                </c:pt>
                <c:pt idx="5170">
                  <c:v>34.705-34.712</c:v>
                </c:pt>
                <c:pt idx="5171">
                  <c:v>34.712-34.718</c:v>
                </c:pt>
                <c:pt idx="5172">
                  <c:v>34.718-34.725</c:v>
                </c:pt>
                <c:pt idx="5173">
                  <c:v>34.725-34.732</c:v>
                </c:pt>
                <c:pt idx="5174">
                  <c:v>34.732-34.738</c:v>
                </c:pt>
                <c:pt idx="5175">
                  <c:v>34.738-34.745</c:v>
                </c:pt>
                <c:pt idx="5176">
                  <c:v>34.745-34.752</c:v>
                </c:pt>
                <c:pt idx="5177">
                  <c:v>34.752-34.759</c:v>
                </c:pt>
                <c:pt idx="5178">
                  <c:v>34.759-34.765</c:v>
                </c:pt>
                <c:pt idx="5179">
                  <c:v>34.765-34.772</c:v>
                </c:pt>
                <c:pt idx="5180">
                  <c:v>34.772-34.779</c:v>
                </c:pt>
                <c:pt idx="5181">
                  <c:v>34.779-34.785</c:v>
                </c:pt>
                <c:pt idx="5182">
                  <c:v>34.785-34.792</c:v>
                </c:pt>
                <c:pt idx="5183">
                  <c:v>34.792-34.799</c:v>
                </c:pt>
                <c:pt idx="5184">
                  <c:v>34.799-34.805</c:v>
                </c:pt>
                <c:pt idx="5185">
                  <c:v>34.805-34.812</c:v>
                </c:pt>
                <c:pt idx="5186">
                  <c:v>34.812-34.819</c:v>
                </c:pt>
                <c:pt idx="5187">
                  <c:v>34.819-34.826</c:v>
                </c:pt>
                <c:pt idx="5188">
                  <c:v>34.826-34.832</c:v>
                </c:pt>
                <c:pt idx="5189">
                  <c:v>34.832-34.839</c:v>
                </c:pt>
                <c:pt idx="5190">
                  <c:v>34.839-34.846</c:v>
                </c:pt>
                <c:pt idx="5191">
                  <c:v>34.846-34.852</c:v>
                </c:pt>
                <c:pt idx="5192">
                  <c:v>34.852-34.859</c:v>
                </c:pt>
                <c:pt idx="5193">
                  <c:v>34.859-34.866</c:v>
                </c:pt>
                <c:pt idx="5194">
                  <c:v>34.866-34.873</c:v>
                </c:pt>
                <c:pt idx="5195">
                  <c:v>34.873-34.879</c:v>
                </c:pt>
                <c:pt idx="5196">
                  <c:v>34.879-34.886</c:v>
                </c:pt>
                <c:pt idx="5197">
                  <c:v>34.886-34.893</c:v>
                </c:pt>
                <c:pt idx="5198">
                  <c:v>34.893-34.899</c:v>
                </c:pt>
                <c:pt idx="5199">
                  <c:v>34.899-34.906</c:v>
                </c:pt>
                <c:pt idx="5200">
                  <c:v>34.906-34.913</c:v>
                </c:pt>
                <c:pt idx="5201">
                  <c:v>34.913-34.920</c:v>
                </c:pt>
                <c:pt idx="5202">
                  <c:v>34.920-34.926</c:v>
                </c:pt>
                <c:pt idx="5203">
                  <c:v>34.926-34.933</c:v>
                </c:pt>
                <c:pt idx="5204">
                  <c:v>34.933-34.940</c:v>
                </c:pt>
                <c:pt idx="5205">
                  <c:v>34.940-34.946</c:v>
                </c:pt>
                <c:pt idx="5206">
                  <c:v>34.946-34.953</c:v>
                </c:pt>
                <c:pt idx="5207">
                  <c:v>34.953-34.960</c:v>
                </c:pt>
                <c:pt idx="5208">
                  <c:v>34.960-34.967</c:v>
                </c:pt>
                <c:pt idx="5209">
                  <c:v>34.967-34.973</c:v>
                </c:pt>
                <c:pt idx="5210">
                  <c:v>34.973-34.980</c:v>
                </c:pt>
                <c:pt idx="5211">
                  <c:v>34.980-34.987</c:v>
                </c:pt>
                <c:pt idx="5212">
                  <c:v>34.987-34.993</c:v>
                </c:pt>
                <c:pt idx="5213">
                  <c:v>34.993-35.000</c:v>
                </c:pt>
                <c:pt idx="5214">
                  <c:v>35.000-35.007</c:v>
                </c:pt>
                <c:pt idx="5215">
                  <c:v>35.007-35.014</c:v>
                </c:pt>
                <c:pt idx="5216">
                  <c:v>35.014-35.020</c:v>
                </c:pt>
                <c:pt idx="5217">
                  <c:v>35.020-35.027</c:v>
                </c:pt>
                <c:pt idx="5218">
                  <c:v>35.027-35.034</c:v>
                </c:pt>
                <c:pt idx="5219">
                  <c:v>35.034-35.040</c:v>
                </c:pt>
                <c:pt idx="5220">
                  <c:v>35.040-35.047</c:v>
                </c:pt>
                <c:pt idx="5221">
                  <c:v>35.047-35.054</c:v>
                </c:pt>
                <c:pt idx="5222">
                  <c:v>35.054-35.061</c:v>
                </c:pt>
                <c:pt idx="5223">
                  <c:v>35.061-35.067</c:v>
                </c:pt>
                <c:pt idx="5224">
                  <c:v>35.067-35.074</c:v>
                </c:pt>
                <c:pt idx="5225">
                  <c:v>35.074-35.081</c:v>
                </c:pt>
                <c:pt idx="5226">
                  <c:v>35.081-35.087</c:v>
                </c:pt>
                <c:pt idx="5227">
                  <c:v>35.087-35.094</c:v>
                </c:pt>
                <c:pt idx="5228">
                  <c:v>35.094-35.101</c:v>
                </c:pt>
                <c:pt idx="5229">
                  <c:v>35.101-35.107</c:v>
                </c:pt>
                <c:pt idx="5230">
                  <c:v>35.107-35.114</c:v>
                </c:pt>
                <c:pt idx="5231">
                  <c:v>35.114-35.121</c:v>
                </c:pt>
                <c:pt idx="5232">
                  <c:v>35.121-35.128</c:v>
                </c:pt>
                <c:pt idx="5233">
                  <c:v>35.128-35.134</c:v>
                </c:pt>
                <c:pt idx="5234">
                  <c:v>35.134-35.141</c:v>
                </c:pt>
                <c:pt idx="5235">
                  <c:v>35.141-35.148</c:v>
                </c:pt>
                <c:pt idx="5236">
                  <c:v>35.148-35.154</c:v>
                </c:pt>
                <c:pt idx="5237">
                  <c:v>35.154-35.161</c:v>
                </c:pt>
                <c:pt idx="5238">
                  <c:v>35.161-35.168</c:v>
                </c:pt>
                <c:pt idx="5239">
                  <c:v>35.168-35.175</c:v>
                </c:pt>
                <c:pt idx="5240">
                  <c:v>35.175-35.181</c:v>
                </c:pt>
                <c:pt idx="5241">
                  <c:v>35.181-35.188</c:v>
                </c:pt>
                <c:pt idx="5242">
                  <c:v>35.188-35.195</c:v>
                </c:pt>
                <c:pt idx="5243">
                  <c:v>35.195-35.201</c:v>
                </c:pt>
                <c:pt idx="5244">
                  <c:v>35.201-35.208</c:v>
                </c:pt>
                <c:pt idx="5245">
                  <c:v>35.208-35.215</c:v>
                </c:pt>
                <c:pt idx="5246">
                  <c:v>35.215-35.222</c:v>
                </c:pt>
                <c:pt idx="5247">
                  <c:v>35.222-35.228</c:v>
                </c:pt>
                <c:pt idx="5248">
                  <c:v>35.228-35.235</c:v>
                </c:pt>
                <c:pt idx="5249">
                  <c:v>35.235-35.242</c:v>
                </c:pt>
                <c:pt idx="5250">
                  <c:v>35.242-35.248</c:v>
                </c:pt>
                <c:pt idx="5251">
                  <c:v>35.248-35.255</c:v>
                </c:pt>
                <c:pt idx="5252">
                  <c:v>35.255-35.262</c:v>
                </c:pt>
                <c:pt idx="5253">
                  <c:v>35.262-35.269</c:v>
                </c:pt>
                <c:pt idx="5254">
                  <c:v>35.269-35.275</c:v>
                </c:pt>
                <c:pt idx="5255">
                  <c:v>35.275-35.282</c:v>
                </c:pt>
                <c:pt idx="5256">
                  <c:v>35.282-35.289</c:v>
                </c:pt>
                <c:pt idx="5257">
                  <c:v>35.289-35.295</c:v>
                </c:pt>
                <c:pt idx="5258">
                  <c:v>35.295-35.302</c:v>
                </c:pt>
                <c:pt idx="5259">
                  <c:v>35.302-35.309</c:v>
                </c:pt>
                <c:pt idx="5260">
                  <c:v>35.309-35.316</c:v>
                </c:pt>
                <c:pt idx="5261">
                  <c:v>35.316-35.322</c:v>
                </c:pt>
                <c:pt idx="5262">
                  <c:v>35.322-35.329</c:v>
                </c:pt>
                <c:pt idx="5263">
                  <c:v>35.329-35.336</c:v>
                </c:pt>
                <c:pt idx="5264">
                  <c:v>35.336-35.342</c:v>
                </c:pt>
                <c:pt idx="5265">
                  <c:v>35.342-35.349</c:v>
                </c:pt>
                <c:pt idx="5266">
                  <c:v>35.349-35.356</c:v>
                </c:pt>
                <c:pt idx="5267">
                  <c:v>35.356-35.362</c:v>
                </c:pt>
                <c:pt idx="5268">
                  <c:v>35.362-35.369</c:v>
                </c:pt>
                <c:pt idx="5269">
                  <c:v>35.369-35.376</c:v>
                </c:pt>
                <c:pt idx="5270">
                  <c:v>35.376-35.383</c:v>
                </c:pt>
                <c:pt idx="5271">
                  <c:v>35.383-35.389</c:v>
                </c:pt>
                <c:pt idx="5272">
                  <c:v>35.389-35.396</c:v>
                </c:pt>
                <c:pt idx="5273">
                  <c:v>35.396-35.403</c:v>
                </c:pt>
                <c:pt idx="5274">
                  <c:v>35.403-35.409</c:v>
                </c:pt>
                <c:pt idx="5275">
                  <c:v>35.409-35.416</c:v>
                </c:pt>
                <c:pt idx="5276">
                  <c:v>35.416-35.423</c:v>
                </c:pt>
                <c:pt idx="5277">
                  <c:v>35.423-35.430</c:v>
                </c:pt>
                <c:pt idx="5278">
                  <c:v>35.430-35.436</c:v>
                </c:pt>
                <c:pt idx="5279">
                  <c:v>35.436-35.443</c:v>
                </c:pt>
                <c:pt idx="5280">
                  <c:v>35.443-35.450</c:v>
                </c:pt>
                <c:pt idx="5281">
                  <c:v>35.450-35.456</c:v>
                </c:pt>
                <c:pt idx="5282">
                  <c:v>35.456-35.463</c:v>
                </c:pt>
                <c:pt idx="5283">
                  <c:v>35.463-35.470</c:v>
                </c:pt>
                <c:pt idx="5284">
                  <c:v>35.470-35.477</c:v>
                </c:pt>
                <c:pt idx="5285">
                  <c:v>35.477-35.483</c:v>
                </c:pt>
                <c:pt idx="5286">
                  <c:v>35.483-35.490</c:v>
                </c:pt>
                <c:pt idx="5287">
                  <c:v>35.490-35.497</c:v>
                </c:pt>
                <c:pt idx="5288">
                  <c:v>35.497-35.503</c:v>
                </c:pt>
                <c:pt idx="5289">
                  <c:v>35.503-35.510</c:v>
                </c:pt>
                <c:pt idx="5290">
                  <c:v>35.510-35.517</c:v>
                </c:pt>
                <c:pt idx="5291">
                  <c:v>35.517-35.524</c:v>
                </c:pt>
                <c:pt idx="5292">
                  <c:v>35.524-35.530</c:v>
                </c:pt>
                <c:pt idx="5293">
                  <c:v>35.530-35.537</c:v>
                </c:pt>
                <c:pt idx="5294">
                  <c:v>35.537-35.544</c:v>
                </c:pt>
                <c:pt idx="5295">
                  <c:v>35.544-35.550</c:v>
                </c:pt>
                <c:pt idx="5296">
                  <c:v>35.550-35.557</c:v>
                </c:pt>
                <c:pt idx="5297">
                  <c:v>35.557-35.564</c:v>
                </c:pt>
                <c:pt idx="5298">
                  <c:v>35.564-35.571</c:v>
                </c:pt>
                <c:pt idx="5299">
                  <c:v>35.571-35.577</c:v>
                </c:pt>
                <c:pt idx="5300">
                  <c:v>35.577-35.584</c:v>
                </c:pt>
                <c:pt idx="5301">
                  <c:v>35.584-35.591</c:v>
                </c:pt>
                <c:pt idx="5302">
                  <c:v>35.591-35.597</c:v>
                </c:pt>
                <c:pt idx="5303">
                  <c:v>35.597-35.604</c:v>
                </c:pt>
                <c:pt idx="5304">
                  <c:v>35.604-35.611</c:v>
                </c:pt>
                <c:pt idx="5305">
                  <c:v>35.611-35.618</c:v>
                </c:pt>
                <c:pt idx="5306">
                  <c:v>35.618-35.624</c:v>
                </c:pt>
                <c:pt idx="5307">
                  <c:v>35.624-35.631</c:v>
                </c:pt>
                <c:pt idx="5308">
                  <c:v>35.631-35.638</c:v>
                </c:pt>
                <c:pt idx="5309">
                  <c:v>35.638-35.644</c:v>
                </c:pt>
                <c:pt idx="5310">
                  <c:v>35.644-35.651</c:v>
                </c:pt>
                <c:pt idx="5311">
                  <c:v>35.651-35.658</c:v>
                </c:pt>
                <c:pt idx="5312">
                  <c:v>35.658-35.664</c:v>
                </c:pt>
                <c:pt idx="5313">
                  <c:v>35.664-35.671</c:v>
                </c:pt>
                <c:pt idx="5314">
                  <c:v>35.671-35.678</c:v>
                </c:pt>
                <c:pt idx="5315">
                  <c:v>35.678-35.685</c:v>
                </c:pt>
                <c:pt idx="5316">
                  <c:v>35.685-35.691</c:v>
                </c:pt>
                <c:pt idx="5317">
                  <c:v>35.691-35.698</c:v>
                </c:pt>
                <c:pt idx="5318">
                  <c:v>35.698-35.705</c:v>
                </c:pt>
                <c:pt idx="5319">
                  <c:v>35.705-35.711</c:v>
                </c:pt>
                <c:pt idx="5320">
                  <c:v>35.711-35.718</c:v>
                </c:pt>
                <c:pt idx="5321">
                  <c:v>35.718-35.725</c:v>
                </c:pt>
                <c:pt idx="5322">
                  <c:v>35.725-35.732</c:v>
                </c:pt>
                <c:pt idx="5323">
                  <c:v>35.732-35.738</c:v>
                </c:pt>
                <c:pt idx="5324">
                  <c:v>35.738-35.745</c:v>
                </c:pt>
                <c:pt idx="5325">
                  <c:v>35.745-35.752</c:v>
                </c:pt>
                <c:pt idx="5326">
                  <c:v>35.752-35.758</c:v>
                </c:pt>
                <c:pt idx="5327">
                  <c:v>35.758-35.765</c:v>
                </c:pt>
                <c:pt idx="5328">
                  <c:v>35.765-35.772</c:v>
                </c:pt>
                <c:pt idx="5329">
                  <c:v>35.772-35.779</c:v>
                </c:pt>
                <c:pt idx="5330">
                  <c:v>35.779-35.785</c:v>
                </c:pt>
                <c:pt idx="5331">
                  <c:v>35.785-35.792</c:v>
                </c:pt>
                <c:pt idx="5332">
                  <c:v>35.792-35.799</c:v>
                </c:pt>
                <c:pt idx="5333">
                  <c:v>35.799-35.805</c:v>
                </c:pt>
                <c:pt idx="5334">
                  <c:v>35.805-35.812</c:v>
                </c:pt>
                <c:pt idx="5335">
                  <c:v>35.812-35.819</c:v>
                </c:pt>
                <c:pt idx="5336">
                  <c:v>35.819-35.826</c:v>
                </c:pt>
                <c:pt idx="5337">
                  <c:v>35.826-35.832</c:v>
                </c:pt>
                <c:pt idx="5338">
                  <c:v>35.832-35.839</c:v>
                </c:pt>
                <c:pt idx="5339">
                  <c:v>35.839-35.846</c:v>
                </c:pt>
                <c:pt idx="5340">
                  <c:v>35.846-35.852</c:v>
                </c:pt>
                <c:pt idx="5341">
                  <c:v>35.852-35.859</c:v>
                </c:pt>
                <c:pt idx="5342">
                  <c:v>35.859-35.866</c:v>
                </c:pt>
                <c:pt idx="5343">
                  <c:v>35.866-35.873</c:v>
                </c:pt>
                <c:pt idx="5344">
                  <c:v>35.873-35.879</c:v>
                </c:pt>
                <c:pt idx="5345">
                  <c:v>35.879-35.886</c:v>
                </c:pt>
                <c:pt idx="5346">
                  <c:v>35.886-35.893</c:v>
                </c:pt>
                <c:pt idx="5347">
                  <c:v>35.893-35.899</c:v>
                </c:pt>
                <c:pt idx="5348">
                  <c:v>35.899-35.906</c:v>
                </c:pt>
                <c:pt idx="5349">
                  <c:v>35.906-35.913</c:v>
                </c:pt>
                <c:pt idx="5350">
                  <c:v>35.913-35.919</c:v>
                </c:pt>
                <c:pt idx="5351">
                  <c:v>35.919-35.926</c:v>
                </c:pt>
                <c:pt idx="5352">
                  <c:v>35.926-35.933</c:v>
                </c:pt>
                <c:pt idx="5353">
                  <c:v>35.933-35.940</c:v>
                </c:pt>
                <c:pt idx="5354">
                  <c:v>35.940-35.946</c:v>
                </c:pt>
                <c:pt idx="5355">
                  <c:v>35.946-35.953</c:v>
                </c:pt>
                <c:pt idx="5356">
                  <c:v>35.953-35.960</c:v>
                </c:pt>
                <c:pt idx="5357">
                  <c:v>35.960-35.966</c:v>
                </c:pt>
                <c:pt idx="5358">
                  <c:v>35.966-35.973</c:v>
                </c:pt>
                <c:pt idx="5359">
                  <c:v>35.973-35.980</c:v>
                </c:pt>
                <c:pt idx="5360">
                  <c:v>35.980-35.987</c:v>
                </c:pt>
                <c:pt idx="5361">
                  <c:v>35.987-35.993</c:v>
                </c:pt>
                <c:pt idx="5362">
                  <c:v>35.993-36.000</c:v>
                </c:pt>
                <c:pt idx="5363">
                  <c:v>36.000-36.007</c:v>
                </c:pt>
                <c:pt idx="5364">
                  <c:v>36.007-36.013</c:v>
                </c:pt>
                <c:pt idx="5365">
                  <c:v>36.013-36.020</c:v>
                </c:pt>
                <c:pt idx="5366">
                  <c:v>36.020-36.027</c:v>
                </c:pt>
                <c:pt idx="5367">
                  <c:v>36.027-36.034</c:v>
                </c:pt>
                <c:pt idx="5368">
                  <c:v>36.034-36.040</c:v>
                </c:pt>
                <c:pt idx="5369">
                  <c:v>36.040-36.047</c:v>
                </c:pt>
                <c:pt idx="5370">
                  <c:v>36.047-36.054</c:v>
                </c:pt>
                <c:pt idx="5371">
                  <c:v>36.054-36.060</c:v>
                </c:pt>
                <c:pt idx="5372">
                  <c:v>36.060-36.067</c:v>
                </c:pt>
                <c:pt idx="5373">
                  <c:v>36.067-36.074</c:v>
                </c:pt>
                <c:pt idx="5374">
                  <c:v>36.074-36.081</c:v>
                </c:pt>
                <c:pt idx="5375">
                  <c:v>36.081-36.087</c:v>
                </c:pt>
                <c:pt idx="5376">
                  <c:v>36.087-36.094</c:v>
                </c:pt>
                <c:pt idx="5377">
                  <c:v>36.094-36.101</c:v>
                </c:pt>
                <c:pt idx="5378">
                  <c:v>36.101-36.107</c:v>
                </c:pt>
                <c:pt idx="5379">
                  <c:v>36.107-36.114</c:v>
                </c:pt>
                <c:pt idx="5380">
                  <c:v>36.114-36.121</c:v>
                </c:pt>
                <c:pt idx="5381">
                  <c:v>36.121-36.128</c:v>
                </c:pt>
                <c:pt idx="5382">
                  <c:v>36.128-36.134</c:v>
                </c:pt>
                <c:pt idx="5383">
                  <c:v>36.134-36.141</c:v>
                </c:pt>
                <c:pt idx="5384">
                  <c:v>36.141-36.148</c:v>
                </c:pt>
                <c:pt idx="5385">
                  <c:v>36.148-36.154</c:v>
                </c:pt>
                <c:pt idx="5386">
                  <c:v>36.154-36.161</c:v>
                </c:pt>
                <c:pt idx="5387">
                  <c:v>36.161-36.168</c:v>
                </c:pt>
                <c:pt idx="5388">
                  <c:v>36.168-36.175</c:v>
                </c:pt>
                <c:pt idx="5389">
                  <c:v>36.175-36.181</c:v>
                </c:pt>
                <c:pt idx="5390">
                  <c:v>36.181-36.188</c:v>
                </c:pt>
                <c:pt idx="5391">
                  <c:v>36.188-36.195</c:v>
                </c:pt>
                <c:pt idx="5392">
                  <c:v>36.195-36.201</c:v>
                </c:pt>
                <c:pt idx="5393">
                  <c:v>36.201-36.208</c:v>
                </c:pt>
                <c:pt idx="5394">
                  <c:v>36.208-36.215</c:v>
                </c:pt>
                <c:pt idx="5395">
                  <c:v>36.215-36.221</c:v>
                </c:pt>
                <c:pt idx="5396">
                  <c:v>36.221-36.228</c:v>
                </c:pt>
                <c:pt idx="5397">
                  <c:v>36.228-36.235</c:v>
                </c:pt>
                <c:pt idx="5398">
                  <c:v>36.235-36.242</c:v>
                </c:pt>
                <c:pt idx="5399">
                  <c:v>36.242-36.248</c:v>
                </c:pt>
                <c:pt idx="5400">
                  <c:v>36.248-36.255</c:v>
                </c:pt>
                <c:pt idx="5401">
                  <c:v>36.255-36.262</c:v>
                </c:pt>
                <c:pt idx="5402">
                  <c:v>36.262-36.268</c:v>
                </c:pt>
                <c:pt idx="5403">
                  <c:v>36.268-36.275</c:v>
                </c:pt>
                <c:pt idx="5404">
                  <c:v>36.275-36.282</c:v>
                </c:pt>
                <c:pt idx="5405">
                  <c:v>36.282-36.289</c:v>
                </c:pt>
                <c:pt idx="5406">
                  <c:v>36.289-36.295</c:v>
                </c:pt>
                <c:pt idx="5407">
                  <c:v>36.295-36.302</c:v>
                </c:pt>
                <c:pt idx="5408">
                  <c:v>36.302-36.309</c:v>
                </c:pt>
                <c:pt idx="5409">
                  <c:v>36.309-36.315</c:v>
                </c:pt>
                <c:pt idx="5410">
                  <c:v>36.315-36.322</c:v>
                </c:pt>
                <c:pt idx="5411">
                  <c:v>36.322-36.329</c:v>
                </c:pt>
                <c:pt idx="5412">
                  <c:v>36.329-36.336</c:v>
                </c:pt>
                <c:pt idx="5413">
                  <c:v>36.336-36.342</c:v>
                </c:pt>
                <c:pt idx="5414">
                  <c:v>36.342-36.349</c:v>
                </c:pt>
                <c:pt idx="5415">
                  <c:v>36.349-36.356</c:v>
                </c:pt>
                <c:pt idx="5416">
                  <c:v>36.356-36.362</c:v>
                </c:pt>
                <c:pt idx="5417">
                  <c:v>36.362-36.369</c:v>
                </c:pt>
                <c:pt idx="5418">
                  <c:v>36.369-36.376</c:v>
                </c:pt>
                <c:pt idx="5419">
                  <c:v>36.376-36.383</c:v>
                </c:pt>
                <c:pt idx="5420">
                  <c:v>36.383-36.389</c:v>
                </c:pt>
                <c:pt idx="5421">
                  <c:v>36.389-36.396</c:v>
                </c:pt>
                <c:pt idx="5422">
                  <c:v>36.396-36.403</c:v>
                </c:pt>
                <c:pt idx="5423">
                  <c:v>36.403-36.409</c:v>
                </c:pt>
                <c:pt idx="5424">
                  <c:v>36.409-36.416</c:v>
                </c:pt>
                <c:pt idx="5425">
                  <c:v>36.416-36.423</c:v>
                </c:pt>
                <c:pt idx="5426">
                  <c:v>36.423-36.430</c:v>
                </c:pt>
                <c:pt idx="5427">
                  <c:v>36.430-36.436</c:v>
                </c:pt>
                <c:pt idx="5428">
                  <c:v>36.436-36.443</c:v>
                </c:pt>
                <c:pt idx="5429">
                  <c:v>36.443-36.450</c:v>
                </c:pt>
                <c:pt idx="5430">
                  <c:v>36.450-36.456</c:v>
                </c:pt>
                <c:pt idx="5431">
                  <c:v>36.456-36.463</c:v>
                </c:pt>
                <c:pt idx="5432">
                  <c:v>36.463-36.470</c:v>
                </c:pt>
                <c:pt idx="5433">
                  <c:v>36.470-36.476</c:v>
                </c:pt>
                <c:pt idx="5434">
                  <c:v>36.476-36.483</c:v>
                </c:pt>
                <c:pt idx="5435">
                  <c:v>36.483-36.490</c:v>
                </c:pt>
                <c:pt idx="5436">
                  <c:v>36.490-36.497</c:v>
                </c:pt>
                <c:pt idx="5437">
                  <c:v>36.497-36.503</c:v>
                </c:pt>
                <c:pt idx="5438">
                  <c:v>36.503-36.510</c:v>
                </c:pt>
                <c:pt idx="5439">
                  <c:v>36.510-36.517</c:v>
                </c:pt>
                <c:pt idx="5440">
                  <c:v>36.517-36.523</c:v>
                </c:pt>
                <c:pt idx="5441">
                  <c:v>36.523-36.530</c:v>
                </c:pt>
                <c:pt idx="5442">
                  <c:v>36.530-36.537</c:v>
                </c:pt>
                <c:pt idx="5443">
                  <c:v>36.537-36.544</c:v>
                </c:pt>
                <c:pt idx="5444">
                  <c:v>36.544-36.550</c:v>
                </c:pt>
                <c:pt idx="5445">
                  <c:v>36.550-36.557</c:v>
                </c:pt>
                <c:pt idx="5446">
                  <c:v>36.557-36.564</c:v>
                </c:pt>
                <c:pt idx="5447">
                  <c:v>36.564-36.570</c:v>
                </c:pt>
                <c:pt idx="5448">
                  <c:v>36.570-36.577</c:v>
                </c:pt>
                <c:pt idx="5449">
                  <c:v>36.577-36.584</c:v>
                </c:pt>
                <c:pt idx="5450">
                  <c:v>36.584-36.591</c:v>
                </c:pt>
                <c:pt idx="5451">
                  <c:v>36.591-36.597</c:v>
                </c:pt>
                <c:pt idx="5452">
                  <c:v>36.597-36.604</c:v>
                </c:pt>
                <c:pt idx="5453">
                  <c:v>36.604-36.611</c:v>
                </c:pt>
                <c:pt idx="5454">
                  <c:v>36.611-36.617</c:v>
                </c:pt>
                <c:pt idx="5455">
                  <c:v>36.617-36.624</c:v>
                </c:pt>
                <c:pt idx="5456">
                  <c:v>36.624-36.631</c:v>
                </c:pt>
                <c:pt idx="5457">
                  <c:v>36.631-36.638</c:v>
                </c:pt>
                <c:pt idx="5458">
                  <c:v>36.638-36.644</c:v>
                </c:pt>
                <c:pt idx="5459">
                  <c:v>36.644-36.651</c:v>
                </c:pt>
                <c:pt idx="5460">
                  <c:v>36.651-36.658</c:v>
                </c:pt>
                <c:pt idx="5461">
                  <c:v>36.658-36.664</c:v>
                </c:pt>
                <c:pt idx="5462">
                  <c:v>36.664-36.671</c:v>
                </c:pt>
                <c:pt idx="5463">
                  <c:v>36.671-36.678</c:v>
                </c:pt>
                <c:pt idx="5464">
                  <c:v>36.678-36.685</c:v>
                </c:pt>
                <c:pt idx="5465">
                  <c:v>36.685-36.691</c:v>
                </c:pt>
                <c:pt idx="5466">
                  <c:v>36.691-36.698</c:v>
                </c:pt>
                <c:pt idx="5467">
                  <c:v>36.698-36.705</c:v>
                </c:pt>
                <c:pt idx="5468">
                  <c:v>36.705-36.711</c:v>
                </c:pt>
                <c:pt idx="5469">
                  <c:v>36.711-36.718</c:v>
                </c:pt>
                <c:pt idx="5470">
                  <c:v>36.718-36.725</c:v>
                </c:pt>
                <c:pt idx="5471">
                  <c:v>36.725-36.731</c:v>
                </c:pt>
                <c:pt idx="5472">
                  <c:v>36.731-36.738</c:v>
                </c:pt>
                <c:pt idx="5473">
                  <c:v>36.738-36.745</c:v>
                </c:pt>
                <c:pt idx="5474">
                  <c:v>36.745-36.752</c:v>
                </c:pt>
                <c:pt idx="5475">
                  <c:v>36.752-36.758</c:v>
                </c:pt>
                <c:pt idx="5476">
                  <c:v>36.758-36.765</c:v>
                </c:pt>
                <c:pt idx="5477">
                  <c:v>36.765-36.772</c:v>
                </c:pt>
                <c:pt idx="5478">
                  <c:v>36.772-36.778</c:v>
                </c:pt>
                <c:pt idx="5479">
                  <c:v>36.778-36.785</c:v>
                </c:pt>
                <c:pt idx="5480">
                  <c:v>36.785-36.792</c:v>
                </c:pt>
                <c:pt idx="5481">
                  <c:v>36.792-36.799</c:v>
                </c:pt>
                <c:pt idx="5482">
                  <c:v>36.799-36.805</c:v>
                </c:pt>
                <c:pt idx="5483">
                  <c:v>36.805-36.812</c:v>
                </c:pt>
                <c:pt idx="5484">
                  <c:v>36.812-36.819</c:v>
                </c:pt>
                <c:pt idx="5485">
                  <c:v>36.819-36.825</c:v>
                </c:pt>
                <c:pt idx="5486">
                  <c:v>36.825-36.832</c:v>
                </c:pt>
                <c:pt idx="5487">
                  <c:v>36.832-36.839</c:v>
                </c:pt>
                <c:pt idx="5488">
                  <c:v>36.839-36.846</c:v>
                </c:pt>
                <c:pt idx="5489">
                  <c:v>36.846-36.852</c:v>
                </c:pt>
                <c:pt idx="5490">
                  <c:v>36.852-36.859</c:v>
                </c:pt>
                <c:pt idx="5491">
                  <c:v>36.859-36.866</c:v>
                </c:pt>
                <c:pt idx="5492">
                  <c:v>36.866-36.872</c:v>
                </c:pt>
                <c:pt idx="5493">
                  <c:v>36.872-36.879</c:v>
                </c:pt>
                <c:pt idx="5494">
                  <c:v>36.879-36.886</c:v>
                </c:pt>
                <c:pt idx="5495">
                  <c:v>36.886-36.893</c:v>
                </c:pt>
                <c:pt idx="5496">
                  <c:v>36.893-36.899</c:v>
                </c:pt>
                <c:pt idx="5497">
                  <c:v>36.899-36.906</c:v>
                </c:pt>
                <c:pt idx="5498">
                  <c:v>36.906-36.913</c:v>
                </c:pt>
                <c:pt idx="5499">
                  <c:v>36.913-36.919</c:v>
                </c:pt>
                <c:pt idx="5500">
                  <c:v>36.919-36.926</c:v>
                </c:pt>
                <c:pt idx="5501">
                  <c:v>36.926-36.933</c:v>
                </c:pt>
                <c:pt idx="5502">
                  <c:v>36.933-36.940</c:v>
                </c:pt>
                <c:pt idx="5503">
                  <c:v>36.940-36.946</c:v>
                </c:pt>
                <c:pt idx="5504">
                  <c:v>36.946-36.953</c:v>
                </c:pt>
                <c:pt idx="5505">
                  <c:v>36.953-36.960</c:v>
                </c:pt>
                <c:pt idx="5506">
                  <c:v>36.960-36.966</c:v>
                </c:pt>
                <c:pt idx="5507">
                  <c:v>36.966-36.973</c:v>
                </c:pt>
                <c:pt idx="5508">
                  <c:v>36.973-36.980</c:v>
                </c:pt>
                <c:pt idx="5509">
                  <c:v>36.980-36.987</c:v>
                </c:pt>
                <c:pt idx="5510">
                  <c:v>36.987-36.993</c:v>
                </c:pt>
                <c:pt idx="5511">
                  <c:v>36.993-37.000</c:v>
                </c:pt>
                <c:pt idx="5512">
                  <c:v>37.000-37.007</c:v>
                </c:pt>
                <c:pt idx="5513">
                  <c:v>37.007-37.013</c:v>
                </c:pt>
                <c:pt idx="5514">
                  <c:v>37.013-37.020</c:v>
                </c:pt>
                <c:pt idx="5515">
                  <c:v>37.020-37.027</c:v>
                </c:pt>
                <c:pt idx="5516">
                  <c:v>37.027-37.033</c:v>
                </c:pt>
                <c:pt idx="5517">
                  <c:v>37.033-37.040</c:v>
                </c:pt>
                <c:pt idx="5518">
                  <c:v>37.040-37.047</c:v>
                </c:pt>
                <c:pt idx="5519">
                  <c:v>37.047-37.054</c:v>
                </c:pt>
                <c:pt idx="5520">
                  <c:v>37.054-37.060</c:v>
                </c:pt>
                <c:pt idx="5521">
                  <c:v>37.060-37.067</c:v>
                </c:pt>
                <c:pt idx="5522">
                  <c:v>37.067-37.074</c:v>
                </c:pt>
                <c:pt idx="5523">
                  <c:v>37.074-37.080</c:v>
                </c:pt>
                <c:pt idx="5524">
                  <c:v>37.080-37.087</c:v>
                </c:pt>
                <c:pt idx="5525">
                  <c:v>37.087-37.094</c:v>
                </c:pt>
                <c:pt idx="5526">
                  <c:v>37.094-37.101</c:v>
                </c:pt>
                <c:pt idx="5527">
                  <c:v>37.101-37.107</c:v>
                </c:pt>
                <c:pt idx="5528">
                  <c:v>37.107-37.114</c:v>
                </c:pt>
                <c:pt idx="5529">
                  <c:v>37.114-37.121</c:v>
                </c:pt>
                <c:pt idx="5530">
                  <c:v>37.121-37.127</c:v>
                </c:pt>
                <c:pt idx="5531">
                  <c:v>37.127-37.134</c:v>
                </c:pt>
                <c:pt idx="5532">
                  <c:v>37.134-37.141</c:v>
                </c:pt>
                <c:pt idx="5533">
                  <c:v>37.141-37.148</c:v>
                </c:pt>
                <c:pt idx="5534">
                  <c:v>37.148-37.154</c:v>
                </c:pt>
                <c:pt idx="5535">
                  <c:v>37.154-37.161</c:v>
                </c:pt>
                <c:pt idx="5536">
                  <c:v>37.161-37.168</c:v>
                </c:pt>
                <c:pt idx="5537">
                  <c:v>37.168-37.174</c:v>
                </c:pt>
                <c:pt idx="5538">
                  <c:v>37.174-37.181</c:v>
                </c:pt>
                <c:pt idx="5539">
                  <c:v>37.181-37.188</c:v>
                </c:pt>
                <c:pt idx="5540">
                  <c:v>37.188-37.195</c:v>
                </c:pt>
                <c:pt idx="5541">
                  <c:v>37.195-37.201</c:v>
                </c:pt>
                <c:pt idx="5542">
                  <c:v>37.201-37.208</c:v>
                </c:pt>
                <c:pt idx="5543">
                  <c:v>37.208-37.215</c:v>
                </c:pt>
                <c:pt idx="5544">
                  <c:v>37.215-37.221</c:v>
                </c:pt>
                <c:pt idx="5545">
                  <c:v>37.221-37.228</c:v>
                </c:pt>
                <c:pt idx="5546">
                  <c:v>37.228-37.235</c:v>
                </c:pt>
                <c:pt idx="5547">
                  <c:v>37.235-37.242</c:v>
                </c:pt>
                <c:pt idx="5548">
                  <c:v>37.242-37.248</c:v>
                </c:pt>
                <c:pt idx="5549">
                  <c:v>37.248-37.255</c:v>
                </c:pt>
                <c:pt idx="5550">
                  <c:v>37.255-37.262</c:v>
                </c:pt>
                <c:pt idx="5551">
                  <c:v>37.262-37.268</c:v>
                </c:pt>
                <c:pt idx="5552">
                  <c:v>37.268-37.275</c:v>
                </c:pt>
                <c:pt idx="5553">
                  <c:v>37.275-37.282</c:v>
                </c:pt>
                <c:pt idx="5554">
                  <c:v>37.282-37.288</c:v>
                </c:pt>
                <c:pt idx="5555">
                  <c:v>37.288-37.295</c:v>
                </c:pt>
                <c:pt idx="5556">
                  <c:v>37.295-37.302</c:v>
                </c:pt>
                <c:pt idx="5557">
                  <c:v>37.302-37.309</c:v>
                </c:pt>
                <c:pt idx="5558">
                  <c:v>37.309-37.315</c:v>
                </c:pt>
                <c:pt idx="5559">
                  <c:v>37.315-37.322</c:v>
                </c:pt>
                <c:pt idx="5560">
                  <c:v>37.322-37.329</c:v>
                </c:pt>
                <c:pt idx="5561">
                  <c:v>37.329-37.335</c:v>
                </c:pt>
                <c:pt idx="5562">
                  <c:v>37.335-37.342</c:v>
                </c:pt>
                <c:pt idx="5563">
                  <c:v>37.342-37.349</c:v>
                </c:pt>
                <c:pt idx="5564">
                  <c:v>37.349-37.356</c:v>
                </c:pt>
                <c:pt idx="5565">
                  <c:v>37.356-37.362</c:v>
                </c:pt>
                <c:pt idx="5566">
                  <c:v>37.362-37.369</c:v>
                </c:pt>
                <c:pt idx="5567">
                  <c:v>37.369-37.376</c:v>
                </c:pt>
                <c:pt idx="5568">
                  <c:v>37.376-37.382</c:v>
                </c:pt>
                <c:pt idx="5569">
                  <c:v>37.382-37.389</c:v>
                </c:pt>
                <c:pt idx="5570">
                  <c:v>37.389-37.396</c:v>
                </c:pt>
                <c:pt idx="5571">
                  <c:v>37.396-37.403</c:v>
                </c:pt>
                <c:pt idx="5572">
                  <c:v>37.403-37.409</c:v>
                </c:pt>
                <c:pt idx="5573">
                  <c:v>37.409-37.416</c:v>
                </c:pt>
                <c:pt idx="5574">
                  <c:v>37.416-37.423</c:v>
                </c:pt>
                <c:pt idx="5575">
                  <c:v>37.423-37.429</c:v>
                </c:pt>
                <c:pt idx="5576">
                  <c:v>37.429-37.436</c:v>
                </c:pt>
                <c:pt idx="5577">
                  <c:v>37.436-37.443</c:v>
                </c:pt>
                <c:pt idx="5578">
                  <c:v>37.443-37.450</c:v>
                </c:pt>
                <c:pt idx="5579">
                  <c:v>37.450-37.456</c:v>
                </c:pt>
                <c:pt idx="5580">
                  <c:v>37.456-37.463</c:v>
                </c:pt>
                <c:pt idx="5581">
                  <c:v>37.463-37.470</c:v>
                </c:pt>
                <c:pt idx="5582">
                  <c:v>37.470-37.476</c:v>
                </c:pt>
                <c:pt idx="5583">
                  <c:v>37.476-37.483</c:v>
                </c:pt>
                <c:pt idx="5584">
                  <c:v>37.483-37.490</c:v>
                </c:pt>
                <c:pt idx="5585">
                  <c:v>37.490-37.497</c:v>
                </c:pt>
                <c:pt idx="5586">
                  <c:v>37.497-37.503</c:v>
                </c:pt>
                <c:pt idx="5587">
                  <c:v>37.503-37.510</c:v>
                </c:pt>
                <c:pt idx="5588">
                  <c:v>37.510-37.517</c:v>
                </c:pt>
                <c:pt idx="5589">
                  <c:v>37.517-37.523</c:v>
                </c:pt>
                <c:pt idx="5590">
                  <c:v>37.523-37.530</c:v>
                </c:pt>
                <c:pt idx="5591">
                  <c:v>37.530-37.537</c:v>
                </c:pt>
                <c:pt idx="5592">
                  <c:v>37.537-37.544</c:v>
                </c:pt>
                <c:pt idx="5593">
                  <c:v>37.544-37.550</c:v>
                </c:pt>
                <c:pt idx="5594">
                  <c:v>37.550-37.557</c:v>
                </c:pt>
                <c:pt idx="5595">
                  <c:v>37.557-37.564</c:v>
                </c:pt>
                <c:pt idx="5596">
                  <c:v>37.564-37.570</c:v>
                </c:pt>
                <c:pt idx="5597">
                  <c:v>37.570-37.577</c:v>
                </c:pt>
                <c:pt idx="5598">
                  <c:v>37.577-37.584</c:v>
                </c:pt>
                <c:pt idx="5599">
                  <c:v>37.584-37.590</c:v>
                </c:pt>
                <c:pt idx="5600">
                  <c:v>37.590-37.597</c:v>
                </c:pt>
                <c:pt idx="5601">
                  <c:v>37.597-37.604</c:v>
                </c:pt>
                <c:pt idx="5602">
                  <c:v>37.604-37.611</c:v>
                </c:pt>
                <c:pt idx="5603">
                  <c:v>37.611-37.617</c:v>
                </c:pt>
                <c:pt idx="5604">
                  <c:v>37.617-37.624</c:v>
                </c:pt>
                <c:pt idx="5605">
                  <c:v>37.624-37.631</c:v>
                </c:pt>
                <c:pt idx="5606">
                  <c:v>37.631-37.637</c:v>
                </c:pt>
                <c:pt idx="5607">
                  <c:v>37.637-37.644</c:v>
                </c:pt>
                <c:pt idx="5608">
                  <c:v>37.644-37.651</c:v>
                </c:pt>
                <c:pt idx="5609">
                  <c:v>37.651-37.658</c:v>
                </c:pt>
                <c:pt idx="5610">
                  <c:v>37.658-37.664</c:v>
                </c:pt>
                <c:pt idx="5611">
                  <c:v>37.664-37.671</c:v>
                </c:pt>
                <c:pt idx="5612">
                  <c:v>37.671-37.678</c:v>
                </c:pt>
                <c:pt idx="5613">
                  <c:v>37.678-37.684</c:v>
                </c:pt>
                <c:pt idx="5614">
                  <c:v>37.684-37.691</c:v>
                </c:pt>
                <c:pt idx="5615">
                  <c:v>37.691-37.698</c:v>
                </c:pt>
                <c:pt idx="5616">
                  <c:v>37.698-37.705</c:v>
                </c:pt>
                <c:pt idx="5617">
                  <c:v>37.705-37.711</c:v>
                </c:pt>
                <c:pt idx="5618">
                  <c:v>37.711-37.718</c:v>
                </c:pt>
                <c:pt idx="5619">
                  <c:v>37.718-37.725</c:v>
                </c:pt>
                <c:pt idx="5620">
                  <c:v>37.725-37.731</c:v>
                </c:pt>
                <c:pt idx="5621">
                  <c:v>37.731-37.738</c:v>
                </c:pt>
                <c:pt idx="5622">
                  <c:v>37.738-37.745</c:v>
                </c:pt>
                <c:pt idx="5623">
                  <c:v>37.745-37.752</c:v>
                </c:pt>
                <c:pt idx="5624">
                  <c:v>37.752-37.758</c:v>
                </c:pt>
                <c:pt idx="5625">
                  <c:v>37.758-37.765</c:v>
                </c:pt>
                <c:pt idx="5626">
                  <c:v>37.765-37.772</c:v>
                </c:pt>
                <c:pt idx="5627">
                  <c:v>37.772-37.778</c:v>
                </c:pt>
                <c:pt idx="5628">
                  <c:v>37.778-37.785</c:v>
                </c:pt>
                <c:pt idx="5629">
                  <c:v>37.785-37.792</c:v>
                </c:pt>
                <c:pt idx="5630">
                  <c:v>37.792-37.799</c:v>
                </c:pt>
                <c:pt idx="5631">
                  <c:v>37.799-37.805</c:v>
                </c:pt>
                <c:pt idx="5632">
                  <c:v>37.805-37.812</c:v>
                </c:pt>
                <c:pt idx="5633">
                  <c:v>37.812-37.819</c:v>
                </c:pt>
                <c:pt idx="5634">
                  <c:v>37.819-37.825</c:v>
                </c:pt>
                <c:pt idx="5635">
                  <c:v>37.825-37.832</c:v>
                </c:pt>
                <c:pt idx="5636">
                  <c:v>37.832-37.839</c:v>
                </c:pt>
                <c:pt idx="5637">
                  <c:v>37.839-37.845</c:v>
                </c:pt>
                <c:pt idx="5638">
                  <c:v>37.845-37.852</c:v>
                </c:pt>
                <c:pt idx="5639">
                  <c:v>37.852-37.859</c:v>
                </c:pt>
                <c:pt idx="5640">
                  <c:v>37.859-37.866</c:v>
                </c:pt>
                <c:pt idx="5641">
                  <c:v>37.866-37.872</c:v>
                </c:pt>
                <c:pt idx="5642">
                  <c:v>37.872-37.879</c:v>
                </c:pt>
                <c:pt idx="5643">
                  <c:v>37.879-37.886</c:v>
                </c:pt>
                <c:pt idx="5644">
                  <c:v>37.886-37.892</c:v>
                </c:pt>
                <c:pt idx="5645">
                  <c:v>37.892-37.899</c:v>
                </c:pt>
                <c:pt idx="5646">
                  <c:v>37.899-37.906</c:v>
                </c:pt>
                <c:pt idx="5647">
                  <c:v>37.906-37.913</c:v>
                </c:pt>
                <c:pt idx="5648">
                  <c:v>37.913-37.919</c:v>
                </c:pt>
                <c:pt idx="5649">
                  <c:v>37.919-37.926</c:v>
                </c:pt>
                <c:pt idx="5650">
                  <c:v>37.926-37.933</c:v>
                </c:pt>
                <c:pt idx="5651">
                  <c:v>37.933-37.939</c:v>
                </c:pt>
                <c:pt idx="5652">
                  <c:v>37.939-37.946</c:v>
                </c:pt>
                <c:pt idx="5653">
                  <c:v>37.946-37.953</c:v>
                </c:pt>
                <c:pt idx="5654">
                  <c:v>37.953-37.960</c:v>
                </c:pt>
                <c:pt idx="5655">
                  <c:v>37.960-37.966</c:v>
                </c:pt>
                <c:pt idx="5656">
                  <c:v>37.966-37.973</c:v>
                </c:pt>
                <c:pt idx="5657">
                  <c:v>37.973-37.980</c:v>
                </c:pt>
                <c:pt idx="5658">
                  <c:v>37.980-37.986</c:v>
                </c:pt>
                <c:pt idx="5659">
                  <c:v>37.986-37.993</c:v>
                </c:pt>
                <c:pt idx="5660">
                  <c:v>37.993-38.000</c:v>
                </c:pt>
                <c:pt idx="5661">
                  <c:v>38.000-38.007</c:v>
                </c:pt>
                <c:pt idx="5662">
                  <c:v>38.007-38.013</c:v>
                </c:pt>
                <c:pt idx="5663">
                  <c:v>38.013-38.020</c:v>
                </c:pt>
                <c:pt idx="5664">
                  <c:v>38.020-38.027</c:v>
                </c:pt>
                <c:pt idx="5665">
                  <c:v>38.027-38.033</c:v>
                </c:pt>
                <c:pt idx="5666">
                  <c:v>38.033-38.040</c:v>
                </c:pt>
                <c:pt idx="5667">
                  <c:v>38.040-38.047</c:v>
                </c:pt>
                <c:pt idx="5668">
                  <c:v>38.047-38.054</c:v>
                </c:pt>
                <c:pt idx="5669">
                  <c:v>38.054-38.060</c:v>
                </c:pt>
                <c:pt idx="5670">
                  <c:v>38.060-38.067</c:v>
                </c:pt>
                <c:pt idx="5671">
                  <c:v>38.067-38.074</c:v>
                </c:pt>
                <c:pt idx="5672">
                  <c:v>38.074-38.080</c:v>
                </c:pt>
                <c:pt idx="5673">
                  <c:v>38.080-38.087</c:v>
                </c:pt>
                <c:pt idx="5674">
                  <c:v>38.087-38.094</c:v>
                </c:pt>
                <c:pt idx="5675">
                  <c:v>38.094-38.101</c:v>
                </c:pt>
                <c:pt idx="5676">
                  <c:v>38.101-38.107</c:v>
                </c:pt>
                <c:pt idx="5677">
                  <c:v>38.107-38.114</c:v>
                </c:pt>
                <c:pt idx="5678">
                  <c:v>38.114-38.121</c:v>
                </c:pt>
                <c:pt idx="5679">
                  <c:v>38.121-38.127</c:v>
                </c:pt>
                <c:pt idx="5680">
                  <c:v>38.127-38.134</c:v>
                </c:pt>
                <c:pt idx="5681">
                  <c:v>38.134-38.141</c:v>
                </c:pt>
                <c:pt idx="5682">
                  <c:v>38.141-38.147</c:v>
                </c:pt>
                <c:pt idx="5683">
                  <c:v>38.147-38.154</c:v>
                </c:pt>
                <c:pt idx="5684">
                  <c:v>38.154-38.161</c:v>
                </c:pt>
                <c:pt idx="5685">
                  <c:v>38.161-38.168</c:v>
                </c:pt>
                <c:pt idx="5686">
                  <c:v>38.168-38.174</c:v>
                </c:pt>
                <c:pt idx="5687">
                  <c:v>38.174-38.181</c:v>
                </c:pt>
                <c:pt idx="5688">
                  <c:v>38.181-38.188</c:v>
                </c:pt>
                <c:pt idx="5689">
                  <c:v>38.188-38.194</c:v>
                </c:pt>
                <c:pt idx="5690">
                  <c:v>38.194-38.201</c:v>
                </c:pt>
                <c:pt idx="5691">
                  <c:v>38.201-38.208</c:v>
                </c:pt>
                <c:pt idx="5692">
                  <c:v>38.208-38.215</c:v>
                </c:pt>
                <c:pt idx="5693">
                  <c:v>38.215-38.221</c:v>
                </c:pt>
                <c:pt idx="5694">
                  <c:v>38.221-38.228</c:v>
                </c:pt>
                <c:pt idx="5695">
                  <c:v>38.228-38.235</c:v>
                </c:pt>
                <c:pt idx="5696">
                  <c:v>38.235-38.241</c:v>
                </c:pt>
                <c:pt idx="5697">
                  <c:v>38.241-38.248</c:v>
                </c:pt>
                <c:pt idx="5698">
                  <c:v>38.248-38.255</c:v>
                </c:pt>
                <c:pt idx="5699">
                  <c:v>38.255-38.262</c:v>
                </c:pt>
                <c:pt idx="5700">
                  <c:v>38.262-38.268</c:v>
                </c:pt>
                <c:pt idx="5701">
                  <c:v>38.268-38.275</c:v>
                </c:pt>
                <c:pt idx="5702">
                  <c:v>38.275-38.282</c:v>
                </c:pt>
                <c:pt idx="5703">
                  <c:v>38.282-38.288</c:v>
                </c:pt>
                <c:pt idx="5704">
                  <c:v>38.288-38.295</c:v>
                </c:pt>
                <c:pt idx="5705">
                  <c:v>38.295-38.302</c:v>
                </c:pt>
                <c:pt idx="5706">
                  <c:v>38.302-38.309</c:v>
                </c:pt>
                <c:pt idx="5707">
                  <c:v>38.309-38.315</c:v>
                </c:pt>
                <c:pt idx="5708">
                  <c:v>38.315-38.322</c:v>
                </c:pt>
                <c:pt idx="5709">
                  <c:v>38.322-38.329</c:v>
                </c:pt>
                <c:pt idx="5710">
                  <c:v>38.329-38.335</c:v>
                </c:pt>
                <c:pt idx="5711">
                  <c:v>38.335-38.342</c:v>
                </c:pt>
                <c:pt idx="5712">
                  <c:v>38.342-38.349</c:v>
                </c:pt>
                <c:pt idx="5713">
                  <c:v>38.349-38.356</c:v>
                </c:pt>
                <c:pt idx="5714">
                  <c:v>38.356-38.362</c:v>
                </c:pt>
                <c:pt idx="5715">
                  <c:v>38.362-38.369</c:v>
                </c:pt>
                <c:pt idx="5716">
                  <c:v>38.369-38.376</c:v>
                </c:pt>
                <c:pt idx="5717">
                  <c:v>38.376-38.382</c:v>
                </c:pt>
                <c:pt idx="5718">
                  <c:v>38.382-38.389</c:v>
                </c:pt>
                <c:pt idx="5719">
                  <c:v>38.389-38.396</c:v>
                </c:pt>
                <c:pt idx="5720">
                  <c:v>38.396-38.402</c:v>
                </c:pt>
                <c:pt idx="5721">
                  <c:v>38.402-38.409</c:v>
                </c:pt>
                <c:pt idx="5722">
                  <c:v>38.409-38.416</c:v>
                </c:pt>
                <c:pt idx="5723">
                  <c:v>38.416-38.423</c:v>
                </c:pt>
                <c:pt idx="5724">
                  <c:v>38.423-38.429</c:v>
                </c:pt>
                <c:pt idx="5725">
                  <c:v>38.429-38.436</c:v>
                </c:pt>
                <c:pt idx="5726">
                  <c:v>38.436-38.443</c:v>
                </c:pt>
                <c:pt idx="5727">
                  <c:v>38.443-38.449</c:v>
                </c:pt>
                <c:pt idx="5728">
                  <c:v>38.449-38.456</c:v>
                </c:pt>
                <c:pt idx="5729">
                  <c:v>38.456-38.463</c:v>
                </c:pt>
                <c:pt idx="5730">
                  <c:v>38.463-38.470</c:v>
                </c:pt>
                <c:pt idx="5731">
                  <c:v>38.470-38.476</c:v>
                </c:pt>
                <c:pt idx="5732">
                  <c:v>38.476-38.483</c:v>
                </c:pt>
                <c:pt idx="5733">
                  <c:v>38.483-38.490</c:v>
                </c:pt>
                <c:pt idx="5734">
                  <c:v>38.490-38.496</c:v>
                </c:pt>
                <c:pt idx="5735">
                  <c:v>38.496-38.503</c:v>
                </c:pt>
                <c:pt idx="5736">
                  <c:v>38.503-38.510</c:v>
                </c:pt>
                <c:pt idx="5737">
                  <c:v>38.510-38.517</c:v>
                </c:pt>
                <c:pt idx="5738">
                  <c:v>38.517-38.523</c:v>
                </c:pt>
                <c:pt idx="5739">
                  <c:v>38.523-38.530</c:v>
                </c:pt>
                <c:pt idx="5740">
                  <c:v>38.530-38.537</c:v>
                </c:pt>
                <c:pt idx="5741">
                  <c:v>38.537-38.543</c:v>
                </c:pt>
                <c:pt idx="5742">
                  <c:v>38.543-38.550</c:v>
                </c:pt>
                <c:pt idx="5743">
                  <c:v>38.550-38.557</c:v>
                </c:pt>
                <c:pt idx="5744">
                  <c:v>38.557-38.564</c:v>
                </c:pt>
                <c:pt idx="5745">
                  <c:v>38.564-38.570</c:v>
                </c:pt>
                <c:pt idx="5746">
                  <c:v>38.570-38.577</c:v>
                </c:pt>
                <c:pt idx="5747">
                  <c:v>38.577-38.584</c:v>
                </c:pt>
                <c:pt idx="5748">
                  <c:v>38.584-38.590</c:v>
                </c:pt>
                <c:pt idx="5749">
                  <c:v>38.590-38.597</c:v>
                </c:pt>
                <c:pt idx="5750">
                  <c:v>38.597-38.604</c:v>
                </c:pt>
                <c:pt idx="5751">
                  <c:v>38.604-38.611</c:v>
                </c:pt>
                <c:pt idx="5752">
                  <c:v>38.611-38.617</c:v>
                </c:pt>
                <c:pt idx="5753">
                  <c:v>38.617-38.624</c:v>
                </c:pt>
                <c:pt idx="5754">
                  <c:v>38.624-38.631</c:v>
                </c:pt>
                <c:pt idx="5755">
                  <c:v>38.631-38.637</c:v>
                </c:pt>
                <c:pt idx="5756">
                  <c:v>38.637-38.644</c:v>
                </c:pt>
                <c:pt idx="5757">
                  <c:v>38.644-38.651</c:v>
                </c:pt>
                <c:pt idx="5758">
                  <c:v>38.651-38.657</c:v>
                </c:pt>
                <c:pt idx="5759">
                  <c:v>38.657-38.664</c:v>
                </c:pt>
                <c:pt idx="5760">
                  <c:v>38.664-38.671</c:v>
                </c:pt>
                <c:pt idx="5761">
                  <c:v>38.671-38.678</c:v>
                </c:pt>
                <c:pt idx="5762">
                  <c:v>38.678-38.684</c:v>
                </c:pt>
                <c:pt idx="5763">
                  <c:v>38.684-38.691</c:v>
                </c:pt>
                <c:pt idx="5764">
                  <c:v>38.691-38.698</c:v>
                </c:pt>
                <c:pt idx="5765">
                  <c:v>38.698-38.704</c:v>
                </c:pt>
                <c:pt idx="5766">
                  <c:v>38.704-38.711</c:v>
                </c:pt>
                <c:pt idx="5767">
                  <c:v>38.711-38.718</c:v>
                </c:pt>
                <c:pt idx="5768">
                  <c:v>38.718-38.725</c:v>
                </c:pt>
                <c:pt idx="5769">
                  <c:v>38.725-38.731</c:v>
                </c:pt>
                <c:pt idx="5770">
                  <c:v>38.731-38.738</c:v>
                </c:pt>
                <c:pt idx="5771">
                  <c:v>38.738-38.745</c:v>
                </c:pt>
                <c:pt idx="5772">
                  <c:v>38.745-38.751</c:v>
                </c:pt>
                <c:pt idx="5773">
                  <c:v>38.751-38.758</c:v>
                </c:pt>
                <c:pt idx="5774">
                  <c:v>38.758-38.765</c:v>
                </c:pt>
                <c:pt idx="5775">
                  <c:v>38.765-38.772</c:v>
                </c:pt>
                <c:pt idx="5776">
                  <c:v>38.772-38.778</c:v>
                </c:pt>
                <c:pt idx="5777">
                  <c:v>38.778-38.785</c:v>
                </c:pt>
                <c:pt idx="5778">
                  <c:v>38.785-38.792</c:v>
                </c:pt>
                <c:pt idx="5779">
                  <c:v>38.792-38.798</c:v>
                </c:pt>
                <c:pt idx="5780">
                  <c:v>38.798-38.805</c:v>
                </c:pt>
                <c:pt idx="5781">
                  <c:v>38.805-38.812</c:v>
                </c:pt>
                <c:pt idx="5782">
                  <c:v>38.812-38.819</c:v>
                </c:pt>
                <c:pt idx="5783">
                  <c:v>38.819-38.825</c:v>
                </c:pt>
                <c:pt idx="5784">
                  <c:v>38.825-38.832</c:v>
                </c:pt>
                <c:pt idx="5785">
                  <c:v>38.832-38.839</c:v>
                </c:pt>
                <c:pt idx="5786">
                  <c:v>38.839-38.845</c:v>
                </c:pt>
                <c:pt idx="5787">
                  <c:v>38.845-38.852</c:v>
                </c:pt>
                <c:pt idx="5788">
                  <c:v>38.852-38.859</c:v>
                </c:pt>
                <c:pt idx="5789">
                  <c:v>38.859-38.866</c:v>
                </c:pt>
                <c:pt idx="5790">
                  <c:v>38.866-38.872</c:v>
                </c:pt>
                <c:pt idx="5791">
                  <c:v>38.872-38.879</c:v>
                </c:pt>
                <c:pt idx="5792">
                  <c:v>38.879-38.886</c:v>
                </c:pt>
                <c:pt idx="5793">
                  <c:v>38.886-38.892</c:v>
                </c:pt>
                <c:pt idx="5794">
                  <c:v>38.892-38.899</c:v>
                </c:pt>
                <c:pt idx="5795">
                  <c:v>38.899-38.906</c:v>
                </c:pt>
                <c:pt idx="5796">
                  <c:v>38.906-38.913</c:v>
                </c:pt>
                <c:pt idx="5797">
                  <c:v>38.913-38.919</c:v>
                </c:pt>
                <c:pt idx="5798">
                  <c:v>38.919-38.926</c:v>
                </c:pt>
                <c:pt idx="5799">
                  <c:v>38.926-38.933</c:v>
                </c:pt>
                <c:pt idx="5800">
                  <c:v>38.933-38.939</c:v>
                </c:pt>
                <c:pt idx="5801">
                  <c:v>38.939-38.946</c:v>
                </c:pt>
                <c:pt idx="5802">
                  <c:v>38.946-38.953</c:v>
                </c:pt>
                <c:pt idx="5803">
                  <c:v>38.953-38.959</c:v>
                </c:pt>
                <c:pt idx="5804">
                  <c:v>38.959-38.966</c:v>
                </c:pt>
                <c:pt idx="5805">
                  <c:v>38.966-38.973</c:v>
                </c:pt>
                <c:pt idx="5806">
                  <c:v>38.973-38.980</c:v>
                </c:pt>
                <c:pt idx="5807">
                  <c:v>38.980-38.986</c:v>
                </c:pt>
                <c:pt idx="5808">
                  <c:v>38.986-38.993</c:v>
                </c:pt>
                <c:pt idx="5809">
                  <c:v>38.993-39.000</c:v>
                </c:pt>
                <c:pt idx="5810">
                  <c:v>39.000-39.006</c:v>
                </c:pt>
                <c:pt idx="5811">
                  <c:v>39.006-39.013</c:v>
                </c:pt>
                <c:pt idx="5812">
                  <c:v>39.013-39.020</c:v>
                </c:pt>
                <c:pt idx="5813">
                  <c:v>39.020-39.027</c:v>
                </c:pt>
                <c:pt idx="5814">
                  <c:v>39.027-39.033</c:v>
                </c:pt>
                <c:pt idx="5815">
                  <c:v>39.033-39.040</c:v>
                </c:pt>
                <c:pt idx="5816">
                  <c:v>39.040-39.047</c:v>
                </c:pt>
                <c:pt idx="5817">
                  <c:v>39.047-39.053</c:v>
                </c:pt>
                <c:pt idx="5818">
                  <c:v>39.053-39.060</c:v>
                </c:pt>
                <c:pt idx="5819">
                  <c:v>39.060-39.067</c:v>
                </c:pt>
                <c:pt idx="5820">
                  <c:v>39.067-39.074</c:v>
                </c:pt>
                <c:pt idx="5821">
                  <c:v>39.074-39.080</c:v>
                </c:pt>
                <c:pt idx="5822">
                  <c:v>39.080-39.087</c:v>
                </c:pt>
                <c:pt idx="5823">
                  <c:v>39.087-39.094</c:v>
                </c:pt>
                <c:pt idx="5824">
                  <c:v>39.094-39.100</c:v>
                </c:pt>
                <c:pt idx="5825">
                  <c:v>39.100-39.107</c:v>
                </c:pt>
                <c:pt idx="5826">
                  <c:v>39.107-39.114</c:v>
                </c:pt>
                <c:pt idx="5827">
                  <c:v>39.114-39.121</c:v>
                </c:pt>
                <c:pt idx="5828">
                  <c:v>39.121-39.127</c:v>
                </c:pt>
                <c:pt idx="5829">
                  <c:v>39.127-39.134</c:v>
                </c:pt>
                <c:pt idx="5830">
                  <c:v>39.134-39.141</c:v>
                </c:pt>
                <c:pt idx="5831">
                  <c:v>39.141-39.147</c:v>
                </c:pt>
                <c:pt idx="5832">
                  <c:v>39.147-39.154</c:v>
                </c:pt>
                <c:pt idx="5833">
                  <c:v>39.154-39.161</c:v>
                </c:pt>
                <c:pt idx="5834">
                  <c:v>39.161-39.168</c:v>
                </c:pt>
                <c:pt idx="5835">
                  <c:v>39.168-39.174</c:v>
                </c:pt>
                <c:pt idx="5836">
                  <c:v>39.174-39.181</c:v>
                </c:pt>
                <c:pt idx="5837">
                  <c:v>39.181-39.188</c:v>
                </c:pt>
                <c:pt idx="5838">
                  <c:v>39.188-39.194</c:v>
                </c:pt>
                <c:pt idx="5839">
                  <c:v>39.194-39.201</c:v>
                </c:pt>
                <c:pt idx="5840">
                  <c:v>39.201-39.208</c:v>
                </c:pt>
                <c:pt idx="5841">
                  <c:v>39.208-39.214</c:v>
                </c:pt>
                <c:pt idx="5842">
                  <c:v>39.214-39.221</c:v>
                </c:pt>
                <c:pt idx="5843">
                  <c:v>39.221-39.228</c:v>
                </c:pt>
                <c:pt idx="5844">
                  <c:v>39.228-39.235</c:v>
                </c:pt>
                <c:pt idx="5845">
                  <c:v>39.235-39.241</c:v>
                </c:pt>
                <c:pt idx="5846">
                  <c:v>39.241-39.248</c:v>
                </c:pt>
                <c:pt idx="5847">
                  <c:v>39.248-39.255</c:v>
                </c:pt>
                <c:pt idx="5848">
                  <c:v>39.255-39.261</c:v>
                </c:pt>
                <c:pt idx="5849">
                  <c:v>39.261-39.268</c:v>
                </c:pt>
                <c:pt idx="5850">
                  <c:v>39.268-39.275</c:v>
                </c:pt>
                <c:pt idx="5851">
                  <c:v>39.275-39.282</c:v>
                </c:pt>
                <c:pt idx="5852">
                  <c:v>39.282-39.288</c:v>
                </c:pt>
                <c:pt idx="5853">
                  <c:v>39.288-39.295</c:v>
                </c:pt>
                <c:pt idx="5854">
                  <c:v>39.295-39.302</c:v>
                </c:pt>
                <c:pt idx="5855">
                  <c:v>39.302-39.308</c:v>
                </c:pt>
                <c:pt idx="5856">
                  <c:v>39.308-39.315</c:v>
                </c:pt>
                <c:pt idx="5857">
                  <c:v>39.315-39.322</c:v>
                </c:pt>
                <c:pt idx="5858">
                  <c:v>39.322-39.329</c:v>
                </c:pt>
                <c:pt idx="5859">
                  <c:v>39.329-39.335</c:v>
                </c:pt>
                <c:pt idx="5860">
                  <c:v>39.335-39.342</c:v>
                </c:pt>
                <c:pt idx="5861">
                  <c:v>39.342-39.349</c:v>
                </c:pt>
                <c:pt idx="5862">
                  <c:v>39.349-39.355</c:v>
                </c:pt>
                <c:pt idx="5863">
                  <c:v>39.355-39.362</c:v>
                </c:pt>
                <c:pt idx="5864">
                  <c:v>39.362-39.369</c:v>
                </c:pt>
                <c:pt idx="5865">
                  <c:v>39.369-39.376</c:v>
                </c:pt>
                <c:pt idx="5866">
                  <c:v>39.376-39.382</c:v>
                </c:pt>
                <c:pt idx="5867">
                  <c:v>39.382-39.389</c:v>
                </c:pt>
                <c:pt idx="5868">
                  <c:v>39.389-39.396</c:v>
                </c:pt>
                <c:pt idx="5869">
                  <c:v>39.396-39.402</c:v>
                </c:pt>
                <c:pt idx="5870">
                  <c:v>39.402-39.409</c:v>
                </c:pt>
                <c:pt idx="5871">
                  <c:v>39.409-39.416</c:v>
                </c:pt>
                <c:pt idx="5872">
                  <c:v>39.416-39.423</c:v>
                </c:pt>
                <c:pt idx="5873">
                  <c:v>39.423-39.429</c:v>
                </c:pt>
                <c:pt idx="5874">
                  <c:v>39.429-39.436</c:v>
                </c:pt>
                <c:pt idx="5875">
                  <c:v>39.436-39.443</c:v>
                </c:pt>
                <c:pt idx="5876">
                  <c:v>39.443-39.449</c:v>
                </c:pt>
                <c:pt idx="5877">
                  <c:v>39.449-39.456</c:v>
                </c:pt>
                <c:pt idx="5878">
                  <c:v>39.456-39.463</c:v>
                </c:pt>
                <c:pt idx="5879">
                  <c:v>39.463-39.470</c:v>
                </c:pt>
                <c:pt idx="5880">
                  <c:v>39.470-39.476</c:v>
                </c:pt>
                <c:pt idx="5881">
                  <c:v>39.476-39.483</c:v>
                </c:pt>
                <c:pt idx="5882">
                  <c:v>39.483-39.490</c:v>
                </c:pt>
                <c:pt idx="5883">
                  <c:v>39.490-39.496</c:v>
                </c:pt>
                <c:pt idx="5884">
                  <c:v>39.496-39.503</c:v>
                </c:pt>
                <c:pt idx="5885">
                  <c:v>39.503-39.510</c:v>
                </c:pt>
                <c:pt idx="5886">
                  <c:v>39.510-39.516</c:v>
                </c:pt>
                <c:pt idx="5887">
                  <c:v>39.516-39.523</c:v>
                </c:pt>
                <c:pt idx="5888">
                  <c:v>39.523-39.530</c:v>
                </c:pt>
                <c:pt idx="5889">
                  <c:v>39.530-39.537</c:v>
                </c:pt>
                <c:pt idx="5890">
                  <c:v>39.537-39.543</c:v>
                </c:pt>
                <c:pt idx="5891">
                  <c:v>39.543-39.550</c:v>
                </c:pt>
                <c:pt idx="5892">
                  <c:v>39.550-39.557</c:v>
                </c:pt>
                <c:pt idx="5893">
                  <c:v>39.557-39.563</c:v>
                </c:pt>
                <c:pt idx="5894">
                  <c:v>39.563-39.570</c:v>
                </c:pt>
                <c:pt idx="5895">
                  <c:v>39.570-39.577</c:v>
                </c:pt>
                <c:pt idx="5896">
                  <c:v>39.577-39.584</c:v>
                </c:pt>
                <c:pt idx="5897">
                  <c:v>39.584-39.590</c:v>
                </c:pt>
                <c:pt idx="5898">
                  <c:v>39.590-39.597</c:v>
                </c:pt>
                <c:pt idx="5899">
                  <c:v>39.597-39.604</c:v>
                </c:pt>
                <c:pt idx="5900">
                  <c:v>39.604-39.610</c:v>
                </c:pt>
                <c:pt idx="5901">
                  <c:v>39.610-39.617</c:v>
                </c:pt>
                <c:pt idx="5902">
                  <c:v>39.617-39.624</c:v>
                </c:pt>
                <c:pt idx="5903">
                  <c:v>39.624-39.631</c:v>
                </c:pt>
                <c:pt idx="5904">
                  <c:v>39.631-39.637</c:v>
                </c:pt>
                <c:pt idx="5905">
                  <c:v>39.637-39.644</c:v>
                </c:pt>
                <c:pt idx="5906">
                  <c:v>39.644-39.651</c:v>
                </c:pt>
                <c:pt idx="5907">
                  <c:v>39.651-39.657</c:v>
                </c:pt>
                <c:pt idx="5908">
                  <c:v>39.657-39.664</c:v>
                </c:pt>
                <c:pt idx="5909">
                  <c:v>39.664-39.671</c:v>
                </c:pt>
                <c:pt idx="5910">
                  <c:v>39.671-39.678</c:v>
                </c:pt>
                <c:pt idx="5911">
                  <c:v>39.678-39.684</c:v>
                </c:pt>
                <c:pt idx="5912">
                  <c:v>39.684-39.691</c:v>
                </c:pt>
                <c:pt idx="5913">
                  <c:v>39.691-39.698</c:v>
                </c:pt>
                <c:pt idx="5914">
                  <c:v>39.698-39.704</c:v>
                </c:pt>
                <c:pt idx="5915">
                  <c:v>39.704-39.711</c:v>
                </c:pt>
                <c:pt idx="5916">
                  <c:v>39.711-39.718</c:v>
                </c:pt>
                <c:pt idx="5917">
                  <c:v>39.718-39.725</c:v>
                </c:pt>
                <c:pt idx="5918">
                  <c:v>39.725-39.731</c:v>
                </c:pt>
                <c:pt idx="5919">
                  <c:v>39.731-39.738</c:v>
                </c:pt>
                <c:pt idx="5920">
                  <c:v>39.738-39.745</c:v>
                </c:pt>
                <c:pt idx="5921">
                  <c:v>39.745-39.751</c:v>
                </c:pt>
                <c:pt idx="5922">
                  <c:v>39.751-39.758</c:v>
                </c:pt>
                <c:pt idx="5923">
                  <c:v>39.758-39.765</c:v>
                </c:pt>
                <c:pt idx="5924">
                  <c:v>39.765-39.771</c:v>
                </c:pt>
                <c:pt idx="5925">
                  <c:v>39.771-39.778</c:v>
                </c:pt>
                <c:pt idx="5926">
                  <c:v>39.778-39.785</c:v>
                </c:pt>
                <c:pt idx="5927">
                  <c:v>39.785-39.792</c:v>
                </c:pt>
                <c:pt idx="5928">
                  <c:v>39.792-39.798</c:v>
                </c:pt>
                <c:pt idx="5929">
                  <c:v>39.798-39.805</c:v>
                </c:pt>
                <c:pt idx="5930">
                  <c:v>39.805-39.812</c:v>
                </c:pt>
                <c:pt idx="5931">
                  <c:v>39.812-39.818</c:v>
                </c:pt>
                <c:pt idx="5932">
                  <c:v>39.818-39.825</c:v>
                </c:pt>
                <c:pt idx="5933">
                  <c:v>39.825-39.832</c:v>
                </c:pt>
                <c:pt idx="5934">
                  <c:v>39.832-39.839</c:v>
                </c:pt>
                <c:pt idx="5935">
                  <c:v>39.839-39.845</c:v>
                </c:pt>
                <c:pt idx="5936">
                  <c:v>39.845-39.852</c:v>
                </c:pt>
                <c:pt idx="5937">
                  <c:v>39.852-39.859</c:v>
                </c:pt>
                <c:pt idx="5938">
                  <c:v>39.859-39.865</c:v>
                </c:pt>
                <c:pt idx="5939">
                  <c:v>39.865-39.872</c:v>
                </c:pt>
                <c:pt idx="5940">
                  <c:v>39.872-39.879</c:v>
                </c:pt>
                <c:pt idx="5941">
                  <c:v>39.879-39.886</c:v>
                </c:pt>
                <c:pt idx="5942">
                  <c:v>39.886-39.892</c:v>
                </c:pt>
                <c:pt idx="5943">
                  <c:v>39.892-39.899</c:v>
                </c:pt>
                <c:pt idx="5944">
                  <c:v>39.899-39.906</c:v>
                </c:pt>
                <c:pt idx="5945">
                  <c:v>39.906-39.912</c:v>
                </c:pt>
                <c:pt idx="5946">
                  <c:v>39.912-39.919</c:v>
                </c:pt>
                <c:pt idx="5947">
                  <c:v>39.919-39.926</c:v>
                </c:pt>
                <c:pt idx="5948">
                  <c:v>39.926-39.933</c:v>
                </c:pt>
                <c:pt idx="5949">
                  <c:v>39.933-39.939</c:v>
                </c:pt>
                <c:pt idx="5950">
                  <c:v>39.939-39.946</c:v>
                </c:pt>
                <c:pt idx="5951">
                  <c:v>39.946-39.953</c:v>
                </c:pt>
                <c:pt idx="5952">
                  <c:v>39.953-39.959</c:v>
                </c:pt>
                <c:pt idx="5953">
                  <c:v>39.959-39.966</c:v>
                </c:pt>
                <c:pt idx="5954">
                  <c:v>39.966-39.973</c:v>
                </c:pt>
                <c:pt idx="5955">
                  <c:v>39.973-39.980</c:v>
                </c:pt>
                <c:pt idx="5956">
                  <c:v>39.980-39.986</c:v>
                </c:pt>
                <c:pt idx="5957">
                  <c:v>39.986-39.993</c:v>
                </c:pt>
                <c:pt idx="5958">
                  <c:v>39.993-40.000</c:v>
                </c:pt>
                <c:pt idx="5959">
                  <c:v>40.000-40.006</c:v>
                </c:pt>
                <c:pt idx="5960">
                  <c:v>40.006-40.013</c:v>
                </c:pt>
                <c:pt idx="5961">
                  <c:v>40.013-40.020</c:v>
                </c:pt>
                <c:pt idx="5962">
                  <c:v>40.020-40.027</c:v>
                </c:pt>
                <c:pt idx="5963">
                  <c:v>40.027-40.033</c:v>
                </c:pt>
                <c:pt idx="5964">
                  <c:v>40.033-40.040</c:v>
                </c:pt>
                <c:pt idx="5965">
                  <c:v>40.040-40.047</c:v>
                </c:pt>
                <c:pt idx="5966">
                  <c:v>40.047-40.053</c:v>
                </c:pt>
                <c:pt idx="5967">
                  <c:v>40.053-40.060</c:v>
                </c:pt>
                <c:pt idx="5968">
                  <c:v>40.060-40.067</c:v>
                </c:pt>
                <c:pt idx="5969">
                  <c:v>40.067-40.073</c:v>
                </c:pt>
                <c:pt idx="5970">
                  <c:v>40.073-40.080</c:v>
                </c:pt>
                <c:pt idx="5971">
                  <c:v>40.080-40.087</c:v>
                </c:pt>
                <c:pt idx="5972">
                  <c:v>40.087-40.094</c:v>
                </c:pt>
                <c:pt idx="5973">
                  <c:v>40.094-40.100</c:v>
                </c:pt>
                <c:pt idx="5974">
                  <c:v>40.100-40.107</c:v>
                </c:pt>
                <c:pt idx="5975">
                  <c:v>40.107-40.114</c:v>
                </c:pt>
                <c:pt idx="5976">
                  <c:v>40.114-40.120</c:v>
                </c:pt>
                <c:pt idx="5977">
                  <c:v>40.120-40.127</c:v>
                </c:pt>
                <c:pt idx="5978">
                  <c:v>40.127-40.134</c:v>
                </c:pt>
                <c:pt idx="5979">
                  <c:v>40.134-40.141</c:v>
                </c:pt>
                <c:pt idx="5980">
                  <c:v>40.141-40.147</c:v>
                </c:pt>
                <c:pt idx="5981">
                  <c:v>40.147-40.154</c:v>
                </c:pt>
                <c:pt idx="5982">
                  <c:v>40.154-40.161</c:v>
                </c:pt>
                <c:pt idx="5983">
                  <c:v>40.161-40.167</c:v>
                </c:pt>
                <c:pt idx="5984">
                  <c:v>40.167-40.174</c:v>
                </c:pt>
                <c:pt idx="5985">
                  <c:v>40.174-40.181</c:v>
                </c:pt>
                <c:pt idx="5986">
                  <c:v>40.181-40.188</c:v>
                </c:pt>
                <c:pt idx="5987">
                  <c:v>40.188-40.194</c:v>
                </c:pt>
                <c:pt idx="5988">
                  <c:v>40.194-40.201</c:v>
                </c:pt>
                <c:pt idx="5989">
                  <c:v>40.201-40.208</c:v>
                </c:pt>
                <c:pt idx="5990">
                  <c:v>40.208-40.214</c:v>
                </c:pt>
                <c:pt idx="5991">
                  <c:v>40.214-40.221</c:v>
                </c:pt>
                <c:pt idx="5992">
                  <c:v>40.221-40.228</c:v>
                </c:pt>
                <c:pt idx="5993">
                  <c:v>40.228-40.235</c:v>
                </c:pt>
                <c:pt idx="5994">
                  <c:v>40.235-40.241</c:v>
                </c:pt>
                <c:pt idx="5995">
                  <c:v>40.241-40.248</c:v>
                </c:pt>
                <c:pt idx="5996">
                  <c:v>40.248-40.255</c:v>
                </c:pt>
                <c:pt idx="5997">
                  <c:v>40.255-40.261</c:v>
                </c:pt>
                <c:pt idx="5998">
                  <c:v>40.261-40.268</c:v>
                </c:pt>
                <c:pt idx="5999">
                  <c:v>40.268-40.275</c:v>
                </c:pt>
                <c:pt idx="6000">
                  <c:v>40.275-40.282</c:v>
                </c:pt>
                <c:pt idx="6001">
                  <c:v>40.282-40.288</c:v>
                </c:pt>
                <c:pt idx="6002">
                  <c:v>40.288-40.295</c:v>
                </c:pt>
                <c:pt idx="6003">
                  <c:v>40.295-40.302</c:v>
                </c:pt>
                <c:pt idx="6004">
                  <c:v>40.302-40.308</c:v>
                </c:pt>
                <c:pt idx="6005">
                  <c:v>40.308-40.315</c:v>
                </c:pt>
                <c:pt idx="6006">
                  <c:v>40.315-40.322</c:v>
                </c:pt>
                <c:pt idx="6007">
                  <c:v>40.322-40.328</c:v>
                </c:pt>
                <c:pt idx="6008">
                  <c:v>40.328-40.335</c:v>
                </c:pt>
                <c:pt idx="6009">
                  <c:v>40.335-40.342</c:v>
                </c:pt>
                <c:pt idx="6010">
                  <c:v>40.342-40.349</c:v>
                </c:pt>
                <c:pt idx="6011">
                  <c:v>40.349-40.355</c:v>
                </c:pt>
                <c:pt idx="6012">
                  <c:v>40.355-40.362</c:v>
                </c:pt>
                <c:pt idx="6013">
                  <c:v>40.362-40.369</c:v>
                </c:pt>
                <c:pt idx="6014">
                  <c:v>40.369-40.375</c:v>
                </c:pt>
                <c:pt idx="6015">
                  <c:v>40.375-40.382</c:v>
                </c:pt>
                <c:pt idx="6016">
                  <c:v>40.382-40.389</c:v>
                </c:pt>
                <c:pt idx="6017">
                  <c:v>40.389-40.396</c:v>
                </c:pt>
                <c:pt idx="6018">
                  <c:v>40.396-40.402</c:v>
                </c:pt>
                <c:pt idx="6019">
                  <c:v>40.402-40.409</c:v>
                </c:pt>
                <c:pt idx="6020">
                  <c:v>40.409-40.416</c:v>
                </c:pt>
                <c:pt idx="6021">
                  <c:v>40.416-40.422</c:v>
                </c:pt>
                <c:pt idx="6022">
                  <c:v>40.422-40.429</c:v>
                </c:pt>
                <c:pt idx="6023">
                  <c:v>40.429-40.436</c:v>
                </c:pt>
                <c:pt idx="6024">
                  <c:v>40.436-40.443</c:v>
                </c:pt>
                <c:pt idx="6025">
                  <c:v>40.443-40.449</c:v>
                </c:pt>
                <c:pt idx="6026">
                  <c:v>40.449-40.456</c:v>
                </c:pt>
                <c:pt idx="6027">
                  <c:v>40.456-40.463</c:v>
                </c:pt>
                <c:pt idx="6028">
                  <c:v>40.463-40.469</c:v>
                </c:pt>
                <c:pt idx="6029">
                  <c:v>40.469-40.476</c:v>
                </c:pt>
                <c:pt idx="6030">
                  <c:v>40.476-40.483</c:v>
                </c:pt>
                <c:pt idx="6031">
                  <c:v>40.483-40.490</c:v>
                </c:pt>
                <c:pt idx="6032">
                  <c:v>40.490-40.496</c:v>
                </c:pt>
                <c:pt idx="6033">
                  <c:v>40.496-40.503</c:v>
                </c:pt>
                <c:pt idx="6034">
                  <c:v>40.503-40.510</c:v>
                </c:pt>
                <c:pt idx="6035">
                  <c:v>40.510-40.516</c:v>
                </c:pt>
                <c:pt idx="6036">
                  <c:v>40.516-40.523</c:v>
                </c:pt>
                <c:pt idx="6037">
                  <c:v>40.523-40.530</c:v>
                </c:pt>
                <c:pt idx="6038">
                  <c:v>40.530-40.537</c:v>
                </c:pt>
                <c:pt idx="6039">
                  <c:v>40.537-40.543</c:v>
                </c:pt>
                <c:pt idx="6040">
                  <c:v>40.543-40.550</c:v>
                </c:pt>
                <c:pt idx="6041">
                  <c:v>40.550-40.557</c:v>
                </c:pt>
                <c:pt idx="6042">
                  <c:v>40.557-40.563</c:v>
                </c:pt>
                <c:pt idx="6043">
                  <c:v>40.563-40.570</c:v>
                </c:pt>
                <c:pt idx="6044">
                  <c:v>40.570-40.577</c:v>
                </c:pt>
                <c:pt idx="6045">
                  <c:v>40.577-40.583</c:v>
                </c:pt>
                <c:pt idx="6046">
                  <c:v>40.583-40.590</c:v>
                </c:pt>
                <c:pt idx="6047">
                  <c:v>40.590-40.597</c:v>
                </c:pt>
                <c:pt idx="6048">
                  <c:v>40.597-40.604</c:v>
                </c:pt>
                <c:pt idx="6049">
                  <c:v>40.604-40.610</c:v>
                </c:pt>
                <c:pt idx="6050">
                  <c:v>40.610-40.617</c:v>
                </c:pt>
                <c:pt idx="6051">
                  <c:v>40.617-40.624</c:v>
                </c:pt>
                <c:pt idx="6052">
                  <c:v>40.624-40.630</c:v>
                </c:pt>
                <c:pt idx="6053">
                  <c:v>40.630-40.637</c:v>
                </c:pt>
                <c:pt idx="6054">
                  <c:v>40.637-40.644</c:v>
                </c:pt>
                <c:pt idx="6055">
                  <c:v>40.644-40.651</c:v>
                </c:pt>
                <c:pt idx="6056">
                  <c:v>40.651-40.657</c:v>
                </c:pt>
                <c:pt idx="6057">
                  <c:v>40.657-40.664</c:v>
                </c:pt>
                <c:pt idx="6058">
                  <c:v>40.664-40.671</c:v>
                </c:pt>
                <c:pt idx="6059">
                  <c:v>40.671-40.677</c:v>
                </c:pt>
                <c:pt idx="6060">
                  <c:v>40.677-40.684</c:v>
                </c:pt>
                <c:pt idx="6061">
                  <c:v>40.684-40.691</c:v>
                </c:pt>
                <c:pt idx="6062">
                  <c:v>40.691-40.698</c:v>
                </c:pt>
                <c:pt idx="6063">
                  <c:v>40.698-40.704</c:v>
                </c:pt>
                <c:pt idx="6064">
                  <c:v>40.704-40.711</c:v>
                </c:pt>
                <c:pt idx="6065">
                  <c:v>40.711-40.718</c:v>
                </c:pt>
                <c:pt idx="6066">
                  <c:v>40.718-40.724</c:v>
                </c:pt>
                <c:pt idx="6067">
                  <c:v>40.724-40.731</c:v>
                </c:pt>
                <c:pt idx="6068">
                  <c:v>40.731-40.738</c:v>
                </c:pt>
                <c:pt idx="6069">
                  <c:v>40.738-40.745</c:v>
                </c:pt>
                <c:pt idx="6070">
                  <c:v>40.745-40.751</c:v>
                </c:pt>
                <c:pt idx="6071">
                  <c:v>40.751-40.758</c:v>
                </c:pt>
                <c:pt idx="6072">
                  <c:v>40.758-40.765</c:v>
                </c:pt>
                <c:pt idx="6073">
                  <c:v>40.765-40.771</c:v>
                </c:pt>
                <c:pt idx="6074">
                  <c:v>40.771-40.778</c:v>
                </c:pt>
                <c:pt idx="6075">
                  <c:v>40.778-40.785</c:v>
                </c:pt>
                <c:pt idx="6076">
                  <c:v>40.785-40.792</c:v>
                </c:pt>
                <c:pt idx="6077">
                  <c:v>40.792-40.798</c:v>
                </c:pt>
                <c:pt idx="6078">
                  <c:v>40.798-40.805</c:v>
                </c:pt>
                <c:pt idx="6079">
                  <c:v>40.805-40.812</c:v>
                </c:pt>
                <c:pt idx="6080">
                  <c:v>40.812-40.818</c:v>
                </c:pt>
                <c:pt idx="6081">
                  <c:v>40.818-40.825</c:v>
                </c:pt>
                <c:pt idx="6082">
                  <c:v>40.825-40.832</c:v>
                </c:pt>
                <c:pt idx="6083">
                  <c:v>40.832-40.839</c:v>
                </c:pt>
                <c:pt idx="6084">
                  <c:v>40.839-40.845</c:v>
                </c:pt>
                <c:pt idx="6085">
                  <c:v>40.845-40.852</c:v>
                </c:pt>
                <c:pt idx="6086">
                  <c:v>40.852-40.859</c:v>
                </c:pt>
                <c:pt idx="6087">
                  <c:v>40.859-40.865</c:v>
                </c:pt>
                <c:pt idx="6088">
                  <c:v>40.865-40.872</c:v>
                </c:pt>
                <c:pt idx="6089">
                  <c:v>40.872-40.879</c:v>
                </c:pt>
                <c:pt idx="6090">
                  <c:v>40.879-40.885</c:v>
                </c:pt>
                <c:pt idx="6091">
                  <c:v>40.885-40.892</c:v>
                </c:pt>
                <c:pt idx="6092">
                  <c:v>40.892-40.899</c:v>
                </c:pt>
                <c:pt idx="6093">
                  <c:v>40.899-40.906</c:v>
                </c:pt>
                <c:pt idx="6094">
                  <c:v>40.906-40.912</c:v>
                </c:pt>
                <c:pt idx="6095">
                  <c:v>40.912-40.919</c:v>
                </c:pt>
                <c:pt idx="6096">
                  <c:v>40.919-40.926</c:v>
                </c:pt>
                <c:pt idx="6097">
                  <c:v>40.926-40.932</c:v>
                </c:pt>
                <c:pt idx="6098">
                  <c:v>40.932-40.939</c:v>
                </c:pt>
                <c:pt idx="6099">
                  <c:v>40.939-40.946</c:v>
                </c:pt>
                <c:pt idx="6100">
                  <c:v>40.946-40.953</c:v>
                </c:pt>
                <c:pt idx="6101">
                  <c:v>40.953-40.959</c:v>
                </c:pt>
                <c:pt idx="6102">
                  <c:v>40.959-40.966</c:v>
                </c:pt>
                <c:pt idx="6103">
                  <c:v>40.966-40.973</c:v>
                </c:pt>
                <c:pt idx="6104">
                  <c:v>40.973-40.979</c:v>
                </c:pt>
                <c:pt idx="6105">
                  <c:v>40.979-40.986</c:v>
                </c:pt>
                <c:pt idx="6106">
                  <c:v>40.986-40.993</c:v>
                </c:pt>
                <c:pt idx="6107">
                  <c:v>40.993-41.000</c:v>
                </c:pt>
                <c:pt idx="6108">
                  <c:v>41.000-41.006</c:v>
                </c:pt>
                <c:pt idx="6109">
                  <c:v>41.006-41.013</c:v>
                </c:pt>
                <c:pt idx="6110">
                  <c:v>41.013-41.020</c:v>
                </c:pt>
                <c:pt idx="6111">
                  <c:v>41.020-41.026</c:v>
                </c:pt>
                <c:pt idx="6112">
                  <c:v>41.026-41.033</c:v>
                </c:pt>
                <c:pt idx="6113">
                  <c:v>41.033-41.040</c:v>
                </c:pt>
                <c:pt idx="6114">
                  <c:v>41.040-41.047</c:v>
                </c:pt>
                <c:pt idx="6115">
                  <c:v>41.047-41.053</c:v>
                </c:pt>
                <c:pt idx="6116">
                  <c:v>41.053-41.060</c:v>
                </c:pt>
                <c:pt idx="6117">
                  <c:v>41.060-41.067</c:v>
                </c:pt>
                <c:pt idx="6118">
                  <c:v>41.067-41.073</c:v>
                </c:pt>
                <c:pt idx="6119">
                  <c:v>41.073-41.080</c:v>
                </c:pt>
                <c:pt idx="6120">
                  <c:v>41.080-41.087</c:v>
                </c:pt>
                <c:pt idx="6121">
                  <c:v>41.087-41.094</c:v>
                </c:pt>
                <c:pt idx="6122">
                  <c:v>41.094-41.100</c:v>
                </c:pt>
                <c:pt idx="6123">
                  <c:v>41.100-41.107</c:v>
                </c:pt>
                <c:pt idx="6124">
                  <c:v>41.107-41.114</c:v>
                </c:pt>
                <c:pt idx="6125">
                  <c:v>41.114-41.120</c:v>
                </c:pt>
                <c:pt idx="6126">
                  <c:v>41.120-41.127</c:v>
                </c:pt>
                <c:pt idx="6127">
                  <c:v>41.127-41.134</c:v>
                </c:pt>
                <c:pt idx="6128">
                  <c:v>41.134-41.140</c:v>
                </c:pt>
                <c:pt idx="6129">
                  <c:v>41.140-41.147</c:v>
                </c:pt>
                <c:pt idx="6130">
                  <c:v>41.147-41.154</c:v>
                </c:pt>
                <c:pt idx="6131">
                  <c:v>41.154-41.161</c:v>
                </c:pt>
                <c:pt idx="6132">
                  <c:v>41.161-41.167</c:v>
                </c:pt>
                <c:pt idx="6133">
                  <c:v>41.167-41.174</c:v>
                </c:pt>
                <c:pt idx="6134">
                  <c:v>41.174-41.181</c:v>
                </c:pt>
                <c:pt idx="6135">
                  <c:v>41.181-41.187</c:v>
                </c:pt>
                <c:pt idx="6136">
                  <c:v>41.187-41.194</c:v>
                </c:pt>
                <c:pt idx="6137">
                  <c:v>41.194-41.201</c:v>
                </c:pt>
                <c:pt idx="6138">
                  <c:v>41.201-41.208</c:v>
                </c:pt>
                <c:pt idx="6139">
                  <c:v>41.208-41.214</c:v>
                </c:pt>
                <c:pt idx="6140">
                  <c:v>41.214-41.221</c:v>
                </c:pt>
                <c:pt idx="6141">
                  <c:v>41.221-41.228</c:v>
                </c:pt>
                <c:pt idx="6142">
                  <c:v>41.228-41.234</c:v>
                </c:pt>
                <c:pt idx="6143">
                  <c:v>41.234-41.241</c:v>
                </c:pt>
                <c:pt idx="6144">
                  <c:v>41.241-41.248</c:v>
                </c:pt>
                <c:pt idx="6145">
                  <c:v>41.248-41.255</c:v>
                </c:pt>
                <c:pt idx="6146">
                  <c:v>41.255-41.261</c:v>
                </c:pt>
                <c:pt idx="6147">
                  <c:v>41.261-41.268</c:v>
                </c:pt>
                <c:pt idx="6148">
                  <c:v>41.268-41.275</c:v>
                </c:pt>
                <c:pt idx="6149">
                  <c:v>41.275-41.281</c:v>
                </c:pt>
                <c:pt idx="6150">
                  <c:v>41.281-41.288</c:v>
                </c:pt>
                <c:pt idx="6151">
                  <c:v>41.288-41.295</c:v>
                </c:pt>
                <c:pt idx="6152">
                  <c:v>41.295-41.302</c:v>
                </c:pt>
                <c:pt idx="6153">
                  <c:v>41.302-41.308</c:v>
                </c:pt>
                <c:pt idx="6154">
                  <c:v>41.308-41.315</c:v>
                </c:pt>
                <c:pt idx="6155">
                  <c:v>41.315-41.322</c:v>
                </c:pt>
                <c:pt idx="6156">
                  <c:v>41.322-41.328</c:v>
                </c:pt>
                <c:pt idx="6157">
                  <c:v>41.328-41.335</c:v>
                </c:pt>
                <c:pt idx="6158">
                  <c:v>41.335-41.342</c:v>
                </c:pt>
                <c:pt idx="6159">
                  <c:v>41.342-41.349</c:v>
                </c:pt>
                <c:pt idx="6160">
                  <c:v>41.349-41.355</c:v>
                </c:pt>
                <c:pt idx="6161">
                  <c:v>41.355-41.362</c:v>
                </c:pt>
                <c:pt idx="6162">
                  <c:v>41.362-41.369</c:v>
                </c:pt>
                <c:pt idx="6163">
                  <c:v>41.369-41.375</c:v>
                </c:pt>
                <c:pt idx="6164">
                  <c:v>41.375-41.382</c:v>
                </c:pt>
                <c:pt idx="6165">
                  <c:v>41.382-41.389</c:v>
                </c:pt>
                <c:pt idx="6166">
                  <c:v>41.389-41.396</c:v>
                </c:pt>
                <c:pt idx="6167">
                  <c:v>41.396-41.402</c:v>
                </c:pt>
                <c:pt idx="6168">
                  <c:v>41.402-41.409</c:v>
                </c:pt>
                <c:pt idx="6169">
                  <c:v>41.409-41.416</c:v>
                </c:pt>
                <c:pt idx="6170">
                  <c:v>41.416-41.422</c:v>
                </c:pt>
                <c:pt idx="6171">
                  <c:v>41.422-41.429</c:v>
                </c:pt>
                <c:pt idx="6172">
                  <c:v>41.429-41.436</c:v>
                </c:pt>
                <c:pt idx="6173">
                  <c:v>41.436-41.442</c:v>
                </c:pt>
                <c:pt idx="6174">
                  <c:v>41.442-41.449</c:v>
                </c:pt>
                <c:pt idx="6175">
                  <c:v>41.449-41.456</c:v>
                </c:pt>
                <c:pt idx="6176">
                  <c:v>41.456-41.463</c:v>
                </c:pt>
                <c:pt idx="6177">
                  <c:v>41.463-41.469</c:v>
                </c:pt>
                <c:pt idx="6178">
                  <c:v>41.469-41.476</c:v>
                </c:pt>
                <c:pt idx="6179">
                  <c:v>41.476-41.483</c:v>
                </c:pt>
                <c:pt idx="6180">
                  <c:v>41.483-41.489</c:v>
                </c:pt>
                <c:pt idx="6181">
                  <c:v>41.489-41.496</c:v>
                </c:pt>
                <c:pt idx="6182">
                  <c:v>41.496-41.503</c:v>
                </c:pt>
                <c:pt idx="6183">
                  <c:v>41.503-41.510</c:v>
                </c:pt>
                <c:pt idx="6184">
                  <c:v>41.510-41.516</c:v>
                </c:pt>
                <c:pt idx="6185">
                  <c:v>41.516-41.523</c:v>
                </c:pt>
                <c:pt idx="6186">
                  <c:v>41.523-41.530</c:v>
                </c:pt>
                <c:pt idx="6187">
                  <c:v>41.530-41.536</c:v>
                </c:pt>
                <c:pt idx="6188">
                  <c:v>41.536-41.543</c:v>
                </c:pt>
                <c:pt idx="6189">
                  <c:v>41.543-41.550</c:v>
                </c:pt>
                <c:pt idx="6190">
                  <c:v>41.550-41.557</c:v>
                </c:pt>
                <c:pt idx="6191">
                  <c:v>41.557-41.563</c:v>
                </c:pt>
                <c:pt idx="6192">
                  <c:v>41.563-41.570</c:v>
                </c:pt>
                <c:pt idx="6193">
                  <c:v>41.570-41.577</c:v>
                </c:pt>
                <c:pt idx="6194">
                  <c:v>41.577-41.583</c:v>
                </c:pt>
                <c:pt idx="6195">
                  <c:v>41.583-41.590</c:v>
                </c:pt>
                <c:pt idx="6196">
                  <c:v>41.590-41.597</c:v>
                </c:pt>
                <c:pt idx="6197">
                  <c:v>41.597-41.604</c:v>
                </c:pt>
                <c:pt idx="6198">
                  <c:v>41.604-41.610</c:v>
                </c:pt>
                <c:pt idx="6199">
                  <c:v>41.610-41.617</c:v>
                </c:pt>
                <c:pt idx="6200">
                  <c:v>41.617-41.624</c:v>
                </c:pt>
                <c:pt idx="6201">
                  <c:v>41.624-41.630</c:v>
                </c:pt>
                <c:pt idx="6202">
                  <c:v>41.630-41.637</c:v>
                </c:pt>
                <c:pt idx="6203">
                  <c:v>41.637-41.644</c:v>
                </c:pt>
                <c:pt idx="6204">
                  <c:v>41.644-41.651</c:v>
                </c:pt>
                <c:pt idx="6205">
                  <c:v>41.651-41.657</c:v>
                </c:pt>
                <c:pt idx="6206">
                  <c:v>41.657-41.664</c:v>
                </c:pt>
                <c:pt idx="6207">
                  <c:v>41.664-41.671</c:v>
                </c:pt>
                <c:pt idx="6208">
                  <c:v>41.671-41.677</c:v>
                </c:pt>
                <c:pt idx="6209">
                  <c:v>41.677-41.684</c:v>
                </c:pt>
                <c:pt idx="6210">
                  <c:v>41.684-41.691</c:v>
                </c:pt>
                <c:pt idx="6211">
                  <c:v>41.691-41.697</c:v>
                </c:pt>
                <c:pt idx="6212">
                  <c:v>41.697-41.704</c:v>
                </c:pt>
                <c:pt idx="6213">
                  <c:v>41.704-41.711</c:v>
                </c:pt>
                <c:pt idx="6214">
                  <c:v>41.711-41.718</c:v>
                </c:pt>
                <c:pt idx="6215">
                  <c:v>41.718-41.724</c:v>
                </c:pt>
                <c:pt idx="6216">
                  <c:v>41.724-41.731</c:v>
                </c:pt>
                <c:pt idx="6217">
                  <c:v>41.731-41.738</c:v>
                </c:pt>
                <c:pt idx="6218">
                  <c:v>41.738-41.744</c:v>
                </c:pt>
                <c:pt idx="6219">
                  <c:v>41.744-41.751</c:v>
                </c:pt>
                <c:pt idx="6220">
                  <c:v>41.751-41.758</c:v>
                </c:pt>
                <c:pt idx="6221">
                  <c:v>41.758-41.765</c:v>
                </c:pt>
                <c:pt idx="6222">
                  <c:v>41.765-41.771</c:v>
                </c:pt>
                <c:pt idx="6223">
                  <c:v>41.771-41.778</c:v>
                </c:pt>
                <c:pt idx="6224">
                  <c:v>41.778-41.785</c:v>
                </c:pt>
                <c:pt idx="6225">
                  <c:v>41.785-41.791</c:v>
                </c:pt>
                <c:pt idx="6226">
                  <c:v>41.791-41.798</c:v>
                </c:pt>
                <c:pt idx="6227">
                  <c:v>41.798-41.805</c:v>
                </c:pt>
                <c:pt idx="6228">
                  <c:v>41.805-41.812</c:v>
                </c:pt>
                <c:pt idx="6229">
                  <c:v>41.812-41.818</c:v>
                </c:pt>
                <c:pt idx="6230">
                  <c:v>41.818-41.825</c:v>
                </c:pt>
                <c:pt idx="6231">
                  <c:v>41.825-41.832</c:v>
                </c:pt>
                <c:pt idx="6232">
                  <c:v>41.832-41.838</c:v>
                </c:pt>
                <c:pt idx="6233">
                  <c:v>41.838-41.845</c:v>
                </c:pt>
                <c:pt idx="6234">
                  <c:v>41.845-41.852</c:v>
                </c:pt>
                <c:pt idx="6235">
                  <c:v>41.852-41.859</c:v>
                </c:pt>
                <c:pt idx="6236">
                  <c:v>41.859-41.865</c:v>
                </c:pt>
                <c:pt idx="6237">
                  <c:v>41.865-41.872</c:v>
                </c:pt>
                <c:pt idx="6238">
                  <c:v>41.872-41.879</c:v>
                </c:pt>
                <c:pt idx="6239">
                  <c:v>41.879-41.885</c:v>
                </c:pt>
                <c:pt idx="6240">
                  <c:v>41.885-41.892</c:v>
                </c:pt>
                <c:pt idx="6241">
                  <c:v>41.892-41.899</c:v>
                </c:pt>
                <c:pt idx="6242">
                  <c:v>41.899-41.906</c:v>
                </c:pt>
                <c:pt idx="6243">
                  <c:v>41.906-41.912</c:v>
                </c:pt>
                <c:pt idx="6244">
                  <c:v>41.912-41.919</c:v>
                </c:pt>
                <c:pt idx="6245">
                  <c:v>41.919-41.926</c:v>
                </c:pt>
                <c:pt idx="6246">
                  <c:v>41.926-41.932</c:v>
                </c:pt>
                <c:pt idx="6247">
                  <c:v>41.932-41.939</c:v>
                </c:pt>
                <c:pt idx="6248">
                  <c:v>41.939-41.946</c:v>
                </c:pt>
                <c:pt idx="6249">
                  <c:v>41.946-41.952</c:v>
                </c:pt>
                <c:pt idx="6250">
                  <c:v>41.952-41.959</c:v>
                </c:pt>
                <c:pt idx="6251">
                  <c:v>41.959-41.966</c:v>
                </c:pt>
                <c:pt idx="6252">
                  <c:v>41.966-41.973</c:v>
                </c:pt>
                <c:pt idx="6253">
                  <c:v>41.973-41.979</c:v>
                </c:pt>
                <c:pt idx="6254">
                  <c:v>41.979-41.986</c:v>
                </c:pt>
                <c:pt idx="6255">
                  <c:v>41.986-41.993</c:v>
                </c:pt>
                <c:pt idx="6256">
                  <c:v>41.993-41.999</c:v>
                </c:pt>
                <c:pt idx="6257">
                  <c:v>41.999-42.006</c:v>
                </c:pt>
                <c:pt idx="6258">
                  <c:v>42.006-42.013</c:v>
                </c:pt>
                <c:pt idx="6259">
                  <c:v>42.013-42.020</c:v>
                </c:pt>
                <c:pt idx="6260">
                  <c:v>42.020-42.026</c:v>
                </c:pt>
                <c:pt idx="6261">
                  <c:v>42.026-42.033</c:v>
                </c:pt>
                <c:pt idx="6262">
                  <c:v>42.033-42.040</c:v>
                </c:pt>
                <c:pt idx="6263">
                  <c:v>42.040-42.046</c:v>
                </c:pt>
                <c:pt idx="6264">
                  <c:v>42.046-42.053</c:v>
                </c:pt>
                <c:pt idx="6265">
                  <c:v>42.053-42.060</c:v>
                </c:pt>
                <c:pt idx="6266">
                  <c:v>42.060-42.067</c:v>
                </c:pt>
                <c:pt idx="6267">
                  <c:v>42.067-42.073</c:v>
                </c:pt>
                <c:pt idx="6268">
                  <c:v>42.073-42.080</c:v>
                </c:pt>
                <c:pt idx="6269">
                  <c:v>42.080-42.087</c:v>
                </c:pt>
                <c:pt idx="6270">
                  <c:v>42.087-42.093</c:v>
                </c:pt>
                <c:pt idx="6271">
                  <c:v>42.093-42.100</c:v>
                </c:pt>
                <c:pt idx="6272">
                  <c:v>42.100-42.107</c:v>
                </c:pt>
                <c:pt idx="6273">
                  <c:v>42.107-42.114</c:v>
                </c:pt>
                <c:pt idx="6274">
                  <c:v>42.114-42.120</c:v>
                </c:pt>
                <c:pt idx="6275">
                  <c:v>42.120-42.127</c:v>
                </c:pt>
                <c:pt idx="6276">
                  <c:v>42.127-42.134</c:v>
                </c:pt>
                <c:pt idx="6277">
                  <c:v>42.134-42.140</c:v>
                </c:pt>
                <c:pt idx="6278">
                  <c:v>42.140-42.147</c:v>
                </c:pt>
                <c:pt idx="6279">
                  <c:v>42.147-42.154</c:v>
                </c:pt>
                <c:pt idx="6280">
                  <c:v>42.154-42.161</c:v>
                </c:pt>
                <c:pt idx="6281">
                  <c:v>42.161-42.167</c:v>
                </c:pt>
                <c:pt idx="6282">
                  <c:v>42.167-42.174</c:v>
                </c:pt>
                <c:pt idx="6283">
                  <c:v>42.174-42.181</c:v>
                </c:pt>
                <c:pt idx="6284">
                  <c:v>42.181-42.187</c:v>
                </c:pt>
                <c:pt idx="6285">
                  <c:v>42.187-42.194</c:v>
                </c:pt>
                <c:pt idx="6286">
                  <c:v>42.194-42.201</c:v>
                </c:pt>
                <c:pt idx="6287">
                  <c:v>42.201-42.208</c:v>
                </c:pt>
                <c:pt idx="6288">
                  <c:v>42.208-42.214</c:v>
                </c:pt>
                <c:pt idx="6289">
                  <c:v>42.214-42.221</c:v>
                </c:pt>
                <c:pt idx="6290">
                  <c:v>42.221-42.228</c:v>
                </c:pt>
                <c:pt idx="6291">
                  <c:v>42.228-42.234</c:v>
                </c:pt>
                <c:pt idx="6292">
                  <c:v>42.234-42.241</c:v>
                </c:pt>
                <c:pt idx="6293">
                  <c:v>42.241-42.248</c:v>
                </c:pt>
                <c:pt idx="6294">
                  <c:v>42.248-42.254</c:v>
                </c:pt>
                <c:pt idx="6295">
                  <c:v>42.254-42.261</c:v>
                </c:pt>
                <c:pt idx="6296">
                  <c:v>42.261-42.268</c:v>
                </c:pt>
                <c:pt idx="6297">
                  <c:v>42.268-42.275</c:v>
                </c:pt>
                <c:pt idx="6298">
                  <c:v>42.275-42.281</c:v>
                </c:pt>
                <c:pt idx="6299">
                  <c:v>42.281-42.288</c:v>
                </c:pt>
                <c:pt idx="6300">
                  <c:v>42.288-42.295</c:v>
                </c:pt>
                <c:pt idx="6301">
                  <c:v>42.295-42.301</c:v>
                </c:pt>
                <c:pt idx="6302">
                  <c:v>42.301-42.308</c:v>
                </c:pt>
                <c:pt idx="6303">
                  <c:v>42.308-42.315</c:v>
                </c:pt>
                <c:pt idx="6304">
                  <c:v>42.315-42.322</c:v>
                </c:pt>
                <c:pt idx="6305">
                  <c:v>42.322-42.328</c:v>
                </c:pt>
                <c:pt idx="6306">
                  <c:v>42.328-42.335</c:v>
                </c:pt>
                <c:pt idx="6307">
                  <c:v>42.335-42.342</c:v>
                </c:pt>
                <c:pt idx="6308">
                  <c:v>42.342-42.348</c:v>
                </c:pt>
                <c:pt idx="6309">
                  <c:v>42.348-42.355</c:v>
                </c:pt>
                <c:pt idx="6310">
                  <c:v>42.355-42.362</c:v>
                </c:pt>
                <c:pt idx="6311">
                  <c:v>42.362-42.369</c:v>
                </c:pt>
                <c:pt idx="6312">
                  <c:v>42.369-42.375</c:v>
                </c:pt>
                <c:pt idx="6313">
                  <c:v>42.375-42.382</c:v>
                </c:pt>
                <c:pt idx="6314">
                  <c:v>42.382-42.389</c:v>
                </c:pt>
                <c:pt idx="6315">
                  <c:v>42.389-42.395</c:v>
                </c:pt>
                <c:pt idx="6316">
                  <c:v>42.395-42.402</c:v>
                </c:pt>
                <c:pt idx="6317">
                  <c:v>42.402-42.409</c:v>
                </c:pt>
                <c:pt idx="6318">
                  <c:v>42.409-42.416</c:v>
                </c:pt>
                <c:pt idx="6319">
                  <c:v>42.416-42.422</c:v>
                </c:pt>
                <c:pt idx="6320">
                  <c:v>42.422-42.429</c:v>
                </c:pt>
                <c:pt idx="6321">
                  <c:v>42.429-42.436</c:v>
                </c:pt>
                <c:pt idx="6322">
                  <c:v>42.436-42.442</c:v>
                </c:pt>
                <c:pt idx="6323">
                  <c:v>42.442-42.449</c:v>
                </c:pt>
                <c:pt idx="6324">
                  <c:v>42.449-42.456</c:v>
                </c:pt>
                <c:pt idx="6325">
                  <c:v>42.456-42.463</c:v>
                </c:pt>
                <c:pt idx="6326">
                  <c:v>42.463-42.469</c:v>
                </c:pt>
                <c:pt idx="6327">
                  <c:v>42.469-42.476</c:v>
                </c:pt>
                <c:pt idx="6328">
                  <c:v>42.476-42.483</c:v>
                </c:pt>
                <c:pt idx="6329">
                  <c:v>42.483-42.489</c:v>
                </c:pt>
                <c:pt idx="6330">
                  <c:v>42.489-42.496</c:v>
                </c:pt>
                <c:pt idx="6331">
                  <c:v>42.496-42.503</c:v>
                </c:pt>
                <c:pt idx="6332">
                  <c:v>42.503-42.509</c:v>
                </c:pt>
                <c:pt idx="6333">
                  <c:v>42.509-42.516</c:v>
                </c:pt>
                <c:pt idx="6334">
                  <c:v>42.516-42.523</c:v>
                </c:pt>
                <c:pt idx="6335">
                  <c:v>42.523-42.530</c:v>
                </c:pt>
                <c:pt idx="6336">
                  <c:v>42.530-42.536</c:v>
                </c:pt>
                <c:pt idx="6337">
                  <c:v>42.536-42.543</c:v>
                </c:pt>
                <c:pt idx="6338">
                  <c:v>42.543-42.550</c:v>
                </c:pt>
                <c:pt idx="6339">
                  <c:v>42.550-42.556</c:v>
                </c:pt>
                <c:pt idx="6340">
                  <c:v>42.556-42.563</c:v>
                </c:pt>
                <c:pt idx="6341">
                  <c:v>42.563-42.570</c:v>
                </c:pt>
                <c:pt idx="6342">
                  <c:v>42.570-42.577</c:v>
                </c:pt>
                <c:pt idx="6343">
                  <c:v>42.577-42.583</c:v>
                </c:pt>
                <c:pt idx="6344">
                  <c:v>42.583-42.590</c:v>
                </c:pt>
                <c:pt idx="6345">
                  <c:v>42.590-42.597</c:v>
                </c:pt>
                <c:pt idx="6346">
                  <c:v>42.597-42.603</c:v>
                </c:pt>
                <c:pt idx="6347">
                  <c:v>42.603-42.610</c:v>
                </c:pt>
                <c:pt idx="6348">
                  <c:v>42.610-42.617</c:v>
                </c:pt>
                <c:pt idx="6349">
                  <c:v>42.617-42.624</c:v>
                </c:pt>
                <c:pt idx="6350">
                  <c:v>42.624-42.630</c:v>
                </c:pt>
                <c:pt idx="6351">
                  <c:v>42.630-42.637</c:v>
                </c:pt>
                <c:pt idx="6352">
                  <c:v>42.637-42.644</c:v>
                </c:pt>
                <c:pt idx="6353">
                  <c:v>42.644-42.650</c:v>
                </c:pt>
                <c:pt idx="6354">
                  <c:v>42.650-42.657</c:v>
                </c:pt>
                <c:pt idx="6355">
                  <c:v>42.657-42.664</c:v>
                </c:pt>
                <c:pt idx="6356">
                  <c:v>42.664-42.671</c:v>
                </c:pt>
                <c:pt idx="6357">
                  <c:v>42.671-42.677</c:v>
                </c:pt>
                <c:pt idx="6358">
                  <c:v>42.677-42.684</c:v>
                </c:pt>
                <c:pt idx="6359">
                  <c:v>42.684-42.691</c:v>
                </c:pt>
                <c:pt idx="6360">
                  <c:v>42.691-42.697</c:v>
                </c:pt>
                <c:pt idx="6361">
                  <c:v>42.697-42.704</c:v>
                </c:pt>
                <c:pt idx="6362">
                  <c:v>42.704-42.711</c:v>
                </c:pt>
                <c:pt idx="6363">
                  <c:v>42.711-42.718</c:v>
                </c:pt>
                <c:pt idx="6364">
                  <c:v>42.718-42.724</c:v>
                </c:pt>
                <c:pt idx="6365">
                  <c:v>42.724-42.731</c:v>
                </c:pt>
                <c:pt idx="6366">
                  <c:v>42.731-42.738</c:v>
                </c:pt>
                <c:pt idx="6367">
                  <c:v>42.738-42.744</c:v>
                </c:pt>
                <c:pt idx="6368">
                  <c:v>42.744-42.751</c:v>
                </c:pt>
                <c:pt idx="6369">
                  <c:v>42.751-42.758</c:v>
                </c:pt>
                <c:pt idx="6370">
                  <c:v>42.758-42.765</c:v>
                </c:pt>
                <c:pt idx="6371">
                  <c:v>42.765-42.771</c:v>
                </c:pt>
                <c:pt idx="6372">
                  <c:v>42.771-42.778</c:v>
                </c:pt>
                <c:pt idx="6373">
                  <c:v>42.778-42.785</c:v>
                </c:pt>
                <c:pt idx="6374">
                  <c:v>42.785-42.791</c:v>
                </c:pt>
                <c:pt idx="6375">
                  <c:v>42.791-42.798</c:v>
                </c:pt>
                <c:pt idx="6376">
                  <c:v>42.798-42.805</c:v>
                </c:pt>
                <c:pt idx="6377">
                  <c:v>42.805-42.811</c:v>
                </c:pt>
                <c:pt idx="6378">
                  <c:v>42.811-42.818</c:v>
                </c:pt>
                <c:pt idx="6379">
                  <c:v>42.818-42.825</c:v>
                </c:pt>
                <c:pt idx="6380">
                  <c:v>42.825-42.832</c:v>
                </c:pt>
                <c:pt idx="6381">
                  <c:v>42.832-42.838</c:v>
                </c:pt>
                <c:pt idx="6382">
                  <c:v>42.838-42.845</c:v>
                </c:pt>
                <c:pt idx="6383">
                  <c:v>42.845-42.852</c:v>
                </c:pt>
                <c:pt idx="6384">
                  <c:v>42.852-42.858</c:v>
                </c:pt>
                <c:pt idx="6385">
                  <c:v>42.858-42.865</c:v>
                </c:pt>
                <c:pt idx="6386">
                  <c:v>42.865-42.872</c:v>
                </c:pt>
                <c:pt idx="6387">
                  <c:v>42.872-42.879</c:v>
                </c:pt>
                <c:pt idx="6388">
                  <c:v>42.879-42.885</c:v>
                </c:pt>
                <c:pt idx="6389">
                  <c:v>42.885-42.892</c:v>
                </c:pt>
                <c:pt idx="6390">
                  <c:v>42.892-42.899</c:v>
                </c:pt>
                <c:pt idx="6391">
                  <c:v>42.899-42.905</c:v>
                </c:pt>
                <c:pt idx="6392">
                  <c:v>42.905-42.912</c:v>
                </c:pt>
                <c:pt idx="6393">
                  <c:v>42.912-42.919</c:v>
                </c:pt>
                <c:pt idx="6394">
                  <c:v>42.919-42.926</c:v>
                </c:pt>
                <c:pt idx="6395">
                  <c:v>42.926-42.932</c:v>
                </c:pt>
                <c:pt idx="6396">
                  <c:v>42.932-42.939</c:v>
                </c:pt>
                <c:pt idx="6397">
                  <c:v>42.939-42.946</c:v>
                </c:pt>
                <c:pt idx="6398">
                  <c:v>42.946-42.952</c:v>
                </c:pt>
                <c:pt idx="6399">
                  <c:v>42.952-42.959</c:v>
                </c:pt>
                <c:pt idx="6400">
                  <c:v>42.959-42.966</c:v>
                </c:pt>
                <c:pt idx="6401">
                  <c:v>42.966-42.973</c:v>
                </c:pt>
                <c:pt idx="6402">
                  <c:v>42.973-42.979</c:v>
                </c:pt>
                <c:pt idx="6403">
                  <c:v>42.979-42.986</c:v>
                </c:pt>
                <c:pt idx="6404">
                  <c:v>42.986-42.993</c:v>
                </c:pt>
                <c:pt idx="6405">
                  <c:v>42.993-42.999</c:v>
                </c:pt>
                <c:pt idx="6406">
                  <c:v>42.999-43.006</c:v>
                </c:pt>
                <c:pt idx="6407">
                  <c:v>43.006-43.013</c:v>
                </c:pt>
                <c:pt idx="6408">
                  <c:v>43.013-43.020</c:v>
                </c:pt>
                <c:pt idx="6409">
                  <c:v>43.020-43.026</c:v>
                </c:pt>
                <c:pt idx="6410">
                  <c:v>43.026-43.033</c:v>
                </c:pt>
                <c:pt idx="6411">
                  <c:v>43.033-43.040</c:v>
                </c:pt>
                <c:pt idx="6412">
                  <c:v>43.040-43.046</c:v>
                </c:pt>
                <c:pt idx="6413">
                  <c:v>43.046-43.053</c:v>
                </c:pt>
                <c:pt idx="6414">
                  <c:v>43.053-43.060</c:v>
                </c:pt>
                <c:pt idx="6415">
                  <c:v>43.060-43.066</c:v>
                </c:pt>
                <c:pt idx="6416">
                  <c:v>43.066-43.073</c:v>
                </c:pt>
                <c:pt idx="6417">
                  <c:v>43.073-43.080</c:v>
                </c:pt>
                <c:pt idx="6418">
                  <c:v>43.080-43.087</c:v>
                </c:pt>
                <c:pt idx="6419">
                  <c:v>43.087-43.093</c:v>
                </c:pt>
                <c:pt idx="6420">
                  <c:v>43.093-43.100</c:v>
                </c:pt>
                <c:pt idx="6421">
                  <c:v>43.100-43.107</c:v>
                </c:pt>
                <c:pt idx="6422">
                  <c:v>43.107-43.113</c:v>
                </c:pt>
                <c:pt idx="6423">
                  <c:v>43.113-43.120</c:v>
                </c:pt>
                <c:pt idx="6424">
                  <c:v>43.120-43.127</c:v>
                </c:pt>
                <c:pt idx="6425">
                  <c:v>43.127-43.134</c:v>
                </c:pt>
                <c:pt idx="6426">
                  <c:v>43.134-43.140</c:v>
                </c:pt>
                <c:pt idx="6427">
                  <c:v>43.140-43.147</c:v>
                </c:pt>
                <c:pt idx="6428">
                  <c:v>43.147-43.154</c:v>
                </c:pt>
                <c:pt idx="6429">
                  <c:v>43.154-43.160</c:v>
                </c:pt>
                <c:pt idx="6430">
                  <c:v>43.160-43.167</c:v>
                </c:pt>
                <c:pt idx="6431">
                  <c:v>43.167-43.174</c:v>
                </c:pt>
                <c:pt idx="6432">
                  <c:v>43.174-43.181</c:v>
                </c:pt>
                <c:pt idx="6433">
                  <c:v>43.181-43.187</c:v>
                </c:pt>
                <c:pt idx="6434">
                  <c:v>43.187-43.194</c:v>
                </c:pt>
                <c:pt idx="6435">
                  <c:v>43.194-43.201</c:v>
                </c:pt>
                <c:pt idx="6436">
                  <c:v>43.201-43.207</c:v>
                </c:pt>
                <c:pt idx="6437">
                  <c:v>43.207-43.214</c:v>
                </c:pt>
                <c:pt idx="6438">
                  <c:v>43.214-43.221</c:v>
                </c:pt>
                <c:pt idx="6439">
                  <c:v>43.221-43.228</c:v>
                </c:pt>
                <c:pt idx="6440">
                  <c:v>43.228-43.234</c:v>
                </c:pt>
                <c:pt idx="6441">
                  <c:v>43.234-43.241</c:v>
                </c:pt>
                <c:pt idx="6442">
                  <c:v>43.241-43.248</c:v>
                </c:pt>
                <c:pt idx="6443">
                  <c:v>43.248-43.254</c:v>
                </c:pt>
                <c:pt idx="6444">
                  <c:v>43.254-43.261</c:v>
                </c:pt>
                <c:pt idx="6445">
                  <c:v>43.261-43.268</c:v>
                </c:pt>
                <c:pt idx="6446">
                  <c:v>43.268-43.275</c:v>
                </c:pt>
                <c:pt idx="6447">
                  <c:v>43.275-43.281</c:v>
                </c:pt>
                <c:pt idx="6448">
                  <c:v>43.281-43.288</c:v>
                </c:pt>
                <c:pt idx="6449">
                  <c:v>43.288-43.295</c:v>
                </c:pt>
                <c:pt idx="6450">
                  <c:v>43.295-43.301</c:v>
                </c:pt>
                <c:pt idx="6451">
                  <c:v>43.301-43.308</c:v>
                </c:pt>
                <c:pt idx="6452">
                  <c:v>43.308-43.315</c:v>
                </c:pt>
                <c:pt idx="6453">
                  <c:v>43.315-43.322</c:v>
                </c:pt>
                <c:pt idx="6454">
                  <c:v>43.322-43.328</c:v>
                </c:pt>
                <c:pt idx="6455">
                  <c:v>43.328-43.335</c:v>
                </c:pt>
                <c:pt idx="6456">
                  <c:v>43.335-43.342</c:v>
                </c:pt>
                <c:pt idx="6457">
                  <c:v>43.342-43.348</c:v>
                </c:pt>
                <c:pt idx="6458">
                  <c:v>43.348-43.355</c:v>
                </c:pt>
                <c:pt idx="6459">
                  <c:v>43.355-43.362</c:v>
                </c:pt>
                <c:pt idx="6460">
                  <c:v>43.362-43.368</c:v>
                </c:pt>
                <c:pt idx="6461">
                  <c:v>43.368-43.375</c:v>
                </c:pt>
                <c:pt idx="6462">
                  <c:v>43.375-43.382</c:v>
                </c:pt>
                <c:pt idx="6463">
                  <c:v>43.382-43.389</c:v>
                </c:pt>
                <c:pt idx="6464">
                  <c:v>43.389-43.395</c:v>
                </c:pt>
                <c:pt idx="6465">
                  <c:v>43.395-43.402</c:v>
                </c:pt>
                <c:pt idx="6466">
                  <c:v>43.402-43.409</c:v>
                </c:pt>
                <c:pt idx="6467">
                  <c:v>43.409-43.415</c:v>
                </c:pt>
                <c:pt idx="6468">
                  <c:v>43.415-43.422</c:v>
                </c:pt>
                <c:pt idx="6469">
                  <c:v>43.422-43.429</c:v>
                </c:pt>
                <c:pt idx="6470">
                  <c:v>43.429-43.436</c:v>
                </c:pt>
                <c:pt idx="6471">
                  <c:v>43.436-43.442</c:v>
                </c:pt>
                <c:pt idx="6472">
                  <c:v>43.442-43.449</c:v>
                </c:pt>
                <c:pt idx="6473">
                  <c:v>43.449-43.456</c:v>
                </c:pt>
                <c:pt idx="6474">
                  <c:v>43.456-43.462</c:v>
                </c:pt>
                <c:pt idx="6475">
                  <c:v>43.462-43.469</c:v>
                </c:pt>
                <c:pt idx="6476">
                  <c:v>43.469-43.476</c:v>
                </c:pt>
                <c:pt idx="6477">
                  <c:v>43.476-43.483</c:v>
                </c:pt>
                <c:pt idx="6478">
                  <c:v>43.483-43.489</c:v>
                </c:pt>
                <c:pt idx="6479">
                  <c:v>43.489-43.496</c:v>
                </c:pt>
                <c:pt idx="6480">
                  <c:v>43.496-43.503</c:v>
                </c:pt>
                <c:pt idx="6481">
                  <c:v>43.503-43.509</c:v>
                </c:pt>
                <c:pt idx="6482">
                  <c:v>43.509-43.516</c:v>
                </c:pt>
                <c:pt idx="6483">
                  <c:v>43.516-43.523</c:v>
                </c:pt>
                <c:pt idx="6484">
                  <c:v>43.523-43.530</c:v>
                </c:pt>
                <c:pt idx="6485">
                  <c:v>43.530-43.536</c:v>
                </c:pt>
                <c:pt idx="6486">
                  <c:v>43.536-43.543</c:v>
                </c:pt>
                <c:pt idx="6487">
                  <c:v>43.543-43.550</c:v>
                </c:pt>
                <c:pt idx="6488">
                  <c:v>43.550-43.556</c:v>
                </c:pt>
                <c:pt idx="6489">
                  <c:v>43.556-43.563</c:v>
                </c:pt>
                <c:pt idx="6490">
                  <c:v>43.563-43.570</c:v>
                </c:pt>
                <c:pt idx="6491">
                  <c:v>43.570-43.577</c:v>
                </c:pt>
                <c:pt idx="6492">
                  <c:v>43.577-43.583</c:v>
                </c:pt>
                <c:pt idx="6493">
                  <c:v>43.583-43.590</c:v>
                </c:pt>
                <c:pt idx="6494">
                  <c:v>43.590-43.597</c:v>
                </c:pt>
                <c:pt idx="6495">
                  <c:v>43.597-43.603</c:v>
                </c:pt>
                <c:pt idx="6496">
                  <c:v>43.603-43.610</c:v>
                </c:pt>
                <c:pt idx="6497">
                  <c:v>43.610-43.617</c:v>
                </c:pt>
                <c:pt idx="6498">
                  <c:v>43.617-43.623</c:v>
                </c:pt>
                <c:pt idx="6499">
                  <c:v>43.623-43.630</c:v>
                </c:pt>
                <c:pt idx="6500">
                  <c:v>43.630-43.637</c:v>
                </c:pt>
                <c:pt idx="6501">
                  <c:v>43.637-43.644</c:v>
                </c:pt>
                <c:pt idx="6502">
                  <c:v>43.644-43.650</c:v>
                </c:pt>
                <c:pt idx="6503">
                  <c:v>43.650-43.657</c:v>
                </c:pt>
                <c:pt idx="6504">
                  <c:v>43.657-43.664</c:v>
                </c:pt>
                <c:pt idx="6505">
                  <c:v>43.664-43.670</c:v>
                </c:pt>
                <c:pt idx="6506">
                  <c:v>43.670-43.677</c:v>
                </c:pt>
                <c:pt idx="6507">
                  <c:v>43.677-43.684</c:v>
                </c:pt>
                <c:pt idx="6508">
                  <c:v>43.684-43.691</c:v>
                </c:pt>
                <c:pt idx="6509">
                  <c:v>43.691-43.697</c:v>
                </c:pt>
                <c:pt idx="6510">
                  <c:v>43.697-43.704</c:v>
                </c:pt>
                <c:pt idx="6511">
                  <c:v>43.704-43.711</c:v>
                </c:pt>
                <c:pt idx="6512">
                  <c:v>43.711-43.717</c:v>
                </c:pt>
                <c:pt idx="6513">
                  <c:v>43.717-43.724</c:v>
                </c:pt>
                <c:pt idx="6514">
                  <c:v>43.724-43.731</c:v>
                </c:pt>
                <c:pt idx="6515">
                  <c:v>43.731-43.738</c:v>
                </c:pt>
                <c:pt idx="6516">
                  <c:v>43.738-43.744</c:v>
                </c:pt>
                <c:pt idx="6517">
                  <c:v>43.744-43.751</c:v>
                </c:pt>
                <c:pt idx="6518">
                  <c:v>43.751-43.758</c:v>
                </c:pt>
                <c:pt idx="6519">
                  <c:v>43.758-43.764</c:v>
                </c:pt>
                <c:pt idx="6520">
                  <c:v>43.764-43.771</c:v>
                </c:pt>
                <c:pt idx="6521">
                  <c:v>43.771-43.778</c:v>
                </c:pt>
                <c:pt idx="6522">
                  <c:v>43.778-43.785</c:v>
                </c:pt>
                <c:pt idx="6523">
                  <c:v>43.785-43.791</c:v>
                </c:pt>
                <c:pt idx="6524">
                  <c:v>43.791-43.798</c:v>
                </c:pt>
                <c:pt idx="6525">
                  <c:v>43.798-43.805</c:v>
                </c:pt>
                <c:pt idx="6526">
                  <c:v>43.805-43.811</c:v>
                </c:pt>
                <c:pt idx="6527">
                  <c:v>43.811-43.818</c:v>
                </c:pt>
                <c:pt idx="6528">
                  <c:v>43.818-43.825</c:v>
                </c:pt>
                <c:pt idx="6529">
                  <c:v>43.825-43.832</c:v>
                </c:pt>
                <c:pt idx="6530">
                  <c:v>43.832-43.838</c:v>
                </c:pt>
                <c:pt idx="6531">
                  <c:v>43.838-43.845</c:v>
                </c:pt>
                <c:pt idx="6532">
                  <c:v>43.845-43.852</c:v>
                </c:pt>
                <c:pt idx="6533">
                  <c:v>43.852-43.858</c:v>
                </c:pt>
                <c:pt idx="6534">
                  <c:v>43.858-43.865</c:v>
                </c:pt>
                <c:pt idx="6535">
                  <c:v>43.865-43.872</c:v>
                </c:pt>
                <c:pt idx="6536">
                  <c:v>43.872-43.878</c:v>
                </c:pt>
                <c:pt idx="6537">
                  <c:v>43.878-43.885</c:v>
                </c:pt>
                <c:pt idx="6538">
                  <c:v>43.885-43.892</c:v>
                </c:pt>
                <c:pt idx="6539">
                  <c:v>43.892-43.899</c:v>
                </c:pt>
                <c:pt idx="6540">
                  <c:v>43.899-43.905</c:v>
                </c:pt>
                <c:pt idx="6541">
                  <c:v>43.905-43.912</c:v>
                </c:pt>
                <c:pt idx="6542">
                  <c:v>43.912-43.919</c:v>
                </c:pt>
                <c:pt idx="6543">
                  <c:v>43.919-43.925</c:v>
                </c:pt>
                <c:pt idx="6544">
                  <c:v>43.925-43.932</c:v>
                </c:pt>
                <c:pt idx="6545">
                  <c:v>43.932-43.939</c:v>
                </c:pt>
                <c:pt idx="6546">
                  <c:v>43.939-43.946</c:v>
                </c:pt>
                <c:pt idx="6547">
                  <c:v>43.946-43.952</c:v>
                </c:pt>
                <c:pt idx="6548">
                  <c:v>43.952-43.959</c:v>
                </c:pt>
                <c:pt idx="6549">
                  <c:v>43.959-43.966</c:v>
                </c:pt>
                <c:pt idx="6550">
                  <c:v>43.966-43.972</c:v>
                </c:pt>
                <c:pt idx="6551">
                  <c:v>43.972-43.979</c:v>
                </c:pt>
                <c:pt idx="6552">
                  <c:v>43.979-43.986</c:v>
                </c:pt>
                <c:pt idx="6553">
                  <c:v>43.986-43.993</c:v>
                </c:pt>
                <c:pt idx="6554">
                  <c:v>43.993-43.999</c:v>
                </c:pt>
                <c:pt idx="6555">
                  <c:v>43.999-44.006</c:v>
                </c:pt>
                <c:pt idx="6556">
                  <c:v>44.006-44.013</c:v>
                </c:pt>
                <c:pt idx="6557">
                  <c:v>44.013-44.019</c:v>
                </c:pt>
                <c:pt idx="6558">
                  <c:v>44.019-44.026</c:v>
                </c:pt>
                <c:pt idx="6559">
                  <c:v>44.026-44.033</c:v>
                </c:pt>
                <c:pt idx="6560">
                  <c:v>44.033-44.040</c:v>
                </c:pt>
                <c:pt idx="6561">
                  <c:v>44.040-44.046</c:v>
                </c:pt>
                <c:pt idx="6562">
                  <c:v>44.046-44.053</c:v>
                </c:pt>
                <c:pt idx="6563">
                  <c:v>44.053-44.060</c:v>
                </c:pt>
                <c:pt idx="6564">
                  <c:v>44.060-44.066</c:v>
                </c:pt>
                <c:pt idx="6565">
                  <c:v>44.066-44.073</c:v>
                </c:pt>
                <c:pt idx="6566">
                  <c:v>44.073-44.080</c:v>
                </c:pt>
                <c:pt idx="6567">
                  <c:v>44.080-44.087</c:v>
                </c:pt>
                <c:pt idx="6568">
                  <c:v>44.087-44.093</c:v>
                </c:pt>
                <c:pt idx="6569">
                  <c:v>44.093-44.100</c:v>
                </c:pt>
                <c:pt idx="6570">
                  <c:v>44.100-44.107</c:v>
                </c:pt>
                <c:pt idx="6571">
                  <c:v>44.107-44.113</c:v>
                </c:pt>
                <c:pt idx="6572">
                  <c:v>44.113-44.120</c:v>
                </c:pt>
                <c:pt idx="6573">
                  <c:v>44.120-44.127</c:v>
                </c:pt>
                <c:pt idx="6574">
                  <c:v>44.127-44.134</c:v>
                </c:pt>
                <c:pt idx="6575">
                  <c:v>44.134-44.140</c:v>
                </c:pt>
                <c:pt idx="6576">
                  <c:v>44.140-44.147</c:v>
                </c:pt>
                <c:pt idx="6577">
                  <c:v>44.147-44.154</c:v>
                </c:pt>
                <c:pt idx="6578">
                  <c:v>44.154-44.160</c:v>
                </c:pt>
                <c:pt idx="6579">
                  <c:v>44.160-44.167</c:v>
                </c:pt>
                <c:pt idx="6580">
                  <c:v>44.167-44.174</c:v>
                </c:pt>
                <c:pt idx="6581">
                  <c:v>44.174-44.180</c:v>
                </c:pt>
                <c:pt idx="6582">
                  <c:v>44.180-44.187</c:v>
                </c:pt>
                <c:pt idx="6583">
                  <c:v>44.187-44.194</c:v>
                </c:pt>
                <c:pt idx="6584">
                  <c:v>44.194-44.201</c:v>
                </c:pt>
                <c:pt idx="6585">
                  <c:v>44.201-44.207</c:v>
                </c:pt>
                <c:pt idx="6586">
                  <c:v>44.207-44.214</c:v>
                </c:pt>
                <c:pt idx="6587">
                  <c:v>44.214-44.221</c:v>
                </c:pt>
                <c:pt idx="6588">
                  <c:v>44.221-44.227</c:v>
                </c:pt>
                <c:pt idx="6589">
                  <c:v>44.227-44.234</c:v>
                </c:pt>
                <c:pt idx="6590">
                  <c:v>44.234-44.241</c:v>
                </c:pt>
                <c:pt idx="6591">
                  <c:v>44.241-44.248</c:v>
                </c:pt>
                <c:pt idx="6592">
                  <c:v>44.248-44.254</c:v>
                </c:pt>
                <c:pt idx="6593">
                  <c:v>44.254-44.261</c:v>
                </c:pt>
                <c:pt idx="6594">
                  <c:v>44.261-44.268</c:v>
                </c:pt>
                <c:pt idx="6595">
                  <c:v>44.268-44.274</c:v>
                </c:pt>
                <c:pt idx="6596">
                  <c:v>44.274-44.281</c:v>
                </c:pt>
                <c:pt idx="6597">
                  <c:v>44.281-44.288</c:v>
                </c:pt>
                <c:pt idx="6598">
                  <c:v>44.288-44.295</c:v>
                </c:pt>
                <c:pt idx="6599">
                  <c:v>44.295-44.301</c:v>
                </c:pt>
                <c:pt idx="6600">
                  <c:v>44.301-44.308</c:v>
                </c:pt>
                <c:pt idx="6601">
                  <c:v>44.308-44.315</c:v>
                </c:pt>
                <c:pt idx="6602">
                  <c:v>44.315-44.321</c:v>
                </c:pt>
                <c:pt idx="6603">
                  <c:v>44.321-44.328</c:v>
                </c:pt>
                <c:pt idx="6604">
                  <c:v>44.328-44.335</c:v>
                </c:pt>
                <c:pt idx="6605">
                  <c:v>44.335-44.342</c:v>
                </c:pt>
                <c:pt idx="6606">
                  <c:v>44.342-44.348</c:v>
                </c:pt>
                <c:pt idx="6607">
                  <c:v>44.348-44.355</c:v>
                </c:pt>
                <c:pt idx="6608">
                  <c:v>44.355-44.362</c:v>
                </c:pt>
                <c:pt idx="6609">
                  <c:v>44.362-44.368</c:v>
                </c:pt>
                <c:pt idx="6610">
                  <c:v>44.368-44.375</c:v>
                </c:pt>
                <c:pt idx="6611">
                  <c:v>44.375-44.382</c:v>
                </c:pt>
                <c:pt idx="6612">
                  <c:v>44.382-44.389</c:v>
                </c:pt>
                <c:pt idx="6613">
                  <c:v>44.389-44.395</c:v>
                </c:pt>
                <c:pt idx="6614">
                  <c:v>44.395-44.402</c:v>
                </c:pt>
                <c:pt idx="6615">
                  <c:v>44.402-44.409</c:v>
                </c:pt>
                <c:pt idx="6616">
                  <c:v>44.409-44.415</c:v>
                </c:pt>
                <c:pt idx="6617">
                  <c:v>44.415-44.422</c:v>
                </c:pt>
                <c:pt idx="6618">
                  <c:v>44.422-44.429</c:v>
                </c:pt>
                <c:pt idx="6619">
                  <c:v>44.429-44.435</c:v>
                </c:pt>
                <c:pt idx="6620">
                  <c:v>44.435-44.442</c:v>
                </c:pt>
                <c:pt idx="6621">
                  <c:v>44.442-44.449</c:v>
                </c:pt>
                <c:pt idx="6622">
                  <c:v>44.449-44.456</c:v>
                </c:pt>
                <c:pt idx="6623">
                  <c:v>44.456-44.462</c:v>
                </c:pt>
                <c:pt idx="6624">
                  <c:v>44.462-44.469</c:v>
                </c:pt>
                <c:pt idx="6625">
                  <c:v>44.469-44.476</c:v>
                </c:pt>
                <c:pt idx="6626">
                  <c:v>44.476-44.482</c:v>
                </c:pt>
                <c:pt idx="6627">
                  <c:v>44.482-44.489</c:v>
                </c:pt>
                <c:pt idx="6628">
                  <c:v>44.489-44.496</c:v>
                </c:pt>
                <c:pt idx="6629">
                  <c:v>44.496-44.503</c:v>
                </c:pt>
                <c:pt idx="6630">
                  <c:v>44.503-44.509</c:v>
                </c:pt>
                <c:pt idx="6631">
                  <c:v>44.509-44.516</c:v>
                </c:pt>
                <c:pt idx="6632">
                  <c:v>44.516-44.523</c:v>
                </c:pt>
                <c:pt idx="6633">
                  <c:v>44.523-44.529</c:v>
                </c:pt>
                <c:pt idx="6634">
                  <c:v>44.529-44.536</c:v>
                </c:pt>
                <c:pt idx="6635">
                  <c:v>44.536-44.543</c:v>
                </c:pt>
                <c:pt idx="6636">
                  <c:v>44.543-44.550</c:v>
                </c:pt>
                <c:pt idx="6637">
                  <c:v>44.550-44.556</c:v>
                </c:pt>
                <c:pt idx="6638">
                  <c:v>44.556-44.563</c:v>
                </c:pt>
                <c:pt idx="6639">
                  <c:v>44.563-44.570</c:v>
                </c:pt>
                <c:pt idx="6640">
                  <c:v>44.570-44.576</c:v>
                </c:pt>
                <c:pt idx="6641">
                  <c:v>44.576-44.583</c:v>
                </c:pt>
                <c:pt idx="6642">
                  <c:v>44.583-44.590</c:v>
                </c:pt>
                <c:pt idx="6643">
                  <c:v>44.590-44.597</c:v>
                </c:pt>
                <c:pt idx="6644">
                  <c:v>44.597-44.603</c:v>
                </c:pt>
                <c:pt idx="6645">
                  <c:v>44.603-44.610</c:v>
                </c:pt>
                <c:pt idx="6646">
                  <c:v>44.610-44.617</c:v>
                </c:pt>
                <c:pt idx="6647">
                  <c:v>44.617-44.623</c:v>
                </c:pt>
                <c:pt idx="6648">
                  <c:v>44.623-44.630</c:v>
                </c:pt>
                <c:pt idx="6649">
                  <c:v>44.630-44.637</c:v>
                </c:pt>
                <c:pt idx="6650">
                  <c:v>44.637-44.644</c:v>
                </c:pt>
                <c:pt idx="6651">
                  <c:v>44.644-44.650</c:v>
                </c:pt>
                <c:pt idx="6652">
                  <c:v>44.650-44.657</c:v>
                </c:pt>
                <c:pt idx="6653">
                  <c:v>44.657-44.664</c:v>
                </c:pt>
                <c:pt idx="6654">
                  <c:v>44.664-44.670</c:v>
                </c:pt>
                <c:pt idx="6655">
                  <c:v>44.670-44.677</c:v>
                </c:pt>
                <c:pt idx="6656">
                  <c:v>44.677-44.684</c:v>
                </c:pt>
                <c:pt idx="6657">
                  <c:v>44.684-44.691</c:v>
                </c:pt>
                <c:pt idx="6658">
                  <c:v>44.691-44.697</c:v>
                </c:pt>
                <c:pt idx="6659">
                  <c:v>44.697-44.704</c:v>
                </c:pt>
                <c:pt idx="6660">
                  <c:v>44.704-44.711</c:v>
                </c:pt>
                <c:pt idx="6661">
                  <c:v>44.711-44.717</c:v>
                </c:pt>
                <c:pt idx="6662">
                  <c:v>44.717-44.724</c:v>
                </c:pt>
                <c:pt idx="6663">
                  <c:v>44.724-44.731</c:v>
                </c:pt>
                <c:pt idx="6664">
                  <c:v>44.731-44.737</c:v>
                </c:pt>
                <c:pt idx="6665">
                  <c:v>44.737-44.744</c:v>
                </c:pt>
                <c:pt idx="6666">
                  <c:v>44.744-44.751</c:v>
                </c:pt>
                <c:pt idx="6667">
                  <c:v>44.751-44.758</c:v>
                </c:pt>
                <c:pt idx="6668">
                  <c:v>44.758-44.764</c:v>
                </c:pt>
                <c:pt idx="6669">
                  <c:v>44.764-44.771</c:v>
                </c:pt>
                <c:pt idx="6670">
                  <c:v>44.771-44.778</c:v>
                </c:pt>
                <c:pt idx="6671">
                  <c:v>44.778-44.784</c:v>
                </c:pt>
                <c:pt idx="6672">
                  <c:v>44.784-44.791</c:v>
                </c:pt>
                <c:pt idx="6673">
                  <c:v>44.791-44.798</c:v>
                </c:pt>
                <c:pt idx="6674">
                  <c:v>44.798-44.805</c:v>
                </c:pt>
                <c:pt idx="6675">
                  <c:v>44.805-44.811</c:v>
                </c:pt>
                <c:pt idx="6676">
                  <c:v>44.811-44.818</c:v>
                </c:pt>
                <c:pt idx="6677">
                  <c:v>44.818-44.825</c:v>
                </c:pt>
                <c:pt idx="6678">
                  <c:v>44.825-44.831</c:v>
                </c:pt>
                <c:pt idx="6679">
                  <c:v>44.831-44.838</c:v>
                </c:pt>
                <c:pt idx="6680">
                  <c:v>44.838-44.845</c:v>
                </c:pt>
                <c:pt idx="6681">
                  <c:v>44.845-44.852</c:v>
                </c:pt>
                <c:pt idx="6682">
                  <c:v>44.852-44.858</c:v>
                </c:pt>
                <c:pt idx="6683">
                  <c:v>44.858-44.865</c:v>
                </c:pt>
                <c:pt idx="6684">
                  <c:v>44.865-44.872</c:v>
                </c:pt>
                <c:pt idx="6685">
                  <c:v>44.872-44.878</c:v>
                </c:pt>
                <c:pt idx="6686">
                  <c:v>44.878-44.885</c:v>
                </c:pt>
                <c:pt idx="6687">
                  <c:v>44.885-44.892</c:v>
                </c:pt>
                <c:pt idx="6688">
                  <c:v>44.892-44.899</c:v>
                </c:pt>
                <c:pt idx="6689">
                  <c:v>44.899-44.905</c:v>
                </c:pt>
                <c:pt idx="6690">
                  <c:v>44.905-44.912</c:v>
                </c:pt>
                <c:pt idx="6691">
                  <c:v>44.912-44.919</c:v>
                </c:pt>
                <c:pt idx="6692">
                  <c:v>44.919-44.925</c:v>
                </c:pt>
                <c:pt idx="6693">
                  <c:v>44.925-44.932</c:v>
                </c:pt>
                <c:pt idx="6694">
                  <c:v>44.932-44.939</c:v>
                </c:pt>
                <c:pt idx="6695">
                  <c:v>44.939-44.946</c:v>
                </c:pt>
                <c:pt idx="6696">
                  <c:v>44.946-44.952</c:v>
                </c:pt>
                <c:pt idx="6697">
                  <c:v>44.952-44.959</c:v>
                </c:pt>
                <c:pt idx="6698">
                  <c:v>44.959-44.966</c:v>
                </c:pt>
                <c:pt idx="6699">
                  <c:v>44.966-44.972</c:v>
                </c:pt>
                <c:pt idx="6700">
                  <c:v>44.972-44.979</c:v>
                </c:pt>
                <c:pt idx="6701">
                  <c:v>44.979-44.986</c:v>
                </c:pt>
                <c:pt idx="6702">
                  <c:v>44.986-44.992</c:v>
                </c:pt>
                <c:pt idx="6703">
                  <c:v>44.992-44.999</c:v>
                </c:pt>
                <c:pt idx="6704">
                  <c:v>44.999-45.006</c:v>
                </c:pt>
                <c:pt idx="6705">
                  <c:v>45.006-45.013</c:v>
                </c:pt>
                <c:pt idx="6706">
                  <c:v>45.013-45.019</c:v>
                </c:pt>
                <c:pt idx="6707">
                  <c:v>45.019-45.026</c:v>
                </c:pt>
                <c:pt idx="6708">
                  <c:v>45.026-45.033</c:v>
                </c:pt>
                <c:pt idx="6709">
                  <c:v>45.033-45.039</c:v>
                </c:pt>
                <c:pt idx="6710">
                  <c:v>45.039-45.046</c:v>
                </c:pt>
                <c:pt idx="6711">
                  <c:v>45.046-45.053</c:v>
                </c:pt>
                <c:pt idx="6712">
                  <c:v>45.053-45.060</c:v>
                </c:pt>
                <c:pt idx="6713">
                  <c:v>45.060-45.066</c:v>
                </c:pt>
                <c:pt idx="6714">
                  <c:v>45.066-45.073</c:v>
                </c:pt>
                <c:pt idx="6715">
                  <c:v>45.073-45.080</c:v>
                </c:pt>
                <c:pt idx="6716">
                  <c:v>45.080-45.086</c:v>
                </c:pt>
                <c:pt idx="6717">
                  <c:v>45.086-45.093</c:v>
                </c:pt>
                <c:pt idx="6718">
                  <c:v>45.093-45.100</c:v>
                </c:pt>
                <c:pt idx="6719">
                  <c:v>45.100-45.107</c:v>
                </c:pt>
                <c:pt idx="6720">
                  <c:v>45.107-45.113</c:v>
                </c:pt>
                <c:pt idx="6721">
                  <c:v>45.113-45.120</c:v>
                </c:pt>
                <c:pt idx="6722">
                  <c:v>45.120-45.127</c:v>
                </c:pt>
                <c:pt idx="6723">
                  <c:v>45.127-45.133</c:v>
                </c:pt>
                <c:pt idx="6724">
                  <c:v>45.133-45.140</c:v>
                </c:pt>
                <c:pt idx="6725">
                  <c:v>45.140-45.147</c:v>
                </c:pt>
                <c:pt idx="6726">
                  <c:v>45.147-45.154</c:v>
                </c:pt>
                <c:pt idx="6727">
                  <c:v>45.154-45.160</c:v>
                </c:pt>
                <c:pt idx="6728">
                  <c:v>45.160-45.167</c:v>
                </c:pt>
                <c:pt idx="6729">
                  <c:v>45.167-45.174</c:v>
                </c:pt>
                <c:pt idx="6730">
                  <c:v>45.174-45.180</c:v>
                </c:pt>
                <c:pt idx="6731">
                  <c:v>45.180-45.187</c:v>
                </c:pt>
                <c:pt idx="6732">
                  <c:v>45.187-45.194</c:v>
                </c:pt>
                <c:pt idx="6733">
                  <c:v>45.194-45.201</c:v>
                </c:pt>
                <c:pt idx="6734">
                  <c:v>45.201-45.207</c:v>
                </c:pt>
                <c:pt idx="6735">
                  <c:v>45.207-45.214</c:v>
                </c:pt>
                <c:pt idx="6736">
                  <c:v>45.214-45.221</c:v>
                </c:pt>
                <c:pt idx="6737">
                  <c:v>45.221-45.227</c:v>
                </c:pt>
                <c:pt idx="6738">
                  <c:v>45.227-45.234</c:v>
                </c:pt>
                <c:pt idx="6739">
                  <c:v>45.234-45.241</c:v>
                </c:pt>
                <c:pt idx="6740">
                  <c:v>45.241-45.248</c:v>
                </c:pt>
                <c:pt idx="6741">
                  <c:v>45.248-45.254</c:v>
                </c:pt>
                <c:pt idx="6742">
                  <c:v>45.254-45.261</c:v>
                </c:pt>
                <c:pt idx="6743">
                  <c:v>45.261-45.268</c:v>
                </c:pt>
                <c:pt idx="6744">
                  <c:v>45.268-45.274</c:v>
                </c:pt>
                <c:pt idx="6745">
                  <c:v>45.274-45.281</c:v>
                </c:pt>
                <c:pt idx="6746">
                  <c:v>45.281-45.288</c:v>
                </c:pt>
                <c:pt idx="6747">
                  <c:v>45.288-45.294</c:v>
                </c:pt>
                <c:pt idx="6748">
                  <c:v>45.294-45.301</c:v>
                </c:pt>
                <c:pt idx="6749">
                  <c:v>45.301-45.308</c:v>
                </c:pt>
                <c:pt idx="6750">
                  <c:v>45.308-45.315</c:v>
                </c:pt>
                <c:pt idx="6751">
                  <c:v>45.315-45.321</c:v>
                </c:pt>
                <c:pt idx="6752">
                  <c:v>45.321-45.328</c:v>
                </c:pt>
                <c:pt idx="6753">
                  <c:v>45.328-45.335</c:v>
                </c:pt>
                <c:pt idx="6754">
                  <c:v>45.335-45.341</c:v>
                </c:pt>
                <c:pt idx="6755">
                  <c:v>45.341-45.348</c:v>
                </c:pt>
                <c:pt idx="6756">
                  <c:v>45.348-45.355</c:v>
                </c:pt>
                <c:pt idx="6757">
                  <c:v>45.355-45.362</c:v>
                </c:pt>
                <c:pt idx="6758">
                  <c:v>45.362-45.368</c:v>
                </c:pt>
                <c:pt idx="6759">
                  <c:v>45.368-45.375</c:v>
                </c:pt>
                <c:pt idx="6760">
                  <c:v>45.375-45.382</c:v>
                </c:pt>
                <c:pt idx="6761">
                  <c:v>45.382-45.388</c:v>
                </c:pt>
                <c:pt idx="6762">
                  <c:v>45.388-45.395</c:v>
                </c:pt>
                <c:pt idx="6763">
                  <c:v>45.395-45.402</c:v>
                </c:pt>
                <c:pt idx="6764">
                  <c:v>45.402-45.409</c:v>
                </c:pt>
                <c:pt idx="6765">
                  <c:v>45.409-45.415</c:v>
                </c:pt>
                <c:pt idx="6766">
                  <c:v>45.415-45.422</c:v>
                </c:pt>
                <c:pt idx="6767">
                  <c:v>45.422-45.429</c:v>
                </c:pt>
                <c:pt idx="6768">
                  <c:v>45.429-45.435</c:v>
                </c:pt>
                <c:pt idx="6769">
                  <c:v>45.435-45.442</c:v>
                </c:pt>
                <c:pt idx="6770">
                  <c:v>45.442-45.449</c:v>
                </c:pt>
                <c:pt idx="6771">
                  <c:v>45.449-45.456</c:v>
                </c:pt>
                <c:pt idx="6772">
                  <c:v>45.456-45.462</c:v>
                </c:pt>
                <c:pt idx="6773">
                  <c:v>45.462-45.469</c:v>
                </c:pt>
                <c:pt idx="6774">
                  <c:v>45.469-45.476</c:v>
                </c:pt>
                <c:pt idx="6775">
                  <c:v>45.476-45.482</c:v>
                </c:pt>
                <c:pt idx="6776">
                  <c:v>45.482-45.489</c:v>
                </c:pt>
                <c:pt idx="6777">
                  <c:v>45.489-45.496</c:v>
                </c:pt>
                <c:pt idx="6778">
                  <c:v>45.496-45.503</c:v>
                </c:pt>
                <c:pt idx="6779">
                  <c:v>45.503-45.509</c:v>
                </c:pt>
                <c:pt idx="6780">
                  <c:v>45.509-45.516</c:v>
                </c:pt>
                <c:pt idx="6781">
                  <c:v>45.516-45.523</c:v>
                </c:pt>
                <c:pt idx="6782">
                  <c:v>45.523-45.529</c:v>
                </c:pt>
                <c:pt idx="6783">
                  <c:v>45.529-45.536</c:v>
                </c:pt>
                <c:pt idx="6784">
                  <c:v>45.536-45.543</c:v>
                </c:pt>
                <c:pt idx="6785">
                  <c:v>45.543-45.549</c:v>
                </c:pt>
                <c:pt idx="6786">
                  <c:v>45.549-45.556</c:v>
                </c:pt>
                <c:pt idx="6787">
                  <c:v>45.556-45.563</c:v>
                </c:pt>
                <c:pt idx="6788">
                  <c:v>45.563-45.570</c:v>
                </c:pt>
                <c:pt idx="6789">
                  <c:v>45.570-45.576</c:v>
                </c:pt>
                <c:pt idx="6790">
                  <c:v>45.576-45.583</c:v>
                </c:pt>
                <c:pt idx="6791">
                  <c:v>45.583-45.590</c:v>
                </c:pt>
                <c:pt idx="6792">
                  <c:v>45.590-45.596</c:v>
                </c:pt>
                <c:pt idx="6793">
                  <c:v>45.596-45.603</c:v>
                </c:pt>
                <c:pt idx="6794">
                  <c:v>45.603-45.610</c:v>
                </c:pt>
                <c:pt idx="6795">
                  <c:v>45.610-45.617</c:v>
                </c:pt>
                <c:pt idx="6796">
                  <c:v>45.617-45.623</c:v>
                </c:pt>
                <c:pt idx="6797">
                  <c:v>45.623-45.630</c:v>
                </c:pt>
                <c:pt idx="6798">
                  <c:v>45.630-45.637</c:v>
                </c:pt>
                <c:pt idx="6799">
                  <c:v>45.637-45.643</c:v>
                </c:pt>
                <c:pt idx="6800">
                  <c:v>45.643-45.650</c:v>
                </c:pt>
                <c:pt idx="6801">
                  <c:v>45.650-45.657</c:v>
                </c:pt>
                <c:pt idx="6802">
                  <c:v>45.657-45.664</c:v>
                </c:pt>
                <c:pt idx="6803">
                  <c:v>45.664-45.670</c:v>
                </c:pt>
                <c:pt idx="6804">
                  <c:v>45.670-45.677</c:v>
                </c:pt>
                <c:pt idx="6805">
                  <c:v>45.677-45.684</c:v>
                </c:pt>
                <c:pt idx="6806">
                  <c:v>45.684-45.690</c:v>
                </c:pt>
                <c:pt idx="6807">
                  <c:v>45.690-45.697</c:v>
                </c:pt>
                <c:pt idx="6808">
                  <c:v>45.697-45.704</c:v>
                </c:pt>
                <c:pt idx="6809">
                  <c:v>45.704-45.711</c:v>
                </c:pt>
                <c:pt idx="6810">
                  <c:v>45.711-45.717</c:v>
                </c:pt>
                <c:pt idx="6811">
                  <c:v>45.717-45.724</c:v>
                </c:pt>
                <c:pt idx="6812">
                  <c:v>45.724-45.731</c:v>
                </c:pt>
                <c:pt idx="6813">
                  <c:v>45.731-45.737</c:v>
                </c:pt>
                <c:pt idx="6814">
                  <c:v>45.737-45.744</c:v>
                </c:pt>
                <c:pt idx="6815">
                  <c:v>45.744-45.751</c:v>
                </c:pt>
                <c:pt idx="6816">
                  <c:v>45.751-45.758</c:v>
                </c:pt>
                <c:pt idx="6817">
                  <c:v>45.758-45.764</c:v>
                </c:pt>
                <c:pt idx="6818">
                  <c:v>45.764-45.771</c:v>
                </c:pt>
                <c:pt idx="6819">
                  <c:v>45.771-45.778</c:v>
                </c:pt>
                <c:pt idx="6820">
                  <c:v>45.778-45.784</c:v>
                </c:pt>
                <c:pt idx="6821">
                  <c:v>45.784-45.791</c:v>
                </c:pt>
                <c:pt idx="6822">
                  <c:v>45.791-45.798</c:v>
                </c:pt>
                <c:pt idx="6823">
                  <c:v>45.798-45.804</c:v>
                </c:pt>
                <c:pt idx="6824">
                  <c:v>45.804-45.811</c:v>
                </c:pt>
                <c:pt idx="6825">
                  <c:v>45.811-45.818</c:v>
                </c:pt>
                <c:pt idx="6826">
                  <c:v>45.818-45.825</c:v>
                </c:pt>
                <c:pt idx="6827">
                  <c:v>45.825-45.831</c:v>
                </c:pt>
                <c:pt idx="6828">
                  <c:v>45.831-45.838</c:v>
                </c:pt>
                <c:pt idx="6829">
                  <c:v>45.838-45.845</c:v>
                </c:pt>
                <c:pt idx="6830">
                  <c:v>45.845-45.851</c:v>
                </c:pt>
                <c:pt idx="6831">
                  <c:v>45.851-45.858</c:v>
                </c:pt>
                <c:pt idx="6832">
                  <c:v>45.858-45.865</c:v>
                </c:pt>
                <c:pt idx="6833">
                  <c:v>45.865-45.872</c:v>
                </c:pt>
                <c:pt idx="6834">
                  <c:v>45.872-45.878</c:v>
                </c:pt>
                <c:pt idx="6835">
                  <c:v>45.878-45.885</c:v>
                </c:pt>
                <c:pt idx="6836">
                  <c:v>45.885-45.892</c:v>
                </c:pt>
                <c:pt idx="6837">
                  <c:v>45.892-45.898</c:v>
                </c:pt>
                <c:pt idx="6838">
                  <c:v>45.898-45.905</c:v>
                </c:pt>
                <c:pt idx="6839">
                  <c:v>45.905-45.912</c:v>
                </c:pt>
                <c:pt idx="6840">
                  <c:v>45.912-45.919</c:v>
                </c:pt>
                <c:pt idx="6841">
                  <c:v>45.919-45.925</c:v>
                </c:pt>
                <c:pt idx="6842">
                  <c:v>45.925-45.932</c:v>
                </c:pt>
                <c:pt idx="6843">
                  <c:v>45.932-45.939</c:v>
                </c:pt>
                <c:pt idx="6844">
                  <c:v>45.939-45.945</c:v>
                </c:pt>
                <c:pt idx="6845">
                  <c:v>45.945-45.952</c:v>
                </c:pt>
                <c:pt idx="6846">
                  <c:v>45.952-45.959</c:v>
                </c:pt>
                <c:pt idx="6847">
                  <c:v>45.959-45.966</c:v>
                </c:pt>
                <c:pt idx="6848">
                  <c:v>45.966-45.972</c:v>
                </c:pt>
                <c:pt idx="6849">
                  <c:v>45.972-45.979</c:v>
                </c:pt>
                <c:pt idx="6850">
                  <c:v>45.979-45.986</c:v>
                </c:pt>
                <c:pt idx="6851">
                  <c:v>45.986-45.992</c:v>
                </c:pt>
                <c:pt idx="6852">
                  <c:v>45.992-45.999</c:v>
                </c:pt>
                <c:pt idx="6853">
                  <c:v>45.999-46.006</c:v>
                </c:pt>
                <c:pt idx="6854">
                  <c:v>46.006-46.013</c:v>
                </c:pt>
                <c:pt idx="6855">
                  <c:v>46.013-46.019</c:v>
                </c:pt>
                <c:pt idx="6856">
                  <c:v>46.019-46.026</c:v>
                </c:pt>
                <c:pt idx="6857">
                  <c:v>46.026-46.033</c:v>
                </c:pt>
                <c:pt idx="6858">
                  <c:v>46.033-46.039</c:v>
                </c:pt>
                <c:pt idx="6859">
                  <c:v>46.039-46.046</c:v>
                </c:pt>
                <c:pt idx="6860">
                  <c:v>46.046-46.053</c:v>
                </c:pt>
                <c:pt idx="6861">
                  <c:v>46.053-46.060</c:v>
                </c:pt>
                <c:pt idx="6862">
                  <c:v>46.060-46.066</c:v>
                </c:pt>
                <c:pt idx="6863">
                  <c:v>46.066-46.073</c:v>
                </c:pt>
                <c:pt idx="6864">
                  <c:v>46.073-46.080</c:v>
                </c:pt>
                <c:pt idx="6865">
                  <c:v>46.080-46.086</c:v>
                </c:pt>
                <c:pt idx="6866">
                  <c:v>46.086-46.093</c:v>
                </c:pt>
                <c:pt idx="6867">
                  <c:v>46.093-46.100</c:v>
                </c:pt>
                <c:pt idx="6868">
                  <c:v>46.100-46.106</c:v>
                </c:pt>
                <c:pt idx="6869">
                  <c:v>46.106-46.113</c:v>
                </c:pt>
                <c:pt idx="6870">
                  <c:v>46.113-46.120</c:v>
                </c:pt>
                <c:pt idx="6871">
                  <c:v>46.120-46.127</c:v>
                </c:pt>
                <c:pt idx="6872">
                  <c:v>46.127-46.133</c:v>
                </c:pt>
                <c:pt idx="6873">
                  <c:v>46.133-46.140</c:v>
                </c:pt>
                <c:pt idx="6874">
                  <c:v>46.140-46.147</c:v>
                </c:pt>
                <c:pt idx="6875">
                  <c:v>46.147-46.153</c:v>
                </c:pt>
                <c:pt idx="6876">
                  <c:v>46.153-46.160</c:v>
                </c:pt>
                <c:pt idx="6877">
                  <c:v>46.160-46.167</c:v>
                </c:pt>
                <c:pt idx="6878">
                  <c:v>46.167-46.174</c:v>
                </c:pt>
                <c:pt idx="6879">
                  <c:v>46.174-46.180</c:v>
                </c:pt>
                <c:pt idx="6880">
                  <c:v>46.180-46.187</c:v>
                </c:pt>
                <c:pt idx="6881">
                  <c:v>46.187-46.194</c:v>
                </c:pt>
                <c:pt idx="6882">
                  <c:v>46.194-46.200</c:v>
                </c:pt>
                <c:pt idx="6883">
                  <c:v>46.200-46.207</c:v>
                </c:pt>
                <c:pt idx="6884">
                  <c:v>46.207-46.214</c:v>
                </c:pt>
                <c:pt idx="6885">
                  <c:v>46.214-46.221</c:v>
                </c:pt>
                <c:pt idx="6886">
                  <c:v>46.221-46.227</c:v>
                </c:pt>
                <c:pt idx="6887">
                  <c:v>46.227-46.234</c:v>
                </c:pt>
                <c:pt idx="6888">
                  <c:v>46.234-46.241</c:v>
                </c:pt>
                <c:pt idx="6889">
                  <c:v>46.241-46.247</c:v>
                </c:pt>
                <c:pt idx="6890">
                  <c:v>46.247-46.254</c:v>
                </c:pt>
                <c:pt idx="6891">
                  <c:v>46.254-46.261</c:v>
                </c:pt>
                <c:pt idx="6892">
                  <c:v>46.261-46.268</c:v>
                </c:pt>
                <c:pt idx="6893">
                  <c:v>46.268-46.274</c:v>
                </c:pt>
                <c:pt idx="6894">
                  <c:v>46.274-46.281</c:v>
                </c:pt>
                <c:pt idx="6895">
                  <c:v>46.281-46.288</c:v>
                </c:pt>
                <c:pt idx="6896">
                  <c:v>46.288-46.294</c:v>
                </c:pt>
                <c:pt idx="6897">
                  <c:v>46.294-46.301</c:v>
                </c:pt>
                <c:pt idx="6898">
                  <c:v>46.301-46.308</c:v>
                </c:pt>
                <c:pt idx="6899">
                  <c:v>46.308-46.315</c:v>
                </c:pt>
                <c:pt idx="6900">
                  <c:v>46.315-46.321</c:v>
                </c:pt>
                <c:pt idx="6901">
                  <c:v>46.321-46.328</c:v>
                </c:pt>
                <c:pt idx="6902">
                  <c:v>46.328-46.335</c:v>
                </c:pt>
                <c:pt idx="6903">
                  <c:v>46.335-46.341</c:v>
                </c:pt>
                <c:pt idx="6904">
                  <c:v>46.341-46.348</c:v>
                </c:pt>
                <c:pt idx="6905">
                  <c:v>46.348-46.355</c:v>
                </c:pt>
                <c:pt idx="6906">
                  <c:v>46.355-46.361</c:v>
                </c:pt>
                <c:pt idx="6907">
                  <c:v>46.361-46.368</c:v>
                </c:pt>
                <c:pt idx="6908">
                  <c:v>46.368-46.375</c:v>
                </c:pt>
                <c:pt idx="6909">
                  <c:v>46.375-46.382</c:v>
                </c:pt>
                <c:pt idx="6910">
                  <c:v>46.382-46.388</c:v>
                </c:pt>
                <c:pt idx="6911">
                  <c:v>46.388-46.395</c:v>
                </c:pt>
                <c:pt idx="6912">
                  <c:v>46.395-46.402</c:v>
                </c:pt>
                <c:pt idx="6913">
                  <c:v>46.402-46.408</c:v>
                </c:pt>
                <c:pt idx="6914">
                  <c:v>46.408-46.415</c:v>
                </c:pt>
                <c:pt idx="6915">
                  <c:v>46.415-46.422</c:v>
                </c:pt>
                <c:pt idx="6916">
                  <c:v>46.422-46.429</c:v>
                </c:pt>
                <c:pt idx="6917">
                  <c:v>46.429-46.435</c:v>
                </c:pt>
                <c:pt idx="6918">
                  <c:v>46.435-46.442</c:v>
                </c:pt>
                <c:pt idx="6919">
                  <c:v>46.442-46.449</c:v>
                </c:pt>
                <c:pt idx="6920">
                  <c:v>46.449-46.455</c:v>
                </c:pt>
                <c:pt idx="6921">
                  <c:v>46.455-46.462</c:v>
                </c:pt>
                <c:pt idx="6922">
                  <c:v>46.462-46.469</c:v>
                </c:pt>
                <c:pt idx="6923">
                  <c:v>46.469-46.476</c:v>
                </c:pt>
                <c:pt idx="6924">
                  <c:v>46.476-46.482</c:v>
                </c:pt>
                <c:pt idx="6925">
                  <c:v>46.482-46.489</c:v>
                </c:pt>
                <c:pt idx="6926">
                  <c:v>46.489-46.496</c:v>
                </c:pt>
                <c:pt idx="6927">
                  <c:v>46.496-46.502</c:v>
                </c:pt>
                <c:pt idx="6928">
                  <c:v>46.502-46.509</c:v>
                </c:pt>
                <c:pt idx="6929">
                  <c:v>46.509-46.516</c:v>
                </c:pt>
                <c:pt idx="6930">
                  <c:v>46.516-46.523</c:v>
                </c:pt>
                <c:pt idx="6931">
                  <c:v>46.523-46.529</c:v>
                </c:pt>
                <c:pt idx="6932">
                  <c:v>46.529-46.536</c:v>
                </c:pt>
                <c:pt idx="6933">
                  <c:v>46.536-46.543</c:v>
                </c:pt>
                <c:pt idx="6934">
                  <c:v>46.543-46.549</c:v>
                </c:pt>
                <c:pt idx="6935">
                  <c:v>46.549-46.556</c:v>
                </c:pt>
                <c:pt idx="6936">
                  <c:v>46.556-46.563</c:v>
                </c:pt>
                <c:pt idx="6937">
                  <c:v>46.563-46.570</c:v>
                </c:pt>
                <c:pt idx="6938">
                  <c:v>46.570-46.576</c:v>
                </c:pt>
                <c:pt idx="6939">
                  <c:v>46.576-46.583</c:v>
                </c:pt>
                <c:pt idx="6940">
                  <c:v>46.583-46.590</c:v>
                </c:pt>
                <c:pt idx="6941">
                  <c:v>46.590-46.596</c:v>
                </c:pt>
                <c:pt idx="6942">
                  <c:v>46.596-46.603</c:v>
                </c:pt>
                <c:pt idx="6943">
                  <c:v>46.603-46.610</c:v>
                </c:pt>
                <c:pt idx="6944">
                  <c:v>46.610-46.617</c:v>
                </c:pt>
                <c:pt idx="6945">
                  <c:v>46.617-46.623</c:v>
                </c:pt>
                <c:pt idx="6946">
                  <c:v>46.623-46.630</c:v>
                </c:pt>
                <c:pt idx="6947">
                  <c:v>46.630-46.637</c:v>
                </c:pt>
                <c:pt idx="6948">
                  <c:v>46.637-46.643</c:v>
                </c:pt>
                <c:pt idx="6949">
                  <c:v>46.643-46.650</c:v>
                </c:pt>
                <c:pt idx="6950">
                  <c:v>46.650-46.657</c:v>
                </c:pt>
                <c:pt idx="6951">
                  <c:v>46.657-46.663</c:v>
                </c:pt>
                <c:pt idx="6952">
                  <c:v>46.663-46.670</c:v>
                </c:pt>
                <c:pt idx="6953">
                  <c:v>46.670-46.677</c:v>
                </c:pt>
                <c:pt idx="6954">
                  <c:v>46.677-46.684</c:v>
                </c:pt>
                <c:pt idx="6955">
                  <c:v>46.684-46.690</c:v>
                </c:pt>
                <c:pt idx="6956">
                  <c:v>46.690-46.697</c:v>
                </c:pt>
                <c:pt idx="6957">
                  <c:v>46.697-46.704</c:v>
                </c:pt>
                <c:pt idx="6958">
                  <c:v>46.704-46.710</c:v>
                </c:pt>
                <c:pt idx="6959">
                  <c:v>46.710-46.717</c:v>
                </c:pt>
                <c:pt idx="6960">
                  <c:v>46.717-46.724</c:v>
                </c:pt>
                <c:pt idx="6961">
                  <c:v>46.724-46.731</c:v>
                </c:pt>
                <c:pt idx="6962">
                  <c:v>46.731-46.737</c:v>
                </c:pt>
                <c:pt idx="6963">
                  <c:v>46.737-46.744</c:v>
                </c:pt>
                <c:pt idx="6964">
                  <c:v>46.744-46.751</c:v>
                </c:pt>
                <c:pt idx="6965">
                  <c:v>46.751-46.757</c:v>
                </c:pt>
                <c:pt idx="6966">
                  <c:v>46.757-46.764</c:v>
                </c:pt>
                <c:pt idx="6967">
                  <c:v>46.764-46.771</c:v>
                </c:pt>
                <c:pt idx="6968">
                  <c:v>46.771-46.778</c:v>
                </c:pt>
                <c:pt idx="6969">
                  <c:v>46.778-46.784</c:v>
                </c:pt>
                <c:pt idx="6970">
                  <c:v>46.784-46.791</c:v>
                </c:pt>
                <c:pt idx="6971">
                  <c:v>46.791-46.798</c:v>
                </c:pt>
                <c:pt idx="6972">
                  <c:v>46.798-46.804</c:v>
                </c:pt>
                <c:pt idx="6973">
                  <c:v>46.804-46.811</c:v>
                </c:pt>
                <c:pt idx="6974">
                  <c:v>46.811-46.818</c:v>
                </c:pt>
                <c:pt idx="6975">
                  <c:v>46.818-46.825</c:v>
                </c:pt>
                <c:pt idx="6976">
                  <c:v>46.825-46.831</c:v>
                </c:pt>
                <c:pt idx="6977">
                  <c:v>46.831-46.838</c:v>
                </c:pt>
                <c:pt idx="6978">
                  <c:v>46.838-46.845</c:v>
                </c:pt>
                <c:pt idx="6979">
                  <c:v>46.845-46.851</c:v>
                </c:pt>
                <c:pt idx="6980">
                  <c:v>46.851-46.858</c:v>
                </c:pt>
                <c:pt idx="6981">
                  <c:v>46.858-46.865</c:v>
                </c:pt>
                <c:pt idx="6982">
                  <c:v>46.865-46.872</c:v>
                </c:pt>
                <c:pt idx="6983">
                  <c:v>46.872-46.878</c:v>
                </c:pt>
                <c:pt idx="6984">
                  <c:v>46.878-46.885</c:v>
                </c:pt>
                <c:pt idx="6985">
                  <c:v>46.885-46.892</c:v>
                </c:pt>
                <c:pt idx="6986">
                  <c:v>46.892-46.898</c:v>
                </c:pt>
                <c:pt idx="6987">
                  <c:v>46.898-46.905</c:v>
                </c:pt>
                <c:pt idx="6988">
                  <c:v>46.905-46.912</c:v>
                </c:pt>
                <c:pt idx="6989">
                  <c:v>46.912-46.918</c:v>
                </c:pt>
                <c:pt idx="6990">
                  <c:v>46.918-46.925</c:v>
                </c:pt>
                <c:pt idx="6991">
                  <c:v>46.925-46.932</c:v>
                </c:pt>
                <c:pt idx="6992">
                  <c:v>46.932-46.939</c:v>
                </c:pt>
                <c:pt idx="6993">
                  <c:v>46.939-46.945</c:v>
                </c:pt>
                <c:pt idx="6994">
                  <c:v>46.945-46.952</c:v>
                </c:pt>
                <c:pt idx="6995">
                  <c:v>46.952-46.959</c:v>
                </c:pt>
                <c:pt idx="6996">
                  <c:v>46.959-46.965</c:v>
                </c:pt>
                <c:pt idx="6997">
                  <c:v>46.965-46.972</c:v>
                </c:pt>
                <c:pt idx="6998">
                  <c:v>46.972-46.979</c:v>
                </c:pt>
                <c:pt idx="6999">
                  <c:v>46.979-46.986</c:v>
                </c:pt>
                <c:pt idx="7000">
                  <c:v>46.986-46.992</c:v>
                </c:pt>
                <c:pt idx="7001">
                  <c:v>46.992-46.999</c:v>
                </c:pt>
                <c:pt idx="7002">
                  <c:v>46.999-47.006</c:v>
                </c:pt>
                <c:pt idx="7003">
                  <c:v>47.006-47.012</c:v>
                </c:pt>
                <c:pt idx="7004">
                  <c:v>47.012-47.019</c:v>
                </c:pt>
                <c:pt idx="7005">
                  <c:v>47.019-47.026</c:v>
                </c:pt>
                <c:pt idx="7006">
                  <c:v>47.026-47.033</c:v>
                </c:pt>
                <c:pt idx="7007">
                  <c:v>47.033-47.039</c:v>
                </c:pt>
                <c:pt idx="7008">
                  <c:v>47.039-47.046</c:v>
                </c:pt>
                <c:pt idx="7009">
                  <c:v>47.046-47.053</c:v>
                </c:pt>
                <c:pt idx="7010">
                  <c:v>47.053-47.059</c:v>
                </c:pt>
                <c:pt idx="7011">
                  <c:v>47.059-47.066</c:v>
                </c:pt>
                <c:pt idx="7012">
                  <c:v>47.066-47.073</c:v>
                </c:pt>
                <c:pt idx="7013">
                  <c:v>47.073-47.080</c:v>
                </c:pt>
                <c:pt idx="7014">
                  <c:v>47.080-47.086</c:v>
                </c:pt>
                <c:pt idx="7015">
                  <c:v>47.086-47.093</c:v>
                </c:pt>
                <c:pt idx="7016">
                  <c:v>47.093-47.100</c:v>
                </c:pt>
                <c:pt idx="7017">
                  <c:v>47.100-47.106</c:v>
                </c:pt>
                <c:pt idx="7018">
                  <c:v>47.106-47.113</c:v>
                </c:pt>
                <c:pt idx="7019">
                  <c:v>47.113-47.120</c:v>
                </c:pt>
                <c:pt idx="7020">
                  <c:v>47.120-47.127</c:v>
                </c:pt>
                <c:pt idx="7021">
                  <c:v>47.127-47.133</c:v>
                </c:pt>
                <c:pt idx="7022">
                  <c:v>47.133-47.140</c:v>
                </c:pt>
                <c:pt idx="7023">
                  <c:v>47.140-47.147</c:v>
                </c:pt>
                <c:pt idx="7024">
                  <c:v>47.147-47.153</c:v>
                </c:pt>
                <c:pt idx="7025">
                  <c:v>47.153-47.160</c:v>
                </c:pt>
                <c:pt idx="7026">
                  <c:v>47.160-47.167</c:v>
                </c:pt>
                <c:pt idx="7027">
                  <c:v>47.167-47.174</c:v>
                </c:pt>
                <c:pt idx="7028">
                  <c:v>47.174-47.180</c:v>
                </c:pt>
                <c:pt idx="7029">
                  <c:v>47.180-47.187</c:v>
                </c:pt>
                <c:pt idx="7030">
                  <c:v>47.187-47.194</c:v>
                </c:pt>
                <c:pt idx="7031">
                  <c:v>47.194-47.200</c:v>
                </c:pt>
                <c:pt idx="7032">
                  <c:v>47.200-47.207</c:v>
                </c:pt>
                <c:pt idx="7033">
                  <c:v>47.207-47.214</c:v>
                </c:pt>
                <c:pt idx="7034">
                  <c:v>47.214-47.220</c:v>
                </c:pt>
                <c:pt idx="7035">
                  <c:v>47.220-47.227</c:v>
                </c:pt>
                <c:pt idx="7036">
                  <c:v>47.227-47.234</c:v>
                </c:pt>
                <c:pt idx="7037">
                  <c:v>47.234-47.241</c:v>
                </c:pt>
                <c:pt idx="7038">
                  <c:v>47.241-47.247</c:v>
                </c:pt>
                <c:pt idx="7039">
                  <c:v>47.247-47.254</c:v>
                </c:pt>
                <c:pt idx="7040">
                  <c:v>47.254-47.261</c:v>
                </c:pt>
                <c:pt idx="7041">
                  <c:v>47.261-47.267</c:v>
                </c:pt>
                <c:pt idx="7042">
                  <c:v>47.267-47.274</c:v>
                </c:pt>
                <c:pt idx="7043">
                  <c:v>47.274-47.281</c:v>
                </c:pt>
                <c:pt idx="7044">
                  <c:v>47.281-47.288</c:v>
                </c:pt>
                <c:pt idx="7045">
                  <c:v>47.288-47.294</c:v>
                </c:pt>
                <c:pt idx="7046">
                  <c:v>47.294-47.301</c:v>
                </c:pt>
                <c:pt idx="7047">
                  <c:v>47.301-47.308</c:v>
                </c:pt>
                <c:pt idx="7048">
                  <c:v>47.308-47.314</c:v>
                </c:pt>
                <c:pt idx="7049">
                  <c:v>47.314-47.321</c:v>
                </c:pt>
                <c:pt idx="7050">
                  <c:v>47.321-47.328</c:v>
                </c:pt>
                <c:pt idx="7051">
                  <c:v>47.328-47.335</c:v>
                </c:pt>
                <c:pt idx="7052">
                  <c:v>47.335-47.341</c:v>
                </c:pt>
                <c:pt idx="7053">
                  <c:v>47.341-47.348</c:v>
                </c:pt>
                <c:pt idx="7054">
                  <c:v>47.348-47.355</c:v>
                </c:pt>
                <c:pt idx="7055">
                  <c:v>47.355-47.361</c:v>
                </c:pt>
                <c:pt idx="7056">
                  <c:v>47.361-47.368</c:v>
                </c:pt>
                <c:pt idx="7057">
                  <c:v>47.368-47.375</c:v>
                </c:pt>
                <c:pt idx="7058">
                  <c:v>47.375-47.382</c:v>
                </c:pt>
                <c:pt idx="7059">
                  <c:v>47.382-47.388</c:v>
                </c:pt>
                <c:pt idx="7060">
                  <c:v>47.388-47.395</c:v>
                </c:pt>
                <c:pt idx="7061">
                  <c:v>47.395-47.402</c:v>
                </c:pt>
                <c:pt idx="7062">
                  <c:v>47.402-47.408</c:v>
                </c:pt>
                <c:pt idx="7063">
                  <c:v>47.408-47.415</c:v>
                </c:pt>
                <c:pt idx="7064">
                  <c:v>47.415-47.422</c:v>
                </c:pt>
                <c:pt idx="7065">
                  <c:v>47.422-47.429</c:v>
                </c:pt>
                <c:pt idx="7066">
                  <c:v>47.429-47.435</c:v>
                </c:pt>
                <c:pt idx="7067">
                  <c:v>47.435-47.442</c:v>
                </c:pt>
                <c:pt idx="7068">
                  <c:v>47.442-47.449</c:v>
                </c:pt>
                <c:pt idx="7069">
                  <c:v>47.449-47.455</c:v>
                </c:pt>
                <c:pt idx="7070">
                  <c:v>47.455-47.462</c:v>
                </c:pt>
                <c:pt idx="7071">
                  <c:v>47.462-47.469</c:v>
                </c:pt>
                <c:pt idx="7072">
                  <c:v>47.469-47.475</c:v>
                </c:pt>
                <c:pt idx="7073">
                  <c:v>47.475-47.482</c:v>
                </c:pt>
                <c:pt idx="7074">
                  <c:v>47.482-47.489</c:v>
                </c:pt>
                <c:pt idx="7075">
                  <c:v>47.489-47.496</c:v>
                </c:pt>
                <c:pt idx="7076">
                  <c:v>47.496-47.502</c:v>
                </c:pt>
                <c:pt idx="7077">
                  <c:v>47.502-47.509</c:v>
                </c:pt>
                <c:pt idx="7078">
                  <c:v>47.509-47.516</c:v>
                </c:pt>
                <c:pt idx="7079">
                  <c:v>47.516-47.522</c:v>
                </c:pt>
                <c:pt idx="7080">
                  <c:v>47.522-47.529</c:v>
                </c:pt>
                <c:pt idx="7081">
                  <c:v>47.529-47.536</c:v>
                </c:pt>
                <c:pt idx="7082">
                  <c:v>47.536-47.543</c:v>
                </c:pt>
                <c:pt idx="7083">
                  <c:v>47.543-47.549</c:v>
                </c:pt>
                <c:pt idx="7084">
                  <c:v>47.549-47.556</c:v>
                </c:pt>
                <c:pt idx="7085">
                  <c:v>47.556-47.563</c:v>
                </c:pt>
                <c:pt idx="7086">
                  <c:v>47.563-47.569</c:v>
                </c:pt>
                <c:pt idx="7087">
                  <c:v>47.569-47.576</c:v>
                </c:pt>
                <c:pt idx="7088">
                  <c:v>47.576-47.583</c:v>
                </c:pt>
                <c:pt idx="7089">
                  <c:v>47.583-47.590</c:v>
                </c:pt>
                <c:pt idx="7090">
                  <c:v>47.590-47.596</c:v>
                </c:pt>
                <c:pt idx="7091">
                  <c:v>47.596-47.603</c:v>
                </c:pt>
                <c:pt idx="7092">
                  <c:v>47.603-47.610</c:v>
                </c:pt>
                <c:pt idx="7093">
                  <c:v>47.610-47.616</c:v>
                </c:pt>
                <c:pt idx="7094">
                  <c:v>47.616-47.623</c:v>
                </c:pt>
                <c:pt idx="7095">
                  <c:v>47.623-47.630</c:v>
                </c:pt>
                <c:pt idx="7096">
                  <c:v>47.630-47.637</c:v>
                </c:pt>
                <c:pt idx="7097">
                  <c:v>47.637-47.643</c:v>
                </c:pt>
                <c:pt idx="7098">
                  <c:v>47.643-47.650</c:v>
                </c:pt>
                <c:pt idx="7099">
                  <c:v>47.650-47.657</c:v>
                </c:pt>
                <c:pt idx="7100">
                  <c:v>47.657-47.663</c:v>
                </c:pt>
                <c:pt idx="7101">
                  <c:v>47.663-47.670</c:v>
                </c:pt>
                <c:pt idx="7102">
                  <c:v>47.670-47.677</c:v>
                </c:pt>
                <c:pt idx="7103">
                  <c:v>47.677-47.684</c:v>
                </c:pt>
                <c:pt idx="7104">
                  <c:v>47.684-47.690</c:v>
                </c:pt>
                <c:pt idx="7105">
                  <c:v>47.690-47.697</c:v>
                </c:pt>
                <c:pt idx="7106">
                  <c:v>47.697-47.704</c:v>
                </c:pt>
                <c:pt idx="7107">
                  <c:v>47.704-47.710</c:v>
                </c:pt>
                <c:pt idx="7108">
                  <c:v>47.710-47.717</c:v>
                </c:pt>
                <c:pt idx="7109">
                  <c:v>47.717-47.724</c:v>
                </c:pt>
                <c:pt idx="7110">
                  <c:v>47.724-47.730</c:v>
                </c:pt>
                <c:pt idx="7111">
                  <c:v>47.730-47.737</c:v>
                </c:pt>
                <c:pt idx="7112">
                  <c:v>47.737-47.744</c:v>
                </c:pt>
                <c:pt idx="7113">
                  <c:v>47.744-47.751</c:v>
                </c:pt>
                <c:pt idx="7114">
                  <c:v>47.751-47.757</c:v>
                </c:pt>
                <c:pt idx="7115">
                  <c:v>47.757-47.764</c:v>
                </c:pt>
                <c:pt idx="7116">
                  <c:v>47.764-47.771</c:v>
                </c:pt>
                <c:pt idx="7117">
                  <c:v>47.771-47.777</c:v>
                </c:pt>
                <c:pt idx="7118">
                  <c:v>47.777-47.784</c:v>
                </c:pt>
                <c:pt idx="7119">
                  <c:v>47.784-47.791</c:v>
                </c:pt>
                <c:pt idx="7120">
                  <c:v>47.791-47.798</c:v>
                </c:pt>
                <c:pt idx="7121">
                  <c:v>47.798-47.804</c:v>
                </c:pt>
                <c:pt idx="7122">
                  <c:v>47.804-47.811</c:v>
                </c:pt>
                <c:pt idx="7123">
                  <c:v>47.811-47.818</c:v>
                </c:pt>
                <c:pt idx="7124">
                  <c:v>47.818-47.824</c:v>
                </c:pt>
                <c:pt idx="7125">
                  <c:v>47.824-47.831</c:v>
                </c:pt>
                <c:pt idx="7126">
                  <c:v>47.831-47.838</c:v>
                </c:pt>
                <c:pt idx="7127">
                  <c:v>47.838-47.845</c:v>
                </c:pt>
                <c:pt idx="7128">
                  <c:v>47.845-47.851</c:v>
                </c:pt>
                <c:pt idx="7129">
                  <c:v>47.851-47.858</c:v>
                </c:pt>
                <c:pt idx="7130">
                  <c:v>47.858-47.865</c:v>
                </c:pt>
                <c:pt idx="7131">
                  <c:v>47.865-47.871</c:v>
                </c:pt>
                <c:pt idx="7132">
                  <c:v>47.871-47.878</c:v>
                </c:pt>
                <c:pt idx="7133">
                  <c:v>47.878-47.885</c:v>
                </c:pt>
                <c:pt idx="7134">
                  <c:v>47.885-47.892</c:v>
                </c:pt>
                <c:pt idx="7135">
                  <c:v>47.892-47.898</c:v>
                </c:pt>
                <c:pt idx="7136">
                  <c:v>47.898-47.905</c:v>
                </c:pt>
                <c:pt idx="7137">
                  <c:v>47.905-47.912</c:v>
                </c:pt>
                <c:pt idx="7138">
                  <c:v>47.912-47.918</c:v>
                </c:pt>
                <c:pt idx="7139">
                  <c:v>47.918-47.925</c:v>
                </c:pt>
                <c:pt idx="7140">
                  <c:v>47.925-47.932</c:v>
                </c:pt>
                <c:pt idx="7141">
                  <c:v>47.932-47.939</c:v>
                </c:pt>
                <c:pt idx="7142">
                  <c:v>47.939-47.945</c:v>
                </c:pt>
                <c:pt idx="7143">
                  <c:v>47.945-47.952</c:v>
                </c:pt>
                <c:pt idx="7144">
                  <c:v>47.952-47.959</c:v>
                </c:pt>
                <c:pt idx="7145">
                  <c:v>47.959-47.965</c:v>
                </c:pt>
                <c:pt idx="7146">
                  <c:v>47.965-47.972</c:v>
                </c:pt>
                <c:pt idx="7147">
                  <c:v>47.972-47.979</c:v>
                </c:pt>
                <c:pt idx="7148">
                  <c:v>47.979-47.986</c:v>
                </c:pt>
                <c:pt idx="7149">
                  <c:v>47.986-47.992</c:v>
                </c:pt>
                <c:pt idx="7150">
                  <c:v>47.992-47.999</c:v>
                </c:pt>
                <c:pt idx="7151">
                  <c:v>47.999-48.006</c:v>
                </c:pt>
                <c:pt idx="7152">
                  <c:v>48.006-48.012</c:v>
                </c:pt>
                <c:pt idx="7153">
                  <c:v>48.012-48.019</c:v>
                </c:pt>
                <c:pt idx="7154">
                  <c:v>48.019-48.026</c:v>
                </c:pt>
                <c:pt idx="7155">
                  <c:v>48.026-48.032</c:v>
                </c:pt>
                <c:pt idx="7156">
                  <c:v>48.032-48.039</c:v>
                </c:pt>
                <c:pt idx="7157">
                  <c:v>48.039-48.046</c:v>
                </c:pt>
                <c:pt idx="7158">
                  <c:v>48.046-48.053</c:v>
                </c:pt>
                <c:pt idx="7159">
                  <c:v>48.053-48.059</c:v>
                </c:pt>
                <c:pt idx="7160">
                  <c:v>48.059-48.066</c:v>
                </c:pt>
                <c:pt idx="7161">
                  <c:v>48.066-48.073</c:v>
                </c:pt>
                <c:pt idx="7162">
                  <c:v>48.073-48.079</c:v>
                </c:pt>
                <c:pt idx="7163">
                  <c:v>48.079-48.086</c:v>
                </c:pt>
                <c:pt idx="7164">
                  <c:v>48.086-48.093</c:v>
                </c:pt>
                <c:pt idx="7165">
                  <c:v>48.093-48.100</c:v>
                </c:pt>
                <c:pt idx="7166">
                  <c:v>48.100-48.106</c:v>
                </c:pt>
                <c:pt idx="7167">
                  <c:v>48.106-48.113</c:v>
                </c:pt>
                <c:pt idx="7168">
                  <c:v>48.113-48.120</c:v>
                </c:pt>
                <c:pt idx="7169">
                  <c:v>48.120-48.126</c:v>
                </c:pt>
                <c:pt idx="7170">
                  <c:v>48.126-48.133</c:v>
                </c:pt>
                <c:pt idx="7171">
                  <c:v>48.133-48.140</c:v>
                </c:pt>
                <c:pt idx="7172">
                  <c:v>48.140-48.147</c:v>
                </c:pt>
                <c:pt idx="7173">
                  <c:v>48.147-48.153</c:v>
                </c:pt>
                <c:pt idx="7174">
                  <c:v>48.153-48.160</c:v>
                </c:pt>
                <c:pt idx="7175">
                  <c:v>48.160-48.167</c:v>
                </c:pt>
                <c:pt idx="7176">
                  <c:v>48.167-48.173</c:v>
                </c:pt>
                <c:pt idx="7177">
                  <c:v>48.173-48.180</c:v>
                </c:pt>
                <c:pt idx="7178">
                  <c:v>48.180-48.187</c:v>
                </c:pt>
                <c:pt idx="7179">
                  <c:v>48.187-48.194</c:v>
                </c:pt>
                <c:pt idx="7180">
                  <c:v>48.194-48.200</c:v>
                </c:pt>
                <c:pt idx="7181">
                  <c:v>48.200-48.207</c:v>
                </c:pt>
                <c:pt idx="7182">
                  <c:v>48.207-48.214</c:v>
                </c:pt>
                <c:pt idx="7183">
                  <c:v>48.214-48.220</c:v>
                </c:pt>
                <c:pt idx="7184">
                  <c:v>48.220-48.227</c:v>
                </c:pt>
                <c:pt idx="7185">
                  <c:v>48.227-48.234</c:v>
                </c:pt>
                <c:pt idx="7186">
                  <c:v>48.234-48.241</c:v>
                </c:pt>
                <c:pt idx="7187">
                  <c:v>48.241-48.247</c:v>
                </c:pt>
                <c:pt idx="7188">
                  <c:v>48.247-48.254</c:v>
                </c:pt>
                <c:pt idx="7189">
                  <c:v>48.254-48.261</c:v>
                </c:pt>
                <c:pt idx="7190">
                  <c:v>48.261-48.267</c:v>
                </c:pt>
                <c:pt idx="7191">
                  <c:v>48.267-48.274</c:v>
                </c:pt>
                <c:pt idx="7192">
                  <c:v>48.274-48.281</c:v>
                </c:pt>
                <c:pt idx="7193">
                  <c:v>48.281-48.287</c:v>
                </c:pt>
                <c:pt idx="7194">
                  <c:v>48.287-48.294</c:v>
                </c:pt>
                <c:pt idx="7195">
                  <c:v>48.294-48.301</c:v>
                </c:pt>
                <c:pt idx="7196">
                  <c:v>48.301-48.308</c:v>
                </c:pt>
                <c:pt idx="7197">
                  <c:v>48.308-48.314</c:v>
                </c:pt>
                <c:pt idx="7198">
                  <c:v>48.314-48.321</c:v>
                </c:pt>
                <c:pt idx="7199">
                  <c:v>48.321-48.328</c:v>
                </c:pt>
                <c:pt idx="7200">
                  <c:v>48.328-48.334</c:v>
                </c:pt>
                <c:pt idx="7201">
                  <c:v>48.334-48.341</c:v>
                </c:pt>
                <c:pt idx="7202">
                  <c:v>48.341-48.348</c:v>
                </c:pt>
                <c:pt idx="7203">
                  <c:v>48.348-48.355</c:v>
                </c:pt>
                <c:pt idx="7204">
                  <c:v>48.355-48.361</c:v>
                </c:pt>
                <c:pt idx="7205">
                  <c:v>48.361-48.368</c:v>
                </c:pt>
                <c:pt idx="7206">
                  <c:v>48.368-48.375</c:v>
                </c:pt>
                <c:pt idx="7207">
                  <c:v>48.375-48.381</c:v>
                </c:pt>
                <c:pt idx="7208">
                  <c:v>48.381-48.388</c:v>
                </c:pt>
                <c:pt idx="7209">
                  <c:v>48.388-48.395</c:v>
                </c:pt>
                <c:pt idx="7210">
                  <c:v>48.395-48.402</c:v>
                </c:pt>
                <c:pt idx="7211">
                  <c:v>48.402-48.408</c:v>
                </c:pt>
                <c:pt idx="7212">
                  <c:v>48.408-48.415</c:v>
                </c:pt>
                <c:pt idx="7213">
                  <c:v>48.415-48.422</c:v>
                </c:pt>
                <c:pt idx="7214">
                  <c:v>48.422-48.428</c:v>
                </c:pt>
                <c:pt idx="7215">
                  <c:v>48.428-48.435</c:v>
                </c:pt>
                <c:pt idx="7216">
                  <c:v>48.435-48.442</c:v>
                </c:pt>
                <c:pt idx="7217">
                  <c:v>48.442-48.449</c:v>
                </c:pt>
                <c:pt idx="7218">
                  <c:v>48.449-48.455</c:v>
                </c:pt>
                <c:pt idx="7219">
                  <c:v>48.455-48.462</c:v>
                </c:pt>
                <c:pt idx="7220">
                  <c:v>48.462-48.469</c:v>
                </c:pt>
                <c:pt idx="7221">
                  <c:v>48.469-48.475</c:v>
                </c:pt>
                <c:pt idx="7222">
                  <c:v>48.475-48.482</c:v>
                </c:pt>
                <c:pt idx="7223">
                  <c:v>48.482-48.489</c:v>
                </c:pt>
                <c:pt idx="7224">
                  <c:v>48.489-48.496</c:v>
                </c:pt>
                <c:pt idx="7225">
                  <c:v>48.496-48.502</c:v>
                </c:pt>
                <c:pt idx="7226">
                  <c:v>48.502-48.509</c:v>
                </c:pt>
                <c:pt idx="7227">
                  <c:v>48.509-48.516</c:v>
                </c:pt>
                <c:pt idx="7228">
                  <c:v>48.516-48.522</c:v>
                </c:pt>
                <c:pt idx="7229">
                  <c:v>48.522-48.529</c:v>
                </c:pt>
                <c:pt idx="7230">
                  <c:v>48.529-48.536</c:v>
                </c:pt>
                <c:pt idx="7231">
                  <c:v>48.536-48.543</c:v>
                </c:pt>
                <c:pt idx="7232">
                  <c:v>48.543-48.549</c:v>
                </c:pt>
                <c:pt idx="7233">
                  <c:v>48.549-48.556</c:v>
                </c:pt>
                <c:pt idx="7234">
                  <c:v>48.556-48.563</c:v>
                </c:pt>
                <c:pt idx="7235">
                  <c:v>48.563-48.569</c:v>
                </c:pt>
                <c:pt idx="7236">
                  <c:v>48.569-48.576</c:v>
                </c:pt>
                <c:pt idx="7237">
                  <c:v>48.576-48.583</c:v>
                </c:pt>
                <c:pt idx="7238">
                  <c:v>48.583-48.589</c:v>
                </c:pt>
                <c:pt idx="7239">
                  <c:v>48.589-48.596</c:v>
                </c:pt>
                <c:pt idx="7240">
                  <c:v>48.596-48.603</c:v>
                </c:pt>
                <c:pt idx="7241">
                  <c:v>48.603-48.610</c:v>
                </c:pt>
                <c:pt idx="7242">
                  <c:v>48.610-48.616</c:v>
                </c:pt>
                <c:pt idx="7243">
                  <c:v>48.616-48.623</c:v>
                </c:pt>
                <c:pt idx="7244">
                  <c:v>48.623-48.630</c:v>
                </c:pt>
                <c:pt idx="7245">
                  <c:v>48.630-48.636</c:v>
                </c:pt>
                <c:pt idx="7246">
                  <c:v>48.636-48.643</c:v>
                </c:pt>
                <c:pt idx="7247">
                  <c:v>48.643-48.650</c:v>
                </c:pt>
                <c:pt idx="7248">
                  <c:v>48.650-48.657</c:v>
                </c:pt>
                <c:pt idx="7249">
                  <c:v>48.657-48.663</c:v>
                </c:pt>
                <c:pt idx="7250">
                  <c:v>48.663-48.670</c:v>
                </c:pt>
                <c:pt idx="7251">
                  <c:v>48.670-48.677</c:v>
                </c:pt>
                <c:pt idx="7252">
                  <c:v>48.677-48.683</c:v>
                </c:pt>
                <c:pt idx="7253">
                  <c:v>48.683-48.690</c:v>
                </c:pt>
                <c:pt idx="7254">
                  <c:v>48.690-48.697</c:v>
                </c:pt>
                <c:pt idx="7255">
                  <c:v>48.697-48.704</c:v>
                </c:pt>
                <c:pt idx="7256">
                  <c:v>48.704-48.710</c:v>
                </c:pt>
                <c:pt idx="7257">
                  <c:v>48.710-48.717</c:v>
                </c:pt>
                <c:pt idx="7258">
                  <c:v>48.717-48.724</c:v>
                </c:pt>
                <c:pt idx="7259">
                  <c:v>48.724-48.730</c:v>
                </c:pt>
                <c:pt idx="7260">
                  <c:v>48.730-48.737</c:v>
                </c:pt>
                <c:pt idx="7261">
                  <c:v>48.737-48.744</c:v>
                </c:pt>
                <c:pt idx="7262">
                  <c:v>48.744-48.751</c:v>
                </c:pt>
                <c:pt idx="7263">
                  <c:v>48.751-48.757</c:v>
                </c:pt>
                <c:pt idx="7264">
                  <c:v>48.757-48.764</c:v>
                </c:pt>
                <c:pt idx="7265">
                  <c:v>48.764-48.771</c:v>
                </c:pt>
                <c:pt idx="7266">
                  <c:v>48.771-48.777</c:v>
                </c:pt>
                <c:pt idx="7267">
                  <c:v>48.777-48.784</c:v>
                </c:pt>
                <c:pt idx="7268">
                  <c:v>48.784-48.791</c:v>
                </c:pt>
                <c:pt idx="7269">
                  <c:v>48.791-48.798</c:v>
                </c:pt>
                <c:pt idx="7270">
                  <c:v>48.798-48.804</c:v>
                </c:pt>
                <c:pt idx="7271">
                  <c:v>48.804-48.811</c:v>
                </c:pt>
                <c:pt idx="7272">
                  <c:v>48.811-48.818</c:v>
                </c:pt>
                <c:pt idx="7273">
                  <c:v>48.818-48.824</c:v>
                </c:pt>
                <c:pt idx="7274">
                  <c:v>48.824-48.831</c:v>
                </c:pt>
                <c:pt idx="7275">
                  <c:v>48.831-48.838</c:v>
                </c:pt>
                <c:pt idx="7276">
                  <c:v>48.838-48.844</c:v>
                </c:pt>
                <c:pt idx="7277">
                  <c:v>48.844-48.851</c:v>
                </c:pt>
                <c:pt idx="7278">
                  <c:v>48.851-48.858</c:v>
                </c:pt>
                <c:pt idx="7279">
                  <c:v>48.858-48.865</c:v>
                </c:pt>
                <c:pt idx="7280">
                  <c:v>48.865-48.871</c:v>
                </c:pt>
                <c:pt idx="7281">
                  <c:v>48.871-48.878</c:v>
                </c:pt>
                <c:pt idx="7282">
                  <c:v>48.878-48.885</c:v>
                </c:pt>
                <c:pt idx="7283">
                  <c:v>48.885-48.891</c:v>
                </c:pt>
                <c:pt idx="7284">
                  <c:v>48.891-48.898</c:v>
                </c:pt>
                <c:pt idx="7285">
                  <c:v>48.898-48.905</c:v>
                </c:pt>
                <c:pt idx="7286">
                  <c:v>48.905-48.912</c:v>
                </c:pt>
                <c:pt idx="7287">
                  <c:v>48.912-48.918</c:v>
                </c:pt>
                <c:pt idx="7288">
                  <c:v>48.918-48.925</c:v>
                </c:pt>
                <c:pt idx="7289">
                  <c:v>48.925-48.932</c:v>
                </c:pt>
                <c:pt idx="7290">
                  <c:v>48.932-48.938</c:v>
                </c:pt>
                <c:pt idx="7291">
                  <c:v>48.938-48.945</c:v>
                </c:pt>
                <c:pt idx="7292">
                  <c:v>48.945-48.952</c:v>
                </c:pt>
                <c:pt idx="7293">
                  <c:v>48.952-48.959</c:v>
                </c:pt>
                <c:pt idx="7294">
                  <c:v>48.959-48.965</c:v>
                </c:pt>
                <c:pt idx="7295">
                  <c:v>48.965-48.972</c:v>
                </c:pt>
                <c:pt idx="7296">
                  <c:v>48.972-48.979</c:v>
                </c:pt>
                <c:pt idx="7297">
                  <c:v>48.979-48.985</c:v>
                </c:pt>
                <c:pt idx="7298">
                  <c:v>48.985-48.992</c:v>
                </c:pt>
                <c:pt idx="7299">
                  <c:v>48.992-48.999</c:v>
                </c:pt>
                <c:pt idx="7300">
                  <c:v>48.999-49.006</c:v>
                </c:pt>
                <c:pt idx="7301">
                  <c:v>49.006-49.012</c:v>
                </c:pt>
                <c:pt idx="7302">
                  <c:v>49.012-49.019</c:v>
                </c:pt>
                <c:pt idx="7303">
                  <c:v>49.019-49.026</c:v>
                </c:pt>
                <c:pt idx="7304">
                  <c:v>49.026-49.032</c:v>
                </c:pt>
                <c:pt idx="7305">
                  <c:v>49.032-49.039</c:v>
                </c:pt>
                <c:pt idx="7306">
                  <c:v>49.039-49.046</c:v>
                </c:pt>
                <c:pt idx="7307">
                  <c:v>49.046-49.053</c:v>
                </c:pt>
                <c:pt idx="7308">
                  <c:v>49.053-49.059</c:v>
                </c:pt>
                <c:pt idx="7309">
                  <c:v>49.059-49.066</c:v>
                </c:pt>
                <c:pt idx="7310">
                  <c:v>49.066-49.073</c:v>
                </c:pt>
                <c:pt idx="7311">
                  <c:v>49.073-49.079</c:v>
                </c:pt>
                <c:pt idx="7312">
                  <c:v>49.079-49.086</c:v>
                </c:pt>
                <c:pt idx="7313">
                  <c:v>49.086-49.093</c:v>
                </c:pt>
                <c:pt idx="7314">
                  <c:v>49.093-49.100</c:v>
                </c:pt>
                <c:pt idx="7315">
                  <c:v>49.100-49.106</c:v>
                </c:pt>
                <c:pt idx="7316">
                  <c:v>49.106-49.113</c:v>
                </c:pt>
                <c:pt idx="7317">
                  <c:v>49.113-49.120</c:v>
                </c:pt>
                <c:pt idx="7318">
                  <c:v>49.120-49.126</c:v>
                </c:pt>
                <c:pt idx="7319">
                  <c:v>49.126-49.133</c:v>
                </c:pt>
                <c:pt idx="7320">
                  <c:v>49.133-49.140</c:v>
                </c:pt>
                <c:pt idx="7321">
                  <c:v>49.140-49.146</c:v>
                </c:pt>
                <c:pt idx="7322">
                  <c:v>49.146-49.153</c:v>
                </c:pt>
                <c:pt idx="7323">
                  <c:v>49.153-49.160</c:v>
                </c:pt>
                <c:pt idx="7324">
                  <c:v>49.160-49.167</c:v>
                </c:pt>
                <c:pt idx="7325">
                  <c:v>49.167-49.173</c:v>
                </c:pt>
                <c:pt idx="7326">
                  <c:v>49.173-49.180</c:v>
                </c:pt>
                <c:pt idx="7327">
                  <c:v>49.180-49.187</c:v>
                </c:pt>
                <c:pt idx="7328">
                  <c:v>49.187-49.193</c:v>
                </c:pt>
                <c:pt idx="7329">
                  <c:v>49.193-49.200</c:v>
                </c:pt>
                <c:pt idx="7330">
                  <c:v>49.200-49.207</c:v>
                </c:pt>
                <c:pt idx="7331">
                  <c:v>49.207-49.214</c:v>
                </c:pt>
                <c:pt idx="7332">
                  <c:v>49.214-49.220</c:v>
                </c:pt>
                <c:pt idx="7333">
                  <c:v>49.220-49.227</c:v>
                </c:pt>
                <c:pt idx="7334">
                  <c:v>49.227-49.234</c:v>
                </c:pt>
                <c:pt idx="7335">
                  <c:v>49.234-49.240</c:v>
                </c:pt>
                <c:pt idx="7336">
                  <c:v>49.240-49.247</c:v>
                </c:pt>
                <c:pt idx="7337">
                  <c:v>49.247-49.254</c:v>
                </c:pt>
                <c:pt idx="7338">
                  <c:v>49.254-49.261</c:v>
                </c:pt>
                <c:pt idx="7339">
                  <c:v>49.261-49.267</c:v>
                </c:pt>
                <c:pt idx="7340">
                  <c:v>49.267-49.274</c:v>
                </c:pt>
                <c:pt idx="7341">
                  <c:v>49.274-49.281</c:v>
                </c:pt>
                <c:pt idx="7342">
                  <c:v>49.281-49.287</c:v>
                </c:pt>
                <c:pt idx="7343">
                  <c:v>49.287-49.294</c:v>
                </c:pt>
                <c:pt idx="7344">
                  <c:v>49.294-49.301</c:v>
                </c:pt>
                <c:pt idx="7345">
                  <c:v>49.301-49.308</c:v>
                </c:pt>
                <c:pt idx="7346">
                  <c:v>49.308-49.314</c:v>
                </c:pt>
                <c:pt idx="7347">
                  <c:v>49.314-49.321</c:v>
                </c:pt>
                <c:pt idx="7348">
                  <c:v>49.321-49.328</c:v>
                </c:pt>
                <c:pt idx="7349">
                  <c:v>49.328-49.334</c:v>
                </c:pt>
                <c:pt idx="7350">
                  <c:v>49.334-49.341</c:v>
                </c:pt>
                <c:pt idx="7351">
                  <c:v>49.341-49.348</c:v>
                </c:pt>
                <c:pt idx="7352">
                  <c:v>49.348-49.355</c:v>
                </c:pt>
                <c:pt idx="7353">
                  <c:v>49.355-49.361</c:v>
                </c:pt>
                <c:pt idx="7354">
                  <c:v>49.361-49.368</c:v>
                </c:pt>
                <c:pt idx="7355">
                  <c:v>49.368-49.375</c:v>
                </c:pt>
                <c:pt idx="7356">
                  <c:v>49.375-49.381</c:v>
                </c:pt>
                <c:pt idx="7357">
                  <c:v>49.381-49.388</c:v>
                </c:pt>
                <c:pt idx="7358">
                  <c:v>49.388-49.395</c:v>
                </c:pt>
                <c:pt idx="7359">
                  <c:v>49.395-49.401</c:v>
                </c:pt>
                <c:pt idx="7360">
                  <c:v>49.401-49.408</c:v>
                </c:pt>
                <c:pt idx="7361">
                  <c:v>49.408-49.415</c:v>
                </c:pt>
                <c:pt idx="7362">
                  <c:v>49.415-49.422</c:v>
                </c:pt>
                <c:pt idx="7363">
                  <c:v>49.422-49.428</c:v>
                </c:pt>
                <c:pt idx="7364">
                  <c:v>49.428-49.435</c:v>
                </c:pt>
                <c:pt idx="7365">
                  <c:v>49.435-49.442</c:v>
                </c:pt>
                <c:pt idx="7366">
                  <c:v>49.442-49.448</c:v>
                </c:pt>
                <c:pt idx="7367">
                  <c:v>49.448-49.455</c:v>
                </c:pt>
                <c:pt idx="7368">
                  <c:v>49.455-49.462</c:v>
                </c:pt>
                <c:pt idx="7369">
                  <c:v>49.462-49.469</c:v>
                </c:pt>
                <c:pt idx="7370">
                  <c:v>49.469-49.475</c:v>
                </c:pt>
                <c:pt idx="7371">
                  <c:v>49.475-49.482</c:v>
                </c:pt>
                <c:pt idx="7372">
                  <c:v>49.482-49.489</c:v>
                </c:pt>
                <c:pt idx="7373">
                  <c:v>49.489-49.495</c:v>
                </c:pt>
                <c:pt idx="7374">
                  <c:v>49.495-49.502</c:v>
                </c:pt>
                <c:pt idx="7375">
                  <c:v>49.502-49.509</c:v>
                </c:pt>
                <c:pt idx="7376">
                  <c:v>49.509-49.516</c:v>
                </c:pt>
                <c:pt idx="7377">
                  <c:v>49.516-49.522</c:v>
                </c:pt>
                <c:pt idx="7378">
                  <c:v>49.522-49.529</c:v>
                </c:pt>
                <c:pt idx="7379">
                  <c:v>49.529-49.536</c:v>
                </c:pt>
                <c:pt idx="7380">
                  <c:v>49.536-49.542</c:v>
                </c:pt>
                <c:pt idx="7381">
                  <c:v>49.542-49.549</c:v>
                </c:pt>
                <c:pt idx="7382">
                  <c:v>49.549-49.556</c:v>
                </c:pt>
                <c:pt idx="7383">
                  <c:v>49.556-49.563</c:v>
                </c:pt>
                <c:pt idx="7384">
                  <c:v>49.563-49.569</c:v>
                </c:pt>
                <c:pt idx="7385">
                  <c:v>49.569-49.576</c:v>
                </c:pt>
                <c:pt idx="7386">
                  <c:v>49.576-49.583</c:v>
                </c:pt>
                <c:pt idx="7387">
                  <c:v>49.583-49.589</c:v>
                </c:pt>
                <c:pt idx="7388">
                  <c:v>49.589-49.596</c:v>
                </c:pt>
                <c:pt idx="7389">
                  <c:v>49.596-49.603</c:v>
                </c:pt>
                <c:pt idx="7390">
                  <c:v>49.603-49.610</c:v>
                </c:pt>
                <c:pt idx="7391">
                  <c:v>49.610-49.616</c:v>
                </c:pt>
                <c:pt idx="7392">
                  <c:v>49.616-49.623</c:v>
                </c:pt>
                <c:pt idx="7393">
                  <c:v>49.623-49.630</c:v>
                </c:pt>
                <c:pt idx="7394">
                  <c:v>49.630-49.636</c:v>
                </c:pt>
                <c:pt idx="7395">
                  <c:v>49.636-49.643</c:v>
                </c:pt>
                <c:pt idx="7396">
                  <c:v>49.643-49.650</c:v>
                </c:pt>
                <c:pt idx="7397">
                  <c:v>49.650-49.656</c:v>
                </c:pt>
                <c:pt idx="7398">
                  <c:v>49.656-49.663</c:v>
                </c:pt>
                <c:pt idx="7399">
                  <c:v>49.663-49.670</c:v>
                </c:pt>
                <c:pt idx="7400">
                  <c:v>49.670-49.677</c:v>
                </c:pt>
                <c:pt idx="7401">
                  <c:v>49.677-49.683</c:v>
                </c:pt>
                <c:pt idx="7402">
                  <c:v>49.683-49.690</c:v>
                </c:pt>
                <c:pt idx="7403">
                  <c:v>49.690-49.697</c:v>
                </c:pt>
                <c:pt idx="7404">
                  <c:v>49.697-49.703</c:v>
                </c:pt>
                <c:pt idx="7405">
                  <c:v>49.703-49.710</c:v>
                </c:pt>
                <c:pt idx="7406">
                  <c:v>49.710-49.717</c:v>
                </c:pt>
                <c:pt idx="7407">
                  <c:v>49.717-49.724</c:v>
                </c:pt>
                <c:pt idx="7408">
                  <c:v>49.724-49.730</c:v>
                </c:pt>
                <c:pt idx="7409">
                  <c:v>49.730-49.737</c:v>
                </c:pt>
                <c:pt idx="7410">
                  <c:v>49.737-49.744</c:v>
                </c:pt>
                <c:pt idx="7411">
                  <c:v>49.744-49.750</c:v>
                </c:pt>
                <c:pt idx="7412">
                  <c:v>49.750-49.757</c:v>
                </c:pt>
                <c:pt idx="7413">
                  <c:v>49.757-49.764</c:v>
                </c:pt>
                <c:pt idx="7414">
                  <c:v>49.764-49.771</c:v>
                </c:pt>
                <c:pt idx="7415">
                  <c:v>49.771-49.777</c:v>
                </c:pt>
                <c:pt idx="7416">
                  <c:v>49.777-49.784</c:v>
                </c:pt>
                <c:pt idx="7417">
                  <c:v>49.784-49.791</c:v>
                </c:pt>
                <c:pt idx="7418">
                  <c:v>49.791-49.797</c:v>
                </c:pt>
                <c:pt idx="7419">
                  <c:v>49.797-49.804</c:v>
                </c:pt>
                <c:pt idx="7420">
                  <c:v>49.804-49.811</c:v>
                </c:pt>
                <c:pt idx="7421">
                  <c:v>49.811-49.818</c:v>
                </c:pt>
                <c:pt idx="7422">
                  <c:v>49.818-49.824</c:v>
                </c:pt>
                <c:pt idx="7423">
                  <c:v>49.824-49.831</c:v>
                </c:pt>
                <c:pt idx="7424">
                  <c:v>49.831-49.838</c:v>
                </c:pt>
                <c:pt idx="7425">
                  <c:v>49.838-49.844</c:v>
                </c:pt>
                <c:pt idx="7426">
                  <c:v>49.844-49.851</c:v>
                </c:pt>
                <c:pt idx="7427">
                  <c:v>49.851-49.858</c:v>
                </c:pt>
                <c:pt idx="7428">
                  <c:v>49.858-49.865</c:v>
                </c:pt>
                <c:pt idx="7429">
                  <c:v>49.865-49.871</c:v>
                </c:pt>
                <c:pt idx="7430">
                  <c:v>49.871-49.878</c:v>
                </c:pt>
                <c:pt idx="7431">
                  <c:v>49.878-49.885</c:v>
                </c:pt>
                <c:pt idx="7432">
                  <c:v>49.885-49.891</c:v>
                </c:pt>
                <c:pt idx="7433">
                  <c:v>49.891-49.898</c:v>
                </c:pt>
                <c:pt idx="7434">
                  <c:v>49.898-49.905</c:v>
                </c:pt>
                <c:pt idx="7435">
                  <c:v>49.905-49.912</c:v>
                </c:pt>
                <c:pt idx="7436">
                  <c:v>49.912-49.918</c:v>
                </c:pt>
                <c:pt idx="7437">
                  <c:v>49.918-49.925</c:v>
                </c:pt>
                <c:pt idx="7438">
                  <c:v>49.925-49.932</c:v>
                </c:pt>
                <c:pt idx="7439">
                  <c:v>49.932-49.938</c:v>
                </c:pt>
                <c:pt idx="7440">
                  <c:v>49.938-49.945</c:v>
                </c:pt>
                <c:pt idx="7441">
                  <c:v>49.945-49.952</c:v>
                </c:pt>
                <c:pt idx="7442">
                  <c:v>49.952-49.958</c:v>
                </c:pt>
                <c:pt idx="7443">
                  <c:v>49.958-49.965</c:v>
                </c:pt>
                <c:pt idx="7444">
                  <c:v>49.965-49.972</c:v>
                </c:pt>
                <c:pt idx="7445">
                  <c:v>49.972-49.979</c:v>
                </c:pt>
                <c:pt idx="7446">
                  <c:v>49.979-49.985</c:v>
                </c:pt>
                <c:pt idx="7447">
                  <c:v>49.985-49.992</c:v>
                </c:pt>
                <c:pt idx="7448">
                  <c:v>49.992-49.999</c:v>
                </c:pt>
                <c:pt idx="7449">
                  <c:v>49.999-50.005</c:v>
                </c:pt>
                <c:pt idx="7450">
                  <c:v>50.005-50.012</c:v>
                </c:pt>
                <c:pt idx="7451">
                  <c:v>50.012-50.019</c:v>
                </c:pt>
                <c:pt idx="7452">
                  <c:v>50.019-50.026</c:v>
                </c:pt>
                <c:pt idx="7453">
                  <c:v>50.026-50.032</c:v>
                </c:pt>
                <c:pt idx="7454">
                  <c:v>50.032-50.039</c:v>
                </c:pt>
                <c:pt idx="7455">
                  <c:v>50.039-50.046</c:v>
                </c:pt>
                <c:pt idx="7456">
                  <c:v>50.046-50.052</c:v>
                </c:pt>
                <c:pt idx="7457">
                  <c:v>50.052-50.059</c:v>
                </c:pt>
                <c:pt idx="7458">
                  <c:v>50.059-50.066</c:v>
                </c:pt>
                <c:pt idx="7459">
                  <c:v>50.066-50.073</c:v>
                </c:pt>
                <c:pt idx="7460">
                  <c:v>50.073-50.079</c:v>
                </c:pt>
                <c:pt idx="7461">
                  <c:v>50.079-50.086</c:v>
                </c:pt>
                <c:pt idx="7462">
                  <c:v>50.086-50.093</c:v>
                </c:pt>
                <c:pt idx="7463">
                  <c:v>50.093-50.099</c:v>
                </c:pt>
                <c:pt idx="7464">
                  <c:v>50.099-50.106</c:v>
                </c:pt>
                <c:pt idx="7465">
                  <c:v>50.106-50.113</c:v>
                </c:pt>
                <c:pt idx="7466">
                  <c:v>50.113-50.120</c:v>
                </c:pt>
                <c:pt idx="7467">
                  <c:v>50.120-50.126</c:v>
                </c:pt>
                <c:pt idx="7468">
                  <c:v>50.126-50.133</c:v>
                </c:pt>
                <c:pt idx="7469">
                  <c:v>50.133-50.140</c:v>
                </c:pt>
                <c:pt idx="7470">
                  <c:v>50.140-50.146</c:v>
                </c:pt>
                <c:pt idx="7471">
                  <c:v>50.146-50.153</c:v>
                </c:pt>
                <c:pt idx="7472">
                  <c:v>50.153-50.160</c:v>
                </c:pt>
                <c:pt idx="7473">
                  <c:v>50.160-50.167</c:v>
                </c:pt>
                <c:pt idx="7474">
                  <c:v>50.167-50.173</c:v>
                </c:pt>
                <c:pt idx="7475">
                  <c:v>50.173-50.180</c:v>
                </c:pt>
                <c:pt idx="7476">
                  <c:v>50.180-50.187</c:v>
                </c:pt>
                <c:pt idx="7477">
                  <c:v>50.187-50.193</c:v>
                </c:pt>
                <c:pt idx="7478">
                  <c:v>50.193-50.200</c:v>
                </c:pt>
                <c:pt idx="7479">
                  <c:v>50.200-50.207</c:v>
                </c:pt>
                <c:pt idx="7480">
                  <c:v>50.207-50.213</c:v>
                </c:pt>
                <c:pt idx="7481">
                  <c:v>50.213-50.220</c:v>
                </c:pt>
                <c:pt idx="7482">
                  <c:v>50.220-50.227</c:v>
                </c:pt>
                <c:pt idx="7483">
                  <c:v>50.227-50.234</c:v>
                </c:pt>
                <c:pt idx="7484">
                  <c:v>50.234-50.240</c:v>
                </c:pt>
                <c:pt idx="7485">
                  <c:v>50.240-50.247</c:v>
                </c:pt>
                <c:pt idx="7486">
                  <c:v>50.247-50.254</c:v>
                </c:pt>
                <c:pt idx="7487">
                  <c:v>50.254-50.260</c:v>
                </c:pt>
                <c:pt idx="7488">
                  <c:v>50.260-50.267</c:v>
                </c:pt>
                <c:pt idx="7489">
                  <c:v>50.267-50.274</c:v>
                </c:pt>
                <c:pt idx="7490">
                  <c:v>50.274-50.281</c:v>
                </c:pt>
                <c:pt idx="7491">
                  <c:v>50.281-50.287</c:v>
                </c:pt>
                <c:pt idx="7492">
                  <c:v>50.287-50.294</c:v>
                </c:pt>
                <c:pt idx="7493">
                  <c:v>50.294-50.301</c:v>
                </c:pt>
                <c:pt idx="7494">
                  <c:v>50.301-50.307</c:v>
                </c:pt>
                <c:pt idx="7495">
                  <c:v>50.307-50.314</c:v>
                </c:pt>
                <c:pt idx="7496">
                  <c:v>50.314-50.321</c:v>
                </c:pt>
                <c:pt idx="7497">
                  <c:v>50.321-50.328</c:v>
                </c:pt>
                <c:pt idx="7498">
                  <c:v>50.328-50.334</c:v>
                </c:pt>
                <c:pt idx="7499">
                  <c:v>50.334-50.341</c:v>
                </c:pt>
                <c:pt idx="7500">
                  <c:v>50.341-50.348</c:v>
                </c:pt>
                <c:pt idx="7501">
                  <c:v>50.348-50.354</c:v>
                </c:pt>
                <c:pt idx="7502">
                  <c:v>50.354-50.361</c:v>
                </c:pt>
                <c:pt idx="7503">
                  <c:v>50.361-50.368</c:v>
                </c:pt>
                <c:pt idx="7504">
                  <c:v>50.368-50.375</c:v>
                </c:pt>
                <c:pt idx="7505">
                  <c:v>50.375-50.381</c:v>
                </c:pt>
                <c:pt idx="7506">
                  <c:v>50.381-50.388</c:v>
                </c:pt>
                <c:pt idx="7507">
                  <c:v>50.388-50.395</c:v>
                </c:pt>
                <c:pt idx="7508">
                  <c:v>50.395-50.401</c:v>
                </c:pt>
                <c:pt idx="7509">
                  <c:v>50.401-50.408</c:v>
                </c:pt>
                <c:pt idx="7510">
                  <c:v>50.408-50.415</c:v>
                </c:pt>
                <c:pt idx="7511">
                  <c:v>50.415-50.422</c:v>
                </c:pt>
                <c:pt idx="7512">
                  <c:v>50.422-50.428</c:v>
                </c:pt>
                <c:pt idx="7513">
                  <c:v>50.428-50.435</c:v>
                </c:pt>
                <c:pt idx="7514">
                  <c:v>50.435-50.442</c:v>
                </c:pt>
                <c:pt idx="7515">
                  <c:v>50.442-50.448</c:v>
                </c:pt>
                <c:pt idx="7516">
                  <c:v>50.448-50.455</c:v>
                </c:pt>
                <c:pt idx="7517">
                  <c:v>50.455-50.462</c:v>
                </c:pt>
                <c:pt idx="7518">
                  <c:v>50.462-50.469</c:v>
                </c:pt>
                <c:pt idx="7519">
                  <c:v>50.469-50.475</c:v>
                </c:pt>
                <c:pt idx="7520">
                  <c:v>50.475-50.482</c:v>
                </c:pt>
                <c:pt idx="7521">
                  <c:v>50.482-50.489</c:v>
                </c:pt>
                <c:pt idx="7522">
                  <c:v>50.489-50.495</c:v>
                </c:pt>
                <c:pt idx="7523">
                  <c:v>50.495-50.502</c:v>
                </c:pt>
                <c:pt idx="7524">
                  <c:v>50.502-50.509</c:v>
                </c:pt>
                <c:pt idx="7525">
                  <c:v>50.509-50.515</c:v>
                </c:pt>
                <c:pt idx="7526">
                  <c:v>50.515-50.522</c:v>
                </c:pt>
                <c:pt idx="7527">
                  <c:v>50.522-50.529</c:v>
                </c:pt>
                <c:pt idx="7528">
                  <c:v>50.529-50.536</c:v>
                </c:pt>
                <c:pt idx="7529">
                  <c:v>50.536-50.542</c:v>
                </c:pt>
                <c:pt idx="7530">
                  <c:v>50.542-50.549</c:v>
                </c:pt>
                <c:pt idx="7531">
                  <c:v>50.549-50.556</c:v>
                </c:pt>
                <c:pt idx="7532">
                  <c:v>50.556-50.562</c:v>
                </c:pt>
                <c:pt idx="7533">
                  <c:v>50.562-50.569</c:v>
                </c:pt>
                <c:pt idx="7534">
                  <c:v>50.569-50.576</c:v>
                </c:pt>
                <c:pt idx="7535">
                  <c:v>50.576-50.583</c:v>
                </c:pt>
                <c:pt idx="7536">
                  <c:v>50.583-50.589</c:v>
                </c:pt>
                <c:pt idx="7537">
                  <c:v>50.589-50.596</c:v>
                </c:pt>
                <c:pt idx="7538">
                  <c:v>50.596-50.603</c:v>
                </c:pt>
                <c:pt idx="7539">
                  <c:v>50.603-50.609</c:v>
                </c:pt>
                <c:pt idx="7540">
                  <c:v>50.609-50.616</c:v>
                </c:pt>
                <c:pt idx="7541">
                  <c:v>50.616-50.623</c:v>
                </c:pt>
                <c:pt idx="7542">
                  <c:v>50.623-50.630</c:v>
                </c:pt>
                <c:pt idx="7543">
                  <c:v>50.630-50.636</c:v>
                </c:pt>
                <c:pt idx="7544">
                  <c:v>50.636-50.643</c:v>
                </c:pt>
                <c:pt idx="7545">
                  <c:v>50.643-50.650</c:v>
                </c:pt>
                <c:pt idx="7546">
                  <c:v>50.650-50.656</c:v>
                </c:pt>
                <c:pt idx="7547">
                  <c:v>50.656-50.663</c:v>
                </c:pt>
                <c:pt idx="7548">
                  <c:v>50.663-50.670</c:v>
                </c:pt>
                <c:pt idx="7549">
                  <c:v>50.670-50.677</c:v>
                </c:pt>
                <c:pt idx="7550">
                  <c:v>50.677-50.683</c:v>
                </c:pt>
                <c:pt idx="7551">
                  <c:v>50.683-50.690</c:v>
                </c:pt>
                <c:pt idx="7552">
                  <c:v>50.690-50.697</c:v>
                </c:pt>
                <c:pt idx="7553">
                  <c:v>50.697-50.703</c:v>
                </c:pt>
                <c:pt idx="7554">
                  <c:v>50.703-50.710</c:v>
                </c:pt>
                <c:pt idx="7555">
                  <c:v>50.710-50.717</c:v>
                </c:pt>
                <c:pt idx="7556">
                  <c:v>50.717-50.724</c:v>
                </c:pt>
                <c:pt idx="7557">
                  <c:v>50.724-50.730</c:v>
                </c:pt>
                <c:pt idx="7558">
                  <c:v>50.730-50.737</c:v>
                </c:pt>
                <c:pt idx="7559">
                  <c:v>50.737-50.744</c:v>
                </c:pt>
                <c:pt idx="7560">
                  <c:v>50.744-50.750</c:v>
                </c:pt>
                <c:pt idx="7561">
                  <c:v>50.750-50.757</c:v>
                </c:pt>
                <c:pt idx="7562">
                  <c:v>50.757-50.764</c:v>
                </c:pt>
                <c:pt idx="7563">
                  <c:v>50.764-50.770</c:v>
                </c:pt>
                <c:pt idx="7564">
                  <c:v>50.770-50.777</c:v>
                </c:pt>
                <c:pt idx="7565">
                  <c:v>50.777-50.784</c:v>
                </c:pt>
                <c:pt idx="7566">
                  <c:v>50.784-50.791</c:v>
                </c:pt>
                <c:pt idx="7567">
                  <c:v>50.791-50.797</c:v>
                </c:pt>
                <c:pt idx="7568">
                  <c:v>50.797-50.804</c:v>
                </c:pt>
                <c:pt idx="7569">
                  <c:v>50.804-50.811</c:v>
                </c:pt>
                <c:pt idx="7570">
                  <c:v>50.811-50.817</c:v>
                </c:pt>
                <c:pt idx="7571">
                  <c:v>50.817-50.824</c:v>
                </c:pt>
                <c:pt idx="7572">
                  <c:v>50.824-50.831</c:v>
                </c:pt>
                <c:pt idx="7573">
                  <c:v>50.831-50.838</c:v>
                </c:pt>
                <c:pt idx="7574">
                  <c:v>50.838-50.844</c:v>
                </c:pt>
                <c:pt idx="7575">
                  <c:v>50.844-50.851</c:v>
                </c:pt>
                <c:pt idx="7576">
                  <c:v>50.851-50.858</c:v>
                </c:pt>
                <c:pt idx="7577">
                  <c:v>50.858-50.864</c:v>
                </c:pt>
                <c:pt idx="7578">
                  <c:v>50.864-50.871</c:v>
                </c:pt>
                <c:pt idx="7579">
                  <c:v>50.871-50.878</c:v>
                </c:pt>
                <c:pt idx="7580">
                  <c:v>50.878-50.885</c:v>
                </c:pt>
                <c:pt idx="7581">
                  <c:v>50.885-50.891</c:v>
                </c:pt>
                <c:pt idx="7582">
                  <c:v>50.891-50.898</c:v>
                </c:pt>
                <c:pt idx="7583">
                  <c:v>50.898-50.905</c:v>
                </c:pt>
                <c:pt idx="7584">
                  <c:v>50.905-50.911</c:v>
                </c:pt>
                <c:pt idx="7585">
                  <c:v>50.911-50.918</c:v>
                </c:pt>
                <c:pt idx="7586">
                  <c:v>50.918-50.925</c:v>
                </c:pt>
                <c:pt idx="7587">
                  <c:v>50.925-50.932</c:v>
                </c:pt>
                <c:pt idx="7588">
                  <c:v>50.932-50.938</c:v>
                </c:pt>
                <c:pt idx="7589">
                  <c:v>50.938-50.945</c:v>
                </c:pt>
                <c:pt idx="7590">
                  <c:v>50.945-50.952</c:v>
                </c:pt>
                <c:pt idx="7591">
                  <c:v>50.952-50.958</c:v>
                </c:pt>
                <c:pt idx="7592">
                  <c:v>50.958-50.965</c:v>
                </c:pt>
                <c:pt idx="7593">
                  <c:v>50.965-50.972</c:v>
                </c:pt>
                <c:pt idx="7594">
                  <c:v>50.972-50.979</c:v>
                </c:pt>
                <c:pt idx="7595">
                  <c:v>50.979-50.985</c:v>
                </c:pt>
                <c:pt idx="7596">
                  <c:v>50.985-50.992</c:v>
                </c:pt>
                <c:pt idx="7597">
                  <c:v>50.992-50.999</c:v>
                </c:pt>
                <c:pt idx="7598">
                  <c:v>50.999-51.005</c:v>
                </c:pt>
                <c:pt idx="7599">
                  <c:v>51.005-51.012</c:v>
                </c:pt>
                <c:pt idx="7600">
                  <c:v>51.012-51.019</c:v>
                </c:pt>
                <c:pt idx="7601">
                  <c:v>51.019-51.026</c:v>
                </c:pt>
                <c:pt idx="7602">
                  <c:v>51.026-51.032</c:v>
                </c:pt>
                <c:pt idx="7603">
                  <c:v>51.032-51.039</c:v>
                </c:pt>
                <c:pt idx="7604">
                  <c:v>51.039-51.046</c:v>
                </c:pt>
                <c:pt idx="7605">
                  <c:v>51.046-51.052</c:v>
                </c:pt>
                <c:pt idx="7606">
                  <c:v>51.052-51.059</c:v>
                </c:pt>
                <c:pt idx="7607">
                  <c:v>51.059-51.066</c:v>
                </c:pt>
                <c:pt idx="7608">
                  <c:v>51.066-51.072</c:v>
                </c:pt>
                <c:pt idx="7609">
                  <c:v>51.072-51.079</c:v>
                </c:pt>
                <c:pt idx="7610">
                  <c:v>51.079-51.086</c:v>
                </c:pt>
                <c:pt idx="7611">
                  <c:v>51.086-51.093</c:v>
                </c:pt>
                <c:pt idx="7612">
                  <c:v>51.093-51.099</c:v>
                </c:pt>
                <c:pt idx="7613">
                  <c:v>51.099-51.106</c:v>
                </c:pt>
                <c:pt idx="7614">
                  <c:v>51.106-51.113</c:v>
                </c:pt>
                <c:pt idx="7615">
                  <c:v>51.113-51.119</c:v>
                </c:pt>
                <c:pt idx="7616">
                  <c:v>51.119-51.126</c:v>
                </c:pt>
                <c:pt idx="7617">
                  <c:v>51.126-51.133</c:v>
                </c:pt>
                <c:pt idx="7618">
                  <c:v>51.133-51.140</c:v>
                </c:pt>
                <c:pt idx="7619">
                  <c:v>51.140-51.146</c:v>
                </c:pt>
                <c:pt idx="7620">
                  <c:v>51.146-51.153</c:v>
                </c:pt>
                <c:pt idx="7621">
                  <c:v>51.153-51.160</c:v>
                </c:pt>
                <c:pt idx="7622">
                  <c:v>51.160-51.166</c:v>
                </c:pt>
                <c:pt idx="7623">
                  <c:v>51.166-51.173</c:v>
                </c:pt>
                <c:pt idx="7624">
                  <c:v>51.173-51.180</c:v>
                </c:pt>
                <c:pt idx="7625">
                  <c:v>51.180-51.187</c:v>
                </c:pt>
                <c:pt idx="7626">
                  <c:v>51.187-51.193</c:v>
                </c:pt>
                <c:pt idx="7627">
                  <c:v>51.193-51.200</c:v>
                </c:pt>
                <c:pt idx="7628">
                  <c:v>51.200-51.207</c:v>
                </c:pt>
                <c:pt idx="7629">
                  <c:v>51.207-51.213</c:v>
                </c:pt>
                <c:pt idx="7630">
                  <c:v>51.213-51.220</c:v>
                </c:pt>
                <c:pt idx="7631">
                  <c:v>51.220-51.227</c:v>
                </c:pt>
                <c:pt idx="7632">
                  <c:v>51.227-51.234</c:v>
                </c:pt>
                <c:pt idx="7633">
                  <c:v>51.234-51.240</c:v>
                </c:pt>
                <c:pt idx="7634">
                  <c:v>51.240-51.247</c:v>
                </c:pt>
                <c:pt idx="7635">
                  <c:v>51.247-51.254</c:v>
                </c:pt>
                <c:pt idx="7636">
                  <c:v>51.254-51.260</c:v>
                </c:pt>
                <c:pt idx="7637">
                  <c:v>51.260-51.267</c:v>
                </c:pt>
                <c:pt idx="7638">
                  <c:v>51.267-51.274</c:v>
                </c:pt>
                <c:pt idx="7639">
                  <c:v>51.274-51.281</c:v>
                </c:pt>
                <c:pt idx="7640">
                  <c:v>51.281-51.287</c:v>
                </c:pt>
                <c:pt idx="7641">
                  <c:v>51.287-51.294</c:v>
                </c:pt>
                <c:pt idx="7642">
                  <c:v>51.294-51.301</c:v>
                </c:pt>
                <c:pt idx="7643">
                  <c:v>51.301-51.307</c:v>
                </c:pt>
                <c:pt idx="7644">
                  <c:v>51.307-51.314</c:v>
                </c:pt>
                <c:pt idx="7645">
                  <c:v>51.314-51.321</c:v>
                </c:pt>
                <c:pt idx="7646">
                  <c:v>51.321-51.327</c:v>
                </c:pt>
                <c:pt idx="7647">
                  <c:v>51.327-51.334</c:v>
                </c:pt>
                <c:pt idx="7648">
                  <c:v>51.334-51.341</c:v>
                </c:pt>
                <c:pt idx="7649">
                  <c:v>51.341-51.348</c:v>
                </c:pt>
                <c:pt idx="7650">
                  <c:v>51.348-51.354</c:v>
                </c:pt>
                <c:pt idx="7651">
                  <c:v>51.354-51.361</c:v>
                </c:pt>
                <c:pt idx="7652">
                  <c:v>51.361-51.368</c:v>
                </c:pt>
                <c:pt idx="7653">
                  <c:v>51.368-51.374</c:v>
                </c:pt>
                <c:pt idx="7654">
                  <c:v>51.374-51.381</c:v>
                </c:pt>
                <c:pt idx="7655">
                  <c:v>51.381-51.388</c:v>
                </c:pt>
                <c:pt idx="7656">
                  <c:v>51.388-51.395</c:v>
                </c:pt>
                <c:pt idx="7657">
                  <c:v>51.395-51.401</c:v>
                </c:pt>
                <c:pt idx="7658">
                  <c:v>51.401-51.408</c:v>
                </c:pt>
                <c:pt idx="7659">
                  <c:v>51.408-51.415</c:v>
                </c:pt>
                <c:pt idx="7660">
                  <c:v>51.415-51.421</c:v>
                </c:pt>
                <c:pt idx="7661">
                  <c:v>51.421-51.428</c:v>
                </c:pt>
                <c:pt idx="7662">
                  <c:v>51.428-51.435</c:v>
                </c:pt>
                <c:pt idx="7663">
                  <c:v>51.435-51.442</c:v>
                </c:pt>
                <c:pt idx="7664">
                  <c:v>51.442-51.448</c:v>
                </c:pt>
                <c:pt idx="7665">
                  <c:v>51.448-51.455</c:v>
                </c:pt>
                <c:pt idx="7666">
                  <c:v>51.455-51.462</c:v>
                </c:pt>
                <c:pt idx="7667">
                  <c:v>51.462-51.468</c:v>
                </c:pt>
                <c:pt idx="7668">
                  <c:v>51.468-51.475</c:v>
                </c:pt>
                <c:pt idx="7669">
                  <c:v>51.475-51.482</c:v>
                </c:pt>
                <c:pt idx="7670">
                  <c:v>51.482-51.489</c:v>
                </c:pt>
                <c:pt idx="7671">
                  <c:v>51.489-51.495</c:v>
                </c:pt>
                <c:pt idx="7672">
                  <c:v>51.495-51.502</c:v>
                </c:pt>
                <c:pt idx="7673">
                  <c:v>51.502-51.509</c:v>
                </c:pt>
                <c:pt idx="7674">
                  <c:v>51.509-51.515</c:v>
                </c:pt>
                <c:pt idx="7675">
                  <c:v>51.515-51.522</c:v>
                </c:pt>
                <c:pt idx="7676">
                  <c:v>51.522-51.529</c:v>
                </c:pt>
                <c:pt idx="7677">
                  <c:v>51.529-51.536</c:v>
                </c:pt>
                <c:pt idx="7678">
                  <c:v>51.536-51.542</c:v>
                </c:pt>
                <c:pt idx="7679">
                  <c:v>51.542-51.549</c:v>
                </c:pt>
                <c:pt idx="7680">
                  <c:v>51.549-51.556</c:v>
                </c:pt>
                <c:pt idx="7681">
                  <c:v>51.556-51.562</c:v>
                </c:pt>
                <c:pt idx="7682">
                  <c:v>51.562-51.569</c:v>
                </c:pt>
                <c:pt idx="7683">
                  <c:v>51.569-51.576</c:v>
                </c:pt>
                <c:pt idx="7684">
                  <c:v>51.576-51.582</c:v>
                </c:pt>
                <c:pt idx="7685">
                  <c:v>51.582-51.589</c:v>
                </c:pt>
                <c:pt idx="7686">
                  <c:v>51.589-51.596</c:v>
                </c:pt>
                <c:pt idx="7687">
                  <c:v>51.596-51.603</c:v>
                </c:pt>
                <c:pt idx="7688">
                  <c:v>51.603-51.609</c:v>
                </c:pt>
                <c:pt idx="7689">
                  <c:v>51.609-51.616</c:v>
                </c:pt>
                <c:pt idx="7690">
                  <c:v>51.616-51.623</c:v>
                </c:pt>
                <c:pt idx="7691">
                  <c:v>51.623-51.629</c:v>
                </c:pt>
                <c:pt idx="7692">
                  <c:v>51.629-51.636</c:v>
                </c:pt>
                <c:pt idx="7693">
                  <c:v>51.636-51.643</c:v>
                </c:pt>
                <c:pt idx="7694">
                  <c:v>51.643-51.650</c:v>
                </c:pt>
                <c:pt idx="7695">
                  <c:v>51.650-51.656</c:v>
                </c:pt>
                <c:pt idx="7696">
                  <c:v>51.656-51.663</c:v>
                </c:pt>
                <c:pt idx="7697">
                  <c:v>51.663-51.670</c:v>
                </c:pt>
                <c:pt idx="7698">
                  <c:v>51.670-51.676</c:v>
                </c:pt>
                <c:pt idx="7699">
                  <c:v>51.676-51.683</c:v>
                </c:pt>
                <c:pt idx="7700">
                  <c:v>51.683-51.690</c:v>
                </c:pt>
                <c:pt idx="7701">
                  <c:v>51.690-51.697</c:v>
                </c:pt>
                <c:pt idx="7702">
                  <c:v>51.697-51.703</c:v>
                </c:pt>
                <c:pt idx="7703">
                  <c:v>51.703-51.710</c:v>
                </c:pt>
                <c:pt idx="7704">
                  <c:v>51.710-51.717</c:v>
                </c:pt>
                <c:pt idx="7705">
                  <c:v>51.717-51.723</c:v>
                </c:pt>
                <c:pt idx="7706">
                  <c:v>51.723-51.730</c:v>
                </c:pt>
                <c:pt idx="7707">
                  <c:v>51.730-51.737</c:v>
                </c:pt>
                <c:pt idx="7708">
                  <c:v>51.737-51.744</c:v>
                </c:pt>
                <c:pt idx="7709">
                  <c:v>51.744-51.750</c:v>
                </c:pt>
                <c:pt idx="7710">
                  <c:v>51.750-51.757</c:v>
                </c:pt>
                <c:pt idx="7711">
                  <c:v>51.757-51.764</c:v>
                </c:pt>
                <c:pt idx="7712">
                  <c:v>51.764-51.770</c:v>
                </c:pt>
                <c:pt idx="7713">
                  <c:v>51.770-51.777</c:v>
                </c:pt>
                <c:pt idx="7714">
                  <c:v>51.777-51.784</c:v>
                </c:pt>
                <c:pt idx="7715">
                  <c:v>51.784-51.791</c:v>
                </c:pt>
                <c:pt idx="7716">
                  <c:v>51.791-51.797</c:v>
                </c:pt>
                <c:pt idx="7717">
                  <c:v>51.797-51.804</c:v>
                </c:pt>
                <c:pt idx="7718">
                  <c:v>51.804-51.811</c:v>
                </c:pt>
                <c:pt idx="7719">
                  <c:v>51.811-51.817</c:v>
                </c:pt>
                <c:pt idx="7720">
                  <c:v>51.817-51.824</c:v>
                </c:pt>
                <c:pt idx="7721">
                  <c:v>51.824-51.831</c:v>
                </c:pt>
                <c:pt idx="7722">
                  <c:v>51.831-51.838</c:v>
                </c:pt>
                <c:pt idx="7723">
                  <c:v>51.838-51.844</c:v>
                </c:pt>
                <c:pt idx="7724">
                  <c:v>51.844-51.851</c:v>
                </c:pt>
                <c:pt idx="7725">
                  <c:v>51.851-51.858</c:v>
                </c:pt>
                <c:pt idx="7726">
                  <c:v>51.858-51.864</c:v>
                </c:pt>
                <c:pt idx="7727">
                  <c:v>51.864-51.871</c:v>
                </c:pt>
                <c:pt idx="7728">
                  <c:v>51.871-51.878</c:v>
                </c:pt>
                <c:pt idx="7729">
                  <c:v>51.878-51.884</c:v>
                </c:pt>
                <c:pt idx="7730">
                  <c:v>51.884-51.891</c:v>
                </c:pt>
                <c:pt idx="7731">
                  <c:v>51.891-51.898</c:v>
                </c:pt>
                <c:pt idx="7732">
                  <c:v>51.898-51.905</c:v>
                </c:pt>
                <c:pt idx="7733">
                  <c:v>51.905-51.911</c:v>
                </c:pt>
                <c:pt idx="7734">
                  <c:v>51.911-51.918</c:v>
                </c:pt>
                <c:pt idx="7735">
                  <c:v>51.918-51.925</c:v>
                </c:pt>
                <c:pt idx="7736">
                  <c:v>51.925-51.931</c:v>
                </c:pt>
                <c:pt idx="7737">
                  <c:v>51.931-51.938</c:v>
                </c:pt>
                <c:pt idx="7738">
                  <c:v>51.938-51.945</c:v>
                </c:pt>
                <c:pt idx="7739">
                  <c:v>51.945-51.952</c:v>
                </c:pt>
                <c:pt idx="7740">
                  <c:v>51.952-51.958</c:v>
                </c:pt>
                <c:pt idx="7741">
                  <c:v>51.958-51.965</c:v>
                </c:pt>
                <c:pt idx="7742">
                  <c:v>51.965-51.972</c:v>
                </c:pt>
                <c:pt idx="7743">
                  <c:v>51.972-51.978</c:v>
                </c:pt>
                <c:pt idx="7744">
                  <c:v>51.978-51.985</c:v>
                </c:pt>
                <c:pt idx="7745">
                  <c:v>51.985-51.992</c:v>
                </c:pt>
                <c:pt idx="7746">
                  <c:v>51.992-51.999</c:v>
                </c:pt>
                <c:pt idx="7747">
                  <c:v>51.999-52.005</c:v>
                </c:pt>
                <c:pt idx="7748">
                  <c:v>52.005-52.012</c:v>
                </c:pt>
                <c:pt idx="7749">
                  <c:v>52.012-52.019</c:v>
                </c:pt>
                <c:pt idx="7750">
                  <c:v>52.019-52.025</c:v>
                </c:pt>
                <c:pt idx="7751">
                  <c:v>52.025-52.032</c:v>
                </c:pt>
                <c:pt idx="7752">
                  <c:v>52.032-52.039</c:v>
                </c:pt>
                <c:pt idx="7753">
                  <c:v>52.039-52.046</c:v>
                </c:pt>
                <c:pt idx="7754">
                  <c:v>52.046-52.052</c:v>
                </c:pt>
                <c:pt idx="7755">
                  <c:v>52.052-52.059</c:v>
                </c:pt>
                <c:pt idx="7756">
                  <c:v>52.059-52.066</c:v>
                </c:pt>
                <c:pt idx="7757">
                  <c:v>52.066-52.072</c:v>
                </c:pt>
                <c:pt idx="7758">
                  <c:v>52.072-52.079</c:v>
                </c:pt>
                <c:pt idx="7759">
                  <c:v>52.079-52.086</c:v>
                </c:pt>
                <c:pt idx="7760">
                  <c:v>52.086-52.093</c:v>
                </c:pt>
                <c:pt idx="7761">
                  <c:v>52.093-52.099</c:v>
                </c:pt>
                <c:pt idx="7762">
                  <c:v>52.099-52.106</c:v>
                </c:pt>
                <c:pt idx="7763">
                  <c:v>52.106-52.113</c:v>
                </c:pt>
                <c:pt idx="7764">
                  <c:v>52.113-52.119</c:v>
                </c:pt>
                <c:pt idx="7765">
                  <c:v>52.119-52.126</c:v>
                </c:pt>
                <c:pt idx="7766">
                  <c:v>52.126-52.133</c:v>
                </c:pt>
                <c:pt idx="7767">
                  <c:v>52.133-52.139</c:v>
                </c:pt>
                <c:pt idx="7768">
                  <c:v>52.139-52.146</c:v>
                </c:pt>
                <c:pt idx="7769">
                  <c:v>52.146-52.153</c:v>
                </c:pt>
                <c:pt idx="7770">
                  <c:v>52.153-52.160</c:v>
                </c:pt>
                <c:pt idx="7771">
                  <c:v>52.160-52.166</c:v>
                </c:pt>
                <c:pt idx="7772">
                  <c:v>52.166-52.173</c:v>
                </c:pt>
                <c:pt idx="7773">
                  <c:v>52.173-52.180</c:v>
                </c:pt>
                <c:pt idx="7774">
                  <c:v>52.180-52.186</c:v>
                </c:pt>
                <c:pt idx="7775">
                  <c:v>52.186-52.193</c:v>
                </c:pt>
                <c:pt idx="7776">
                  <c:v>52.193-52.200</c:v>
                </c:pt>
                <c:pt idx="7777">
                  <c:v>52.200-52.207</c:v>
                </c:pt>
                <c:pt idx="7778">
                  <c:v>52.207-52.213</c:v>
                </c:pt>
                <c:pt idx="7779">
                  <c:v>52.213-52.220</c:v>
                </c:pt>
                <c:pt idx="7780">
                  <c:v>52.220-52.227</c:v>
                </c:pt>
                <c:pt idx="7781">
                  <c:v>52.227-52.233</c:v>
                </c:pt>
                <c:pt idx="7782">
                  <c:v>52.233-52.240</c:v>
                </c:pt>
                <c:pt idx="7783">
                  <c:v>52.240-52.247</c:v>
                </c:pt>
                <c:pt idx="7784">
                  <c:v>52.247-52.254</c:v>
                </c:pt>
                <c:pt idx="7785">
                  <c:v>52.254-52.260</c:v>
                </c:pt>
                <c:pt idx="7786">
                  <c:v>52.260-52.267</c:v>
                </c:pt>
                <c:pt idx="7787">
                  <c:v>52.267-52.274</c:v>
                </c:pt>
                <c:pt idx="7788">
                  <c:v>52.274-52.280</c:v>
                </c:pt>
                <c:pt idx="7789">
                  <c:v>52.280-52.287</c:v>
                </c:pt>
                <c:pt idx="7790">
                  <c:v>52.287-52.294</c:v>
                </c:pt>
                <c:pt idx="7791">
                  <c:v>52.294-52.301</c:v>
                </c:pt>
                <c:pt idx="7792">
                  <c:v>52.301-52.307</c:v>
                </c:pt>
                <c:pt idx="7793">
                  <c:v>52.307-52.314</c:v>
                </c:pt>
                <c:pt idx="7794">
                  <c:v>52.314-52.321</c:v>
                </c:pt>
                <c:pt idx="7795">
                  <c:v>52.321-52.327</c:v>
                </c:pt>
                <c:pt idx="7796">
                  <c:v>52.327-52.334</c:v>
                </c:pt>
                <c:pt idx="7797">
                  <c:v>52.334-52.341</c:v>
                </c:pt>
                <c:pt idx="7798">
                  <c:v>52.341-52.348</c:v>
                </c:pt>
                <c:pt idx="7799">
                  <c:v>52.348-52.354</c:v>
                </c:pt>
                <c:pt idx="7800">
                  <c:v>52.354-52.361</c:v>
                </c:pt>
                <c:pt idx="7801">
                  <c:v>52.361-52.368</c:v>
                </c:pt>
                <c:pt idx="7802">
                  <c:v>52.368-52.374</c:v>
                </c:pt>
                <c:pt idx="7803">
                  <c:v>52.374-52.381</c:v>
                </c:pt>
                <c:pt idx="7804">
                  <c:v>52.381-52.388</c:v>
                </c:pt>
                <c:pt idx="7805">
                  <c:v>52.388-52.395</c:v>
                </c:pt>
                <c:pt idx="7806">
                  <c:v>52.395-52.401</c:v>
                </c:pt>
                <c:pt idx="7807">
                  <c:v>52.401-52.408</c:v>
                </c:pt>
                <c:pt idx="7808">
                  <c:v>52.408-52.415</c:v>
                </c:pt>
                <c:pt idx="7809">
                  <c:v>52.415-52.421</c:v>
                </c:pt>
                <c:pt idx="7810">
                  <c:v>52.421-52.428</c:v>
                </c:pt>
                <c:pt idx="7811">
                  <c:v>52.428-52.435</c:v>
                </c:pt>
                <c:pt idx="7812">
                  <c:v>52.435-52.441</c:v>
                </c:pt>
                <c:pt idx="7813">
                  <c:v>52.441-52.448</c:v>
                </c:pt>
                <c:pt idx="7814">
                  <c:v>52.448-52.455</c:v>
                </c:pt>
                <c:pt idx="7815">
                  <c:v>52.455-52.462</c:v>
                </c:pt>
                <c:pt idx="7816">
                  <c:v>52.462-52.468</c:v>
                </c:pt>
                <c:pt idx="7817">
                  <c:v>52.468-52.475</c:v>
                </c:pt>
                <c:pt idx="7818">
                  <c:v>52.475-52.482</c:v>
                </c:pt>
                <c:pt idx="7819">
                  <c:v>52.482-52.488</c:v>
                </c:pt>
                <c:pt idx="7820">
                  <c:v>52.488-52.495</c:v>
                </c:pt>
                <c:pt idx="7821">
                  <c:v>52.495-52.502</c:v>
                </c:pt>
                <c:pt idx="7822">
                  <c:v>52.502-52.509</c:v>
                </c:pt>
                <c:pt idx="7823">
                  <c:v>52.509-52.515</c:v>
                </c:pt>
                <c:pt idx="7824">
                  <c:v>52.515-52.522</c:v>
                </c:pt>
                <c:pt idx="7825">
                  <c:v>52.522-52.529</c:v>
                </c:pt>
                <c:pt idx="7826">
                  <c:v>52.529-52.535</c:v>
                </c:pt>
                <c:pt idx="7827">
                  <c:v>52.535-52.542</c:v>
                </c:pt>
                <c:pt idx="7828">
                  <c:v>52.542-52.549</c:v>
                </c:pt>
                <c:pt idx="7829">
                  <c:v>52.549-52.556</c:v>
                </c:pt>
                <c:pt idx="7830">
                  <c:v>52.556-52.562</c:v>
                </c:pt>
                <c:pt idx="7831">
                  <c:v>52.562-52.569</c:v>
                </c:pt>
                <c:pt idx="7832">
                  <c:v>52.569-52.576</c:v>
                </c:pt>
                <c:pt idx="7833">
                  <c:v>52.576-52.582</c:v>
                </c:pt>
                <c:pt idx="7834">
                  <c:v>52.582-52.589</c:v>
                </c:pt>
                <c:pt idx="7835">
                  <c:v>52.589-52.596</c:v>
                </c:pt>
                <c:pt idx="7836">
                  <c:v>52.596-52.603</c:v>
                </c:pt>
                <c:pt idx="7837">
                  <c:v>52.603-52.609</c:v>
                </c:pt>
                <c:pt idx="7838">
                  <c:v>52.609-52.616</c:v>
                </c:pt>
                <c:pt idx="7839">
                  <c:v>52.616-52.623</c:v>
                </c:pt>
                <c:pt idx="7840">
                  <c:v>52.623-52.629</c:v>
                </c:pt>
                <c:pt idx="7841">
                  <c:v>52.629-52.636</c:v>
                </c:pt>
                <c:pt idx="7842">
                  <c:v>52.636-52.643</c:v>
                </c:pt>
                <c:pt idx="7843">
                  <c:v>52.643-52.650</c:v>
                </c:pt>
                <c:pt idx="7844">
                  <c:v>52.650-52.656</c:v>
                </c:pt>
                <c:pt idx="7845">
                  <c:v>52.656-52.663</c:v>
                </c:pt>
                <c:pt idx="7846">
                  <c:v>52.663-52.670</c:v>
                </c:pt>
                <c:pt idx="7847">
                  <c:v>52.670-52.676</c:v>
                </c:pt>
                <c:pt idx="7848">
                  <c:v>52.676-52.683</c:v>
                </c:pt>
                <c:pt idx="7849">
                  <c:v>52.683-52.690</c:v>
                </c:pt>
                <c:pt idx="7850">
                  <c:v>52.690-52.696</c:v>
                </c:pt>
                <c:pt idx="7851">
                  <c:v>52.696-52.703</c:v>
                </c:pt>
                <c:pt idx="7852">
                  <c:v>52.703-52.710</c:v>
                </c:pt>
                <c:pt idx="7853">
                  <c:v>52.710-52.717</c:v>
                </c:pt>
                <c:pt idx="7854">
                  <c:v>52.717-52.723</c:v>
                </c:pt>
                <c:pt idx="7855">
                  <c:v>52.723-52.730</c:v>
                </c:pt>
                <c:pt idx="7856">
                  <c:v>52.730-52.737</c:v>
                </c:pt>
                <c:pt idx="7857">
                  <c:v>52.737-52.743</c:v>
                </c:pt>
                <c:pt idx="7858">
                  <c:v>52.743-52.750</c:v>
                </c:pt>
                <c:pt idx="7859">
                  <c:v>52.750-52.757</c:v>
                </c:pt>
                <c:pt idx="7860">
                  <c:v>52.757-52.764</c:v>
                </c:pt>
                <c:pt idx="7861">
                  <c:v>52.764-52.770</c:v>
                </c:pt>
                <c:pt idx="7862">
                  <c:v>52.770-52.777</c:v>
                </c:pt>
                <c:pt idx="7863">
                  <c:v>52.777-52.784</c:v>
                </c:pt>
                <c:pt idx="7864">
                  <c:v>52.784-52.790</c:v>
                </c:pt>
                <c:pt idx="7865">
                  <c:v>52.790-52.797</c:v>
                </c:pt>
                <c:pt idx="7866">
                  <c:v>52.797-52.804</c:v>
                </c:pt>
                <c:pt idx="7867">
                  <c:v>52.804-52.811</c:v>
                </c:pt>
                <c:pt idx="7868">
                  <c:v>52.811-52.817</c:v>
                </c:pt>
                <c:pt idx="7869">
                  <c:v>52.817-52.824</c:v>
                </c:pt>
                <c:pt idx="7870">
                  <c:v>52.824-52.831</c:v>
                </c:pt>
                <c:pt idx="7871">
                  <c:v>52.831-52.837</c:v>
                </c:pt>
                <c:pt idx="7872">
                  <c:v>52.837-52.844</c:v>
                </c:pt>
                <c:pt idx="7873">
                  <c:v>52.844-52.851</c:v>
                </c:pt>
                <c:pt idx="7874">
                  <c:v>52.851-52.858</c:v>
                </c:pt>
                <c:pt idx="7875">
                  <c:v>52.858-52.864</c:v>
                </c:pt>
                <c:pt idx="7876">
                  <c:v>52.864-52.871</c:v>
                </c:pt>
                <c:pt idx="7877">
                  <c:v>52.871-52.878</c:v>
                </c:pt>
                <c:pt idx="7878">
                  <c:v>52.878-52.884</c:v>
                </c:pt>
                <c:pt idx="7879">
                  <c:v>52.884-52.891</c:v>
                </c:pt>
                <c:pt idx="7880">
                  <c:v>52.891-52.898</c:v>
                </c:pt>
                <c:pt idx="7881">
                  <c:v>52.898-52.905</c:v>
                </c:pt>
                <c:pt idx="7882">
                  <c:v>52.905-52.911</c:v>
                </c:pt>
                <c:pt idx="7883">
                  <c:v>52.911-52.918</c:v>
                </c:pt>
                <c:pt idx="7884">
                  <c:v>52.918-52.925</c:v>
                </c:pt>
                <c:pt idx="7885">
                  <c:v>52.925-52.931</c:v>
                </c:pt>
                <c:pt idx="7886">
                  <c:v>52.931-52.938</c:v>
                </c:pt>
                <c:pt idx="7887">
                  <c:v>52.938-52.945</c:v>
                </c:pt>
                <c:pt idx="7888">
                  <c:v>52.945-52.952</c:v>
                </c:pt>
                <c:pt idx="7889">
                  <c:v>52.952-52.958</c:v>
                </c:pt>
                <c:pt idx="7890">
                  <c:v>52.958-52.965</c:v>
                </c:pt>
                <c:pt idx="7891">
                  <c:v>52.965-52.972</c:v>
                </c:pt>
                <c:pt idx="7892">
                  <c:v>52.972-52.978</c:v>
                </c:pt>
                <c:pt idx="7893">
                  <c:v>52.978-52.985</c:v>
                </c:pt>
                <c:pt idx="7894">
                  <c:v>52.985-52.992</c:v>
                </c:pt>
                <c:pt idx="7895">
                  <c:v>52.992-52.998</c:v>
                </c:pt>
                <c:pt idx="7896">
                  <c:v>52.998-53.005</c:v>
                </c:pt>
                <c:pt idx="7897">
                  <c:v>53.005-53.012</c:v>
                </c:pt>
                <c:pt idx="7898">
                  <c:v>53.012-53.019</c:v>
                </c:pt>
                <c:pt idx="7899">
                  <c:v>53.019-53.025</c:v>
                </c:pt>
                <c:pt idx="7900">
                  <c:v>53.025-53.032</c:v>
                </c:pt>
                <c:pt idx="7901">
                  <c:v>53.032-53.039</c:v>
                </c:pt>
                <c:pt idx="7902">
                  <c:v>53.039-53.045</c:v>
                </c:pt>
                <c:pt idx="7903">
                  <c:v>53.045-53.052</c:v>
                </c:pt>
                <c:pt idx="7904">
                  <c:v>53.052-53.059</c:v>
                </c:pt>
                <c:pt idx="7905">
                  <c:v>53.059-53.066</c:v>
                </c:pt>
                <c:pt idx="7906">
                  <c:v>53.066-53.072</c:v>
                </c:pt>
                <c:pt idx="7907">
                  <c:v>53.072-53.079</c:v>
                </c:pt>
                <c:pt idx="7908">
                  <c:v>53.079-53.086</c:v>
                </c:pt>
                <c:pt idx="7909">
                  <c:v>53.086-53.092</c:v>
                </c:pt>
                <c:pt idx="7910">
                  <c:v>53.092-53.099</c:v>
                </c:pt>
                <c:pt idx="7911">
                  <c:v>53.099-53.106</c:v>
                </c:pt>
                <c:pt idx="7912">
                  <c:v>53.106-53.113</c:v>
                </c:pt>
                <c:pt idx="7913">
                  <c:v>53.113-53.119</c:v>
                </c:pt>
                <c:pt idx="7914">
                  <c:v>53.119-53.126</c:v>
                </c:pt>
                <c:pt idx="7915">
                  <c:v>53.126-53.133</c:v>
                </c:pt>
                <c:pt idx="7916">
                  <c:v>53.133-53.139</c:v>
                </c:pt>
                <c:pt idx="7917">
                  <c:v>53.139-53.146</c:v>
                </c:pt>
                <c:pt idx="7918">
                  <c:v>53.146-53.153</c:v>
                </c:pt>
                <c:pt idx="7919">
                  <c:v>53.153-53.160</c:v>
                </c:pt>
                <c:pt idx="7920">
                  <c:v>53.160-53.166</c:v>
                </c:pt>
                <c:pt idx="7921">
                  <c:v>53.166-53.173</c:v>
                </c:pt>
                <c:pt idx="7922">
                  <c:v>53.173-53.180</c:v>
                </c:pt>
                <c:pt idx="7923">
                  <c:v>53.180-53.186</c:v>
                </c:pt>
                <c:pt idx="7924">
                  <c:v>53.186-53.193</c:v>
                </c:pt>
                <c:pt idx="7925">
                  <c:v>53.193-53.200</c:v>
                </c:pt>
                <c:pt idx="7926">
                  <c:v>53.200-53.207</c:v>
                </c:pt>
                <c:pt idx="7927">
                  <c:v>53.207-53.213</c:v>
                </c:pt>
                <c:pt idx="7928">
                  <c:v>53.213-53.220</c:v>
                </c:pt>
                <c:pt idx="7929">
                  <c:v>53.220-53.227</c:v>
                </c:pt>
                <c:pt idx="7930">
                  <c:v>53.227-53.233</c:v>
                </c:pt>
                <c:pt idx="7931">
                  <c:v>53.233-53.240</c:v>
                </c:pt>
                <c:pt idx="7932">
                  <c:v>53.240-53.247</c:v>
                </c:pt>
                <c:pt idx="7933">
                  <c:v>53.247-53.253</c:v>
                </c:pt>
                <c:pt idx="7934">
                  <c:v>53.253-53.260</c:v>
                </c:pt>
                <c:pt idx="7935">
                  <c:v>53.260-53.267</c:v>
                </c:pt>
                <c:pt idx="7936">
                  <c:v>53.267-53.274</c:v>
                </c:pt>
                <c:pt idx="7937">
                  <c:v>53.274-53.280</c:v>
                </c:pt>
                <c:pt idx="7938">
                  <c:v>53.280-53.287</c:v>
                </c:pt>
                <c:pt idx="7939">
                  <c:v>53.287-53.294</c:v>
                </c:pt>
                <c:pt idx="7940">
                  <c:v>53.294-53.300</c:v>
                </c:pt>
                <c:pt idx="7941">
                  <c:v>53.300-53.307</c:v>
                </c:pt>
                <c:pt idx="7942">
                  <c:v>53.307-53.314</c:v>
                </c:pt>
                <c:pt idx="7943">
                  <c:v>53.314-53.321</c:v>
                </c:pt>
                <c:pt idx="7944">
                  <c:v>53.321-53.327</c:v>
                </c:pt>
                <c:pt idx="7945">
                  <c:v>53.327-53.334</c:v>
                </c:pt>
                <c:pt idx="7946">
                  <c:v>53.334-53.341</c:v>
                </c:pt>
                <c:pt idx="7947">
                  <c:v>53.341-53.347</c:v>
                </c:pt>
                <c:pt idx="7948">
                  <c:v>53.347-53.354</c:v>
                </c:pt>
                <c:pt idx="7949">
                  <c:v>53.354-53.361</c:v>
                </c:pt>
                <c:pt idx="7950">
                  <c:v>53.361-53.368</c:v>
                </c:pt>
                <c:pt idx="7951">
                  <c:v>53.368-53.374</c:v>
                </c:pt>
                <c:pt idx="7952">
                  <c:v>53.374-53.381</c:v>
                </c:pt>
                <c:pt idx="7953">
                  <c:v>53.381-53.388</c:v>
                </c:pt>
                <c:pt idx="7954">
                  <c:v>53.388-53.394</c:v>
                </c:pt>
                <c:pt idx="7955">
                  <c:v>53.394-53.401</c:v>
                </c:pt>
                <c:pt idx="7956">
                  <c:v>53.401-53.408</c:v>
                </c:pt>
                <c:pt idx="7957">
                  <c:v>53.408-53.415</c:v>
                </c:pt>
                <c:pt idx="7958">
                  <c:v>53.415-53.421</c:v>
                </c:pt>
                <c:pt idx="7959">
                  <c:v>53.421-53.428</c:v>
                </c:pt>
                <c:pt idx="7960">
                  <c:v>53.428-53.435</c:v>
                </c:pt>
                <c:pt idx="7961">
                  <c:v>53.435-53.441</c:v>
                </c:pt>
                <c:pt idx="7962">
                  <c:v>53.441-53.448</c:v>
                </c:pt>
                <c:pt idx="7963">
                  <c:v>53.448-53.455</c:v>
                </c:pt>
                <c:pt idx="7964">
                  <c:v>53.455-53.462</c:v>
                </c:pt>
                <c:pt idx="7965">
                  <c:v>53.462-53.468</c:v>
                </c:pt>
                <c:pt idx="7966">
                  <c:v>53.468-53.475</c:v>
                </c:pt>
                <c:pt idx="7967">
                  <c:v>53.475-53.482</c:v>
                </c:pt>
                <c:pt idx="7968">
                  <c:v>53.482-53.488</c:v>
                </c:pt>
                <c:pt idx="7969">
                  <c:v>53.488-53.495</c:v>
                </c:pt>
                <c:pt idx="7970">
                  <c:v>53.495-53.502</c:v>
                </c:pt>
                <c:pt idx="7971">
                  <c:v>53.502-53.508</c:v>
                </c:pt>
                <c:pt idx="7972">
                  <c:v>53.508-53.515</c:v>
                </c:pt>
                <c:pt idx="7973">
                  <c:v>53.515-53.522</c:v>
                </c:pt>
                <c:pt idx="7974">
                  <c:v>53.522-53.529</c:v>
                </c:pt>
                <c:pt idx="7975">
                  <c:v>53.529-53.535</c:v>
                </c:pt>
                <c:pt idx="7976">
                  <c:v>53.535-53.542</c:v>
                </c:pt>
                <c:pt idx="7977">
                  <c:v>53.542-53.549</c:v>
                </c:pt>
                <c:pt idx="7978">
                  <c:v>53.549-53.555</c:v>
                </c:pt>
                <c:pt idx="7979">
                  <c:v>53.555-53.562</c:v>
                </c:pt>
                <c:pt idx="7980">
                  <c:v>53.562-53.569</c:v>
                </c:pt>
                <c:pt idx="7981">
                  <c:v>53.569-53.576</c:v>
                </c:pt>
                <c:pt idx="7982">
                  <c:v>53.576-53.582</c:v>
                </c:pt>
                <c:pt idx="7983">
                  <c:v>53.582-53.589</c:v>
                </c:pt>
                <c:pt idx="7984">
                  <c:v>53.589-53.596</c:v>
                </c:pt>
                <c:pt idx="7985">
                  <c:v>53.596-53.602</c:v>
                </c:pt>
                <c:pt idx="7986">
                  <c:v>53.602-53.609</c:v>
                </c:pt>
                <c:pt idx="7987">
                  <c:v>53.609-53.616</c:v>
                </c:pt>
                <c:pt idx="7988">
                  <c:v>53.616-53.623</c:v>
                </c:pt>
                <c:pt idx="7989">
                  <c:v>53.623-53.629</c:v>
                </c:pt>
                <c:pt idx="7990">
                  <c:v>53.629-53.636</c:v>
                </c:pt>
                <c:pt idx="7991">
                  <c:v>53.636-53.643</c:v>
                </c:pt>
                <c:pt idx="7992">
                  <c:v>53.643-53.649</c:v>
                </c:pt>
                <c:pt idx="7993">
                  <c:v>53.649-53.656</c:v>
                </c:pt>
                <c:pt idx="7994">
                  <c:v>53.656-53.663</c:v>
                </c:pt>
                <c:pt idx="7995">
                  <c:v>53.663-53.670</c:v>
                </c:pt>
                <c:pt idx="7996">
                  <c:v>53.670-53.676</c:v>
                </c:pt>
                <c:pt idx="7997">
                  <c:v>53.676-53.683</c:v>
                </c:pt>
                <c:pt idx="7998">
                  <c:v>53.683-53.690</c:v>
                </c:pt>
                <c:pt idx="7999">
                  <c:v>53.690-53.696</c:v>
                </c:pt>
                <c:pt idx="8000">
                  <c:v>53.696-53.703</c:v>
                </c:pt>
                <c:pt idx="8001">
                  <c:v>53.703-53.710</c:v>
                </c:pt>
                <c:pt idx="8002">
                  <c:v>53.710-53.717</c:v>
                </c:pt>
                <c:pt idx="8003">
                  <c:v>53.717-53.723</c:v>
                </c:pt>
                <c:pt idx="8004">
                  <c:v>53.723-53.730</c:v>
                </c:pt>
                <c:pt idx="8005">
                  <c:v>53.730-53.737</c:v>
                </c:pt>
                <c:pt idx="8006">
                  <c:v>53.737-53.743</c:v>
                </c:pt>
                <c:pt idx="8007">
                  <c:v>53.743-53.750</c:v>
                </c:pt>
                <c:pt idx="8008">
                  <c:v>53.750-53.757</c:v>
                </c:pt>
                <c:pt idx="8009">
                  <c:v>53.757-53.764</c:v>
                </c:pt>
                <c:pt idx="8010">
                  <c:v>53.764-53.770</c:v>
                </c:pt>
                <c:pt idx="8011">
                  <c:v>53.770-53.777</c:v>
                </c:pt>
                <c:pt idx="8012">
                  <c:v>53.777-53.784</c:v>
                </c:pt>
                <c:pt idx="8013">
                  <c:v>53.784-53.790</c:v>
                </c:pt>
                <c:pt idx="8014">
                  <c:v>53.790-53.797</c:v>
                </c:pt>
                <c:pt idx="8015">
                  <c:v>53.797-53.804</c:v>
                </c:pt>
                <c:pt idx="8016">
                  <c:v>53.804-53.810</c:v>
                </c:pt>
                <c:pt idx="8017">
                  <c:v>53.810-53.817</c:v>
                </c:pt>
                <c:pt idx="8018">
                  <c:v>53.817-53.824</c:v>
                </c:pt>
                <c:pt idx="8019">
                  <c:v>53.824-53.831</c:v>
                </c:pt>
                <c:pt idx="8020">
                  <c:v>53.831-53.837</c:v>
                </c:pt>
                <c:pt idx="8021">
                  <c:v>53.837-53.844</c:v>
                </c:pt>
                <c:pt idx="8022">
                  <c:v>53.844-53.851</c:v>
                </c:pt>
                <c:pt idx="8023">
                  <c:v>53.851-53.857</c:v>
                </c:pt>
                <c:pt idx="8024">
                  <c:v>53.857-53.864</c:v>
                </c:pt>
                <c:pt idx="8025">
                  <c:v>53.864-53.871</c:v>
                </c:pt>
                <c:pt idx="8026">
                  <c:v>53.871-53.878</c:v>
                </c:pt>
                <c:pt idx="8027">
                  <c:v>53.878-53.884</c:v>
                </c:pt>
                <c:pt idx="8028">
                  <c:v>53.884-53.891</c:v>
                </c:pt>
                <c:pt idx="8029">
                  <c:v>53.891-53.898</c:v>
                </c:pt>
                <c:pt idx="8030">
                  <c:v>53.898-53.904</c:v>
                </c:pt>
                <c:pt idx="8031">
                  <c:v>53.904-53.911</c:v>
                </c:pt>
                <c:pt idx="8032">
                  <c:v>53.911-53.918</c:v>
                </c:pt>
                <c:pt idx="8033">
                  <c:v>53.918-53.925</c:v>
                </c:pt>
                <c:pt idx="8034">
                  <c:v>53.925-53.931</c:v>
                </c:pt>
                <c:pt idx="8035">
                  <c:v>53.931-53.938</c:v>
                </c:pt>
                <c:pt idx="8036">
                  <c:v>53.938-53.945</c:v>
                </c:pt>
                <c:pt idx="8037">
                  <c:v>53.945-53.951</c:v>
                </c:pt>
                <c:pt idx="8038">
                  <c:v>53.951-53.958</c:v>
                </c:pt>
                <c:pt idx="8039">
                  <c:v>53.958-53.965</c:v>
                </c:pt>
                <c:pt idx="8040">
                  <c:v>53.965-53.972</c:v>
                </c:pt>
                <c:pt idx="8041">
                  <c:v>53.972-53.978</c:v>
                </c:pt>
                <c:pt idx="8042">
                  <c:v>53.978-53.985</c:v>
                </c:pt>
                <c:pt idx="8043">
                  <c:v>53.985-53.992</c:v>
                </c:pt>
                <c:pt idx="8044">
                  <c:v>53.992-53.998</c:v>
                </c:pt>
                <c:pt idx="8045">
                  <c:v>53.998-54.005</c:v>
                </c:pt>
                <c:pt idx="8046">
                  <c:v>54.005-54.012</c:v>
                </c:pt>
                <c:pt idx="8047">
                  <c:v>54.012-54.019</c:v>
                </c:pt>
                <c:pt idx="8048">
                  <c:v>54.019-54.025</c:v>
                </c:pt>
                <c:pt idx="8049">
                  <c:v>54.025-54.032</c:v>
                </c:pt>
                <c:pt idx="8050">
                  <c:v>54.032-54.039</c:v>
                </c:pt>
                <c:pt idx="8051">
                  <c:v>54.039-54.045</c:v>
                </c:pt>
                <c:pt idx="8052">
                  <c:v>54.045-54.052</c:v>
                </c:pt>
                <c:pt idx="8053">
                  <c:v>54.052-54.059</c:v>
                </c:pt>
                <c:pt idx="8054">
                  <c:v>54.059-54.065</c:v>
                </c:pt>
                <c:pt idx="8055">
                  <c:v>54.065-54.072</c:v>
                </c:pt>
                <c:pt idx="8056">
                  <c:v>54.072-54.079</c:v>
                </c:pt>
                <c:pt idx="8057">
                  <c:v>54.079-54.086</c:v>
                </c:pt>
                <c:pt idx="8058">
                  <c:v>54.086-54.092</c:v>
                </c:pt>
                <c:pt idx="8059">
                  <c:v>54.092-54.099</c:v>
                </c:pt>
                <c:pt idx="8060">
                  <c:v>54.099-54.106</c:v>
                </c:pt>
                <c:pt idx="8061">
                  <c:v>54.106-54.112</c:v>
                </c:pt>
                <c:pt idx="8062">
                  <c:v>54.112-54.119</c:v>
                </c:pt>
                <c:pt idx="8063">
                  <c:v>54.119-54.126</c:v>
                </c:pt>
                <c:pt idx="8064">
                  <c:v>54.126-54.133</c:v>
                </c:pt>
                <c:pt idx="8065">
                  <c:v>54.133-54.139</c:v>
                </c:pt>
                <c:pt idx="8066">
                  <c:v>54.139-54.146</c:v>
                </c:pt>
                <c:pt idx="8067">
                  <c:v>54.146-54.153</c:v>
                </c:pt>
                <c:pt idx="8068">
                  <c:v>54.153-54.159</c:v>
                </c:pt>
                <c:pt idx="8069">
                  <c:v>54.159-54.166</c:v>
                </c:pt>
                <c:pt idx="8070">
                  <c:v>54.166-54.173</c:v>
                </c:pt>
                <c:pt idx="8071">
                  <c:v>54.173-54.180</c:v>
                </c:pt>
                <c:pt idx="8072">
                  <c:v>54.180-54.186</c:v>
                </c:pt>
                <c:pt idx="8073">
                  <c:v>54.186-54.193</c:v>
                </c:pt>
                <c:pt idx="8074">
                  <c:v>54.193-54.200</c:v>
                </c:pt>
                <c:pt idx="8075">
                  <c:v>54.200-54.206</c:v>
                </c:pt>
                <c:pt idx="8076">
                  <c:v>54.206-54.213</c:v>
                </c:pt>
                <c:pt idx="8077">
                  <c:v>54.213-54.220</c:v>
                </c:pt>
                <c:pt idx="8078">
                  <c:v>54.220-54.227</c:v>
                </c:pt>
                <c:pt idx="8079">
                  <c:v>54.227-54.233</c:v>
                </c:pt>
                <c:pt idx="8080">
                  <c:v>54.233-54.240</c:v>
                </c:pt>
                <c:pt idx="8081">
                  <c:v>54.240-54.247</c:v>
                </c:pt>
                <c:pt idx="8082">
                  <c:v>54.247-54.253</c:v>
                </c:pt>
                <c:pt idx="8083">
                  <c:v>54.253-54.260</c:v>
                </c:pt>
                <c:pt idx="8084">
                  <c:v>54.260-54.267</c:v>
                </c:pt>
                <c:pt idx="8085">
                  <c:v>54.267-54.274</c:v>
                </c:pt>
                <c:pt idx="8086">
                  <c:v>54.274-54.280</c:v>
                </c:pt>
                <c:pt idx="8087">
                  <c:v>54.280-54.287</c:v>
                </c:pt>
                <c:pt idx="8088">
                  <c:v>54.287-54.294</c:v>
                </c:pt>
                <c:pt idx="8089">
                  <c:v>54.294-54.300</c:v>
                </c:pt>
                <c:pt idx="8090">
                  <c:v>54.300-54.307</c:v>
                </c:pt>
                <c:pt idx="8091">
                  <c:v>54.307-54.314</c:v>
                </c:pt>
                <c:pt idx="8092">
                  <c:v>54.314-54.321</c:v>
                </c:pt>
                <c:pt idx="8093">
                  <c:v>54.321-54.327</c:v>
                </c:pt>
                <c:pt idx="8094">
                  <c:v>54.327-54.334</c:v>
                </c:pt>
                <c:pt idx="8095">
                  <c:v>54.334-54.341</c:v>
                </c:pt>
                <c:pt idx="8096">
                  <c:v>54.341-54.347</c:v>
                </c:pt>
                <c:pt idx="8097">
                  <c:v>54.347-54.354</c:v>
                </c:pt>
                <c:pt idx="8098">
                  <c:v>54.354-54.361</c:v>
                </c:pt>
                <c:pt idx="8099">
                  <c:v>54.361-54.367</c:v>
                </c:pt>
                <c:pt idx="8100">
                  <c:v>54.367-54.374</c:v>
                </c:pt>
                <c:pt idx="8101">
                  <c:v>54.374-54.381</c:v>
                </c:pt>
                <c:pt idx="8102">
                  <c:v>54.381-54.388</c:v>
                </c:pt>
                <c:pt idx="8103">
                  <c:v>54.388-54.394</c:v>
                </c:pt>
                <c:pt idx="8104">
                  <c:v>54.394-54.401</c:v>
                </c:pt>
                <c:pt idx="8105">
                  <c:v>54.401-54.408</c:v>
                </c:pt>
                <c:pt idx="8106">
                  <c:v>54.408-54.414</c:v>
                </c:pt>
                <c:pt idx="8107">
                  <c:v>54.414-54.421</c:v>
                </c:pt>
                <c:pt idx="8108">
                  <c:v>54.421-54.428</c:v>
                </c:pt>
                <c:pt idx="8109">
                  <c:v>54.428-54.435</c:v>
                </c:pt>
                <c:pt idx="8110">
                  <c:v>54.435-54.441</c:v>
                </c:pt>
                <c:pt idx="8111">
                  <c:v>54.441-54.448</c:v>
                </c:pt>
                <c:pt idx="8112">
                  <c:v>54.448-54.455</c:v>
                </c:pt>
                <c:pt idx="8113">
                  <c:v>54.455-54.461</c:v>
                </c:pt>
                <c:pt idx="8114">
                  <c:v>54.461-54.468</c:v>
                </c:pt>
                <c:pt idx="8115">
                  <c:v>54.468-54.475</c:v>
                </c:pt>
                <c:pt idx="8116">
                  <c:v>54.475-54.482</c:v>
                </c:pt>
                <c:pt idx="8117">
                  <c:v>54.482-54.488</c:v>
                </c:pt>
                <c:pt idx="8118">
                  <c:v>54.488-54.495</c:v>
                </c:pt>
                <c:pt idx="8119">
                  <c:v>54.495-54.502</c:v>
                </c:pt>
                <c:pt idx="8120">
                  <c:v>54.502-54.508</c:v>
                </c:pt>
                <c:pt idx="8121">
                  <c:v>54.508-54.515</c:v>
                </c:pt>
                <c:pt idx="8122">
                  <c:v>54.515-54.522</c:v>
                </c:pt>
                <c:pt idx="8123">
                  <c:v>54.522-54.529</c:v>
                </c:pt>
                <c:pt idx="8124">
                  <c:v>54.529-54.535</c:v>
                </c:pt>
                <c:pt idx="8125">
                  <c:v>54.535-54.542</c:v>
                </c:pt>
                <c:pt idx="8126">
                  <c:v>54.542-54.549</c:v>
                </c:pt>
                <c:pt idx="8127">
                  <c:v>54.549-54.555</c:v>
                </c:pt>
                <c:pt idx="8128">
                  <c:v>54.555-54.562</c:v>
                </c:pt>
                <c:pt idx="8129">
                  <c:v>54.562-54.569</c:v>
                </c:pt>
                <c:pt idx="8130">
                  <c:v>54.569-54.576</c:v>
                </c:pt>
                <c:pt idx="8131">
                  <c:v>54.576-54.582</c:v>
                </c:pt>
                <c:pt idx="8132">
                  <c:v>54.582-54.589</c:v>
                </c:pt>
                <c:pt idx="8133">
                  <c:v>54.589-54.596</c:v>
                </c:pt>
                <c:pt idx="8134">
                  <c:v>54.596-54.602</c:v>
                </c:pt>
                <c:pt idx="8135">
                  <c:v>54.602-54.609</c:v>
                </c:pt>
                <c:pt idx="8136">
                  <c:v>54.609-54.616</c:v>
                </c:pt>
                <c:pt idx="8137">
                  <c:v>54.616-54.622</c:v>
                </c:pt>
                <c:pt idx="8138">
                  <c:v>54.622-54.629</c:v>
                </c:pt>
                <c:pt idx="8139">
                  <c:v>54.629-54.636</c:v>
                </c:pt>
                <c:pt idx="8140">
                  <c:v>54.636-54.643</c:v>
                </c:pt>
                <c:pt idx="8141">
                  <c:v>54.643-54.649</c:v>
                </c:pt>
                <c:pt idx="8142">
                  <c:v>54.649-54.656</c:v>
                </c:pt>
                <c:pt idx="8143">
                  <c:v>54.656-54.663</c:v>
                </c:pt>
                <c:pt idx="8144">
                  <c:v>54.663-54.669</c:v>
                </c:pt>
                <c:pt idx="8145">
                  <c:v>54.669-54.676</c:v>
                </c:pt>
                <c:pt idx="8146">
                  <c:v>54.676-54.683</c:v>
                </c:pt>
                <c:pt idx="8147">
                  <c:v>54.683-54.690</c:v>
                </c:pt>
                <c:pt idx="8148">
                  <c:v>54.690-54.696</c:v>
                </c:pt>
                <c:pt idx="8149">
                  <c:v>54.696-54.703</c:v>
                </c:pt>
                <c:pt idx="8150">
                  <c:v>54.703-54.710</c:v>
                </c:pt>
                <c:pt idx="8151">
                  <c:v>54.710-54.716</c:v>
                </c:pt>
                <c:pt idx="8152">
                  <c:v>54.716-54.723</c:v>
                </c:pt>
                <c:pt idx="8153">
                  <c:v>54.723-54.730</c:v>
                </c:pt>
                <c:pt idx="8154">
                  <c:v>54.730-54.737</c:v>
                </c:pt>
                <c:pt idx="8155">
                  <c:v>54.737-54.743</c:v>
                </c:pt>
                <c:pt idx="8156">
                  <c:v>54.743-54.750</c:v>
                </c:pt>
                <c:pt idx="8157">
                  <c:v>54.750-54.757</c:v>
                </c:pt>
                <c:pt idx="8158">
                  <c:v>54.757-54.763</c:v>
                </c:pt>
                <c:pt idx="8159">
                  <c:v>54.763-54.770</c:v>
                </c:pt>
                <c:pt idx="8160">
                  <c:v>54.770-54.777</c:v>
                </c:pt>
                <c:pt idx="8161">
                  <c:v>54.777-54.784</c:v>
                </c:pt>
                <c:pt idx="8162">
                  <c:v>54.784-54.790</c:v>
                </c:pt>
                <c:pt idx="8163">
                  <c:v>54.790-54.797</c:v>
                </c:pt>
                <c:pt idx="8164">
                  <c:v>54.797-54.804</c:v>
                </c:pt>
                <c:pt idx="8165">
                  <c:v>54.804-54.810</c:v>
                </c:pt>
                <c:pt idx="8166">
                  <c:v>54.810-54.817</c:v>
                </c:pt>
                <c:pt idx="8167">
                  <c:v>54.817-54.824</c:v>
                </c:pt>
                <c:pt idx="8168">
                  <c:v>54.824-54.831</c:v>
                </c:pt>
                <c:pt idx="8169">
                  <c:v>54.831-54.837</c:v>
                </c:pt>
                <c:pt idx="8170">
                  <c:v>54.837-54.844</c:v>
                </c:pt>
                <c:pt idx="8171">
                  <c:v>54.844-54.851</c:v>
                </c:pt>
                <c:pt idx="8172">
                  <c:v>54.851-54.857</c:v>
                </c:pt>
                <c:pt idx="8173">
                  <c:v>54.857-54.864</c:v>
                </c:pt>
                <c:pt idx="8174">
                  <c:v>54.864-54.871</c:v>
                </c:pt>
                <c:pt idx="8175">
                  <c:v>54.871-54.878</c:v>
                </c:pt>
                <c:pt idx="8176">
                  <c:v>54.878-54.884</c:v>
                </c:pt>
                <c:pt idx="8177">
                  <c:v>54.884-54.891</c:v>
                </c:pt>
                <c:pt idx="8178">
                  <c:v>54.891-54.898</c:v>
                </c:pt>
                <c:pt idx="8179">
                  <c:v>54.898-54.904</c:v>
                </c:pt>
                <c:pt idx="8180">
                  <c:v>54.904-54.911</c:v>
                </c:pt>
                <c:pt idx="8181">
                  <c:v>54.911-54.918</c:v>
                </c:pt>
                <c:pt idx="8182">
                  <c:v>54.918-54.924</c:v>
                </c:pt>
                <c:pt idx="8183">
                  <c:v>54.924-54.931</c:v>
                </c:pt>
                <c:pt idx="8184">
                  <c:v>54.931-54.938</c:v>
                </c:pt>
                <c:pt idx="8185">
                  <c:v>54.938-54.945</c:v>
                </c:pt>
                <c:pt idx="8186">
                  <c:v>54.945-54.951</c:v>
                </c:pt>
                <c:pt idx="8187">
                  <c:v>54.951-54.958</c:v>
                </c:pt>
                <c:pt idx="8188">
                  <c:v>54.958-54.965</c:v>
                </c:pt>
                <c:pt idx="8189">
                  <c:v>54.965-54.971</c:v>
                </c:pt>
                <c:pt idx="8190">
                  <c:v>54.971-54.978</c:v>
                </c:pt>
                <c:pt idx="8191">
                  <c:v>54.978-54.985</c:v>
                </c:pt>
                <c:pt idx="8192">
                  <c:v>54.985-54.992</c:v>
                </c:pt>
                <c:pt idx="8193">
                  <c:v>54.992-54.998</c:v>
                </c:pt>
                <c:pt idx="8194">
                  <c:v>54.998-55.005</c:v>
                </c:pt>
                <c:pt idx="8195">
                  <c:v>55.005-55.012</c:v>
                </c:pt>
                <c:pt idx="8196">
                  <c:v>55.012-55.018</c:v>
                </c:pt>
                <c:pt idx="8197">
                  <c:v>55.018-55.025</c:v>
                </c:pt>
                <c:pt idx="8198">
                  <c:v>55.025-55.032</c:v>
                </c:pt>
                <c:pt idx="8199">
                  <c:v>55.032-55.039</c:v>
                </c:pt>
                <c:pt idx="8200">
                  <c:v>55.039-55.045</c:v>
                </c:pt>
                <c:pt idx="8201">
                  <c:v>55.045-55.052</c:v>
                </c:pt>
                <c:pt idx="8202">
                  <c:v>55.052-55.059</c:v>
                </c:pt>
                <c:pt idx="8203">
                  <c:v>55.059-55.065</c:v>
                </c:pt>
                <c:pt idx="8204">
                  <c:v>55.065-55.072</c:v>
                </c:pt>
                <c:pt idx="8205">
                  <c:v>55.072-55.079</c:v>
                </c:pt>
                <c:pt idx="8206">
                  <c:v>55.079-55.086</c:v>
                </c:pt>
                <c:pt idx="8207">
                  <c:v>55.086-55.092</c:v>
                </c:pt>
                <c:pt idx="8208">
                  <c:v>55.092-55.099</c:v>
                </c:pt>
                <c:pt idx="8209">
                  <c:v>55.099-55.106</c:v>
                </c:pt>
                <c:pt idx="8210">
                  <c:v>55.106-55.112</c:v>
                </c:pt>
                <c:pt idx="8211">
                  <c:v>55.112-55.119</c:v>
                </c:pt>
                <c:pt idx="8212">
                  <c:v>55.119-55.126</c:v>
                </c:pt>
                <c:pt idx="8213">
                  <c:v>55.126-55.133</c:v>
                </c:pt>
                <c:pt idx="8214">
                  <c:v>55.133-55.139</c:v>
                </c:pt>
                <c:pt idx="8215">
                  <c:v>55.139-55.146</c:v>
                </c:pt>
                <c:pt idx="8216">
                  <c:v>55.146-55.153</c:v>
                </c:pt>
                <c:pt idx="8217">
                  <c:v>55.153-55.159</c:v>
                </c:pt>
                <c:pt idx="8218">
                  <c:v>55.159-55.166</c:v>
                </c:pt>
                <c:pt idx="8219">
                  <c:v>55.166-55.173</c:v>
                </c:pt>
                <c:pt idx="8220">
                  <c:v>55.173-55.179</c:v>
                </c:pt>
                <c:pt idx="8221">
                  <c:v>55.179-55.186</c:v>
                </c:pt>
                <c:pt idx="8222">
                  <c:v>55.186-55.193</c:v>
                </c:pt>
                <c:pt idx="8223">
                  <c:v>55.193-55.200</c:v>
                </c:pt>
                <c:pt idx="8224">
                  <c:v>55.200-55.206</c:v>
                </c:pt>
                <c:pt idx="8225">
                  <c:v>55.206-55.213</c:v>
                </c:pt>
                <c:pt idx="8226">
                  <c:v>55.213-55.220</c:v>
                </c:pt>
                <c:pt idx="8227">
                  <c:v>55.220-55.226</c:v>
                </c:pt>
                <c:pt idx="8228">
                  <c:v>55.226-55.233</c:v>
                </c:pt>
                <c:pt idx="8229">
                  <c:v>55.233-55.240</c:v>
                </c:pt>
                <c:pt idx="8230">
                  <c:v>55.240-55.247</c:v>
                </c:pt>
                <c:pt idx="8231">
                  <c:v>55.247-55.253</c:v>
                </c:pt>
                <c:pt idx="8232">
                  <c:v>55.253-55.260</c:v>
                </c:pt>
                <c:pt idx="8233">
                  <c:v>55.260-55.267</c:v>
                </c:pt>
                <c:pt idx="8234">
                  <c:v>55.267-55.273</c:v>
                </c:pt>
                <c:pt idx="8235">
                  <c:v>55.273-55.280</c:v>
                </c:pt>
                <c:pt idx="8236">
                  <c:v>55.280-55.287</c:v>
                </c:pt>
                <c:pt idx="8237">
                  <c:v>55.287-55.294</c:v>
                </c:pt>
                <c:pt idx="8238">
                  <c:v>55.294-55.300</c:v>
                </c:pt>
                <c:pt idx="8239">
                  <c:v>55.300-55.307</c:v>
                </c:pt>
                <c:pt idx="8240">
                  <c:v>55.307-55.314</c:v>
                </c:pt>
                <c:pt idx="8241">
                  <c:v>55.314-55.320</c:v>
                </c:pt>
                <c:pt idx="8242">
                  <c:v>55.320-55.327</c:v>
                </c:pt>
                <c:pt idx="8243">
                  <c:v>55.327-55.334</c:v>
                </c:pt>
                <c:pt idx="8244">
                  <c:v>55.334-55.341</c:v>
                </c:pt>
                <c:pt idx="8245">
                  <c:v>55.341-55.347</c:v>
                </c:pt>
                <c:pt idx="8246">
                  <c:v>55.347-55.354</c:v>
                </c:pt>
                <c:pt idx="8247">
                  <c:v>55.354-55.361</c:v>
                </c:pt>
                <c:pt idx="8248">
                  <c:v>55.361-55.367</c:v>
                </c:pt>
                <c:pt idx="8249">
                  <c:v>55.367-55.374</c:v>
                </c:pt>
                <c:pt idx="8250">
                  <c:v>55.374-55.381</c:v>
                </c:pt>
                <c:pt idx="8251">
                  <c:v>55.381-55.388</c:v>
                </c:pt>
                <c:pt idx="8252">
                  <c:v>55.388-55.394</c:v>
                </c:pt>
                <c:pt idx="8253">
                  <c:v>55.394-55.401</c:v>
                </c:pt>
                <c:pt idx="8254">
                  <c:v>55.401-55.408</c:v>
                </c:pt>
                <c:pt idx="8255">
                  <c:v>55.408-55.414</c:v>
                </c:pt>
                <c:pt idx="8256">
                  <c:v>55.414-55.421</c:v>
                </c:pt>
                <c:pt idx="8257">
                  <c:v>55.421-55.428</c:v>
                </c:pt>
                <c:pt idx="8258">
                  <c:v>55.428-55.434</c:v>
                </c:pt>
                <c:pt idx="8259">
                  <c:v>55.434-55.441</c:v>
                </c:pt>
                <c:pt idx="8260">
                  <c:v>55.441-55.448</c:v>
                </c:pt>
                <c:pt idx="8261">
                  <c:v>55.448-55.455</c:v>
                </c:pt>
                <c:pt idx="8262">
                  <c:v>55.455-55.461</c:v>
                </c:pt>
                <c:pt idx="8263">
                  <c:v>55.461-55.468</c:v>
                </c:pt>
                <c:pt idx="8264">
                  <c:v>55.468-55.475</c:v>
                </c:pt>
                <c:pt idx="8265">
                  <c:v>55.475-55.481</c:v>
                </c:pt>
                <c:pt idx="8266">
                  <c:v>55.481-55.488</c:v>
                </c:pt>
                <c:pt idx="8267">
                  <c:v>55.488-55.495</c:v>
                </c:pt>
                <c:pt idx="8268">
                  <c:v>55.495-55.502</c:v>
                </c:pt>
                <c:pt idx="8269">
                  <c:v>55.502-55.508</c:v>
                </c:pt>
                <c:pt idx="8270">
                  <c:v>55.508-55.515</c:v>
                </c:pt>
                <c:pt idx="8271">
                  <c:v>55.515-55.522</c:v>
                </c:pt>
                <c:pt idx="8272">
                  <c:v>55.522-55.528</c:v>
                </c:pt>
                <c:pt idx="8273">
                  <c:v>55.528-55.535</c:v>
                </c:pt>
                <c:pt idx="8274">
                  <c:v>55.535-55.542</c:v>
                </c:pt>
                <c:pt idx="8275">
                  <c:v>55.542-55.549</c:v>
                </c:pt>
                <c:pt idx="8276">
                  <c:v>55.549-55.555</c:v>
                </c:pt>
                <c:pt idx="8277">
                  <c:v>55.555-55.562</c:v>
                </c:pt>
                <c:pt idx="8278">
                  <c:v>55.562-55.569</c:v>
                </c:pt>
                <c:pt idx="8279">
                  <c:v>55.569-55.575</c:v>
                </c:pt>
                <c:pt idx="8280">
                  <c:v>55.575-55.582</c:v>
                </c:pt>
                <c:pt idx="8281">
                  <c:v>55.582-55.589</c:v>
                </c:pt>
                <c:pt idx="8282">
                  <c:v>55.589-55.596</c:v>
                </c:pt>
                <c:pt idx="8283">
                  <c:v>55.596-55.602</c:v>
                </c:pt>
                <c:pt idx="8284">
                  <c:v>55.602-55.609</c:v>
                </c:pt>
                <c:pt idx="8285">
                  <c:v>55.609-55.616</c:v>
                </c:pt>
                <c:pt idx="8286">
                  <c:v>55.616-55.622</c:v>
                </c:pt>
                <c:pt idx="8287">
                  <c:v>55.622-55.629</c:v>
                </c:pt>
                <c:pt idx="8288">
                  <c:v>55.629-55.636</c:v>
                </c:pt>
                <c:pt idx="8289">
                  <c:v>55.636-55.643</c:v>
                </c:pt>
                <c:pt idx="8290">
                  <c:v>55.643-55.649</c:v>
                </c:pt>
                <c:pt idx="8291">
                  <c:v>55.649-55.656</c:v>
                </c:pt>
                <c:pt idx="8292">
                  <c:v>55.656-55.663</c:v>
                </c:pt>
                <c:pt idx="8293">
                  <c:v>55.663-55.669</c:v>
                </c:pt>
                <c:pt idx="8294">
                  <c:v>55.669-55.676</c:v>
                </c:pt>
                <c:pt idx="8295">
                  <c:v>55.676-55.683</c:v>
                </c:pt>
                <c:pt idx="8296">
                  <c:v>55.683-55.690</c:v>
                </c:pt>
                <c:pt idx="8297">
                  <c:v>55.690-55.696</c:v>
                </c:pt>
                <c:pt idx="8298">
                  <c:v>55.696-55.703</c:v>
                </c:pt>
                <c:pt idx="8299">
                  <c:v>55.703-55.710</c:v>
                </c:pt>
                <c:pt idx="8300">
                  <c:v>55.710-55.716</c:v>
                </c:pt>
                <c:pt idx="8301">
                  <c:v>55.716-55.723</c:v>
                </c:pt>
                <c:pt idx="8302">
                  <c:v>55.723-55.730</c:v>
                </c:pt>
                <c:pt idx="8303">
                  <c:v>55.730-55.736</c:v>
                </c:pt>
                <c:pt idx="8304">
                  <c:v>55.736-55.743</c:v>
                </c:pt>
                <c:pt idx="8305">
                  <c:v>55.743-55.750</c:v>
                </c:pt>
                <c:pt idx="8306">
                  <c:v>55.750-55.757</c:v>
                </c:pt>
                <c:pt idx="8307">
                  <c:v>55.757-55.763</c:v>
                </c:pt>
                <c:pt idx="8308">
                  <c:v>55.763-55.770</c:v>
                </c:pt>
                <c:pt idx="8309">
                  <c:v>55.770-55.777</c:v>
                </c:pt>
                <c:pt idx="8310">
                  <c:v>55.777-55.783</c:v>
                </c:pt>
                <c:pt idx="8311">
                  <c:v>55.783-55.790</c:v>
                </c:pt>
                <c:pt idx="8312">
                  <c:v>55.790-55.797</c:v>
                </c:pt>
                <c:pt idx="8313">
                  <c:v>55.797-55.804</c:v>
                </c:pt>
                <c:pt idx="8314">
                  <c:v>55.804-55.810</c:v>
                </c:pt>
                <c:pt idx="8315">
                  <c:v>55.810-55.817</c:v>
                </c:pt>
                <c:pt idx="8316">
                  <c:v>55.817-55.824</c:v>
                </c:pt>
                <c:pt idx="8317">
                  <c:v>55.824-55.830</c:v>
                </c:pt>
                <c:pt idx="8318">
                  <c:v>55.830-55.837</c:v>
                </c:pt>
                <c:pt idx="8319">
                  <c:v>55.837-55.844</c:v>
                </c:pt>
                <c:pt idx="8320">
                  <c:v>55.844-55.851</c:v>
                </c:pt>
                <c:pt idx="8321">
                  <c:v>55.851-55.857</c:v>
                </c:pt>
                <c:pt idx="8322">
                  <c:v>55.857-55.864</c:v>
                </c:pt>
                <c:pt idx="8323">
                  <c:v>55.864-55.871</c:v>
                </c:pt>
                <c:pt idx="8324">
                  <c:v>55.871-55.877</c:v>
                </c:pt>
                <c:pt idx="8325">
                  <c:v>55.877-55.884</c:v>
                </c:pt>
                <c:pt idx="8326">
                  <c:v>55.884-55.891</c:v>
                </c:pt>
                <c:pt idx="8327">
                  <c:v>55.891-55.898</c:v>
                </c:pt>
                <c:pt idx="8328">
                  <c:v>55.898-55.904</c:v>
                </c:pt>
                <c:pt idx="8329">
                  <c:v>55.904-55.911</c:v>
                </c:pt>
                <c:pt idx="8330">
                  <c:v>55.911-55.918</c:v>
                </c:pt>
                <c:pt idx="8331">
                  <c:v>55.918-55.924</c:v>
                </c:pt>
                <c:pt idx="8332">
                  <c:v>55.924-55.931</c:v>
                </c:pt>
                <c:pt idx="8333">
                  <c:v>55.931-55.938</c:v>
                </c:pt>
                <c:pt idx="8334">
                  <c:v>55.938-55.945</c:v>
                </c:pt>
                <c:pt idx="8335">
                  <c:v>55.945-55.951</c:v>
                </c:pt>
                <c:pt idx="8336">
                  <c:v>55.951-55.958</c:v>
                </c:pt>
                <c:pt idx="8337">
                  <c:v>55.958-55.965</c:v>
                </c:pt>
                <c:pt idx="8338">
                  <c:v>55.965-55.971</c:v>
                </c:pt>
                <c:pt idx="8339">
                  <c:v>55.971-55.978</c:v>
                </c:pt>
                <c:pt idx="8340">
                  <c:v>55.978-55.985</c:v>
                </c:pt>
                <c:pt idx="8341">
                  <c:v>55.985-55.991</c:v>
                </c:pt>
                <c:pt idx="8342">
                  <c:v>55.991-55.998</c:v>
                </c:pt>
                <c:pt idx="8343">
                  <c:v>55.998-56.005</c:v>
                </c:pt>
                <c:pt idx="8344">
                  <c:v>56.005-56.012</c:v>
                </c:pt>
                <c:pt idx="8345">
                  <c:v>56.012-56.018</c:v>
                </c:pt>
                <c:pt idx="8346">
                  <c:v>56.018-56.025</c:v>
                </c:pt>
                <c:pt idx="8347">
                  <c:v>56.025-56.032</c:v>
                </c:pt>
                <c:pt idx="8348">
                  <c:v>56.032-56.038</c:v>
                </c:pt>
                <c:pt idx="8349">
                  <c:v>56.038-56.045</c:v>
                </c:pt>
                <c:pt idx="8350">
                  <c:v>56.045-56.052</c:v>
                </c:pt>
                <c:pt idx="8351">
                  <c:v>56.052-56.059</c:v>
                </c:pt>
                <c:pt idx="8352">
                  <c:v>56.059-56.065</c:v>
                </c:pt>
                <c:pt idx="8353">
                  <c:v>56.065-56.072</c:v>
                </c:pt>
                <c:pt idx="8354">
                  <c:v>56.072-56.079</c:v>
                </c:pt>
                <c:pt idx="8355">
                  <c:v>56.079-56.085</c:v>
                </c:pt>
                <c:pt idx="8356">
                  <c:v>56.085-56.092</c:v>
                </c:pt>
                <c:pt idx="8357">
                  <c:v>56.092-56.099</c:v>
                </c:pt>
                <c:pt idx="8358">
                  <c:v>56.099-56.106</c:v>
                </c:pt>
                <c:pt idx="8359">
                  <c:v>56.106-56.112</c:v>
                </c:pt>
                <c:pt idx="8360">
                  <c:v>56.112-56.119</c:v>
                </c:pt>
                <c:pt idx="8361">
                  <c:v>56.119-56.126</c:v>
                </c:pt>
                <c:pt idx="8362">
                  <c:v>56.126-56.132</c:v>
                </c:pt>
                <c:pt idx="8363">
                  <c:v>56.132-56.139</c:v>
                </c:pt>
                <c:pt idx="8364">
                  <c:v>56.139-56.146</c:v>
                </c:pt>
                <c:pt idx="8365">
                  <c:v>56.146-56.153</c:v>
                </c:pt>
                <c:pt idx="8366">
                  <c:v>56.153-56.159</c:v>
                </c:pt>
                <c:pt idx="8367">
                  <c:v>56.159-56.166</c:v>
                </c:pt>
                <c:pt idx="8368">
                  <c:v>56.166-56.173</c:v>
                </c:pt>
                <c:pt idx="8369">
                  <c:v>56.173-56.179</c:v>
                </c:pt>
                <c:pt idx="8370">
                  <c:v>56.179-56.186</c:v>
                </c:pt>
                <c:pt idx="8371">
                  <c:v>56.186-56.193</c:v>
                </c:pt>
                <c:pt idx="8372">
                  <c:v>56.193-56.200</c:v>
                </c:pt>
                <c:pt idx="8373">
                  <c:v>56.200-56.206</c:v>
                </c:pt>
                <c:pt idx="8374">
                  <c:v>56.206-56.213</c:v>
                </c:pt>
                <c:pt idx="8375">
                  <c:v>56.213-56.220</c:v>
                </c:pt>
                <c:pt idx="8376">
                  <c:v>56.220-56.226</c:v>
                </c:pt>
                <c:pt idx="8377">
                  <c:v>56.226-56.233</c:v>
                </c:pt>
                <c:pt idx="8378">
                  <c:v>56.233-56.240</c:v>
                </c:pt>
                <c:pt idx="8379">
                  <c:v>56.240-56.247</c:v>
                </c:pt>
                <c:pt idx="8380">
                  <c:v>56.247-56.253</c:v>
                </c:pt>
                <c:pt idx="8381">
                  <c:v>56.253-56.260</c:v>
                </c:pt>
                <c:pt idx="8382">
                  <c:v>56.260-56.267</c:v>
                </c:pt>
                <c:pt idx="8383">
                  <c:v>56.267-56.273</c:v>
                </c:pt>
                <c:pt idx="8384">
                  <c:v>56.273-56.280</c:v>
                </c:pt>
                <c:pt idx="8385">
                  <c:v>56.280-56.287</c:v>
                </c:pt>
                <c:pt idx="8386">
                  <c:v>56.287-56.293</c:v>
                </c:pt>
                <c:pt idx="8387">
                  <c:v>56.293-56.300</c:v>
                </c:pt>
                <c:pt idx="8388">
                  <c:v>56.300-56.307</c:v>
                </c:pt>
                <c:pt idx="8389">
                  <c:v>56.307-56.314</c:v>
                </c:pt>
                <c:pt idx="8390">
                  <c:v>56.314-56.320</c:v>
                </c:pt>
                <c:pt idx="8391">
                  <c:v>56.320-56.327</c:v>
                </c:pt>
                <c:pt idx="8392">
                  <c:v>56.327-56.334</c:v>
                </c:pt>
                <c:pt idx="8393">
                  <c:v>56.334-56.340</c:v>
                </c:pt>
                <c:pt idx="8394">
                  <c:v>56.340-56.347</c:v>
                </c:pt>
                <c:pt idx="8395">
                  <c:v>56.347-56.354</c:v>
                </c:pt>
                <c:pt idx="8396">
                  <c:v>56.354-56.361</c:v>
                </c:pt>
                <c:pt idx="8397">
                  <c:v>56.361-56.367</c:v>
                </c:pt>
                <c:pt idx="8398">
                  <c:v>56.367-56.374</c:v>
                </c:pt>
                <c:pt idx="8399">
                  <c:v>56.374-56.381</c:v>
                </c:pt>
                <c:pt idx="8400">
                  <c:v>56.381-56.387</c:v>
                </c:pt>
                <c:pt idx="8401">
                  <c:v>56.387-56.394</c:v>
                </c:pt>
                <c:pt idx="8402">
                  <c:v>56.394-56.401</c:v>
                </c:pt>
                <c:pt idx="8403">
                  <c:v>56.401-56.408</c:v>
                </c:pt>
                <c:pt idx="8404">
                  <c:v>56.408-56.414</c:v>
                </c:pt>
                <c:pt idx="8405">
                  <c:v>56.414-56.421</c:v>
                </c:pt>
                <c:pt idx="8406">
                  <c:v>56.421-56.428</c:v>
                </c:pt>
                <c:pt idx="8407">
                  <c:v>56.428-56.434</c:v>
                </c:pt>
                <c:pt idx="8408">
                  <c:v>56.434-56.441</c:v>
                </c:pt>
                <c:pt idx="8409">
                  <c:v>56.441-56.448</c:v>
                </c:pt>
                <c:pt idx="8410">
                  <c:v>56.448-56.455</c:v>
                </c:pt>
                <c:pt idx="8411">
                  <c:v>56.455-56.461</c:v>
                </c:pt>
                <c:pt idx="8412">
                  <c:v>56.461-56.468</c:v>
                </c:pt>
                <c:pt idx="8413">
                  <c:v>56.468-56.475</c:v>
                </c:pt>
                <c:pt idx="8414">
                  <c:v>56.475-56.481</c:v>
                </c:pt>
                <c:pt idx="8415">
                  <c:v>56.481-56.488</c:v>
                </c:pt>
                <c:pt idx="8416">
                  <c:v>56.488-56.495</c:v>
                </c:pt>
                <c:pt idx="8417">
                  <c:v>56.495-56.502</c:v>
                </c:pt>
                <c:pt idx="8418">
                  <c:v>56.502-56.508</c:v>
                </c:pt>
                <c:pt idx="8419">
                  <c:v>56.508-56.515</c:v>
                </c:pt>
                <c:pt idx="8420">
                  <c:v>56.515-56.522</c:v>
                </c:pt>
                <c:pt idx="8421">
                  <c:v>56.522-56.528</c:v>
                </c:pt>
                <c:pt idx="8422">
                  <c:v>56.528-56.535</c:v>
                </c:pt>
                <c:pt idx="8423">
                  <c:v>56.535-56.542</c:v>
                </c:pt>
                <c:pt idx="8424">
                  <c:v>56.542-56.548</c:v>
                </c:pt>
                <c:pt idx="8425">
                  <c:v>56.548-56.555</c:v>
                </c:pt>
                <c:pt idx="8426">
                  <c:v>56.555-56.562</c:v>
                </c:pt>
                <c:pt idx="8427">
                  <c:v>56.562-56.569</c:v>
                </c:pt>
                <c:pt idx="8428">
                  <c:v>56.569-56.575</c:v>
                </c:pt>
                <c:pt idx="8429">
                  <c:v>56.575-56.582</c:v>
                </c:pt>
                <c:pt idx="8430">
                  <c:v>56.582-56.589</c:v>
                </c:pt>
                <c:pt idx="8431">
                  <c:v>56.589-56.595</c:v>
                </c:pt>
                <c:pt idx="8432">
                  <c:v>56.595-56.602</c:v>
                </c:pt>
                <c:pt idx="8433">
                  <c:v>56.602-56.609</c:v>
                </c:pt>
                <c:pt idx="8434">
                  <c:v>56.609-56.616</c:v>
                </c:pt>
                <c:pt idx="8435">
                  <c:v>56.616-56.622</c:v>
                </c:pt>
                <c:pt idx="8436">
                  <c:v>56.622-56.629</c:v>
                </c:pt>
                <c:pt idx="8437">
                  <c:v>56.629-56.636</c:v>
                </c:pt>
                <c:pt idx="8438">
                  <c:v>56.636-56.642</c:v>
                </c:pt>
                <c:pt idx="8439">
                  <c:v>56.642-56.649</c:v>
                </c:pt>
                <c:pt idx="8440">
                  <c:v>56.649-56.656</c:v>
                </c:pt>
                <c:pt idx="8441">
                  <c:v>56.656-56.663</c:v>
                </c:pt>
                <c:pt idx="8442">
                  <c:v>56.663-56.669</c:v>
                </c:pt>
                <c:pt idx="8443">
                  <c:v>56.669-56.676</c:v>
                </c:pt>
                <c:pt idx="8444">
                  <c:v>56.676-56.683</c:v>
                </c:pt>
                <c:pt idx="8445">
                  <c:v>56.683-56.689</c:v>
                </c:pt>
                <c:pt idx="8446">
                  <c:v>56.689-56.696</c:v>
                </c:pt>
                <c:pt idx="8447">
                  <c:v>56.696-56.703</c:v>
                </c:pt>
                <c:pt idx="8448">
                  <c:v>56.703-56.710</c:v>
                </c:pt>
                <c:pt idx="8449">
                  <c:v>56.710-56.716</c:v>
                </c:pt>
                <c:pt idx="8450">
                  <c:v>56.716-56.723</c:v>
                </c:pt>
                <c:pt idx="8451">
                  <c:v>56.723-56.730</c:v>
                </c:pt>
                <c:pt idx="8452">
                  <c:v>56.730-56.736</c:v>
                </c:pt>
                <c:pt idx="8453">
                  <c:v>56.736-56.743</c:v>
                </c:pt>
                <c:pt idx="8454">
                  <c:v>56.743-56.750</c:v>
                </c:pt>
                <c:pt idx="8455">
                  <c:v>56.750-56.757</c:v>
                </c:pt>
                <c:pt idx="8456">
                  <c:v>56.757-56.763</c:v>
                </c:pt>
                <c:pt idx="8457">
                  <c:v>56.763-56.770</c:v>
                </c:pt>
                <c:pt idx="8458">
                  <c:v>56.770-56.777</c:v>
                </c:pt>
                <c:pt idx="8459">
                  <c:v>56.777-56.783</c:v>
                </c:pt>
                <c:pt idx="8460">
                  <c:v>56.783-56.790</c:v>
                </c:pt>
                <c:pt idx="8461">
                  <c:v>56.790-56.797</c:v>
                </c:pt>
                <c:pt idx="8462">
                  <c:v>56.797-56.804</c:v>
                </c:pt>
                <c:pt idx="8463">
                  <c:v>56.804-56.810</c:v>
                </c:pt>
                <c:pt idx="8464">
                  <c:v>56.810-56.817</c:v>
                </c:pt>
                <c:pt idx="8465">
                  <c:v>56.817-56.824</c:v>
                </c:pt>
                <c:pt idx="8466">
                  <c:v>56.824-56.830</c:v>
                </c:pt>
                <c:pt idx="8467">
                  <c:v>56.830-56.837</c:v>
                </c:pt>
                <c:pt idx="8468">
                  <c:v>56.837-56.844</c:v>
                </c:pt>
                <c:pt idx="8469">
                  <c:v>56.844-56.850</c:v>
                </c:pt>
                <c:pt idx="8470">
                  <c:v>56.850-56.857</c:v>
                </c:pt>
                <c:pt idx="8471">
                  <c:v>56.857-56.864</c:v>
                </c:pt>
                <c:pt idx="8472">
                  <c:v>56.864-56.871</c:v>
                </c:pt>
                <c:pt idx="8473">
                  <c:v>56.871-56.877</c:v>
                </c:pt>
                <c:pt idx="8474">
                  <c:v>56.877-56.884</c:v>
                </c:pt>
                <c:pt idx="8475">
                  <c:v>56.884-56.891</c:v>
                </c:pt>
                <c:pt idx="8476">
                  <c:v>56.891-56.897</c:v>
                </c:pt>
                <c:pt idx="8477">
                  <c:v>56.897-56.904</c:v>
                </c:pt>
                <c:pt idx="8478">
                  <c:v>56.904-56.911</c:v>
                </c:pt>
                <c:pt idx="8479">
                  <c:v>56.911-56.918</c:v>
                </c:pt>
                <c:pt idx="8480">
                  <c:v>56.918-56.924</c:v>
                </c:pt>
                <c:pt idx="8481">
                  <c:v>56.924-56.931</c:v>
                </c:pt>
                <c:pt idx="8482">
                  <c:v>56.931-56.938</c:v>
                </c:pt>
                <c:pt idx="8483">
                  <c:v>56.938-56.944</c:v>
                </c:pt>
                <c:pt idx="8484">
                  <c:v>56.944-56.951</c:v>
                </c:pt>
                <c:pt idx="8485">
                  <c:v>56.951-56.958</c:v>
                </c:pt>
                <c:pt idx="8486">
                  <c:v>56.958-56.965</c:v>
                </c:pt>
                <c:pt idx="8487">
                  <c:v>56.965-56.971</c:v>
                </c:pt>
                <c:pt idx="8488">
                  <c:v>56.971-56.978</c:v>
                </c:pt>
                <c:pt idx="8489">
                  <c:v>56.978-56.985</c:v>
                </c:pt>
                <c:pt idx="8490">
                  <c:v>56.985-56.991</c:v>
                </c:pt>
                <c:pt idx="8491">
                  <c:v>56.991-56.998</c:v>
                </c:pt>
                <c:pt idx="8492">
                  <c:v>56.998-57.005</c:v>
                </c:pt>
                <c:pt idx="8493">
                  <c:v>57.005-57.012</c:v>
                </c:pt>
                <c:pt idx="8494">
                  <c:v>57.012-57.018</c:v>
                </c:pt>
                <c:pt idx="8495">
                  <c:v>57.018-57.025</c:v>
                </c:pt>
                <c:pt idx="8496">
                  <c:v>57.025-57.032</c:v>
                </c:pt>
                <c:pt idx="8497">
                  <c:v>57.032-57.038</c:v>
                </c:pt>
                <c:pt idx="8498">
                  <c:v>57.038-57.045</c:v>
                </c:pt>
                <c:pt idx="8499">
                  <c:v>57.045-57.052</c:v>
                </c:pt>
                <c:pt idx="8500">
                  <c:v>57.052-57.059</c:v>
                </c:pt>
                <c:pt idx="8501">
                  <c:v>57.059-57.065</c:v>
                </c:pt>
                <c:pt idx="8502">
                  <c:v>57.065-57.072</c:v>
                </c:pt>
                <c:pt idx="8503">
                  <c:v>57.072-57.079</c:v>
                </c:pt>
                <c:pt idx="8504">
                  <c:v>57.079-57.085</c:v>
                </c:pt>
                <c:pt idx="8505">
                  <c:v>57.085-57.092</c:v>
                </c:pt>
                <c:pt idx="8506">
                  <c:v>57.092-57.099</c:v>
                </c:pt>
                <c:pt idx="8507">
                  <c:v>57.099-57.105</c:v>
                </c:pt>
                <c:pt idx="8508">
                  <c:v>57.105-57.112</c:v>
                </c:pt>
                <c:pt idx="8509">
                  <c:v>57.112-57.119</c:v>
                </c:pt>
                <c:pt idx="8510">
                  <c:v>57.119-57.126</c:v>
                </c:pt>
                <c:pt idx="8511">
                  <c:v>57.126-57.132</c:v>
                </c:pt>
                <c:pt idx="8512">
                  <c:v>57.132-57.139</c:v>
                </c:pt>
                <c:pt idx="8513">
                  <c:v>57.139-57.146</c:v>
                </c:pt>
                <c:pt idx="8514">
                  <c:v>57.146-57.152</c:v>
                </c:pt>
                <c:pt idx="8515">
                  <c:v>57.152-57.159</c:v>
                </c:pt>
                <c:pt idx="8516">
                  <c:v>57.159-57.166</c:v>
                </c:pt>
                <c:pt idx="8517">
                  <c:v>57.166-57.173</c:v>
                </c:pt>
                <c:pt idx="8518">
                  <c:v>57.173-57.179</c:v>
                </c:pt>
                <c:pt idx="8519">
                  <c:v>57.179-57.186</c:v>
                </c:pt>
                <c:pt idx="8520">
                  <c:v>57.186-57.193</c:v>
                </c:pt>
                <c:pt idx="8521">
                  <c:v>57.193-57.199</c:v>
                </c:pt>
                <c:pt idx="8522">
                  <c:v>57.199-57.206</c:v>
                </c:pt>
                <c:pt idx="8523">
                  <c:v>57.206-57.213</c:v>
                </c:pt>
                <c:pt idx="8524">
                  <c:v>57.213-57.220</c:v>
                </c:pt>
                <c:pt idx="8525">
                  <c:v>57.220-57.226</c:v>
                </c:pt>
                <c:pt idx="8526">
                  <c:v>57.226-57.233</c:v>
                </c:pt>
                <c:pt idx="8527">
                  <c:v>57.233-57.240</c:v>
                </c:pt>
                <c:pt idx="8528">
                  <c:v>57.240-57.246</c:v>
                </c:pt>
                <c:pt idx="8529">
                  <c:v>57.246-57.253</c:v>
                </c:pt>
                <c:pt idx="8530">
                  <c:v>57.253-57.260</c:v>
                </c:pt>
                <c:pt idx="8531">
                  <c:v>57.260-57.267</c:v>
                </c:pt>
                <c:pt idx="8532">
                  <c:v>57.267-57.273</c:v>
                </c:pt>
                <c:pt idx="8533">
                  <c:v>57.273-57.280</c:v>
                </c:pt>
                <c:pt idx="8534">
                  <c:v>57.280-57.287</c:v>
                </c:pt>
                <c:pt idx="8535">
                  <c:v>57.287-57.293</c:v>
                </c:pt>
                <c:pt idx="8536">
                  <c:v>57.293-57.300</c:v>
                </c:pt>
                <c:pt idx="8537">
                  <c:v>57.300-57.307</c:v>
                </c:pt>
                <c:pt idx="8538">
                  <c:v>57.307-57.314</c:v>
                </c:pt>
                <c:pt idx="8539">
                  <c:v>57.314-57.320</c:v>
                </c:pt>
                <c:pt idx="8540">
                  <c:v>57.320-57.327</c:v>
                </c:pt>
                <c:pt idx="8541">
                  <c:v>57.327-57.334</c:v>
                </c:pt>
                <c:pt idx="8542">
                  <c:v>57.334-57.340</c:v>
                </c:pt>
                <c:pt idx="8543">
                  <c:v>57.340-57.347</c:v>
                </c:pt>
                <c:pt idx="8544">
                  <c:v>57.347-57.354</c:v>
                </c:pt>
                <c:pt idx="8545">
                  <c:v>57.354-57.360</c:v>
                </c:pt>
                <c:pt idx="8546">
                  <c:v>57.360-57.367</c:v>
                </c:pt>
                <c:pt idx="8547">
                  <c:v>57.367-57.374</c:v>
                </c:pt>
                <c:pt idx="8548">
                  <c:v>57.374-57.381</c:v>
                </c:pt>
                <c:pt idx="8549">
                  <c:v>57.381-57.387</c:v>
                </c:pt>
                <c:pt idx="8550">
                  <c:v>57.387-57.394</c:v>
                </c:pt>
                <c:pt idx="8551">
                  <c:v>57.394-57.401</c:v>
                </c:pt>
                <c:pt idx="8552">
                  <c:v>57.401-57.407</c:v>
                </c:pt>
                <c:pt idx="8553">
                  <c:v>57.407-57.414</c:v>
                </c:pt>
                <c:pt idx="8554">
                  <c:v>57.414-57.421</c:v>
                </c:pt>
                <c:pt idx="8555">
                  <c:v>57.421-57.428</c:v>
                </c:pt>
                <c:pt idx="8556">
                  <c:v>57.428-57.434</c:v>
                </c:pt>
                <c:pt idx="8557">
                  <c:v>57.434-57.441</c:v>
                </c:pt>
                <c:pt idx="8558">
                  <c:v>57.441-57.448</c:v>
                </c:pt>
                <c:pt idx="8559">
                  <c:v>57.448-57.454</c:v>
                </c:pt>
                <c:pt idx="8560">
                  <c:v>57.454-57.461</c:v>
                </c:pt>
                <c:pt idx="8561">
                  <c:v>57.461-57.468</c:v>
                </c:pt>
                <c:pt idx="8562">
                  <c:v>57.468-57.475</c:v>
                </c:pt>
                <c:pt idx="8563">
                  <c:v>57.475-57.481</c:v>
                </c:pt>
                <c:pt idx="8564">
                  <c:v>57.481-57.488</c:v>
                </c:pt>
                <c:pt idx="8565">
                  <c:v>57.488-57.495</c:v>
                </c:pt>
                <c:pt idx="8566">
                  <c:v>57.495-57.501</c:v>
                </c:pt>
                <c:pt idx="8567">
                  <c:v>57.501-57.508</c:v>
                </c:pt>
                <c:pt idx="8568">
                  <c:v>57.508-57.515</c:v>
                </c:pt>
                <c:pt idx="8569">
                  <c:v>57.515-57.522</c:v>
                </c:pt>
                <c:pt idx="8570">
                  <c:v>57.522-57.528</c:v>
                </c:pt>
                <c:pt idx="8571">
                  <c:v>57.528-57.535</c:v>
                </c:pt>
                <c:pt idx="8572">
                  <c:v>57.535-57.542</c:v>
                </c:pt>
                <c:pt idx="8573">
                  <c:v>57.542-57.548</c:v>
                </c:pt>
                <c:pt idx="8574">
                  <c:v>57.548-57.555</c:v>
                </c:pt>
                <c:pt idx="8575">
                  <c:v>57.555-57.562</c:v>
                </c:pt>
                <c:pt idx="8576">
                  <c:v>57.562-57.569</c:v>
                </c:pt>
                <c:pt idx="8577">
                  <c:v>57.569-57.575</c:v>
                </c:pt>
                <c:pt idx="8578">
                  <c:v>57.575-57.582</c:v>
                </c:pt>
                <c:pt idx="8579">
                  <c:v>57.582-57.589</c:v>
                </c:pt>
                <c:pt idx="8580">
                  <c:v>57.589-57.595</c:v>
                </c:pt>
                <c:pt idx="8581">
                  <c:v>57.595-57.602</c:v>
                </c:pt>
                <c:pt idx="8582">
                  <c:v>57.602-57.609</c:v>
                </c:pt>
                <c:pt idx="8583">
                  <c:v>57.609-57.616</c:v>
                </c:pt>
                <c:pt idx="8584">
                  <c:v>57.616-57.622</c:v>
                </c:pt>
                <c:pt idx="8585">
                  <c:v>57.622-57.629</c:v>
                </c:pt>
                <c:pt idx="8586">
                  <c:v>57.629-57.636</c:v>
                </c:pt>
                <c:pt idx="8587">
                  <c:v>57.636-57.642</c:v>
                </c:pt>
                <c:pt idx="8588">
                  <c:v>57.642-57.649</c:v>
                </c:pt>
                <c:pt idx="8589">
                  <c:v>57.649-57.656</c:v>
                </c:pt>
                <c:pt idx="8590">
                  <c:v>57.656-57.662</c:v>
                </c:pt>
                <c:pt idx="8591">
                  <c:v>57.662-57.669</c:v>
                </c:pt>
                <c:pt idx="8592">
                  <c:v>57.669-57.676</c:v>
                </c:pt>
                <c:pt idx="8593">
                  <c:v>57.676-57.683</c:v>
                </c:pt>
                <c:pt idx="8594">
                  <c:v>57.683-57.689</c:v>
                </c:pt>
                <c:pt idx="8595">
                  <c:v>57.689-57.696</c:v>
                </c:pt>
                <c:pt idx="8596">
                  <c:v>57.696-57.703</c:v>
                </c:pt>
                <c:pt idx="8597">
                  <c:v>57.703-57.709</c:v>
                </c:pt>
                <c:pt idx="8598">
                  <c:v>57.709-57.716</c:v>
                </c:pt>
                <c:pt idx="8599">
                  <c:v>57.716-57.723</c:v>
                </c:pt>
                <c:pt idx="8600">
                  <c:v>57.723-57.730</c:v>
                </c:pt>
                <c:pt idx="8601">
                  <c:v>57.730-57.736</c:v>
                </c:pt>
                <c:pt idx="8602">
                  <c:v>57.736-57.743</c:v>
                </c:pt>
                <c:pt idx="8603">
                  <c:v>57.743-57.750</c:v>
                </c:pt>
                <c:pt idx="8604">
                  <c:v>57.750-57.756</c:v>
                </c:pt>
                <c:pt idx="8605">
                  <c:v>57.756-57.763</c:v>
                </c:pt>
                <c:pt idx="8606">
                  <c:v>57.763-57.770</c:v>
                </c:pt>
                <c:pt idx="8607">
                  <c:v>57.770-57.777</c:v>
                </c:pt>
                <c:pt idx="8608">
                  <c:v>57.777-57.783</c:v>
                </c:pt>
                <c:pt idx="8609">
                  <c:v>57.783-57.790</c:v>
                </c:pt>
                <c:pt idx="8610">
                  <c:v>57.790-57.797</c:v>
                </c:pt>
                <c:pt idx="8611">
                  <c:v>57.797-57.803</c:v>
                </c:pt>
                <c:pt idx="8612">
                  <c:v>57.803-57.810</c:v>
                </c:pt>
                <c:pt idx="8613">
                  <c:v>57.810-57.817</c:v>
                </c:pt>
                <c:pt idx="8614">
                  <c:v>57.817-57.824</c:v>
                </c:pt>
                <c:pt idx="8615">
                  <c:v>57.824-57.830</c:v>
                </c:pt>
                <c:pt idx="8616">
                  <c:v>57.830-57.837</c:v>
                </c:pt>
                <c:pt idx="8617">
                  <c:v>57.837-57.844</c:v>
                </c:pt>
                <c:pt idx="8618">
                  <c:v>57.844-57.850</c:v>
                </c:pt>
                <c:pt idx="8619">
                  <c:v>57.850-57.857</c:v>
                </c:pt>
                <c:pt idx="8620">
                  <c:v>57.857-57.864</c:v>
                </c:pt>
                <c:pt idx="8621">
                  <c:v>57.864-57.871</c:v>
                </c:pt>
                <c:pt idx="8622">
                  <c:v>57.871-57.877</c:v>
                </c:pt>
                <c:pt idx="8623">
                  <c:v>57.877-57.884</c:v>
                </c:pt>
                <c:pt idx="8624">
                  <c:v>57.884-57.891</c:v>
                </c:pt>
                <c:pt idx="8625">
                  <c:v>57.891-57.897</c:v>
                </c:pt>
                <c:pt idx="8626">
                  <c:v>57.897-57.904</c:v>
                </c:pt>
                <c:pt idx="8627">
                  <c:v>57.904-57.911</c:v>
                </c:pt>
                <c:pt idx="8628">
                  <c:v>57.911-57.917</c:v>
                </c:pt>
                <c:pt idx="8629">
                  <c:v>57.917-57.924</c:v>
                </c:pt>
                <c:pt idx="8630">
                  <c:v>57.924-57.931</c:v>
                </c:pt>
                <c:pt idx="8631">
                  <c:v>57.931-57.938</c:v>
                </c:pt>
                <c:pt idx="8632">
                  <c:v>57.938-57.944</c:v>
                </c:pt>
                <c:pt idx="8633">
                  <c:v>57.944-57.951</c:v>
                </c:pt>
                <c:pt idx="8634">
                  <c:v>57.951-57.958</c:v>
                </c:pt>
                <c:pt idx="8635">
                  <c:v>57.958-57.964</c:v>
                </c:pt>
                <c:pt idx="8636">
                  <c:v>57.964-57.971</c:v>
                </c:pt>
                <c:pt idx="8637">
                  <c:v>57.971-57.978</c:v>
                </c:pt>
                <c:pt idx="8638">
                  <c:v>57.978-57.985</c:v>
                </c:pt>
                <c:pt idx="8639">
                  <c:v>57.985-57.991</c:v>
                </c:pt>
                <c:pt idx="8640">
                  <c:v>57.991-57.998</c:v>
                </c:pt>
                <c:pt idx="8641">
                  <c:v>57.998-58.005</c:v>
                </c:pt>
                <c:pt idx="8642">
                  <c:v>58.005-58.011</c:v>
                </c:pt>
                <c:pt idx="8643">
                  <c:v>58.011-58.018</c:v>
                </c:pt>
                <c:pt idx="8644">
                  <c:v>58.018-58.025</c:v>
                </c:pt>
                <c:pt idx="8645">
                  <c:v>58.025-58.032</c:v>
                </c:pt>
                <c:pt idx="8646">
                  <c:v>58.032-58.038</c:v>
                </c:pt>
                <c:pt idx="8647">
                  <c:v>58.038-58.045</c:v>
                </c:pt>
                <c:pt idx="8648">
                  <c:v>58.045-58.052</c:v>
                </c:pt>
                <c:pt idx="8649">
                  <c:v>58.052-58.058</c:v>
                </c:pt>
                <c:pt idx="8650">
                  <c:v>58.058-58.065</c:v>
                </c:pt>
                <c:pt idx="8651">
                  <c:v>58.065-58.072</c:v>
                </c:pt>
                <c:pt idx="8652">
                  <c:v>58.072-58.079</c:v>
                </c:pt>
                <c:pt idx="8653">
                  <c:v>58.079-58.085</c:v>
                </c:pt>
                <c:pt idx="8654">
                  <c:v>58.085-58.092</c:v>
                </c:pt>
                <c:pt idx="8655">
                  <c:v>58.092-58.099</c:v>
                </c:pt>
                <c:pt idx="8656">
                  <c:v>58.099-58.105</c:v>
                </c:pt>
                <c:pt idx="8657">
                  <c:v>58.105-58.112</c:v>
                </c:pt>
                <c:pt idx="8658">
                  <c:v>58.112-58.119</c:v>
                </c:pt>
                <c:pt idx="8659">
                  <c:v>58.119-58.126</c:v>
                </c:pt>
                <c:pt idx="8660">
                  <c:v>58.126-58.132</c:v>
                </c:pt>
                <c:pt idx="8661">
                  <c:v>58.132-58.139</c:v>
                </c:pt>
                <c:pt idx="8662">
                  <c:v>58.139-58.146</c:v>
                </c:pt>
                <c:pt idx="8663">
                  <c:v>58.146-58.152</c:v>
                </c:pt>
                <c:pt idx="8664">
                  <c:v>58.152-58.159</c:v>
                </c:pt>
                <c:pt idx="8665">
                  <c:v>58.159-58.166</c:v>
                </c:pt>
                <c:pt idx="8666">
                  <c:v>58.166-58.173</c:v>
                </c:pt>
                <c:pt idx="8667">
                  <c:v>58.173-58.179</c:v>
                </c:pt>
                <c:pt idx="8668">
                  <c:v>58.179-58.186</c:v>
                </c:pt>
                <c:pt idx="8669">
                  <c:v>58.186-58.193</c:v>
                </c:pt>
                <c:pt idx="8670">
                  <c:v>58.193-58.199</c:v>
                </c:pt>
                <c:pt idx="8671">
                  <c:v>58.199-58.206</c:v>
                </c:pt>
                <c:pt idx="8672">
                  <c:v>58.206-58.213</c:v>
                </c:pt>
                <c:pt idx="8673">
                  <c:v>58.213-58.219</c:v>
                </c:pt>
                <c:pt idx="8674">
                  <c:v>58.219-58.226</c:v>
                </c:pt>
                <c:pt idx="8675">
                  <c:v>58.226-58.233</c:v>
                </c:pt>
                <c:pt idx="8676">
                  <c:v>58.233-58.240</c:v>
                </c:pt>
                <c:pt idx="8677">
                  <c:v>58.240-58.246</c:v>
                </c:pt>
                <c:pt idx="8678">
                  <c:v>58.246-58.253</c:v>
                </c:pt>
                <c:pt idx="8679">
                  <c:v>58.253-58.260</c:v>
                </c:pt>
                <c:pt idx="8680">
                  <c:v>58.260-58.266</c:v>
                </c:pt>
                <c:pt idx="8681">
                  <c:v>58.266-58.273</c:v>
                </c:pt>
                <c:pt idx="8682">
                  <c:v>58.273-58.280</c:v>
                </c:pt>
                <c:pt idx="8683">
                  <c:v>58.280-58.287</c:v>
                </c:pt>
                <c:pt idx="8684">
                  <c:v>58.287-58.293</c:v>
                </c:pt>
                <c:pt idx="8685">
                  <c:v>58.293-58.300</c:v>
                </c:pt>
                <c:pt idx="8686">
                  <c:v>58.300-58.307</c:v>
                </c:pt>
                <c:pt idx="8687">
                  <c:v>58.307-58.313</c:v>
                </c:pt>
                <c:pt idx="8688">
                  <c:v>58.313-58.320</c:v>
                </c:pt>
                <c:pt idx="8689">
                  <c:v>58.320-58.327</c:v>
                </c:pt>
                <c:pt idx="8690">
                  <c:v>58.327-58.334</c:v>
                </c:pt>
                <c:pt idx="8691">
                  <c:v>58.334-58.340</c:v>
                </c:pt>
                <c:pt idx="8692">
                  <c:v>58.340-58.347</c:v>
                </c:pt>
                <c:pt idx="8693">
                  <c:v>58.347-58.354</c:v>
                </c:pt>
                <c:pt idx="8694">
                  <c:v>58.354-58.360</c:v>
                </c:pt>
                <c:pt idx="8695">
                  <c:v>58.360-58.367</c:v>
                </c:pt>
                <c:pt idx="8696">
                  <c:v>58.367-58.374</c:v>
                </c:pt>
                <c:pt idx="8697">
                  <c:v>58.374-58.381</c:v>
                </c:pt>
                <c:pt idx="8698">
                  <c:v>58.381-58.387</c:v>
                </c:pt>
                <c:pt idx="8699">
                  <c:v>58.387-58.394</c:v>
                </c:pt>
                <c:pt idx="8700">
                  <c:v>58.394-58.401</c:v>
                </c:pt>
                <c:pt idx="8701">
                  <c:v>58.401-58.407</c:v>
                </c:pt>
                <c:pt idx="8702">
                  <c:v>58.407-58.414</c:v>
                </c:pt>
                <c:pt idx="8703">
                  <c:v>58.414-58.421</c:v>
                </c:pt>
                <c:pt idx="8704">
                  <c:v>58.421-58.428</c:v>
                </c:pt>
                <c:pt idx="8705">
                  <c:v>58.428-58.434</c:v>
                </c:pt>
                <c:pt idx="8706">
                  <c:v>58.434-58.441</c:v>
                </c:pt>
                <c:pt idx="8707">
                  <c:v>58.441-58.448</c:v>
                </c:pt>
                <c:pt idx="8708">
                  <c:v>58.448-58.454</c:v>
                </c:pt>
                <c:pt idx="8709">
                  <c:v>58.454-58.461</c:v>
                </c:pt>
                <c:pt idx="8710">
                  <c:v>58.461-58.468</c:v>
                </c:pt>
                <c:pt idx="8711">
                  <c:v>58.468-58.474</c:v>
                </c:pt>
                <c:pt idx="8712">
                  <c:v>58.474-58.481</c:v>
                </c:pt>
                <c:pt idx="8713">
                  <c:v>58.481-58.488</c:v>
                </c:pt>
                <c:pt idx="8714">
                  <c:v>58.488-58.495</c:v>
                </c:pt>
                <c:pt idx="8715">
                  <c:v>58.495-58.501</c:v>
                </c:pt>
                <c:pt idx="8716">
                  <c:v>58.501-58.508</c:v>
                </c:pt>
                <c:pt idx="8717">
                  <c:v>58.508-58.515</c:v>
                </c:pt>
                <c:pt idx="8718">
                  <c:v>58.515-58.521</c:v>
                </c:pt>
                <c:pt idx="8719">
                  <c:v>58.521-58.528</c:v>
                </c:pt>
                <c:pt idx="8720">
                  <c:v>58.528-58.535</c:v>
                </c:pt>
                <c:pt idx="8721">
                  <c:v>58.535-58.542</c:v>
                </c:pt>
                <c:pt idx="8722">
                  <c:v>58.542-58.548</c:v>
                </c:pt>
                <c:pt idx="8723">
                  <c:v>58.548-58.555</c:v>
                </c:pt>
                <c:pt idx="8724">
                  <c:v>58.555-58.562</c:v>
                </c:pt>
                <c:pt idx="8725">
                  <c:v>58.562-58.568</c:v>
                </c:pt>
                <c:pt idx="8726">
                  <c:v>58.568-58.575</c:v>
                </c:pt>
                <c:pt idx="8727">
                  <c:v>58.575-58.582</c:v>
                </c:pt>
                <c:pt idx="8728">
                  <c:v>58.582-58.589</c:v>
                </c:pt>
                <c:pt idx="8729">
                  <c:v>58.589-58.595</c:v>
                </c:pt>
                <c:pt idx="8730">
                  <c:v>58.595-58.602</c:v>
                </c:pt>
                <c:pt idx="8731">
                  <c:v>58.602-58.609</c:v>
                </c:pt>
                <c:pt idx="8732">
                  <c:v>58.609-58.615</c:v>
                </c:pt>
                <c:pt idx="8733">
                  <c:v>58.615-58.622</c:v>
                </c:pt>
                <c:pt idx="8734">
                  <c:v>58.622-58.629</c:v>
                </c:pt>
                <c:pt idx="8735">
                  <c:v>58.629-58.636</c:v>
                </c:pt>
                <c:pt idx="8736">
                  <c:v>58.636-58.642</c:v>
                </c:pt>
                <c:pt idx="8737">
                  <c:v>58.642-58.649</c:v>
                </c:pt>
                <c:pt idx="8738">
                  <c:v>58.649-58.656</c:v>
                </c:pt>
                <c:pt idx="8739">
                  <c:v>58.656-58.662</c:v>
                </c:pt>
                <c:pt idx="8740">
                  <c:v>58.662-58.669</c:v>
                </c:pt>
                <c:pt idx="8741">
                  <c:v>58.669-58.676</c:v>
                </c:pt>
                <c:pt idx="8742">
                  <c:v>58.676-58.683</c:v>
                </c:pt>
                <c:pt idx="8743">
                  <c:v>58.683-58.689</c:v>
                </c:pt>
                <c:pt idx="8744">
                  <c:v>58.689-58.696</c:v>
                </c:pt>
                <c:pt idx="8745">
                  <c:v>58.696-58.703</c:v>
                </c:pt>
                <c:pt idx="8746">
                  <c:v>58.703-58.709</c:v>
                </c:pt>
                <c:pt idx="8747">
                  <c:v>58.709-58.716</c:v>
                </c:pt>
                <c:pt idx="8748">
                  <c:v>58.716-58.723</c:v>
                </c:pt>
                <c:pt idx="8749">
                  <c:v>58.723-58.729</c:v>
                </c:pt>
                <c:pt idx="8750">
                  <c:v>58.729-58.736</c:v>
                </c:pt>
                <c:pt idx="8751">
                  <c:v>58.736-58.743</c:v>
                </c:pt>
                <c:pt idx="8752">
                  <c:v>58.743-58.750</c:v>
                </c:pt>
                <c:pt idx="8753">
                  <c:v>58.750-58.756</c:v>
                </c:pt>
                <c:pt idx="8754">
                  <c:v>58.756-58.763</c:v>
                </c:pt>
                <c:pt idx="8755">
                  <c:v>58.763-58.770</c:v>
                </c:pt>
                <c:pt idx="8756">
                  <c:v>58.770-58.776</c:v>
                </c:pt>
                <c:pt idx="8757">
                  <c:v>58.776-58.783</c:v>
                </c:pt>
                <c:pt idx="8758">
                  <c:v>58.783-58.790</c:v>
                </c:pt>
                <c:pt idx="8759">
                  <c:v>58.790-58.797</c:v>
                </c:pt>
                <c:pt idx="8760">
                  <c:v>58.797-58.803</c:v>
                </c:pt>
                <c:pt idx="8761">
                  <c:v>58.803-58.810</c:v>
                </c:pt>
                <c:pt idx="8762">
                  <c:v>58.810-58.817</c:v>
                </c:pt>
                <c:pt idx="8763">
                  <c:v>58.817-58.823</c:v>
                </c:pt>
                <c:pt idx="8764">
                  <c:v>58.823-58.830</c:v>
                </c:pt>
                <c:pt idx="8765">
                  <c:v>58.830-58.837</c:v>
                </c:pt>
                <c:pt idx="8766">
                  <c:v>58.837-58.844</c:v>
                </c:pt>
                <c:pt idx="8767">
                  <c:v>58.844-58.850</c:v>
                </c:pt>
                <c:pt idx="8768">
                  <c:v>58.850-58.857</c:v>
                </c:pt>
                <c:pt idx="8769">
                  <c:v>58.857-58.864</c:v>
                </c:pt>
                <c:pt idx="8770">
                  <c:v>58.864-58.870</c:v>
                </c:pt>
                <c:pt idx="8771">
                  <c:v>58.870-58.877</c:v>
                </c:pt>
                <c:pt idx="8772">
                  <c:v>58.877-58.884</c:v>
                </c:pt>
                <c:pt idx="8773">
                  <c:v>58.884-58.891</c:v>
                </c:pt>
                <c:pt idx="8774">
                  <c:v>58.891-58.897</c:v>
                </c:pt>
                <c:pt idx="8775">
                  <c:v>58.897-58.904</c:v>
                </c:pt>
                <c:pt idx="8776">
                  <c:v>58.904-58.911</c:v>
                </c:pt>
                <c:pt idx="8777">
                  <c:v>58.911-58.917</c:v>
                </c:pt>
                <c:pt idx="8778">
                  <c:v>58.917-58.924</c:v>
                </c:pt>
                <c:pt idx="8779">
                  <c:v>58.924-58.931</c:v>
                </c:pt>
                <c:pt idx="8780">
                  <c:v>58.931-58.938</c:v>
                </c:pt>
                <c:pt idx="8781">
                  <c:v>58.938-58.944</c:v>
                </c:pt>
                <c:pt idx="8782">
                  <c:v>58.944-58.951</c:v>
                </c:pt>
                <c:pt idx="8783">
                  <c:v>58.951-58.958</c:v>
                </c:pt>
                <c:pt idx="8784">
                  <c:v>58.958-58.964</c:v>
                </c:pt>
                <c:pt idx="8785">
                  <c:v>58.964-58.971</c:v>
                </c:pt>
                <c:pt idx="8786">
                  <c:v>58.971-58.978</c:v>
                </c:pt>
                <c:pt idx="8787">
                  <c:v>58.978-58.985</c:v>
                </c:pt>
                <c:pt idx="8788">
                  <c:v>58.985-58.991</c:v>
                </c:pt>
                <c:pt idx="8789">
                  <c:v>58.991-58.998</c:v>
                </c:pt>
                <c:pt idx="8790">
                  <c:v>58.998-59.005</c:v>
                </c:pt>
                <c:pt idx="8791">
                  <c:v>59.005-59.011</c:v>
                </c:pt>
                <c:pt idx="8792">
                  <c:v>59.011-59.018</c:v>
                </c:pt>
                <c:pt idx="8793">
                  <c:v>59.018-59.025</c:v>
                </c:pt>
                <c:pt idx="8794">
                  <c:v>59.025-59.031</c:v>
                </c:pt>
                <c:pt idx="8795">
                  <c:v>59.031-59.038</c:v>
                </c:pt>
                <c:pt idx="8796">
                  <c:v>59.038-59.045</c:v>
                </c:pt>
                <c:pt idx="8797">
                  <c:v>59.045-59.052</c:v>
                </c:pt>
                <c:pt idx="8798">
                  <c:v>59.052-59.058</c:v>
                </c:pt>
                <c:pt idx="8799">
                  <c:v>59.058-59.065</c:v>
                </c:pt>
                <c:pt idx="8800">
                  <c:v>59.065-59.072</c:v>
                </c:pt>
                <c:pt idx="8801">
                  <c:v>59.072-59.078</c:v>
                </c:pt>
                <c:pt idx="8802">
                  <c:v>59.078-59.085</c:v>
                </c:pt>
                <c:pt idx="8803">
                  <c:v>59.085-59.092</c:v>
                </c:pt>
                <c:pt idx="8804">
                  <c:v>59.092-59.099</c:v>
                </c:pt>
                <c:pt idx="8805">
                  <c:v>59.099-59.105</c:v>
                </c:pt>
                <c:pt idx="8806">
                  <c:v>59.105-59.112</c:v>
                </c:pt>
                <c:pt idx="8807">
                  <c:v>59.112-59.119</c:v>
                </c:pt>
                <c:pt idx="8808">
                  <c:v>59.119-59.125</c:v>
                </c:pt>
                <c:pt idx="8809">
                  <c:v>59.125-59.132</c:v>
                </c:pt>
                <c:pt idx="8810">
                  <c:v>59.132-59.139</c:v>
                </c:pt>
                <c:pt idx="8811">
                  <c:v>59.139-59.146</c:v>
                </c:pt>
                <c:pt idx="8812">
                  <c:v>59.146-59.152</c:v>
                </c:pt>
                <c:pt idx="8813">
                  <c:v>59.152-59.159</c:v>
                </c:pt>
                <c:pt idx="8814">
                  <c:v>59.159-59.166</c:v>
                </c:pt>
                <c:pt idx="8815">
                  <c:v>59.166-59.172</c:v>
                </c:pt>
                <c:pt idx="8816">
                  <c:v>59.172-59.179</c:v>
                </c:pt>
                <c:pt idx="8817">
                  <c:v>59.179-59.186</c:v>
                </c:pt>
                <c:pt idx="8818">
                  <c:v>59.186-59.193</c:v>
                </c:pt>
                <c:pt idx="8819">
                  <c:v>59.193-59.199</c:v>
                </c:pt>
                <c:pt idx="8820">
                  <c:v>59.199-59.206</c:v>
                </c:pt>
                <c:pt idx="8821">
                  <c:v>59.206-59.213</c:v>
                </c:pt>
                <c:pt idx="8822">
                  <c:v>59.213-59.219</c:v>
                </c:pt>
                <c:pt idx="8823">
                  <c:v>59.219-59.226</c:v>
                </c:pt>
                <c:pt idx="8824">
                  <c:v>59.226-59.233</c:v>
                </c:pt>
                <c:pt idx="8825">
                  <c:v>59.233-59.240</c:v>
                </c:pt>
                <c:pt idx="8826">
                  <c:v>59.240-59.246</c:v>
                </c:pt>
                <c:pt idx="8827">
                  <c:v>59.246-59.253</c:v>
                </c:pt>
                <c:pt idx="8828">
                  <c:v>59.253-59.260</c:v>
                </c:pt>
                <c:pt idx="8829">
                  <c:v>59.260-59.266</c:v>
                </c:pt>
                <c:pt idx="8830">
                  <c:v>59.266-59.273</c:v>
                </c:pt>
                <c:pt idx="8831">
                  <c:v>59.273-59.280</c:v>
                </c:pt>
                <c:pt idx="8832">
                  <c:v>59.280-59.286</c:v>
                </c:pt>
                <c:pt idx="8833">
                  <c:v>59.286-59.293</c:v>
                </c:pt>
                <c:pt idx="8834">
                  <c:v>59.293-59.300</c:v>
                </c:pt>
                <c:pt idx="8835">
                  <c:v>59.300-59.307</c:v>
                </c:pt>
                <c:pt idx="8836">
                  <c:v>59.307-59.313</c:v>
                </c:pt>
                <c:pt idx="8837">
                  <c:v>59.313-59.320</c:v>
                </c:pt>
                <c:pt idx="8838">
                  <c:v>59.320-59.327</c:v>
                </c:pt>
                <c:pt idx="8839">
                  <c:v>59.327-59.333</c:v>
                </c:pt>
                <c:pt idx="8840">
                  <c:v>59.333-59.340</c:v>
                </c:pt>
                <c:pt idx="8841">
                  <c:v>59.340-59.347</c:v>
                </c:pt>
                <c:pt idx="8842">
                  <c:v>59.347-59.354</c:v>
                </c:pt>
                <c:pt idx="8843">
                  <c:v>59.354-59.360</c:v>
                </c:pt>
                <c:pt idx="8844">
                  <c:v>59.360-59.367</c:v>
                </c:pt>
                <c:pt idx="8845">
                  <c:v>59.367-59.374</c:v>
                </c:pt>
                <c:pt idx="8846">
                  <c:v>59.374-59.380</c:v>
                </c:pt>
                <c:pt idx="8847">
                  <c:v>59.380-59.387</c:v>
                </c:pt>
                <c:pt idx="8848">
                  <c:v>59.387-59.394</c:v>
                </c:pt>
                <c:pt idx="8849">
                  <c:v>59.394-59.401</c:v>
                </c:pt>
                <c:pt idx="8850">
                  <c:v>59.401-59.407</c:v>
                </c:pt>
                <c:pt idx="8851">
                  <c:v>59.407-59.414</c:v>
                </c:pt>
                <c:pt idx="8852">
                  <c:v>59.414-59.421</c:v>
                </c:pt>
                <c:pt idx="8853">
                  <c:v>59.421-59.427</c:v>
                </c:pt>
                <c:pt idx="8854">
                  <c:v>59.427-59.434</c:v>
                </c:pt>
                <c:pt idx="8855">
                  <c:v>59.434-59.441</c:v>
                </c:pt>
                <c:pt idx="8856">
                  <c:v>59.441-59.448</c:v>
                </c:pt>
                <c:pt idx="8857">
                  <c:v>59.448-59.454</c:v>
                </c:pt>
                <c:pt idx="8858">
                  <c:v>59.454-59.461</c:v>
                </c:pt>
                <c:pt idx="8859">
                  <c:v>59.461-59.468</c:v>
                </c:pt>
                <c:pt idx="8860">
                  <c:v>59.468-59.474</c:v>
                </c:pt>
                <c:pt idx="8861">
                  <c:v>59.474-59.481</c:v>
                </c:pt>
                <c:pt idx="8862">
                  <c:v>59.481-59.488</c:v>
                </c:pt>
                <c:pt idx="8863">
                  <c:v>59.488-59.495</c:v>
                </c:pt>
                <c:pt idx="8864">
                  <c:v>59.495-59.501</c:v>
                </c:pt>
                <c:pt idx="8865">
                  <c:v>59.501-59.508</c:v>
                </c:pt>
                <c:pt idx="8866">
                  <c:v>59.508-59.515</c:v>
                </c:pt>
                <c:pt idx="8867">
                  <c:v>59.515-59.521</c:v>
                </c:pt>
                <c:pt idx="8868">
                  <c:v>59.521-59.528</c:v>
                </c:pt>
                <c:pt idx="8869">
                  <c:v>59.528-59.535</c:v>
                </c:pt>
                <c:pt idx="8870">
                  <c:v>59.535-59.542</c:v>
                </c:pt>
                <c:pt idx="8871">
                  <c:v>59.542-59.548</c:v>
                </c:pt>
                <c:pt idx="8872">
                  <c:v>59.548-59.555</c:v>
                </c:pt>
                <c:pt idx="8873">
                  <c:v>59.555-59.562</c:v>
                </c:pt>
                <c:pt idx="8874">
                  <c:v>59.562-59.568</c:v>
                </c:pt>
                <c:pt idx="8875">
                  <c:v>59.568-59.575</c:v>
                </c:pt>
                <c:pt idx="8876">
                  <c:v>59.575-59.582</c:v>
                </c:pt>
                <c:pt idx="8877">
                  <c:v>59.582-59.588</c:v>
                </c:pt>
                <c:pt idx="8878">
                  <c:v>59.588-59.595</c:v>
                </c:pt>
                <c:pt idx="8879">
                  <c:v>59.595-59.602</c:v>
                </c:pt>
                <c:pt idx="8880">
                  <c:v>59.602-59.609</c:v>
                </c:pt>
                <c:pt idx="8881">
                  <c:v>59.609-59.615</c:v>
                </c:pt>
                <c:pt idx="8882">
                  <c:v>59.615-59.622</c:v>
                </c:pt>
                <c:pt idx="8883">
                  <c:v>59.622-59.629</c:v>
                </c:pt>
                <c:pt idx="8884">
                  <c:v>59.629-59.635</c:v>
                </c:pt>
                <c:pt idx="8885">
                  <c:v>59.635-59.642</c:v>
                </c:pt>
                <c:pt idx="8886">
                  <c:v>59.642-59.649</c:v>
                </c:pt>
                <c:pt idx="8887">
                  <c:v>59.649-59.656</c:v>
                </c:pt>
                <c:pt idx="8888">
                  <c:v>59.656-59.662</c:v>
                </c:pt>
                <c:pt idx="8889">
                  <c:v>59.662-59.669</c:v>
                </c:pt>
                <c:pt idx="8890">
                  <c:v>59.669-59.676</c:v>
                </c:pt>
                <c:pt idx="8891">
                  <c:v>59.676-59.682</c:v>
                </c:pt>
                <c:pt idx="8892">
                  <c:v>59.682-59.689</c:v>
                </c:pt>
                <c:pt idx="8893">
                  <c:v>59.689-59.696</c:v>
                </c:pt>
                <c:pt idx="8894">
                  <c:v>59.696-59.703</c:v>
                </c:pt>
                <c:pt idx="8895">
                  <c:v>59.703-59.709</c:v>
                </c:pt>
                <c:pt idx="8896">
                  <c:v>59.709-59.716</c:v>
                </c:pt>
                <c:pt idx="8897">
                  <c:v>59.716-59.723</c:v>
                </c:pt>
                <c:pt idx="8898">
                  <c:v>59.723-59.729</c:v>
                </c:pt>
                <c:pt idx="8899">
                  <c:v>59.729-59.736</c:v>
                </c:pt>
                <c:pt idx="8900">
                  <c:v>59.736-59.743</c:v>
                </c:pt>
                <c:pt idx="8901">
                  <c:v>59.743-59.750</c:v>
                </c:pt>
                <c:pt idx="8902">
                  <c:v>59.750-59.756</c:v>
                </c:pt>
                <c:pt idx="8903">
                  <c:v>59.756-59.763</c:v>
                </c:pt>
                <c:pt idx="8904">
                  <c:v>59.763-59.770</c:v>
                </c:pt>
                <c:pt idx="8905">
                  <c:v>59.770-59.776</c:v>
                </c:pt>
                <c:pt idx="8906">
                  <c:v>59.776-59.783</c:v>
                </c:pt>
                <c:pt idx="8907">
                  <c:v>59.783-59.790</c:v>
                </c:pt>
                <c:pt idx="8908">
                  <c:v>59.790-59.797</c:v>
                </c:pt>
                <c:pt idx="8909">
                  <c:v>59.797-59.803</c:v>
                </c:pt>
                <c:pt idx="8910">
                  <c:v>59.803-59.810</c:v>
                </c:pt>
                <c:pt idx="8911">
                  <c:v>59.810-59.817</c:v>
                </c:pt>
                <c:pt idx="8912">
                  <c:v>59.817-59.823</c:v>
                </c:pt>
                <c:pt idx="8913">
                  <c:v>59.823-59.830</c:v>
                </c:pt>
                <c:pt idx="8914">
                  <c:v>59.830-59.837</c:v>
                </c:pt>
                <c:pt idx="8915">
                  <c:v>59.837-59.843</c:v>
                </c:pt>
                <c:pt idx="8916">
                  <c:v>59.843-59.850</c:v>
                </c:pt>
                <c:pt idx="8917">
                  <c:v>59.850-59.857</c:v>
                </c:pt>
                <c:pt idx="8918">
                  <c:v>59.857-59.864</c:v>
                </c:pt>
                <c:pt idx="8919">
                  <c:v>59.864-59.870</c:v>
                </c:pt>
                <c:pt idx="8920">
                  <c:v>59.870-59.877</c:v>
                </c:pt>
                <c:pt idx="8921">
                  <c:v>59.877-59.884</c:v>
                </c:pt>
                <c:pt idx="8922">
                  <c:v>59.884-59.890</c:v>
                </c:pt>
                <c:pt idx="8923">
                  <c:v>59.890-59.897</c:v>
                </c:pt>
                <c:pt idx="8924">
                  <c:v>59.897-59.904</c:v>
                </c:pt>
                <c:pt idx="8925">
                  <c:v>59.904-59.911</c:v>
                </c:pt>
                <c:pt idx="8926">
                  <c:v>59.911-59.917</c:v>
                </c:pt>
                <c:pt idx="8927">
                  <c:v>59.917-59.924</c:v>
                </c:pt>
                <c:pt idx="8928">
                  <c:v>59.924-59.931</c:v>
                </c:pt>
                <c:pt idx="8929">
                  <c:v>59.931-59.937</c:v>
                </c:pt>
                <c:pt idx="8930">
                  <c:v>59.937-59.944</c:v>
                </c:pt>
                <c:pt idx="8931">
                  <c:v>59.944-59.951</c:v>
                </c:pt>
                <c:pt idx="8932">
                  <c:v>59.951-59.958</c:v>
                </c:pt>
                <c:pt idx="8933">
                  <c:v>59.958-59.964</c:v>
                </c:pt>
                <c:pt idx="8934">
                  <c:v>59.964-59.971</c:v>
                </c:pt>
                <c:pt idx="8935">
                  <c:v>59.971-59.978</c:v>
                </c:pt>
                <c:pt idx="8936">
                  <c:v>59.978-59.984</c:v>
                </c:pt>
                <c:pt idx="8937">
                  <c:v>59.984-59.991</c:v>
                </c:pt>
                <c:pt idx="8938">
                  <c:v>59.991-59.998</c:v>
                </c:pt>
                <c:pt idx="8939">
                  <c:v>59.998-60.005</c:v>
                </c:pt>
                <c:pt idx="8940">
                  <c:v>60.005-60.011</c:v>
                </c:pt>
                <c:pt idx="8941">
                  <c:v>60.011-60.018</c:v>
                </c:pt>
                <c:pt idx="8942">
                  <c:v>60.018-60.025</c:v>
                </c:pt>
                <c:pt idx="8943">
                  <c:v>60.025-60.031</c:v>
                </c:pt>
                <c:pt idx="8944">
                  <c:v>60.031-60.038</c:v>
                </c:pt>
                <c:pt idx="8945">
                  <c:v>60.038-60.045</c:v>
                </c:pt>
                <c:pt idx="8946">
                  <c:v>60.045-60.052</c:v>
                </c:pt>
                <c:pt idx="8947">
                  <c:v>60.052-60.058</c:v>
                </c:pt>
                <c:pt idx="8948">
                  <c:v>60.058-60.065</c:v>
                </c:pt>
                <c:pt idx="8949">
                  <c:v>60.065-60.072</c:v>
                </c:pt>
                <c:pt idx="8950">
                  <c:v>60.072-60.078</c:v>
                </c:pt>
                <c:pt idx="8951">
                  <c:v>60.078-60.085</c:v>
                </c:pt>
                <c:pt idx="8952">
                  <c:v>60.085-60.092</c:v>
                </c:pt>
                <c:pt idx="8953">
                  <c:v>60.092-60.099</c:v>
                </c:pt>
                <c:pt idx="8954">
                  <c:v>60.099-60.105</c:v>
                </c:pt>
                <c:pt idx="8955">
                  <c:v>60.105-60.112</c:v>
                </c:pt>
                <c:pt idx="8956">
                  <c:v>60.112-60.119</c:v>
                </c:pt>
                <c:pt idx="8957">
                  <c:v>60.119-60.125</c:v>
                </c:pt>
                <c:pt idx="8958">
                  <c:v>60.125-60.132</c:v>
                </c:pt>
                <c:pt idx="8959">
                  <c:v>60.132-60.139</c:v>
                </c:pt>
                <c:pt idx="8960">
                  <c:v>60.139-60.145</c:v>
                </c:pt>
                <c:pt idx="8961">
                  <c:v>60.145-60.152</c:v>
                </c:pt>
                <c:pt idx="8962">
                  <c:v>60.152-60.159</c:v>
                </c:pt>
                <c:pt idx="8963">
                  <c:v>60.159-60.166</c:v>
                </c:pt>
                <c:pt idx="8964">
                  <c:v>60.166-60.172</c:v>
                </c:pt>
                <c:pt idx="8965">
                  <c:v>60.172-60.179</c:v>
                </c:pt>
                <c:pt idx="8966">
                  <c:v>60.179-60.186</c:v>
                </c:pt>
                <c:pt idx="8967">
                  <c:v>60.186-60.192</c:v>
                </c:pt>
                <c:pt idx="8968">
                  <c:v>60.192-60.199</c:v>
                </c:pt>
                <c:pt idx="8969">
                  <c:v>60.199-60.206</c:v>
                </c:pt>
                <c:pt idx="8970">
                  <c:v>60.206-60.213</c:v>
                </c:pt>
                <c:pt idx="8971">
                  <c:v>60.213-60.219</c:v>
                </c:pt>
                <c:pt idx="8972">
                  <c:v>60.219-60.226</c:v>
                </c:pt>
                <c:pt idx="8973">
                  <c:v>60.226-60.233</c:v>
                </c:pt>
                <c:pt idx="8974">
                  <c:v>60.233-60.239</c:v>
                </c:pt>
                <c:pt idx="8975">
                  <c:v>60.239-60.246</c:v>
                </c:pt>
                <c:pt idx="8976">
                  <c:v>60.246-60.253</c:v>
                </c:pt>
                <c:pt idx="8977">
                  <c:v>60.253-60.260</c:v>
                </c:pt>
                <c:pt idx="8978">
                  <c:v>60.260-60.266</c:v>
                </c:pt>
                <c:pt idx="8979">
                  <c:v>60.266-60.273</c:v>
                </c:pt>
                <c:pt idx="8980">
                  <c:v>60.273-60.280</c:v>
                </c:pt>
                <c:pt idx="8981">
                  <c:v>60.280-60.286</c:v>
                </c:pt>
                <c:pt idx="8982">
                  <c:v>60.286-60.293</c:v>
                </c:pt>
                <c:pt idx="8983">
                  <c:v>60.293-60.300</c:v>
                </c:pt>
                <c:pt idx="8984">
                  <c:v>60.300-60.307</c:v>
                </c:pt>
                <c:pt idx="8985">
                  <c:v>60.307-60.313</c:v>
                </c:pt>
                <c:pt idx="8986">
                  <c:v>60.313-60.320</c:v>
                </c:pt>
                <c:pt idx="8987">
                  <c:v>60.320-60.327</c:v>
                </c:pt>
                <c:pt idx="8988">
                  <c:v>60.327-60.333</c:v>
                </c:pt>
                <c:pt idx="8989">
                  <c:v>60.333-60.340</c:v>
                </c:pt>
                <c:pt idx="8990">
                  <c:v>60.340-60.347</c:v>
                </c:pt>
                <c:pt idx="8991">
                  <c:v>60.347-60.354</c:v>
                </c:pt>
                <c:pt idx="8992">
                  <c:v>60.354-60.360</c:v>
                </c:pt>
                <c:pt idx="8993">
                  <c:v>60.360-60.367</c:v>
                </c:pt>
                <c:pt idx="8994">
                  <c:v>60.367-60.374</c:v>
                </c:pt>
                <c:pt idx="8995">
                  <c:v>60.374-60.380</c:v>
                </c:pt>
                <c:pt idx="8996">
                  <c:v>60.380-60.387</c:v>
                </c:pt>
                <c:pt idx="8997">
                  <c:v>60.387-60.394</c:v>
                </c:pt>
                <c:pt idx="8998">
                  <c:v>60.394-60.400</c:v>
                </c:pt>
                <c:pt idx="8999">
                  <c:v>60.400-60.407</c:v>
                </c:pt>
                <c:pt idx="9000">
                  <c:v>60.407-60.414</c:v>
                </c:pt>
                <c:pt idx="9001">
                  <c:v>60.414-60.421</c:v>
                </c:pt>
                <c:pt idx="9002">
                  <c:v>60.421-60.427</c:v>
                </c:pt>
                <c:pt idx="9003">
                  <c:v>60.427-60.434</c:v>
                </c:pt>
                <c:pt idx="9004">
                  <c:v>60.434-60.441</c:v>
                </c:pt>
                <c:pt idx="9005">
                  <c:v>60.441-60.447</c:v>
                </c:pt>
                <c:pt idx="9006">
                  <c:v>60.447-60.454</c:v>
                </c:pt>
                <c:pt idx="9007">
                  <c:v>60.454-60.461</c:v>
                </c:pt>
                <c:pt idx="9008">
                  <c:v>60.461-60.468</c:v>
                </c:pt>
                <c:pt idx="9009">
                  <c:v>60.468-60.474</c:v>
                </c:pt>
                <c:pt idx="9010">
                  <c:v>60.474-60.481</c:v>
                </c:pt>
                <c:pt idx="9011">
                  <c:v>60.481-60.488</c:v>
                </c:pt>
                <c:pt idx="9012">
                  <c:v>60.488-60.494</c:v>
                </c:pt>
                <c:pt idx="9013">
                  <c:v>60.494-60.501</c:v>
                </c:pt>
                <c:pt idx="9014">
                  <c:v>60.501-60.508</c:v>
                </c:pt>
                <c:pt idx="9015">
                  <c:v>60.508-60.515</c:v>
                </c:pt>
                <c:pt idx="9016">
                  <c:v>60.515-60.521</c:v>
                </c:pt>
                <c:pt idx="9017">
                  <c:v>60.521-60.528</c:v>
                </c:pt>
                <c:pt idx="9018">
                  <c:v>60.528-60.535</c:v>
                </c:pt>
                <c:pt idx="9019">
                  <c:v>60.535-60.541</c:v>
                </c:pt>
                <c:pt idx="9020">
                  <c:v>60.541-60.548</c:v>
                </c:pt>
                <c:pt idx="9021">
                  <c:v>60.548-60.555</c:v>
                </c:pt>
                <c:pt idx="9022">
                  <c:v>60.555-60.562</c:v>
                </c:pt>
                <c:pt idx="9023">
                  <c:v>60.562-60.568</c:v>
                </c:pt>
                <c:pt idx="9024">
                  <c:v>60.568-60.575</c:v>
                </c:pt>
                <c:pt idx="9025">
                  <c:v>60.575-60.582</c:v>
                </c:pt>
                <c:pt idx="9026">
                  <c:v>60.582-60.588</c:v>
                </c:pt>
                <c:pt idx="9027">
                  <c:v>60.588-60.595</c:v>
                </c:pt>
                <c:pt idx="9028">
                  <c:v>60.595-60.602</c:v>
                </c:pt>
                <c:pt idx="9029">
                  <c:v>60.602-60.609</c:v>
                </c:pt>
                <c:pt idx="9030">
                  <c:v>60.609-60.615</c:v>
                </c:pt>
                <c:pt idx="9031">
                  <c:v>60.615-60.622</c:v>
                </c:pt>
                <c:pt idx="9032">
                  <c:v>60.622-60.629</c:v>
                </c:pt>
                <c:pt idx="9033">
                  <c:v>60.629-60.635</c:v>
                </c:pt>
                <c:pt idx="9034">
                  <c:v>60.635-60.642</c:v>
                </c:pt>
                <c:pt idx="9035">
                  <c:v>60.642-60.649</c:v>
                </c:pt>
                <c:pt idx="9036">
                  <c:v>60.649-60.655</c:v>
                </c:pt>
                <c:pt idx="9037">
                  <c:v>60.655-60.662</c:v>
                </c:pt>
                <c:pt idx="9038">
                  <c:v>60.662-60.669</c:v>
                </c:pt>
                <c:pt idx="9039">
                  <c:v>60.669-60.676</c:v>
                </c:pt>
                <c:pt idx="9040">
                  <c:v>60.676-60.682</c:v>
                </c:pt>
                <c:pt idx="9041">
                  <c:v>60.682-60.689</c:v>
                </c:pt>
                <c:pt idx="9042">
                  <c:v>60.689-60.696</c:v>
                </c:pt>
                <c:pt idx="9043">
                  <c:v>60.696-60.702</c:v>
                </c:pt>
                <c:pt idx="9044">
                  <c:v>60.702-60.709</c:v>
                </c:pt>
                <c:pt idx="9045">
                  <c:v>60.709-60.716</c:v>
                </c:pt>
                <c:pt idx="9046">
                  <c:v>60.716-60.723</c:v>
                </c:pt>
                <c:pt idx="9047">
                  <c:v>60.723-60.729</c:v>
                </c:pt>
                <c:pt idx="9048">
                  <c:v>60.729-60.736</c:v>
                </c:pt>
                <c:pt idx="9049">
                  <c:v>60.736-60.743</c:v>
                </c:pt>
                <c:pt idx="9050">
                  <c:v>60.743-60.749</c:v>
                </c:pt>
                <c:pt idx="9051">
                  <c:v>60.749-60.756</c:v>
                </c:pt>
                <c:pt idx="9052">
                  <c:v>60.756-60.763</c:v>
                </c:pt>
                <c:pt idx="9053">
                  <c:v>60.763-60.770</c:v>
                </c:pt>
                <c:pt idx="9054">
                  <c:v>60.770-60.776</c:v>
                </c:pt>
                <c:pt idx="9055">
                  <c:v>60.776-60.783</c:v>
                </c:pt>
                <c:pt idx="9056">
                  <c:v>60.783-60.790</c:v>
                </c:pt>
                <c:pt idx="9057">
                  <c:v>60.790-60.796</c:v>
                </c:pt>
                <c:pt idx="9058">
                  <c:v>60.796-60.803</c:v>
                </c:pt>
                <c:pt idx="9059">
                  <c:v>60.803-60.810</c:v>
                </c:pt>
                <c:pt idx="9060">
                  <c:v>60.810-60.817</c:v>
                </c:pt>
                <c:pt idx="9061">
                  <c:v>60.817-60.823</c:v>
                </c:pt>
                <c:pt idx="9062">
                  <c:v>60.823-60.830</c:v>
                </c:pt>
                <c:pt idx="9063">
                  <c:v>60.830-60.837</c:v>
                </c:pt>
                <c:pt idx="9064">
                  <c:v>60.837-60.843</c:v>
                </c:pt>
                <c:pt idx="9065">
                  <c:v>60.843-60.850</c:v>
                </c:pt>
                <c:pt idx="9066">
                  <c:v>60.850-60.857</c:v>
                </c:pt>
                <c:pt idx="9067">
                  <c:v>60.857-60.864</c:v>
                </c:pt>
                <c:pt idx="9068">
                  <c:v>60.864-60.870</c:v>
                </c:pt>
                <c:pt idx="9069">
                  <c:v>60.870-60.877</c:v>
                </c:pt>
                <c:pt idx="9070">
                  <c:v>60.877-60.884</c:v>
                </c:pt>
                <c:pt idx="9071">
                  <c:v>60.884-60.890</c:v>
                </c:pt>
                <c:pt idx="9072">
                  <c:v>60.890-60.897</c:v>
                </c:pt>
                <c:pt idx="9073">
                  <c:v>60.897-60.904</c:v>
                </c:pt>
                <c:pt idx="9074">
                  <c:v>60.904-60.911</c:v>
                </c:pt>
                <c:pt idx="9075">
                  <c:v>60.911-60.917</c:v>
                </c:pt>
                <c:pt idx="9076">
                  <c:v>60.917-60.924</c:v>
                </c:pt>
                <c:pt idx="9077">
                  <c:v>60.924-60.931</c:v>
                </c:pt>
                <c:pt idx="9078">
                  <c:v>60.931-60.937</c:v>
                </c:pt>
                <c:pt idx="9079">
                  <c:v>60.937-60.944</c:v>
                </c:pt>
                <c:pt idx="9080">
                  <c:v>60.944-60.951</c:v>
                </c:pt>
                <c:pt idx="9081">
                  <c:v>60.951-60.957</c:v>
                </c:pt>
                <c:pt idx="9082">
                  <c:v>60.957-60.964</c:v>
                </c:pt>
                <c:pt idx="9083">
                  <c:v>60.964-60.971</c:v>
                </c:pt>
                <c:pt idx="9084">
                  <c:v>60.971-60.978</c:v>
                </c:pt>
                <c:pt idx="9085">
                  <c:v>60.978-60.984</c:v>
                </c:pt>
                <c:pt idx="9086">
                  <c:v>60.984-60.991</c:v>
                </c:pt>
                <c:pt idx="9087">
                  <c:v>60.991-60.998</c:v>
                </c:pt>
                <c:pt idx="9088">
                  <c:v>60.998-61.004</c:v>
                </c:pt>
                <c:pt idx="9089">
                  <c:v>61.004-61.011</c:v>
                </c:pt>
                <c:pt idx="9090">
                  <c:v>61.011-61.018</c:v>
                </c:pt>
                <c:pt idx="9091">
                  <c:v>61.018-61.025</c:v>
                </c:pt>
                <c:pt idx="9092">
                  <c:v>61.025-61.031</c:v>
                </c:pt>
                <c:pt idx="9093">
                  <c:v>61.031-61.038</c:v>
                </c:pt>
                <c:pt idx="9094">
                  <c:v>61.038-61.045</c:v>
                </c:pt>
                <c:pt idx="9095">
                  <c:v>61.045-61.051</c:v>
                </c:pt>
                <c:pt idx="9096">
                  <c:v>61.051-61.058</c:v>
                </c:pt>
                <c:pt idx="9097">
                  <c:v>61.058-61.065</c:v>
                </c:pt>
                <c:pt idx="9098">
                  <c:v>61.065-61.072</c:v>
                </c:pt>
                <c:pt idx="9099">
                  <c:v>61.072-61.078</c:v>
                </c:pt>
                <c:pt idx="9100">
                  <c:v>61.078-61.085</c:v>
                </c:pt>
                <c:pt idx="9101">
                  <c:v>61.085-61.092</c:v>
                </c:pt>
                <c:pt idx="9102">
                  <c:v>61.092-61.098</c:v>
                </c:pt>
                <c:pt idx="9103">
                  <c:v>61.098-61.105</c:v>
                </c:pt>
                <c:pt idx="9104">
                  <c:v>61.105-61.112</c:v>
                </c:pt>
                <c:pt idx="9105">
                  <c:v>61.112-61.119</c:v>
                </c:pt>
                <c:pt idx="9106">
                  <c:v>61.119-61.125</c:v>
                </c:pt>
                <c:pt idx="9107">
                  <c:v>61.125-61.132</c:v>
                </c:pt>
                <c:pt idx="9108">
                  <c:v>61.132-61.139</c:v>
                </c:pt>
                <c:pt idx="9109">
                  <c:v>61.139-61.145</c:v>
                </c:pt>
                <c:pt idx="9110">
                  <c:v>61.145-61.152</c:v>
                </c:pt>
                <c:pt idx="9111">
                  <c:v>61.152-61.159</c:v>
                </c:pt>
                <c:pt idx="9112">
                  <c:v>61.159-61.166</c:v>
                </c:pt>
                <c:pt idx="9113">
                  <c:v>61.166-61.172</c:v>
                </c:pt>
                <c:pt idx="9114">
                  <c:v>61.172-61.179</c:v>
                </c:pt>
                <c:pt idx="9115">
                  <c:v>61.179-61.186</c:v>
                </c:pt>
                <c:pt idx="9116">
                  <c:v>61.186-61.192</c:v>
                </c:pt>
                <c:pt idx="9117">
                  <c:v>61.192-61.199</c:v>
                </c:pt>
                <c:pt idx="9118">
                  <c:v>61.199-61.206</c:v>
                </c:pt>
                <c:pt idx="9119">
                  <c:v>61.206-61.212</c:v>
                </c:pt>
                <c:pt idx="9120">
                  <c:v>61.212-61.219</c:v>
                </c:pt>
                <c:pt idx="9121">
                  <c:v>61.219-61.226</c:v>
                </c:pt>
                <c:pt idx="9122">
                  <c:v>61.226-61.233</c:v>
                </c:pt>
                <c:pt idx="9123">
                  <c:v>61.233-61.239</c:v>
                </c:pt>
                <c:pt idx="9124">
                  <c:v>61.239-61.246</c:v>
                </c:pt>
                <c:pt idx="9125">
                  <c:v>61.246-61.253</c:v>
                </c:pt>
                <c:pt idx="9126">
                  <c:v>61.253-61.259</c:v>
                </c:pt>
                <c:pt idx="9127">
                  <c:v>61.259-61.266</c:v>
                </c:pt>
                <c:pt idx="9128">
                  <c:v>61.266-61.273</c:v>
                </c:pt>
                <c:pt idx="9129">
                  <c:v>61.273-61.280</c:v>
                </c:pt>
                <c:pt idx="9130">
                  <c:v>61.280-61.286</c:v>
                </c:pt>
                <c:pt idx="9131">
                  <c:v>61.286-61.293</c:v>
                </c:pt>
                <c:pt idx="9132">
                  <c:v>61.293-61.300</c:v>
                </c:pt>
                <c:pt idx="9133">
                  <c:v>61.300-61.306</c:v>
                </c:pt>
                <c:pt idx="9134">
                  <c:v>61.306-61.313</c:v>
                </c:pt>
                <c:pt idx="9135">
                  <c:v>61.313-61.320</c:v>
                </c:pt>
                <c:pt idx="9136">
                  <c:v>61.320-61.327</c:v>
                </c:pt>
                <c:pt idx="9137">
                  <c:v>61.327-61.333</c:v>
                </c:pt>
                <c:pt idx="9138">
                  <c:v>61.333-61.340</c:v>
                </c:pt>
                <c:pt idx="9139">
                  <c:v>61.340-61.347</c:v>
                </c:pt>
                <c:pt idx="9140">
                  <c:v>61.347-61.353</c:v>
                </c:pt>
                <c:pt idx="9141">
                  <c:v>61.353-61.360</c:v>
                </c:pt>
                <c:pt idx="9142">
                  <c:v>61.360-61.367</c:v>
                </c:pt>
                <c:pt idx="9143">
                  <c:v>61.367-61.374</c:v>
                </c:pt>
                <c:pt idx="9144">
                  <c:v>61.374-61.380</c:v>
                </c:pt>
                <c:pt idx="9145">
                  <c:v>61.380-61.387</c:v>
                </c:pt>
                <c:pt idx="9146">
                  <c:v>61.387-61.394</c:v>
                </c:pt>
                <c:pt idx="9147">
                  <c:v>61.394-61.400</c:v>
                </c:pt>
                <c:pt idx="9148">
                  <c:v>61.400-61.407</c:v>
                </c:pt>
                <c:pt idx="9149">
                  <c:v>61.407-61.414</c:v>
                </c:pt>
                <c:pt idx="9150">
                  <c:v>61.414-61.421</c:v>
                </c:pt>
                <c:pt idx="9151">
                  <c:v>61.421-61.427</c:v>
                </c:pt>
                <c:pt idx="9152">
                  <c:v>61.427-61.434</c:v>
                </c:pt>
                <c:pt idx="9153">
                  <c:v>61.434-61.441</c:v>
                </c:pt>
                <c:pt idx="9154">
                  <c:v>61.441-61.447</c:v>
                </c:pt>
                <c:pt idx="9155">
                  <c:v>61.447-61.454</c:v>
                </c:pt>
                <c:pt idx="9156">
                  <c:v>61.454-61.461</c:v>
                </c:pt>
                <c:pt idx="9157">
                  <c:v>61.461-61.468</c:v>
                </c:pt>
                <c:pt idx="9158">
                  <c:v>61.468-61.474</c:v>
                </c:pt>
                <c:pt idx="9159">
                  <c:v>61.474-61.481</c:v>
                </c:pt>
                <c:pt idx="9160">
                  <c:v>61.481-61.488</c:v>
                </c:pt>
                <c:pt idx="9161">
                  <c:v>61.488-61.494</c:v>
                </c:pt>
                <c:pt idx="9162">
                  <c:v>61.494-61.501</c:v>
                </c:pt>
                <c:pt idx="9163">
                  <c:v>61.501-61.508</c:v>
                </c:pt>
                <c:pt idx="9164">
                  <c:v>61.508-61.514</c:v>
                </c:pt>
                <c:pt idx="9165">
                  <c:v>61.514-61.521</c:v>
                </c:pt>
                <c:pt idx="9166">
                  <c:v>61.521-61.528</c:v>
                </c:pt>
                <c:pt idx="9167">
                  <c:v>61.528-61.535</c:v>
                </c:pt>
                <c:pt idx="9168">
                  <c:v>61.535-61.541</c:v>
                </c:pt>
                <c:pt idx="9169">
                  <c:v>61.541-61.548</c:v>
                </c:pt>
                <c:pt idx="9170">
                  <c:v>61.548-61.555</c:v>
                </c:pt>
                <c:pt idx="9171">
                  <c:v>61.555-61.561</c:v>
                </c:pt>
                <c:pt idx="9172">
                  <c:v>61.561-61.568</c:v>
                </c:pt>
                <c:pt idx="9173">
                  <c:v>61.568-61.575</c:v>
                </c:pt>
                <c:pt idx="9174">
                  <c:v>61.575-61.582</c:v>
                </c:pt>
                <c:pt idx="9175">
                  <c:v>61.582-61.588</c:v>
                </c:pt>
                <c:pt idx="9176">
                  <c:v>61.588-61.595</c:v>
                </c:pt>
                <c:pt idx="9177">
                  <c:v>61.595-61.602</c:v>
                </c:pt>
                <c:pt idx="9178">
                  <c:v>61.602-61.608</c:v>
                </c:pt>
                <c:pt idx="9179">
                  <c:v>61.608-61.615</c:v>
                </c:pt>
                <c:pt idx="9180">
                  <c:v>61.615-61.622</c:v>
                </c:pt>
                <c:pt idx="9181">
                  <c:v>61.622-61.629</c:v>
                </c:pt>
                <c:pt idx="9182">
                  <c:v>61.629-61.635</c:v>
                </c:pt>
                <c:pt idx="9183">
                  <c:v>61.635-61.642</c:v>
                </c:pt>
                <c:pt idx="9184">
                  <c:v>61.642-61.649</c:v>
                </c:pt>
                <c:pt idx="9185">
                  <c:v>61.649-61.655</c:v>
                </c:pt>
                <c:pt idx="9186">
                  <c:v>61.655-61.662</c:v>
                </c:pt>
                <c:pt idx="9187">
                  <c:v>61.662-61.669</c:v>
                </c:pt>
                <c:pt idx="9188">
                  <c:v>61.669-61.676</c:v>
                </c:pt>
                <c:pt idx="9189">
                  <c:v>61.676-61.682</c:v>
                </c:pt>
                <c:pt idx="9190">
                  <c:v>61.682-61.689</c:v>
                </c:pt>
                <c:pt idx="9191">
                  <c:v>61.689-61.696</c:v>
                </c:pt>
                <c:pt idx="9192">
                  <c:v>61.696-61.702</c:v>
                </c:pt>
                <c:pt idx="9193">
                  <c:v>61.702-61.709</c:v>
                </c:pt>
                <c:pt idx="9194">
                  <c:v>61.709-61.716</c:v>
                </c:pt>
                <c:pt idx="9195">
                  <c:v>61.716-61.723</c:v>
                </c:pt>
                <c:pt idx="9196">
                  <c:v>61.723-61.729</c:v>
                </c:pt>
                <c:pt idx="9197">
                  <c:v>61.729-61.736</c:v>
                </c:pt>
                <c:pt idx="9198">
                  <c:v>61.736-61.743</c:v>
                </c:pt>
                <c:pt idx="9199">
                  <c:v>61.743-61.749</c:v>
                </c:pt>
                <c:pt idx="9200">
                  <c:v>61.749-61.756</c:v>
                </c:pt>
                <c:pt idx="9201">
                  <c:v>61.756-61.763</c:v>
                </c:pt>
                <c:pt idx="9202">
                  <c:v>61.763-61.769</c:v>
                </c:pt>
                <c:pt idx="9203">
                  <c:v>61.769-61.776</c:v>
                </c:pt>
                <c:pt idx="9204">
                  <c:v>61.776-61.783</c:v>
                </c:pt>
                <c:pt idx="9205">
                  <c:v>61.783-61.790</c:v>
                </c:pt>
                <c:pt idx="9206">
                  <c:v>61.790-61.796</c:v>
                </c:pt>
                <c:pt idx="9207">
                  <c:v>61.796-61.803</c:v>
                </c:pt>
                <c:pt idx="9208">
                  <c:v>61.803-61.810</c:v>
                </c:pt>
                <c:pt idx="9209">
                  <c:v>61.810-61.816</c:v>
                </c:pt>
                <c:pt idx="9210">
                  <c:v>61.816-61.823</c:v>
                </c:pt>
                <c:pt idx="9211">
                  <c:v>61.823-61.830</c:v>
                </c:pt>
                <c:pt idx="9212">
                  <c:v>61.830-61.837</c:v>
                </c:pt>
                <c:pt idx="9213">
                  <c:v>61.837-61.843</c:v>
                </c:pt>
                <c:pt idx="9214">
                  <c:v>61.843-61.850</c:v>
                </c:pt>
                <c:pt idx="9215">
                  <c:v>61.850-61.857</c:v>
                </c:pt>
                <c:pt idx="9216">
                  <c:v>61.857-61.863</c:v>
                </c:pt>
                <c:pt idx="9217">
                  <c:v>61.863-61.870</c:v>
                </c:pt>
                <c:pt idx="9218">
                  <c:v>61.870-61.877</c:v>
                </c:pt>
                <c:pt idx="9219">
                  <c:v>61.877-61.884</c:v>
                </c:pt>
                <c:pt idx="9220">
                  <c:v>61.884-61.890</c:v>
                </c:pt>
                <c:pt idx="9221">
                  <c:v>61.890-61.897</c:v>
                </c:pt>
                <c:pt idx="9222">
                  <c:v>61.897-61.904</c:v>
                </c:pt>
                <c:pt idx="9223">
                  <c:v>61.904-61.910</c:v>
                </c:pt>
                <c:pt idx="9224">
                  <c:v>61.910-61.917</c:v>
                </c:pt>
                <c:pt idx="9225">
                  <c:v>61.917-61.924</c:v>
                </c:pt>
                <c:pt idx="9226">
                  <c:v>61.924-61.931</c:v>
                </c:pt>
                <c:pt idx="9227">
                  <c:v>61.931-61.937</c:v>
                </c:pt>
                <c:pt idx="9228">
                  <c:v>61.937-61.944</c:v>
                </c:pt>
                <c:pt idx="9229">
                  <c:v>61.944-61.951</c:v>
                </c:pt>
                <c:pt idx="9230">
                  <c:v>61.951-61.957</c:v>
                </c:pt>
                <c:pt idx="9231">
                  <c:v>61.957-61.964</c:v>
                </c:pt>
                <c:pt idx="9232">
                  <c:v>61.964-61.971</c:v>
                </c:pt>
                <c:pt idx="9233">
                  <c:v>61.971-61.978</c:v>
                </c:pt>
                <c:pt idx="9234">
                  <c:v>61.978-61.984</c:v>
                </c:pt>
                <c:pt idx="9235">
                  <c:v>61.984-61.991</c:v>
                </c:pt>
                <c:pt idx="9236">
                  <c:v>61.991-61.998</c:v>
                </c:pt>
                <c:pt idx="9237">
                  <c:v>61.998-62.004</c:v>
                </c:pt>
                <c:pt idx="9238">
                  <c:v>62.004-62.011</c:v>
                </c:pt>
                <c:pt idx="9239">
                  <c:v>62.011-62.018</c:v>
                </c:pt>
                <c:pt idx="9240">
                  <c:v>62.018-62.025</c:v>
                </c:pt>
                <c:pt idx="9241">
                  <c:v>62.025-62.031</c:v>
                </c:pt>
                <c:pt idx="9242">
                  <c:v>62.031-62.038</c:v>
                </c:pt>
                <c:pt idx="9243">
                  <c:v>62.038-62.045</c:v>
                </c:pt>
                <c:pt idx="9244">
                  <c:v>62.045-62.051</c:v>
                </c:pt>
                <c:pt idx="9245">
                  <c:v>62.051-62.058</c:v>
                </c:pt>
                <c:pt idx="9246">
                  <c:v>62.058-62.065</c:v>
                </c:pt>
                <c:pt idx="9247">
                  <c:v>62.065-62.071</c:v>
                </c:pt>
                <c:pt idx="9248">
                  <c:v>62.071-62.078</c:v>
                </c:pt>
                <c:pt idx="9249">
                  <c:v>62.078-62.085</c:v>
                </c:pt>
                <c:pt idx="9250">
                  <c:v>62.085-62.092</c:v>
                </c:pt>
                <c:pt idx="9251">
                  <c:v>62.092-62.098</c:v>
                </c:pt>
                <c:pt idx="9252">
                  <c:v>62.098-62.105</c:v>
                </c:pt>
                <c:pt idx="9253">
                  <c:v>62.105-62.112</c:v>
                </c:pt>
                <c:pt idx="9254">
                  <c:v>62.112-62.118</c:v>
                </c:pt>
                <c:pt idx="9255">
                  <c:v>62.118-62.125</c:v>
                </c:pt>
                <c:pt idx="9256">
                  <c:v>62.125-62.132</c:v>
                </c:pt>
                <c:pt idx="9257">
                  <c:v>62.132-62.139</c:v>
                </c:pt>
                <c:pt idx="9258">
                  <c:v>62.139-62.145</c:v>
                </c:pt>
                <c:pt idx="9259">
                  <c:v>62.145-62.152</c:v>
                </c:pt>
                <c:pt idx="9260">
                  <c:v>62.152-62.159</c:v>
                </c:pt>
                <c:pt idx="9261">
                  <c:v>62.159-62.165</c:v>
                </c:pt>
                <c:pt idx="9262">
                  <c:v>62.165-62.172</c:v>
                </c:pt>
                <c:pt idx="9263">
                  <c:v>62.172-62.179</c:v>
                </c:pt>
                <c:pt idx="9264">
                  <c:v>62.179-62.186</c:v>
                </c:pt>
                <c:pt idx="9265">
                  <c:v>62.186-62.192</c:v>
                </c:pt>
                <c:pt idx="9266">
                  <c:v>62.192-62.199</c:v>
                </c:pt>
                <c:pt idx="9267">
                  <c:v>62.199-62.206</c:v>
                </c:pt>
                <c:pt idx="9268">
                  <c:v>62.206-62.212</c:v>
                </c:pt>
                <c:pt idx="9269">
                  <c:v>62.212-62.219</c:v>
                </c:pt>
                <c:pt idx="9270">
                  <c:v>62.219-62.226</c:v>
                </c:pt>
                <c:pt idx="9271">
                  <c:v>62.226-62.233</c:v>
                </c:pt>
                <c:pt idx="9272">
                  <c:v>62.233-62.239</c:v>
                </c:pt>
                <c:pt idx="9273">
                  <c:v>62.239-62.246</c:v>
                </c:pt>
                <c:pt idx="9274">
                  <c:v>62.246-62.253</c:v>
                </c:pt>
                <c:pt idx="9275">
                  <c:v>62.253-62.259</c:v>
                </c:pt>
                <c:pt idx="9276">
                  <c:v>62.259-62.266</c:v>
                </c:pt>
                <c:pt idx="9277">
                  <c:v>62.266-62.273</c:v>
                </c:pt>
                <c:pt idx="9278">
                  <c:v>62.273-62.280</c:v>
                </c:pt>
                <c:pt idx="9279">
                  <c:v>62.280-62.286</c:v>
                </c:pt>
                <c:pt idx="9280">
                  <c:v>62.286-62.293</c:v>
                </c:pt>
                <c:pt idx="9281">
                  <c:v>62.293-62.300</c:v>
                </c:pt>
                <c:pt idx="9282">
                  <c:v>62.300-62.306</c:v>
                </c:pt>
                <c:pt idx="9283">
                  <c:v>62.306-62.313</c:v>
                </c:pt>
                <c:pt idx="9284">
                  <c:v>62.313-62.320</c:v>
                </c:pt>
                <c:pt idx="9285">
                  <c:v>62.320-62.326</c:v>
                </c:pt>
                <c:pt idx="9286">
                  <c:v>62.326-62.333</c:v>
                </c:pt>
                <c:pt idx="9287">
                  <c:v>62.333-62.340</c:v>
                </c:pt>
                <c:pt idx="9288">
                  <c:v>62.340-62.347</c:v>
                </c:pt>
                <c:pt idx="9289">
                  <c:v>62.347-62.353</c:v>
                </c:pt>
                <c:pt idx="9290">
                  <c:v>62.353-62.360</c:v>
                </c:pt>
                <c:pt idx="9291">
                  <c:v>62.360-62.367</c:v>
                </c:pt>
                <c:pt idx="9292">
                  <c:v>62.367-62.373</c:v>
                </c:pt>
                <c:pt idx="9293">
                  <c:v>62.373-62.380</c:v>
                </c:pt>
                <c:pt idx="9294">
                  <c:v>62.380-62.387</c:v>
                </c:pt>
                <c:pt idx="9295">
                  <c:v>62.387-62.394</c:v>
                </c:pt>
                <c:pt idx="9296">
                  <c:v>62.394-62.400</c:v>
                </c:pt>
                <c:pt idx="9297">
                  <c:v>62.400-62.407</c:v>
                </c:pt>
                <c:pt idx="9298">
                  <c:v>62.407-62.414</c:v>
                </c:pt>
                <c:pt idx="9299">
                  <c:v>62.414-62.420</c:v>
                </c:pt>
                <c:pt idx="9300">
                  <c:v>62.420-62.427</c:v>
                </c:pt>
                <c:pt idx="9301">
                  <c:v>62.427-62.434</c:v>
                </c:pt>
                <c:pt idx="9302">
                  <c:v>62.434-62.441</c:v>
                </c:pt>
                <c:pt idx="9303">
                  <c:v>62.441-62.447</c:v>
                </c:pt>
                <c:pt idx="9304">
                  <c:v>62.447-62.454</c:v>
                </c:pt>
                <c:pt idx="9305">
                  <c:v>62.454-62.461</c:v>
                </c:pt>
                <c:pt idx="9306">
                  <c:v>62.461-62.467</c:v>
                </c:pt>
                <c:pt idx="9307">
                  <c:v>62.467-62.474</c:v>
                </c:pt>
                <c:pt idx="9308">
                  <c:v>62.474-62.481</c:v>
                </c:pt>
                <c:pt idx="9309">
                  <c:v>62.481-62.488</c:v>
                </c:pt>
                <c:pt idx="9310">
                  <c:v>62.488-62.494</c:v>
                </c:pt>
                <c:pt idx="9311">
                  <c:v>62.494-62.501</c:v>
                </c:pt>
                <c:pt idx="9312">
                  <c:v>62.501-62.508</c:v>
                </c:pt>
                <c:pt idx="9313">
                  <c:v>62.508-62.514</c:v>
                </c:pt>
                <c:pt idx="9314">
                  <c:v>62.514-62.521</c:v>
                </c:pt>
                <c:pt idx="9315">
                  <c:v>62.521-62.528</c:v>
                </c:pt>
                <c:pt idx="9316">
                  <c:v>62.528-62.535</c:v>
                </c:pt>
                <c:pt idx="9317">
                  <c:v>62.535-62.541</c:v>
                </c:pt>
                <c:pt idx="9318">
                  <c:v>62.541-62.548</c:v>
                </c:pt>
                <c:pt idx="9319">
                  <c:v>62.548-62.555</c:v>
                </c:pt>
                <c:pt idx="9320">
                  <c:v>62.555-62.561</c:v>
                </c:pt>
                <c:pt idx="9321">
                  <c:v>62.561-62.568</c:v>
                </c:pt>
                <c:pt idx="9322">
                  <c:v>62.568-62.575</c:v>
                </c:pt>
                <c:pt idx="9323">
                  <c:v>62.575-62.581</c:v>
                </c:pt>
                <c:pt idx="9324">
                  <c:v>62.581-62.588</c:v>
                </c:pt>
                <c:pt idx="9325">
                  <c:v>62.588-62.595</c:v>
                </c:pt>
                <c:pt idx="9326">
                  <c:v>62.595-62.602</c:v>
                </c:pt>
                <c:pt idx="9327">
                  <c:v>62.602-62.608</c:v>
                </c:pt>
                <c:pt idx="9328">
                  <c:v>62.608-62.615</c:v>
                </c:pt>
                <c:pt idx="9329">
                  <c:v>62.615-62.622</c:v>
                </c:pt>
                <c:pt idx="9330">
                  <c:v>62.622-62.628</c:v>
                </c:pt>
                <c:pt idx="9331">
                  <c:v>62.628-62.635</c:v>
                </c:pt>
                <c:pt idx="9332">
                  <c:v>62.635-62.642</c:v>
                </c:pt>
                <c:pt idx="9333">
                  <c:v>62.642-62.649</c:v>
                </c:pt>
                <c:pt idx="9334">
                  <c:v>62.649-62.655</c:v>
                </c:pt>
                <c:pt idx="9335">
                  <c:v>62.655-62.662</c:v>
                </c:pt>
                <c:pt idx="9336">
                  <c:v>62.662-62.669</c:v>
                </c:pt>
                <c:pt idx="9337">
                  <c:v>62.669-62.675</c:v>
                </c:pt>
                <c:pt idx="9338">
                  <c:v>62.675-62.682</c:v>
                </c:pt>
                <c:pt idx="9339">
                  <c:v>62.682-62.689</c:v>
                </c:pt>
                <c:pt idx="9340">
                  <c:v>62.689-62.696</c:v>
                </c:pt>
                <c:pt idx="9341">
                  <c:v>62.696-62.702</c:v>
                </c:pt>
                <c:pt idx="9342">
                  <c:v>62.702-62.709</c:v>
                </c:pt>
                <c:pt idx="9343">
                  <c:v>62.709-62.716</c:v>
                </c:pt>
                <c:pt idx="9344">
                  <c:v>62.716-62.722</c:v>
                </c:pt>
                <c:pt idx="9345">
                  <c:v>62.722-62.729</c:v>
                </c:pt>
                <c:pt idx="9346">
                  <c:v>62.729-62.736</c:v>
                </c:pt>
                <c:pt idx="9347">
                  <c:v>62.736-62.743</c:v>
                </c:pt>
                <c:pt idx="9348">
                  <c:v>62.743-62.749</c:v>
                </c:pt>
                <c:pt idx="9349">
                  <c:v>62.749-62.756</c:v>
                </c:pt>
                <c:pt idx="9350">
                  <c:v>62.756-62.763</c:v>
                </c:pt>
                <c:pt idx="9351">
                  <c:v>62.763-62.769</c:v>
                </c:pt>
                <c:pt idx="9352">
                  <c:v>62.769-62.776</c:v>
                </c:pt>
                <c:pt idx="9353">
                  <c:v>62.776-62.783</c:v>
                </c:pt>
                <c:pt idx="9354">
                  <c:v>62.783-62.790</c:v>
                </c:pt>
                <c:pt idx="9355">
                  <c:v>62.790-62.796</c:v>
                </c:pt>
                <c:pt idx="9356">
                  <c:v>62.796-62.803</c:v>
                </c:pt>
                <c:pt idx="9357">
                  <c:v>62.803-62.810</c:v>
                </c:pt>
                <c:pt idx="9358">
                  <c:v>62.810-62.816</c:v>
                </c:pt>
                <c:pt idx="9359">
                  <c:v>62.816-62.823</c:v>
                </c:pt>
                <c:pt idx="9360">
                  <c:v>62.823-62.830</c:v>
                </c:pt>
                <c:pt idx="9361">
                  <c:v>62.830-62.837</c:v>
                </c:pt>
                <c:pt idx="9362">
                  <c:v>62.837-62.843</c:v>
                </c:pt>
                <c:pt idx="9363">
                  <c:v>62.843-62.850</c:v>
                </c:pt>
                <c:pt idx="9364">
                  <c:v>62.850-62.857</c:v>
                </c:pt>
                <c:pt idx="9365">
                  <c:v>62.857-62.863</c:v>
                </c:pt>
                <c:pt idx="9366">
                  <c:v>62.863-62.870</c:v>
                </c:pt>
                <c:pt idx="9367">
                  <c:v>62.870-62.877</c:v>
                </c:pt>
                <c:pt idx="9368">
                  <c:v>62.877-62.883</c:v>
                </c:pt>
                <c:pt idx="9369">
                  <c:v>62.883-62.890</c:v>
                </c:pt>
                <c:pt idx="9370">
                  <c:v>62.890-62.897</c:v>
                </c:pt>
                <c:pt idx="9371">
                  <c:v>62.897-62.904</c:v>
                </c:pt>
                <c:pt idx="9372">
                  <c:v>62.904-62.910</c:v>
                </c:pt>
                <c:pt idx="9373">
                  <c:v>62.910-62.917</c:v>
                </c:pt>
                <c:pt idx="9374">
                  <c:v>62.917-62.924</c:v>
                </c:pt>
                <c:pt idx="9375">
                  <c:v>62.924-62.930</c:v>
                </c:pt>
                <c:pt idx="9376">
                  <c:v>62.930-62.937</c:v>
                </c:pt>
                <c:pt idx="9377">
                  <c:v>62.937-62.944</c:v>
                </c:pt>
                <c:pt idx="9378">
                  <c:v>62.944-62.951</c:v>
                </c:pt>
                <c:pt idx="9379">
                  <c:v>62.951-62.957</c:v>
                </c:pt>
                <c:pt idx="9380">
                  <c:v>62.957-62.964</c:v>
                </c:pt>
                <c:pt idx="9381">
                  <c:v>62.964-62.971</c:v>
                </c:pt>
                <c:pt idx="9382">
                  <c:v>62.971-62.977</c:v>
                </c:pt>
                <c:pt idx="9383">
                  <c:v>62.977-62.984</c:v>
                </c:pt>
                <c:pt idx="9384">
                  <c:v>62.984-62.991</c:v>
                </c:pt>
                <c:pt idx="9385">
                  <c:v>62.991-62.998</c:v>
                </c:pt>
                <c:pt idx="9386">
                  <c:v>62.998-63.004</c:v>
                </c:pt>
                <c:pt idx="9387">
                  <c:v>63.004-63.011</c:v>
                </c:pt>
                <c:pt idx="9388">
                  <c:v>63.011-63.018</c:v>
                </c:pt>
                <c:pt idx="9389">
                  <c:v>63.018-63.024</c:v>
                </c:pt>
                <c:pt idx="9390">
                  <c:v>63.024-63.031</c:v>
                </c:pt>
                <c:pt idx="9391">
                  <c:v>63.031-63.038</c:v>
                </c:pt>
                <c:pt idx="9392">
                  <c:v>63.038-63.045</c:v>
                </c:pt>
                <c:pt idx="9393">
                  <c:v>63.045-63.051</c:v>
                </c:pt>
                <c:pt idx="9394">
                  <c:v>63.051-63.058</c:v>
                </c:pt>
                <c:pt idx="9395">
                  <c:v>63.058-63.065</c:v>
                </c:pt>
                <c:pt idx="9396">
                  <c:v>63.065-63.071</c:v>
                </c:pt>
                <c:pt idx="9397">
                  <c:v>63.071-63.078</c:v>
                </c:pt>
                <c:pt idx="9398">
                  <c:v>63.078-63.085</c:v>
                </c:pt>
                <c:pt idx="9399">
                  <c:v>63.085-63.092</c:v>
                </c:pt>
                <c:pt idx="9400">
                  <c:v>63.092-63.098</c:v>
                </c:pt>
                <c:pt idx="9401">
                  <c:v>63.098-63.105</c:v>
                </c:pt>
                <c:pt idx="9402">
                  <c:v>63.105-63.112</c:v>
                </c:pt>
                <c:pt idx="9403">
                  <c:v>63.112-63.118</c:v>
                </c:pt>
                <c:pt idx="9404">
                  <c:v>63.118-63.125</c:v>
                </c:pt>
                <c:pt idx="9405">
                  <c:v>63.125-63.132</c:v>
                </c:pt>
                <c:pt idx="9406">
                  <c:v>63.132-63.138</c:v>
                </c:pt>
                <c:pt idx="9407">
                  <c:v>63.138-63.145</c:v>
                </c:pt>
                <c:pt idx="9408">
                  <c:v>63.145-63.152</c:v>
                </c:pt>
                <c:pt idx="9409">
                  <c:v>63.152-63.159</c:v>
                </c:pt>
                <c:pt idx="9410">
                  <c:v>63.159-63.165</c:v>
                </c:pt>
                <c:pt idx="9411">
                  <c:v>63.165-63.172</c:v>
                </c:pt>
                <c:pt idx="9412">
                  <c:v>63.172-63.179</c:v>
                </c:pt>
                <c:pt idx="9413">
                  <c:v>63.179-63.185</c:v>
                </c:pt>
                <c:pt idx="9414">
                  <c:v>63.185-63.192</c:v>
                </c:pt>
                <c:pt idx="9415">
                  <c:v>63.192-63.199</c:v>
                </c:pt>
                <c:pt idx="9416">
                  <c:v>63.199-63.206</c:v>
                </c:pt>
                <c:pt idx="9417">
                  <c:v>63.206-63.212</c:v>
                </c:pt>
                <c:pt idx="9418">
                  <c:v>63.212-63.219</c:v>
                </c:pt>
                <c:pt idx="9419">
                  <c:v>63.219-63.226</c:v>
                </c:pt>
                <c:pt idx="9420">
                  <c:v>63.226-63.232</c:v>
                </c:pt>
                <c:pt idx="9421">
                  <c:v>63.232-63.239</c:v>
                </c:pt>
                <c:pt idx="9422">
                  <c:v>63.239-63.246</c:v>
                </c:pt>
                <c:pt idx="9423">
                  <c:v>63.246-63.253</c:v>
                </c:pt>
                <c:pt idx="9424">
                  <c:v>63.253-63.259</c:v>
                </c:pt>
                <c:pt idx="9425">
                  <c:v>63.259-63.266</c:v>
                </c:pt>
                <c:pt idx="9426">
                  <c:v>63.266-63.273</c:v>
                </c:pt>
                <c:pt idx="9427">
                  <c:v>63.273-63.279</c:v>
                </c:pt>
                <c:pt idx="9428">
                  <c:v>63.279-63.286</c:v>
                </c:pt>
                <c:pt idx="9429">
                  <c:v>63.286-63.293</c:v>
                </c:pt>
                <c:pt idx="9430">
                  <c:v>63.293-63.300</c:v>
                </c:pt>
                <c:pt idx="9431">
                  <c:v>63.300-63.306</c:v>
                </c:pt>
                <c:pt idx="9432">
                  <c:v>63.306-63.313</c:v>
                </c:pt>
                <c:pt idx="9433">
                  <c:v>63.313-63.320</c:v>
                </c:pt>
                <c:pt idx="9434">
                  <c:v>63.320-63.326</c:v>
                </c:pt>
                <c:pt idx="9435">
                  <c:v>63.326-63.333</c:v>
                </c:pt>
                <c:pt idx="9436">
                  <c:v>63.333-63.340</c:v>
                </c:pt>
                <c:pt idx="9437">
                  <c:v>63.340-63.347</c:v>
                </c:pt>
                <c:pt idx="9438">
                  <c:v>63.347-63.353</c:v>
                </c:pt>
                <c:pt idx="9439">
                  <c:v>63.353-63.360</c:v>
                </c:pt>
                <c:pt idx="9440">
                  <c:v>63.360-63.367</c:v>
                </c:pt>
                <c:pt idx="9441">
                  <c:v>63.367-63.373</c:v>
                </c:pt>
                <c:pt idx="9442">
                  <c:v>63.373-63.380</c:v>
                </c:pt>
                <c:pt idx="9443">
                  <c:v>63.380-63.387</c:v>
                </c:pt>
                <c:pt idx="9444">
                  <c:v>63.387-63.394</c:v>
                </c:pt>
                <c:pt idx="9445">
                  <c:v>63.394-63.400</c:v>
                </c:pt>
                <c:pt idx="9446">
                  <c:v>63.400-63.407</c:v>
                </c:pt>
                <c:pt idx="9447">
                  <c:v>63.407-63.414</c:v>
                </c:pt>
                <c:pt idx="9448">
                  <c:v>63.414-63.420</c:v>
                </c:pt>
                <c:pt idx="9449">
                  <c:v>63.420-63.427</c:v>
                </c:pt>
                <c:pt idx="9450">
                  <c:v>63.427-63.434</c:v>
                </c:pt>
                <c:pt idx="9451">
                  <c:v>63.434-63.440</c:v>
                </c:pt>
                <c:pt idx="9452">
                  <c:v>63.440-63.447</c:v>
                </c:pt>
                <c:pt idx="9453">
                  <c:v>63.447-63.454</c:v>
                </c:pt>
                <c:pt idx="9454">
                  <c:v>63.454-63.461</c:v>
                </c:pt>
                <c:pt idx="9455">
                  <c:v>63.461-63.467</c:v>
                </c:pt>
                <c:pt idx="9456">
                  <c:v>63.467-63.474</c:v>
                </c:pt>
                <c:pt idx="9457">
                  <c:v>63.474-63.481</c:v>
                </c:pt>
                <c:pt idx="9458">
                  <c:v>63.481-63.487</c:v>
                </c:pt>
                <c:pt idx="9459">
                  <c:v>63.487-63.494</c:v>
                </c:pt>
                <c:pt idx="9460">
                  <c:v>63.494-63.501</c:v>
                </c:pt>
                <c:pt idx="9461">
                  <c:v>63.501-63.508</c:v>
                </c:pt>
                <c:pt idx="9462">
                  <c:v>63.508-63.514</c:v>
                </c:pt>
                <c:pt idx="9463">
                  <c:v>63.514-63.521</c:v>
                </c:pt>
                <c:pt idx="9464">
                  <c:v>63.521-63.528</c:v>
                </c:pt>
                <c:pt idx="9465">
                  <c:v>63.528-63.534</c:v>
                </c:pt>
                <c:pt idx="9466">
                  <c:v>63.534-63.541</c:v>
                </c:pt>
                <c:pt idx="9467">
                  <c:v>63.541-63.548</c:v>
                </c:pt>
                <c:pt idx="9468">
                  <c:v>63.548-63.555</c:v>
                </c:pt>
                <c:pt idx="9469">
                  <c:v>63.555-63.561</c:v>
                </c:pt>
                <c:pt idx="9470">
                  <c:v>63.561-63.568</c:v>
                </c:pt>
                <c:pt idx="9471">
                  <c:v>63.568-63.575</c:v>
                </c:pt>
                <c:pt idx="9472">
                  <c:v>63.575-63.581</c:v>
                </c:pt>
                <c:pt idx="9473">
                  <c:v>63.581-63.588</c:v>
                </c:pt>
                <c:pt idx="9474">
                  <c:v>63.588-63.595</c:v>
                </c:pt>
                <c:pt idx="9475">
                  <c:v>63.595-63.602</c:v>
                </c:pt>
                <c:pt idx="9476">
                  <c:v>63.602-63.608</c:v>
                </c:pt>
                <c:pt idx="9477">
                  <c:v>63.608-63.615</c:v>
                </c:pt>
                <c:pt idx="9478">
                  <c:v>63.615-63.622</c:v>
                </c:pt>
                <c:pt idx="9479">
                  <c:v>63.622-63.628</c:v>
                </c:pt>
                <c:pt idx="9480">
                  <c:v>63.628-63.635</c:v>
                </c:pt>
                <c:pt idx="9481">
                  <c:v>63.635-63.642</c:v>
                </c:pt>
                <c:pt idx="9482">
                  <c:v>63.642-63.649</c:v>
                </c:pt>
                <c:pt idx="9483">
                  <c:v>63.649-63.655</c:v>
                </c:pt>
                <c:pt idx="9484">
                  <c:v>63.655-63.662</c:v>
                </c:pt>
                <c:pt idx="9485">
                  <c:v>63.662-63.669</c:v>
                </c:pt>
                <c:pt idx="9486">
                  <c:v>63.669-63.675</c:v>
                </c:pt>
                <c:pt idx="9487">
                  <c:v>63.675-63.682</c:v>
                </c:pt>
                <c:pt idx="9488">
                  <c:v>63.682-63.689</c:v>
                </c:pt>
                <c:pt idx="9489">
                  <c:v>63.689-63.695</c:v>
                </c:pt>
                <c:pt idx="9490">
                  <c:v>63.695-63.702</c:v>
                </c:pt>
                <c:pt idx="9491">
                  <c:v>63.702-63.709</c:v>
                </c:pt>
                <c:pt idx="9492">
                  <c:v>63.709-63.716</c:v>
                </c:pt>
                <c:pt idx="9493">
                  <c:v>63.716-63.722</c:v>
                </c:pt>
                <c:pt idx="9494">
                  <c:v>63.722-63.729</c:v>
                </c:pt>
                <c:pt idx="9495">
                  <c:v>63.729-63.736</c:v>
                </c:pt>
                <c:pt idx="9496">
                  <c:v>63.736-63.742</c:v>
                </c:pt>
                <c:pt idx="9497">
                  <c:v>63.742-63.749</c:v>
                </c:pt>
                <c:pt idx="9498">
                  <c:v>63.749-63.756</c:v>
                </c:pt>
                <c:pt idx="9499">
                  <c:v>63.756-63.763</c:v>
                </c:pt>
                <c:pt idx="9500">
                  <c:v>63.763-63.769</c:v>
                </c:pt>
                <c:pt idx="9501">
                  <c:v>63.769-63.776</c:v>
                </c:pt>
                <c:pt idx="9502">
                  <c:v>63.776-63.783</c:v>
                </c:pt>
                <c:pt idx="9503">
                  <c:v>63.783-63.789</c:v>
                </c:pt>
                <c:pt idx="9504">
                  <c:v>63.789-63.796</c:v>
                </c:pt>
                <c:pt idx="9505">
                  <c:v>63.796-63.803</c:v>
                </c:pt>
                <c:pt idx="9506">
                  <c:v>63.803-63.810</c:v>
                </c:pt>
                <c:pt idx="9507">
                  <c:v>63.810-63.816</c:v>
                </c:pt>
                <c:pt idx="9508">
                  <c:v>63.816-63.823</c:v>
                </c:pt>
                <c:pt idx="9509">
                  <c:v>63.823-63.830</c:v>
                </c:pt>
                <c:pt idx="9510">
                  <c:v>63.830-63.836</c:v>
                </c:pt>
                <c:pt idx="9511">
                  <c:v>63.836-63.843</c:v>
                </c:pt>
                <c:pt idx="9512">
                  <c:v>63.843-63.850</c:v>
                </c:pt>
                <c:pt idx="9513">
                  <c:v>63.850-63.857</c:v>
                </c:pt>
                <c:pt idx="9514">
                  <c:v>63.857-63.863</c:v>
                </c:pt>
                <c:pt idx="9515">
                  <c:v>63.863-63.870</c:v>
                </c:pt>
                <c:pt idx="9516">
                  <c:v>63.870-63.877</c:v>
                </c:pt>
                <c:pt idx="9517">
                  <c:v>63.877-63.883</c:v>
                </c:pt>
                <c:pt idx="9518">
                  <c:v>63.883-63.890</c:v>
                </c:pt>
                <c:pt idx="9519">
                  <c:v>63.890-63.897</c:v>
                </c:pt>
                <c:pt idx="9520">
                  <c:v>63.897-63.904</c:v>
                </c:pt>
                <c:pt idx="9521">
                  <c:v>63.904-63.910</c:v>
                </c:pt>
                <c:pt idx="9522">
                  <c:v>63.910-63.917</c:v>
                </c:pt>
                <c:pt idx="9523">
                  <c:v>63.917-63.924</c:v>
                </c:pt>
                <c:pt idx="9524">
                  <c:v>63.924-63.930</c:v>
                </c:pt>
                <c:pt idx="9525">
                  <c:v>63.930-63.937</c:v>
                </c:pt>
                <c:pt idx="9526">
                  <c:v>63.937-63.944</c:v>
                </c:pt>
                <c:pt idx="9527">
                  <c:v>63.944-63.951</c:v>
                </c:pt>
                <c:pt idx="9528">
                  <c:v>63.951-63.957</c:v>
                </c:pt>
                <c:pt idx="9529">
                  <c:v>63.957-63.964</c:v>
                </c:pt>
                <c:pt idx="9530">
                  <c:v>63.964-63.971</c:v>
                </c:pt>
                <c:pt idx="9531">
                  <c:v>63.971-63.977</c:v>
                </c:pt>
                <c:pt idx="9532">
                  <c:v>63.977-63.984</c:v>
                </c:pt>
                <c:pt idx="9533">
                  <c:v>63.984-63.991</c:v>
                </c:pt>
                <c:pt idx="9534">
                  <c:v>63.991-63.997</c:v>
                </c:pt>
                <c:pt idx="9535">
                  <c:v>63.997-64.004</c:v>
                </c:pt>
                <c:pt idx="9536">
                  <c:v>64.004-64.011</c:v>
                </c:pt>
                <c:pt idx="9537">
                  <c:v>64.011-64.018</c:v>
                </c:pt>
                <c:pt idx="9538">
                  <c:v>64.018-64.024</c:v>
                </c:pt>
                <c:pt idx="9539">
                  <c:v>64.024-64.031</c:v>
                </c:pt>
                <c:pt idx="9540">
                  <c:v>64.031-64.038</c:v>
                </c:pt>
                <c:pt idx="9541">
                  <c:v>64.038-64.044</c:v>
                </c:pt>
                <c:pt idx="9542">
                  <c:v>64.044-64.051</c:v>
                </c:pt>
                <c:pt idx="9543">
                  <c:v>64.051-64.058</c:v>
                </c:pt>
                <c:pt idx="9544">
                  <c:v>64.058-64.065</c:v>
                </c:pt>
                <c:pt idx="9545">
                  <c:v>64.065-64.071</c:v>
                </c:pt>
                <c:pt idx="9546">
                  <c:v>64.071-64.078</c:v>
                </c:pt>
                <c:pt idx="9547">
                  <c:v>64.078-64.085</c:v>
                </c:pt>
                <c:pt idx="9548">
                  <c:v>64.085-64.091</c:v>
                </c:pt>
                <c:pt idx="9549">
                  <c:v>64.091-64.098</c:v>
                </c:pt>
                <c:pt idx="9550">
                  <c:v>64.098-64.105</c:v>
                </c:pt>
                <c:pt idx="9551">
                  <c:v>64.105-64.112</c:v>
                </c:pt>
                <c:pt idx="9552">
                  <c:v>64.112-64.118</c:v>
                </c:pt>
                <c:pt idx="9553">
                  <c:v>64.118-64.125</c:v>
                </c:pt>
                <c:pt idx="9554">
                  <c:v>64.125-64.132</c:v>
                </c:pt>
                <c:pt idx="9555">
                  <c:v>64.132-64.138</c:v>
                </c:pt>
                <c:pt idx="9556">
                  <c:v>64.138-64.145</c:v>
                </c:pt>
                <c:pt idx="9557">
                  <c:v>64.145-64.152</c:v>
                </c:pt>
                <c:pt idx="9558">
                  <c:v>64.152-64.159</c:v>
                </c:pt>
                <c:pt idx="9559">
                  <c:v>64.159-64.165</c:v>
                </c:pt>
                <c:pt idx="9560">
                  <c:v>64.165-64.172</c:v>
                </c:pt>
                <c:pt idx="9561">
                  <c:v>64.172-64.179</c:v>
                </c:pt>
                <c:pt idx="9562">
                  <c:v>64.179-64.185</c:v>
                </c:pt>
                <c:pt idx="9563">
                  <c:v>64.185-64.192</c:v>
                </c:pt>
                <c:pt idx="9564">
                  <c:v>64.192-64.199</c:v>
                </c:pt>
                <c:pt idx="9565">
                  <c:v>64.199-64.206</c:v>
                </c:pt>
                <c:pt idx="9566">
                  <c:v>64.206-64.212</c:v>
                </c:pt>
                <c:pt idx="9567">
                  <c:v>64.212-64.219</c:v>
                </c:pt>
                <c:pt idx="9568">
                  <c:v>64.219-64.226</c:v>
                </c:pt>
                <c:pt idx="9569">
                  <c:v>64.226-64.232</c:v>
                </c:pt>
                <c:pt idx="9570">
                  <c:v>64.232-64.239</c:v>
                </c:pt>
                <c:pt idx="9571">
                  <c:v>64.239-64.246</c:v>
                </c:pt>
                <c:pt idx="9572">
                  <c:v>64.246-64.252</c:v>
                </c:pt>
                <c:pt idx="9573">
                  <c:v>64.252-64.259</c:v>
                </c:pt>
                <c:pt idx="9574">
                  <c:v>64.259-64.266</c:v>
                </c:pt>
                <c:pt idx="9575">
                  <c:v>64.266-64.273</c:v>
                </c:pt>
                <c:pt idx="9576">
                  <c:v>64.273-64.279</c:v>
                </c:pt>
                <c:pt idx="9577">
                  <c:v>64.279-64.286</c:v>
                </c:pt>
                <c:pt idx="9578">
                  <c:v>64.286-64.293</c:v>
                </c:pt>
                <c:pt idx="9579">
                  <c:v>64.293-64.299</c:v>
                </c:pt>
                <c:pt idx="9580">
                  <c:v>64.299-64.306</c:v>
                </c:pt>
                <c:pt idx="9581">
                  <c:v>64.306-64.313</c:v>
                </c:pt>
                <c:pt idx="9582">
                  <c:v>64.313-64.320</c:v>
                </c:pt>
                <c:pt idx="9583">
                  <c:v>64.320-64.326</c:v>
                </c:pt>
                <c:pt idx="9584">
                  <c:v>64.326-64.333</c:v>
                </c:pt>
                <c:pt idx="9585">
                  <c:v>64.333-64.340</c:v>
                </c:pt>
                <c:pt idx="9586">
                  <c:v>64.340-64.346</c:v>
                </c:pt>
                <c:pt idx="9587">
                  <c:v>64.346-64.353</c:v>
                </c:pt>
                <c:pt idx="9588">
                  <c:v>64.353-64.360</c:v>
                </c:pt>
                <c:pt idx="9589">
                  <c:v>64.360-64.367</c:v>
                </c:pt>
                <c:pt idx="9590">
                  <c:v>64.367-64.373</c:v>
                </c:pt>
                <c:pt idx="9591">
                  <c:v>64.373-64.380</c:v>
                </c:pt>
                <c:pt idx="9592">
                  <c:v>64.380-64.387</c:v>
                </c:pt>
                <c:pt idx="9593">
                  <c:v>64.387-64.393</c:v>
                </c:pt>
                <c:pt idx="9594">
                  <c:v>64.393-64.400</c:v>
                </c:pt>
                <c:pt idx="9595">
                  <c:v>64.400-64.407</c:v>
                </c:pt>
                <c:pt idx="9596">
                  <c:v>64.407-64.414</c:v>
                </c:pt>
                <c:pt idx="9597">
                  <c:v>64.414-64.420</c:v>
                </c:pt>
                <c:pt idx="9598">
                  <c:v>64.420-64.427</c:v>
                </c:pt>
                <c:pt idx="9599">
                  <c:v>64.427-64.434</c:v>
                </c:pt>
                <c:pt idx="9600">
                  <c:v>64.434-64.440</c:v>
                </c:pt>
                <c:pt idx="9601">
                  <c:v>64.440-64.447</c:v>
                </c:pt>
                <c:pt idx="9602">
                  <c:v>64.447-64.454</c:v>
                </c:pt>
                <c:pt idx="9603">
                  <c:v>64.454-64.461</c:v>
                </c:pt>
                <c:pt idx="9604">
                  <c:v>64.461-64.467</c:v>
                </c:pt>
                <c:pt idx="9605">
                  <c:v>64.467-64.474</c:v>
                </c:pt>
                <c:pt idx="9606">
                  <c:v>64.474-64.481</c:v>
                </c:pt>
                <c:pt idx="9607">
                  <c:v>64.481-64.487</c:v>
                </c:pt>
                <c:pt idx="9608">
                  <c:v>64.487-64.494</c:v>
                </c:pt>
                <c:pt idx="9609">
                  <c:v>64.494-64.501</c:v>
                </c:pt>
                <c:pt idx="9610">
                  <c:v>64.501-64.507</c:v>
                </c:pt>
                <c:pt idx="9611">
                  <c:v>64.507-64.514</c:v>
                </c:pt>
                <c:pt idx="9612">
                  <c:v>64.514-64.521</c:v>
                </c:pt>
                <c:pt idx="9613">
                  <c:v>64.521-64.528</c:v>
                </c:pt>
                <c:pt idx="9614">
                  <c:v>64.528-64.534</c:v>
                </c:pt>
                <c:pt idx="9615">
                  <c:v>64.534-64.541</c:v>
                </c:pt>
                <c:pt idx="9616">
                  <c:v>64.541-64.548</c:v>
                </c:pt>
                <c:pt idx="9617">
                  <c:v>64.548-64.554</c:v>
                </c:pt>
                <c:pt idx="9618">
                  <c:v>64.554-64.561</c:v>
                </c:pt>
                <c:pt idx="9619">
                  <c:v>64.561-64.568</c:v>
                </c:pt>
                <c:pt idx="9620">
                  <c:v>64.568-64.575</c:v>
                </c:pt>
                <c:pt idx="9621">
                  <c:v>64.575-64.581</c:v>
                </c:pt>
                <c:pt idx="9622">
                  <c:v>64.581-64.588</c:v>
                </c:pt>
                <c:pt idx="9623">
                  <c:v>64.588-64.595</c:v>
                </c:pt>
                <c:pt idx="9624">
                  <c:v>64.595-64.601</c:v>
                </c:pt>
                <c:pt idx="9625">
                  <c:v>64.601-64.608</c:v>
                </c:pt>
                <c:pt idx="9626">
                  <c:v>64.608-64.615</c:v>
                </c:pt>
                <c:pt idx="9627">
                  <c:v>64.615-64.622</c:v>
                </c:pt>
                <c:pt idx="9628">
                  <c:v>64.622-64.628</c:v>
                </c:pt>
                <c:pt idx="9629">
                  <c:v>64.628-64.635</c:v>
                </c:pt>
                <c:pt idx="9630">
                  <c:v>64.635-64.642</c:v>
                </c:pt>
                <c:pt idx="9631">
                  <c:v>64.642-64.648</c:v>
                </c:pt>
                <c:pt idx="9632">
                  <c:v>64.648-64.655</c:v>
                </c:pt>
                <c:pt idx="9633">
                  <c:v>64.655-64.662</c:v>
                </c:pt>
                <c:pt idx="9634">
                  <c:v>64.662-64.669</c:v>
                </c:pt>
                <c:pt idx="9635">
                  <c:v>64.669-64.675</c:v>
                </c:pt>
                <c:pt idx="9636">
                  <c:v>64.675-64.682</c:v>
                </c:pt>
                <c:pt idx="9637">
                  <c:v>64.682-64.689</c:v>
                </c:pt>
                <c:pt idx="9638">
                  <c:v>64.689-64.695</c:v>
                </c:pt>
                <c:pt idx="9639">
                  <c:v>64.695-64.702</c:v>
                </c:pt>
                <c:pt idx="9640">
                  <c:v>64.702-64.709</c:v>
                </c:pt>
                <c:pt idx="9641">
                  <c:v>64.709-64.716</c:v>
                </c:pt>
                <c:pt idx="9642">
                  <c:v>64.716-64.722</c:v>
                </c:pt>
                <c:pt idx="9643">
                  <c:v>64.722-64.729</c:v>
                </c:pt>
                <c:pt idx="9644">
                  <c:v>64.729-64.736</c:v>
                </c:pt>
                <c:pt idx="9645">
                  <c:v>64.736-64.742</c:v>
                </c:pt>
                <c:pt idx="9646">
                  <c:v>64.742-64.749</c:v>
                </c:pt>
                <c:pt idx="9647">
                  <c:v>64.749-64.756</c:v>
                </c:pt>
                <c:pt idx="9648">
                  <c:v>64.756-64.763</c:v>
                </c:pt>
                <c:pt idx="9649">
                  <c:v>64.763-64.769</c:v>
                </c:pt>
                <c:pt idx="9650">
                  <c:v>64.769-64.776</c:v>
                </c:pt>
                <c:pt idx="9651">
                  <c:v>64.776-64.783</c:v>
                </c:pt>
                <c:pt idx="9652">
                  <c:v>64.783-64.789</c:v>
                </c:pt>
                <c:pt idx="9653">
                  <c:v>64.789-64.796</c:v>
                </c:pt>
                <c:pt idx="9654">
                  <c:v>64.796-64.803</c:v>
                </c:pt>
                <c:pt idx="9655">
                  <c:v>64.803-64.809</c:v>
                </c:pt>
                <c:pt idx="9656">
                  <c:v>64.809-64.816</c:v>
                </c:pt>
                <c:pt idx="9657">
                  <c:v>64.816-64.823</c:v>
                </c:pt>
                <c:pt idx="9658">
                  <c:v>64.823-64.830</c:v>
                </c:pt>
                <c:pt idx="9659">
                  <c:v>64.830-64.836</c:v>
                </c:pt>
                <c:pt idx="9660">
                  <c:v>64.836-64.843</c:v>
                </c:pt>
                <c:pt idx="9661">
                  <c:v>64.843-64.850</c:v>
                </c:pt>
                <c:pt idx="9662">
                  <c:v>64.850-64.856</c:v>
                </c:pt>
                <c:pt idx="9663">
                  <c:v>64.856-64.863</c:v>
                </c:pt>
                <c:pt idx="9664">
                  <c:v>64.863-64.870</c:v>
                </c:pt>
                <c:pt idx="9665">
                  <c:v>64.870-64.877</c:v>
                </c:pt>
                <c:pt idx="9666">
                  <c:v>64.877-64.883</c:v>
                </c:pt>
                <c:pt idx="9667">
                  <c:v>64.883-64.890</c:v>
                </c:pt>
                <c:pt idx="9668">
                  <c:v>64.890-64.897</c:v>
                </c:pt>
                <c:pt idx="9669">
                  <c:v>64.897-64.903</c:v>
                </c:pt>
                <c:pt idx="9670">
                  <c:v>64.903-64.910</c:v>
                </c:pt>
                <c:pt idx="9671">
                  <c:v>64.910-64.917</c:v>
                </c:pt>
                <c:pt idx="9672">
                  <c:v>64.917-64.924</c:v>
                </c:pt>
                <c:pt idx="9673">
                  <c:v>64.924-64.930</c:v>
                </c:pt>
                <c:pt idx="9674">
                  <c:v>64.930-64.937</c:v>
                </c:pt>
                <c:pt idx="9675">
                  <c:v>64.937-64.944</c:v>
                </c:pt>
                <c:pt idx="9676">
                  <c:v>64.944-64.950</c:v>
                </c:pt>
                <c:pt idx="9677">
                  <c:v>64.950-64.957</c:v>
                </c:pt>
                <c:pt idx="9678">
                  <c:v>64.957-64.964</c:v>
                </c:pt>
                <c:pt idx="9679">
                  <c:v>64.964-64.971</c:v>
                </c:pt>
                <c:pt idx="9680">
                  <c:v>64.971-64.977</c:v>
                </c:pt>
                <c:pt idx="9681">
                  <c:v>64.977-64.984</c:v>
                </c:pt>
                <c:pt idx="9682">
                  <c:v>64.984-64.991</c:v>
                </c:pt>
                <c:pt idx="9683">
                  <c:v>64.991-64.997</c:v>
                </c:pt>
                <c:pt idx="9684">
                  <c:v>64.997-65.004</c:v>
                </c:pt>
                <c:pt idx="9685">
                  <c:v>65.004-65.011</c:v>
                </c:pt>
                <c:pt idx="9686">
                  <c:v>65.011-65.018</c:v>
                </c:pt>
                <c:pt idx="9687">
                  <c:v>65.018-65.024</c:v>
                </c:pt>
                <c:pt idx="9688">
                  <c:v>65.024-65.031</c:v>
                </c:pt>
                <c:pt idx="9689">
                  <c:v>65.031-65.038</c:v>
                </c:pt>
                <c:pt idx="9690">
                  <c:v>65.038-65.044</c:v>
                </c:pt>
                <c:pt idx="9691">
                  <c:v>65.044-65.051</c:v>
                </c:pt>
                <c:pt idx="9692">
                  <c:v>65.051-65.058</c:v>
                </c:pt>
                <c:pt idx="9693">
                  <c:v>65.058-65.064</c:v>
                </c:pt>
                <c:pt idx="9694">
                  <c:v>65.064-65.071</c:v>
                </c:pt>
                <c:pt idx="9695">
                  <c:v>65.071-65.078</c:v>
                </c:pt>
                <c:pt idx="9696">
                  <c:v>65.078-65.085</c:v>
                </c:pt>
                <c:pt idx="9697">
                  <c:v>65.085-65.091</c:v>
                </c:pt>
                <c:pt idx="9698">
                  <c:v>65.091-65.098</c:v>
                </c:pt>
                <c:pt idx="9699">
                  <c:v>65.098-65.105</c:v>
                </c:pt>
                <c:pt idx="9700">
                  <c:v>65.105-65.111</c:v>
                </c:pt>
                <c:pt idx="9701">
                  <c:v>65.111-65.118</c:v>
                </c:pt>
                <c:pt idx="9702">
                  <c:v>65.118-65.125</c:v>
                </c:pt>
                <c:pt idx="9703">
                  <c:v>65.125-65.132</c:v>
                </c:pt>
                <c:pt idx="9704">
                  <c:v>65.132-65.138</c:v>
                </c:pt>
                <c:pt idx="9705">
                  <c:v>65.138-65.145</c:v>
                </c:pt>
                <c:pt idx="9706">
                  <c:v>65.145-65.152</c:v>
                </c:pt>
                <c:pt idx="9707">
                  <c:v>65.152-65.158</c:v>
                </c:pt>
                <c:pt idx="9708">
                  <c:v>65.158-65.165</c:v>
                </c:pt>
                <c:pt idx="9709">
                  <c:v>65.165-65.172</c:v>
                </c:pt>
                <c:pt idx="9710">
                  <c:v>65.172-65.179</c:v>
                </c:pt>
                <c:pt idx="9711">
                  <c:v>65.179-65.185</c:v>
                </c:pt>
                <c:pt idx="9712">
                  <c:v>65.185-65.192</c:v>
                </c:pt>
                <c:pt idx="9713">
                  <c:v>65.192-65.199</c:v>
                </c:pt>
                <c:pt idx="9714">
                  <c:v>65.199-65.205</c:v>
                </c:pt>
                <c:pt idx="9715">
                  <c:v>65.205-65.212</c:v>
                </c:pt>
                <c:pt idx="9716">
                  <c:v>65.212-65.219</c:v>
                </c:pt>
                <c:pt idx="9717">
                  <c:v>65.219-65.226</c:v>
                </c:pt>
                <c:pt idx="9718">
                  <c:v>65.226-65.232</c:v>
                </c:pt>
                <c:pt idx="9719">
                  <c:v>65.232-65.239</c:v>
                </c:pt>
                <c:pt idx="9720">
                  <c:v>65.239-65.246</c:v>
                </c:pt>
                <c:pt idx="9721">
                  <c:v>65.246-65.252</c:v>
                </c:pt>
                <c:pt idx="9722">
                  <c:v>65.252-65.259</c:v>
                </c:pt>
                <c:pt idx="9723">
                  <c:v>65.259-65.266</c:v>
                </c:pt>
                <c:pt idx="9724">
                  <c:v>65.266-65.273</c:v>
                </c:pt>
                <c:pt idx="9725">
                  <c:v>65.273-65.279</c:v>
                </c:pt>
                <c:pt idx="9726">
                  <c:v>65.279-65.286</c:v>
                </c:pt>
                <c:pt idx="9727">
                  <c:v>65.286-65.293</c:v>
                </c:pt>
                <c:pt idx="9728">
                  <c:v>65.293-65.299</c:v>
                </c:pt>
                <c:pt idx="9729">
                  <c:v>65.299-65.306</c:v>
                </c:pt>
                <c:pt idx="9730">
                  <c:v>65.306-65.313</c:v>
                </c:pt>
                <c:pt idx="9731">
                  <c:v>65.313-65.320</c:v>
                </c:pt>
                <c:pt idx="9732">
                  <c:v>65.320-65.326</c:v>
                </c:pt>
                <c:pt idx="9733">
                  <c:v>65.326-65.333</c:v>
                </c:pt>
                <c:pt idx="9734">
                  <c:v>65.333-65.340</c:v>
                </c:pt>
                <c:pt idx="9735">
                  <c:v>65.340-65.346</c:v>
                </c:pt>
                <c:pt idx="9736">
                  <c:v>65.346-65.353</c:v>
                </c:pt>
                <c:pt idx="9737">
                  <c:v>65.353-65.360</c:v>
                </c:pt>
                <c:pt idx="9738">
                  <c:v>65.360-65.366</c:v>
                </c:pt>
                <c:pt idx="9739">
                  <c:v>65.366-65.373</c:v>
                </c:pt>
                <c:pt idx="9740">
                  <c:v>65.373-65.380</c:v>
                </c:pt>
                <c:pt idx="9741">
                  <c:v>65.380-65.387</c:v>
                </c:pt>
                <c:pt idx="9742">
                  <c:v>65.387-65.393</c:v>
                </c:pt>
                <c:pt idx="9743">
                  <c:v>65.393-65.400</c:v>
                </c:pt>
                <c:pt idx="9744">
                  <c:v>65.400-65.407</c:v>
                </c:pt>
                <c:pt idx="9745">
                  <c:v>65.407-65.413</c:v>
                </c:pt>
                <c:pt idx="9746">
                  <c:v>65.413-65.420</c:v>
                </c:pt>
                <c:pt idx="9747">
                  <c:v>65.420-65.427</c:v>
                </c:pt>
                <c:pt idx="9748">
                  <c:v>65.427-65.434</c:v>
                </c:pt>
                <c:pt idx="9749">
                  <c:v>65.434-65.440</c:v>
                </c:pt>
                <c:pt idx="9750">
                  <c:v>65.440-65.447</c:v>
                </c:pt>
                <c:pt idx="9751">
                  <c:v>65.447-65.454</c:v>
                </c:pt>
                <c:pt idx="9752">
                  <c:v>65.454-65.460</c:v>
                </c:pt>
                <c:pt idx="9753">
                  <c:v>65.460-65.467</c:v>
                </c:pt>
                <c:pt idx="9754">
                  <c:v>65.467-65.474</c:v>
                </c:pt>
                <c:pt idx="9755">
                  <c:v>65.474-65.481</c:v>
                </c:pt>
                <c:pt idx="9756">
                  <c:v>65.481-65.487</c:v>
                </c:pt>
                <c:pt idx="9757">
                  <c:v>65.487-65.494</c:v>
                </c:pt>
                <c:pt idx="9758">
                  <c:v>65.494-65.501</c:v>
                </c:pt>
                <c:pt idx="9759">
                  <c:v>65.501-65.507</c:v>
                </c:pt>
                <c:pt idx="9760">
                  <c:v>65.507-65.514</c:v>
                </c:pt>
                <c:pt idx="9761">
                  <c:v>65.514-65.521</c:v>
                </c:pt>
                <c:pt idx="9762">
                  <c:v>65.521-65.528</c:v>
                </c:pt>
                <c:pt idx="9763">
                  <c:v>65.528-65.534</c:v>
                </c:pt>
                <c:pt idx="9764">
                  <c:v>65.534-65.541</c:v>
                </c:pt>
                <c:pt idx="9765">
                  <c:v>65.541-65.548</c:v>
                </c:pt>
                <c:pt idx="9766">
                  <c:v>65.548-65.554</c:v>
                </c:pt>
                <c:pt idx="9767">
                  <c:v>65.554-65.561</c:v>
                </c:pt>
                <c:pt idx="9768">
                  <c:v>65.561-65.568</c:v>
                </c:pt>
                <c:pt idx="9769">
                  <c:v>65.568-65.575</c:v>
                </c:pt>
                <c:pt idx="9770">
                  <c:v>65.575-65.581</c:v>
                </c:pt>
                <c:pt idx="9771">
                  <c:v>65.581-65.588</c:v>
                </c:pt>
                <c:pt idx="9772">
                  <c:v>65.588-65.595</c:v>
                </c:pt>
                <c:pt idx="9773">
                  <c:v>65.595-65.601</c:v>
                </c:pt>
                <c:pt idx="9774">
                  <c:v>65.601-65.608</c:v>
                </c:pt>
                <c:pt idx="9775">
                  <c:v>65.608-65.615</c:v>
                </c:pt>
                <c:pt idx="9776">
                  <c:v>65.615-65.621</c:v>
                </c:pt>
                <c:pt idx="9777">
                  <c:v>65.621-65.628</c:v>
                </c:pt>
                <c:pt idx="9778">
                  <c:v>65.628-65.635</c:v>
                </c:pt>
                <c:pt idx="9779">
                  <c:v>65.635-65.642</c:v>
                </c:pt>
                <c:pt idx="9780">
                  <c:v>65.642-65.648</c:v>
                </c:pt>
                <c:pt idx="9781">
                  <c:v>65.648-65.655</c:v>
                </c:pt>
                <c:pt idx="9782">
                  <c:v>65.655-65.662</c:v>
                </c:pt>
                <c:pt idx="9783">
                  <c:v>65.662-65.668</c:v>
                </c:pt>
                <c:pt idx="9784">
                  <c:v>65.668-65.675</c:v>
                </c:pt>
                <c:pt idx="9785">
                  <c:v>65.675-65.682</c:v>
                </c:pt>
                <c:pt idx="9786">
                  <c:v>65.682-65.689</c:v>
                </c:pt>
                <c:pt idx="9787">
                  <c:v>65.689-65.695</c:v>
                </c:pt>
                <c:pt idx="9788">
                  <c:v>65.695-65.702</c:v>
                </c:pt>
                <c:pt idx="9789">
                  <c:v>65.702-65.709</c:v>
                </c:pt>
                <c:pt idx="9790">
                  <c:v>65.709-65.715</c:v>
                </c:pt>
                <c:pt idx="9791">
                  <c:v>65.715-65.722</c:v>
                </c:pt>
                <c:pt idx="9792">
                  <c:v>65.722-65.729</c:v>
                </c:pt>
                <c:pt idx="9793">
                  <c:v>65.729-65.736</c:v>
                </c:pt>
                <c:pt idx="9794">
                  <c:v>65.736-65.742</c:v>
                </c:pt>
                <c:pt idx="9795">
                  <c:v>65.742-65.749</c:v>
                </c:pt>
                <c:pt idx="9796">
                  <c:v>65.749-65.756</c:v>
                </c:pt>
                <c:pt idx="9797">
                  <c:v>65.756-65.762</c:v>
                </c:pt>
                <c:pt idx="9798">
                  <c:v>65.762-65.769</c:v>
                </c:pt>
                <c:pt idx="9799">
                  <c:v>65.769-65.776</c:v>
                </c:pt>
                <c:pt idx="9800">
                  <c:v>65.776-65.783</c:v>
                </c:pt>
                <c:pt idx="9801">
                  <c:v>65.783-65.789</c:v>
                </c:pt>
                <c:pt idx="9802">
                  <c:v>65.789-65.796</c:v>
                </c:pt>
                <c:pt idx="9803">
                  <c:v>65.796-65.803</c:v>
                </c:pt>
                <c:pt idx="9804">
                  <c:v>65.803-65.809</c:v>
                </c:pt>
                <c:pt idx="9805">
                  <c:v>65.809-65.816</c:v>
                </c:pt>
                <c:pt idx="9806">
                  <c:v>65.816-65.823</c:v>
                </c:pt>
                <c:pt idx="9807">
                  <c:v>65.823-65.830</c:v>
                </c:pt>
                <c:pt idx="9808">
                  <c:v>65.830-65.836</c:v>
                </c:pt>
                <c:pt idx="9809">
                  <c:v>65.836-65.843</c:v>
                </c:pt>
                <c:pt idx="9810">
                  <c:v>65.843-65.850</c:v>
                </c:pt>
                <c:pt idx="9811">
                  <c:v>65.850-65.856</c:v>
                </c:pt>
                <c:pt idx="9812">
                  <c:v>65.856-65.863</c:v>
                </c:pt>
                <c:pt idx="9813">
                  <c:v>65.863-65.870</c:v>
                </c:pt>
                <c:pt idx="9814">
                  <c:v>65.870-65.877</c:v>
                </c:pt>
                <c:pt idx="9815">
                  <c:v>65.877-65.883</c:v>
                </c:pt>
                <c:pt idx="9816">
                  <c:v>65.883-65.890</c:v>
                </c:pt>
                <c:pt idx="9817">
                  <c:v>65.890-65.897</c:v>
                </c:pt>
                <c:pt idx="9818">
                  <c:v>65.897-65.903</c:v>
                </c:pt>
                <c:pt idx="9819">
                  <c:v>65.903-65.910</c:v>
                </c:pt>
                <c:pt idx="9820">
                  <c:v>65.910-65.917</c:v>
                </c:pt>
                <c:pt idx="9821">
                  <c:v>65.917-65.923</c:v>
                </c:pt>
                <c:pt idx="9822">
                  <c:v>65.923-65.930</c:v>
                </c:pt>
                <c:pt idx="9823">
                  <c:v>65.930-65.937</c:v>
                </c:pt>
                <c:pt idx="9824">
                  <c:v>65.937-65.944</c:v>
                </c:pt>
                <c:pt idx="9825">
                  <c:v>65.944-65.950</c:v>
                </c:pt>
                <c:pt idx="9826">
                  <c:v>65.950-65.957</c:v>
                </c:pt>
                <c:pt idx="9827">
                  <c:v>65.957-65.964</c:v>
                </c:pt>
                <c:pt idx="9828">
                  <c:v>65.964-65.970</c:v>
                </c:pt>
                <c:pt idx="9829">
                  <c:v>65.970-65.977</c:v>
                </c:pt>
                <c:pt idx="9830">
                  <c:v>65.977-65.984</c:v>
                </c:pt>
                <c:pt idx="9831">
                  <c:v>65.984-65.991</c:v>
                </c:pt>
                <c:pt idx="9832">
                  <c:v>65.991-65.997</c:v>
                </c:pt>
                <c:pt idx="9833">
                  <c:v>65.997-66.004</c:v>
                </c:pt>
                <c:pt idx="9834">
                  <c:v>66.004-66.011</c:v>
                </c:pt>
                <c:pt idx="9835">
                  <c:v>66.011-66.017</c:v>
                </c:pt>
                <c:pt idx="9836">
                  <c:v>66.017-66.024</c:v>
                </c:pt>
                <c:pt idx="9837">
                  <c:v>66.024-66.031</c:v>
                </c:pt>
                <c:pt idx="9838">
                  <c:v>66.031-66.038</c:v>
                </c:pt>
                <c:pt idx="9839">
                  <c:v>66.038-66.044</c:v>
                </c:pt>
                <c:pt idx="9840">
                  <c:v>66.044-66.051</c:v>
                </c:pt>
                <c:pt idx="9841">
                  <c:v>66.051-66.058</c:v>
                </c:pt>
                <c:pt idx="9842">
                  <c:v>66.058-66.064</c:v>
                </c:pt>
                <c:pt idx="9843">
                  <c:v>66.064-66.071</c:v>
                </c:pt>
                <c:pt idx="9844">
                  <c:v>66.071-66.078</c:v>
                </c:pt>
                <c:pt idx="9845">
                  <c:v>66.078-66.085</c:v>
                </c:pt>
                <c:pt idx="9846">
                  <c:v>66.085-66.091</c:v>
                </c:pt>
                <c:pt idx="9847">
                  <c:v>66.091-66.098</c:v>
                </c:pt>
                <c:pt idx="9848">
                  <c:v>66.098-66.105</c:v>
                </c:pt>
                <c:pt idx="9849">
                  <c:v>66.105-66.111</c:v>
                </c:pt>
                <c:pt idx="9850">
                  <c:v>66.111-66.118</c:v>
                </c:pt>
                <c:pt idx="9851">
                  <c:v>66.118-66.125</c:v>
                </c:pt>
                <c:pt idx="9852">
                  <c:v>66.125-66.132</c:v>
                </c:pt>
                <c:pt idx="9853">
                  <c:v>66.132-66.138</c:v>
                </c:pt>
                <c:pt idx="9854">
                  <c:v>66.138-66.145</c:v>
                </c:pt>
                <c:pt idx="9855">
                  <c:v>66.145-66.152</c:v>
                </c:pt>
                <c:pt idx="9856">
                  <c:v>66.152-66.158</c:v>
                </c:pt>
                <c:pt idx="9857">
                  <c:v>66.158-66.165</c:v>
                </c:pt>
                <c:pt idx="9858">
                  <c:v>66.165-66.172</c:v>
                </c:pt>
                <c:pt idx="9859">
                  <c:v>66.172-66.178</c:v>
                </c:pt>
                <c:pt idx="9860">
                  <c:v>66.178-66.185</c:v>
                </c:pt>
                <c:pt idx="9861">
                  <c:v>66.185-66.192</c:v>
                </c:pt>
                <c:pt idx="9862">
                  <c:v>66.192-66.199</c:v>
                </c:pt>
                <c:pt idx="9863">
                  <c:v>66.199-66.205</c:v>
                </c:pt>
                <c:pt idx="9864">
                  <c:v>66.205-66.212</c:v>
                </c:pt>
                <c:pt idx="9865">
                  <c:v>66.212-66.219</c:v>
                </c:pt>
                <c:pt idx="9866">
                  <c:v>66.219-66.225</c:v>
                </c:pt>
                <c:pt idx="9867">
                  <c:v>66.225-66.232</c:v>
                </c:pt>
                <c:pt idx="9868">
                  <c:v>66.232-66.239</c:v>
                </c:pt>
                <c:pt idx="9869">
                  <c:v>66.239-66.246</c:v>
                </c:pt>
                <c:pt idx="9870">
                  <c:v>66.246-66.252</c:v>
                </c:pt>
                <c:pt idx="9871">
                  <c:v>66.252-66.259</c:v>
                </c:pt>
                <c:pt idx="9872">
                  <c:v>66.259-66.266</c:v>
                </c:pt>
                <c:pt idx="9873">
                  <c:v>66.266-66.272</c:v>
                </c:pt>
                <c:pt idx="9874">
                  <c:v>66.272-66.279</c:v>
                </c:pt>
                <c:pt idx="9875">
                  <c:v>66.279-66.286</c:v>
                </c:pt>
                <c:pt idx="9876">
                  <c:v>66.286-66.293</c:v>
                </c:pt>
                <c:pt idx="9877">
                  <c:v>66.293-66.299</c:v>
                </c:pt>
                <c:pt idx="9878">
                  <c:v>66.299-66.306</c:v>
                </c:pt>
                <c:pt idx="9879">
                  <c:v>66.306-66.313</c:v>
                </c:pt>
                <c:pt idx="9880">
                  <c:v>66.313-66.319</c:v>
                </c:pt>
                <c:pt idx="9881">
                  <c:v>66.319-66.326</c:v>
                </c:pt>
                <c:pt idx="9882">
                  <c:v>66.326-66.333</c:v>
                </c:pt>
                <c:pt idx="9883">
                  <c:v>66.333-66.340</c:v>
                </c:pt>
                <c:pt idx="9884">
                  <c:v>66.340-66.346</c:v>
                </c:pt>
                <c:pt idx="9885">
                  <c:v>66.346-66.353</c:v>
                </c:pt>
                <c:pt idx="9886">
                  <c:v>66.353-66.360</c:v>
                </c:pt>
                <c:pt idx="9887">
                  <c:v>66.360-66.366</c:v>
                </c:pt>
                <c:pt idx="9888">
                  <c:v>66.366-66.373</c:v>
                </c:pt>
                <c:pt idx="9889">
                  <c:v>66.373-66.380</c:v>
                </c:pt>
                <c:pt idx="9890">
                  <c:v>66.380-66.387</c:v>
                </c:pt>
                <c:pt idx="9891">
                  <c:v>66.387-66.393</c:v>
                </c:pt>
                <c:pt idx="9892">
                  <c:v>66.393-66.400</c:v>
                </c:pt>
                <c:pt idx="9893">
                  <c:v>66.400-66.407</c:v>
                </c:pt>
                <c:pt idx="9894">
                  <c:v>66.407-66.413</c:v>
                </c:pt>
                <c:pt idx="9895">
                  <c:v>66.413-66.420</c:v>
                </c:pt>
                <c:pt idx="9896">
                  <c:v>66.420-66.427</c:v>
                </c:pt>
                <c:pt idx="9897">
                  <c:v>66.427-66.433</c:v>
                </c:pt>
                <c:pt idx="9898">
                  <c:v>66.433-66.440</c:v>
                </c:pt>
                <c:pt idx="9899">
                  <c:v>66.440-66.447</c:v>
                </c:pt>
                <c:pt idx="9900">
                  <c:v>66.447-66.454</c:v>
                </c:pt>
                <c:pt idx="9901">
                  <c:v>66.454-66.460</c:v>
                </c:pt>
                <c:pt idx="9902">
                  <c:v>66.460-66.467</c:v>
                </c:pt>
                <c:pt idx="9903">
                  <c:v>66.467-66.474</c:v>
                </c:pt>
                <c:pt idx="9904">
                  <c:v>66.474-66.480</c:v>
                </c:pt>
                <c:pt idx="9905">
                  <c:v>66.480-66.487</c:v>
                </c:pt>
                <c:pt idx="9906">
                  <c:v>66.487-66.494</c:v>
                </c:pt>
                <c:pt idx="9907">
                  <c:v>66.494-66.501</c:v>
                </c:pt>
                <c:pt idx="9908">
                  <c:v>66.501-66.507</c:v>
                </c:pt>
                <c:pt idx="9909">
                  <c:v>66.507-66.514</c:v>
                </c:pt>
                <c:pt idx="9910">
                  <c:v>66.514-66.521</c:v>
                </c:pt>
                <c:pt idx="9911">
                  <c:v>66.521-66.527</c:v>
                </c:pt>
                <c:pt idx="9912">
                  <c:v>66.527-66.534</c:v>
                </c:pt>
                <c:pt idx="9913">
                  <c:v>66.534-66.541</c:v>
                </c:pt>
                <c:pt idx="9914">
                  <c:v>66.541-66.548</c:v>
                </c:pt>
                <c:pt idx="9915">
                  <c:v>66.548-66.554</c:v>
                </c:pt>
                <c:pt idx="9916">
                  <c:v>66.554-66.561</c:v>
                </c:pt>
                <c:pt idx="9917">
                  <c:v>66.561-66.568</c:v>
                </c:pt>
                <c:pt idx="9918">
                  <c:v>66.568-66.574</c:v>
                </c:pt>
                <c:pt idx="9919">
                  <c:v>66.574-66.581</c:v>
                </c:pt>
                <c:pt idx="9920">
                  <c:v>66.581-66.588</c:v>
                </c:pt>
                <c:pt idx="9921">
                  <c:v>66.588-66.595</c:v>
                </c:pt>
                <c:pt idx="9922">
                  <c:v>66.595-66.601</c:v>
                </c:pt>
                <c:pt idx="9923">
                  <c:v>66.601-66.608</c:v>
                </c:pt>
                <c:pt idx="9924">
                  <c:v>66.608-66.615</c:v>
                </c:pt>
                <c:pt idx="9925">
                  <c:v>66.615-66.621</c:v>
                </c:pt>
                <c:pt idx="9926">
                  <c:v>66.621-66.628</c:v>
                </c:pt>
                <c:pt idx="9927">
                  <c:v>66.628-66.635</c:v>
                </c:pt>
                <c:pt idx="9928">
                  <c:v>66.635-66.642</c:v>
                </c:pt>
                <c:pt idx="9929">
                  <c:v>66.642-66.648</c:v>
                </c:pt>
                <c:pt idx="9930">
                  <c:v>66.648-66.655</c:v>
                </c:pt>
                <c:pt idx="9931">
                  <c:v>66.655-66.662</c:v>
                </c:pt>
                <c:pt idx="9932">
                  <c:v>66.662-66.668</c:v>
                </c:pt>
                <c:pt idx="9933">
                  <c:v>66.668-66.675</c:v>
                </c:pt>
                <c:pt idx="9934">
                  <c:v>66.675-66.682</c:v>
                </c:pt>
                <c:pt idx="9935">
                  <c:v>66.682-66.689</c:v>
                </c:pt>
                <c:pt idx="9936">
                  <c:v>66.689-66.695</c:v>
                </c:pt>
                <c:pt idx="9937">
                  <c:v>66.695-66.702</c:v>
                </c:pt>
                <c:pt idx="9938">
                  <c:v>66.702-66.709</c:v>
                </c:pt>
                <c:pt idx="9939">
                  <c:v>66.709-66.715</c:v>
                </c:pt>
                <c:pt idx="9940">
                  <c:v>66.715-66.722</c:v>
                </c:pt>
                <c:pt idx="9941">
                  <c:v>66.722-66.729</c:v>
                </c:pt>
                <c:pt idx="9942">
                  <c:v>66.729-66.735</c:v>
                </c:pt>
                <c:pt idx="9943">
                  <c:v>66.735-66.742</c:v>
                </c:pt>
                <c:pt idx="9944">
                  <c:v>66.742-66.749</c:v>
                </c:pt>
                <c:pt idx="9945">
                  <c:v>66.749-66.756</c:v>
                </c:pt>
                <c:pt idx="9946">
                  <c:v>66.756-66.762</c:v>
                </c:pt>
                <c:pt idx="9947">
                  <c:v>66.762-66.769</c:v>
                </c:pt>
                <c:pt idx="9948">
                  <c:v>66.769-66.776</c:v>
                </c:pt>
                <c:pt idx="9949">
                  <c:v>66.776-66.782</c:v>
                </c:pt>
                <c:pt idx="9950">
                  <c:v>66.782-66.789</c:v>
                </c:pt>
                <c:pt idx="9951">
                  <c:v>66.789-66.796</c:v>
                </c:pt>
                <c:pt idx="9952">
                  <c:v>66.796-66.803</c:v>
                </c:pt>
                <c:pt idx="9953">
                  <c:v>66.803-66.809</c:v>
                </c:pt>
                <c:pt idx="9954">
                  <c:v>66.809-66.816</c:v>
                </c:pt>
                <c:pt idx="9955">
                  <c:v>66.816-66.823</c:v>
                </c:pt>
                <c:pt idx="9956">
                  <c:v>66.823-66.829</c:v>
                </c:pt>
                <c:pt idx="9957">
                  <c:v>66.829-66.836</c:v>
                </c:pt>
                <c:pt idx="9958">
                  <c:v>66.836-66.843</c:v>
                </c:pt>
                <c:pt idx="9959">
                  <c:v>66.843-66.850</c:v>
                </c:pt>
                <c:pt idx="9960">
                  <c:v>66.850-66.856</c:v>
                </c:pt>
                <c:pt idx="9961">
                  <c:v>66.856-66.863</c:v>
                </c:pt>
                <c:pt idx="9962">
                  <c:v>66.863-66.870</c:v>
                </c:pt>
                <c:pt idx="9963">
                  <c:v>66.870-66.876</c:v>
                </c:pt>
                <c:pt idx="9964">
                  <c:v>66.876-66.883</c:v>
                </c:pt>
                <c:pt idx="9965">
                  <c:v>66.883-66.890</c:v>
                </c:pt>
                <c:pt idx="9966">
                  <c:v>66.890-66.897</c:v>
                </c:pt>
                <c:pt idx="9967">
                  <c:v>66.897-66.903</c:v>
                </c:pt>
                <c:pt idx="9968">
                  <c:v>66.903-66.910</c:v>
                </c:pt>
                <c:pt idx="9969">
                  <c:v>66.910-66.917</c:v>
                </c:pt>
                <c:pt idx="9970">
                  <c:v>66.917-66.923</c:v>
                </c:pt>
                <c:pt idx="9971">
                  <c:v>66.923-66.930</c:v>
                </c:pt>
                <c:pt idx="9972">
                  <c:v>66.930-66.937</c:v>
                </c:pt>
                <c:pt idx="9973">
                  <c:v>66.937-66.944</c:v>
                </c:pt>
                <c:pt idx="9974">
                  <c:v>66.944-66.950</c:v>
                </c:pt>
                <c:pt idx="9975">
                  <c:v>66.950-66.957</c:v>
                </c:pt>
                <c:pt idx="9976">
                  <c:v>66.957-66.964</c:v>
                </c:pt>
                <c:pt idx="9977">
                  <c:v>66.964-66.970</c:v>
                </c:pt>
                <c:pt idx="9978">
                  <c:v>66.970-66.977</c:v>
                </c:pt>
                <c:pt idx="9979">
                  <c:v>66.977-66.984</c:v>
                </c:pt>
                <c:pt idx="9980">
                  <c:v>66.984-66.990</c:v>
                </c:pt>
                <c:pt idx="9981">
                  <c:v>66.990-66.997</c:v>
                </c:pt>
                <c:pt idx="9982">
                  <c:v>66.997-67.004</c:v>
                </c:pt>
                <c:pt idx="9983">
                  <c:v>67.004-67.011</c:v>
                </c:pt>
                <c:pt idx="9984">
                  <c:v>67.011-67.017</c:v>
                </c:pt>
                <c:pt idx="9985">
                  <c:v>67.017-67.024</c:v>
                </c:pt>
                <c:pt idx="9986">
                  <c:v>67.024-67.031</c:v>
                </c:pt>
                <c:pt idx="9987">
                  <c:v>67.031-67.037</c:v>
                </c:pt>
                <c:pt idx="9988">
                  <c:v>67.037-67.044</c:v>
                </c:pt>
                <c:pt idx="9989">
                  <c:v>67.044-67.051</c:v>
                </c:pt>
                <c:pt idx="9990">
                  <c:v>67.051-67.058</c:v>
                </c:pt>
                <c:pt idx="9991">
                  <c:v>67.058-67.064</c:v>
                </c:pt>
                <c:pt idx="9992">
                  <c:v>67.064-67.071</c:v>
                </c:pt>
                <c:pt idx="9993">
                  <c:v>67.071-67.078</c:v>
                </c:pt>
                <c:pt idx="9994">
                  <c:v>67.078-67.084</c:v>
                </c:pt>
                <c:pt idx="9995">
                  <c:v>67.084-67.091</c:v>
                </c:pt>
                <c:pt idx="9996">
                  <c:v>67.091-67.098</c:v>
                </c:pt>
                <c:pt idx="9997">
                  <c:v>67.098-67.105</c:v>
                </c:pt>
                <c:pt idx="9998">
                  <c:v>67.105-67.111</c:v>
                </c:pt>
                <c:pt idx="9999">
                  <c:v>67.111-67.118</c:v>
                </c:pt>
              </c:strCache>
            </c:strRef>
          </c:cat>
          <c:val>
            <c:numRef>
              <c:f>Data!$B$4:$B$10003</c:f>
              <c:numCache>
                <c:formatCode>General</c:formatCode>
                <c:ptCount val="10000"/>
                <c:pt idx="0">
                  <c:v>0.84031199999999995</c:v>
                </c:pt>
                <c:pt idx="1">
                  <c:v>0.56736699999999995</c:v>
                </c:pt>
                <c:pt idx="2">
                  <c:v>#N/A</c:v>
                </c:pt>
                <c:pt idx="3">
                  <c:v>1.0717699999999999</c:v>
                </c:pt>
                <c:pt idx="4">
                  <c:v>0.46605099999999999</c:v>
                </c:pt>
                <c:pt idx="5">
                  <c:v>0.61716000000000004</c:v>
                </c:pt>
                <c:pt idx="6">
                  <c:v>#N/A</c:v>
                </c:pt>
                <c:pt idx="7">
                  <c:v>0.60733300000000001</c:v>
                </c:pt>
                <c:pt idx="8">
                  <c:v>0.96833499999999995</c:v>
                </c:pt>
                <c:pt idx="9">
                  <c:v>1.56609</c:v>
                </c:pt>
                <c:pt idx="10">
                  <c:v>#N/A</c:v>
                </c:pt>
                <c:pt idx="11">
                  <c:v>2.1940900000000001</c:v>
                </c:pt>
                <c:pt idx="12">
                  <c:v>3.0441199999999999</c:v>
                </c:pt>
                <c:pt idx="13">
                  <c:v>#N/A</c:v>
                </c:pt>
                <c:pt idx="14">
                  <c:v>3.8317100000000002</c:v>
                </c:pt>
                <c:pt idx="15">
                  <c:v>5.6774100000000001</c:v>
                </c:pt>
                <c:pt idx="16">
                  <c:v>6.9196999999999997</c:v>
                </c:pt>
                <c:pt idx="17">
                  <c:v>#N/A</c:v>
                </c:pt>
                <c:pt idx="18">
                  <c:v>8.2284699999999997</c:v>
                </c:pt>
                <c:pt idx="19">
                  <c:v>10.909000000000001</c:v>
                </c:pt>
                <c:pt idx="20">
                  <c:v>#N/A</c:v>
                </c:pt>
                <c:pt idx="21">
                  <c:v>12.7364</c:v>
                </c:pt>
                <c:pt idx="22">
                  <c:v>#N/A</c:v>
                </c:pt>
                <c:pt idx="23">
                  <c:v>14.090999999999999</c:v>
                </c:pt>
                <c:pt idx="24">
                  <c:v>#N/A</c:v>
                </c:pt>
                <c:pt idx="25">
                  <c:v>16.636399999999998</c:v>
                </c:pt>
                <c:pt idx="26">
                  <c:v>16.733899999999998</c:v>
                </c:pt>
                <c:pt idx="27">
                  <c:v>17.027000000000001</c:v>
                </c:pt>
                <c:pt idx="28">
                  <c:v>#N/A</c:v>
                </c:pt>
                <c:pt idx="29">
                  <c:v>18.561699999999998</c:v>
                </c:pt>
                <c:pt idx="30">
                  <c:v>17.567299999999999</c:v>
                </c:pt>
                <c:pt idx="31">
                  <c:v>18.7575</c:v>
                </c:pt>
                <c:pt idx="32">
                  <c:v>#N/A</c:v>
                </c:pt>
                <c:pt idx="33">
                  <c:v>18.007400000000001</c:v>
                </c:pt>
                <c:pt idx="34">
                  <c:v>18.348199999999999</c:v>
                </c:pt>
                <c:pt idx="35">
                  <c:v>18.5626</c:v>
                </c:pt>
                <c:pt idx="36">
                  <c:v>#N/A</c:v>
                </c:pt>
                <c:pt idx="37">
                  <c:v>18.076000000000001</c:v>
                </c:pt>
                <c:pt idx="38">
                  <c:v>17.953800000000001</c:v>
                </c:pt>
                <c:pt idx="39">
                  <c:v>17.260400000000001</c:v>
                </c:pt>
                <c:pt idx="40">
                  <c:v>#N/A</c:v>
                </c:pt>
                <c:pt idx="41">
                  <c:v>16.990300000000001</c:v>
                </c:pt>
                <c:pt idx="42">
                  <c:v>17.2578</c:v>
                </c:pt>
                <c:pt idx="43">
                  <c:v>16.983899999999998</c:v>
                </c:pt>
                <c:pt idx="44">
                  <c:v>#N/A</c:v>
                </c:pt>
                <c:pt idx="45">
                  <c:v>16.418900000000001</c:v>
                </c:pt>
                <c:pt idx="46">
                  <c:v>15.4314</c:v>
                </c:pt>
                <c:pt idx="47">
                  <c:v>12.8246</c:v>
                </c:pt>
                <c:pt idx="48">
                  <c:v>#N/A</c:v>
                </c:pt>
                <c:pt idx="49">
                  <c:v>10.9674</c:v>
                </c:pt>
                <c:pt idx="50">
                  <c:v>9.6085999999999991</c:v>
                </c:pt>
                <c:pt idx="51">
                  <c:v>#N/A</c:v>
                </c:pt>
                <c:pt idx="52">
                  <c:v>8.3660899999999998</c:v>
                </c:pt>
                <c:pt idx="53">
                  <c:v>6.9673600000000002</c:v>
                </c:pt>
                <c:pt idx="54">
                  <c:v>6.3225100000000003</c:v>
                </c:pt>
                <c:pt idx="55">
                  <c:v>#N/A</c:v>
                </c:pt>
                <c:pt idx="56">
                  <c:v>5.2324900000000003</c:v>
                </c:pt>
                <c:pt idx="57">
                  <c:v>4.01004</c:v>
                </c:pt>
                <c:pt idx="58">
                  <c:v>2.2987500000000001</c:v>
                </c:pt>
                <c:pt idx="59">
                  <c:v>#N/A</c:v>
                </c:pt>
                <c:pt idx="60">
                  <c:v>0.81293000000000004</c:v>
                </c:pt>
                <c:pt idx="61">
                  <c:v>0.95809299999999997</c:v>
                </c:pt>
                <c:pt idx="62">
                  <c:v>1.5143500000000001</c:v>
                </c:pt>
                <c:pt idx="63">
                  <c:v>#N/A</c:v>
                </c:pt>
                <c:pt idx="64">
                  <c:v>2.2323300000000001</c:v>
                </c:pt>
                <c:pt idx="65">
                  <c:v>1.9985200000000001</c:v>
                </c:pt>
                <c:pt idx="66">
                  <c:v>2.1728999999999998</c:v>
                </c:pt>
                <c:pt idx="67">
                  <c:v>#N/A</c:v>
                </c:pt>
                <c:pt idx="68">
                  <c:v>2.5200499999999999</c:v>
                </c:pt>
                <c:pt idx="69">
                  <c:v>2.2500300000000002</c:v>
                </c:pt>
                <c:pt idx="70">
                  <c:v>2.29339</c:v>
                </c:pt>
                <c:pt idx="71">
                  <c:v>#N/A</c:v>
                </c:pt>
                <c:pt idx="72">
                  <c:v>1.9077200000000001</c:v>
                </c:pt>
                <c:pt idx="73">
                  <c:v>2.5419900000000002</c:v>
                </c:pt>
                <c:pt idx="74">
                  <c:v>3.2715000000000001</c:v>
                </c:pt>
                <c:pt idx="75">
                  <c:v>#N/A</c:v>
                </c:pt>
                <c:pt idx="76">
                  <c:v>4.0924100000000001</c:v>
                </c:pt>
                <c:pt idx="77">
                  <c:v>3.8593999999999999</c:v>
                </c:pt>
                <c:pt idx="78">
                  <c:v>3.5477400000000001</c:v>
                </c:pt>
                <c:pt idx="79">
                  <c:v>#N/A</c:v>
                </c:pt>
                <c:pt idx="80">
                  <c:v>3.1708099999999999</c:v>
                </c:pt>
                <c:pt idx="81">
                  <c:v>2.9385400000000002</c:v>
                </c:pt>
                <c:pt idx="82">
                  <c:v>#N/A</c:v>
                </c:pt>
                <c:pt idx="83">
                  <c:v>2.5724499999999999</c:v>
                </c:pt>
                <c:pt idx="84">
                  <c:v>2.8525</c:v>
                </c:pt>
                <c:pt idx="85">
                  <c:v>2.7525400000000002</c:v>
                </c:pt>
                <c:pt idx="86">
                  <c:v>#N/A</c:v>
                </c:pt>
                <c:pt idx="87">
                  <c:v>3.22113</c:v>
                </c:pt>
                <c:pt idx="88">
                  <c:v>3.0802800000000001</c:v>
                </c:pt>
                <c:pt idx="89">
                  <c:v>1.8519699999999999</c:v>
                </c:pt>
                <c:pt idx="90">
                  <c:v>#N/A</c:v>
                </c:pt>
                <c:pt idx="91">
                  <c:v>1.7685500000000001</c:v>
                </c:pt>
                <c:pt idx="92">
                  <c:v>1.97177</c:v>
                </c:pt>
                <c:pt idx="93">
                  <c:v>2.6190899999999999</c:v>
                </c:pt>
                <c:pt idx="94">
                  <c:v>#N/A</c:v>
                </c:pt>
                <c:pt idx="95">
                  <c:v>3.5882000000000001</c:v>
                </c:pt>
                <c:pt idx="96">
                  <c:v>3.4444599999999999</c:v>
                </c:pt>
                <c:pt idx="97">
                  <c:v>#N/A</c:v>
                </c:pt>
                <c:pt idx="98">
                  <c:v>3.2253400000000001</c:v>
                </c:pt>
                <c:pt idx="99">
                  <c:v>2.89378</c:v>
                </c:pt>
                <c:pt idx="100">
                  <c:v>2.6583299999999999</c:v>
                </c:pt>
                <c:pt idx="101">
                  <c:v>#N/A</c:v>
                </c:pt>
                <c:pt idx="102">
                  <c:v>3.3204500000000001</c:v>
                </c:pt>
                <c:pt idx="103">
                  <c:v>3.40672</c:v>
                </c:pt>
                <c:pt idx="104">
                  <c:v>#N/A</c:v>
                </c:pt>
                <c:pt idx="105">
                  <c:v>3.7934399999999999</c:v>
                </c:pt>
                <c:pt idx="106">
                  <c:v>3.8253699999999999</c:v>
                </c:pt>
                <c:pt idx="107">
                  <c:v>3.72167</c:v>
                </c:pt>
                <c:pt idx="108">
                  <c:v>#N/A</c:v>
                </c:pt>
                <c:pt idx="109">
                  <c:v>3.4194300000000002</c:v>
                </c:pt>
                <c:pt idx="110">
                  <c:v>2.8368500000000001</c:v>
                </c:pt>
                <c:pt idx="111">
                  <c:v>2.5103</c:v>
                </c:pt>
                <c:pt idx="112">
                  <c:v>#N/A</c:v>
                </c:pt>
                <c:pt idx="113">
                  <c:v>3.09206</c:v>
                </c:pt>
                <c:pt idx="114">
                  <c:v>3.0583499999999999</c:v>
                </c:pt>
                <c:pt idx="115">
                  <c:v>3.43276</c:v>
                </c:pt>
                <c:pt idx="116">
                  <c:v>#N/A</c:v>
                </c:pt>
                <c:pt idx="117">
                  <c:v>3.4565800000000002</c:v>
                </c:pt>
                <c:pt idx="118">
                  <c:v>3.3056399999999999</c:v>
                </c:pt>
                <c:pt idx="119">
                  <c:v>3.5563899999999999</c:v>
                </c:pt>
                <c:pt idx="120">
                  <c:v>#N/A</c:v>
                </c:pt>
                <c:pt idx="121">
                  <c:v>2.4894099999999999</c:v>
                </c:pt>
                <c:pt idx="122">
                  <c:v>2.6179399999999999</c:v>
                </c:pt>
                <c:pt idx="123">
                  <c:v>2.53152</c:v>
                </c:pt>
                <c:pt idx="124">
                  <c:v>#N/A</c:v>
                </c:pt>
                <c:pt idx="125">
                  <c:v>3.2666200000000001</c:v>
                </c:pt>
                <c:pt idx="126">
                  <c:v>3.0419900000000002</c:v>
                </c:pt>
                <c:pt idx="127">
                  <c:v>#N/A</c:v>
                </c:pt>
                <c:pt idx="128">
                  <c:v>2.7687200000000001</c:v>
                </c:pt>
                <c:pt idx="129">
                  <c:v>2.5505100000000001</c:v>
                </c:pt>
                <c:pt idx="130">
                  <c:v>2.5443199999999999</c:v>
                </c:pt>
                <c:pt idx="131">
                  <c:v>#N/A</c:v>
                </c:pt>
                <c:pt idx="132">
                  <c:v>2.3153100000000002</c:v>
                </c:pt>
                <c:pt idx="133">
                  <c:v>2.2284999999999999</c:v>
                </c:pt>
                <c:pt idx="134">
                  <c:v>2.5674600000000001</c:v>
                </c:pt>
                <c:pt idx="135">
                  <c:v>#N/A</c:v>
                </c:pt>
                <c:pt idx="136">
                  <c:v>3.2029999999999998</c:v>
                </c:pt>
                <c:pt idx="137">
                  <c:v>4.1429099999999996</c:v>
                </c:pt>
                <c:pt idx="138">
                  <c:v>3.4262100000000002</c:v>
                </c:pt>
                <c:pt idx="139">
                  <c:v>#N/A</c:v>
                </c:pt>
                <c:pt idx="140">
                  <c:v>3.1680600000000001</c:v>
                </c:pt>
                <c:pt idx="141">
                  <c:v>3.4462999999999999</c:v>
                </c:pt>
                <c:pt idx="142">
                  <c:v>2.5938300000000001</c:v>
                </c:pt>
                <c:pt idx="143">
                  <c:v>#N/A</c:v>
                </c:pt>
                <c:pt idx="144">
                  <c:v>2.77529</c:v>
                </c:pt>
                <c:pt idx="145">
                  <c:v>2.6700200000000001</c:v>
                </c:pt>
                <c:pt idx="146">
                  <c:v>3.10649</c:v>
                </c:pt>
                <c:pt idx="147">
                  <c:v>#N/A</c:v>
                </c:pt>
                <c:pt idx="148">
                  <c:v>3.2873800000000002</c:v>
                </c:pt>
                <c:pt idx="149">
                  <c:v>3.7751000000000001</c:v>
                </c:pt>
                <c:pt idx="150">
                  <c:v>3.11612</c:v>
                </c:pt>
                <c:pt idx="151">
                  <c:v>#N/A</c:v>
                </c:pt>
                <c:pt idx="152">
                  <c:v>2.5962000000000001</c:v>
                </c:pt>
                <c:pt idx="153">
                  <c:v>2.0676600000000001</c:v>
                </c:pt>
                <c:pt idx="154">
                  <c:v>#N/A</c:v>
                </c:pt>
                <c:pt idx="155">
                  <c:v>1.8809199999999999</c:v>
                </c:pt>
                <c:pt idx="156">
                  <c:v>2.1634799999999998</c:v>
                </c:pt>
                <c:pt idx="157">
                  <c:v>3.15449</c:v>
                </c:pt>
                <c:pt idx="158">
                  <c:v>#N/A</c:v>
                </c:pt>
                <c:pt idx="159">
                  <c:v>3.38205</c:v>
                </c:pt>
                <c:pt idx="160">
                  <c:v>3.5091299999999999</c:v>
                </c:pt>
                <c:pt idx="161">
                  <c:v>3.68011</c:v>
                </c:pt>
                <c:pt idx="162">
                  <c:v>#N/A</c:v>
                </c:pt>
                <c:pt idx="163">
                  <c:v>3.0581200000000002</c:v>
                </c:pt>
                <c:pt idx="164">
                  <c:v>2.2817599999999998</c:v>
                </c:pt>
                <c:pt idx="165">
                  <c:v>#N/A</c:v>
                </c:pt>
                <c:pt idx="166">
                  <c:v>2.6270899999999999</c:v>
                </c:pt>
                <c:pt idx="167">
                  <c:v>2.82701</c:v>
                </c:pt>
                <c:pt idx="168">
                  <c:v>3.5970200000000001</c:v>
                </c:pt>
                <c:pt idx="169">
                  <c:v>#N/A</c:v>
                </c:pt>
                <c:pt idx="170">
                  <c:v>3.2251400000000001</c:v>
                </c:pt>
                <c:pt idx="171">
                  <c:v>3.2463600000000001</c:v>
                </c:pt>
                <c:pt idx="172">
                  <c:v>#N/A</c:v>
                </c:pt>
                <c:pt idx="173">
                  <c:v>3.2435399999999999</c:v>
                </c:pt>
                <c:pt idx="174">
                  <c:v>#N/A</c:v>
                </c:pt>
                <c:pt idx="175">
                  <c:v>3.2605200000000001</c:v>
                </c:pt>
                <c:pt idx="176">
                  <c:v>2.7537099999999999</c:v>
                </c:pt>
                <c:pt idx="177">
                  <c:v>#N/A</c:v>
                </c:pt>
                <c:pt idx="178">
                  <c:v>3.2113299999999998</c:v>
                </c:pt>
                <c:pt idx="179">
                  <c:v>2.9732099999999999</c:v>
                </c:pt>
                <c:pt idx="180">
                  <c:v>3.0732900000000001</c:v>
                </c:pt>
                <c:pt idx="181">
                  <c:v>#N/A</c:v>
                </c:pt>
                <c:pt idx="182">
                  <c:v>3.1386099999999999</c:v>
                </c:pt>
                <c:pt idx="183">
                  <c:v>3.2407400000000002</c:v>
                </c:pt>
                <c:pt idx="184">
                  <c:v>2.6984300000000001</c:v>
                </c:pt>
                <c:pt idx="185">
                  <c:v>#N/A</c:v>
                </c:pt>
                <c:pt idx="186">
                  <c:v>2.4642599999999999</c:v>
                </c:pt>
                <c:pt idx="187">
                  <c:v>2.4694699999999998</c:v>
                </c:pt>
                <c:pt idx="188">
                  <c:v>2.8620299999999999</c:v>
                </c:pt>
                <c:pt idx="189">
                  <c:v>#N/A</c:v>
                </c:pt>
                <c:pt idx="190">
                  <c:v>2.71129</c:v>
                </c:pt>
                <c:pt idx="191">
                  <c:v>2.9117700000000002</c:v>
                </c:pt>
                <c:pt idx="192">
                  <c:v>2.57151</c:v>
                </c:pt>
                <c:pt idx="193">
                  <c:v>#N/A</c:v>
                </c:pt>
                <c:pt idx="194">
                  <c:v>2.3617699999999999</c:v>
                </c:pt>
                <c:pt idx="195">
                  <c:v>2.1394500000000001</c:v>
                </c:pt>
                <c:pt idx="196">
                  <c:v>#N/A</c:v>
                </c:pt>
                <c:pt idx="197">
                  <c:v>2.36958</c:v>
                </c:pt>
                <c:pt idx="198">
                  <c:v>3.4862899999999999</c:v>
                </c:pt>
                <c:pt idx="199">
                  <c:v>4.2075300000000002</c:v>
                </c:pt>
                <c:pt idx="200">
                  <c:v>#N/A</c:v>
                </c:pt>
                <c:pt idx="201">
                  <c:v>3.9380999999999999</c:v>
                </c:pt>
                <c:pt idx="202">
                  <c:v>2.6200299999999999</c:v>
                </c:pt>
                <c:pt idx="203">
                  <c:v>2.89209</c:v>
                </c:pt>
                <c:pt idx="204">
                  <c:v>#N/A</c:v>
                </c:pt>
                <c:pt idx="205">
                  <c:v>2.21008</c:v>
                </c:pt>
                <c:pt idx="206">
                  <c:v>2.5885699999999998</c:v>
                </c:pt>
                <c:pt idx="207">
                  <c:v>#N/A</c:v>
                </c:pt>
                <c:pt idx="208">
                  <c:v>2.6282999999999999</c:v>
                </c:pt>
                <c:pt idx="209">
                  <c:v>3.02535</c:v>
                </c:pt>
                <c:pt idx="210">
                  <c:v>3.5289000000000001</c:v>
                </c:pt>
                <c:pt idx="211">
                  <c:v>#N/A</c:v>
                </c:pt>
                <c:pt idx="212">
                  <c:v>3.16716</c:v>
                </c:pt>
                <c:pt idx="213">
                  <c:v>2.69617</c:v>
                </c:pt>
                <c:pt idx="214">
                  <c:v>2.5103900000000001</c:v>
                </c:pt>
                <c:pt idx="215">
                  <c:v>#N/A</c:v>
                </c:pt>
                <c:pt idx="216">
                  <c:v>2.30003</c:v>
                </c:pt>
                <c:pt idx="217">
                  <c:v>1.8348599999999999</c:v>
                </c:pt>
                <c:pt idx="218">
                  <c:v>2.37669</c:v>
                </c:pt>
                <c:pt idx="219">
                  <c:v>#N/A</c:v>
                </c:pt>
                <c:pt idx="220">
                  <c:v>2.6886000000000001</c:v>
                </c:pt>
                <c:pt idx="221">
                  <c:v>3.6598700000000002</c:v>
                </c:pt>
                <c:pt idx="222">
                  <c:v>3.41147</c:v>
                </c:pt>
                <c:pt idx="223">
                  <c:v>#N/A</c:v>
                </c:pt>
                <c:pt idx="224">
                  <c:v>3.4159600000000001</c:v>
                </c:pt>
                <c:pt idx="225">
                  <c:v>2.6139299999999999</c:v>
                </c:pt>
                <c:pt idx="226">
                  <c:v>2.5743100000000001</c:v>
                </c:pt>
                <c:pt idx="227">
                  <c:v>#N/A</c:v>
                </c:pt>
                <c:pt idx="228">
                  <c:v>2.8257400000000001</c:v>
                </c:pt>
                <c:pt idx="229">
                  <c:v>2.8357600000000001</c:v>
                </c:pt>
                <c:pt idx="230">
                  <c:v>3.31019</c:v>
                </c:pt>
                <c:pt idx="231">
                  <c:v>#N/A</c:v>
                </c:pt>
                <c:pt idx="232">
                  <c:v>3.3001299999999998</c:v>
                </c:pt>
                <c:pt idx="233">
                  <c:v>3.56976</c:v>
                </c:pt>
                <c:pt idx="234">
                  <c:v>3.3226200000000001</c:v>
                </c:pt>
                <c:pt idx="235">
                  <c:v>#N/A</c:v>
                </c:pt>
                <c:pt idx="236">
                  <c:v>2.8565399999999999</c:v>
                </c:pt>
                <c:pt idx="237">
                  <c:v>2.9003299999999999</c:v>
                </c:pt>
                <c:pt idx="238">
                  <c:v>#N/A</c:v>
                </c:pt>
                <c:pt idx="239">
                  <c:v>2.5914000000000001</c:v>
                </c:pt>
                <c:pt idx="240">
                  <c:v>2.97818</c:v>
                </c:pt>
                <c:pt idx="241">
                  <c:v>3.15184</c:v>
                </c:pt>
                <c:pt idx="242">
                  <c:v>#N/A</c:v>
                </c:pt>
                <c:pt idx="243">
                  <c:v>3.0380600000000002</c:v>
                </c:pt>
                <c:pt idx="244">
                  <c:v>2.97797</c:v>
                </c:pt>
                <c:pt idx="245">
                  <c:v>3.0589300000000001</c:v>
                </c:pt>
                <c:pt idx="246">
                  <c:v>#N/A</c:v>
                </c:pt>
                <c:pt idx="247">
                  <c:v>2.74498</c:v>
                </c:pt>
                <c:pt idx="248">
                  <c:v>2.6589299999999998</c:v>
                </c:pt>
                <c:pt idx="249">
                  <c:v>2.1294499999999998</c:v>
                </c:pt>
                <c:pt idx="250">
                  <c:v>#N/A</c:v>
                </c:pt>
                <c:pt idx="251">
                  <c:v>2.5973299999999999</c:v>
                </c:pt>
                <c:pt idx="252">
                  <c:v>2.5697399999999999</c:v>
                </c:pt>
                <c:pt idx="253">
                  <c:v>2.3024100000000001</c:v>
                </c:pt>
                <c:pt idx="254">
                  <c:v>#N/A</c:v>
                </c:pt>
                <c:pt idx="255">
                  <c:v>2.8121900000000002</c:v>
                </c:pt>
                <c:pt idx="256">
                  <c:v>2.1284800000000001</c:v>
                </c:pt>
                <c:pt idx="257">
                  <c:v>#N/A</c:v>
                </c:pt>
                <c:pt idx="258">
                  <c:v>2.40821</c:v>
                </c:pt>
                <c:pt idx="259">
                  <c:v>2.3956400000000002</c:v>
                </c:pt>
                <c:pt idx="260">
                  <c:v>2.7073700000000001</c:v>
                </c:pt>
                <c:pt idx="261">
                  <c:v>#N/A</c:v>
                </c:pt>
                <c:pt idx="262">
                  <c:v>2.86449</c:v>
                </c:pt>
                <c:pt idx="263">
                  <c:v>3.5296400000000001</c:v>
                </c:pt>
                <c:pt idx="264">
                  <c:v>3.2561300000000002</c:v>
                </c:pt>
                <c:pt idx="265">
                  <c:v>#N/A</c:v>
                </c:pt>
                <c:pt idx="266">
                  <c:v>2.8047300000000002</c:v>
                </c:pt>
                <c:pt idx="267">
                  <c:v>2.4488300000000001</c:v>
                </c:pt>
                <c:pt idx="268">
                  <c:v>2.1761699999999999</c:v>
                </c:pt>
                <c:pt idx="269">
                  <c:v>#N/A</c:v>
                </c:pt>
                <c:pt idx="270">
                  <c:v>2.21515</c:v>
                </c:pt>
                <c:pt idx="271">
                  <c:v>2.8378899999999998</c:v>
                </c:pt>
                <c:pt idx="272">
                  <c:v>2.3589799999999999</c:v>
                </c:pt>
                <c:pt idx="273">
                  <c:v>#N/A</c:v>
                </c:pt>
                <c:pt idx="274">
                  <c:v>2.5100600000000002</c:v>
                </c:pt>
                <c:pt idx="275">
                  <c:v>2.4921899999999999</c:v>
                </c:pt>
                <c:pt idx="276">
                  <c:v>2.4369200000000002</c:v>
                </c:pt>
                <c:pt idx="277">
                  <c:v>#N/A</c:v>
                </c:pt>
                <c:pt idx="278">
                  <c:v>1.75349</c:v>
                </c:pt>
                <c:pt idx="279">
                  <c:v>1.5911299999999999</c:v>
                </c:pt>
                <c:pt idx="280">
                  <c:v>2.3597800000000002</c:v>
                </c:pt>
                <c:pt idx="281">
                  <c:v>#N/A</c:v>
                </c:pt>
                <c:pt idx="282">
                  <c:v>2.73705</c:v>
                </c:pt>
                <c:pt idx="283">
                  <c:v>3.3279700000000001</c:v>
                </c:pt>
                <c:pt idx="284">
                  <c:v>3.4159899999999999</c:v>
                </c:pt>
                <c:pt idx="285">
                  <c:v>#N/A</c:v>
                </c:pt>
                <c:pt idx="286">
                  <c:v>2.8274699999999999</c:v>
                </c:pt>
                <c:pt idx="287">
                  <c:v>2.6256300000000001</c:v>
                </c:pt>
                <c:pt idx="288">
                  <c:v>#N/A</c:v>
                </c:pt>
                <c:pt idx="289">
                  <c:v>2.7831199999999998</c:v>
                </c:pt>
                <c:pt idx="290">
                  <c:v>2.4265099999999999</c:v>
                </c:pt>
                <c:pt idx="291">
                  <c:v>2.3618999999999999</c:v>
                </c:pt>
                <c:pt idx="292">
                  <c:v>#N/A</c:v>
                </c:pt>
                <c:pt idx="293">
                  <c:v>2.4321600000000001</c:v>
                </c:pt>
                <c:pt idx="294">
                  <c:v>3.2839999999999998</c:v>
                </c:pt>
                <c:pt idx="295">
                  <c:v>3.2454299999999998</c:v>
                </c:pt>
                <c:pt idx="296">
                  <c:v>#N/A</c:v>
                </c:pt>
                <c:pt idx="297">
                  <c:v>2.7473399999999999</c:v>
                </c:pt>
                <c:pt idx="298">
                  <c:v>2.1678500000000001</c:v>
                </c:pt>
                <c:pt idx="299">
                  <c:v>1.93893</c:v>
                </c:pt>
                <c:pt idx="300">
                  <c:v>#N/A</c:v>
                </c:pt>
                <c:pt idx="301">
                  <c:v>1.8823399999999999</c:v>
                </c:pt>
                <c:pt idx="302">
                  <c:v>2.2011599999999998</c:v>
                </c:pt>
                <c:pt idx="303">
                  <c:v>3.0290900000000001</c:v>
                </c:pt>
                <c:pt idx="304">
                  <c:v>#N/A</c:v>
                </c:pt>
                <c:pt idx="305">
                  <c:v>3.1722999999999999</c:v>
                </c:pt>
                <c:pt idx="306">
                  <c:v>3.0153799999999999</c:v>
                </c:pt>
                <c:pt idx="307">
                  <c:v>3.01525</c:v>
                </c:pt>
                <c:pt idx="308">
                  <c:v>#N/A</c:v>
                </c:pt>
                <c:pt idx="309">
                  <c:v>2.4537900000000001</c:v>
                </c:pt>
                <c:pt idx="310">
                  <c:v>1.89354</c:v>
                </c:pt>
                <c:pt idx="311">
                  <c:v>#N/A</c:v>
                </c:pt>
                <c:pt idx="312">
                  <c:v>1.88862</c:v>
                </c:pt>
                <c:pt idx="313">
                  <c:v>2.5710899999999999</c:v>
                </c:pt>
                <c:pt idx="314">
                  <c:v>2.6574900000000001</c:v>
                </c:pt>
                <c:pt idx="315">
                  <c:v>#N/A</c:v>
                </c:pt>
                <c:pt idx="316">
                  <c:v>2.34985</c:v>
                </c:pt>
                <c:pt idx="317">
                  <c:v>2.8562400000000001</c:v>
                </c:pt>
                <c:pt idx="318">
                  <c:v>2.9610699999999999</c:v>
                </c:pt>
                <c:pt idx="319">
                  <c:v>#N/A</c:v>
                </c:pt>
                <c:pt idx="320">
                  <c:v>2.2820399999999998</c:v>
                </c:pt>
                <c:pt idx="321">
                  <c:v>2.4319199999999999</c:v>
                </c:pt>
                <c:pt idx="322">
                  <c:v>#N/A</c:v>
                </c:pt>
                <c:pt idx="323">
                  <c:v>2.3850099999999999</c:v>
                </c:pt>
                <c:pt idx="324">
                  <c:v>2.8084899999999999</c:v>
                </c:pt>
                <c:pt idx="325">
                  <c:v>3.57131</c:v>
                </c:pt>
                <c:pt idx="326">
                  <c:v>#N/A</c:v>
                </c:pt>
                <c:pt idx="327">
                  <c:v>2.5981000000000001</c:v>
                </c:pt>
                <c:pt idx="328">
                  <c:v>3.1615899999999999</c:v>
                </c:pt>
                <c:pt idx="329">
                  <c:v>2.13896</c:v>
                </c:pt>
                <c:pt idx="330">
                  <c:v>#N/A</c:v>
                </c:pt>
                <c:pt idx="331">
                  <c:v>2.0847500000000001</c:v>
                </c:pt>
                <c:pt idx="332">
                  <c:v>2.6316799999999998</c:v>
                </c:pt>
                <c:pt idx="333">
                  <c:v>2.2990499999999998</c:v>
                </c:pt>
                <c:pt idx="334">
                  <c:v>#N/A</c:v>
                </c:pt>
                <c:pt idx="335">
                  <c:v>2.6549700000000001</c:v>
                </c:pt>
                <c:pt idx="336">
                  <c:v>2.6446900000000002</c:v>
                </c:pt>
                <c:pt idx="337">
                  <c:v>2.52461</c:v>
                </c:pt>
                <c:pt idx="338">
                  <c:v>#N/A</c:v>
                </c:pt>
                <c:pt idx="339">
                  <c:v>1.9561299999999999</c:v>
                </c:pt>
                <c:pt idx="340">
                  <c:v>1.9730300000000001</c:v>
                </c:pt>
                <c:pt idx="341">
                  <c:v>#N/A</c:v>
                </c:pt>
                <c:pt idx="342">
                  <c:v>2.2744300000000002</c:v>
                </c:pt>
                <c:pt idx="343">
                  <c:v>2.62209</c:v>
                </c:pt>
                <c:pt idx="344">
                  <c:v>2.8605100000000001</c:v>
                </c:pt>
                <c:pt idx="345">
                  <c:v>#N/A</c:v>
                </c:pt>
                <c:pt idx="346">
                  <c:v>3.0775299999999999</c:v>
                </c:pt>
                <c:pt idx="347">
                  <c:v>3.1365799999999999</c:v>
                </c:pt>
                <c:pt idx="348">
                  <c:v>2.5338699999999998</c:v>
                </c:pt>
                <c:pt idx="349">
                  <c:v>#N/A</c:v>
                </c:pt>
                <c:pt idx="350">
                  <c:v>3.0908500000000001</c:v>
                </c:pt>
                <c:pt idx="351">
                  <c:v>2.7049599999999998</c:v>
                </c:pt>
                <c:pt idx="352">
                  <c:v>#N/A</c:v>
                </c:pt>
                <c:pt idx="353">
                  <c:v>2.8674300000000001</c:v>
                </c:pt>
                <c:pt idx="354">
                  <c:v>2.68072</c:v>
                </c:pt>
                <c:pt idx="355">
                  <c:v>3.03674</c:v>
                </c:pt>
                <c:pt idx="356">
                  <c:v>#N/A</c:v>
                </c:pt>
                <c:pt idx="357">
                  <c:v>3.2114799999999999</c:v>
                </c:pt>
                <c:pt idx="358">
                  <c:v>3.2668200000000001</c:v>
                </c:pt>
                <c:pt idx="359">
                  <c:v>3.1437400000000002</c:v>
                </c:pt>
                <c:pt idx="360">
                  <c:v>#N/A</c:v>
                </c:pt>
                <c:pt idx="361">
                  <c:v>2.2627700000000002</c:v>
                </c:pt>
                <c:pt idx="362">
                  <c:v>1.71008</c:v>
                </c:pt>
                <c:pt idx="363">
                  <c:v>2.1467900000000002</c:v>
                </c:pt>
                <c:pt idx="364">
                  <c:v>#N/A</c:v>
                </c:pt>
                <c:pt idx="365">
                  <c:v>2.5569899999999999</c:v>
                </c:pt>
                <c:pt idx="366">
                  <c:v>3.0762499999999999</c:v>
                </c:pt>
                <c:pt idx="367">
                  <c:v>3.56487</c:v>
                </c:pt>
                <c:pt idx="368">
                  <c:v>#N/A</c:v>
                </c:pt>
                <c:pt idx="369">
                  <c:v>3.3837199999999998</c:v>
                </c:pt>
                <c:pt idx="370">
                  <c:v>3.28681</c:v>
                </c:pt>
                <c:pt idx="371">
                  <c:v>2.4580000000000002</c:v>
                </c:pt>
                <c:pt idx="372">
                  <c:v>#N/A</c:v>
                </c:pt>
                <c:pt idx="373">
                  <c:v>2.0245500000000001</c:v>
                </c:pt>
                <c:pt idx="374">
                  <c:v>1.71394</c:v>
                </c:pt>
                <c:pt idx="375">
                  <c:v>2.4253100000000001</c:v>
                </c:pt>
                <c:pt idx="376">
                  <c:v>#N/A</c:v>
                </c:pt>
                <c:pt idx="377">
                  <c:v>2.7805200000000001</c:v>
                </c:pt>
                <c:pt idx="378">
                  <c:v>2.7967</c:v>
                </c:pt>
                <c:pt idx="379">
                  <c:v>3.0594399999999999</c:v>
                </c:pt>
                <c:pt idx="380">
                  <c:v>#N/A</c:v>
                </c:pt>
                <c:pt idx="381">
                  <c:v>2.91445</c:v>
                </c:pt>
                <c:pt idx="382">
                  <c:v>2.54786</c:v>
                </c:pt>
                <c:pt idx="383">
                  <c:v>#N/A</c:v>
                </c:pt>
                <c:pt idx="384">
                  <c:v>1.7418199999999999</c:v>
                </c:pt>
                <c:pt idx="385">
                  <c:v>2.3592300000000002</c:v>
                </c:pt>
                <c:pt idx="386">
                  <c:v>2.8950100000000001</c:v>
                </c:pt>
                <c:pt idx="387">
                  <c:v>#N/A</c:v>
                </c:pt>
                <c:pt idx="388">
                  <c:v>2.8064900000000002</c:v>
                </c:pt>
                <c:pt idx="389">
                  <c:v>3.0941200000000002</c:v>
                </c:pt>
                <c:pt idx="390">
                  <c:v>3.0183499999999999</c:v>
                </c:pt>
                <c:pt idx="391">
                  <c:v>#N/A</c:v>
                </c:pt>
                <c:pt idx="392">
                  <c:v>3.0735199999999998</c:v>
                </c:pt>
                <c:pt idx="393">
                  <c:v>2.7855799999999999</c:v>
                </c:pt>
                <c:pt idx="394">
                  <c:v>2.4687700000000001</c:v>
                </c:pt>
                <c:pt idx="395">
                  <c:v>#N/A</c:v>
                </c:pt>
                <c:pt idx="396">
                  <c:v>2.6394500000000001</c:v>
                </c:pt>
                <c:pt idx="397">
                  <c:v>#N/A</c:v>
                </c:pt>
                <c:pt idx="398">
                  <c:v>2.59931</c:v>
                </c:pt>
                <c:pt idx="399">
                  <c:v>2.6274600000000001</c:v>
                </c:pt>
                <c:pt idx="400">
                  <c:v>#N/A</c:v>
                </c:pt>
                <c:pt idx="401">
                  <c:v>2.2662200000000001</c:v>
                </c:pt>
                <c:pt idx="402">
                  <c:v>2.8167300000000002</c:v>
                </c:pt>
                <c:pt idx="403">
                  <c:v>2.4992800000000002</c:v>
                </c:pt>
                <c:pt idx="404">
                  <c:v>#N/A</c:v>
                </c:pt>
                <c:pt idx="405">
                  <c:v>2.2967200000000001</c:v>
                </c:pt>
                <c:pt idx="406">
                  <c:v>2.42408</c:v>
                </c:pt>
                <c:pt idx="407">
                  <c:v>2.6992099999999999</c:v>
                </c:pt>
                <c:pt idx="408">
                  <c:v>#N/A</c:v>
                </c:pt>
                <c:pt idx="409">
                  <c:v>3.1160899999999998</c:v>
                </c:pt>
                <c:pt idx="410">
                  <c:v>3.0054599999999998</c:v>
                </c:pt>
                <c:pt idx="411">
                  <c:v>#N/A</c:v>
                </c:pt>
                <c:pt idx="412">
                  <c:v>2.8811399999999998</c:v>
                </c:pt>
                <c:pt idx="413">
                  <c:v>2.2338100000000001</c:v>
                </c:pt>
                <c:pt idx="414">
                  <c:v>1.9962299999999999</c:v>
                </c:pt>
                <c:pt idx="415">
                  <c:v>#N/A</c:v>
                </c:pt>
                <c:pt idx="416">
                  <c:v>2.5970300000000002</c:v>
                </c:pt>
                <c:pt idx="417">
                  <c:v>2.75325</c:v>
                </c:pt>
                <c:pt idx="418">
                  <c:v>2.6062099999999999</c:v>
                </c:pt>
                <c:pt idx="419">
                  <c:v>#N/A</c:v>
                </c:pt>
                <c:pt idx="420">
                  <c:v>2.8209399999999998</c:v>
                </c:pt>
                <c:pt idx="421">
                  <c:v>2.5167299999999999</c:v>
                </c:pt>
                <c:pt idx="422">
                  <c:v>2.4634900000000002</c:v>
                </c:pt>
                <c:pt idx="423">
                  <c:v>#N/A</c:v>
                </c:pt>
                <c:pt idx="424">
                  <c:v>2.0649199999999999</c:v>
                </c:pt>
                <c:pt idx="425">
                  <c:v>2.3616700000000002</c:v>
                </c:pt>
                <c:pt idx="426">
                  <c:v>2.3606600000000002</c:v>
                </c:pt>
                <c:pt idx="427">
                  <c:v>#N/A</c:v>
                </c:pt>
                <c:pt idx="428">
                  <c:v>3.2960099999999999</c:v>
                </c:pt>
                <c:pt idx="429">
                  <c:v>3.4310399999999999</c:v>
                </c:pt>
                <c:pt idx="430">
                  <c:v>2.6287400000000001</c:v>
                </c:pt>
                <c:pt idx="431">
                  <c:v>#N/A</c:v>
                </c:pt>
                <c:pt idx="432">
                  <c:v>2.1189</c:v>
                </c:pt>
                <c:pt idx="433">
                  <c:v>2.5887099999999998</c:v>
                </c:pt>
                <c:pt idx="434">
                  <c:v>2.04847</c:v>
                </c:pt>
                <c:pt idx="435">
                  <c:v>#N/A</c:v>
                </c:pt>
                <c:pt idx="436">
                  <c:v>1.4374800000000001</c:v>
                </c:pt>
                <c:pt idx="437">
                  <c:v>2.0105400000000002</c:v>
                </c:pt>
                <c:pt idx="438">
                  <c:v>2.5855199999999998</c:v>
                </c:pt>
                <c:pt idx="439">
                  <c:v>#N/A</c:v>
                </c:pt>
                <c:pt idx="440">
                  <c:v>2.72174</c:v>
                </c:pt>
                <c:pt idx="441">
                  <c:v>3.0164399999999998</c:v>
                </c:pt>
                <c:pt idx="442">
                  <c:v>#N/A</c:v>
                </c:pt>
                <c:pt idx="443">
                  <c:v>2.98936</c:v>
                </c:pt>
                <c:pt idx="444">
                  <c:v>2.94475</c:v>
                </c:pt>
                <c:pt idx="445">
                  <c:v>2.6665800000000002</c:v>
                </c:pt>
                <c:pt idx="446">
                  <c:v>#N/A</c:v>
                </c:pt>
                <c:pt idx="447">
                  <c:v>2.0638200000000002</c:v>
                </c:pt>
                <c:pt idx="448">
                  <c:v>2.0916700000000001</c:v>
                </c:pt>
                <c:pt idx="449">
                  <c:v>2.2700999999999998</c:v>
                </c:pt>
                <c:pt idx="450">
                  <c:v>#N/A</c:v>
                </c:pt>
                <c:pt idx="451">
                  <c:v>3.17232</c:v>
                </c:pt>
                <c:pt idx="452">
                  <c:v>3.1110799999999998</c:v>
                </c:pt>
                <c:pt idx="453">
                  <c:v>3.0055800000000001</c:v>
                </c:pt>
                <c:pt idx="454">
                  <c:v>#N/A</c:v>
                </c:pt>
                <c:pt idx="455">
                  <c:v>2.4640200000000001</c:v>
                </c:pt>
                <c:pt idx="456">
                  <c:v>2.4636200000000001</c:v>
                </c:pt>
                <c:pt idx="457">
                  <c:v>2.0779100000000001</c:v>
                </c:pt>
                <c:pt idx="458">
                  <c:v>#N/A</c:v>
                </c:pt>
                <c:pt idx="459">
                  <c:v>1.8339000000000001</c:v>
                </c:pt>
                <c:pt idx="460">
                  <c:v>1.83873</c:v>
                </c:pt>
                <c:pt idx="461">
                  <c:v>#N/A</c:v>
                </c:pt>
                <c:pt idx="462">
                  <c:v>1.93527</c:v>
                </c:pt>
                <c:pt idx="463">
                  <c:v>2.9905300000000001</c:v>
                </c:pt>
                <c:pt idx="464">
                  <c:v>3.0097700000000001</c:v>
                </c:pt>
                <c:pt idx="465">
                  <c:v>#N/A</c:v>
                </c:pt>
                <c:pt idx="466">
                  <c:v>3.3372799999999998</c:v>
                </c:pt>
                <c:pt idx="467">
                  <c:v>2.7200799999999998</c:v>
                </c:pt>
                <c:pt idx="468">
                  <c:v>2.8538299999999999</c:v>
                </c:pt>
                <c:pt idx="469">
                  <c:v>#N/A</c:v>
                </c:pt>
                <c:pt idx="470">
                  <c:v>2.8029299999999999</c:v>
                </c:pt>
                <c:pt idx="471">
                  <c:v>#N/A</c:v>
                </c:pt>
                <c:pt idx="472">
                  <c:v>2.7750400000000002</c:v>
                </c:pt>
                <c:pt idx="473">
                  <c:v>3.1773699999999998</c:v>
                </c:pt>
                <c:pt idx="474">
                  <c:v>#N/A</c:v>
                </c:pt>
                <c:pt idx="475">
                  <c:v>3.0577000000000001</c:v>
                </c:pt>
                <c:pt idx="476">
                  <c:v>2.7904499999999999</c:v>
                </c:pt>
                <c:pt idx="477">
                  <c:v>2.53531</c:v>
                </c:pt>
                <c:pt idx="478">
                  <c:v>#N/A</c:v>
                </c:pt>
                <c:pt idx="479">
                  <c:v>2.5843600000000002</c:v>
                </c:pt>
                <c:pt idx="480">
                  <c:v>2.6181199999999998</c:v>
                </c:pt>
                <c:pt idx="481">
                  <c:v>2.7068099999999999</c:v>
                </c:pt>
                <c:pt idx="482">
                  <c:v>#N/A</c:v>
                </c:pt>
                <c:pt idx="483">
                  <c:v>2.44557</c:v>
                </c:pt>
                <c:pt idx="484">
                  <c:v>2.2376100000000001</c:v>
                </c:pt>
                <c:pt idx="485">
                  <c:v>2.1055899999999999</c:v>
                </c:pt>
                <c:pt idx="486">
                  <c:v>#N/A</c:v>
                </c:pt>
                <c:pt idx="487">
                  <c:v>1.88703</c:v>
                </c:pt>
                <c:pt idx="488">
                  <c:v>2.1764399999999999</c:v>
                </c:pt>
                <c:pt idx="489">
                  <c:v>2.74335</c:v>
                </c:pt>
                <c:pt idx="490">
                  <c:v>#N/A</c:v>
                </c:pt>
                <c:pt idx="491">
                  <c:v>2.9058700000000002</c:v>
                </c:pt>
                <c:pt idx="492">
                  <c:v>3.3997799999999998</c:v>
                </c:pt>
                <c:pt idx="493">
                  <c:v>3.0403799999999999</c:v>
                </c:pt>
                <c:pt idx="494">
                  <c:v>#N/A</c:v>
                </c:pt>
                <c:pt idx="495">
                  <c:v>2.2505600000000001</c:v>
                </c:pt>
                <c:pt idx="496">
                  <c:v>2.46367</c:v>
                </c:pt>
                <c:pt idx="497">
                  <c:v>#N/A</c:v>
                </c:pt>
                <c:pt idx="498">
                  <c:v>1.62503</c:v>
                </c:pt>
                <c:pt idx="499">
                  <c:v>1.5897300000000001</c:v>
                </c:pt>
                <c:pt idx="500">
                  <c:v>2.14466</c:v>
                </c:pt>
                <c:pt idx="501">
                  <c:v>#N/A</c:v>
                </c:pt>
                <c:pt idx="502">
                  <c:v>2.78382</c:v>
                </c:pt>
                <c:pt idx="503">
                  <c:v>3.7071499999999999</c:v>
                </c:pt>
                <c:pt idx="504">
                  <c:v>3.0430899999999999</c:v>
                </c:pt>
                <c:pt idx="505">
                  <c:v>#N/A</c:v>
                </c:pt>
                <c:pt idx="506">
                  <c:v>2.76877</c:v>
                </c:pt>
                <c:pt idx="507">
                  <c:v>2.2033</c:v>
                </c:pt>
                <c:pt idx="508">
                  <c:v>#N/A</c:v>
                </c:pt>
                <c:pt idx="509">
                  <c:v>2.0064799999999998</c:v>
                </c:pt>
                <c:pt idx="510">
                  <c:v>1.84022</c:v>
                </c:pt>
                <c:pt idx="511">
                  <c:v>2.4610599999999998</c:v>
                </c:pt>
                <c:pt idx="512">
                  <c:v>#N/A</c:v>
                </c:pt>
                <c:pt idx="513">
                  <c:v>2.7359</c:v>
                </c:pt>
                <c:pt idx="514">
                  <c:v>3.23291</c:v>
                </c:pt>
                <c:pt idx="515">
                  <c:v>2.79976</c:v>
                </c:pt>
                <c:pt idx="516">
                  <c:v>#N/A</c:v>
                </c:pt>
                <c:pt idx="517">
                  <c:v>2.9272900000000002</c:v>
                </c:pt>
                <c:pt idx="518">
                  <c:v>2.5226299999999999</c:v>
                </c:pt>
                <c:pt idx="519">
                  <c:v>1.8123800000000001</c:v>
                </c:pt>
                <c:pt idx="520">
                  <c:v>#N/A</c:v>
                </c:pt>
                <c:pt idx="521">
                  <c:v>1.73434</c:v>
                </c:pt>
                <c:pt idx="522">
                  <c:v>2.12967</c:v>
                </c:pt>
                <c:pt idx="523">
                  <c:v>2.4125700000000001</c:v>
                </c:pt>
                <c:pt idx="524">
                  <c:v>#N/A</c:v>
                </c:pt>
                <c:pt idx="525">
                  <c:v>2.49987</c:v>
                </c:pt>
                <c:pt idx="526">
                  <c:v>2.79541</c:v>
                </c:pt>
                <c:pt idx="527">
                  <c:v>2.8401000000000001</c:v>
                </c:pt>
                <c:pt idx="528">
                  <c:v>#N/A</c:v>
                </c:pt>
                <c:pt idx="529">
                  <c:v>2.5462600000000002</c:v>
                </c:pt>
                <c:pt idx="530">
                  <c:v>2.1643300000000001</c:v>
                </c:pt>
                <c:pt idx="531">
                  <c:v>2.1392099999999998</c:v>
                </c:pt>
                <c:pt idx="532">
                  <c:v>#N/A</c:v>
                </c:pt>
                <c:pt idx="533">
                  <c:v>2.0546199999999999</c:v>
                </c:pt>
                <c:pt idx="534">
                  <c:v>2.9262800000000002</c:v>
                </c:pt>
                <c:pt idx="535">
                  <c:v>#N/A</c:v>
                </c:pt>
                <c:pt idx="536">
                  <c:v>2.9286099999999999</c:v>
                </c:pt>
                <c:pt idx="537">
                  <c:v>3.03098</c:v>
                </c:pt>
                <c:pt idx="538">
                  <c:v>2.7373799999999999</c:v>
                </c:pt>
                <c:pt idx="539">
                  <c:v>#N/A</c:v>
                </c:pt>
                <c:pt idx="540">
                  <c:v>2.5412400000000002</c:v>
                </c:pt>
                <c:pt idx="541">
                  <c:v>2.6804899999999998</c:v>
                </c:pt>
                <c:pt idx="542">
                  <c:v>3.4923199999999999</c:v>
                </c:pt>
                <c:pt idx="543">
                  <c:v>#N/A</c:v>
                </c:pt>
                <c:pt idx="544">
                  <c:v>2.9966499999999998</c:v>
                </c:pt>
                <c:pt idx="545">
                  <c:v>3.8366500000000001</c:v>
                </c:pt>
                <c:pt idx="546">
                  <c:v>#N/A</c:v>
                </c:pt>
                <c:pt idx="547">
                  <c:v>3.5091199999999998</c:v>
                </c:pt>
                <c:pt idx="548">
                  <c:v>3.5035599999999998</c:v>
                </c:pt>
                <c:pt idx="549">
                  <c:v>#N/A</c:v>
                </c:pt>
                <c:pt idx="550">
                  <c:v>2.3621300000000001</c:v>
                </c:pt>
                <c:pt idx="551">
                  <c:v>#N/A</c:v>
                </c:pt>
                <c:pt idx="552">
                  <c:v>2.1506500000000002</c:v>
                </c:pt>
                <c:pt idx="553">
                  <c:v>2.0063300000000002</c:v>
                </c:pt>
                <c:pt idx="554">
                  <c:v>#N/A</c:v>
                </c:pt>
                <c:pt idx="555">
                  <c:v>2.22953</c:v>
                </c:pt>
                <c:pt idx="556">
                  <c:v>2.66892</c:v>
                </c:pt>
                <c:pt idx="557">
                  <c:v>2.5877300000000001</c:v>
                </c:pt>
                <c:pt idx="558">
                  <c:v>#N/A</c:v>
                </c:pt>
                <c:pt idx="559">
                  <c:v>1.7325699999999999</c:v>
                </c:pt>
                <c:pt idx="560">
                  <c:v>1.4541599999999999</c:v>
                </c:pt>
                <c:pt idx="561">
                  <c:v>1.22275</c:v>
                </c:pt>
                <c:pt idx="562">
                  <c:v>#N/A</c:v>
                </c:pt>
                <c:pt idx="563">
                  <c:v>1.4097500000000001</c:v>
                </c:pt>
                <c:pt idx="564">
                  <c:v>2.7703899999999999</c:v>
                </c:pt>
                <c:pt idx="565">
                  <c:v>2.8685</c:v>
                </c:pt>
                <c:pt idx="566">
                  <c:v>#N/A</c:v>
                </c:pt>
                <c:pt idx="567">
                  <c:v>2.5879300000000001</c:v>
                </c:pt>
                <c:pt idx="568">
                  <c:v>2.3691900000000001</c:v>
                </c:pt>
                <c:pt idx="569">
                  <c:v>1.85934</c:v>
                </c:pt>
                <c:pt idx="570">
                  <c:v>#N/A</c:v>
                </c:pt>
                <c:pt idx="571">
                  <c:v>2.01017</c:v>
                </c:pt>
                <c:pt idx="572">
                  <c:v>2.4032800000000001</c:v>
                </c:pt>
                <c:pt idx="573">
                  <c:v>2.6916799999999999</c:v>
                </c:pt>
                <c:pt idx="574">
                  <c:v>#N/A</c:v>
                </c:pt>
                <c:pt idx="575">
                  <c:v>3.5694300000000001</c:v>
                </c:pt>
                <c:pt idx="576">
                  <c:v>3.67733</c:v>
                </c:pt>
                <c:pt idx="577">
                  <c:v>3.3752399999999998</c:v>
                </c:pt>
                <c:pt idx="578">
                  <c:v>#N/A</c:v>
                </c:pt>
                <c:pt idx="579">
                  <c:v>2.9233500000000001</c:v>
                </c:pt>
                <c:pt idx="580">
                  <c:v>2.8096000000000001</c:v>
                </c:pt>
                <c:pt idx="581">
                  <c:v>1.8405499999999999</c:v>
                </c:pt>
                <c:pt idx="582">
                  <c:v>#N/A</c:v>
                </c:pt>
                <c:pt idx="583">
                  <c:v>2.1539899999999998</c:v>
                </c:pt>
                <c:pt idx="584">
                  <c:v>1.9556199999999999</c:v>
                </c:pt>
                <c:pt idx="585">
                  <c:v>2.6986500000000002</c:v>
                </c:pt>
                <c:pt idx="586">
                  <c:v>#N/A</c:v>
                </c:pt>
                <c:pt idx="587">
                  <c:v>3.0036499999999999</c:v>
                </c:pt>
                <c:pt idx="588">
                  <c:v>3.0013999999999998</c:v>
                </c:pt>
                <c:pt idx="589">
                  <c:v>#N/A</c:v>
                </c:pt>
                <c:pt idx="590">
                  <c:v>2.6627800000000001</c:v>
                </c:pt>
                <c:pt idx="591">
                  <c:v>1.8150999999999999</c:v>
                </c:pt>
                <c:pt idx="592">
                  <c:v>1.35714</c:v>
                </c:pt>
                <c:pt idx="593">
                  <c:v>#N/A</c:v>
                </c:pt>
                <c:pt idx="594">
                  <c:v>1.7684899999999999</c:v>
                </c:pt>
                <c:pt idx="595">
                  <c:v>2.1424400000000001</c:v>
                </c:pt>
                <c:pt idx="596">
                  <c:v>2.8736100000000002</c:v>
                </c:pt>
                <c:pt idx="597">
                  <c:v>#N/A</c:v>
                </c:pt>
                <c:pt idx="598">
                  <c:v>3.7020499999999998</c:v>
                </c:pt>
                <c:pt idx="599">
                  <c:v>3.4313199999999999</c:v>
                </c:pt>
                <c:pt idx="600">
                  <c:v>3.3016800000000002</c:v>
                </c:pt>
                <c:pt idx="601">
                  <c:v>#N/A</c:v>
                </c:pt>
                <c:pt idx="602">
                  <c:v>2.5279500000000001</c:v>
                </c:pt>
                <c:pt idx="603">
                  <c:v>2.13733</c:v>
                </c:pt>
                <c:pt idx="604">
                  <c:v>1.78908</c:v>
                </c:pt>
                <c:pt idx="605">
                  <c:v>#N/A</c:v>
                </c:pt>
                <c:pt idx="606">
                  <c:v>2.2496299999999998</c:v>
                </c:pt>
                <c:pt idx="607">
                  <c:v>2.6821700000000002</c:v>
                </c:pt>
                <c:pt idx="608">
                  <c:v>#N/A</c:v>
                </c:pt>
                <c:pt idx="609">
                  <c:v>2.73488</c:v>
                </c:pt>
                <c:pt idx="610">
                  <c:v>2.7306699999999999</c:v>
                </c:pt>
                <c:pt idx="611">
                  <c:v>2.7716400000000001</c:v>
                </c:pt>
                <c:pt idx="612">
                  <c:v>#N/A</c:v>
                </c:pt>
                <c:pt idx="613">
                  <c:v>2.6361300000000001</c:v>
                </c:pt>
                <c:pt idx="614">
                  <c:v>2.4684200000000001</c:v>
                </c:pt>
                <c:pt idx="615">
                  <c:v>2.2275999999999998</c:v>
                </c:pt>
                <c:pt idx="616">
                  <c:v>#N/A</c:v>
                </c:pt>
                <c:pt idx="617">
                  <c:v>2.2156199999999999</c:v>
                </c:pt>
                <c:pt idx="618">
                  <c:v>2.4869300000000001</c:v>
                </c:pt>
                <c:pt idx="619">
                  <c:v>2.99762</c:v>
                </c:pt>
                <c:pt idx="620">
                  <c:v>#N/A</c:v>
                </c:pt>
                <c:pt idx="621">
                  <c:v>2.95845</c:v>
                </c:pt>
                <c:pt idx="622">
                  <c:v>2.3912100000000001</c:v>
                </c:pt>
                <c:pt idx="623">
                  <c:v>#N/A</c:v>
                </c:pt>
                <c:pt idx="624">
                  <c:v>2.58839</c:v>
                </c:pt>
                <c:pt idx="625">
                  <c:v>2.18085</c:v>
                </c:pt>
                <c:pt idx="626">
                  <c:v>#N/A</c:v>
                </c:pt>
                <c:pt idx="627">
                  <c:v>2.92957</c:v>
                </c:pt>
                <c:pt idx="628">
                  <c:v>2.9849100000000002</c:v>
                </c:pt>
                <c:pt idx="629">
                  <c:v>2.4779100000000001</c:v>
                </c:pt>
                <c:pt idx="630">
                  <c:v>#N/A</c:v>
                </c:pt>
                <c:pt idx="631">
                  <c:v>2.6081799999999999</c:v>
                </c:pt>
                <c:pt idx="632">
                  <c:v>2.3727200000000002</c:v>
                </c:pt>
                <c:pt idx="633">
                  <c:v>1.84493</c:v>
                </c:pt>
                <c:pt idx="634">
                  <c:v>#N/A</c:v>
                </c:pt>
                <c:pt idx="635">
                  <c:v>1.95712</c:v>
                </c:pt>
                <c:pt idx="636">
                  <c:v>2.1219000000000001</c:v>
                </c:pt>
                <c:pt idx="637">
                  <c:v>2.7549199999999998</c:v>
                </c:pt>
                <c:pt idx="638">
                  <c:v>#N/A</c:v>
                </c:pt>
                <c:pt idx="639">
                  <c:v>3.2680199999999999</c:v>
                </c:pt>
                <c:pt idx="640">
                  <c:v>3.3274300000000001</c:v>
                </c:pt>
                <c:pt idx="641">
                  <c:v>2.3085499999999999</c:v>
                </c:pt>
                <c:pt idx="642">
                  <c:v>#N/A</c:v>
                </c:pt>
                <c:pt idx="643">
                  <c:v>1.6976100000000001</c:v>
                </c:pt>
                <c:pt idx="644">
                  <c:v>1.9791000000000001</c:v>
                </c:pt>
                <c:pt idx="645">
                  <c:v>2.2911199999999998</c:v>
                </c:pt>
                <c:pt idx="646">
                  <c:v>#N/A</c:v>
                </c:pt>
                <c:pt idx="647">
                  <c:v>2.4785699999999999</c:v>
                </c:pt>
                <c:pt idx="648">
                  <c:v>2.9996499999999999</c:v>
                </c:pt>
                <c:pt idx="649">
                  <c:v>3.0051999999999999</c:v>
                </c:pt>
                <c:pt idx="650">
                  <c:v>#N/A</c:v>
                </c:pt>
                <c:pt idx="651">
                  <c:v>3.1309</c:v>
                </c:pt>
                <c:pt idx="652">
                  <c:v>2.9172500000000001</c:v>
                </c:pt>
                <c:pt idx="653">
                  <c:v>#N/A</c:v>
                </c:pt>
                <c:pt idx="654">
                  <c:v>2.1235400000000002</c:v>
                </c:pt>
                <c:pt idx="655">
                  <c:v>1.80867</c:v>
                </c:pt>
                <c:pt idx="656">
                  <c:v>2.0231699999999999</c:v>
                </c:pt>
                <c:pt idx="657">
                  <c:v>#N/A</c:v>
                </c:pt>
                <c:pt idx="658">
                  <c:v>2.2617099999999999</c:v>
                </c:pt>
                <c:pt idx="659">
                  <c:v>3.0626699999999998</c:v>
                </c:pt>
                <c:pt idx="660">
                  <c:v>3.14676</c:v>
                </c:pt>
                <c:pt idx="661">
                  <c:v>#N/A</c:v>
                </c:pt>
                <c:pt idx="662">
                  <c:v>3.2580399999999998</c:v>
                </c:pt>
                <c:pt idx="663">
                  <c:v>2.82199</c:v>
                </c:pt>
                <c:pt idx="664">
                  <c:v>2.0298400000000001</c:v>
                </c:pt>
                <c:pt idx="665">
                  <c:v>#N/A</c:v>
                </c:pt>
                <c:pt idx="666">
                  <c:v>1.7658199999999999</c:v>
                </c:pt>
                <c:pt idx="667">
                  <c:v>1.7370399999999999</c:v>
                </c:pt>
                <c:pt idx="668">
                  <c:v>2.6103700000000001</c:v>
                </c:pt>
                <c:pt idx="669">
                  <c:v>#N/A</c:v>
                </c:pt>
                <c:pt idx="670">
                  <c:v>3.12663</c:v>
                </c:pt>
                <c:pt idx="671">
                  <c:v>2.91127</c:v>
                </c:pt>
                <c:pt idx="672">
                  <c:v>2.88551</c:v>
                </c:pt>
                <c:pt idx="673">
                  <c:v>#N/A</c:v>
                </c:pt>
                <c:pt idx="674">
                  <c:v>2.7866499999999998</c:v>
                </c:pt>
                <c:pt idx="675">
                  <c:v>2.3712499999999999</c:v>
                </c:pt>
                <c:pt idx="676">
                  <c:v>2.3421799999999999</c:v>
                </c:pt>
                <c:pt idx="677">
                  <c:v>#N/A</c:v>
                </c:pt>
                <c:pt idx="678">
                  <c:v>2.2345899999999999</c:v>
                </c:pt>
                <c:pt idx="679">
                  <c:v>2.4361000000000002</c:v>
                </c:pt>
                <c:pt idx="680">
                  <c:v>2.7763900000000001</c:v>
                </c:pt>
                <c:pt idx="681">
                  <c:v>#N/A</c:v>
                </c:pt>
                <c:pt idx="682">
                  <c:v>2.8727100000000001</c:v>
                </c:pt>
                <c:pt idx="683">
                  <c:v>3.0432700000000001</c:v>
                </c:pt>
                <c:pt idx="684">
                  <c:v>#N/A</c:v>
                </c:pt>
                <c:pt idx="685">
                  <c:v>2.8972199999999999</c:v>
                </c:pt>
                <c:pt idx="686">
                  <c:v>2.5409799999999998</c:v>
                </c:pt>
                <c:pt idx="687">
                  <c:v>2.3797299999999999</c:v>
                </c:pt>
                <c:pt idx="688">
                  <c:v>#N/A</c:v>
                </c:pt>
                <c:pt idx="689">
                  <c:v>2.3615300000000001</c:v>
                </c:pt>
                <c:pt idx="690">
                  <c:v>1.98251</c:v>
                </c:pt>
                <c:pt idx="691">
                  <c:v>2.27996</c:v>
                </c:pt>
                <c:pt idx="692">
                  <c:v>#N/A</c:v>
                </c:pt>
                <c:pt idx="693">
                  <c:v>2.6072000000000002</c:v>
                </c:pt>
                <c:pt idx="694">
                  <c:v>2.4217900000000001</c:v>
                </c:pt>
                <c:pt idx="695">
                  <c:v>2.3226300000000002</c:v>
                </c:pt>
                <c:pt idx="696">
                  <c:v>#N/A</c:v>
                </c:pt>
                <c:pt idx="697">
                  <c:v>2.3911500000000001</c:v>
                </c:pt>
                <c:pt idx="698">
                  <c:v>2.2528600000000001</c:v>
                </c:pt>
                <c:pt idx="699">
                  <c:v>2.6910799999999999</c:v>
                </c:pt>
                <c:pt idx="700">
                  <c:v>#N/A</c:v>
                </c:pt>
                <c:pt idx="701">
                  <c:v>2.9073899999999999</c:v>
                </c:pt>
                <c:pt idx="702">
                  <c:v>2.8203800000000001</c:v>
                </c:pt>
                <c:pt idx="703">
                  <c:v>2.8126199999999999</c:v>
                </c:pt>
                <c:pt idx="704">
                  <c:v>#N/A</c:v>
                </c:pt>
                <c:pt idx="705">
                  <c:v>2.39323</c:v>
                </c:pt>
                <c:pt idx="706">
                  <c:v>2.3726400000000001</c:v>
                </c:pt>
                <c:pt idx="707">
                  <c:v>2.4276499999999999</c:v>
                </c:pt>
                <c:pt idx="708">
                  <c:v>#N/A</c:v>
                </c:pt>
                <c:pt idx="709">
                  <c:v>2.1154799999999998</c:v>
                </c:pt>
                <c:pt idx="710">
                  <c:v>2.7358099999999999</c:v>
                </c:pt>
                <c:pt idx="711">
                  <c:v>#N/A</c:v>
                </c:pt>
                <c:pt idx="712">
                  <c:v>3.4338600000000001</c:v>
                </c:pt>
                <c:pt idx="713">
                  <c:v>2.9219300000000001</c:v>
                </c:pt>
                <c:pt idx="714">
                  <c:v>2.71272</c:v>
                </c:pt>
                <c:pt idx="715">
                  <c:v>#N/A</c:v>
                </c:pt>
                <c:pt idx="716">
                  <c:v>2.4461499999999998</c:v>
                </c:pt>
                <c:pt idx="717">
                  <c:v>2.26111</c:v>
                </c:pt>
                <c:pt idx="718">
                  <c:v>2.3206000000000002</c:v>
                </c:pt>
                <c:pt idx="719">
                  <c:v>#N/A</c:v>
                </c:pt>
                <c:pt idx="720">
                  <c:v>2.47411</c:v>
                </c:pt>
                <c:pt idx="721">
                  <c:v>2.8611399999999998</c:v>
                </c:pt>
                <c:pt idx="722">
                  <c:v>#N/A</c:v>
                </c:pt>
                <c:pt idx="723">
                  <c:v>2.9014199999999999</c:v>
                </c:pt>
                <c:pt idx="724">
                  <c:v>3.1117900000000001</c:v>
                </c:pt>
                <c:pt idx="725">
                  <c:v>2.6448399999999999</c:v>
                </c:pt>
                <c:pt idx="726">
                  <c:v>#N/A</c:v>
                </c:pt>
                <c:pt idx="727">
                  <c:v>2.5312700000000001</c:v>
                </c:pt>
                <c:pt idx="728">
                  <c:v>1.7317400000000001</c:v>
                </c:pt>
                <c:pt idx="729">
                  <c:v>1.8676299999999999</c:v>
                </c:pt>
                <c:pt idx="730">
                  <c:v>#N/A</c:v>
                </c:pt>
                <c:pt idx="731">
                  <c:v>2.10669</c:v>
                </c:pt>
                <c:pt idx="732">
                  <c:v>2.6629900000000002</c:v>
                </c:pt>
                <c:pt idx="733">
                  <c:v>3.0358700000000001</c:v>
                </c:pt>
                <c:pt idx="734">
                  <c:v>#N/A</c:v>
                </c:pt>
                <c:pt idx="735">
                  <c:v>3.1221999999999999</c:v>
                </c:pt>
                <c:pt idx="736">
                  <c:v>3.1804700000000001</c:v>
                </c:pt>
                <c:pt idx="737">
                  <c:v>2.4230100000000001</c:v>
                </c:pt>
                <c:pt idx="738">
                  <c:v>#N/A</c:v>
                </c:pt>
                <c:pt idx="739">
                  <c:v>2.3703699999999999</c:v>
                </c:pt>
                <c:pt idx="740">
                  <c:v>2.3616999999999999</c:v>
                </c:pt>
                <c:pt idx="741">
                  <c:v>3.0192199999999998</c:v>
                </c:pt>
                <c:pt idx="742">
                  <c:v>#N/A</c:v>
                </c:pt>
                <c:pt idx="743">
                  <c:v>2.9377</c:v>
                </c:pt>
                <c:pt idx="744">
                  <c:v>3.41282</c:v>
                </c:pt>
                <c:pt idx="745">
                  <c:v>2.85114</c:v>
                </c:pt>
                <c:pt idx="746">
                  <c:v>#N/A</c:v>
                </c:pt>
                <c:pt idx="747">
                  <c:v>2.92706</c:v>
                </c:pt>
                <c:pt idx="748">
                  <c:v>2.28728</c:v>
                </c:pt>
                <c:pt idx="749">
                  <c:v>2.1811199999999999</c:v>
                </c:pt>
                <c:pt idx="750">
                  <c:v>#N/A</c:v>
                </c:pt>
                <c:pt idx="751">
                  <c:v>2.2725</c:v>
                </c:pt>
                <c:pt idx="752">
                  <c:v>2.7039800000000001</c:v>
                </c:pt>
                <c:pt idx="753">
                  <c:v>#N/A</c:v>
                </c:pt>
                <c:pt idx="754">
                  <c:v>2.52264</c:v>
                </c:pt>
                <c:pt idx="755">
                  <c:v>2.4744700000000002</c:v>
                </c:pt>
                <c:pt idx="756">
                  <c:v>2.86768</c:v>
                </c:pt>
                <c:pt idx="757">
                  <c:v>#N/A</c:v>
                </c:pt>
                <c:pt idx="758">
                  <c:v>2.90971</c:v>
                </c:pt>
                <c:pt idx="759">
                  <c:v>2.5085700000000002</c:v>
                </c:pt>
                <c:pt idx="760">
                  <c:v>2.14242</c:v>
                </c:pt>
                <c:pt idx="761">
                  <c:v>#N/A</c:v>
                </c:pt>
                <c:pt idx="762">
                  <c:v>2.58216</c:v>
                </c:pt>
                <c:pt idx="763">
                  <c:v>2.7130899999999998</c:v>
                </c:pt>
                <c:pt idx="764">
                  <c:v>3.1147399999999998</c:v>
                </c:pt>
                <c:pt idx="765">
                  <c:v>#N/A</c:v>
                </c:pt>
                <c:pt idx="766">
                  <c:v>3.32809</c:v>
                </c:pt>
                <c:pt idx="767">
                  <c:v>#N/A</c:v>
                </c:pt>
                <c:pt idx="768">
                  <c:v>#N/A</c:v>
                </c:pt>
                <c:pt idx="769">
                  <c:v>3.1403599999999998</c:v>
                </c:pt>
                <c:pt idx="770">
                  <c:v>2.6661899999999998</c:v>
                </c:pt>
                <c:pt idx="771">
                  <c:v>#N/A</c:v>
                </c:pt>
                <c:pt idx="772">
                  <c:v>2.6357200000000001</c:v>
                </c:pt>
                <c:pt idx="773">
                  <c:v>2.9991599999999998</c:v>
                </c:pt>
                <c:pt idx="774">
                  <c:v>3.18045</c:v>
                </c:pt>
                <c:pt idx="775">
                  <c:v>#N/A</c:v>
                </c:pt>
                <c:pt idx="776">
                  <c:v>3.2070599999999998</c:v>
                </c:pt>
                <c:pt idx="777">
                  <c:v>2.4558</c:v>
                </c:pt>
                <c:pt idx="778">
                  <c:v>2.1769699999999998</c:v>
                </c:pt>
                <c:pt idx="779">
                  <c:v>#N/A</c:v>
                </c:pt>
                <c:pt idx="780">
                  <c:v>2.2282999999999999</c:v>
                </c:pt>
                <c:pt idx="781">
                  <c:v>2.77081</c:v>
                </c:pt>
                <c:pt idx="782">
                  <c:v>#N/A</c:v>
                </c:pt>
                <c:pt idx="783">
                  <c:v>2.6236600000000001</c:v>
                </c:pt>
                <c:pt idx="784">
                  <c:v>2.6409099999999999</c:v>
                </c:pt>
                <c:pt idx="785">
                  <c:v>3.2050800000000002</c:v>
                </c:pt>
                <c:pt idx="786">
                  <c:v>#N/A</c:v>
                </c:pt>
                <c:pt idx="787">
                  <c:v>2.8109000000000002</c:v>
                </c:pt>
                <c:pt idx="788">
                  <c:v>2.6493799999999998</c:v>
                </c:pt>
                <c:pt idx="789">
                  <c:v>2.3434499999999998</c:v>
                </c:pt>
                <c:pt idx="790">
                  <c:v>#N/A</c:v>
                </c:pt>
                <c:pt idx="791">
                  <c:v>2.3283800000000001</c:v>
                </c:pt>
                <c:pt idx="792">
                  <c:v>2.78816</c:v>
                </c:pt>
                <c:pt idx="793">
                  <c:v>2.8008000000000002</c:v>
                </c:pt>
                <c:pt idx="794">
                  <c:v>#N/A</c:v>
                </c:pt>
                <c:pt idx="795">
                  <c:v>3.2401599999999999</c:v>
                </c:pt>
                <c:pt idx="796">
                  <c:v>2.8913799999999998</c:v>
                </c:pt>
                <c:pt idx="797">
                  <c:v>3.0470000000000002</c:v>
                </c:pt>
                <c:pt idx="798">
                  <c:v>#N/A</c:v>
                </c:pt>
                <c:pt idx="799">
                  <c:v>2.8321999999999998</c:v>
                </c:pt>
                <c:pt idx="800">
                  <c:v>2.76139</c:v>
                </c:pt>
                <c:pt idx="801">
                  <c:v>1.9214800000000001</c:v>
                </c:pt>
                <c:pt idx="802">
                  <c:v>#N/A</c:v>
                </c:pt>
                <c:pt idx="803">
                  <c:v>2.0868099999999998</c:v>
                </c:pt>
                <c:pt idx="804">
                  <c:v>2.07585</c:v>
                </c:pt>
                <c:pt idx="805">
                  <c:v>#N/A</c:v>
                </c:pt>
                <c:pt idx="806">
                  <c:v>2.8326199999999999</c:v>
                </c:pt>
                <c:pt idx="807">
                  <c:v>3.2273299999999998</c:v>
                </c:pt>
                <c:pt idx="808">
                  <c:v>3.1234999999999999</c:v>
                </c:pt>
                <c:pt idx="809">
                  <c:v>#N/A</c:v>
                </c:pt>
                <c:pt idx="810">
                  <c:v>2.5283600000000002</c:v>
                </c:pt>
                <c:pt idx="811">
                  <c:v>2.2040099999999998</c:v>
                </c:pt>
                <c:pt idx="812">
                  <c:v>2.14676</c:v>
                </c:pt>
                <c:pt idx="813">
                  <c:v>#N/A</c:v>
                </c:pt>
                <c:pt idx="814">
                  <c:v>1.59832</c:v>
                </c:pt>
                <c:pt idx="815">
                  <c:v>2.3446500000000001</c:v>
                </c:pt>
                <c:pt idx="816">
                  <c:v>2.5379800000000001</c:v>
                </c:pt>
                <c:pt idx="817">
                  <c:v>#N/A</c:v>
                </c:pt>
                <c:pt idx="818">
                  <c:v>3.1277499999999998</c:v>
                </c:pt>
                <c:pt idx="819">
                  <c:v>2.8942899999999998</c:v>
                </c:pt>
                <c:pt idx="820">
                  <c:v>2.6709999999999998</c:v>
                </c:pt>
                <c:pt idx="821">
                  <c:v>#N/A</c:v>
                </c:pt>
                <c:pt idx="822">
                  <c:v>2.07612</c:v>
                </c:pt>
                <c:pt idx="823">
                  <c:v>2.4014899999999999</c:v>
                </c:pt>
                <c:pt idx="824">
                  <c:v>2.1602299999999999</c:v>
                </c:pt>
                <c:pt idx="825">
                  <c:v>#N/A</c:v>
                </c:pt>
                <c:pt idx="826">
                  <c:v>2.6531099999999999</c:v>
                </c:pt>
                <c:pt idx="827">
                  <c:v>2.92306</c:v>
                </c:pt>
                <c:pt idx="828">
                  <c:v>3.3071299999999999</c:v>
                </c:pt>
                <c:pt idx="829">
                  <c:v>#N/A</c:v>
                </c:pt>
                <c:pt idx="830">
                  <c:v>3.157</c:v>
                </c:pt>
                <c:pt idx="831">
                  <c:v>2.4594299999999998</c:v>
                </c:pt>
                <c:pt idx="832">
                  <c:v>2.4323899999999998</c:v>
                </c:pt>
                <c:pt idx="833">
                  <c:v>#N/A</c:v>
                </c:pt>
                <c:pt idx="834">
                  <c:v>2.2891400000000002</c:v>
                </c:pt>
                <c:pt idx="835">
                  <c:v>2.10337</c:v>
                </c:pt>
                <c:pt idx="836">
                  <c:v>#N/A</c:v>
                </c:pt>
                <c:pt idx="837">
                  <c:v>2.3152200000000001</c:v>
                </c:pt>
                <c:pt idx="838">
                  <c:v>2.9243700000000001</c:v>
                </c:pt>
                <c:pt idx="839">
                  <c:v>2.6835900000000001</c:v>
                </c:pt>
                <c:pt idx="840">
                  <c:v>#N/A</c:v>
                </c:pt>
                <c:pt idx="841">
                  <c:v>2.43634</c:v>
                </c:pt>
                <c:pt idx="842">
                  <c:v>1.8963000000000001</c:v>
                </c:pt>
                <c:pt idx="843">
                  <c:v>1.9756100000000001</c:v>
                </c:pt>
                <c:pt idx="844">
                  <c:v>#N/A</c:v>
                </c:pt>
                <c:pt idx="845">
                  <c:v>1.7471399999999999</c:v>
                </c:pt>
                <c:pt idx="846">
                  <c:v>2.4093499999999999</c:v>
                </c:pt>
                <c:pt idx="847">
                  <c:v>#N/A</c:v>
                </c:pt>
                <c:pt idx="848">
                  <c:v>3.0219200000000002</c:v>
                </c:pt>
                <c:pt idx="849">
                  <c:v>2.8808799999999999</c:v>
                </c:pt>
                <c:pt idx="850">
                  <c:v>2.8269899999999999</c:v>
                </c:pt>
                <c:pt idx="851">
                  <c:v>#N/A</c:v>
                </c:pt>
                <c:pt idx="852">
                  <c:v>2.7666400000000002</c:v>
                </c:pt>
                <c:pt idx="853">
                  <c:v>2.5298500000000002</c:v>
                </c:pt>
                <c:pt idx="854">
                  <c:v>2.69197</c:v>
                </c:pt>
                <c:pt idx="855">
                  <c:v>#N/A</c:v>
                </c:pt>
                <c:pt idx="856">
                  <c:v>2.2641800000000001</c:v>
                </c:pt>
                <c:pt idx="857">
                  <c:v>2.5893600000000001</c:v>
                </c:pt>
                <c:pt idx="858">
                  <c:v>2.8493200000000001</c:v>
                </c:pt>
                <c:pt idx="859">
                  <c:v>#N/A</c:v>
                </c:pt>
                <c:pt idx="860">
                  <c:v>2.4903499999999998</c:v>
                </c:pt>
                <c:pt idx="861">
                  <c:v>2.9035799999999998</c:v>
                </c:pt>
                <c:pt idx="862">
                  <c:v>#N/A</c:v>
                </c:pt>
                <c:pt idx="863">
                  <c:v>1.8819300000000001</c:v>
                </c:pt>
                <c:pt idx="864">
                  <c:v>1.6909000000000001</c:v>
                </c:pt>
                <c:pt idx="865">
                  <c:v>1.9804999999999999</c:v>
                </c:pt>
                <c:pt idx="866">
                  <c:v>#N/A</c:v>
                </c:pt>
                <c:pt idx="867">
                  <c:v>2.20736</c:v>
                </c:pt>
                <c:pt idx="868">
                  <c:v>2.9293200000000001</c:v>
                </c:pt>
                <c:pt idx="869">
                  <c:v>2.7675999999999998</c:v>
                </c:pt>
                <c:pt idx="870">
                  <c:v>#N/A</c:v>
                </c:pt>
                <c:pt idx="871">
                  <c:v>3.0401400000000001</c:v>
                </c:pt>
                <c:pt idx="872">
                  <c:v>2.4831799999999999</c:v>
                </c:pt>
                <c:pt idx="873">
                  <c:v>1.87636</c:v>
                </c:pt>
                <c:pt idx="874">
                  <c:v>#N/A</c:v>
                </c:pt>
                <c:pt idx="875">
                  <c:v>1.66354</c:v>
                </c:pt>
                <c:pt idx="876">
                  <c:v>2.2074400000000001</c:v>
                </c:pt>
                <c:pt idx="877">
                  <c:v>2.44021</c:v>
                </c:pt>
                <c:pt idx="878">
                  <c:v>#N/A</c:v>
                </c:pt>
                <c:pt idx="879">
                  <c:v>3.16987</c:v>
                </c:pt>
                <c:pt idx="880">
                  <c:v>2.8117700000000001</c:v>
                </c:pt>
                <c:pt idx="881">
                  <c:v>#N/A</c:v>
                </c:pt>
                <c:pt idx="882">
                  <c:v>2.3881100000000002</c:v>
                </c:pt>
                <c:pt idx="883">
                  <c:v>2.48672</c:v>
                </c:pt>
                <c:pt idx="884">
                  <c:v>1.60059</c:v>
                </c:pt>
                <c:pt idx="885">
                  <c:v>#N/A</c:v>
                </c:pt>
                <c:pt idx="886">
                  <c:v>1.83379</c:v>
                </c:pt>
                <c:pt idx="887">
                  <c:v>1.8492900000000001</c:v>
                </c:pt>
                <c:pt idx="888">
                  <c:v>2.3886799999999999</c:v>
                </c:pt>
                <c:pt idx="889">
                  <c:v>#N/A</c:v>
                </c:pt>
                <c:pt idx="890">
                  <c:v>3.2203599999999999</c:v>
                </c:pt>
                <c:pt idx="891">
                  <c:v>3.2539699999999998</c:v>
                </c:pt>
                <c:pt idx="892">
                  <c:v>2.6496599999999999</c:v>
                </c:pt>
                <c:pt idx="893">
                  <c:v>#N/A</c:v>
                </c:pt>
                <c:pt idx="894">
                  <c:v>2.5913400000000002</c:v>
                </c:pt>
                <c:pt idx="895">
                  <c:v>2.1911200000000002</c:v>
                </c:pt>
                <c:pt idx="896">
                  <c:v>2.5175800000000002</c:v>
                </c:pt>
                <c:pt idx="897">
                  <c:v>#N/A</c:v>
                </c:pt>
                <c:pt idx="898">
                  <c:v>2.3689800000000001</c:v>
                </c:pt>
                <c:pt idx="899">
                  <c:v>2.2749899999999998</c:v>
                </c:pt>
                <c:pt idx="900">
                  <c:v>2.46766</c:v>
                </c:pt>
                <c:pt idx="901">
                  <c:v>#N/A</c:v>
                </c:pt>
                <c:pt idx="902">
                  <c:v>3.0864099999999999</c:v>
                </c:pt>
                <c:pt idx="903">
                  <c:v>2.7236699999999998</c:v>
                </c:pt>
                <c:pt idx="904">
                  <c:v>2.31332</c:v>
                </c:pt>
                <c:pt idx="905">
                  <c:v>#N/A</c:v>
                </c:pt>
                <c:pt idx="906">
                  <c:v>2.1842199999999998</c:v>
                </c:pt>
                <c:pt idx="907">
                  <c:v>1.8586499999999999</c:v>
                </c:pt>
                <c:pt idx="908">
                  <c:v>1.86721</c:v>
                </c:pt>
                <c:pt idx="909">
                  <c:v>#N/A</c:v>
                </c:pt>
                <c:pt idx="910">
                  <c:v>1.87856</c:v>
                </c:pt>
                <c:pt idx="911">
                  <c:v>2.9497800000000001</c:v>
                </c:pt>
                <c:pt idx="912">
                  <c:v>#N/A</c:v>
                </c:pt>
                <c:pt idx="913">
                  <c:v>2.64412</c:v>
                </c:pt>
                <c:pt idx="914">
                  <c:v>3.1076999999999999</c:v>
                </c:pt>
                <c:pt idx="915">
                  <c:v>3.1454499999999999</c:v>
                </c:pt>
                <c:pt idx="916">
                  <c:v>#N/A</c:v>
                </c:pt>
                <c:pt idx="917">
                  <c:v>2.04264</c:v>
                </c:pt>
                <c:pt idx="918">
                  <c:v>2.0121600000000002</c:v>
                </c:pt>
                <c:pt idx="919">
                  <c:v>#N/A</c:v>
                </c:pt>
                <c:pt idx="920">
                  <c:v>2.4501300000000001</c:v>
                </c:pt>
                <c:pt idx="921">
                  <c:v>2.1915399999999998</c:v>
                </c:pt>
                <c:pt idx="922">
                  <c:v>#N/A</c:v>
                </c:pt>
                <c:pt idx="923">
                  <c:v>2.5502799999999999</c:v>
                </c:pt>
                <c:pt idx="924">
                  <c:v>#N/A</c:v>
                </c:pt>
                <c:pt idx="925">
                  <c:v>2.6906099999999999</c:v>
                </c:pt>
                <c:pt idx="926">
                  <c:v>2.23996</c:v>
                </c:pt>
                <c:pt idx="927">
                  <c:v>2.0678700000000001</c:v>
                </c:pt>
                <c:pt idx="928">
                  <c:v>#N/A</c:v>
                </c:pt>
                <c:pt idx="929">
                  <c:v>2.0767099999999998</c:v>
                </c:pt>
                <c:pt idx="930">
                  <c:v>2.66412</c:v>
                </c:pt>
                <c:pt idx="931">
                  <c:v>2.6039099999999999</c:v>
                </c:pt>
                <c:pt idx="932">
                  <c:v>#N/A</c:v>
                </c:pt>
                <c:pt idx="933">
                  <c:v>2.5242300000000002</c:v>
                </c:pt>
                <c:pt idx="934">
                  <c:v>2.4735</c:v>
                </c:pt>
                <c:pt idx="935">
                  <c:v>2.0379800000000001</c:v>
                </c:pt>
                <c:pt idx="936">
                  <c:v>#N/A</c:v>
                </c:pt>
                <c:pt idx="937">
                  <c:v>1.8186599999999999</c:v>
                </c:pt>
                <c:pt idx="938">
                  <c:v>1.68387</c:v>
                </c:pt>
                <c:pt idx="939">
                  <c:v>2.16242</c:v>
                </c:pt>
                <c:pt idx="940">
                  <c:v>#N/A</c:v>
                </c:pt>
                <c:pt idx="941">
                  <c:v>2.3523700000000001</c:v>
                </c:pt>
                <c:pt idx="942">
                  <c:v>2.6977699999999998</c:v>
                </c:pt>
                <c:pt idx="943">
                  <c:v>3.0367299999999999</c:v>
                </c:pt>
                <c:pt idx="944">
                  <c:v>#N/A</c:v>
                </c:pt>
                <c:pt idx="945">
                  <c:v>2.1944900000000001</c:v>
                </c:pt>
                <c:pt idx="946">
                  <c:v>2.2305600000000001</c:v>
                </c:pt>
                <c:pt idx="947">
                  <c:v>2.0045000000000002</c:v>
                </c:pt>
                <c:pt idx="948">
                  <c:v>#N/A</c:v>
                </c:pt>
                <c:pt idx="949">
                  <c:v>2.4100899999999998</c:v>
                </c:pt>
                <c:pt idx="950">
                  <c:v>2.27684</c:v>
                </c:pt>
                <c:pt idx="951">
                  <c:v>3.2048199999999998</c:v>
                </c:pt>
                <c:pt idx="952">
                  <c:v>#N/A</c:v>
                </c:pt>
                <c:pt idx="953">
                  <c:v>2.7336999999999998</c:v>
                </c:pt>
                <c:pt idx="954">
                  <c:v>3.2938499999999999</c:v>
                </c:pt>
                <c:pt idx="955">
                  <c:v>#N/A</c:v>
                </c:pt>
                <c:pt idx="956">
                  <c:v>2.9922200000000001</c:v>
                </c:pt>
                <c:pt idx="957">
                  <c:v>2.5414300000000001</c:v>
                </c:pt>
                <c:pt idx="958">
                  <c:v>2.02006</c:v>
                </c:pt>
                <c:pt idx="959">
                  <c:v>#N/A</c:v>
                </c:pt>
                <c:pt idx="960">
                  <c:v>1.6847300000000001</c:v>
                </c:pt>
                <c:pt idx="961">
                  <c:v>2.3582000000000001</c:v>
                </c:pt>
                <c:pt idx="962">
                  <c:v>2.78044</c:v>
                </c:pt>
                <c:pt idx="963">
                  <c:v>#N/A</c:v>
                </c:pt>
                <c:pt idx="964">
                  <c:v>3.0503100000000001</c:v>
                </c:pt>
                <c:pt idx="965">
                  <c:v>2.3165499999999999</c:v>
                </c:pt>
                <c:pt idx="966">
                  <c:v>2.7315299999999998</c:v>
                </c:pt>
                <c:pt idx="967">
                  <c:v>#N/A</c:v>
                </c:pt>
                <c:pt idx="968">
                  <c:v>2.34918</c:v>
                </c:pt>
                <c:pt idx="969">
                  <c:v>1.5893200000000001</c:v>
                </c:pt>
                <c:pt idx="970">
                  <c:v>1.68634</c:v>
                </c:pt>
                <c:pt idx="971">
                  <c:v>#N/A</c:v>
                </c:pt>
                <c:pt idx="972">
                  <c:v>2.2948200000000001</c:v>
                </c:pt>
                <c:pt idx="973">
                  <c:v>2.48726</c:v>
                </c:pt>
                <c:pt idx="974">
                  <c:v>3.00421</c:v>
                </c:pt>
                <c:pt idx="975">
                  <c:v>#N/A</c:v>
                </c:pt>
                <c:pt idx="976">
                  <c:v>3.0697899999999998</c:v>
                </c:pt>
                <c:pt idx="977">
                  <c:v>2.9192200000000001</c:v>
                </c:pt>
                <c:pt idx="978">
                  <c:v>#N/A</c:v>
                </c:pt>
                <c:pt idx="979">
                  <c:v>2.4597899999999999</c:v>
                </c:pt>
                <c:pt idx="980">
                  <c:v>2.7657699999999998</c:v>
                </c:pt>
                <c:pt idx="981">
                  <c:v>2.4715400000000001</c:v>
                </c:pt>
                <c:pt idx="982">
                  <c:v>#N/A</c:v>
                </c:pt>
                <c:pt idx="983">
                  <c:v>2.9235199999999999</c:v>
                </c:pt>
                <c:pt idx="984">
                  <c:v>2.7985799999999998</c:v>
                </c:pt>
                <c:pt idx="985">
                  <c:v>2.64696</c:v>
                </c:pt>
                <c:pt idx="986">
                  <c:v>#N/A</c:v>
                </c:pt>
                <c:pt idx="987">
                  <c:v>2.54542</c:v>
                </c:pt>
                <c:pt idx="988">
                  <c:v>2.6105499999999999</c:v>
                </c:pt>
                <c:pt idx="989">
                  <c:v>1.9923599999999999</c:v>
                </c:pt>
                <c:pt idx="990">
                  <c:v>#N/A</c:v>
                </c:pt>
                <c:pt idx="991">
                  <c:v>1.73837</c:v>
                </c:pt>
                <c:pt idx="992">
                  <c:v>2.0131899999999998</c:v>
                </c:pt>
                <c:pt idx="993">
                  <c:v>1.8702099999999999</c:v>
                </c:pt>
                <c:pt idx="994">
                  <c:v>#N/A</c:v>
                </c:pt>
                <c:pt idx="995">
                  <c:v>2.1762000000000001</c:v>
                </c:pt>
                <c:pt idx="996">
                  <c:v>2.0936499999999998</c:v>
                </c:pt>
                <c:pt idx="997">
                  <c:v>#N/A</c:v>
                </c:pt>
                <c:pt idx="998">
                  <c:v>2.8921700000000001</c:v>
                </c:pt>
                <c:pt idx="999">
                  <c:v>#N/A</c:v>
                </c:pt>
                <c:pt idx="1000">
                  <c:v>2.4701599999999999</c:v>
                </c:pt>
                <c:pt idx="1001">
                  <c:v>2.8264999999999998</c:v>
                </c:pt>
                <c:pt idx="1002">
                  <c:v>2.8475700000000002</c:v>
                </c:pt>
                <c:pt idx="1003">
                  <c:v>#N/A</c:v>
                </c:pt>
                <c:pt idx="1004">
                  <c:v>2.7412000000000001</c:v>
                </c:pt>
                <c:pt idx="1005">
                  <c:v>2.3933800000000001</c:v>
                </c:pt>
                <c:pt idx="1006">
                  <c:v>2.5594399999999999</c:v>
                </c:pt>
                <c:pt idx="1007">
                  <c:v>#N/A</c:v>
                </c:pt>
                <c:pt idx="1008">
                  <c:v>2.2618999999999998</c:v>
                </c:pt>
                <c:pt idx="1009">
                  <c:v>2.0272899999999998</c:v>
                </c:pt>
                <c:pt idx="1010">
                  <c:v>2.3134000000000001</c:v>
                </c:pt>
                <c:pt idx="1011">
                  <c:v>#N/A</c:v>
                </c:pt>
                <c:pt idx="1012">
                  <c:v>2.4895499999999999</c:v>
                </c:pt>
                <c:pt idx="1013">
                  <c:v>2.6386799999999999</c:v>
                </c:pt>
                <c:pt idx="1014">
                  <c:v>#N/A</c:v>
                </c:pt>
                <c:pt idx="1015">
                  <c:v>3.0695000000000001</c:v>
                </c:pt>
                <c:pt idx="1016">
                  <c:v>3.00284</c:v>
                </c:pt>
                <c:pt idx="1017">
                  <c:v>2.8559100000000002</c:v>
                </c:pt>
                <c:pt idx="1018">
                  <c:v>#N/A</c:v>
                </c:pt>
                <c:pt idx="1019">
                  <c:v>2.7872699999999999</c:v>
                </c:pt>
                <c:pt idx="1020">
                  <c:v>2.14005</c:v>
                </c:pt>
                <c:pt idx="1021">
                  <c:v>1.2602599999999999</c:v>
                </c:pt>
                <c:pt idx="1022">
                  <c:v>#N/A</c:v>
                </c:pt>
                <c:pt idx="1023">
                  <c:v>1.8714599999999999</c:v>
                </c:pt>
                <c:pt idx="1024">
                  <c:v>3.01519</c:v>
                </c:pt>
                <c:pt idx="1025">
                  <c:v>3.0294699999999999</c:v>
                </c:pt>
                <c:pt idx="1026">
                  <c:v>#N/A</c:v>
                </c:pt>
                <c:pt idx="1027">
                  <c:v>2.7356400000000001</c:v>
                </c:pt>
                <c:pt idx="1028">
                  <c:v>2.58527</c:v>
                </c:pt>
                <c:pt idx="1029">
                  <c:v>2.33907</c:v>
                </c:pt>
                <c:pt idx="1030">
                  <c:v>#N/A</c:v>
                </c:pt>
                <c:pt idx="1031">
                  <c:v>1.6345799999999999</c:v>
                </c:pt>
                <c:pt idx="1032">
                  <c:v>1.5472900000000001</c:v>
                </c:pt>
                <c:pt idx="1033">
                  <c:v>#N/A</c:v>
                </c:pt>
                <c:pt idx="1034">
                  <c:v>1.82361</c:v>
                </c:pt>
                <c:pt idx="1035">
                  <c:v>2.4734099999999999</c:v>
                </c:pt>
                <c:pt idx="1036">
                  <c:v>3.50712</c:v>
                </c:pt>
                <c:pt idx="1037">
                  <c:v>#N/A</c:v>
                </c:pt>
                <c:pt idx="1038">
                  <c:v>3.7279900000000001</c:v>
                </c:pt>
                <c:pt idx="1039">
                  <c:v>3.17598</c:v>
                </c:pt>
                <c:pt idx="1040">
                  <c:v>2.9476100000000001</c:v>
                </c:pt>
                <c:pt idx="1041">
                  <c:v>#N/A</c:v>
                </c:pt>
                <c:pt idx="1042">
                  <c:v>2.2142400000000002</c:v>
                </c:pt>
                <c:pt idx="1043">
                  <c:v>1.8954500000000001</c:v>
                </c:pt>
                <c:pt idx="1044">
                  <c:v>1.73935</c:v>
                </c:pt>
                <c:pt idx="1045">
                  <c:v>#N/A</c:v>
                </c:pt>
                <c:pt idx="1046">
                  <c:v>2.2692999999999999</c:v>
                </c:pt>
                <c:pt idx="1047">
                  <c:v>2.4434100000000001</c:v>
                </c:pt>
                <c:pt idx="1048">
                  <c:v>3.3016100000000002</c:v>
                </c:pt>
                <c:pt idx="1049">
                  <c:v>#N/A</c:v>
                </c:pt>
                <c:pt idx="1050">
                  <c:v>2.7989199999999999</c:v>
                </c:pt>
                <c:pt idx="1051">
                  <c:v>1.8109999999999999</c:v>
                </c:pt>
                <c:pt idx="1052">
                  <c:v>1.7217800000000001</c:v>
                </c:pt>
                <c:pt idx="1053">
                  <c:v>#N/A</c:v>
                </c:pt>
                <c:pt idx="1054">
                  <c:v>1.3878999999999999</c:v>
                </c:pt>
                <c:pt idx="1055">
                  <c:v>1.65171</c:v>
                </c:pt>
                <c:pt idx="1056">
                  <c:v>1.6499200000000001</c:v>
                </c:pt>
                <c:pt idx="1057">
                  <c:v>#N/A</c:v>
                </c:pt>
                <c:pt idx="1058">
                  <c:v>2.3174800000000002</c:v>
                </c:pt>
                <c:pt idx="1059">
                  <c:v>2.33649</c:v>
                </c:pt>
                <c:pt idx="1060">
                  <c:v>2.8223500000000001</c:v>
                </c:pt>
                <c:pt idx="1061">
                  <c:v>#N/A</c:v>
                </c:pt>
                <c:pt idx="1062">
                  <c:v>2.95058</c:v>
                </c:pt>
                <c:pt idx="1063">
                  <c:v>2.29427</c:v>
                </c:pt>
                <c:pt idx="1064">
                  <c:v>2.22946</c:v>
                </c:pt>
                <c:pt idx="1065">
                  <c:v>#N/A</c:v>
                </c:pt>
                <c:pt idx="1066">
                  <c:v>2.7292700000000001</c:v>
                </c:pt>
                <c:pt idx="1067">
                  <c:v>2.3208299999999999</c:v>
                </c:pt>
                <c:pt idx="1068">
                  <c:v>#N/A</c:v>
                </c:pt>
                <c:pt idx="1069">
                  <c:v>2.2166199999999998</c:v>
                </c:pt>
                <c:pt idx="1070">
                  <c:v>2.3828100000000001</c:v>
                </c:pt>
                <c:pt idx="1071">
                  <c:v>#N/A</c:v>
                </c:pt>
                <c:pt idx="1072">
                  <c:v>2.5234200000000002</c:v>
                </c:pt>
                <c:pt idx="1073">
                  <c:v>#N/A</c:v>
                </c:pt>
                <c:pt idx="1074">
                  <c:v>2.5868699999999998</c:v>
                </c:pt>
                <c:pt idx="1075">
                  <c:v>2.5240300000000002</c:v>
                </c:pt>
                <c:pt idx="1076">
                  <c:v>#N/A</c:v>
                </c:pt>
                <c:pt idx="1077">
                  <c:v>3.03912</c:v>
                </c:pt>
                <c:pt idx="1078">
                  <c:v>2.8574600000000001</c:v>
                </c:pt>
                <c:pt idx="1079">
                  <c:v>2.9558800000000001</c:v>
                </c:pt>
                <c:pt idx="1080">
                  <c:v>#N/A</c:v>
                </c:pt>
                <c:pt idx="1081">
                  <c:v>2.6418699999999999</c:v>
                </c:pt>
                <c:pt idx="1082">
                  <c:v>2.0943800000000001</c:v>
                </c:pt>
                <c:pt idx="1083">
                  <c:v>2.1695799999999998</c:v>
                </c:pt>
                <c:pt idx="1084">
                  <c:v>#N/A</c:v>
                </c:pt>
                <c:pt idx="1085">
                  <c:v>2.5123500000000001</c:v>
                </c:pt>
                <c:pt idx="1086">
                  <c:v>2.3199200000000002</c:v>
                </c:pt>
                <c:pt idx="1087">
                  <c:v>2.5859000000000001</c:v>
                </c:pt>
                <c:pt idx="1088">
                  <c:v>#N/A</c:v>
                </c:pt>
                <c:pt idx="1089">
                  <c:v>2.7301799999999998</c:v>
                </c:pt>
                <c:pt idx="1090">
                  <c:v>2.43825</c:v>
                </c:pt>
                <c:pt idx="1091">
                  <c:v>#N/A</c:v>
                </c:pt>
                <c:pt idx="1092">
                  <c:v>2.24519</c:v>
                </c:pt>
                <c:pt idx="1093">
                  <c:v>1.9271400000000001</c:v>
                </c:pt>
                <c:pt idx="1094">
                  <c:v>1.8124899999999999</c:v>
                </c:pt>
                <c:pt idx="1095">
                  <c:v>#N/A</c:v>
                </c:pt>
                <c:pt idx="1096">
                  <c:v>2.1452499999999999</c:v>
                </c:pt>
                <c:pt idx="1097">
                  <c:v>3.0160800000000001</c:v>
                </c:pt>
                <c:pt idx="1098">
                  <c:v>3.3454700000000002</c:v>
                </c:pt>
                <c:pt idx="1099">
                  <c:v>#N/A</c:v>
                </c:pt>
                <c:pt idx="1100">
                  <c:v>3.6947000000000001</c:v>
                </c:pt>
                <c:pt idx="1101">
                  <c:v>3.7986399999999998</c:v>
                </c:pt>
                <c:pt idx="1102">
                  <c:v>2.9769299999999999</c:v>
                </c:pt>
                <c:pt idx="1103">
                  <c:v>#N/A</c:v>
                </c:pt>
                <c:pt idx="1104">
                  <c:v>2.2679399999999998</c:v>
                </c:pt>
                <c:pt idx="1105">
                  <c:v>1.86886</c:v>
                </c:pt>
                <c:pt idx="1106">
                  <c:v>2.24417</c:v>
                </c:pt>
                <c:pt idx="1107">
                  <c:v>#N/A</c:v>
                </c:pt>
                <c:pt idx="1108">
                  <c:v>2.9476200000000001</c:v>
                </c:pt>
                <c:pt idx="1109">
                  <c:v>2.9161800000000002</c:v>
                </c:pt>
                <c:pt idx="1110">
                  <c:v>#N/A</c:v>
                </c:pt>
                <c:pt idx="1111">
                  <c:v>3.1050399999999998</c:v>
                </c:pt>
                <c:pt idx="1112">
                  <c:v>2.8128000000000002</c:v>
                </c:pt>
                <c:pt idx="1113">
                  <c:v>1.7561899999999999</c:v>
                </c:pt>
                <c:pt idx="1114">
                  <c:v>#N/A</c:v>
                </c:pt>
                <c:pt idx="1115">
                  <c:v>1.67194</c:v>
                </c:pt>
                <c:pt idx="1116">
                  <c:v>1.2926899999999999</c:v>
                </c:pt>
                <c:pt idx="1117">
                  <c:v>1.2308399999999999</c:v>
                </c:pt>
                <c:pt idx="1118">
                  <c:v>#N/A</c:v>
                </c:pt>
                <c:pt idx="1119">
                  <c:v>1.9006400000000001</c:v>
                </c:pt>
                <c:pt idx="1120">
                  <c:v>2.72824</c:v>
                </c:pt>
                <c:pt idx="1121">
                  <c:v>2.8656600000000001</c:v>
                </c:pt>
                <c:pt idx="1122">
                  <c:v>#N/A</c:v>
                </c:pt>
                <c:pt idx="1123">
                  <c:v>3.2960099999999999</c:v>
                </c:pt>
                <c:pt idx="1124">
                  <c:v>2.9845899999999999</c:v>
                </c:pt>
                <c:pt idx="1125">
                  <c:v>#N/A</c:v>
                </c:pt>
                <c:pt idx="1126">
                  <c:v>2.5193400000000001</c:v>
                </c:pt>
                <c:pt idx="1127">
                  <c:v>1.92106</c:v>
                </c:pt>
                <c:pt idx="1128">
                  <c:v>2.2348499999999998</c:v>
                </c:pt>
                <c:pt idx="1129">
                  <c:v>#N/A</c:v>
                </c:pt>
                <c:pt idx="1130">
                  <c:v>2.4300799999999998</c:v>
                </c:pt>
                <c:pt idx="1131">
                  <c:v>2.7546599999999999</c:v>
                </c:pt>
                <c:pt idx="1132">
                  <c:v>2.9349099999999999</c:v>
                </c:pt>
                <c:pt idx="1133">
                  <c:v>#N/A</c:v>
                </c:pt>
                <c:pt idx="1134">
                  <c:v>3.0309699999999999</c:v>
                </c:pt>
                <c:pt idx="1135">
                  <c:v>2.89086</c:v>
                </c:pt>
                <c:pt idx="1136">
                  <c:v>2.28654</c:v>
                </c:pt>
                <c:pt idx="1137">
                  <c:v>#N/A</c:v>
                </c:pt>
                <c:pt idx="1138">
                  <c:v>2.4763600000000001</c:v>
                </c:pt>
                <c:pt idx="1139">
                  <c:v>2.08128</c:v>
                </c:pt>
                <c:pt idx="1140">
                  <c:v>2.7924099999999998</c:v>
                </c:pt>
                <c:pt idx="1141">
                  <c:v>#N/A</c:v>
                </c:pt>
                <c:pt idx="1142">
                  <c:v>2.4319799999999998</c:v>
                </c:pt>
                <c:pt idx="1143">
                  <c:v>1.97912</c:v>
                </c:pt>
                <c:pt idx="1144">
                  <c:v>#N/A</c:v>
                </c:pt>
                <c:pt idx="1145">
                  <c:v>2.6636500000000001</c:v>
                </c:pt>
                <c:pt idx="1146">
                  <c:v>2.56915</c:v>
                </c:pt>
                <c:pt idx="1147">
                  <c:v>#N/A</c:v>
                </c:pt>
                <c:pt idx="1148">
                  <c:v>2.4204300000000001</c:v>
                </c:pt>
                <c:pt idx="1149">
                  <c:v>#N/A</c:v>
                </c:pt>
                <c:pt idx="1150">
                  <c:v>4.06142</c:v>
                </c:pt>
                <c:pt idx="1151">
                  <c:v>4.1513299999999997</c:v>
                </c:pt>
                <c:pt idx="1152">
                  <c:v>#N/A</c:v>
                </c:pt>
                <c:pt idx="1153">
                  <c:v>3.6179299999999999</c:v>
                </c:pt>
                <c:pt idx="1154">
                  <c:v>3.7303000000000002</c:v>
                </c:pt>
                <c:pt idx="1155">
                  <c:v>3.0306199999999999</c:v>
                </c:pt>
                <c:pt idx="1156">
                  <c:v>#N/A</c:v>
                </c:pt>
                <c:pt idx="1157">
                  <c:v>3.1060400000000001</c:v>
                </c:pt>
                <c:pt idx="1158">
                  <c:v>3.2930600000000001</c:v>
                </c:pt>
                <c:pt idx="1159">
                  <c:v>3.2896800000000002</c:v>
                </c:pt>
                <c:pt idx="1160">
                  <c:v>#N/A</c:v>
                </c:pt>
                <c:pt idx="1161">
                  <c:v>2.23719</c:v>
                </c:pt>
                <c:pt idx="1162">
                  <c:v>2.1255600000000001</c:v>
                </c:pt>
                <c:pt idx="1163">
                  <c:v>2.4072499999999999</c:v>
                </c:pt>
                <c:pt idx="1164">
                  <c:v>#N/A</c:v>
                </c:pt>
                <c:pt idx="1165">
                  <c:v>1.9694100000000001</c:v>
                </c:pt>
                <c:pt idx="1166">
                  <c:v>1.4620500000000001</c:v>
                </c:pt>
                <c:pt idx="1167">
                  <c:v>1.1220699999999999</c:v>
                </c:pt>
                <c:pt idx="1168">
                  <c:v>#N/A</c:v>
                </c:pt>
                <c:pt idx="1169">
                  <c:v>1.3200400000000001</c:v>
                </c:pt>
                <c:pt idx="1170">
                  <c:v>1.7203999999999999</c:v>
                </c:pt>
                <c:pt idx="1171">
                  <c:v>1.39984</c:v>
                </c:pt>
                <c:pt idx="1172">
                  <c:v>#N/A</c:v>
                </c:pt>
                <c:pt idx="1173">
                  <c:v>1.74576</c:v>
                </c:pt>
                <c:pt idx="1174">
                  <c:v>1.57077</c:v>
                </c:pt>
                <c:pt idx="1175">
                  <c:v>#N/A</c:v>
                </c:pt>
                <c:pt idx="1176">
                  <c:v>1.9167400000000001</c:v>
                </c:pt>
                <c:pt idx="1177">
                  <c:v>2.32633</c:v>
                </c:pt>
                <c:pt idx="1178">
                  <c:v>2.19828</c:v>
                </c:pt>
                <c:pt idx="1179">
                  <c:v>#N/A</c:v>
                </c:pt>
                <c:pt idx="1180">
                  <c:v>2.2945700000000002</c:v>
                </c:pt>
                <c:pt idx="1181">
                  <c:v>3.05708</c:v>
                </c:pt>
                <c:pt idx="1182">
                  <c:v>4.26234</c:v>
                </c:pt>
                <c:pt idx="1183">
                  <c:v>#N/A</c:v>
                </c:pt>
                <c:pt idx="1184">
                  <c:v>3.9666999999999999</c:v>
                </c:pt>
                <c:pt idx="1185">
                  <c:v>3.3457699999999999</c:v>
                </c:pt>
                <c:pt idx="1186">
                  <c:v>2.8982700000000001</c:v>
                </c:pt>
                <c:pt idx="1187">
                  <c:v>#N/A</c:v>
                </c:pt>
                <c:pt idx="1188">
                  <c:v>2.0975199999999998</c:v>
                </c:pt>
                <c:pt idx="1189">
                  <c:v>2.0329199999999998</c:v>
                </c:pt>
                <c:pt idx="1190">
                  <c:v>1.77898</c:v>
                </c:pt>
                <c:pt idx="1191">
                  <c:v>#N/A</c:v>
                </c:pt>
                <c:pt idx="1192">
                  <c:v>1.6752400000000001</c:v>
                </c:pt>
                <c:pt idx="1193">
                  <c:v>2.32362</c:v>
                </c:pt>
                <c:pt idx="1194">
                  <c:v>3.23515</c:v>
                </c:pt>
                <c:pt idx="1195">
                  <c:v>#N/A</c:v>
                </c:pt>
                <c:pt idx="1196">
                  <c:v>2.5955400000000002</c:v>
                </c:pt>
                <c:pt idx="1197">
                  <c:v>2.00942</c:v>
                </c:pt>
                <c:pt idx="1198">
                  <c:v>1.2379</c:v>
                </c:pt>
                <c:pt idx="1199">
                  <c:v>#N/A</c:v>
                </c:pt>
                <c:pt idx="1200">
                  <c:v>1.1484799999999999</c:v>
                </c:pt>
                <c:pt idx="1201">
                  <c:v>1.60449</c:v>
                </c:pt>
                <c:pt idx="1202">
                  <c:v>#N/A</c:v>
                </c:pt>
                <c:pt idx="1203">
                  <c:v>2.9989599999999998</c:v>
                </c:pt>
                <c:pt idx="1204">
                  <c:v>3.06202</c:v>
                </c:pt>
                <c:pt idx="1205">
                  <c:v>3.8146399999999998</c:v>
                </c:pt>
                <c:pt idx="1206">
                  <c:v>#N/A</c:v>
                </c:pt>
                <c:pt idx="1207">
                  <c:v>3.6748099999999999</c:v>
                </c:pt>
                <c:pt idx="1208">
                  <c:v>2.8119499999999999</c:v>
                </c:pt>
                <c:pt idx="1209">
                  <c:v>2.2763800000000001</c:v>
                </c:pt>
                <c:pt idx="1210">
                  <c:v>#N/A</c:v>
                </c:pt>
                <c:pt idx="1211">
                  <c:v>2.5874999999999999</c:v>
                </c:pt>
                <c:pt idx="1212">
                  <c:v>2.7670699999999999</c:v>
                </c:pt>
                <c:pt idx="1213">
                  <c:v>#N/A</c:v>
                </c:pt>
                <c:pt idx="1214">
                  <c:v>2.7583299999999999</c:v>
                </c:pt>
                <c:pt idx="1215">
                  <c:v>2.5912700000000002</c:v>
                </c:pt>
                <c:pt idx="1216">
                  <c:v>2.45166</c:v>
                </c:pt>
                <c:pt idx="1217">
                  <c:v>#N/A</c:v>
                </c:pt>
                <c:pt idx="1218">
                  <c:v>2.48584</c:v>
                </c:pt>
                <c:pt idx="1219">
                  <c:v>2.5828899999999999</c:v>
                </c:pt>
                <c:pt idx="1220">
                  <c:v>2.4820799999999998</c:v>
                </c:pt>
                <c:pt idx="1221">
                  <c:v>#N/A</c:v>
                </c:pt>
                <c:pt idx="1222">
                  <c:v>1.8319700000000001</c:v>
                </c:pt>
                <c:pt idx="1223">
                  <c:v>#N/A</c:v>
                </c:pt>
                <c:pt idx="1224">
                  <c:v>2.1100599999999998</c:v>
                </c:pt>
                <c:pt idx="1225">
                  <c:v>2.1905199999999998</c:v>
                </c:pt>
                <c:pt idx="1226">
                  <c:v>#N/A</c:v>
                </c:pt>
                <c:pt idx="1227">
                  <c:v>1.9185000000000001</c:v>
                </c:pt>
                <c:pt idx="1228">
                  <c:v>2.0808800000000001</c:v>
                </c:pt>
                <c:pt idx="1229">
                  <c:v>2.1967400000000001</c:v>
                </c:pt>
                <c:pt idx="1230">
                  <c:v>#N/A</c:v>
                </c:pt>
                <c:pt idx="1231">
                  <c:v>2.2971400000000002</c:v>
                </c:pt>
                <c:pt idx="1232">
                  <c:v>2.98027</c:v>
                </c:pt>
                <c:pt idx="1233">
                  <c:v>3.1938200000000001</c:v>
                </c:pt>
                <c:pt idx="1234">
                  <c:v>#N/A</c:v>
                </c:pt>
                <c:pt idx="1235">
                  <c:v>3.2017600000000002</c:v>
                </c:pt>
                <c:pt idx="1236">
                  <c:v>2.80335</c:v>
                </c:pt>
                <c:pt idx="1237">
                  <c:v>2.8464700000000001</c:v>
                </c:pt>
                <c:pt idx="1238">
                  <c:v>#N/A</c:v>
                </c:pt>
                <c:pt idx="1239">
                  <c:v>1.7887</c:v>
                </c:pt>
                <c:pt idx="1240">
                  <c:v>1.68659</c:v>
                </c:pt>
                <c:pt idx="1241">
                  <c:v>2.0850300000000002</c:v>
                </c:pt>
                <c:pt idx="1242">
                  <c:v>#N/A</c:v>
                </c:pt>
                <c:pt idx="1243">
                  <c:v>2.5467300000000002</c:v>
                </c:pt>
                <c:pt idx="1244">
                  <c:v>3.3693399999999998</c:v>
                </c:pt>
                <c:pt idx="1245">
                  <c:v>3.5838299999999998</c:v>
                </c:pt>
                <c:pt idx="1246">
                  <c:v>#N/A</c:v>
                </c:pt>
                <c:pt idx="1247">
                  <c:v>2.9434200000000001</c:v>
                </c:pt>
                <c:pt idx="1248">
                  <c:v>2.58758</c:v>
                </c:pt>
                <c:pt idx="1249">
                  <c:v>2.38829</c:v>
                </c:pt>
                <c:pt idx="1250">
                  <c:v>#N/A</c:v>
                </c:pt>
                <c:pt idx="1251">
                  <c:v>1.6101799999999999</c:v>
                </c:pt>
                <c:pt idx="1252">
                  <c:v>1.9572700000000001</c:v>
                </c:pt>
                <c:pt idx="1253">
                  <c:v>1.94347</c:v>
                </c:pt>
                <c:pt idx="1254">
                  <c:v>#N/A</c:v>
                </c:pt>
                <c:pt idx="1255">
                  <c:v>1.9879</c:v>
                </c:pt>
                <c:pt idx="1256">
                  <c:v>3.0612300000000001</c:v>
                </c:pt>
                <c:pt idx="1257">
                  <c:v>#N/A</c:v>
                </c:pt>
                <c:pt idx="1258">
                  <c:v>3.0580699999999998</c:v>
                </c:pt>
                <c:pt idx="1259">
                  <c:v>2.3232400000000002</c:v>
                </c:pt>
                <c:pt idx="1260">
                  <c:v>2.04217</c:v>
                </c:pt>
                <c:pt idx="1261">
                  <c:v>#N/A</c:v>
                </c:pt>
                <c:pt idx="1262">
                  <c:v>1.87853</c:v>
                </c:pt>
                <c:pt idx="1263">
                  <c:v>1.6858299999999999</c:v>
                </c:pt>
                <c:pt idx="1264">
                  <c:v>2.9396399999999998</c:v>
                </c:pt>
                <c:pt idx="1265">
                  <c:v>#N/A</c:v>
                </c:pt>
                <c:pt idx="1266">
                  <c:v>3.0178699999999998</c:v>
                </c:pt>
                <c:pt idx="1267">
                  <c:v>3.4384600000000001</c:v>
                </c:pt>
                <c:pt idx="1268">
                  <c:v>3.0865999999999998</c:v>
                </c:pt>
                <c:pt idx="1269">
                  <c:v>#N/A</c:v>
                </c:pt>
                <c:pt idx="1270">
                  <c:v>3.0837599999999998</c:v>
                </c:pt>
                <c:pt idx="1271">
                  <c:v>2.3757000000000001</c:v>
                </c:pt>
                <c:pt idx="1272">
                  <c:v>2.2398199999999999</c:v>
                </c:pt>
                <c:pt idx="1273">
                  <c:v>#N/A</c:v>
                </c:pt>
                <c:pt idx="1274">
                  <c:v>1.86351</c:v>
                </c:pt>
                <c:pt idx="1275">
                  <c:v>2.2568100000000002</c:v>
                </c:pt>
                <c:pt idx="1276">
                  <c:v>2.2944200000000001</c:v>
                </c:pt>
                <c:pt idx="1277">
                  <c:v>#N/A</c:v>
                </c:pt>
                <c:pt idx="1278">
                  <c:v>2.3708900000000002</c:v>
                </c:pt>
                <c:pt idx="1279">
                  <c:v>2.4439899999999999</c:v>
                </c:pt>
                <c:pt idx="1280">
                  <c:v>2.7187800000000002</c:v>
                </c:pt>
                <c:pt idx="1281">
                  <c:v>#N/A</c:v>
                </c:pt>
                <c:pt idx="1282">
                  <c:v>1.9021300000000001</c:v>
                </c:pt>
                <c:pt idx="1283">
                  <c:v>2.0142099999999998</c:v>
                </c:pt>
                <c:pt idx="1284">
                  <c:v>#N/A</c:v>
                </c:pt>
                <c:pt idx="1285">
                  <c:v>1.5397099999999999</c:v>
                </c:pt>
                <c:pt idx="1286">
                  <c:v>2.52522</c:v>
                </c:pt>
                <c:pt idx="1287">
                  <c:v>2.9039899999999998</c:v>
                </c:pt>
                <c:pt idx="1288">
                  <c:v>#N/A</c:v>
                </c:pt>
                <c:pt idx="1289">
                  <c:v>2.80369</c:v>
                </c:pt>
                <c:pt idx="1290">
                  <c:v>2.6996500000000001</c:v>
                </c:pt>
                <c:pt idx="1291">
                  <c:v>2.8841199999999998</c:v>
                </c:pt>
                <c:pt idx="1292">
                  <c:v>#N/A</c:v>
                </c:pt>
                <c:pt idx="1293">
                  <c:v>2.8585799999999999</c:v>
                </c:pt>
                <c:pt idx="1294">
                  <c:v>2.4975000000000001</c:v>
                </c:pt>
                <c:pt idx="1295">
                  <c:v>2.3265500000000001</c:v>
                </c:pt>
                <c:pt idx="1296">
                  <c:v>#N/A</c:v>
                </c:pt>
                <c:pt idx="1297">
                  <c:v>2.18222</c:v>
                </c:pt>
                <c:pt idx="1298">
                  <c:v>2.6020699999999999</c:v>
                </c:pt>
                <c:pt idx="1299">
                  <c:v>2.60608</c:v>
                </c:pt>
                <c:pt idx="1300">
                  <c:v>#N/A</c:v>
                </c:pt>
                <c:pt idx="1301">
                  <c:v>2.5011000000000001</c:v>
                </c:pt>
                <c:pt idx="1302">
                  <c:v>1.8065199999999999</c:v>
                </c:pt>
                <c:pt idx="1303">
                  <c:v>1.8913899999999999</c:v>
                </c:pt>
                <c:pt idx="1304">
                  <c:v>#N/A</c:v>
                </c:pt>
                <c:pt idx="1305">
                  <c:v>2.5987</c:v>
                </c:pt>
                <c:pt idx="1306">
                  <c:v>2.7039800000000001</c:v>
                </c:pt>
                <c:pt idx="1307">
                  <c:v>#N/A</c:v>
                </c:pt>
                <c:pt idx="1308">
                  <c:v>3.1415000000000002</c:v>
                </c:pt>
                <c:pt idx="1309">
                  <c:v>3.0861000000000001</c:v>
                </c:pt>
                <c:pt idx="1310">
                  <c:v>#N/A</c:v>
                </c:pt>
                <c:pt idx="1311">
                  <c:v>2.5716199999999998</c:v>
                </c:pt>
                <c:pt idx="1312">
                  <c:v>2.7332700000000001</c:v>
                </c:pt>
                <c:pt idx="1313">
                  <c:v>1.8762300000000001</c:v>
                </c:pt>
                <c:pt idx="1314">
                  <c:v>#N/A</c:v>
                </c:pt>
                <c:pt idx="1315">
                  <c:v>2.2595399999999999</c:v>
                </c:pt>
                <c:pt idx="1316">
                  <c:v>2.5863299999999998</c:v>
                </c:pt>
                <c:pt idx="1317">
                  <c:v>3.43418</c:v>
                </c:pt>
                <c:pt idx="1318">
                  <c:v>#N/A</c:v>
                </c:pt>
                <c:pt idx="1319">
                  <c:v>2.7504900000000001</c:v>
                </c:pt>
                <c:pt idx="1320">
                  <c:v>2.83528</c:v>
                </c:pt>
                <c:pt idx="1321">
                  <c:v>2.0701700000000001</c:v>
                </c:pt>
                <c:pt idx="1322">
                  <c:v>#N/A</c:v>
                </c:pt>
                <c:pt idx="1323">
                  <c:v>1.92807</c:v>
                </c:pt>
                <c:pt idx="1324">
                  <c:v>2.1012599999999999</c:v>
                </c:pt>
                <c:pt idx="1325">
                  <c:v>#N/A</c:v>
                </c:pt>
                <c:pt idx="1326">
                  <c:v>2.4273400000000001</c:v>
                </c:pt>
                <c:pt idx="1327">
                  <c:v>2.6572100000000001</c:v>
                </c:pt>
                <c:pt idx="1328">
                  <c:v>3.73698</c:v>
                </c:pt>
                <c:pt idx="1329">
                  <c:v>#N/A</c:v>
                </c:pt>
                <c:pt idx="1330">
                  <c:v>3.1448499999999999</c:v>
                </c:pt>
                <c:pt idx="1331">
                  <c:v>3.0466899999999999</c:v>
                </c:pt>
                <c:pt idx="1332">
                  <c:v>2.5863499999999999</c:v>
                </c:pt>
                <c:pt idx="1333">
                  <c:v>#N/A</c:v>
                </c:pt>
                <c:pt idx="1334">
                  <c:v>2.4483799999999998</c:v>
                </c:pt>
                <c:pt idx="1335">
                  <c:v>2.2432300000000001</c:v>
                </c:pt>
                <c:pt idx="1336">
                  <c:v>1.9037200000000001</c:v>
                </c:pt>
                <c:pt idx="1337">
                  <c:v>#N/A</c:v>
                </c:pt>
                <c:pt idx="1338">
                  <c:v>2.3065099999999998</c:v>
                </c:pt>
                <c:pt idx="1339">
                  <c:v>2.61652</c:v>
                </c:pt>
                <c:pt idx="1340">
                  <c:v>2.8802699999999999</c:v>
                </c:pt>
                <c:pt idx="1341">
                  <c:v>#N/A</c:v>
                </c:pt>
                <c:pt idx="1342">
                  <c:v>1.95689</c:v>
                </c:pt>
                <c:pt idx="1343">
                  <c:v>2.18309</c:v>
                </c:pt>
                <c:pt idx="1344">
                  <c:v>1.5057499999999999</c:v>
                </c:pt>
                <c:pt idx="1345">
                  <c:v>#N/A</c:v>
                </c:pt>
                <c:pt idx="1346">
                  <c:v>1.7914099999999999</c:v>
                </c:pt>
                <c:pt idx="1347">
                  <c:v>2.1214499999999998</c:v>
                </c:pt>
                <c:pt idx="1348">
                  <c:v>#N/A</c:v>
                </c:pt>
                <c:pt idx="1349">
                  <c:v>1.8439700000000001</c:v>
                </c:pt>
                <c:pt idx="1350">
                  <c:v>2.35005</c:v>
                </c:pt>
                <c:pt idx="1351">
                  <c:v>3.07803</c:v>
                </c:pt>
                <c:pt idx="1352">
                  <c:v>#N/A</c:v>
                </c:pt>
                <c:pt idx="1353">
                  <c:v>3.24979</c:v>
                </c:pt>
                <c:pt idx="1354">
                  <c:v>3.5520800000000001</c:v>
                </c:pt>
                <c:pt idx="1355">
                  <c:v>2.5275799999999999</c:v>
                </c:pt>
                <c:pt idx="1356">
                  <c:v>#N/A</c:v>
                </c:pt>
                <c:pt idx="1357">
                  <c:v>2.1126</c:v>
                </c:pt>
                <c:pt idx="1358">
                  <c:v>2.11354</c:v>
                </c:pt>
                <c:pt idx="1359">
                  <c:v>2.4313899999999999</c:v>
                </c:pt>
                <c:pt idx="1360">
                  <c:v>#N/A</c:v>
                </c:pt>
                <c:pt idx="1361">
                  <c:v>2.6297000000000001</c:v>
                </c:pt>
                <c:pt idx="1362">
                  <c:v>2.7393399999999999</c:v>
                </c:pt>
                <c:pt idx="1363">
                  <c:v>2.2376399999999999</c:v>
                </c:pt>
                <c:pt idx="1364">
                  <c:v>#N/A</c:v>
                </c:pt>
                <c:pt idx="1365">
                  <c:v>2.64547</c:v>
                </c:pt>
                <c:pt idx="1366">
                  <c:v>2.0003199999999999</c:v>
                </c:pt>
                <c:pt idx="1367">
                  <c:v>#N/A</c:v>
                </c:pt>
                <c:pt idx="1368">
                  <c:v>1.5121599999999999</c:v>
                </c:pt>
                <c:pt idx="1369">
                  <c:v>2.2000600000000001</c:v>
                </c:pt>
                <c:pt idx="1370">
                  <c:v>2.77826</c:v>
                </c:pt>
                <c:pt idx="1371">
                  <c:v>#N/A</c:v>
                </c:pt>
                <c:pt idx="1372">
                  <c:v>2.7918599999999998</c:v>
                </c:pt>
                <c:pt idx="1373">
                  <c:v>#N/A</c:v>
                </c:pt>
                <c:pt idx="1374">
                  <c:v>2.5558000000000001</c:v>
                </c:pt>
                <c:pt idx="1375">
                  <c:v>2.4064199999999998</c:v>
                </c:pt>
                <c:pt idx="1376">
                  <c:v>#N/A</c:v>
                </c:pt>
                <c:pt idx="1377">
                  <c:v>2.1767300000000001</c:v>
                </c:pt>
                <c:pt idx="1378">
                  <c:v>2.30471</c:v>
                </c:pt>
                <c:pt idx="1379">
                  <c:v>2.5935100000000002</c:v>
                </c:pt>
                <c:pt idx="1380">
                  <c:v>#N/A</c:v>
                </c:pt>
                <c:pt idx="1381">
                  <c:v>2.2481399999999998</c:v>
                </c:pt>
                <c:pt idx="1382">
                  <c:v>2.6136599999999999</c:v>
                </c:pt>
                <c:pt idx="1383">
                  <c:v>2.2750499999999998</c:v>
                </c:pt>
                <c:pt idx="1384">
                  <c:v>#N/A</c:v>
                </c:pt>
                <c:pt idx="1385">
                  <c:v>2.9433500000000001</c:v>
                </c:pt>
                <c:pt idx="1386">
                  <c:v>2.2876699999999999</c:v>
                </c:pt>
                <c:pt idx="1387">
                  <c:v>#N/A</c:v>
                </c:pt>
                <c:pt idx="1388">
                  <c:v>2.5762100000000001</c:v>
                </c:pt>
                <c:pt idx="1389">
                  <c:v>2.3071999999999999</c:v>
                </c:pt>
                <c:pt idx="1390">
                  <c:v>2.9838900000000002</c:v>
                </c:pt>
                <c:pt idx="1391">
                  <c:v>#N/A</c:v>
                </c:pt>
                <c:pt idx="1392">
                  <c:v>3.2402600000000001</c:v>
                </c:pt>
                <c:pt idx="1393">
                  <c:v>3.09687</c:v>
                </c:pt>
                <c:pt idx="1394">
                  <c:v>2.5507300000000002</c:v>
                </c:pt>
                <c:pt idx="1395">
                  <c:v>#N/A</c:v>
                </c:pt>
                <c:pt idx="1396">
                  <c:v>2.5200999999999998</c:v>
                </c:pt>
                <c:pt idx="1397">
                  <c:v>1.903</c:v>
                </c:pt>
                <c:pt idx="1398">
                  <c:v>1.8830100000000001</c:v>
                </c:pt>
                <c:pt idx="1399">
                  <c:v>#N/A</c:v>
                </c:pt>
                <c:pt idx="1400">
                  <c:v>2.5429200000000001</c:v>
                </c:pt>
                <c:pt idx="1401">
                  <c:v>2.8565299999999998</c:v>
                </c:pt>
                <c:pt idx="1402">
                  <c:v>3.1151499999999999</c:v>
                </c:pt>
                <c:pt idx="1403">
                  <c:v>#N/A</c:v>
                </c:pt>
                <c:pt idx="1404">
                  <c:v>2.50264</c:v>
                </c:pt>
                <c:pt idx="1405">
                  <c:v>2.0553300000000001</c:v>
                </c:pt>
                <c:pt idx="1406">
                  <c:v>1.43632</c:v>
                </c:pt>
                <c:pt idx="1407">
                  <c:v>#N/A</c:v>
                </c:pt>
                <c:pt idx="1408">
                  <c:v>1.6787300000000001</c:v>
                </c:pt>
                <c:pt idx="1409">
                  <c:v>1.3744099999999999</c:v>
                </c:pt>
                <c:pt idx="1410">
                  <c:v>#N/A</c:v>
                </c:pt>
                <c:pt idx="1411">
                  <c:v>2.4704299999999999</c:v>
                </c:pt>
                <c:pt idx="1412">
                  <c:v>2.8387600000000002</c:v>
                </c:pt>
                <c:pt idx="1413">
                  <c:v>3.6912199999999999</c:v>
                </c:pt>
                <c:pt idx="1414">
                  <c:v>#N/A</c:v>
                </c:pt>
                <c:pt idx="1415">
                  <c:v>2.8016200000000002</c:v>
                </c:pt>
                <c:pt idx="1416">
                  <c:v>2.64777</c:v>
                </c:pt>
                <c:pt idx="1417">
                  <c:v>2.44929</c:v>
                </c:pt>
                <c:pt idx="1418">
                  <c:v>#N/A</c:v>
                </c:pt>
                <c:pt idx="1419">
                  <c:v>1.31728</c:v>
                </c:pt>
                <c:pt idx="1420">
                  <c:v>2.90421</c:v>
                </c:pt>
                <c:pt idx="1421">
                  <c:v>2.45825</c:v>
                </c:pt>
                <c:pt idx="1422">
                  <c:v>#N/A</c:v>
                </c:pt>
                <c:pt idx="1423">
                  <c:v>2.9912299999999998</c:v>
                </c:pt>
                <c:pt idx="1424">
                  <c:v>2.7621799999999999</c:v>
                </c:pt>
                <c:pt idx="1425">
                  <c:v>3.5674399999999999</c:v>
                </c:pt>
                <c:pt idx="1426">
                  <c:v>#N/A</c:v>
                </c:pt>
                <c:pt idx="1427">
                  <c:v>2.7423799999999998</c:v>
                </c:pt>
                <c:pt idx="1428">
                  <c:v>1.8770199999999999</c:v>
                </c:pt>
                <c:pt idx="1429">
                  <c:v>1.31114</c:v>
                </c:pt>
                <c:pt idx="1430">
                  <c:v>#N/A</c:v>
                </c:pt>
                <c:pt idx="1431">
                  <c:v>1.3257699999999999</c:v>
                </c:pt>
                <c:pt idx="1432">
                  <c:v>2.2887499999999998</c:v>
                </c:pt>
                <c:pt idx="1433">
                  <c:v>#N/A</c:v>
                </c:pt>
                <c:pt idx="1434">
                  <c:v>2.8391799999999998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2.28443</c:v>
                </c:pt>
                <c:pt idx="1514">
                  <c:v>2.24342</c:v>
                </c:pt>
                <c:pt idx="1515">
                  <c:v>2.6426799999999999</c:v>
                </c:pt>
                <c:pt idx="1516">
                  <c:v>#N/A</c:v>
                </c:pt>
                <c:pt idx="1517">
                  <c:v>3.3437199999999998</c:v>
                </c:pt>
                <c:pt idx="1518">
                  <c:v>3.1012400000000002</c:v>
                </c:pt>
                <c:pt idx="1519">
                  <c:v>2.6222400000000001</c:v>
                </c:pt>
                <c:pt idx="1520">
                  <c:v>#N/A</c:v>
                </c:pt>
                <c:pt idx="1521">
                  <c:v>2.8071000000000002</c:v>
                </c:pt>
                <c:pt idx="1522">
                  <c:v>2.5017499999999999</c:v>
                </c:pt>
                <c:pt idx="1523">
                  <c:v>#N/A</c:v>
                </c:pt>
                <c:pt idx="1524">
                  <c:v>2.6043099999999999</c:v>
                </c:pt>
                <c:pt idx="1525">
                  <c:v>2.36172</c:v>
                </c:pt>
                <c:pt idx="1526">
                  <c:v>2.4284699999999999</c:v>
                </c:pt>
                <c:pt idx="1527">
                  <c:v>#N/A</c:v>
                </c:pt>
                <c:pt idx="1528">
                  <c:v>2.3115399999999999</c:v>
                </c:pt>
                <c:pt idx="1529">
                  <c:v>2.3152599999999999</c:v>
                </c:pt>
                <c:pt idx="1530">
                  <c:v>2.4974599999999998</c:v>
                </c:pt>
                <c:pt idx="1531">
                  <c:v>#N/A</c:v>
                </c:pt>
                <c:pt idx="1532">
                  <c:v>2.28593</c:v>
                </c:pt>
                <c:pt idx="1533">
                  <c:v>2.6031499999999999</c:v>
                </c:pt>
                <c:pt idx="1534">
                  <c:v>2.8548100000000001</c:v>
                </c:pt>
                <c:pt idx="1535">
                  <c:v>#N/A</c:v>
                </c:pt>
                <c:pt idx="1536">
                  <c:v>3.39493</c:v>
                </c:pt>
                <c:pt idx="1537">
                  <c:v>3.5290300000000001</c:v>
                </c:pt>
                <c:pt idx="1538">
                  <c:v>#N/A</c:v>
                </c:pt>
                <c:pt idx="1539">
                  <c:v>4.0299500000000004</c:v>
                </c:pt>
                <c:pt idx="1540">
                  <c:v>3.84145</c:v>
                </c:pt>
                <c:pt idx="1541">
                  <c:v>3.2337799999999999</c:v>
                </c:pt>
                <c:pt idx="1542">
                  <c:v>#N/A</c:v>
                </c:pt>
                <c:pt idx="1543">
                  <c:v>2.89967</c:v>
                </c:pt>
                <c:pt idx="1544">
                  <c:v>2.1490499999999999</c:v>
                </c:pt>
                <c:pt idx="1545">
                  <c:v>2.14629</c:v>
                </c:pt>
                <c:pt idx="1546">
                  <c:v>#N/A</c:v>
                </c:pt>
                <c:pt idx="1547">
                  <c:v>3.38991</c:v>
                </c:pt>
                <c:pt idx="1548">
                  <c:v>3.5250400000000002</c:v>
                </c:pt>
                <c:pt idx="1549">
                  <c:v>2.9037999999999999</c:v>
                </c:pt>
                <c:pt idx="1550">
                  <c:v>#N/A</c:v>
                </c:pt>
                <c:pt idx="1551">
                  <c:v>2.5688</c:v>
                </c:pt>
                <c:pt idx="1552">
                  <c:v>2.25257</c:v>
                </c:pt>
                <c:pt idx="1553">
                  <c:v>2.0797300000000001</c:v>
                </c:pt>
                <c:pt idx="1554">
                  <c:v>#N/A</c:v>
                </c:pt>
                <c:pt idx="1555">
                  <c:v>1.52406</c:v>
                </c:pt>
                <c:pt idx="1556">
                  <c:v>1.6850099999999999</c:v>
                </c:pt>
                <c:pt idx="1557">
                  <c:v>2.75631</c:v>
                </c:pt>
                <c:pt idx="1558">
                  <c:v>#N/A</c:v>
                </c:pt>
                <c:pt idx="1559">
                  <c:v>3.5389300000000001</c:v>
                </c:pt>
                <c:pt idx="1560">
                  <c:v>3.8149999999999999</c:v>
                </c:pt>
                <c:pt idx="1561">
                  <c:v>3.63388</c:v>
                </c:pt>
                <c:pt idx="1562">
                  <c:v>#N/A</c:v>
                </c:pt>
                <c:pt idx="1563">
                  <c:v>3.4760900000000001</c:v>
                </c:pt>
                <c:pt idx="1564">
                  <c:v>2.22343</c:v>
                </c:pt>
                <c:pt idx="1565">
                  <c:v>3.1015600000000001</c:v>
                </c:pt>
                <c:pt idx="1566">
                  <c:v>#N/A</c:v>
                </c:pt>
                <c:pt idx="1567">
                  <c:v>2.75678</c:v>
                </c:pt>
                <c:pt idx="1568">
                  <c:v>2.5424899999999999</c:v>
                </c:pt>
                <c:pt idx="1569">
                  <c:v>#N/A</c:v>
                </c:pt>
                <c:pt idx="1570">
                  <c:v>3.4655399999999998</c:v>
                </c:pt>
                <c:pt idx="1571">
                  <c:v>3.4385300000000001</c:v>
                </c:pt>
                <c:pt idx="1572">
                  <c:v>3.3629199999999999</c:v>
                </c:pt>
                <c:pt idx="1573">
                  <c:v>#N/A</c:v>
                </c:pt>
                <c:pt idx="1574">
                  <c:v>2.6129199999999999</c:v>
                </c:pt>
                <c:pt idx="1575">
                  <c:v>2.30246</c:v>
                </c:pt>
                <c:pt idx="1576">
                  <c:v>#N/A</c:v>
                </c:pt>
                <c:pt idx="1577">
                  <c:v>1.9936100000000001</c:v>
                </c:pt>
                <c:pt idx="1578">
                  <c:v>2.2483200000000001</c:v>
                </c:pt>
                <c:pt idx="1579">
                  <c:v>2.7539600000000002</c:v>
                </c:pt>
                <c:pt idx="1580">
                  <c:v>#N/A</c:v>
                </c:pt>
                <c:pt idx="1581">
                  <c:v>3.0665800000000001</c:v>
                </c:pt>
                <c:pt idx="1582">
                  <c:v>2.6825999999999999</c:v>
                </c:pt>
                <c:pt idx="1583">
                  <c:v>3.1850299999999998</c:v>
                </c:pt>
                <c:pt idx="1584">
                  <c:v>#N/A</c:v>
                </c:pt>
                <c:pt idx="1585">
                  <c:v>2.7976000000000001</c:v>
                </c:pt>
                <c:pt idx="1586">
                  <c:v>2.8220100000000001</c:v>
                </c:pt>
                <c:pt idx="1587">
                  <c:v>#N/A</c:v>
                </c:pt>
                <c:pt idx="1588">
                  <c:v>2.6711900000000002</c:v>
                </c:pt>
                <c:pt idx="1589">
                  <c:v>2.6554000000000002</c:v>
                </c:pt>
                <c:pt idx="1590">
                  <c:v>3.29122</c:v>
                </c:pt>
                <c:pt idx="1591">
                  <c:v>#N/A</c:v>
                </c:pt>
                <c:pt idx="1592">
                  <c:v>2.8973800000000001</c:v>
                </c:pt>
                <c:pt idx="1593">
                  <c:v>2.9415100000000001</c:v>
                </c:pt>
                <c:pt idx="1594">
                  <c:v>2.4045800000000002</c:v>
                </c:pt>
                <c:pt idx="1595">
                  <c:v>#N/A</c:v>
                </c:pt>
                <c:pt idx="1596">
                  <c:v>2.7974199999999998</c:v>
                </c:pt>
                <c:pt idx="1597">
                  <c:v>2.8597999999999999</c:v>
                </c:pt>
                <c:pt idx="1598">
                  <c:v>#N/A</c:v>
                </c:pt>
                <c:pt idx="1599">
                  <c:v>3.4572600000000002</c:v>
                </c:pt>
                <c:pt idx="1600">
                  <c:v>3.47079</c:v>
                </c:pt>
                <c:pt idx="1601">
                  <c:v>#N/A</c:v>
                </c:pt>
                <c:pt idx="1602">
                  <c:v>3.58223</c:v>
                </c:pt>
                <c:pt idx="1603">
                  <c:v>2.7711999999999999</c:v>
                </c:pt>
                <c:pt idx="1604">
                  <c:v>2.6926299999999999</c:v>
                </c:pt>
                <c:pt idx="1605">
                  <c:v>#N/A</c:v>
                </c:pt>
                <c:pt idx="1606">
                  <c:v>2.7208100000000002</c:v>
                </c:pt>
                <c:pt idx="1607">
                  <c:v>2.8470900000000001</c:v>
                </c:pt>
                <c:pt idx="1608">
                  <c:v>3.3708499999999999</c:v>
                </c:pt>
                <c:pt idx="1609">
                  <c:v>#N/A</c:v>
                </c:pt>
                <c:pt idx="1610">
                  <c:v>2.9455399999999998</c:v>
                </c:pt>
                <c:pt idx="1611">
                  <c:v>3.16364</c:v>
                </c:pt>
                <c:pt idx="1612">
                  <c:v>2.6806100000000002</c:v>
                </c:pt>
                <c:pt idx="1613">
                  <c:v>#N/A</c:v>
                </c:pt>
                <c:pt idx="1614">
                  <c:v>3.0041199999999999</c:v>
                </c:pt>
                <c:pt idx="1615">
                  <c:v>2.3321200000000002</c:v>
                </c:pt>
                <c:pt idx="1616">
                  <c:v>2.4502299999999999</c:v>
                </c:pt>
                <c:pt idx="1617">
                  <c:v>#N/A</c:v>
                </c:pt>
                <c:pt idx="1618">
                  <c:v>2.8261099999999999</c:v>
                </c:pt>
                <c:pt idx="1619">
                  <c:v>2.8290899999999999</c:v>
                </c:pt>
                <c:pt idx="1620">
                  <c:v>3.5921400000000001</c:v>
                </c:pt>
                <c:pt idx="1621">
                  <c:v>#N/A</c:v>
                </c:pt>
                <c:pt idx="1622">
                  <c:v>3.7381600000000001</c:v>
                </c:pt>
                <c:pt idx="1623">
                  <c:v>3.64995</c:v>
                </c:pt>
                <c:pt idx="1624">
                  <c:v>#N/A</c:v>
                </c:pt>
                <c:pt idx="1625">
                  <c:v>3.4946299999999999</c:v>
                </c:pt>
                <c:pt idx="1626">
                  <c:v>3.0931899999999999</c:v>
                </c:pt>
                <c:pt idx="1627">
                  <c:v>2.5074100000000001</c:v>
                </c:pt>
                <c:pt idx="1628">
                  <c:v>#N/A</c:v>
                </c:pt>
                <c:pt idx="1629">
                  <c:v>2.33717</c:v>
                </c:pt>
                <c:pt idx="1630">
                  <c:v>2.73603</c:v>
                </c:pt>
                <c:pt idx="1631">
                  <c:v>3.44774</c:v>
                </c:pt>
                <c:pt idx="1632">
                  <c:v>#N/A</c:v>
                </c:pt>
                <c:pt idx="1633">
                  <c:v>3.6772100000000001</c:v>
                </c:pt>
                <c:pt idx="1634">
                  <c:v>2.6236799999999998</c:v>
                </c:pt>
                <c:pt idx="1635">
                  <c:v>2.7110099999999999</c:v>
                </c:pt>
                <c:pt idx="1636">
                  <c:v>#N/A</c:v>
                </c:pt>
                <c:pt idx="1637">
                  <c:v>2.2331799999999999</c:v>
                </c:pt>
                <c:pt idx="1638">
                  <c:v>2.0328200000000001</c:v>
                </c:pt>
                <c:pt idx="1639">
                  <c:v>2.1836500000000001</c:v>
                </c:pt>
                <c:pt idx="1640">
                  <c:v>#N/A</c:v>
                </c:pt>
                <c:pt idx="1641">
                  <c:v>3.0804999999999998</c:v>
                </c:pt>
                <c:pt idx="1642">
                  <c:v>3.5608900000000001</c:v>
                </c:pt>
                <c:pt idx="1643">
                  <c:v>3.9661200000000001</c:v>
                </c:pt>
                <c:pt idx="1644">
                  <c:v>#N/A</c:v>
                </c:pt>
                <c:pt idx="1645">
                  <c:v>3.8211499999999998</c:v>
                </c:pt>
                <c:pt idx="1646">
                  <c:v>2.9992200000000002</c:v>
                </c:pt>
                <c:pt idx="1647">
                  <c:v>#N/A</c:v>
                </c:pt>
                <c:pt idx="1648">
                  <c:v>2.53166</c:v>
                </c:pt>
                <c:pt idx="1649">
                  <c:v>2.8054000000000001</c:v>
                </c:pt>
                <c:pt idx="1650">
                  <c:v>2.3130299999999999</c:v>
                </c:pt>
                <c:pt idx="1651">
                  <c:v>#N/A</c:v>
                </c:pt>
                <c:pt idx="1652">
                  <c:v>2.95112</c:v>
                </c:pt>
                <c:pt idx="1653">
                  <c:v>3.20729</c:v>
                </c:pt>
                <c:pt idx="1654">
                  <c:v>3.2132700000000001</c:v>
                </c:pt>
                <c:pt idx="1655">
                  <c:v>#N/A</c:v>
                </c:pt>
                <c:pt idx="1656">
                  <c:v>3.2101899999999999</c:v>
                </c:pt>
                <c:pt idx="1657">
                  <c:v>3.3402400000000001</c:v>
                </c:pt>
                <c:pt idx="1658">
                  <c:v>2.8547400000000001</c:v>
                </c:pt>
                <c:pt idx="1659">
                  <c:v>#N/A</c:v>
                </c:pt>
                <c:pt idx="1660">
                  <c:v>2.7818000000000001</c:v>
                </c:pt>
                <c:pt idx="1661">
                  <c:v>2.6477900000000001</c:v>
                </c:pt>
                <c:pt idx="1662">
                  <c:v>3.3605200000000002</c:v>
                </c:pt>
                <c:pt idx="1663">
                  <c:v>#N/A</c:v>
                </c:pt>
                <c:pt idx="1664">
                  <c:v>3.7285400000000002</c:v>
                </c:pt>
                <c:pt idx="1665">
                  <c:v>3.71021</c:v>
                </c:pt>
                <c:pt idx="1666">
                  <c:v>#N/A</c:v>
                </c:pt>
                <c:pt idx="1667">
                  <c:v>3.4318200000000001</c:v>
                </c:pt>
                <c:pt idx="1668">
                  <c:v>3.4426800000000002</c:v>
                </c:pt>
                <c:pt idx="1669">
                  <c:v>3.2662499999999999</c:v>
                </c:pt>
                <c:pt idx="1670">
                  <c:v>#N/A</c:v>
                </c:pt>
                <c:pt idx="1671">
                  <c:v>3.2887499999999998</c:v>
                </c:pt>
                <c:pt idx="1672">
                  <c:v>2.8111999999999999</c:v>
                </c:pt>
                <c:pt idx="1673">
                  <c:v>#N/A</c:v>
                </c:pt>
                <c:pt idx="1674">
                  <c:v>2.8940000000000001</c:v>
                </c:pt>
                <c:pt idx="1675">
                  <c:v>3.08188</c:v>
                </c:pt>
                <c:pt idx="1676">
                  <c:v>#N/A</c:v>
                </c:pt>
                <c:pt idx="1677">
                  <c:v>2.72776</c:v>
                </c:pt>
                <c:pt idx="1678">
                  <c:v>2.0799400000000001</c:v>
                </c:pt>
                <c:pt idx="1679">
                  <c:v>#N/A</c:v>
                </c:pt>
                <c:pt idx="1680">
                  <c:v>2.5320900000000002</c:v>
                </c:pt>
                <c:pt idx="1681">
                  <c:v>2.9083399999999999</c:v>
                </c:pt>
                <c:pt idx="1682">
                  <c:v>3.2356600000000002</c:v>
                </c:pt>
                <c:pt idx="1683">
                  <c:v>#N/A</c:v>
                </c:pt>
                <c:pt idx="1684">
                  <c:v>3.73888</c:v>
                </c:pt>
                <c:pt idx="1685">
                  <c:v>4.0013899999999998</c:v>
                </c:pt>
                <c:pt idx="1686">
                  <c:v>3.2224599999999999</c:v>
                </c:pt>
                <c:pt idx="1687">
                  <c:v>#N/A</c:v>
                </c:pt>
                <c:pt idx="1688">
                  <c:v>3.6637</c:v>
                </c:pt>
                <c:pt idx="1689">
                  <c:v>3.4290400000000001</c:v>
                </c:pt>
                <c:pt idx="1690">
                  <c:v>3.06887</c:v>
                </c:pt>
                <c:pt idx="1691">
                  <c:v>#N/A</c:v>
                </c:pt>
                <c:pt idx="1692">
                  <c:v>3.0851999999999999</c:v>
                </c:pt>
                <c:pt idx="1693">
                  <c:v>3.9271500000000001</c:v>
                </c:pt>
                <c:pt idx="1694">
                  <c:v>3.80653</c:v>
                </c:pt>
                <c:pt idx="1695">
                  <c:v>#N/A</c:v>
                </c:pt>
                <c:pt idx="1696">
                  <c:v>2.9392399999999999</c:v>
                </c:pt>
                <c:pt idx="1697">
                  <c:v>2.91893</c:v>
                </c:pt>
                <c:pt idx="1698">
                  <c:v>#N/A</c:v>
                </c:pt>
                <c:pt idx="1699">
                  <c:v>2.7143600000000001</c:v>
                </c:pt>
                <c:pt idx="1700">
                  <c:v>1.8715900000000001</c:v>
                </c:pt>
                <c:pt idx="1701">
                  <c:v>2.31297</c:v>
                </c:pt>
                <c:pt idx="1702">
                  <c:v>#N/A</c:v>
                </c:pt>
                <c:pt idx="1703">
                  <c:v>2.2501199999999999</c:v>
                </c:pt>
                <c:pt idx="1704">
                  <c:v>2.8456100000000002</c:v>
                </c:pt>
                <c:pt idx="1705">
                  <c:v>3.0646</c:v>
                </c:pt>
                <c:pt idx="1706">
                  <c:v>#N/A</c:v>
                </c:pt>
                <c:pt idx="1707">
                  <c:v>3.5388899999999999</c:v>
                </c:pt>
                <c:pt idx="1708">
                  <c:v>3.0887600000000002</c:v>
                </c:pt>
                <c:pt idx="1709">
                  <c:v>2.4038599999999999</c:v>
                </c:pt>
                <c:pt idx="1710">
                  <c:v>#N/A</c:v>
                </c:pt>
                <c:pt idx="1711">
                  <c:v>1.9662599999999999</c:v>
                </c:pt>
                <c:pt idx="1712">
                  <c:v>2.0411299999999999</c:v>
                </c:pt>
                <c:pt idx="1713">
                  <c:v>2.14032</c:v>
                </c:pt>
                <c:pt idx="1714">
                  <c:v>#N/A</c:v>
                </c:pt>
                <c:pt idx="1715">
                  <c:v>2.5679699999999999</c:v>
                </c:pt>
                <c:pt idx="1716">
                  <c:v>3.14527</c:v>
                </c:pt>
                <c:pt idx="1717">
                  <c:v>3.6619199999999998</c:v>
                </c:pt>
                <c:pt idx="1718">
                  <c:v>#N/A</c:v>
                </c:pt>
                <c:pt idx="1719">
                  <c:v>3.3663699999999999</c:v>
                </c:pt>
                <c:pt idx="1720">
                  <c:v>2.5796700000000001</c:v>
                </c:pt>
                <c:pt idx="1721">
                  <c:v>#N/A</c:v>
                </c:pt>
                <c:pt idx="1722">
                  <c:v>2.6192000000000002</c:v>
                </c:pt>
                <c:pt idx="1723">
                  <c:v>2.5648200000000001</c:v>
                </c:pt>
                <c:pt idx="1724">
                  <c:v>2.5084599999999999</c:v>
                </c:pt>
                <c:pt idx="1725">
                  <c:v>#N/A</c:v>
                </c:pt>
                <c:pt idx="1726">
                  <c:v>2.5590199999999999</c:v>
                </c:pt>
                <c:pt idx="1727">
                  <c:v>2.8396499999999998</c:v>
                </c:pt>
                <c:pt idx="1728">
                  <c:v>2.8699499999999998</c:v>
                </c:pt>
                <c:pt idx="1729">
                  <c:v>#N/A</c:v>
                </c:pt>
                <c:pt idx="1730">
                  <c:v>3.3100399999999999</c:v>
                </c:pt>
                <c:pt idx="1731">
                  <c:v>3.0384099999999998</c:v>
                </c:pt>
                <c:pt idx="1732">
                  <c:v>2.6239400000000002</c:v>
                </c:pt>
                <c:pt idx="1733">
                  <c:v>#N/A</c:v>
                </c:pt>
                <c:pt idx="1734">
                  <c:v>2.0217399999999999</c:v>
                </c:pt>
                <c:pt idx="1735">
                  <c:v>1.9500900000000001</c:v>
                </c:pt>
                <c:pt idx="1736">
                  <c:v>2.0687000000000002</c:v>
                </c:pt>
                <c:pt idx="1737">
                  <c:v>#N/A</c:v>
                </c:pt>
                <c:pt idx="1738">
                  <c:v>2.6714199999999999</c:v>
                </c:pt>
                <c:pt idx="1739">
                  <c:v>2.6369500000000001</c:v>
                </c:pt>
                <c:pt idx="1740">
                  <c:v>2.7528299999999999</c:v>
                </c:pt>
                <c:pt idx="1741">
                  <c:v>#N/A</c:v>
                </c:pt>
                <c:pt idx="1742">
                  <c:v>2.5607099999999998</c:v>
                </c:pt>
                <c:pt idx="1743">
                  <c:v>2.3804699999999999</c:v>
                </c:pt>
                <c:pt idx="1744">
                  <c:v>#N/A</c:v>
                </c:pt>
                <c:pt idx="1745">
                  <c:v>2.6885599999999998</c:v>
                </c:pt>
                <c:pt idx="1746">
                  <c:v>3.30097</c:v>
                </c:pt>
                <c:pt idx="1747">
                  <c:v>#N/A</c:v>
                </c:pt>
                <c:pt idx="1748">
                  <c:v>2.9963600000000001</c:v>
                </c:pt>
                <c:pt idx="1749">
                  <c:v>2.7112400000000001</c:v>
                </c:pt>
                <c:pt idx="1750">
                  <c:v>#N/A</c:v>
                </c:pt>
                <c:pt idx="1751">
                  <c:v>2.9401700000000002</c:v>
                </c:pt>
                <c:pt idx="1752">
                  <c:v>2.6068500000000001</c:v>
                </c:pt>
                <c:pt idx="1753">
                  <c:v>2.87859</c:v>
                </c:pt>
                <c:pt idx="1754">
                  <c:v>#N/A</c:v>
                </c:pt>
                <c:pt idx="1755">
                  <c:v>2.9156900000000001</c:v>
                </c:pt>
                <c:pt idx="1756">
                  <c:v>3.6779899999999999</c:v>
                </c:pt>
                <c:pt idx="1757">
                  <c:v>3.5220500000000001</c:v>
                </c:pt>
                <c:pt idx="1758">
                  <c:v>#N/A</c:v>
                </c:pt>
                <c:pt idx="1759">
                  <c:v>3.5972599999999999</c:v>
                </c:pt>
                <c:pt idx="1760">
                  <c:v>3.0149499999999998</c:v>
                </c:pt>
                <c:pt idx="1761">
                  <c:v>#N/A</c:v>
                </c:pt>
                <c:pt idx="1762">
                  <c:v>2.5197400000000001</c:v>
                </c:pt>
                <c:pt idx="1763">
                  <c:v>2.95459</c:v>
                </c:pt>
                <c:pt idx="1764">
                  <c:v>2.9330400000000001</c:v>
                </c:pt>
                <c:pt idx="1765">
                  <c:v>#N/A</c:v>
                </c:pt>
                <c:pt idx="1766">
                  <c:v>2.4325299999999999</c:v>
                </c:pt>
                <c:pt idx="1767">
                  <c:v>2.7025299999999999</c:v>
                </c:pt>
                <c:pt idx="1768">
                  <c:v>3.32362</c:v>
                </c:pt>
                <c:pt idx="1769">
                  <c:v>#N/A</c:v>
                </c:pt>
                <c:pt idx="1770">
                  <c:v>3.3696999999999999</c:v>
                </c:pt>
                <c:pt idx="1771">
                  <c:v>3.2404500000000001</c:v>
                </c:pt>
                <c:pt idx="1772">
                  <c:v>2.4370500000000002</c:v>
                </c:pt>
                <c:pt idx="1773">
                  <c:v>#N/A</c:v>
                </c:pt>
                <c:pt idx="1774">
                  <c:v>2.3752</c:v>
                </c:pt>
                <c:pt idx="1775">
                  <c:v>2.12479</c:v>
                </c:pt>
                <c:pt idx="1776">
                  <c:v>2.7501500000000001</c:v>
                </c:pt>
                <c:pt idx="1777">
                  <c:v>#N/A</c:v>
                </c:pt>
                <c:pt idx="1778">
                  <c:v>2.8398699999999999</c:v>
                </c:pt>
                <c:pt idx="1779">
                  <c:v>3.26294</c:v>
                </c:pt>
                <c:pt idx="1780">
                  <c:v>#N/A</c:v>
                </c:pt>
                <c:pt idx="1781">
                  <c:v>2.9295499999999999</c:v>
                </c:pt>
                <c:pt idx="1782">
                  <c:v>3.08561</c:v>
                </c:pt>
                <c:pt idx="1783">
                  <c:v>2.9802499999999998</c:v>
                </c:pt>
                <c:pt idx="1784">
                  <c:v>#N/A</c:v>
                </c:pt>
                <c:pt idx="1785">
                  <c:v>2.5691199999999998</c:v>
                </c:pt>
                <c:pt idx="1786">
                  <c:v>2.3886599999999998</c:v>
                </c:pt>
                <c:pt idx="1787">
                  <c:v>2.7226499999999998</c:v>
                </c:pt>
                <c:pt idx="1788">
                  <c:v>#N/A</c:v>
                </c:pt>
                <c:pt idx="1789">
                  <c:v>3.3715600000000001</c:v>
                </c:pt>
                <c:pt idx="1790">
                  <c:v>3.65056</c:v>
                </c:pt>
                <c:pt idx="1791">
                  <c:v>3.6715100000000001</c:v>
                </c:pt>
                <c:pt idx="1792">
                  <c:v>#N/A</c:v>
                </c:pt>
                <c:pt idx="1793">
                  <c:v>3.9208699999999999</c:v>
                </c:pt>
                <c:pt idx="1794">
                  <c:v>3.4768400000000002</c:v>
                </c:pt>
                <c:pt idx="1795">
                  <c:v>3.0250499999999998</c:v>
                </c:pt>
                <c:pt idx="1796">
                  <c:v>#N/A</c:v>
                </c:pt>
                <c:pt idx="1797">
                  <c:v>3.34388</c:v>
                </c:pt>
                <c:pt idx="1798">
                  <c:v>2.7793000000000001</c:v>
                </c:pt>
                <c:pt idx="1799">
                  <c:v>3.1101700000000001</c:v>
                </c:pt>
                <c:pt idx="1800">
                  <c:v>#N/A</c:v>
                </c:pt>
                <c:pt idx="1801">
                  <c:v>3.4441099999999998</c:v>
                </c:pt>
                <c:pt idx="1802">
                  <c:v>3.45566</c:v>
                </c:pt>
                <c:pt idx="1803">
                  <c:v>#N/A</c:v>
                </c:pt>
                <c:pt idx="1804">
                  <c:v>2.49126</c:v>
                </c:pt>
                <c:pt idx="1805">
                  <c:v>2.7528999999999999</c:v>
                </c:pt>
                <c:pt idx="1806">
                  <c:v>2.5982500000000002</c:v>
                </c:pt>
                <c:pt idx="1807">
                  <c:v>#N/A</c:v>
                </c:pt>
                <c:pt idx="1808">
                  <c:v>3.12906</c:v>
                </c:pt>
                <c:pt idx="1809">
                  <c:v>3.4923500000000001</c:v>
                </c:pt>
                <c:pt idx="1810">
                  <c:v>3.5709900000000001</c:v>
                </c:pt>
                <c:pt idx="1811">
                  <c:v>#N/A</c:v>
                </c:pt>
                <c:pt idx="1812">
                  <c:v>3.1934</c:v>
                </c:pt>
                <c:pt idx="1813">
                  <c:v>2.9746899999999998</c:v>
                </c:pt>
                <c:pt idx="1814">
                  <c:v>3.07958</c:v>
                </c:pt>
                <c:pt idx="1815">
                  <c:v>#N/A</c:v>
                </c:pt>
                <c:pt idx="1816">
                  <c:v>2.7697400000000001</c:v>
                </c:pt>
                <c:pt idx="1817">
                  <c:v>3.16296</c:v>
                </c:pt>
                <c:pt idx="1818">
                  <c:v>#N/A</c:v>
                </c:pt>
                <c:pt idx="1819">
                  <c:v>3.1524000000000001</c:v>
                </c:pt>
                <c:pt idx="1820">
                  <c:v>3.7493099999999999</c:v>
                </c:pt>
                <c:pt idx="1821">
                  <c:v>3.1884999999999999</c:v>
                </c:pt>
                <c:pt idx="1822">
                  <c:v>#N/A</c:v>
                </c:pt>
                <c:pt idx="1823">
                  <c:v>2.5214799999999999</c:v>
                </c:pt>
                <c:pt idx="1824">
                  <c:v>#N/A</c:v>
                </c:pt>
                <c:pt idx="1825">
                  <c:v>1.93354</c:v>
                </c:pt>
                <c:pt idx="1826">
                  <c:v>2.1770299999999998</c:v>
                </c:pt>
                <c:pt idx="1827">
                  <c:v>2.5153500000000002</c:v>
                </c:pt>
                <c:pt idx="1828">
                  <c:v>#N/A</c:v>
                </c:pt>
                <c:pt idx="1829">
                  <c:v>2.95689</c:v>
                </c:pt>
                <c:pt idx="1830">
                  <c:v>2.9319899999999999</c:v>
                </c:pt>
                <c:pt idx="1831">
                  <c:v>2.9201299999999999</c:v>
                </c:pt>
                <c:pt idx="1832">
                  <c:v>#N/A</c:v>
                </c:pt>
                <c:pt idx="1833">
                  <c:v>2.7743500000000001</c:v>
                </c:pt>
                <c:pt idx="1834">
                  <c:v>2.3580999999999999</c:v>
                </c:pt>
                <c:pt idx="1835">
                  <c:v>2.1763599999999999</c:v>
                </c:pt>
                <c:pt idx="1836">
                  <c:v>#N/A</c:v>
                </c:pt>
                <c:pt idx="1837">
                  <c:v>2.1828400000000001</c:v>
                </c:pt>
                <c:pt idx="1838">
                  <c:v>2.2471999999999999</c:v>
                </c:pt>
                <c:pt idx="1839">
                  <c:v>#N/A</c:v>
                </c:pt>
                <c:pt idx="1840">
                  <c:v>2.7579699999999998</c:v>
                </c:pt>
                <c:pt idx="1841">
                  <c:v>3.2386900000000001</c:v>
                </c:pt>
                <c:pt idx="1842">
                  <c:v>3.1448999999999998</c:v>
                </c:pt>
                <c:pt idx="1843">
                  <c:v>#N/A</c:v>
                </c:pt>
                <c:pt idx="1844">
                  <c:v>3.2899600000000002</c:v>
                </c:pt>
                <c:pt idx="1845">
                  <c:v>3.1580400000000002</c:v>
                </c:pt>
                <c:pt idx="1846">
                  <c:v>2.1148699999999998</c:v>
                </c:pt>
                <c:pt idx="1847">
                  <c:v>#N/A</c:v>
                </c:pt>
                <c:pt idx="1848">
                  <c:v>2.20716</c:v>
                </c:pt>
                <c:pt idx="1849">
                  <c:v>1.79942</c:v>
                </c:pt>
                <c:pt idx="1850">
                  <c:v>2.5508299999999999</c:v>
                </c:pt>
                <c:pt idx="1851">
                  <c:v>#N/A</c:v>
                </c:pt>
                <c:pt idx="1852">
                  <c:v>3.4414600000000002</c:v>
                </c:pt>
                <c:pt idx="1853">
                  <c:v>3.47126</c:v>
                </c:pt>
                <c:pt idx="1854">
                  <c:v>3.4305099999999999</c:v>
                </c:pt>
                <c:pt idx="1855">
                  <c:v>#N/A</c:v>
                </c:pt>
                <c:pt idx="1856">
                  <c:v>2.7653500000000002</c:v>
                </c:pt>
                <c:pt idx="1857">
                  <c:v>2.2324099999999998</c:v>
                </c:pt>
                <c:pt idx="1858">
                  <c:v>#N/A</c:v>
                </c:pt>
                <c:pt idx="1859">
                  <c:v>2.0061100000000001</c:v>
                </c:pt>
                <c:pt idx="1860">
                  <c:v>2.45363</c:v>
                </c:pt>
                <c:pt idx="1861">
                  <c:v>2.7011599999999998</c:v>
                </c:pt>
                <c:pt idx="1862">
                  <c:v>#N/A</c:v>
                </c:pt>
                <c:pt idx="1863">
                  <c:v>2.9811700000000001</c:v>
                </c:pt>
                <c:pt idx="1864">
                  <c:v>2.6834600000000002</c:v>
                </c:pt>
                <c:pt idx="1865">
                  <c:v>2.75353</c:v>
                </c:pt>
                <c:pt idx="1866">
                  <c:v>#N/A</c:v>
                </c:pt>
                <c:pt idx="1867">
                  <c:v>2.4757199999999999</c:v>
                </c:pt>
                <c:pt idx="1868">
                  <c:v>2.7303099999999998</c:v>
                </c:pt>
                <c:pt idx="1869">
                  <c:v>2.97235</c:v>
                </c:pt>
                <c:pt idx="1870">
                  <c:v>#N/A</c:v>
                </c:pt>
                <c:pt idx="1871">
                  <c:v>2.9750299999999998</c:v>
                </c:pt>
                <c:pt idx="1872">
                  <c:v>3.6027200000000001</c:v>
                </c:pt>
                <c:pt idx="1873">
                  <c:v>2.9615</c:v>
                </c:pt>
                <c:pt idx="1874">
                  <c:v>#N/A</c:v>
                </c:pt>
                <c:pt idx="1875">
                  <c:v>3.13523</c:v>
                </c:pt>
                <c:pt idx="1876">
                  <c:v>3.15022</c:v>
                </c:pt>
                <c:pt idx="1877">
                  <c:v>#N/A</c:v>
                </c:pt>
                <c:pt idx="1878">
                  <c:v>2.9292699999999998</c:v>
                </c:pt>
                <c:pt idx="1879">
                  <c:v>2.3397100000000002</c:v>
                </c:pt>
                <c:pt idx="1880">
                  <c:v>2.79908</c:v>
                </c:pt>
                <c:pt idx="1881">
                  <c:v>#N/A</c:v>
                </c:pt>
                <c:pt idx="1882">
                  <c:v>2.78335</c:v>
                </c:pt>
                <c:pt idx="1883">
                  <c:v>3.17143</c:v>
                </c:pt>
                <c:pt idx="1884">
                  <c:v>2.8922400000000001</c:v>
                </c:pt>
                <c:pt idx="1885">
                  <c:v>#N/A</c:v>
                </c:pt>
                <c:pt idx="1886">
                  <c:v>2.1671499999999999</c:v>
                </c:pt>
                <c:pt idx="1887">
                  <c:v>1.8727100000000001</c:v>
                </c:pt>
                <c:pt idx="1888">
                  <c:v>1.6432199999999999</c:v>
                </c:pt>
                <c:pt idx="1889">
                  <c:v>#N/A</c:v>
                </c:pt>
                <c:pt idx="1890">
                  <c:v>1.86504</c:v>
                </c:pt>
                <c:pt idx="1891">
                  <c:v>1.8546199999999999</c:v>
                </c:pt>
                <c:pt idx="1892">
                  <c:v>2.3426</c:v>
                </c:pt>
                <c:pt idx="1893">
                  <c:v>#N/A</c:v>
                </c:pt>
                <c:pt idx="1894">
                  <c:v>3.0216099999999999</c:v>
                </c:pt>
                <c:pt idx="1895">
                  <c:v>2.7107600000000001</c:v>
                </c:pt>
                <c:pt idx="1896">
                  <c:v>2.5945399999999998</c:v>
                </c:pt>
                <c:pt idx="1897">
                  <c:v>#N/A</c:v>
                </c:pt>
                <c:pt idx="1898">
                  <c:v>#N/A</c:v>
                </c:pt>
                <c:pt idx="1899">
                  <c:v>2.38158</c:v>
                </c:pt>
                <c:pt idx="1900">
                  <c:v>2.10826</c:v>
                </c:pt>
                <c:pt idx="1901">
                  <c:v>2.5768200000000001</c:v>
                </c:pt>
                <c:pt idx="1902">
                  <c:v>#N/A</c:v>
                </c:pt>
                <c:pt idx="1903">
                  <c:v>2.7174499999999999</c:v>
                </c:pt>
                <c:pt idx="1904">
                  <c:v>2.9405899999999998</c:v>
                </c:pt>
                <c:pt idx="1905">
                  <c:v>2.8181699999999998</c:v>
                </c:pt>
                <c:pt idx="1906">
                  <c:v>#N/A</c:v>
                </c:pt>
                <c:pt idx="1907">
                  <c:v>2.3328899999999999</c:v>
                </c:pt>
                <c:pt idx="1908">
                  <c:v>1.66669</c:v>
                </c:pt>
                <c:pt idx="1909">
                  <c:v>1.9769300000000001</c:v>
                </c:pt>
                <c:pt idx="1910">
                  <c:v>#N/A</c:v>
                </c:pt>
                <c:pt idx="1911">
                  <c:v>2.01722</c:v>
                </c:pt>
                <c:pt idx="1912">
                  <c:v>2.4386800000000002</c:v>
                </c:pt>
                <c:pt idx="1913">
                  <c:v>#N/A</c:v>
                </c:pt>
                <c:pt idx="1914">
                  <c:v>2.7506699999999999</c:v>
                </c:pt>
                <c:pt idx="1915">
                  <c:v>3.08019</c:v>
                </c:pt>
                <c:pt idx="1916">
                  <c:v>2.5735299999999999</c:v>
                </c:pt>
                <c:pt idx="1917">
                  <c:v>#N/A</c:v>
                </c:pt>
                <c:pt idx="1918">
                  <c:v>2.3137400000000001</c:v>
                </c:pt>
                <c:pt idx="1919">
                  <c:v>2.49518</c:v>
                </c:pt>
                <c:pt idx="1920">
                  <c:v>2.0051899999999998</c:v>
                </c:pt>
                <c:pt idx="1921">
                  <c:v>#N/A</c:v>
                </c:pt>
                <c:pt idx="1922">
                  <c:v>1.8693900000000001</c:v>
                </c:pt>
                <c:pt idx="1923">
                  <c:v>2.4329399999999999</c:v>
                </c:pt>
                <c:pt idx="1924">
                  <c:v>2.64249</c:v>
                </c:pt>
                <c:pt idx="1925">
                  <c:v>#N/A</c:v>
                </c:pt>
                <c:pt idx="1926">
                  <c:v>2.7624300000000002</c:v>
                </c:pt>
                <c:pt idx="1927">
                  <c:v>2.5643899999999999</c:v>
                </c:pt>
                <c:pt idx="1928">
                  <c:v>2.5956999999999999</c:v>
                </c:pt>
                <c:pt idx="1929">
                  <c:v>#N/A</c:v>
                </c:pt>
                <c:pt idx="1930">
                  <c:v>1.8646100000000001</c:v>
                </c:pt>
                <c:pt idx="1931">
                  <c:v>2.2490000000000001</c:v>
                </c:pt>
                <c:pt idx="1932">
                  <c:v>#N/A</c:v>
                </c:pt>
                <c:pt idx="1933">
                  <c:v>2.0288499999999998</c:v>
                </c:pt>
                <c:pt idx="1934">
                  <c:v>2.4976600000000002</c:v>
                </c:pt>
                <c:pt idx="1935">
                  <c:v>3.5666199999999999</c:v>
                </c:pt>
                <c:pt idx="1936">
                  <c:v>#N/A</c:v>
                </c:pt>
                <c:pt idx="1937">
                  <c:v>3.34863</c:v>
                </c:pt>
                <c:pt idx="1938">
                  <c:v>3.2923900000000001</c:v>
                </c:pt>
                <c:pt idx="1939">
                  <c:v>2.5514199999999998</c:v>
                </c:pt>
                <c:pt idx="1940">
                  <c:v>#N/A</c:v>
                </c:pt>
                <c:pt idx="1941">
                  <c:v>2.4020000000000001</c:v>
                </c:pt>
                <c:pt idx="1942">
                  <c:v>2.2419600000000002</c:v>
                </c:pt>
                <c:pt idx="1943">
                  <c:v>2.2322299999999999</c:v>
                </c:pt>
                <c:pt idx="1944">
                  <c:v>#N/A</c:v>
                </c:pt>
                <c:pt idx="1945">
                  <c:v>2.4179400000000002</c:v>
                </c:pt>
                <c:pt idx="1946">
                  <c:v>2.7694299999999998</c:v>
                </c:pt>
                <c:pt idx="1947">
                  <c:v>2.5068199999999998</c:v>
                </c:pt>
                <c:pt idx="1948">
                  <c:v>#N/A</c:v>
                </c:pt>
                <c:pt idx="1949">
                  <c:v>2.6737099999999998</c:v>
                </c:pt>
                <c:pt idx="1950">
                  <c:v>2.06643</c:v>
                </c:pt>
                <c:pt idx="1951">
                  <c:v>1.82829</c:v>
                </c:pt>
                <c:pt idx="1952">
                  <c:v>#N/A</c:v>
                </c:pt>
                <c:pt idx="1953">
                  <c:v>1.9952099999999999</c:v>
                </c:pt>
                <c:pt idx="1954">
                  <c:v>2.4034200000000001</c:v>
                </c:pt>
                <c:pt idx="1955">
                  <c:v>2.17733</c:v>
                </c:pt>
                <c:pt idx="1956">
                  <c:v>#N/A</c:v>
                </c:pt>
                <c:pt idx="1957">
                  <c:v>2.50231</c:v>
                </c:pt>
                <c:pt idx="1958">
                  <c:v>2.82308</c:v>
                </c:pt>
                <c:pt idx="1959">
                  <c:v>2.5718899999999998</c:v>
                </c:pt>
                <c:pt idx="1960">
                  <c:v>#N/A</c:v>
                </c:pt>
                <c:pt idx="1961">
                  <c:v>2.5130599999999998</c:v>
                </c:pt>
                <c:pt idx="1962">
                  <c:v>1.88459</c:v>
                </c:pt>
                <c:pt idx="1963">
                  <c:v>2.3342200000000002</c:v>
                </c:pt>
                <c:pt idx="1964">
                  <c:v>#N/A</c:v>
                </c:pt>
                <c:pt idx="1965">
                  <c:v>3.2305000000000001</c:v>
                </c:pt>
                <c:pt idx="1966">
                  <c:v>3.13876</c:v>
                </c:pt>
                <c:pt idx="1967">
                  <c:v>#N/A</c:v>
                </c:pt>
                <c:pt idx="1968">
                  <c:v>2.7134299999999998</c:v>
                </c:pt>
                <c:pt idx="1969">
                  <c:v>2.1114299999999999</c:v>
                </c:pt>
                <c:pt idx="1970">
                  <c:v>1.8023499999999999</c:v>
                </c:pt>
                <c:pt idx="1971">
                  <c:v>#N/A</c:v>
                </c:pt>
                <c:pt idx="1972">
                  <c:v>1.9813099999999999</c:v>
                </c:pt>
                <c:pt idx="1973">
                  <c:v>#N/A</c:v>
                </c:pt>
                <c:pt idx="1974">
                  <c:v>2.3345699999999998</c:v>
                </c:pt>
                <c:pt idx="1975">
                  <c:v>2.8586299999999998</c:v>
                </c:pt>
                <c:pt idx="1976">
                  <c:v>#N/A</c:v>
                </c:pt>
                <c:pt idx="1977">
                  <c:v>3.2654999999999998</c:v>
                </c:pt>
                <c:pt idx="1978">
                  <c:v>2.7370399999999999</c:v>
                </c:pt>
                <c:pt idx="1979">
                  <c:v>2.5190999999999999</c:v>
                </c:pt>
                <c:pt idx="1980">
                  <c:v>#N/A</c:v>
                </c:pt>
                <c:pt idx="1981">
                  <c:v>2.0875300000000001</c:v>
                </c:pt>
                <c:pt idx="1982">
                  <c:v>1.8540099999999999</c:v>
                </c:pt>
                <c:pt idx="1983">
                  <c:v>2.4097900000000001</c:v>
                </c:pt>
                <c:pt idx="1984">
                  <c:v>#N/A</c:v>
                </c:pt>
                <c:pt idx="1985">
                  <c:v>2.3160599999999998</c:v>
                </c:pt>
                <c:pt idx="1986">
                  <c:v>2.68811</c:v>
                </c:pt>
                <c:pt idx="1987">
                  <c:v>3.0446200000000001</c:v>
                </c:pt>
                <c:pt idx="1988">
                  <c:v>#N/A</c:v>
                </c:pt>
                <c:pt idx="1989">
                  <c:v>3.2726899999999999</c:v>
                </c:pt>
                <c:pt idx="1990">
                  <c:v>2.43344</c:v>
                </c:pt>
                <c:pt idx="1991">
                  <c:v>#N/A</c:v>
                </c:pt>
                <c:pt idx="1992">
                  <c:v>2.4638300000000002</c:v>
                </c:pt>
                <c:pt idx="1993">
                  <c:v>2.3010600000000001</c:v>
                </c:pt>
                <c:pt idx="1994">
                  <c:v>1.87015</c:v>
                </c:pt>
                <c:pt idx="1995">
                  <c:v>#N/A</c:v>
                </c:pt>
                <c:pt idx="1996">
                  <c:v>2.6289600000000002</c:v>
                </c:pt>
                <c:pt idx="1997">
                  <c:v>2.79541</c:v>
                </c:pt>
                <c:pt idx="1998">
                  <c:v>3.1822900000000001</c:v>
                </c:pt>
                <c:pt idx="1999">
                  <c:v>#N/A</c:v>
                </c:pt>
                <c:pt idx="2000">
                  <c:v>3.23177</c:v>
                </c:pt>
                <c:pt idx="2001">
                  <c:v>3.3597800000000002</c:v>
                </c:pt>
                <c:pt idx="2002">
                  <c:v>2.81386</c:v>
                </c:pt>
                <c:pt idx="2003">
                  <c:v>#N/A</c:v>
                </c:pt>
                <c:pt idx="2004">
                  <c:v>2.5044400000000002</c:v>
                </c:pt>
                <c:pt idx="2005">
                  <c:v>2.4024299999999998</c:v>
                </c:pt>
                <c:pt idx="2006">
                  <c:v>2.4198200000000001</c:v>
                </c:pt>
                <c:pt idx="2007">
                  <c:v>#N/A</c:v>
                </c:pt>
                <c:pt idx="2008">
                  <c:v>2.4785400000000002</c:v>
                </c:pt>
                <c:pt idx="2009">
                  <c:v>2.69015</c:v>
                </c:pt>
                <c:pt idx="2010">
                  <c:v>2.9185699999999999</c:v>
                </c:pt>
                <c:pt idx="2011">
                  <c:v>#N/A</c:v>
                </c:pt>
                <c:pt idx="2012">
                  <c:v>2.9088699999999998</c:v>
                </c:pt>
                <c:pt idx="2013">
                  <c:v>2.3962400000000001</c:v>
                </c:pt>
                <c:pt idx="2014">
                  <c:v>1.85538</c:v>
                </c:pt>
                <c:pt idx="2015">
                  <c:v>#N/A</c:v>
                </c:pt>
                <c:pt idx="2016">
                  <c:v>1.8623099999999999</c:v>
                </c:pt>
                <c:pt idx="2017">
                  <c:v>2.19936</c:v>
                </c:pt>
                <c:pt idx="2018">
                  <c:v>2.8005200000000001</c:v>
                </c:pt>
                <c:pt idx="2019">
                  <c:v>#N/A</c:v>
                </c:pt>
                <c:pt idx="2020">
                  <c:v>3.1997900000000001</c:v>
                </c:pt>
                <c:pt idx="2021">
                  <c:v>2.9034499999999999</c:v>
                </c:pt>
                <c:pt idx="2022">
                  <c:v>#N/A</c:v>
                </c:pt>
                <c:pt idx="2023">
                  <c:v>2.80538</c:v>
                </c:pt>
                <c:pt idx="2024">
                  <c:v>2.6225299999999998</c:v>
                </c:pt>
                <c:pt idx="2025">
                  <c:v>2.2728199999999998</c:v>
                </c:pt>
                <c:pt idx="2026">
                  <c:v>#N/A</c:v>
                </c:pt>
                <c:pt idx="2027">
                  <c:v>2.2986300000000002</c:v>
                </c:pt>
                <c:pt idx="2028">
                  <c:v>2.6118100000000002</c:v>
                </c:pt>
                <c:pt idx="2029">
                  <c:v>2.9607100000000002</c:v>
                </c:pt>
                <c:pt idx="2030">
                  <c:v>#N/A</c:v>
                </c:pt>
                <c:pt idx="2031">
                  <c:v>2.1212599999999999</c:v>
                </c:pt>
                <c:pt idx="2032">
                  <c:v>2.3784299999999998</c:v>
                </c:pt>
                <c:pt idx="2033">
                  <c:v>2.6052599999999999</c:v>
                </c:pt>
                <c:pt idx="2034">
                  <c:v>#N/A</c:v>
                </c:pt>
                <c:pt idx="2035">
                  <c:v>2.0433699999999999</c:v>
                </c:pt>
                <c:pt idx="2036">
                  <c:v>2.4306100000000002</c:v>
                </c:pt>
                <c:pt idx="2037">
                  <c:v>2.3726099999999999</c:v>
                </c:pt>
                <c:pt idx="2038">
                  <c:v>#N/A</c:v>
                </c:pt>
                <c:pt idx="2039">
                  <c:v>2.63869</c:v>
                </c:pt>
                <c:pt idx="2040">
                  <c:v>2.9828100000000002</c:v>
                </c:pt>
                <c:pt idx="2041">
                  <c:v>2.6415899999999999</c:v>
                </c:pt>
                <c:pt idx="2042">
                  <c:v>#N/A</c:v>
                </c:pt>
                <c:pt idx="2043">
                  <c:v>2.60345</c:v>
                </c:pt>
                <c:pt idx="2044">
                  <c:v>2.58507</c:v>
                </c:pt>
                <c:pt idx="2045">
                  <c:v>2.4918499999999999</c:v>
                </c:pt>
                <c:pt idx="2046">
                  <c:v>#N/A</c:v>
                </c:pt>
                <c:pt idx="2047">
                  <c:v>2.6708799999999999</c:v>
                </c:pt>
                <c:pt idx="2048">
                  <c:v>#N/A</c:v>
                </c:pt>
                <c:pt idx="2049">
                  <c:v>2.3650799999999998</c:v>
                </c:pt>
                <c:pt idx="2050">
                  <c:v>3.1425200000000002</c:v>
                </c:pt>
                <c:pt idx="2051">
                  <c:v>#N/A</c:v>
                </c:pt>
                <c:pt idx="2052">
                  <c:v>3.0838800000000002</c:v>
                </c:pt>
                <c:pt idx="2053">
                  <c:v>2.68249</c:v>
                </c:pt>
                <c:pt idx="2054">
                  <c:v>2.3848600000000002</c:v>
                </c:pt>
                <c:pt idx="2055">
                  <c:v>#N/A</c:v>
                </c:pt>
                <c:pt idx="2056">
                  <c:v>2.0821200000000002</c:v>
                </c:pt>
                <c:pt idx="2057">
                  <c:v>2.6130499999999999</c:v>
                </c:pt>
                <c:pt idx="2058">
                  <c:v>#N/A</c:v>
                </c:pt>
                <c:pt idx="2059">
                  <c:v>2.7772600000000001</c:v>
                </c:pt>
                <c:pt idx="2060">
                  <c:v>3.2199499999999999</c:v>
                </c:pt>
                <c:pt idx="2061">
                  <c:v>3.2036799999999999</c:v>
                </c:pt>
                <c:pt idx="2062">
                  <c:v>#N/A</c:v>
                </c:pt>
                <c:pt idx="2063">
                  <c:v>3.4851800000000002</c:v>
                </c:pt>
                <c:pt idx="2064">
                  <c:v>2.38605</c:v>
                </c:pt>
                <c:pt idx="2065">
                  <c:v>#N/A</c:v>
                </c:pt>
                <c:pt idx="2066">
                  <c:v>2.5760100000000001</c:v>
                </c:pt>
                <c:pt idx="2067">
                  <c:v>2.3367200000000001</c:v>
                </c:pt>
                <c:pt idx="2068">
                  <c:v>2.3485</c:v>
                </c:pt>
                <c:pt idx="2069">
                  <c:v>#N/A</c:v>
                </c:pt>
                <c:pt idx="2070">
                  <c:v>3.1171899999999999</c:v>
                </c:pt>
                <c:pt idx="2071">
                  <c:v>3.3915500000000001</c:v>
                </c:pt>
                <c:pt idx="2072">
                  <c:v>#N/A</c:v>
                </c:pt>
                <c:pt idx="2073">
                  <c:v>3.0497299999999998</c:v>
                </c:pt>
                <c:pt idx="2074">
                  <c:v>2.9284699999999999</c:v>
                </c:pt>
                <c:pt idx="2075">
                  <c:v>2.9632499999999999</c:v>
                </c:pt>
                <c:pt idx="2076">
                  <c:v>#N/A</c:v>
                </c:pt>
                <c:pt idx="2077">
                  <c:v>2.2160799999999998</c:v>
                </c:pt>
                <c:pt idx="2078">
                  <c:v>2.0565500000000001</c:v>
                </c:pt>
                <c:pt idx="2079">
                  <c:v>2.1747000000000001</c:v>
                </c:pt>
                <c:pt idx="2080">
                  <c:v>#N/A</c:v>
                </c:pt>
                <c:pt idx="2081">
                  <c:v>2.8575300000000001</c:v>
                </c:pt>
                <c:pt idx="2082">
                  <c:v>3.6067900000000002</c:v>
                </c:pt>
                <c:pt idx="2083">
                  <c:v>3.5649099999999998</c:v>
                </c:pt>
                <c:pt idx="2084">
                  <c:v>#N/A</c:v>
                </c:pt>
                <c:pt idx="2085">
                  <c:v>3.2684099999999998</c:v>
                </c:pt>
                <c:pt idx="2086">
                  <c:v>2.57009</c:v>
                </c:pt>
                <c:pt idx="2087">
                  <c:v>2.4973800000000002</c:v>
                </c:pt>
                <c:pt idx="2088">
                  <c:v>#N/A</c:v>
                </c:pt>
                <c:pt idx="2089">
                  <c:v>2.3091900000000001</c:v>
                </c:pt>
                <c:pt idx="2090">
                  <c:v>2.27657</c:v>
                </c:pt>
                <c:pt idx="2091">
                  <c:v>#N/A</c:v>
                </c:pt>
                <c:pt idx="2092">
                  <c:v>2.51918</c:v>
                </c:pt>
                <c:pt idx="2093">
                  <c:v>2.7741799999999999</c:v>
                </c:pt>
                <c:pt idx="2094">
                  <c:v>3.0103499999999999</c:v>
                </c:pt>
                <c:pt idx="2095">
                  <c:v>#N/A</c:v>
                </c:pt>
                <c:pt idx="2096">
                  <c:v>2.6459600000000001</c:v>
                </c:pt>
                <c:pt idx="2097">
                  <c:v>1.9718599999999999</c:v>
                </c:pt>
                <c:pt idx="2098">
                  <c:v>2.29352</c:v>
                </c:pt>
                <c:pt idx="2099">
                  <c:v>#N/A</c:v>
                </c:pt>
                <c:pt idx="2100">
                  <c:v>2.3886799999999999</c:v>
                </c:pt>
                <c:pt idx="2101">
                  <c:v>2.79</c:v>
                </c:pt>
                <c:pt idx="2102">
                  <c:v>#N/A</c:v>
                </c:pt>
                <c:pt idx="2103">
                  <c:v>2.6825999999999999</c:v>
                </c:pt>
                <c:pt idx="2104">
                  <c:v>2.78932</c:v>
                </c:pt>
                <c:pt idx="2105">
                  <c:v>3.0421800000000001</c:v>
                </c:pt>
                <c:pt idx="2106">
                  <c:v>#N/A</c:v>
                </c:pt>
                <c:pt idx="2107">
                  <c:v>3.5786199999999999</c:v>
                </c:pt>
                <c:pt idx="2108">
                  <c:v>2.6059999999999999</c:v>
                </c:pt>
                <c:pt idx="2109">
                  <c:v>2.8899900000000001</c:v>
                </c:pt>
                <c:pt idx="2110">
                  <c:v>#N/A</c:v>
                </c:pt>
                <c:pt idx="2111">
                  <c:v>2.9494199999999999</c:v>
                </c:pt>
                <c:pt idx="2112">
                  <c:v>2.54345</c:v>
                </c:pt>
                <c:pt idx="2113">
                  <c:v>2.97838</c:v>
                </c:pt>
                <c:pt idx="2114">
                  <c:v>#N/A</c:v>
                </c:pt>
                <c:pt idx="2115">
                  <c:v>2.96584</c:v>
                </c:pt>
                <c:pt idx="2116">
                  <c:v>2.9531399999999999</c:v>
                </c:pt>
                <c:pt idx="2117">
                  <c:v>2.3982299999999999</c:v>
                </c:pt>
                <c:pt idx="2118">
                  <c:v>#N/A</c:v>
                </c:pt>
                <c:pt idx="2119">
                  <c:v>2.4598800000000001</c:v>
                </c:pt>
                <c:pt idx="2120">
                  <c:v>2.3271799999999998</c:v>
                </c:pt>
                <c:pt idx="2121">
                  <c:v>2.37384</c:v>
                </c:pt>
                <c:pt idx="2122">
                  <c:v>#N/A</c:v>
                </c:pt>
                <c:pt idx="2123">
                  <c:v>3.5785399999999998</c:v>
                </c:pt>
                <c:pt idx="2124">
                  <c:v>3.1627399999999999</c:v>
                </c:pt>
                <c:pt idx="2125">
                  <c:v>#N/A</c:v>
                </c:pt>
                <c:pt idx="2126">
                  <c:v>2.6231200000000001</c:v>
                </c:pt>
                <c:pt idx="2127">
                  <c:v>2.1645799999999999</c:v>
                </c:pt>
                <c:pt idx="2128">
                  <c:v>2.0445799999999998</c:v>
                </c:pt>
                <c:pt idx="2129">
                  <c:v>#N/A</c:v>
                </c:pt>
                <c:pt idx="2130">
                  <c:v>2.0636899999999998</c:v>
                </c:pt>
                <c:pt idx="2131">
                  <c:v>2.2716599999999998</c:v>
                </c:pt>
                <c:pt idx="2132">
                  <c:v>#N/A</c:v>
                </c:pt>
                <c:pt idx="2133">
                  <c:v>2.6722199999999998</c:v>
                </c:pt>
                <c:pt idx="2134">
                  <c:v>2.9518499999999999</c:v>
                </c:pt>
                <c:pt idx="2135">
                  <c:v>2.5896499999999998</c:v>
                </c:pt>
                <c:pt idx="2136">
                  <c:v>#N/A</c:v>
                </c:pt>
                <c:pt idx="2137">
                  <c:v>2.7602899999999999</c:v>
                </c:pt>
                <c:pt idx="2138">
                  <c:v>1.55141</c:v>
                </c:pt>
                <c:pt idx="2139">
                  <c:v>1.49854</c:v>
                </c:pt>
                <c:pt idx="2140">
                  <c:v>#N/A</c:v>
                </c:pt>
                <c:pt idx="2141">
                  <c:v>2.22933</c:v>
                </c:pt>
                <c:pt idx="2142">
                  <c:v>2.4753400000000001</c:v>
                </c:pt>
                <c:pt idx="2143">
                  <c:v>3.3791799999999999</c:v>
                </c:pt>
                <c:pt idx="2144">
                  <c:v>#N/A</c:v>
                </c:pt>
                <c:pt idx="2145">
                  <c:v>3.0967099999999999</c:v>
                </c:pt>
                <c:pt idx="2146">
                  <c:v>2.7965200000000001</c:v>
                </c:pt>
                <c:pt idx="2147">
                  <c:v>#N/A</c:v>
                </c:pt>
                <c:pt idx="2148">
                  <c:v>2.94848</c:v>
                </c:pt>
                <c:pt idx="2149">
                  <c:v>2.71916</c:v>
                </c:pt>
                <c:pt idx="2150">
                  <c:v>2.64771</c:v>
                </c:pt>
                <c:pt idx="2151">
                  <c:v>#N/A</c:v>
                </c:pt>
                <c:pt idx="2152">
                  <c:v>2.2164000000000001</c:v>
                </c:pt>
                <c:pt idx="2153">
                  <c:v>2.6992099999999999</c:v>
                </c:pt>
                <c:pt idx="2154">
                  <c:v>2.4982199999999999</c:v>
                </c:pt>
                <c:pt idx="2155">
                  <c:v>#N/A</c:v>
                </c:pt>
                <c:pt idx="2156">
                  <c:v>3.3543500000000002</c:v>
                </c:pt>
                <c:pt idx="2157">
                  <c:v>2.7369699999999999</c:v>
                </c:pt>
                <c:pt idx="2158">
                  <c:v>3.04474</c:v>
                </c:pt>
                <c:pt idx="2159">
                  <c:v>#N/A</c:v>
                </c:pt>
                <c:pt idx="2160">
                  <c:v>2.4993799999999999</c:v>
                </c:pt>
                <c:pt idx="2161">
                  <c:v>1.93662</c:v>
                </c:pt>
                <c:pt idx="2162">
                  <c:v>2.2823099999999998</c:v>
                </c:pt>
                <c:pt idx="2163">
                  <c:v>#N/A</c:v>
                </c:pt>
                <c:pt idx="2164">
                  <c:v>2.2023600000000001</c:v>
                </c:pt>
                <c:pt idx="2165">
                  <c:v>2.8242699999999998</c:v>
                </c:pt>
                <c:pt idx="2166">
                  <c:v>3.2446799999999998</c:v>
                </c:pt>
                <c:pt idx="2167">
                  <c:v>#N/A</c:v>
                </c:pt>
                <c:pt idx="2168">
                  <c:v>2.9827699999999999</c:v>
                </c:pt>
                <c:pt idx="2169">
                  <c:v>2.4034200000000001</c:v>
                </c:pt>
                <c:pt idx="2170">
                  <c:v>1.9930699999999999</c:v>
                </c:pt>
                <c:pt idx="2171">
                  <c:v>#N/A</c:v>
                </c:pt>
                <c:pt idx="2172">
                  <c:v>2.8889</c:v>
                </c:pt>
                <c:pt idx="2173">
                  <c:v>2.5718700000000001</c:v>
                </c:pt>
                <c:pt idx="2174">
                  <c:v>#N/A</c:v>
                </c:pt>
                <c:pt idx="2175">
                  <c:v>2.6346500000000002</c:v>
                </c:pt>
                <c:pt idx="2176">
                  <c:v>3.1960999999999999</c:v>
                </c:pt>
                <c:pt idx="2177">
                  <c:v>2.9984799999999998</c:v>
                </c:pt>
                <c:pt idx="2178">
                  <c:v>#N/A</c:v>
                </c:pt>
                <c:pt idx="2179">
                  <c:v>3.36999</c:v>
                </c:pt>
                <c:pt idx="2180">
                  <c:v>3.1273200000000001</c:v>
                </c:pt>
                <c:pt idx="2181">
                  <c:v>2.4182199999999998</c:v>
                </c:pt>
                <c:pt idx="2182">
                  <c:v>#N/A</c:v>
                </c:pt>
                <c:pt idx="2183">
                  <c:v>2.3652700000000002</c:v>
                </c:pt>
                <c:pt idx="2184">
                  <c:v>2.3275199999999998</c:v>
                </c:pt>
                <c:pt idx="2185">
                  <c:v>2.5221200000000001</c:v>
                </c:pt>
                <c:pt idx="2186">
                  <c:v>#N/A</c:v>
                </c:pt>
                <c:pt idx="2187">
                  <c:v>2.5716800000000002</c:v>
                </c:pt>
                <c:pt idx="2188">
                  <c:v>2.68702</c:v>
                </c:pt>
                <c:pt idx="2189">
                  <c:v>2.3578800000000002</c:v>
                </c:pt>
                <c:pt idx="2190">
                  <c:v>#N/A</c:v>
                </c:pt>
                <c:pt idx="2191">
                  <c:v>2.5194200000000002</c:v>
                </c:pt>
                <c:pt idx="2192">
                  <c:v>2.2498999999999998</c:v>
                </c:pt>
                <c:pt idx="2193">
                  <c:v>2.2408399999999999</c:v>
                </c:pt>
                <c:pt idx="2194">
                  <c:v>#N/A</c:v>
                </c:pt>
                <c:pt idx="2195">
                  <c:v>2.2748599999999999</c:v>
                </c:pt>
                <c:pt idx="2196">
                  <c:v>2.74708</c:v>
                </c:pt>
                <c:pt idx="2197">
                  <c:v>2.9538199999999999</c:v>
                </c:pt>
                <c:pt idx="2198">
                  <c:v>#N/A</c:v>
                </c:pt>
                <c:pt idx="2199">
                  <c:v>2.8016999999999999</c:v>
                </c:pt>
                <c:pt idx="2200">
                  <c:v>#N/A</c:v>
                </c:pt>
                <c:pt idx="2201">
                  <c:v>2.0127899999999999</c:v>
                </c:pt>
                <c:pt idx="2202">
                  <c:v>2.1465299999999998</c:v>
                </c:pt>
                <c:pt idx="2203">
                  <c:v>2.5400100000000001</c:v>
                </c:pt>
                <c:pt idx="2204">
                  <c:v>#N/A</c:v>
                </c:pt>
                <c:pt idx="2205">
                  <c:v>2.8883999999999999</c:v>
                </c:pt>
                <c:pt idx="2206">
                  <c:v>2.80253</c:v>
                </c:pt>
                <c:pt idx="2207">
                  <c:v>3.2120299999999999</c:v>
                </c:pt>
                <c:pt idx="2208">
                  <c:v>#N/A</c:v>
                </c:pt>
                <c:pt idx="2209">
                  <c:v>2.7380800000000001</c:v>
                </c:pt>
                <c:pt idx="2210">
                  <c:v>2.7366199999999998</c:v>
                </c:pt>
                <c:pt idx="2211">
                  <c:v>1.9852799999999999</c:v>
                </c:pt>
                <c:pt idx="2212">
                  <c:v>#N/A</c:v>
                </c:pt>
                <c:pt idx="2213">
                  <c:v>2.0762200000000002</c:v>
                </c:pt>
                <c:pt idx="2214">
                  <c:v>2.0183300000000002</c:v>
                </c:pt>
                <c:pt idx="2215">
                  <c:v>2.67909</c:v>
                </c:pt>
                <c:pt idx="2216">
                  <c:v>#N/A</c:v>
                </c:pt>
                <c:pt idx="2217">
                  <c:v>3.3558500000000002</c:v>
                </c:pt>
                <c:pt idx="2218">
                  <c:v>2.6323799999999999</c:v>
                </c:pt>
                <c:pt idx="2219">
                  <c:v>#N/A</c:v>
                </c:pt>
                <c:pt idx="2220">
                  <c:v>3.15056</c:v>
                </c:pt>
                <c:pt idx="2221">
                  <c:v>2.3086600000000002</c:v>
                </c:pt>
                <c:pt idx="2222">
                  <c:v>2.6313300000000002</c:v>
                </c:pt>
                <c:pt idx="2223">
                  <c:v>#N/A</c:v>
                </c:pt>
                <c:pt idx="2224">
                  <c:v>2.30118</c:v>
                </c:pt>
                <c:pt idx="2225">
                  <c:v>2.3352499999999998</c:v>
                </c:pt>
                <c:pt idx="2226">
                  <c:v>3.1583800000000002</c:v>
                </c:pt>
                <c:pt idx="2227">
                  <c:v>#N/A</c:v>
                </c:pt>
                <c:pt idx="2228">
                  <c:v>3.8675999999999999</c:v>
                </c:pt>
                <c:pt idx="2229">
                  <c:v>3.5508000000000002</c:v>
                </c:pt>
                <c:pt idx="2230">
                  <c:v>3.3744200000000002</c:v>
                </c:pt>
                <c:pt idx="2231">
                  <c:v>#N/A</c:v>
                </c:pt>
                <c:pt idx="2232">
                  <c:v>2.8099400000000001</c:v>
                </c:pt>
                <c:pt idx="2233">
                  <c:v>2.8774000000000002</c:v>
                </c:pt>
                <c:pt idx="2234">
                  <c:v>2.67354</c:v>
                </c:pt>
                <c:pt idx="2235">
                  <c:v>#N/A</c:v>
                </c:pt>
                <c:pt idx="2236">
                  <c:v>2.6549299999999998</c:v>
                </c:pt>
                <c:pt idx="2237">
                  <c:v>2.5888399999999998</c:v>
                </c:pt>
                <c:pt idx="2238">
                  <c:v>#N/A</c:v>
                </c:pt>
                <c:pt idx="2239">
                  <c:v>3.2039800000000001</c:v>
                </c:pt>
                <c:pt idx="2240">
                  <c:v>2.8395000000000001</c:v>
                </c:pt>
                <c:pt idx="2241">
                  <c:v>3.2115100000000001</c:v>
                </c:pt>
                <c:pt idx="2242">
                  <c:v>#N/A</c:v>
                </c:pt>
                <c:pt idx="2243">
                  <c:v>2.0072199999999998</c:v>
                </c:pt>
                <c:pt idx="2244">
                  <c:v>2.0549200000000001</c:v>
                </c:pt>
                <c:pt idx="2245">
                  <c:v>2.5322</c:v>
                </c:pt>
                <c:pt idx="2246">
                  <c:v>#N/A</c:v>
                </c:pt>
                <c:pt idx="2247">
                  <c:v>2.6886899999999998</c:v>
                </c:pt>
                <c:pt idx="2248">
                  <c:v>3.2816900000000002</c:v>
                </c:pt>
                <c:pt idx="2249">
                  <c:v>2.7561900000000001</c:v>
                </c:pt>
                <c:pt idx="2250">
                  <c:v>#N/A</c:v>
                </c:pt>
                <c:pt idx="2251">
                  <c:v>3.0217900000000002</c:v>
                </c:pt>
                <c:pt idx="2252">
                  <c:v>3.15795</c:v>
                </c:pt>
                <c:pt idx="2253">
                  <c:v>2.6617199999999999</c:v>
                </c:pt>
                <c:pt idx="2254">
                  <c:v>#N/A</c:v>
                </c:pt>
                <c:pt idx="2255">
                  <c:v>2.3238699999999999</c:v>
                </c:pt>
                <c:pt idx="2256">
                  <c:v>1.95343</c:v>
                </c:pt>
                <c:pt idx="2257">
                  <c:v>#N/A</c:v>
                </c:pt>
                <c:pt idx="2258">
                  <c:v>2.7512500000000002</c:v>
                </c:pt>
                <c:pt idx="2259">
                  <c:v>2.86212</c:v>
                </c:pt>
                <c:pt idx="2260">
                  <c:v>#N/A</c:v>
                </c:pt>
                <c:pt idx="2261">
                  <c:v>2.8359299999999998</c:v>
                </c:pt>
                <c:pt idx="2262">
                  <c:v>3.16995</c:v>
                </c:pt>
                <c:pt idx="2263">
                  <c:v>2.9637699999999998</c:v>
                </c:pt>
                <c:pt idx="2264">
                  <c:v>#N/A</c:v>
                </c:pt>
                <c:pt idx="2265">
                  <c:v>3.0058699999999998</c:v>
                </c:pt>
                <c:pt idx="2266">
                  <c:v>2.8421400000000001</c:v>
                </c:pt>
                <c:pt idx="2267">
                  <c:v>2.4293499999999999</c:v>
                </c:pt>
                <c:pt idx="2268">
                  <c:v>#N/A</c:v>
                </c:pt>
                <c:pt idx="2269">
                  <c:v>2.89209</c:v>
                </c:pt>
                <c:pt idx="2270">
                  <c:v>2.5948099999999998</c:v>
                </c:pt>
                <c:pt idx="2271">
                  <c:v>#N/A</c:v>
                </c:pt>
                <c:pt idx="2272">
                  <c:v>3.5361500000000001</c:v>
                </c:pt>
                <c:pt idx="2273">
                  <c:v>2.8539300000000001</c:v>
                </c:pt>
                <c:pt idx="2274">
                  <c:v>#N/A</c:v>
                </c:pt>
                <c:pt idx="2275">
                  <c:v>2.6612399999999998</c:v>
                </c:pt>
                <c:pt idx="2276">
                  <c:v>3.1241300000000001</c:v>
                </c:pt>
                <c:pt idx="2277">
                  <c:v>#N/A</c:v>
                </c:pt>
                <c:pt idx="2278">
                  <c:v>3.22472</c:v>
                </c:pt>
                <c:pt idx="2279">
                  <c:v>2.77711</c:v>
                </c:pt>
                <c:pt idx="2280">
                  <c:v>3.18384</c:v>
                </c:pt>
                <c:pt idx="2281">
                  <c:v>#N/A</c:v>
                </c:pt>
                <c:pt idx="2282">
                  <c:v>3.4501300000000001</c:v>
                </c:pt>
                <c:pt idx="2283">
                  <c:v>3.0682100000000001</c:v>
                </c:pt>
                <c:pt idx="2284">
                  <c:v>2.4457300000000002</c:v>
                </c:pt>
                <c:pt idx="2285">
                  <c:v>#N/A</c:v>
                </c:pt>
                <c:pt idx="2286">
                  <c:v>2.46258</c:v>
                </c:pt>
                <c:pt idx="2287">
                  <c:v>2.9631799999999999</c:v>
                </c:pt>
                <c:pt idx="2288">
                  <c:v>3.0386600000000001</c:v>
                </c:pt>
                <c:pt idx="2289">
                  <c:v>#N/A</c:v>
                </c:pt>
                <c:pt idx="2290">
                  <c:v>4.2115999999999998</c:v>
                </c:pt>
                <c:pt idx="2291">
                  <c:v>3.55661</c:v>
                </c:pt>
                <c:pt idx="2292">
                  <c:v>#N/A</c:v>
                </c:pt>
                <c:pt idx="2293">
                  <c:v>3.7159200000000001</c:v>
                </c:pt>
                <c:pt idx="2294">
                  <c:v>3.63585</c:v>
                </c:pt>
                <c:pt idx="2295">
                  <c:v>3.2884600000000002</c:v>
                </c:pt>
                <c:pt idx="2296">
                  <c:v>#N/A</c:v>
                </c:pt>
                <c:pt idx="2297">
                  <c:v>2.609</c:v>
                </c:pt>
                <c:pt idx="2298">
                  <c:v>2.4733700000000001</c:v>
                </c:pt>
                <c:pt idx="2299">
                  <c:v>3.1151800000000001</c:v>
                </c:pt>
                <c:pt idx="2300">
                  <c:v>#N/A</c:v>
                </c:pt>
                <c:pt idx="2301">
                  <c:v>3.81155</c:v>
                </c:pt>
                <c:pt idx="2302">
                  <c:v>3.7905899999999999</c:v>
                </c:pt>
                <c:pt idx="2303">
                  <c:v>3.8887399999999999</c:v>
                </c:pt>
                <c:pt idx="2304">
                  <c:v>#N/A</c:v>
                </c:pt>
                <c:pt idx="2305">
                  <c:v>3.5009600000000001</c:v>
                </c:pt>
                <c:pt idx="2306">
                  <c:v>3.06698</c:v>
                </c:pt>
                <c:pt idx="2307">
                  <c:v>3.2114199999999999</c:v>
                </c:pt>
                <c:pt idx="2308">
                  <c:v>#N/A</c:v>
                </c:pt>
                <c:pt idx="2309">
                  <c:v>2.86185</c:v>
                </c:pt>
                <c:pt idx="2310">
                  <c:v>2.7299899999999999</c:v>
                </c:pt>
                <c:pt idx="2311">
                  <c:v>3.9809399999999999</c:v>
                </c:pt>
                <c:pt idx="2312">
                  <c:v>#N/A</c:v>
                </c:pt>
                <c:pt idx="2313">
                  <c:v>3.9142800000000002</c:v>
                </c:pt>
                <c:pt idx="2314">
                  <c:v>4.0618699999999999</c:v>
                </c:pt>
                <c:pt idx="2315">
                  <c:v>#N/A</c:v>
                </c:pt>
                <c:pt idx="2316">
                  <c:v>3.5986199999999999</c:v>
                </c:pt>
                <c:pt idx="2317">
                  <c:v>3.35425</c:v>
                </c:pt>
                <c:pt idx="2318">
                  <c:v>3.3016299999999998</c:v>
                </c:pt>
                <c:pt idx="2319">
                  <c:v>#N/A</c:v>
                </c:pt>
                <c:pt idx="2320">
                  <c:v>2.6792199999999999</c:v>
                </c:pt>
                <c:pt idx="2321">
                  <c:v>3.2938000000000001</c:v>
                </c:pt>
                <c:pt idx="2322">
                  <c:v>2.8483800000000001</c:v>
                </c:pt>
                <c:pt idx="2323">
                  <c:v>#N/A</c:v>
                </c:pt>
                <c:pt idx="2324">
                  <c:v>3.4251900000000002</c:v>
                </c:pt>
                <c:pt idx="2325">
                  <c:v>3.5389599999999999</c:v>
                </c:pt>
                <c:pt idx="2326">
                  <c:v>3.2850199999999998</c:v>
                </c:pt>
                <c:pt idx="2327">
                  <c:v>#N/A</c:v>
                </c:pt>
                <c:pt idx="2328">
                  <c:v>2.6126299999999998</c:v>
                </c:pt>
                <c:pt idx="2329">
                  <c:v>3.0155099999999999</c:v>
                </c:pt>
                <c:pt idx="2330">
                  <c:v>#N/A</c:v>
                </c:pt>
                <c:pt idx="2331">
                  <c:v>3.6827800000000002</c:v>
                </c:pt>
                <c:pt idx="2332">
                  <c:v>3.80436</c:v>
                </c:pt>
                <c:pt idx="2333">
                  <c:v>3.9946899999999999</c:v>
                </c:pt>
                <c:pt idx="2334">
                  <c:v>#N/A</c:v>
                </c:pt>
                <c:pt idx="2335">
                  <c:v>3.2079599999999999</c:v>
                </c:pt>
                <c:pt idx="2336">
                  <c:v>3.1433800000000001</c:v>
                </c:pt>
                <c:pt idx="2337">
                  <c:v>3.15063</c:v>
                </c:pt>
                <c:pt idx="2338">
                  <c:v>#N/A</c:v>
                </c:pt>
                <c:pt idx="2339">
                  <c:v>2.4819399999999998</c:v>
                </c:pt>
                <c:pt idx="2340">
                  <c:v>2.77014</c:v>
                </c:pt>
                <c:pt idx="2341">
                  <c:v>3.4640399999999998</c:v>
                </c:pt>
                <c:pt idx="2342">
                  <c:v>#N/A</c:v>
                </c:pt>
                <c:pt idx="2343">
                  <c:v>4.3153699999999997</c:v>
                </c:pt>
                <c:pt idx="2344">
                  <c:v>4.0223899999999997</c:v>
                </c:pt>
                <c:pt idx="2345">
                  <c:v>3.33236</c:v>
                </c:pt>
                <c:pt idx="2346">
                  <c:v>#N/A</c:v>
                </c:pt>
                <c:pt idx="2347">
                  <c:v>2.6959200000000001</c:v>
                </c:pt>
                <c:pt idx="2348">
                  <c:v>2.89967</c:v>
                </c:pt>
                <c:pt idx="2349">
                  <c:v>#N/A</c:v>
                </c:pt>
                <c:pt idx="2350">
                  <c:v>2.6358899999999998</c:v>
                </c:pt>
                <c:pt idx="2351">
                  <c:v>#N/A</c:v>
                </c:pt>
                <c:pt idx="2352">
                  <c:v>2.6535299999999999</c:v>
                </c:pt>
                <c:pt idx="2353">
                  <c:v>3.7236199999999999</c:v>
                </c:pt>
                <c:pt idx="2354">
                  <c:v>#N/A</c:v>
                </c:pt>
                <c:pt idx="2355">
                  <c:v>4.0906799999999999</c:v>
                </c:pt>
                <c:pt idx="2356">
                  <c:v>3.7181899999999999</c:v>
                </c:pt>
                <c:pt idx="2357">
                  <c:v>3.5920200000000002</c:v>
                </c:pt>
                <c:pt idx="2358">
                  <c:v>#N/A</c:v>
                </c:pt>
                <c:pt idx="2359">
                  <c:v>3.2545299999999999</c:v>
                </c:pt>
                <c:pt idx="2360">
                  <c:v>2.8988700000000001</c:v>
                </c:pt>
                <c:pt idx="2361">
                  <c:v>#N/A</c:v>
                </c:pt>
                <c:pt idx="2362">
                  <c:v>2.9860099999999998</c:v>
                </c:pt>
                <c:pt idx="2363">
                  <c:v>3.2057199999999999</c:v>
                </c:pt>
                <c:pt idx="2364">
                  <c:v>3.30016</c:v>
                </c:pt>
                <c:pt idx="2365">
                  <c:v>#N/A</c:v>
                </c:pt>
                <c:pt idx="2366">
                  <c:v>3.20472</c:v>
                </c:pt>
                <c:pt idx="2367">
                  <c:v>3.2140399999999998</c:v>
                </c:pt>
                <c:pt idx="2368">
                  <c:v>3.45587</c:v>
                </c:pt>
                <c:pt idx="2369">
                  <c:v>#N/A</c:v>
                </c:pt>
                <c:pt idx="2370">
                  <c:v>3.2220200000000001</c:v>
                </c:pt>
                <c:pt idx="2371">
                  <c:v>4.0331400000000004</c:v>
                </c:pt>
                <c:pt idx="2372">
                  <c:v>3.8171300000000001</c:v>
                </c:pt>
                <c:pt idx="2373">
                  <c:v>#N/A</c:v>
                </c:pt>
                <c:pt idx="2374">
                  <c:v>3.8538999999999999</c:v>
                </c:pt>
                <c:pt idx="2375">
                  <c:v>3.88849</c:v>
                </c:pt>
                <c:pt idx="2376">
                  <c:v>3.1598000000000002</c:v>
                </c:pt>
                <c:pt idx="2377">
                  <c:v>#N/A</c:v>
                </c:pt>
                <c:pt idx="2378">
                  <c:v>3.3394400000000002</c:v>
                </c:pt>
                <c:pt idx="2379">
                  <c:v>3.5799300000000001</c:v>
                </c:pt>
                <c:pt idx="2380">
                  <c:v>2.8313000000000001</c:v>
                </c:pt>
                <c:pt idx="2381">
                  <c:v>#N/A</c:v>
                </c:pt>
                <c:pt idx="2382">
                  <c:v>3.3760300000000001</c:v>
                </c:pt>
                <c:pt idx="2383">
                  <c:v>3.7767200000000001</c:v>
                </c:pt>
                <c:pt idx="2384">
                  <c:v>3.5367899999999999</c:v>
                </c:pt>
                <c:pt idx="2385">
                  <c:v>#N/A</c:v>
                </c:pt>
                <c:pt idx="2386">
                  <c:v>3.4148100000000001</c:v>
                </c:pt>
                <c:pt idx="2387">
                  <c:v>3.6238100000000002</c:v>
                </c:pt>
                <c:pt idx="2388">
                  <c:v>2.9877500000000001</c:v>
                </c:pt>
                <c:pt idx="2389">
                  <c:v>#N/A</c:v>
                </c:pt>
                <c:pt idx="2390">
                  <c:v>2.2784599999999999</c:v>
                </c:pt>
                <c:pt idx="2391">
                  <c:v>2.3238400000000001</c:v>
                </c:pt>
                <c:pt idx="2392">
                  <c:v>#N/A</c:v>
                </c:pt>
                <c:pt idx="2393">
                  <c:v>2.4402300000000001</c:v>
                </c:pt>
                <c:pt idx="2394">
                  <c:v>3.3901599999999998</c:v>
                </c:pt>
                <c:pt idx="2395">
                  <c:v>4.2354700000000003</c:v>
                </c:pt>
                <c:pt idx="2396">
                  <c:v>#N/A</c:v>
                </c:pt>
                <c:pt idx="2397">
                  <c:v>4.4744900000000003</c:v>
                </c:pt>
                <c:pt idx="2398">
                  <c:v>4.1519899999999996</c:v>
                </c:pt>
                <c:pt idx="2399">
                  <c:v>3.45506</c:v>
                </c:pt>
                <c:pt idx="2400">
                  <c:v>#N/A</c:v>
                </c:pt>
                <c:pt idx="2401">
                  <c:v>3.0429599999999999</c:v>
                </c:pt>
                <c:pt idx="2402">
                  <c:v>2.65204</c:v>
                </c:pt>
                <c:pt idx="2403">
                  <c:v>#N/A</c:v>
                </c:pt>
                <c:pt idx="2404">
                  <c:v>3.0908099999999998</c:v>
                </c:pt>
                <c:pt idx="2405">
                  <c:v>3.7304400000000002</c:v>
                </c:pt>
                <c:pt idx="2406">
                  <c:v>3.7383299999999999</c:v>
                </c:pt>
                <c:pt idx="2407">
                  <c:v>#N/A</c:v>
                </c:pt>
                <c:pt idx="2408">
                  <c:v>4.0198600000000004</c:v>
                </c:pt>
                <c:pt idx="2409">
                  <c:v>3.92137</c:v>
                </c:pt>
                <c:pt idx="2410">
                  <c:v>3.6026400000000001</c:v>
                </c:pt>
                <c:pt idx="2411">
                  <c:v>#N/A</c:v>
                </c:pt>
                <c:pt idx="2412">
                  <c:v>3.4600900000000001</c:v>
                </c:pt>
                <c:pt idx="2413">
                  <c:v>3.0897399999999999</c:v>
                </c:pt>
                <c:pt idx="2414">
                  <c:v>3.4184000000000001</c:v>
                </c:pt>
                <c:pt idx="2415">
                  <c:v>#N/A</c:v>
                </c:pt>
                <c:pt idx="2416">
                  <c:v>3.7263000000000002</c:v>
                </c:pt>
                <c:pt idx="2417">
                  <c:v>3.7681800000000001</c:v>
                </c:pt>
                <c:pt idx="2418">
                  <c:v>3.75909</c:v>
                </c:pt>
                <c:pt idx="2419">
                  <c:v>#N/A</c:v>
                </c:pt>
                <c:pt idx="2420">
                  <c:v>3.9442499999999998</c:v>
                </c:pt>
                <c:pt idx="2421">
                  <c:v>3.8672499999999999</c:v>
                </c:pt>
                <c:pt idx="2422">
                  <c:v>3.55579</c:v>
                </c:pt>
                <c:pt idx="2423">
                  <c:v>#N/A</c:v>
                </c:pt>
                <c:pt idx="2424">
                  <c:v>3.6616900000000001</c:v>
                </c:pt>
                <c:pt idx="2425">
                  <c:v>3.6783000000000001</c:v>
                </c:pt>
                <c:pt idx="2426">
                  <c:v>3.8488500000000001</c:v>
                </c:pt>
                <c:pt idx="2427">
                  <c:v>#N/A</c:v>
                </c:pt>
                <c:pt idx="2428">
                  <c:v>3.78905</c:v>
                </c:pt>
                <c:pt idx="2429">
                  <c:v>3.1758799999999998</c:v>
                </c:pt>
                <c:pt idx="2430">
                  <c:v>#N/A</c:v>
                </c:pt>
                <c:pt idx="2431">
                  <c:v>2.78288</c:v>
                </c:pt>
                <c:pt idx="2432">
                  <c:v>2.3893300000000002</c:v>
                </c:pt>
                <c:pt idx="2433">
                  <c:v>3.0734499999999998</c:v>
                </c:pt>
                <c:pt idx="2434">
                  <c:v>#N/A</c:v>
                </c:pt>
                <c:pt idx="2435">
                  <c:v>3.6152600000000001</c:v>
                </c:pt>
                <c:pt idx="2436">
                  <c:v>3.8104</c:v>
                </c:pt>
                <c:pt idx="2437">
                  <c:v>3.8834300000000002</c:v>
                </c:pt>
                <c:pt idx="2438">
                  <c:v>#N/A</c:v>
                </c:pt>
                <c:pt idx="2439">
                  <c:v>3.8167399999999998</c:v>
                </c:pt>
                <c:pt idx="2440">
                  <c:v>3.3746700000000001</c:v>
                </c:pt>
                <c:pt idx="2441">
                  <c:v>3.1428400000000001</c:v>
                </c:pt>
                <c:pt idx="2442">
                  <c:v>#N/A</c:v>
                </c:pt>
                <c:pt idx="2443">
                  <c:v>3.0541399999999999</c:v>
                </c:pt>
                <c:pt idx="2444">
                  <c:v>3.2778100000000001</c:v>
                </c:pt>
                <c:pt idx="2445">
                  <c:v>2.71563</c:v>
                </c:pt>
                <c:pt idx="2446">
                  <c:v>#N/A</c:v>
                </c:pt>
                <c:pt idx="2447">
                  <c:v>3.4909599999999998</c:v>
                </c:pt>
                <c:pt idx="2448">
                  <c:v>3.4458299999999999</c:v>
                </c:pt>
                <c:pt idx="2449">
                  <c:v>3.3853399999999998</c:v>
                </c:pt>
                <c:pt idx="2450">
                  <c:v>#N/A</c:v>
                </c:pt>
                <c:pt idx="2451">
                  <c:v>2.9417200000000001</c:v>
                </c:pt>
                <c:pt idx="2452">
                  <c:v>2.9915600000000002</c:v>
                </c:pt>
                <c:pt idx="2453">
                  <c:v>2.25678</c:v>
                </c:pt>
                <c:pt idx="2454">
                  <c:v>#N/A</c:v>
                </c:pt>
                <c:pt idx="2455">
                  <c:v>2.0155500000000002</c:v>
                </c:pt>
                <c:pt idx="2456">
                  <c:v>2.6156100000000002</c:v>
                </c:pt>
                <c:pt idx="2457">
                  <c:v>#N/A</c:v>
                </c:pt>
                <c:pt idx="2458">
                  <c:v>3.1358199999999998</c:v>
                </c:pt>
                <c:pt idx="2459">
                  <c:v>3.52223</c:v>
                </c:pt>
                <c:pt idx="2460">
                  <c:v>3.5582699999999998</c:v>
                </c:pt>
                <c:pt idx="2461">
                  <c:v>#N/A</c:v>
                </c:pt>
                <c:pt idx="2462">
                  <c:v>3.7677800000000001</c:v>
                </c:pt>
                <c:pt idx="2463">
                  <c:v>2.3391999999999999</c:v>
                </c:pt>
                <c:pt idx="2464">
                  <c:v>2.63998</c:v>
                </c:pt>
                <c:pt idx="2465">
                  <c:v>#N/A</c:v>
                </c:pt>
                <c:pt idx="2466">
                  <c:v>2.4540799999999998</c:v>
                </c:pt>
                <c:pt idx="2467">
                  <c:v>2.8134100000000002</c:v>
                </c:pt>
                <c:pt idx="2468">
                  <c:v>3.4239700000000002</c:v>
                </c:pt>
                <c:pt idx="2469">
                  <c:v>#N/A</c:v>
                </c:pt>
                <c:pt idx="2470">
                  <c:v>3.3181699999999998</c:v>
                </c:pt>
                <c:pt idx="2471">
                  <c:v>3.2755700000000001</c:v>
                </c:pt>
                <c:pt idx="2472">
                  <c:v>3.09552</c:v>
                </c:pt>
                <c:pt idx="2473">
                  <c:v>#N/A</c:v>
                </c:pt>
                <c:pt idx="2474">
                  <c:v>2.6538499999999998</c:v>
                </c:pt>
                <c:pt idx="2475">
                  <c:v>2.6951000000000001</c:v>
                </c:pt>
                <c:pt idx="2476">
                  <c:v>#N/A</c:v>
                </c:pt>
                <c:pt idx="2477">
                  <c:v>2.3195199999999998</c:v>
                </c:pt>
                <c:pt idx="2478">
                  <c:v>2.7915399999999999</c:v>
                </c:pt>
                <c:pt idx="2479">
                  <c:v>2.7698800000000001</c:v>
                </c:pt>
                <c:pt idx="2480">
                  <c:v>#N/A</c:v>
                </c:pt>
                <c:pt idx="2481">
                  <c:v>2.9344000000000001</c:v>
                </c:pt>
                <c:pt idx="2482">
                  <c:v>3.3820800000000002</c:v>
                </c:pt>
                <c:pt idx="2483">
                  <c:v>2.89052</c:v>
                </c:pt>
                <c:pt idx="2484">
                  <c:v>#N/A</c:v>
                </c:pt>
                <c:pt idx="2485">
                  <c:v>2.5078100000000001</c:v>
                </c:pt>
                <c:pt idx="2486">
                  <c:v>2.6820300000000001</c:v>
                </c:pt>
                <c:pt idx="2487">
                  <c:v>2.6398299999999999</c:v>
                </c:pt>
                <c:pt idx="2488">
                  <c:v>#N/A</c:v>
                </c:pt>
                <c:pt idx="2489">
                  <c:v>2.7453599999999998</c:v>
                </c:pt>
                <c:pt idx="2490">
                  <c:v>2.7304300000000001</c:v>
                </c:pt>
                <c:pt idx="2491">
                  <c:v>2.7766999999999999</c:v>
                </c:pt>
                <c:pt idx="2492">
                  <c:v>#N/A</c:v>
                </c:pt>
                <c:pt idx="2493">
                  <c:v>2.42692</c:v>
                </c:pt>
                <c:pt idx="2494">
                  <c:v>2.2875299999999998</c:v>
                </c:pt>
                <c:pt idx="2495">
                  <c:v>2.81995</c:v>
                </c:pt>
                <c:pt idx="2496">
                  <c:v>#N/A</c:v>
                </c:pt>
                <c:pt idx="2497">
                  <c:v>2.7098</c:v>
                </c:pt>
                <c:pt idx="2498">
                  <c:v>3.03973</c:v>
                </c:pt>
                <c:pt idx="2499">
                  <c:v>#N/A</c:v>
                </c:pt>
                <c:pt idx="2500">
                  <c:v>3.0888399999999998</c:v>
                </c:pt>
                <c:pt idx="2501">
                  <c:v>3.3591799999999998</c:v>
                </c:pt>
                <c:pt idx="2502">
                  <c:v>3.0193699999999999</c:v>
                </c:pt>
                <c:pt idx="2503">
                  <c:v>#N/A</c:v>
                </c:pt>
                <c:pt idx="2504">
                  <c:v>2.74803</c:v>
                </c:pt>
                <c:pt idx="2505">
                  <c:v>3.0976499999999998</c:v>
                </c:pt>
                <c:pt idx="2506">
                  <c:v>2.5319199999999999</c:v>
                </c:pt>
                <c:pt idx="2507">
                  <c:v>#N/A</c:v>
                </c:pt>
                <c:pt idx="2508">
                  <c:v>2.9480300000000002</c:v>
                </c:pt>
                <c:pt idx="2509">
                  <c:v>2.8152300000000001</c:v>
                </c:pt>
                <c:pt idx="2510">
                  <c:v>3.1814499999999999</c:v>
                </c:pt>
                <c:pt idx="2511">
                  <c:v>#N/A</c:v>
                </c:pt>
                <c:pt idx="2512">
                  <c:v>2.86599</c:v>
                </c:pt>
                <c:pt idx="2513">
                  <c:v>2.76973</c:v>
                </c:pt>
                <c:pt idx="2514">
                  <c:v>2.21455</c:v>
                </c:pt>
                <c:pt idx="2515">
                  <c:v>#N/A</c:v>
                </c:pt>
                <c:pt idx="2516">
                  <c:v>1.7240800000000001</c:v>
                </c:pt>
                <c:pt idx="2517">
                  <c:v>2.23122</c:v>
                </c:pt>
                <c:pt idx="2518">
                  <c:v>2.1519900000000001</c:v>
                </c:pt>
                <c:pt idx="2519">
                  <c:v>#N/A</c:v>
                </c:pt>
                <c:pt idx="2520">
                  <c:v>2.73651</c:v>
                </c:pt>
                <c:pt idx="2521">
                  <c:v>3.7646700000000002</c:v>
                </c:pt>
                <c:pt idx="2522">
                  <c:v>3.3951600000000002</c:v>
                </c:pt>
                <c:pt idx="2523">
                  <c:v>#N/A</c:v>
                </c:pt>
                <c:pt idx="2524">
                  <c:v>3.5747300000000002</c:v>
                </c:pt>
                <c:pt idx="2525">
                  <c:v>3.2330000000000001</c:v>
                </c:pt>
                <c:pt idx="2526">
                  <c:v>2.93709</c:v>
                </c:pt>
                <c:pt idx="2527">
                  <c:v>#N/A</c:v>
                </c:pt>
                <c:pt idx="2528">
                  <c:v>2.62059</c:v>
                </c:pt>
                <c:pt idx="2529">
                  <c:v>3.4484300000000001</c:v>
                </c:pt>
                <c:pt idx="2530">
                  <c:v>#N/A</c:v>
                </c:pt>
                <c:pt idx="2531">
                  <c:v>3.5866099999999999</c:v>
                </c:pt>
                <c:pt idx="2532">
                  <c:v>3.4267599999999998</c:v>
                </c:pt>
                <c:pt idx="2533">
                  <c:v>3.3323299999999998</c:v>
                </c:pt>
                <c:pt idx="2534">
                  <c:v>#N/A</c:v>
                </c:pt>
                <c:pt idx="2535">
                  <c:v>3.3253499999999998</c:v>
                </c:pt>
                <c:pt idx="2536">
                  <c:v>3.1677499999999998</c:v>
                </c:pt>
                <c:pt idx="2537">
                  <c:v>2.4679199999999999</c:v>
                </c:pt>
                <c:pt idx="2538">
                  <c:v>#N/A</c:v>
                </c:pt>
                <c:pt idx="2539">
                  <c:v>2.7787799999999998</c:v>
                </c:pt>
                <c:pt idx="2540">
                  <c:v>3.2793600000000001</c:v>
                </c:pt>
                <c:pt idx="2541">
                  <c:v>3.4125000000000001</c:v>
                </c:pt>
                <c:pt idx="2542">
                  <c:v>#N/A</c:v>
                </c:pt>
                <c:pt idx="2543">
                  <c:v>3.46896</c:v>
                </c:pt>
                <c:pt idx="2544">
                  <c:v>3.66188</c:v>
                </c:pt>
                <c:pt idx="2545">
                  <c:v>3.2494000000000001</c:v>
                </c:pt>
                <c:pt idx="2546">
                  <c:v>#N/A</c:v>
                </c:pt>
                <c:pt idx="2547">
                  <c:v>2.9271799999999999</c:v>
                </c:pt>
                <c:pt idx="2548">
                  <c:v>2.4790199999999998</c:v>
                </c:pt>
                <c:pt idx="2549">
                  <c:v>2.5141200000000001</c:v>
                </c:pt>
                <c:pt idx="2550">
                  <c:v>#N/A</c:v>
                </c:pt>
                <c:pt idx="2551">
                  <c:v>3.0813600000000001</c:v>
                </c:pt>
                <c:pt idx="2552">
                  <c:v>3.7052900000000002</c:v>
                </c:pt>
                <c:pt idx="2553">
                  <c:v>#N/A</c:v>
                </c:pt>
                <c:pt idx="2554">
                  <c:v>3.4889399999999999</c:v>
                </c:pt>
                <c:pt idx="2555">
                  <c:v>3.55044</c:v>
                </c:pt>
                <c:pt idx="2556">
                  <c:v>3.1764000000000001</c:v>
                </c:pt>
                <c:pt idx="2557">
                  <c:v>#N/A</c:v>
                </c:pt>
                <c:pt idx="2558">
                  <c:v>2.71617</c:v>
                </c:pt>
                <c:pt idx="2559">
                  <c:v>2.8607100000000001</c:v>
                </c:pt>
                <c:pt idx="2560">
                  <c:v>2.8616700000000002</c:v>
                </c:pt>
                <c:pt idx="2561">
                  <c:v>#N/A</c:v>
                </c:pt>
                <c:pt idx="2562">
                  <c:v>2.9788399999999999</c:v>
                </c:pt>
                <c:pt idx="2563">
                  <c:v>2.8896999999999999</c:v>
                </c:pt>
                <c:pt idx="2564">
                  <c:v>3.1049699999999998</c:v>
                </c:pt>
                <c:pt idx="2565">
                  <c:v>#N/A</c:v>
                </c:pt>
                <c:pt idx="2566">
                  <c:v>3.5649799999999998</c:v>
                </c:pt>
                <c:pt idx="2567">
                  <c:v>3.2241900000000001</c:v>
                </c:pt>
                <c:pt idx="2568">
                  <c:v>2.71387</c:v>
                </c:pt>
                <c:pt idx="2569">
                  <c:v>#N/A</c:v>
                </c:pt>
                <c:pt idx="2570">
                  <c:v>2.52372</c:v>
                </c:pt>
                <c:pt idx="2571">
                  <c:v>2.65035</c:v>
                </c:pt>
                <c:pt idx="2572">
                  <c:v>#N/A</c:v>
                </c:pt>
                <c:pt idx="2573">
                  <c:v>3.1154700000000002</c:v>
                </c:pt>
                <c:pt idx="2574">
                  <c:v>#N/A</c:v>
                </c:pt>
                <c:pt idx="2575">
                  <c:v>2.84396</c:v>
                </c:pt>
                <c:pt idx="2576">
                  <c:v>2.8942600000000001</c:v>
                </c:pt>
                <c:pt idx="2577">
                  <c:v>#N/A</c:v>
                </c:pt>
                <c:pt idx="2578">
                  <c:v>2.55179</c:v>
                </c:pt>
                <c:pt idx="2579">
                  <c:v>2.33066</c:v>
                </c:pt>
                <c:pt idx="2580">
                  <c:v>2.81786</c:v>
                </c:pt>
                <c:pt idx="2581">
                  <c:v>#N/A</c:v>
                </c:pt>
                <c:pt idx="2582">
                  <c:v>2.93405</c:v>
                </c:pt>
                <c:pt idx="2583">
                  <c:v>3.5840999999999998</c:v>
                </c:pt>
                <c:pt idx="2584">
                  <c:v>3.5948699999999998</c:v>
                </c:pt>
                <c:pt idx="2585">
                  <c:v>#N/A</c:v>
                </c:pt>
                <c:pt idx="2586">
                  <c:v>3.1015899999999998</c:v>
                </c:pt>
                <c:pt idx="2587">
                  <c:v>3.0577200000000002</c:v>
                </c:pt>
                <c:pt idx="2588">
                  <c:v>2.9946700000000002</c:v>
                </c:pt>
                <c:pt idx="2589">
                  <c:v>#N/A</c:v>
                </c:pt>
                <c:pt idx="2590">
                  <c:v>2.56901</c:v>
                </c:pt>
                <c:pt idx="2591">
                  <c:v>2.7578100000000001</c:v>
                </c:pt>
                <c:pt idx="2592">
                  <c:v>3.6045099999999999</c:v>
                </c:pt>
                <c:pt idx="2593">
                  <c:v>#N/A</c:v>
                </c:pt>
                <c:pt idx="2594">
                  <c:v>3.5811299999999999</c:v>
                </c:pt>
                <c:pt idx="2595">
                  <c:v>3.3411200000000001</c:v>
                </c:pt>
                <c:pt idx="2596">
                  <c:v>#N/A</c:v>
                </c:pt>
                <c:pt idx="2597">
                  <c:v>2.6706799999999999</c:v>
                </c:pt>
                <c:pt idx="2598">
                  <c:v>3.0087100000000002</c:v>
                </c:pt>
                <c:pt idx="2599">
                  <c:v>1.794</c:v>
                </c:pt>
                <c:pt idx="2600">
                  <c:v>#N/A</c:v>
                </c:pt>
                <c:pt idx="2601">
                  <c:v>2.2385100000000002</c:v>
                </c:pt>
                <c:pt idx="2602">
                  <c:v>2.3370799999999998</c:v>
                </c:pt>
                <c:pt idx="2603">
                  <c:v>2.9222800000000002</c:v>
                </c:pt>
                <c:pt idx="2604">
                  <c:v>#N/A</c:v>
                </c:pt>
                <c:pt idx="2605">
                  <c:v>4.0451199999999998</c:v>
                </c:pt>
                <c:pt idx="2606">
                  <c:v>4.0052899999999996</c:v>
                </c:pt>
                <c:pt idx="2607">
                  <c:v>3.42144</c:v>
                </c:pt>
                <c:pt idx="2608">
                  <c:v>#N/A</c:v>
                </c:pt>
                <c:pt idx="2609">
                  <c:v>3.0901100000000001</c:v>
                </c:pt>
                <c:pt idx="2610">
                  <c:v>2.7202500000000001</c:v>
                </c:pt>
                <c:pt idx="2611">
                  <c:v>2.5660500000000002</c:v>
                </c:pt>
                <c:pt idx="2612">
                  <c:v>#N/A</c:v>
                </c:pt>
                <c:pt idx="2613">
                  <c:v>2.6093799999999998</c:v>
                </c:pt>
                <c:pt idx="2614">
                  <c:v>2.65781</c:v>
                </c:pt>
                <c:pt idx="2615">
                  <c:v>3.2865500000000001</c:v>
                </c:pt>
                <c:pt idx="2616">
                  <c:v>#N/A</c:v>
                </c:pt>
                <c:pt idx="2617">
                  <c:v>3.2715100000000001</c:v>
                </c:pt>
                <c:pt idx="2618">
                  <c:v>3.7572800000000002</c:v>
                </c:pt>
                <c:pt idx="2619">
                  <c:v>2.8737699999999999</c:v>
                </c:pt>
                <c:pt idx="2620">
                  <c:v>#N/A</c:v>
                </c:pt>
                <c:pt idx="2621">
                  <c:v>2.4828399999999999</c:v>
                </c:pt>
                <c:pt idx="2622">
                  <c:v>2.39236</c:v>
                </c:pt>
                <c:pt idx="2623">
                  <c:v>2.4401299999999999</c:v>
                </c:pt>
                <c:pt idx="2624">
                  <c:v>#N/A</c:v>
                </c:pt>
                <c:pt idx="2625">
                  <c:v>2.5086200000000001</c:v>
                </c:pt>
                <c:pt idx="2626">
                  <c:v>2.8705400000000001</c:v>
                </c:pt>
                <c:pt idx="2627">
                  <c:v>#N/A</c:v>
                </c:pt>
                <c:pt idx="2628">
                  <c:v>3.1197699999999999</c:v>
                </c:pt>
                <c:pt idx="2629">
                  <c:v>2.9552100000000001</c:v>
                </c:pt>
                <c:pt idx="2630">
                  <c:v>3.1770100000000001</c:v>
                </c:pt>
                <c:pt idx="2631">
                  <c:v>#N/A</c:v>
                </c:pt>
                <c:pt idx="2632">
                  <c:v>2.6380499999999998</c:v>
                </c:pt>
                <c:pt idx="2633">
                  <c:v>2.48611</c:v>
                </c:pt>
                <c:pt idx="2634">
                  <c:v>3.4051</c:v>
                </c:pt>
                <c:pt idx="2635">
                  <c:v>#N/A</c:v>
                </c:pt>
                <c:pt idx="2636">
                  <c:v>3.27521</c:v>
                </c:pt>
                <c:pt idx="2637">
                  <c:v>2.8130299999999999</c:v>
                </c:pt>
                <c:pt idx="2638">
                  <c:v>2.5035099999999999</c:v>
                </c:pt>
                <c:pt idx="2639">
                  <c:v>#N/A</c:v>
                </c:pt>
                <c:pt idx="2640">
                  <c:v>2.6032299999999999</c:v>
                </c:pt>
                <c:pt idx="2641">
                  <c:v>2.5256099999999999</c:v>
                </c:pt>
                <c:pt idx="2642">
                  <c:v>2.4695100000000001</c:v>
                </c:pt>
                <c:pt idx="2643">
                  <c:v>#N/A</c:v>
                </c:pt>
                <c:pt idx="2644">
                  <c:v>3.0849099999999998</c:v>
                </c:pt>
                <c:pt idx="2645">
                  <c:v>3.1777099999999998</c:v>
                </c:pt>
                <c:pt idx="2646">
                  <c:v>3.6587399999999999</c:v>
                </c:pt>
                <c:pt idx="2647">
                  <c:v>#N/A</c:v>
                </c:pt>
                <c:pt idx="2648">
                  <c:v>3.5235400000000001</c:v>
                </c:pt>
                <c:pt idx="2649">
                  <c:v>3.2492999999999999</c:v>
                </c:pt>
                <c:pt idx="2650">
                  <c:v>#N/A</c:v>
                </c:pt>
                <c:pt idx="2651">
                  <c:v>2.3657499999999998</c:v>
                </c:pt>
                <c:pt idx="2652">
                  <c:v>#N/A</c:v>
                </c:pt>
                <c:pt idx="2653">
                  <c:v>2.7133500000000002</c:v>
                </c:pt>
                <c:pt idx="2654">
                  <c:v>2.4022100000000002</c:v>
                </c:pt>
                <c:pt idx="2655">
                  <c:v>#N/A</c:v>
                </c:pt>
                <c:pt idx="2656">
                  <c:v>2.9615399999999998</c:v>
                </c:pt>
                <c:pt idx="2657">
                  <c:v>3.3210199999999999</c:v>
                </c:pt>
                <c:pt idx="2658">
                  <c:v>3.31793</c:v>
                </c:pt>
                <c:pt idx="2659">
                  <c:v>#N/A</c:v>
                </c:pt>
                <c:pt idx="2660">
                  <c:v>2.3590800000000001</c:v>
                </c:pt>
                <c:pt idx="2661">
                  <c:v>1.82803</c:v>
                </c:pt>
                <c:pt idx="2662">
                  <c:v>1.7679400000000001</c:v>
                </c:pt>
                <c:pt idx="2663">
                  <c:v>#N/A</c:v>
                </c:pt>
                <c:pt idx="2664">
                  <c:v>2.32063</c:v>
                </c:pt>
                <c:pt idx="2665">
                  <c:v>2.5679799999999999</c:v>
                </c:pt>
                <c:pt idx="2666">
                  <c:v>3.2791100000000002</c:v>
                </c:pt>
                <c:pt idx="2667">
                  <c:v>#N/A</c:v>
                </c:pt>
                <c:pt idx="2668">
                  <c:v>3.5894900000000001</c:v>
                </c:pt>
                <c:pt idx="2669">
                  <c:v>3.4420600000000001</c:v>
                </c:pt>
                <c:pt idx="2670">
                  <c:v>3.2909899999999999</c:v>
                </c:pt>
                <c:pt idx="2671">
                  <c:v>#N/A</c:v>
                </c:pt>
                <c:pt idx="2672">
                  <c:v>2.7618</c:v>
                </c:pt>
                <c:pt idx="2673">
                  <c:v>2.1810399999999999</c:v>
                </c:pt>
                <c:pt idx="2674">
                  <c:v>2.1136599999999999</c:v>
                </c:pt>
                <c:pt idx="2675">
                  <c:v>#N/A</c:v>
                </c:pt>
                <c:pt idx="2676">
                  <c:v>2.9542299999999999</c:v>
                </c:pt>
                <c:pt idx="2677">
                  <c:v>3.1946300000000001</c:v>
                </c:pt>
                <c:pt idx="2678">
                  <c:v>3.1241599999999998</c:v>
                </c:pt>
                <c:pt idx="2679">
                  <c:v>#N/A</c:v>
                </c:pt>
                <c:pt idx="2680">
                  <c:v>2.8079700000000001</c:v>
                </c:pt>
                <c:pt idx="2681">
                  <c:v>2.3744000000000001</c:v>
                </c:pt>
                <c:pt idx="2682">
                  <c:v>2.0266500000000001</c:v>
                </c:pt>
                <c:pt idx="2683">
                  <c:v>#N/A</c:v>
                </c:pt>
                <c:pt idx="2684">
                  <c:v>1.7634099999999999</c:v>
                </c:pt>
                <c:pt idx="2685">
                  <c:v>1.65361</c:v>
                </c:pt>
                <c:pt idx="2686">
                  <c:v>#N/A</c:v>
                </c:pt>
                <c:pt idx="2687">
                  <c:v>2.50928</c:v>
                </c:pt>
                <c:pt idx="2688">
                  <c:v>3.7839299999999998</c:v>
                </c:pt>
                <c:pt idx="2689">
                  <c:v>3.4591599999999998</c:v>
                </c:pt>
                <c:pt idx="2690">
                  <c:v>#N/A</c:v>
                </c:pt>
                <c:pt idx="2691">
                  <c:v>2.9434999999999998</c:v>
                </c:pt>
                <c:pt idx="2692">
                  <c:v>2.6945000000000001</c:v>
                </c:pt>
                <c:pt idx="2693">
                  <c:v>2.5108199999999998</c:v>
                </c:pt>
                <c:pt idx="2694">
                  <c:v>#N/A</c:v>
                </c:pt>
                <c:pt idx="2695">
                  <c:v>2.0108100000000002</c:v>
                </c:pt>
                <c:pt idx="2696">
                  <c:v>1.9609099999999999</c:v>
                </c:pt>
                <c:pt idx="2697">
                  <c:v>2.3908700000000001</c:v>
                </c:pt>
                <c:pt idx="2698">
                  <c:v>#N/A</c:v>
                </c:pt>
                <c:pt idx="2699">
                  <c:v>2.7610700000000001</c:v>
                </c:pt>
                <c:pt idx="2700">
                  <c:v>2.33738</c:v>
                </c:pt>
                <c:pt idx="2701">
                  <c:v>2.4026399999999999</c:v>
                </c:pt>
                <c:pt idx="2702">
                  <c:v>#N/A</c:v>
                </c:pt>
                <c:pt idx="2703">
                  <c:v>2.27264</c:v>
                </c:pt>
                <c:pt idx="2704">
                  <c:v>1.9816</c:v>
                </c:pt>
                <c:pt idx="2705">
                  <c:v>2.2613799999999999</c:v>
                </c:pt>
                <c:pt idx="2706">
                  <c:v>#N/A</c:v>
                </c:pt>
                <c:pt idx="2707">
                  <c:v>2.4958999999999998</c:v>
                </c:pt>
                <c:pt idx="2708">
                  <c:v>2.7078700000000002</c:v>
                </c:pt>
                <c:pt idx="2709">
                  <c:v>#N/A</c:v>
                </c:pt>
                <c:pt idx="2710">
                  <c:v>2.72234</c:v>
                </c:pt>
                <c:pt idx="2711">
                  <c:v>2.68384</c:v>
                </c:pt>
                <c:pt idx="2712">
                  <c:v>2.4746800000000002</c:v>
                </c:pt>
                <c:pt idx="2713">
                  <c:v>#N/A</c:v>
                </c:pt>
                <c:pt idx="2714">
                  <c:v>3.0009100000000002</c:v>
                </c:pt>
                <c:pt idx="2715">
                  <c:v>2.8252600000000001</c:v>
                </c:pt>
                <c:pt idx="2716">
                  <c:v>3.0891999999999999</c:v>
                </c:pt>
                <c:pt idx="2717">
                  <c:v>#N/A</c:v>
                </c:pt>
                <c:pt idx="2718">
                  <c:v>2.9338500000000001</c:v>
                </c:pt>
                <c:pt idx="2719">
                  <c:v>3.1408999999999998</c:v>
                </c:pt>
                <c:pt idx="2720">
                  <c:v>2.5304700000000002</c:v>
                </c:pt>
                <c:pt idx="2721">
                  <c:v>#N/A</c:v>
                </c:pt>
                <c:pt idx="2722">
                  <c:v>2.34382</c:v>
                </c:pt>
                <c:pt idx="2723">
                  <c:v>1.6806000000000001</c:v>
                </c:pt>
                <c:pt idx="2724">
                  <c:v>#N/A</c:v>
                </c:pt>
                <c:pt idx="2725">
                  <c:v>1.67696</c:v>
                </c:pt>
                <c:pt idx="2726">
                  <c:v>#N/A</c:v>
                </c:pt>
                <c:pt idx="2727">
                  <c:v>2.16073</c:v>
                </c:pt>
                <c:pt idx="2728">
                  <c:v>2.71</c:v>
                </c:pt>
                <c:pt idx="2729">
                  <c:v>#N/A</c:v>
                </c:pt>
                <c:pt idx="2730">
                  <c:v>3.4114800000000001</c:v>
                </c:pt>
                <c:pt idx="2731">
                  <c:v>3.5591699999999999</c:v>
                </c:pt>
                <c:pt idx="2732">
                  <c:v>#N/A</c:v>
                </c:pt>
                <c:pt idx="2733">
                  <c:v>2.82396</c:v>
                </c:pt>
                <c:pt idx="2734">
                  <c:v>2.1075900000000001</c:v>
                </c:pt>
                <c:pt idx="2735">
                  <c:v>2.1154899999999999</c:v>
                </c:pt>
                <c:pt idx="2736">
                  <c:v>#N/A</c:v>
                </c:pt>
                <c:pt idx="2737">
                  <c:v>2.4226299999999998</c:v>
                </c:pt>
                <c:pt idx="2738">
                  <c:v>2.5881400000000001</c:v>
                </c:pt>
                <c:pt idx="2739">
                  <c:v>3.0706500000000001</c:v>
                </c:pt>
                <c:pt idx="2740">
                  <c:v>#N/A</c:v>
                </c:pt>
                <c:pt idx="2741">
                  <c:v>3.11497</c:v>
                </c:pt>
                <c:pt idx="2742">
                  <c:v>3.7269999999999999</c:v>
                </c:pt>
                <c:pt idx="2743">
                  <c:v>3.3273600000000001</c:v>
                </c:pt>
                <c:pt idx="2744">
                  <c:v>#N/A</c:v>
                </c:pt>
                <c:pt idx="2745">
                  <c:v>2.3142200000000002</c:v>
                </c:pt>
                <c:pt idx="2746">
                  <c:v>2.0556399999999999</c:v>
                </c:pt>
                <c:pt idx="2747">
                  <c:v>1.77081</c:v>
                </c:pt>
                <c:pt idx="2748">
                  <c:v>#N/A</c:v>
                </c:pt>
                <c:pt idx="2749">
                  <c:v>2.3339400000000001</c:v>
                </c:pt>
                <c:pt idx="2750">
                  <c:v>3.1535299999999999</c:v>
                </c:pt>
                <c:pt idx="2751">
                  <c:v>3.5597799999999999</c:v>
                </c:pt>
                <c:pt idx="2752">
                  <c:v>#N/A</c:v>
                </c:pt>
                <c:pt idx="2753">
                  <c:v>3.3160699999999999</c:v>
                </c:pt>
                <c:pt idx="2754">
                  <c:v>3.2096499999999999</c:v>
                </c:pt>
                <c:pt idx="2755">
                  <c:v>#N/A</c:v>
                </c:pt>
                <c:pt idx="2756">
                  <c:v>2.1389</c:v>
                </c:pt>
                <c:pt idx="2757">
                  <c:v>1.6226</c:v>
                </c:pt>
                <c:pt idx="2758">
                  <c:v>1.7521899999999999</c:v>
                </c:pt>
                <c:pt idx="2759">
                  <c:v>#N/A</c:v>
                </c:pt>
                <c:pt idx="2760">
                  <c:v>2.32063</c:v>
                </c:pt>
                <c:pt idx="2761">
                  <c:v>3.3077299999999998</c:v>
                </c:pt>
                <c:pt idx="2762">
                  <c:v>3.18736</c:v>
                </c:pt>
                <c:pt idx="2763">
                  <c:v>#N/A</c:v>
                </c:pt>
                <c:pt idx="2764">
                  <c:v>3.0287000000000002</c:v>
                </c:pt>
                <c:pt idx="2765">
                  <c:v>2.3016299999999998</c:v>
                </c:pt>
                <c:pt idx="2766">
                  <c:v>#N/A</c:v>
                </c:pt>
                <c:pt idx="2767">
                  <c:v>1.7670999999999999</c:v>
                </c:pt>
                <c:pt idx="2768">
                  <c:v>2.0315599999999998</c:v>
                </c:pt>
                <c:pt idx="2769">
                  <c:v>2.5196200000000002</c:v>
                </c:pt>
                <c:pt idx="2770">
                  <c:v>#N/A</c:v>
                </c:pt>
                <c:pt idx="2771">
                  <c:v>2.9262800000000002</c:v>
                </c:pt>
                <c:pt idx="2772">
                  <c:v>3.2447599999999999</c:v>
                </c:pt>
                <c:pt idx="2773">
                  <c:v>3.23244</c:v>
                </c:pt>
                <c:pt idx="2774">
                  <c:v>#N/A</c:v>
                </c:pt>
                <c:pt idx="2775">
                  <c:v>3.4737300000000002</c:v>
                </c:pt>
                <c:pt idx="2776">
                  <c:v>3.45886</c:v>
                </c:pt>
                <c:pt idx="2777">
                  <c:v>#N/A</c:v>
                </c:pt>
                <c:pt idx="2778">
                  <c:v>2.7597499999999999</c:v>
                </c:pt>
                <c:pt idx="2779">
                  <c:v>2.3274400000000002</c:v>
                </c:pt>
                <c:pt idx="2780">
                  <c:v>3.0326499999999998</c:v>
                </c:pt>
                <c:pt idx="2781">
                  <c:v>#N/A</c:v>
                </c:pt>
                <c:pt idx="2782">
                  <c:v>2.9381200000000001</c:v>
                </c:pt>
                <c:pt idx="2783">
                  <c:v>2.7914699999999999</c:v>
                </c:pt>
                <c:pt idx="2784">
                  <c:v>2.5068600000000001</c:v>
                </c:pt>
                <c:pt idx="2785">
                  <c:v>#N/A</c:v>
                </c:pt>
                <c:pt idx="2786">
                  <c:v>2.6540599999999999</c:v>
                </c:pt>
                <c:pt idx="2787">
                  <c:v>2.6300699999999999</c:v>
                </c:pt>
                <c:pt idx="2788">
                  <c:v>2.6795300000000002</c:v>
                </c:pt>
                <c:pt idx="2789">
                  <c:v>#N/A</c:v>
                </c:pt>
                <c:pt idx="2790">
                  <c:v>2.4333399999999998</c:v>
                </c:pt>
                <c:pt idx="2791">
                  <c:v>2.8091699999999999</c:v>
                </c:pt>
                <c:pt idx="2792">
                  <c:v>3.1438799999999998</c:v>
                </c:pt>
                <c:pt idx="2793">
                  <c:v>#N/A</c:v>
                </c:pt>
                <c:pt idx="2794">
                  <c:v>3.26573</c:v>
                </c:pt>
                <c:pt idx="2795">
                  <c:v>2.78485</c:v>
                </c:pt>
                <c:pt idx="2796">
                  <c:v>2.71522</c:v>
                </c:pt>
                <c:pt idx="2797">
                  <c:v>#N/A</c:v>
                </c:pt>
                <c:pt idx="2798">
                  <c:v>2.58325</c:v>
                </c:pt>
                <c:pt idx="2799">
                  <c:v>2.54793</c:v>
                </c:pt>
                <c:pt idx="2800">
                  <c:v>#N/A</c:v>
                </c:pt>
                <c:pt idx="2801">
                  <c:v>2.6424500000000002</c:v>
                </c:pt>
                <c:pt idx="2802">
                  <c:v>2.97777</c:v>
                </c:pt>
                <c:pt idx="2803">
                  <c:v>3.1106799999999999</c:v>
                </c:pt>
                <c:pt idx="2804">
                  <c:v>#N/A</c:v>
                </c:pt>
                <c:pt idx="2805">
                  <c:v>2.3630900000000001</c:v>
                </c:pt>
                <c:pt idx="2806">
                  <c:v>2.19537</c:v>
                </c:pt>
                <c:pt idx="2807">
                  <c:v>1.57301</c:v>
                </c:pt>
                <c:pt idx="2808">
                  <c:v>#N/A</c:v>
                </c:pt>
                <c:pt idx="2809">
                  <c:v>2.3330099999999998</c:v>
                </c:pt>
                <c:pt idx="2810">
                  <c:v>2.5995499999999998</c:v>
                </c:pt>
                <c:pt idx="2811">
                  <c:v>3.0020600000000002</c:v>
                </c:pt>
                <c:pt idx="2812">
                  <c:v>#N/A</c:v>
                </c:pt>
                <c:pt idx="2813">
                  <c:v>3.1798600000000001</c:v>
                </c:pt>
                <c:pt idx="2814">
                  <c:v>3.36924</c:v>
                </c:pt>
                <c:pt idx="2815">
                  <c:v>3.4304600000000001</c:v>
                </c:pt>
                <c:pt idx="2816">
                  <c:v>#N/A</c:v>
                </c:pt>
                <c:pt idx="2817">
                  <c:v>2.1462599999999998</c:v>
                </c:pt>
                <c:pt idx="2818">
                  <c:v>2.4921799999999998</c:v>
                </c:pt>
                <c:pt idx="2819">
                  <c:v>2.3210299999999999</c:v>
                </c:pt>
                <c:pt idx="2820">
                  <c:v>#N/A</c:v>
                </c:pt>
                <c:pt idx="2821">
                  <c:v>2.15977</c:v>
                </c:pt>
                <c:pt idx="2822">
                  <c:v>2.70533</c:v>
                </c:pt>
                <c:pt idx="2823">
                  <c:v>3.09727</c:v>
                </c:pt>
                <c:pt idx="2824">
                  <c:v>#N/A</c:v>
                </c:pt>
                <c:pt idx="2825">
                  <c:v>3.4577499999999999</c:v>
                </c:pt>
                <c:pt idx="2826">
                  <c:v>3.1987399999999999</c:v>
                </c:pt>
                <c:pt idx="2827">
                  <c:v>#N/A</c:v>
                </c:pt>
                <c:pt idx="2828">
                  <c:v>2.9056299999999999</c:v>
                </c:pt>
                <c:pt idx="2829">
                  <c:v>2.47112</c:v>
                </c:pt>
                <c:pt idx="2830">
                  <c:v>2.0497299999999998</c:v>
                </c:pt>
                <c:pt idx="2831">
                  <c:v>#N/A</c:v>
                </c:pt>
                <c:pt idx="2832">
                  <c:v>2.1554600000000002</c:v>
                </c:pt>
                <c:pt idx="2833">
                  <c:v>2.1917300000000002</c:v>
                </c:pt>
                <c:pt idx="2834">
                  <c:v>3.19374</c:v>
                </c:pt>
                <c:pt idx="2835">
                  <c:v>#N/A</c:v>
                </c:pt>
                <c:pt idx="2836">
                  <c:v>3.25759</c:v>
                </c:pt>
                <c:pt idx="2837">
                  <c:v>3.31229</c:v>
                </c:pt>
                <c:pt idx="2838">
                  <c:v>2.8253499999999998</c:v>
                </c:pt>
                <c:pt idx="2839">
                  <c:v>#N/A</c:v>
                </c:pt>
                <c:pt idx="2840">
                  <c:v>2.26709</c:v>
                </c:pt>
                <c:pt idx="2841">
                  <c:v>2.4890500000000002</c:v>
                </c:pt>
                <c:pt idx="2842">
                  <c:v>2.1442299999999999</c:v>
                </c:pt>
                <c:pt idx="2843">
                  <c:v>#N/A</c:v>
                </c:pt>
                <c:pt idx="2844">
                  <c:v>2.4666600000000001</c:v>
                </c:pt>
                <c:pt idx="2845">
                  <c:v>2.6481499999999998</c:v>
                </c:pt>
                <c:pt idx="2846">
                  <c:v>3.2414000000000001</c:v>
                </c:pt>
                <c:pt idx="2847">
                  <c:v>#N/A</c:v>
                </c:pt>
                <c:pt idx="2848">
                  <c:v>3.2117599999999999</c:v>
                </c:pt>
                <c:pt idx="2849">
                  <c:v>2.9880599999999999</c:v>
                </c:pt>
                <c:pt idx="2850">
                  <c:v>2.4993099999999999</c:v>
                </c:pt>
                <c:pt idx="2851">
                  <c:v>#N/A</c:v>
                </c:pt>
                <c:pt idx="2852">
                  <c:v>2.35392</c:v>
                </c:pt>
                <c:pt idx="2853">
                  <c:v>2.4744600000000001</c:v>
                </c:pt>
                <c:pt idx="2854">
                  <c:v>#N/A</c:v>
                </c:pt>
                <c:pt idx="2855">
                  <c:v>2.7865000000000002</c:v>
                </c:pt>
                <c:pt idx="2856">
                  <c:v>2.8004699999999998</c:v>
                </c:pt>
                <c:pt idx="2857">
                  <c:v>3.2523200000000001</c:v>
                </c:pt>
                <c:pt idx="2858">
                  <c:v>#N/A</c:v>
                </c:pt>
                <c:pt idx="2859">
                  <c:v>3.23319</c:v>
                </c:pt>
                <c:pt idx="2860">
                  <c:v>3.0469900000000001</c:v>
                </c:pt>
                <c:pt idx="2861">
                  <c:v>2.7441</c:v>
                </c:pt>
                <c:pt idx="2862">
                  <c:v>#N/A</c:v>
                </c:pt>
                <c:pt idx="2863">
                  <c:v>2.45642</c:v>
                </c:pt>
                <c:pt idx="2864">
                  <c:v>3.1528999999999998</c:v>
                </c:pt>
                <c:pt idx="2865">
                  <c:v>3.6038800000000002</c:v>
                </c:pt>
                <c:pt idx="2866">
                  <c:v>#N/A</c:v>
                </c:pt>
                <c:pt idx="2867">
                  <c:v>3.2397399999999998</c:v>
                </c:pt>
                <c:pt idx="2868">
                  <c:v>2.8909199999999999</c:v>
                </c:pt>
                <c:pt idx="2869">
                  <c:v>#N/A</c:v>
                </c:pt>
                <c:pt idx="2870">
                  <c:v>2.4476599999999999</c:v>
                </c:pt>
                <c:pt idx="2871">
                  <c:v>2.4241600000000001</c:v>
                </c:pt>
                <c:pt idx="2872">
                  <c:v>2.5180899999999999</c:v>
                </c:pt>
                <c:pt idx="2873">
                  <c:v>#N/A</c:v>
                </c:pt>
                <c:pt idx="2874">
                  <c:v>2.5873699999999999</c:v>
                </c:pt>
                <c:pt idx="2875">
                  <c:v>#N/A</c:v>
                </c:pt>
                <c:pt idx="2876">
                  <c:v>3.0138799999999999</c:v>
                </c:pt>
                <c:pt idx="2877">
                  <c:v>2.94821</c:v>
                </c:pt>
                <c:pt idx="2878">
                  <c:v>#N/A</c:v>
                </c:pt>
                <c:pt idx="2879">
                  <c:v>2.7258599999999999</c:v>
                </c:pt>
                <c:pt idx="2880">
                  <c:v>2.9843299999999999</c:v>
                </c:pt>
                <c:pt idx="2881">
                  <c:v>#N/A</c:v>
                </c:pt>
                <c:pt idx="2882">
                  <c:v>2.6964199999999998</c:v>
                </c:pt>
                <c:pt idx="2883">
                  <c:v>2.6161099999999999</c:v>
                </c:pt>
                <c:pt idx="2884">
                  <c:v>2.9361000000000002</c:v>
                </c:pt>
                <c:pt idx="2885">
                  <c:v>#N/A</c:v>
                </c:pt>
                <c:pt idx="2886">
                  <c:v>3.3098999999999998</c:v>
                </c:pt>
                <c:pt idx="2887">
                  <c:v>2.85127</c:v>
                </c:pt>
                <c:pt idx="2888">
                  <c:v>3.2303199999999999</c:v>
                </c:pt>
                <c:pt idx="2889">
                  <c:v>#N/A</c:v>
                </c:pt>
                <c:pt idx="2890">
                  <c:v>2.7173799999999999</c:v>
                </c:pt>
                <c:pt idx="2891">
                  <c:v>2.67944</c:v>
                </c:pt>
                <c:pt idx="2892">
                  <c:v>2.8453900000000001</c:v>
                </c:pt>
                <c:pt idx="2893">
                  <c:v>#N/A</c:v>
                </c:pt>
                <c:pt idx="2894">
                  <c:v>2.5388799999999998</c:v>
                </c:pt>
                <c:pt idx="2895">
                  <c:v>3.3163299999999998</c:v>
                </c:pt>
                <c:pt idx="2896">
                  <c:v>3.31501</c:v>
                </c:pt>
                <c:pt idx="2897">
                  <c:v>#N/A</c:v>
                </c:pt>
                <c:pt idx="2898">
                  <c:v>4.1404800000000002</c:v>
                </c:pt>
                <c:pt idx="2899">
                  <c:v>3.35907</c:v>
                </c:pt>
                <c:pt idx="2900">
                  <c:v>2.9851899999999998</c:v>
                </c:pt>
                <c:pt idx="2901">
                  <c:v>#N/A</c:v>
                </c:pt>
                <c:pt idx="2902">
                  <c:v>2.9400300000000001</c:v>
                </c:pt>
                <c:pt idx="2903">
                  <c:v>2.53647</c:v>
                </c:pt>
                <c:pt idx="2904">
                  <c:v>#N/A</c:v>
                </c:pt>
                <c:pt idx="2905">
                  <c:v>2.39181</c:v>
                </c:pt>
                <c:pt idx="2906">
                  <c:v>3.3085900000000001</c:v>
                </c:pt>
                <c:pt idx="2907">
                  <c:v>3.2965</c:v>
                </c:pt>
                <c:pt idx="2908">
                  <c:v>#N/A</c:v>
                </c:pt>
                <c:pt idx="2909">
                  <c:v>3.4779200000000001</c:v>
                </c:pt>
                <c:pt idx="2910">
                  <c:v>3.33718</c:v>
                </c:pt>
                <c:pt idx="2911">
                  <c:v>2.49119</c:v>
                </c:pt>
                <c:pt idx="2912">
                  <c:v>#N/A</c:v>
                </c:pt>
                <c:pt idx="2913">
                  <c:v>1.9510400000000001</c:v>
                </c:pt>
                <c:pt idx="2914">
                  <c:v>2.56602</c:v>
                </c:pt>
                <c:pt idx="2915">
                  <c:v>2.6063499999999999</c:v>
                </c:pt>
                <c:pt idx="2916">
                  <c:v>#N/A</c:v>
                </c:pt>
                <c:pt idx="2917">
                  <c:v>2.50366</c:v>
                </c:pt>
                <c:pt idx="2918">
                  <c:v>3.3525</c:v>
                </c:pt>
                <c:pt idx="2919">
                  <c:v>3.4040599999999999</c:v>
                </c:pt>
                <c:pt idx="2920">
                  <c:v>#N/A</c:v>
                </c:pt>
                <c:pt idx="2921">
                  <c:v>3.3924300000000001</c:v>
                </c:pt>
                <c:pt idx="2922">
                  <c:v>2.9802900000000001</c:v>
                </c:pt>
                <c:pt idx="2923">
                  <c:v>2.5649600000000001</c:v>
                </c:pt>
                <c:pt idx="2924">
                  <c:v>#N/A</c:v>
                </c:pt>
                <c:pt idx="2925">
                  <c:v>2.5472600000000001</c:v>
                </c:pt>
                <c:pt idx="2926">
                  <c:v>2.37677</c:v>
                </c:pt>
                <c:pt idx="2927">
                  <c:v>#N/A</c:v>
                </c:pt>
                <c:pt idx="2928">
                  <c:v>2.4667300000000001</c:v>
                </c:pt>
                <c:pt idx="2929">
                  <c:v>2.4348999999999998</c:v>
                </c:pt>
                <c:pt idx="2930">
                  <c:v>3.2896800000000002</c:v>
                </c:pt>
                <c:pt idx="2931">
                  <c:v>#N/A</c:v>
                </c:pt>
                <c:pt idx="2932">
                  <c:v>3.0192899999999998</c:v>
                </c:pt>
                <c:pt idx="2933">
                  <c:v>2.47783</c:v>
                </c:pt>
                <c:pt idx="2934">
                  <c:v>2.3473000000000002</c:v>
                </c:pt>
                <c:pt idx="2935">
                  <c:v>#N/A</c:v>
                </c:pt>
                <c:pt idx="2936">
                  <c:v>1.8821099999999999</c:v>
                </c:pt>
                <c:pt idx="2937">
                  <c:v>2.3333300000000001</c:v>
                </c:pt>
                <c:pt idx="2938">
                  <c:v>2.4974500000000002</c:v>
                </c:pt>
                <c:pt idx="2939">
                  <c:v>#N/A</c:v>
                </c:pt>
                <c:pt idx="2940">
                  <c:v>2.6338699999999999</c:v>
                </c:pt>
                <c:pt idx="2941">
                  <c:v>2.4264800000000002</c:v>
                </c:pt>
                <c:pt idx="2942">
                  <c:v>#N/A</c:v>
                </c:pt>
                <c:pt idx="2943">
                  <c:v>2.0789800000000001</c:v>
                </c:pt>
                <c:pt idx="2944">
                  <c:v>2.45702</c:v>
                </c:pt>
                <c:pt idx="2945">
                  <c:v>2.7779199999999999</c:v>
                </c:pt>
                <c:pt idx="2946">
                  <c:v>#N/A</c:v>
                </c:pt>
                <c:pt idx="2947">
                  <c:v>2.6840899999999999</c:v>
                </c:pt>
                <c:pt idx="2948">
                  <c:v>3.0358299999999998</c:v>
                </c:pt>
                <c:pt idx="2949">
                  <c:v>#N/A</c:v>
                </c:pt>
                <c:pt idx="2950">
                  <c:v>3.34212</c:v>
                </c:pt>
                <c:pt idx="2951">
                  <c:v>2.5163099999999998</c:v>
                </c:pt>
                <c:pt idx="2952">
                  <c:v>#N/A</c:v>
                </c:pt>
                <c:pt idx="2953">
                  <c:v>3.0330599999999999</c:v>
                </c:pt>
                <c:pt idx="2954">
                  <c:v>2.2968700000000002</c:v>
                </c:pt>
                <c:pt idx="2955">
                  <c:v>2.1595800000000001</c:v>
                </c:pt>
                <c:pt idx="2956">
                  <c:v>#N/A</c:v>
                </c:pt>
                <c:pt idx="2957">
                  <c:v>2.47573</c:v>
                </c:pt>
                <c:pt idx="2958">
                  <c:v>3.03579</c:v>
                </c:pt>
                <c:pt idx="2959">
                  <c:v>#N/A</c:v>
                </c:pt>
                <c:pt idx="2960">
                  <c:v>3.25528</c:v>
                </c:pt>
                <c:pt idx="2961">
                  <c:v>3.4775800000000001</c:v>
                </c:pt>
                <c:pt idx="2962">
                  <c:v>3.2052399999999999</c:v>
                </c:pt>
                <c:pt idx="2963">
                  <c:v>#N/A</c:v>
                </c:pt>
                <c:pt idx="2964">
                  <c:v>3.19353</c:v>
                </c:pt>
                <c:pt idx="2965">
                  <c:v>3.00963</c:v>
                </c:pt>
                <c:pt idx="2966">
                  <c:v>2.4120200000000001</c:v>
                </c:pt>
                <c:pt idx="2967">
                  <c:v>#N/A</c:v>
                </c:pt>
                <c:pt idx="2968">
                  <c:v>1.9965599999999999</c:v>
                </c:pt>
                <c:pt idx="2969">
                  <c:v>2.6901000000000002</c:v>
                </c:pt>
                <c:pt idx="2970">
                  <c:v>3.3632200000000001</c:v>
                </c:pt>
                <c:pt idx="2971">
                  <c:v>#N/A</c:v>
                </c:pt>
                <c:pt idx="2972">
                  <c:v>3.4304600000000001</c:v>
                </c:pt>
                <c:pt idx="2973">
                  <c:v>3.3998699999999999</c:v>
                </c:pt>
                <c:pt idx="2974">
                  <c:v>3.0185300000000002</c:v>
                </c:pt>
                <c:pt idx="2975">
                  <c:v>#N/A</c:v>
                </c:pt>
                <c:pt idx="2976">
                  <c:v>2.6143399999999999</c:v>
                </c:pt>
                <c:pt idx="2977">
                  <c:v>2.8792200000000001</c:v>
                </c:pt>
                <c:pt idx="2978">
                  <c:v>2.8775200000000001</c:v>
                </c:pt>
                <c:pt idx="2979">
                  <c:v>#N/A</c:v>
                </c:pt>
                <c:pt idx="2980">
                  <c:v>3.2981799999999999</c:v>
                </c:pt>
                <c:pt idx="2981">
                  <c:v>3.2244600000000001</c:v>
                </c:pt>
                <c:pt idx="2982">
                  <c:v>3.0766200000000001</c:v>
                </c:pt>
                <c:pt idx="2983">
                  <c:v>#N/A</c:v>
                </c:pt>
                <c:pt idx="2984">
                  <c:v>2.9166799999999999</c:v>
                </c:pt>
                <c:pt idx="2985">
                  <c:v>2.6377899999999999</c:v>
                </c:pt>
                <c:pt idx="2986">
                  <c:v>2.9857200000000002</c:v>
                </c:pt>
                <c:pt idx="2987">
                  <c:v>#N/A</c:v>
                </c:pt>
                <c:pt idx="2988">
                  <c:v>2.4620700000000002</c:v>
                </c:pt>
                <c:pt idx="2989">
                  <c:v>3.2600199999999999</c:v>
                </c:pt>
                <c:pt idx="2990">
                  <c:v>2.8357700000000001</c:v>
                </c:pt>
                <c:pt idx="2991">
                  <c:v>#N/A</c:v>
                </c:pt>
                <c:pt idx="2992">
                  <c:v>2.4600399999999998</c:v>
                </c:pt>
                <c:pt idx="2993">
                  <c:v>2.6198399999999999</c:v>
                </c:pt>
                <c:pt idx="2994">
                  <c:v>#N/A</c:v>
                </c:pt>
                <c:pt idx="2995">
                  <c:v>2.7351800000000002</c:v>
                </c:pt>
                <c:pt idx="2996">
                  <c:v>2.4488500000000002</c:v>
                </c:pt>
                <c:pt idx="2997">
                  <c:v>2.1459199999999998</c:v>
                </c:pt>
                <c:pt idx="2998">
                  <c:v>#N/A</c:v>
                </c:pt>
                <c:pt idx="2999">
                  <c:v>2.0803699999999998</c:v>
                </c:pt>
                <c:pt idx="3000">
                  <c:v>2.6513399999999998</c:v>
                </c:pt>
                <c:pt idx="3001">
                  <c:v>2.85792</c:v>
                </c:pt>
                <c:pt idx="3002">
                  <c:v>#N/A</c:v>
                </c:pt>
                <c:pt idx="3003">
                  <c:v>3.1522000000000001</c:v>
                </c:pt>
                <c:pt idx="3004">
                  <c:v>3.2805399999999998</c:v>
                </c:pt>
                <c:pt idx="3005">
                  <c:v>#N/A</c:v>
                </c:pt>
                <c:pt idx="3006">
                  <c:v>2.7198600000000002</c:v>
                </c:pt>
                <c:pt idx="3007">
                  <c:v>#N/A</c:v>
                </c:pt>
                <c:pt idx="3008">
                  <c:v>2.76065</c:v>
                </c:pt>
                <c:pt idx="3009">
                  <c:v>2.3275700000000001</c:v>
                </c:pt>
                <c:pt idx="3010">
                  <c:v>3.42198</c:v>
                </c:pt>
                <c:pt idx="3011">
                  <c:v>#N/A</c:v>
                </c:pt>
                <c:pt idx="3012">
                  <c:v>2.7134499999999999</c:v>
                </c:pt>
                <c:pt idx="3013">
                  <c:v>3.2316600000000002</c:v>
                </c:pt>
                <c:pt idx="3014">
                  <c:v>2.7716799999999999</c:v>
                </c:pt>
                <c:pt idx="3015">
                  <c:v>#N/A</c:v>
                </c:pt>
                <c:pt idx="3016">
                  <c:v>2.60372</c:v>
                </c:pt>
                <c:pt idx="3017">
                  <c:v>2.5024099999999998</c:v>
                </c:pt>
                <c:pt idx="3018">
                  <c:v>#N/A</c:v>
                </c:pt>
                <c:pt idx="3019">
                  <c:v>2.6240899999999998</c:v>
                </c:pt>
                <c:pt idx="3020">
                  <c:v>2.28383</c:v>
                </c:pt>
                <c:pt idx="3021">
                  <c:v>2.53871</c:v>
                </c:pt>
                <c:pt idx="3022">
                  <c:v>#N/A</c:v>
                </c:pt>
                <c:pt idx="3023">
                  <c:v>2.7068400000000001</c:v>
                </c:pt>
                <c:pt idx="3024">
                  <c:v>2.8531399999999998</c:v>
                </c:pt>
                <c:pt idx="3025">
                  <c:v>3.3175300000000001</c:v>
                </c:pt>
                <c:pt idx="3026">
                  <c:v>#N/A</c:v>
                </c:pt>
                <c:pt idx="3027">
                  <c:v>2.6482100000000002</c:v>
                </c:pt>
                <c:pt idx="3028">
                  <c:v>2.5016600000000002</c:v>
                </c:pt>
                <c:pt idx="3029">
                  <c:v>2.2240899999999999</c:v>
                </c:pt>
                <c:pt idx="3030">
                  <c:v>#N/A</c:v>
                </c:pt>
                <c:pt idx="3031">
                  <c:v>2.8935</c:v>
                </c:pt>
                <c:pt idx="3032">
                  <c:v>2.68581</c:v>
                </c:pt>
                <c:pt idx="3033">
                  <c:v>2.8434400000000002</c:v>
                </c:pt>
                <c:pt idx="3034">
                  <c:v>#N/A</c:v>
                </c:pt>
                <c:pt idx="3035">
                  <c:v>2.8304900000000002</c:v>
                </c:pt>
                <c:pt idx="3036">
                  <c:v>2.4882399999999998</c:v>
                </c:pt>
                <c:pt idx="3037">
                  <c:v>2.1929099999999999</c:v>
                </c:pt>
                <c:pt idx="3038">
                  <c:v>#N/A</c:v>
                </c:pt>
                <c:pt idx="3039">
                  <c:v>1.7586200000000001</c:v>
                </c:pt>
                <c:pt idx="3040">
                  <c:v>1.9833099999999999</c:v>
                </c:pt>
                <c:pt idx="3041">
                  <c:v>#N/A</c:v>
                </c:pt>
                <c:pt idx="3042">
                  <c:v>2.7731300000000001</c:v>
                </c:pt>
                <c:pt idx="3043">
                  <c:v>2.85893</c:v>
                </c:pt>
                <c:pt idx="3044">
                  <c:v>3.29582</c:v>
                </c:pt>
                <c:pt idx="3045">
                  <c:v>#N/A</c:v>
                </c:pt>
                <c:pt idx="3046">
                  <c:v>2.63931</c:v>
                </c:pt>
                <c:pt idx="3047">
                  <c:v>2.7153499999999999</c:v>
                </c:pt>
                <c:pt idx="3048">
                  <c:v>2.1720299999999999</c:v>
                </c:pt>
                <c:pt idx="3049">
                  <c:v>#N/A</c:v>
                </c:pt>
                <c:pt idx="3050">
                  <c:v>1.7095400000000001</c:v>
                </c:pt>
                <c:pt idx="3051">
                  <c:v>1.8023199999999999</c:v>
                </c:pt>
                <c:pt idx="3052">
                  <c:v>2.3546800000000001</c:v>
                </c:pt>
                <c:pt idx="3053">
                  <c:v>#N/A</c:v>
                </c:pt>
                <c:pt idx="3054">
                  <c:v>2.4832200000000002</c:v>
                </c:pt>
                <c:pt idx="3055">
                  <c:v>2.68655</c:v>
                </c:pt>
                <c:pt idx="3056">
                  <c:v>2.2763100000000001</c:v>
                </c:pt>
                <c:pt idx="3057">
                  <c:v>#N/A</c:v>
                </c:pt>
                <c:pt idx="3058">
                  <c:v>2.04114</c:v>
                </c:pt>
                <c:pt idx="3059">
                  <c:v>1.74136</c:v>
                </c:pt>
                <c:pt idx="3060">
                  <c:v>1.7616099999999999</c:v>
                </c:pt>
                <c:pt idx="3061">
                  <c:v>#N/A</c:v>
                </c:pt>
                <c:pt idx="3062">
                  <c:v>2.1808900000000002</c:v>
                </c:pt>
                <c:pt idx="3063">
                  <c:v>2.6879200000000001</c:v>
                </c:pt>
                <c:pt idx="3064">
                  <c:v>2.88958</c:v>
                </c:pt>
                <c:pt idx="3065">
                  <c:v>#N/A</c:v>
                </c:pt>
                <c:pt idx="3066">
                  <c:v>3.0530300000000001</c:v>
                </c:pt>
                <c:pt idx="3067">
                  <c:v>3.1467200000000002</c:v>
                </c:pt>
                <c:pt idx="3068">
                  <c:v>2.3894899999999999</c:v>
                </c:pt>
                <c:pt idx="3069">
                  <c:v>#N/A</c:v>
                </c:pt>
                <c:pt idx="3070">
                  <c:v>2.3280500000000002</c:v>
                </c:pt>
                <c:pt idx="3071">
                  <c:v>2.2591700000000001</c:v>
                </c:pt>
                <c:pt idx="3072">
                  <c:v>2.5571700000000002</c:v>
                </c:pt>
                <c:pt idx="3073">
                  <c:v>#N/A</c:v>
                </c:pt>
                <c:pt idx="3074">
                  <c:v>2.8508800000000001</c:v>
                </c:pt>
                <c:pt idx="3075">
                  <c:v>2.61069</c:v>
                </c:pt>
                <c:pt idx="3076">
                  <c:v>2.6550400000000001</c:v>
                </c:pt>
                <c:pt idx="3077">
                  <c:v>#N/A</c:v>
                </c:pt>
                <c:pt idx="3078">
                  <c:v>2.4685899999999998</c:v>
                </c:pt>
                <c:pt idx="3079">
                  <c:v>2.1854800000000001</c:v>
                </c:pt>
                <c:pt idx="3080">
                  <c:v>#N/A</c:v>
                </c:pt>
                <c:pt idx="3081">
                  <c:v>1.8677600000000001</c:v>
                </c:pt>
                <c:pt idx="3082">
                  <c:v>1.95855</c:v>
                </c:pt>
                <c:pt idx="3083">
                  <c:v>2.0407299999999999</c:v>
                </c:pt>
                <c:pt idx="3084">
                  <c:v>#N/A</c:v>
                </c:pt>
                <c:pt idx="3085">
                  <c:v>2.7301000000000002</c:v>
                </c:pt>
                <c:pt idx="3086">
                  <c:v>3.6065100000000001</c:v>
                </c:pt>
                <c:pt idx="3087">
                  <c:v>3.0568399999999998</c:v>
                </c:pt>
                <c:pt idx="3088">
                  <c:v>#N/A</c:v>
                </c:pt>
                <c:pt idx="3089">
                  <c:v>3.0594000000000001</c:v>
                </c:pt>
                <c:pt idx="3090">
                  <c:v>2.3448799999999999</c:v>
                </c:pt>
                <c:pt idx="3091">
                  <c:v>2.2588599999999999</c:v>
                </c:pt>
                <c:pt idx="3092">
                  <c:v>#N/A</c:v>
                </c:pt>
                <c:pt idx="3093">
                  <c:v>2.2042600000000001</c:v>
                </c:pt>
                <c:pt idx="3094">
                  <c:v>2.70987</c:v>
                </c:pt>
                <c:pt idx="3095">
                  <c:v>2.59633</c:v>
                </c:pt>
                <c:pt idx="3096">
                  <c:v>#N/A</c:v>
                </c:pt>
                <c:pt idx="3097">
                  <c:v>2.5474600000000001</c:v>
                </c:pt>
                <c:pt idx="3098">
                  <c:v>1.7331399999999999</c:v>
                </c:pt>
                <c:pt idx="3099">
                  <c:v>#N/A</c:v>
                </c:pt>
                <c:pt idx="3100">
                  <c:v>1.6128199999999999</c:v>
                </c:pt>
                <c:pt idx="3101">
                  <c:v>1.96671</c:v>
                </c:pt>
                <c:pt idx="3102">
                  <c:v>#N/A</c:v>
                </c:pt>
                <c:pt idx="3103">
                  <c:v>1.7943199999999999</c:v>
                </c:pt>
                <c:pt idx="3104">
                  <c:v>2.7831800000000002</c:v>
                </c:pt>
                <c:pt idx="3105">
                  <c:v>2.7013600000000002</c:v>
                </c:pt>
                <c:pt idx="3106">
                  <c:v>#N/A</c:v>
                </c:pt>
                <c:pt idx="3107">
                  <c:v>2.5146799999999998</c:v>
                </c:pt>
                <c:pt idx="3108">
                  <c:v>2.3934000000000002</c:v>
                </c:pt>
                <c:pt idx="3109">
                  <c:v>2.2455500000000002</c:v>
                </c:pt>
                <c:pt idx="3110">
                  <c:v>#N/A</c:v>
                </c:pt>
                <c:pt idx="3111">
                  <c:v>2.5030199999999998</c:v>
                </c:pt>
                <c:pt idx="3112">
                  <c:v>2.3460299999999998</c:v>
                </c:pt>
                <c:pt idx="3113">
                  <c:v>2.2982399999999998</c:v>
                </c:pt>
                <c:pt idx="3114">
                  <c:v>#N/A</c:v>
                </c:pt>
                <c:pt idx="3115">
                  <c:v>2.4464100000000002</c:v>
                </c:pt>
                <c:pt idx="3116">
                  <c:v>2.8840599999999998</c:v>
                </c:pt>
                <c:pt idx="3117">
                  <c:v>2.9436900000000001</c:v>
                </c:pt>
                <c:pt idx="3118">
                  <c:v>#N/A</c:v>
                </c:pt>
                <c:pt idx="3119">
                  <c:v>2.7920699999999998</c:v>
                </c:pt>
                <c:pt idx="3120">
                  <c:v>2.0361799999999999</c:v>
                </c:pt>
                <c:pt idx="3121">
                  <c:v>1.99458</c:v>
                </c:pt>
                <c:pt idx="3122">
                  <c:v>#N/A</c:v>
                </c:pt>
                <c:pt idx="3123">
                  <c:v>1.50421</c:v>
                </c:pt>
                <c:pt idx="3124">
                  <c:v>2.09395</c:v>
                </c:pt>
                <c:pt idx="3125">
                  <c:v>#N/A</c:v>
                </c:pt>
                <c:pt idx="3126">
                  <c:v>2.2258300000000002</c:v>
                </c:pt>
                <c:pt idx="3127">
                  <c:v>2.9642599999999999</c:v>
                </c:pt>
                <c:pt idx="3128">
                  <c:v>2.79583</c:v>
                </c:pt>
                <c:pt idx="3129">
                  <c:v>#N/A</c:v>
                </c:pt>
                <c:pt idx="3130">
                  <c:v>2.9738600000000002</c:v>
                </c:pt>
                <c:pt idx="3131">
                  <c:v>2.1796500000000001</c:v>
                </c:pt>
                <c:pt idx="3132">
                  <c:v>2.0672700000000002</c:v>
                </c:pt>
                <c:pt idx="3133">
                  <c:v>#N/A</c:v>
                </c:pt>
                <c:pt idx="3134">
                  <c:v>1.80755</c:v>
                </c:pt>
                <c:pt idx="3135">
                  <c:v>1.8447100000000001</c:v>
                </c:pt>
                <c:pt idx="3136">
                  <c:v>1.9678599999999999</c:v>
                </c:pt>
                <c:pt idx="3137">
                  <c:v>#N/A</c:v>
                </c:pt>
                <c:pt idx="3138">
                  <c:v>2.59456</c:v>
                </c:pt>
                <c:pt idx="3139">
                  <c:v>2.8951500000000001</c:v>
                </c:pt>
                <c:pt idx="3140">
                  <c:v>2.9703499999999998</c:v>
                </c:pt>
                <c:pt idx="3141">
                  <c:v>#N/A</c:v>
                </c:pt>
                <c:pt idx="3142">
                  <c:v>2.79725</c:v>
                </c:pt>
                <c:pt idx="3143">
                  <c:v>2.3553199999999999</c:v>
                </c:pt>
                <c:pt idx="3144">
                  <c:v>2.4577900000000001</c:v>
                </c:pt>
                <c:pt idx="3145">
                  <c:v>#N/A</c:v>
                </c:pt>
                <c:pt idx="3146">
                  <c:v>2.4276</c:v>
                </c:pt>
                <c:pt idx="3147">
                  <c:v>2.6757900000000001</c:v>
                </c:pt>
                <c:pt idx="3148">
                  <c:v>3.1588500000000002</c:v>
                </c:pt>
                <c:pt idx="3149">
                  <c:v>#N/A</c:v>
                </c:pt>
                <c:pt idx="3150">
                  <c:v>3.0181300000000002</c:v>
                </c:pt>
                <c:pt idx="3151">
                  <c:v>2.7332700000000001</c:v>
                </c:pt>
                <c:pt idx="3152">
                  <c:v>2.3383799999999999</c:v>
                </c:pt>
                <c:pt idx="3153">
                  <c:v>#N/A</c:v>
                </c:pt>
                <c:pt idx="3154">
                  <c:v>2.02474</c:v>
                </c:pt>
                <c:pt idx="3155">
                  <c:v>2.2534900000000002</c:v>
                </c:pt>
                <c:pt idx="3156">
                  <c:v>#N/A</c:v>
                </c:pt>
                <c:pt idx="3157">
                  <c:v>2.7062400000000002</c:v>
                </c:pt>
                <c:pt idx="3158">
                  <c:v>2.68682</c:v>
                </c:pt>
                <c:pt idx="3159">
                  <c:v>2.3536600000000001</c:v>
                </c:pt>
                <c:pt idx="3160">
                  <c:v>#N/A</c:v>
                </c:pt>
                <c:pt idx="3161">
                  <c:v>1.6855899999999999</c:v>
                </c:pt>
                <c:pt idx="3162">
                  <c:v>2.0725600000000002</c:v>
                </c:pt>
                <c:pt idx="3163">
                  <c:v>1.3887499999999999</c:v>
                </c:pt>
                <c:pt idx="3164">
                  <c:v>#N/A</c:v>
                </c:pt>
                <c:pt idx="3165">
                  <c:v>1.95383</c:v>
                </c:pt>
                <c:pt idx="3166">
                  <c:v>2.0897999999999999</c:v>
                </c:pt>
                <c:pt idx="3167">
                  <c:v>2.5021599999999999</c:v>
                </c:pt>
                <c:pt idx="3168">
                  <c:v>#N/A</c:v>
                </c:pt>
                <c:pt idx="3169">
                  <c:v>3.0960899999999998</c:v>
                </c:pt>
                <c:pt idx="3170">
                  <c:v>2.63096</c:v>
                </c:pt>
                <c:pt idx="3171">
                  <c:v>2.1503899999999998</c:v>
                </c:pt>
                <c:pt idx="3172">
                  <c:v>#N/A</c:v>
                </c:pt>
                <c:pt idx="3173">
                  <c:v>1.7643899999999999</c:v>
                </c:pt>
                <c:pt idx="3174">
                  <c:v>#N/A</c:v>
                </c:pt>
                <c:pt idx="3175">
                  <c:v>1.7742199999999999</c:v>
                </c:pt>
                <c:pt idx="3176">
                  <c:v>2.5763500000000001</c:v>
                </c:pt>
                <c:pt idx="3177">
                  <c:v>#N/A</c:v>
                </c:pt>
                <c:pt idx="3178">
                  <c:v>2.8332000000000002</c:v>
                </c:pt>
                <c:pt idx="3179">
                  <c:v>3.0582400000000001</c:v>
                </c:pt>
                <c:pt idx="3180">
                  <c:v>#N/A</c:v>
                </c:pt>
                <c:pt idx="3181">
                  <c:v>2.9214699999999998</c:v>
                </c:pt>
                <c:pt idx="3182">
                  <c:v>2.40604</c:v>
                </c:pt>
                <c:pt idx="3183">
                  <c:v>2.25468</c:v>
                </c:pt>
                <c:pt idx="3184">
                  <c:v>#N/A</c:v>
                </c:pt>
                <c:pt idx="3185">
                  <c:v>1.82334</c:v>
                </c:pt>
                <c:pt idx="3186">
                  <c:v>1.5188299999999999</c:v>
                </c:pt>
                <c:pt idx="3187">
                  <c:v>2.0950899999999999</c:v>
                </c:pt>
                <c:pt idx="3188">
                  <c:v>#N/A</c:v>
                </c:pt>
                <c:pt idx="3189">
                  <c:v>2.9487899999999998</c:v>
                </c:pt>
                <c:pt idx="3190">
                  <c:v>3.58589</c:v>
                </c:pt>
                <c:pt idx="3191">
                  <c:v>#N/A</c:v>
                </c:pt>
                <c:pt idx="3192">
                  <c:v>3.3120599999999998</c:v>
                </c:pt>
                <c:pt idx="3193">
                  <c:v>3.18736</c:v>
                </c:pt>
                <c:pt idx="3194">
                  <c:v>1.82959</c:v>
                </c:pt>
                <c:pt idx="3195">
                  <c:v>#N/A</c:v>
                </c:pt>
                <c:pt idx="3196">
                  <c:v>2.3067899999999999</c:v>
                </c:pt>
                <c:pt idx="3197">
                  <c:v>1.73227</c:v>
                </c:pt>
                <c:pt idx="3198">
                  <c:v>2.1219899999999998</c:v>
                </c:pt>
                <c:pt idx="3199">
                  <c:v>#N/A</c:v>
                </c:pt>
                <c:pt idx="3200">
                  <c:v>2.55179</c:v>
                </c:pt>
                <c:pt idx="3201">
                  <c:v>2.8897400000000002</c:v>
                </c:pt>
                <c:pt idx="3202">
                  <c:v>2.88381</c:v>
                </c:pt>
                <c:pt idx="3203">
                  <c:v>#N/A</c:v>
                </c:pt>
                <c:pt idx="3204">
                  <c:v>2.4418799999999998</c:v>
                </c:pt>
                <c:pt idx="3205">
                  <c:v>2.2274799999999999</c:v>
                </c:pt>
                <c:pt idx="3206">
                  <c:v>1.41842</c:v>
                </c:pt>
                <c:pt idx="3207">
                  <c:v>#N/A</c:v>
                </c:pt>
                <c:pt idx="3208">
                  <c:v>2.1383800000000002</c:v>
                </c:pt>
                <c:pt idx="3209">
                  <c:v>2.7849400000000002</c:v>
                </c:pt>
                <c:pt idx="3210">
                  <c:v>#N/A</c:v>
                </c:pt>
                <c:pt idx="3211">
                  <c:v>3.01593</c:v>
                </c:pt>
                <c:pt idx="3212">
                  <c:v>3.3428499999999999</c:v>
                </c:pt>
                <c:pt idx="3213">
                  <c:v>3.3140100000000001</c:v>
                </c:pt>
                <c:pt idx="3214">
                  <c:v>#N/A</c:v>
                </c:pt>
                <c:pt idx="3215">
                  <c:v>2.9681099999999998</c:v>
                </c:pt>
                <c:pt idx="3216">
                  <c:v>2.49627</c:v>
                </c:pt>
                <c:pt idx="3217">
                  <c:v>2.54765</c:v>
                </c:pt>
                <c:pt idx="3218">
                  <c:v>#N/A</c:v>
                </c:pt>
                <c:pt idx="3219">
                  <c:v>2.30355</c:v>
                </c:pt>
                <c:pt idx="3220">
                  <c:v>2.6748400000000001</c:v>
                </c:pt>
                <c:pt idx="3221">
                  <c:v>2.68059</c:v>
                </c:pt>
                <c:pt idx="3222">
                  <c:v>#N/A</c:v>
                </c:pt>
                <c:pt idx="3223">
                  <c:v>3.02624</c:v>
                </c:pt>
                <c:pt idx="3224">
                  <c:v>2.2803100000000001</c:v>
                </c:pt>
                <c:pt idx="3225">
                  <c:v>2.3710900000000001</c:v>
                </c:pt>
                <c:pt idx="3226">
                  <c:v>#N/A</c:v>
                </c:pt>
                <c:pt idx="3227">
                  <c:v>2.2128299999999999</c:v>
                </c:pt>
                <c:pt idx="3228">
                  <c:v>2.0247799999999998</c:v>
                </c:pt>
                <c:pt idx="3229">
                  <c:v>#N/A</c:v>
                </c:pt>
                <c:pt idx="3230">
                  <c:v>2.2562899999999999</c:v>
                </c:pt>
                <c:pt idx="3231">
                  <c:v>2.2670699999999999</c:v>
                </c:pt>
                <c:pt idx="3232">
                  <c:v>2.4812500000000002</c:v>
                </c:pt>
                <c:pt idx="3233">
                  <c:v>#N/A</c:v>
                </c:pt>
                <c:pt idx="3234">
                  <c:v>2.10677</c:v>
                </c:pt>
                <c:pt idx="3235">
                  <c:v>2.5243000000000002</c:v>
                </c:pt>
                <c:pt idx="3236">
                  <c:v>2.4652400000000001</c:v>
                </c:pt>
                <c:pt idx="3237">
                  <c:v>#N/A</c:v>
                </c:pt>
                <c:pt idx="3238">
                  <c:v>2.4366400000000001</c:v>
                </c:pt>
                <c:pt idx="3239">
                  <c:v>2.35378</c:v>
                </c:pt>
                <c:pt idx="3240">
                  <c:v>2.88584</c:v>
                </c:pt>
                <c:pt idx="3241">
                  <c:v>#N/A</c:v>
                </c:pt>
                <c:pt idx="3242">
                  <c:v>2.9490099999999999</c:v>
                </c:pt>
                <c:pt idx="3243">
                  <c:v>2.59015</c:v>
                </c:pt>
                <c:pt idx="3244">
                  <c:v>2.3742899999999998</c:v>
                </c:pt>
                <c:pt idx="3245">
                  <c:v>#N/A</c:v>
                </c:pt>
                <c:pt idx="3246">
                  <c:v>2.4788700000000001</c:v>
                </c:pt>
                <c:pt idx="3247">
                  <c:v>1.88</c:v>
                </c:pt>
                <c:pt idx="3248">
                  <c:v>2.7525400000000002</c:v>
                </c:pt>
                <c:pt idx="3249">
                  <c:v>#N/A</c:v>
                </c:pt>
                <c:pt idx="3250">
                  <c:v>3.3017799999999999</c:v>
                </c:pt>
                <c:pt idx="3251">
                  <c:v>#N/A</c:v>
                </c:pt>
                <c:pt idx="3252">
                  <c:v>3.3815900000000001</c:v>
                </c:pt>
                <c:pt idx="3253">
                  <c:v>3.35101</c:v>
                </c:pt>
                <c:pt idx="3254">
                  <c:v>3.1810200000000002</c:v>
                </c:pt>
                <c:pt idx="3255">
                  <c:v>#N/A</c:v>
                </c:pt>
                <c:pt idx="3256">
                  <c:v>2.2236199999999999</c:v>
                </c:pt>
                <c:pt idx="3257">
                  <c:v>2.09057</c:v>
                </c:pt>
                <c:pt idx="3258">
                  <c:v>1.6163099999999999</c:v>
                </c:pt>
                <c:pt idx="3259">
                  <c:v>#N/A</c:v>
                </c:pt>
                <c:pt idx="3260">
                  <c:v>1.4444900000000001</c:v>
                </c:pt>
                <c:pt idx="3261">
                  <c:v>2.33127</c:v>
                </c:pt>
                <c:pt idx="3262">
                  <c:v>3.1278899999999998</c:v>
                </c:pt>
                <c:pt idx="3263">
                  <c:v>#N/A</c:v>
                </c:pt>
                <c:pt idx="3264">
                  <c:v>2.7872699999999999</c:v>
                </c:pt>
                <c:pt idx="3265">
                  <c:v>2.8524500000000002</c:v>
                </c:pt>
                <c:pt idx="3266">
                  <c:v>2.2354400000000001</c:v>
                </c:pt>
                <c:pt idx="3267">
                  <c:v>#N/A</c:v>
                </c:pt>
                <c:pt idx="3268">
                  <c:v>2.2009799999999999</c:v>
                </c:pt>
                <c:pt idx="3269">
                  <c:v>1.85704</c:v>
                </c:pt>
                <c:pt idx="3270">
                  <c:v>2.16194</c:v>
                </c:pt>
                <c:pt idx="3271">
                  <c:v>#N/A</c:v>
                </c:pt>
                <c:pt idx="3272">
                  <c:v>2.4085399999999999</c:v>
                </c:pt>
                <c:pt idx="3273">
                  <c:v>3.3925100000000001</c:v>
                </c:pt>
                <c:pt idx="3274">
                  <c:v>#N/A</c:v>
                </c:pt>
                <c:pt idx="3275">
                  <c:v>3.8893599999999999</c:v>
                </c:pt>
                <c:pt idx="3276">
                  <c:v>3.0757300000000001</c:v>
                </c:pt>
                <c:pt idx="3277">
                  <c:v>2.6318800000000002</c:v>
                </c:pt>
                <c:pt idx="3278">
                  <c:v>#N/A</c:v>
                </c:pt>
                <c:pt idx="3279">
                  <c:v>2.4961500000000001</c:v>
                </c:pt>
                <c:pt idx="3280">
                  <c:v>2.09592</c:v>
                </c:pt>
                <c:pt idx="3281">
                  <c:v>1.5921700000000001</c:v>
                </c:pt>
                <c:pt idx="3282">
                  <c:v>#N/A</c:v>
                </c:pt>
                <c:pt idx="3283">
                  <c:v>1.9945200000000001</c:v>
                </c:pt>
                <c:pt idx="3284">
                  <c:v>2.1195900000000001</c:v>
                </c:pt>
                <c:pt idx="3285">
                  <c:v>2.8849200000000002</c:v>
                </c:pt>
                <c:pt idx="3286">
                  <c:v>#N/A</c:v>
                </c:pt>
                <c:pt idx="3287">
                  <c:v>2.9582899999999999</c:v>
                </c:pt>
                <c:pt idx="3288">
                  <c:v>2.7071200000000002</c:v>
                </c:pt>
                <c:pt idx="3289">
                  <c:v>#N/A</c:v>
                </c:pt>
                <c:pt idx="3290">
                  <c:v>2.2321900000000001</c:v>
                </c:pt>
                <c:pt idx="3291">
                  <c:v>1.84596</c:v>
                </c:pt>
                <c:pt idx="3292">
                  <c:v>2.1598099999999998</c:v>
                </c:pt>
                <c:pt idx="3293">
                  <c:v>#N/A</c:v>
                </c:pt>
                <c:pt idx="3294">
                  <c:v>2.9204599999999998</c:v>
                </c:pt>
                <c:pt idx="3295">
                  <c:v>3.42706</c:v>
                </c:pt>
                <c:pt idx="3296">
                  <c:v>3.4251800000000001</c:v>
                </c:pt>
                <c:pt idx="3297">
                  <c:v>#N/A</c:v>
                </c:pt>
                <c:pt idx="3298">
                  <c:v>3.9881099999999998</c:v>
                </c:pt>
                <c:pt idx="3299">
                  <c:v>3.5661399999999999</c:v>
                </c:pt>
                <c:pt idx="3300">
                  <c:v>2.7913100000000002</c:v>
                </c:pt>
                <c:pt idx="3301">
                  <c:v>#N/A</c:v>
                </c:pt>
                <c:pt idx="3302">
                  <c:v>2.6188600000000002</c:v>
                </c:pt>
                <c:pt idx="3303">
                  <c:v>2.7955800000000002</c:v>
                </c:pt>
                <c:pt idx="3304">
                  <c:v>3.3246500000000001</c:v>
                </c:pt>
                <c:pt idx="3305">
                  <c:v>#N/A</c:v>
                </c:pt>
                <c:pt idx="3306">
                  <c:v>2.8348599999999999</c:v>
                </c:pt>
                <c:pt idx="3307">
                  <c:v>2.5291899999999998</c:v>
                </c:pt>
                <c:pt idx="3308">
                  <c:v>2.5742799999999999</c:v>
                </c:pt>
                <c:pt idx="3309">
                  <c:v>#N/A</c:v>
                </c:pt>
                <c:pt idx="3310">
                  <c:v>2.0199500000000001</c:v>
                </c:pt>
                <c:pt idx="3311">
                  <c:v>2.2241</c:v>
                </c:pt>
                <c:pt idx="3312">
                  <c:v>#N/A</c:v>
                </c:pt>
                <c:pt idx="3313">
                  <c:v>2.3060499999999999</c:v>
                </c:pt>
                <c:pt idx="3314">
                  <c:v>2.5540600000000002</c:v>
                </c:pt>
                <c:pt idx="3315">
                  <c:v>3.2103899999999999</c:v>
                </c:pt>
                <c:pt idx="3316">
                  <c:v>#N/A</c:v>
                </c:pt>
                <c:pt idx="3317">
                  <c:v>3.6266099999999999</c:v>
                </c:pt>
                <c:pt idx="3318">
                  <c:v>3.1435499999999998</c:v>
                </c:pt>
                <c:pt idx="3319">
                  <c:v>2.84579</c:v>
                </c:pt>
                <c:pt idx="3320">
                  <c:v>#N/A</c:v>
                </c:pt>
                <c:pt idx="3321">
                  <c:v>2.4106900000000002</c:v>
                </c:pt>
                <c:pt idx="3322">
                  <c:v>2.46875</c:v>
                </c:pt>
                <c:pt idx="3323">
                  <c:v>3.1974200000000002</c:v>
                </c:pt>
                <c:pt idx="3324">
                  <c:v>#N/A</c:v>
                </c:pt>
                <c:pt idx="3325">
                  <c:v>2.8473000000000002</c:v>
                </c:pt>
                <c:pt idx="3326">
                  <c:v>#N/A</c:v>
                </c:pt>
                <c:pt idx="3327">
                  <c:v>3.3109299999999999</c:v>
                </c:pt>
                <c:pt idx="3328">
                  <c:v>3.1298599999999999</c:v>
                </c:pt>
                <c:pt idx="3329">
                  <c:v>#N/A</c:v>
                </c:pt>
                <c:pt idx="3330">
                  <c:v>2.38611</c:v>
                </c:pt>
                <c:pt idx="3331">
                  <c:v>2.2610100000000002</c:v>
                </c:pt>
                <c:pt idx="3332">
                  <c:v>#N/A</c:v>
                </c:pt>
                <c:pt idx="3333">
                  <c:v>2.4399600000000001</c:v>
                </c:pt>
                <c:pt idx="3334">
                  <c:v>2.5724100000000001</c:v>
                </c:pt>
                <c:pt idx="3335">
                  <c:v>3.4163700000000001</c:v>
                </c:pt>
                <c:pt idx="3336">
                  <c:v>#N/A</c:v>
                </c:pt>
                <c:pt idx="3337">
                  <c:v>3.30287</c:v>
                </c:pt>
                <c:pt idx="3338">
                  <c:v>2.1388500000000001</c:v>
                </c:pt>
                <c:pt idx="3339">
                  <c:v>#N/A</c:v>
                </c:pt>
                <c:pt idx="3340">
                  <c:v>2.5430600000000001</c:v>
                </c:pt>
                <c:pt idx="3341">
                  <c:v>2.15659</c:v>
                </c:pt>
                <c:pt idx="3342">
                  <c:v>1.9010899999999999</c:v>
                </c:pt>
                <c:pt idx="3343">
                  <c:v>#N/A</c:v>
                </c:pt>
                <c:pt idx="3344">
                  <c:v>2.0293299999999999</c:v>
                </c:pt>
                <c:pt idx="3345">
                  <c:v>2.1752899999999999</c:v>
                </c:pt>
                <c:pt idx="3346">
                  <c:v>2.5767199999999999</c:v>
                </c:pt>
                <c:pt idx="3347">
                  <c:v>#N/A</c:v>
                </c:pt>
                <c:pt idx="3348">
                  <c:v>3.0163799999999998</c:v>
                </c:pt>
                <c:pt idx="3349">
                  <c:v>2.0037600000000002</c:v>
                </c:pt>
                <c:pt idx="3350">
                  <c:v>#N/A</c:v>
                </c:pt>
                <c:pt idx="3351">
                  <c:v>2.5125899999999999</c:v>
                </c:pt>
                <c:pt idx="3352">
                  <c:v>1.1254999999999999</c:v>
                </c:pt>
                <c:pt idx="3353">
                  <c:v>2.2343999999999999</c:v>
                </c:pt>
                <c:pt idx="3354">
                  <c:v>#N/A</c:v>
                </c:pt>
                <c:pt idx="3355">
                  <c:v>1.9966600000000001</c:v>
                </c:pt>
                <c:pt idx="3356">
                  <c:v>2.68363</c:v>
                </c:pt>
                <c:pt idx="3357">
                  <c:v>3.3461099999999999</c:v>
                </c:pt>
                <c:pt idx="3358">
                  <c:v>#N/A</c:v>
                </c:pt>
                <c:pt idx="3359">
                  <c:v>3.4645199999999998</c:v>
                </c:pt>
                <c:pt idx="3360">
                  <c:v>3.6345299999999998</c:v>
                </c:pt>
                <c:pt idx="3361">
                  <c:v>2.8426300000000002</c:v>
                </c:pt>
                <c:pt idx="3362">
                  <c:v>#N/A</c:v>
                </c:pt>
                <c:pt idx="3363">
                  <c:v>2.5604900000000002</c:v>
                </c:pt>
                <c:pt idx="3364">
                  <c:v>1.8345</c:v>
                </c:pt>
                <c:pt idx="3365">
                  <c:v>2.1516799999999998</c:v>
                </c:pt>
                <c:pt idx="3366">
                  <c:v>#N/A</c:v>
                </c:pt>
                <c:pt idx="3367">
                  <c:v>2.0987800000000001</c:v>
                </c:pt>
                <c:pt idx="3368">
                  <c:v>2.37601</c:v>
                </c:pt>
                <c:pt idx="3369">
                  <c:v>2.8308200000000001</c:v>
                </c:pt>
                <c:pt idx="3370">
                  <c:v>#N/A</c:v>
                </c:pt>
                <c:pt idx="3371">
                  <c:v>2.5532900000000001</c:v>
                </c:pt>
                <c:pt idx="3372">
                  <c:v>2.6523599999999998</c:v>
                </c:pt>
                <c:pt idx="3373">
                  <c:v>2.1283300000000001</c:v>
                </c:pt>
                <c:pt idx="3374">
                  <c:v>#N/A</c:v>
                </c:pt>
                <c:pt idx="3375">
                  <c:v>1.87659</c:v>
                </c:pt>
                <c:pt idx="3376">
                  <c:v>2.0438100000000001</c:v>
                </c:pt>
                <c:pt idx="3377">
                  <c:v>2.20594</c:v>
                </c:pt>
                <c:pt idx="3378">
                  <c:v>#N/A</c:v>
                </c:pt>
                <c:pt idx="3379">
                  <c:v>2.65333</c:v>
                </c:pt>
                <c:pt idx="3380">
                  <c:v>2.6629100000000001</c:v>
                </c:pt>
                <c:pt idx="3381">
                  <c:v>2.4962499999999999</c:v>
                </c:pt>
                <c:pt idx="3382">
                  <c:v>#N/A</c:v>
                </c:pt>
                <c:pt idx="3383">
                  <c:v>2.8411499999999998</c:v>
                </c:pt>
                <c:pt idx="3384">
                  <c:v>2.5492599999999999</c:v>
                </c:pt>
                <c:pt idx="3385">
                  <c:v>2.2056100000000001</c:v>
                </c:pt>
                <c:pt idx="3386">
                  <c:v>#N/A</c:v>
                </c:pt>
                <c:pt idx="3387">
                  <c:v>2.8468599999999999</c:v>
                </c:pt>
                <c:pt idx="3388">
                  <c:v>2.4666000000000001</c:v>
                </c:pt>
                <c:pt idx="3389">
                  <c:v>#N/A</c:v>
                </c:pt>
                <c:pt idx="3390">
                  <c:v>2.0341100000000001</c:v>
                </c:pt>
                <c:pt idx="3391">
                  <c:v>2.1590699999999998</c:v>
                </c:pt>
                <c:pt idx="3392">
                  <c:v>1.91673</c:v>
                </c:pt>
                <c:pt idx="3393">
                  <c:v>#N/A</c:v>
                </c:pt>
                <c:pt idx="3394">
                  <c:v>1.82283</c:v>
                </c:pt>
                <c:pt idx="3395">
                  <c:v>1.84544</c:v>
                </c:pt>
                <c:pt idx="3396">
                  <c:v>2.2657099999999999</c:v>
                </c:pt>
                <c:pt idx="3397">
                  <c:v>#N/A</c:v>
                </c:pt>
                <c:pt idx="3398">
                  <c:v>2.3930199999999999</c:v>
                </c:pt>
                <c:pt idx="3399">
                  <c:v>3.2139099999999998</c:v>
                </c:pt>
                <c:pt idx="3400">
                  <c:v>1.7802199999999999</c:v>
                </c:pt>
                <c:pt idx="3401">
                  <c:v>#N/A</c:v>
                </c:pt>
                <c:pt idx="3402">
                  <c:v>2.42584</c:v>
                </c:pt>
                <c:pt idx="3403">
                  <c:v>1.8662099999999999</c:v>
                </c:pt>
                <c:pt idx="3404">
                  <c:v>#N/A</c:v>
                </c:pt>
                <c:pt idx="3405">
                  <c:v>1.97736</c:v>
                </c:pt>
                <c:pt idx="3406">
                  <c:v>1.8126800000000001</c:v>
                </c:pt>
                <c:pt idx="3407">
                  <c:v>2.7197800000000001</c:v>
                </c:pt>
                <c:pt idx="3408">
                  <c:v>#N/A</c:v>
                </c:pt>
                <c:pt idx="3409">
                  <c:v>3.0932599999999999</c:v>
                </c:pt>
                <c:pt idx="3410">
                  <c:v>2.9169</c:v>
                </c:pt>
                <c:pt idx="3411">
                  <c:v>2.2921900000000002</c:v>
                </c:pt>
                <c:pt idx="3412">
                  <c:v>#N/A</c:v>
                </c:pt>
                <c:pt idx="3413">
                  <c:v>2.1599699999999999</c:v>
                </c:pt>
                <c:pt idx="3414">
                  <c:v>1.82958</c:v>
                </c:pt>
                <c:pt idx="3415">
                  <c:v>1.6401300000000001</c:v>
                </c:pt>
                <c:pt idx="3416">
                  <c:v>#N/A</c:v>
                </c:pt>
                <c:pt idx="3417">
                  <c:v>2.0369999999999999</c:v>
                </c:pt>
                <c:pt idx="3418">
                  <c:v>2.4313600000000002</c:v>
                </c:pt>
                <c:pt idx="3419">
                  <c:v>#N/A</c:v>
                </c:pt>
                <c:pt idx="3420">
                  <c:v>2.9527999999999999</c:v>
                </c:pt>
                <c:pt idx="3421">
                  <c:v>3.20044</c:v>
                </c:pt>
                <c:pt idx="3422">
                  <c:v>2.8603499999999999</c:v>
                </c:pt>
                <c:pt idx="3423">
                  <c:v>#N/A</c:v>
                </c:pt>
                <c:pt idx="3424">
                  <c:v>2.3626200000000002</c:v>
                </c:pt>
                <c:pt idx="3425">
                  <c:v>1.91418</c:v>
                </c:pt>
                <c:pt idx="3426">
                  <c:v>#N/A</c:v>
                </c:pt>
                <c:pt idx="3427">
                  <c:v>1.92265</c:v>
                </c:pt>
                <c:pt idx="3428">
                  <c:v>1.84446</c:v>
                </c:pt>
                <c:pt idx="3429">
                  <c:v>2.3650799999999998</c:v>
                </c:pt>
                <c:pt idx="3430">
                  <c:v>#N/A</c:v>
                </c:pt>
                <c:pt idx="3431">
                  <c:v>2.7391800000000002</c:v>
                </c:pt>
                <c:pt idx="3432">
                  <c:v>3.2760199999999999</c:v>
                </c:pt>
                <c:pt idx="3433">
                  <c:v>2.7149999999999999</c:v>
                </c:pt>
                <c:pt idx="3434">
                  <c:v>#N/A</c:v>
                </c:pt>
                <c:pt idx="3435">
                  <c:v>2.14655</c:v>
                </c:pt>
                <c:pt idx="3436">
                  <c:v>1.88845</c:v>
                </c:pt>
                <c:pt idx="3437">
                  <c:v>1.6504000000000001</c:v>
                </c:pt>
                <c:pt idx="3438">
                  <c:v>#N/A</c:v>
                </c:pt>
                <c:pt idx="3439">
                  <c:v>2.4464299999999999</c:v>
                </c:pt>
                <c:pt idx="3440">
                  <c:v>2.7493500000000002</c:v>
                </c:pt>
                <c:pt idx="3441">
                  <c:v>2.8431299999999999</c:v>
                </c:pt>
                <c:pt idx="3442">
                  <c:v>#N/A</c:v>
                </c:pt>
                <c:pt idx="3443">
                  <c:v>2.86334</c:v>
                </c:pt>
                <c:pt idx="3444">
                  <c:v>3.3186399999999998</c:v>
                </c:pt>
                <c:pt idx="3445">
                  <c:v>2.99824</c:v>
                </c:pt>
                <c:pt idx="3446">
                  <c:v>#N/A</c:v>
                </c:pt>
                <c:pt idx="3447">
                  <c:v>2.4386800000000002</c:v>
                </c:pt>
                <c:pt idx="3448">
                  <c:v>2.2593399999999999</c:v>
                </c:pt>
                <c:pt idx="3449">
                  <c:v>2.57856</c:v>
                </c:pt>
                <c:pt idx="3450">
                  <c:v>#N/A</c:v>
                </c:pt>
                <c:pt idx="3451">
                  <c:v>2.8175699999999999</c:v>
                </c:pt>
                <c:pt idx="3452">
                  <c:v>2.4305400000000001</c:v>
                </c:pt>
                <c:pt idx="3453">
                  <c:v>2.1681300000000001</c:v>
                </c:pt>
                <c:pt idx="3454">
                  <c:v>#N/A</c:v>
                </c:pt>
                <c:pt idx="3455">
                  <c:v>2.15828</c:v>
                </c:pt>
                <c:pt idx="3456">
                  <c:v>2.4113799999999999</c:v>
                </c:pt>
                <c:pt idx="3457">
                  <c:v>#N/A</c:v>
                </c:pt>
                <c:pt idx="3458">
                  <c:v>2.2811400000000002</c:v>
                </c:pt>
                <c:pt idx="3459">
                  <c:v>1.7216</c:v>
                </c:pt>
                <c:pt idx="3460">
                  <c:v>2.2033299999999998</c:v>
                </c:pt>
                <c:pt idx="3461">
                  <c:v>#N/A</c:v>
                </c:pt>
                <c:pt idx="3462">
                  <c:v>2.4316200000000001</c:v>
                </c:pt>
                <c:pt idx="3463">
                  <c:v>3.0742500000000001</c:v>
                </c:pt>
                <c:pt idx="3464">
                  <c:v>2.5885099999999999</c:v>
                </c:pt>
                <c:pt idx="3465">
                  <c:v>#N/A</c:v>
                </c:pt>
                <c:pt idx="3466">
                  <c:v>2.39588</c:v>
                </c:pt>
                <c:pt idx="3467">
                  <c:v>2.1162200000000002</c:v>
                </c:pt>
                <c:pt idx="3468">
                  <c:v>1.8887700000000001</c:v>
                </c:pt>
                <c:pt idx="3469">
                  <c:v>#N/A</c:v>
                </c:pt>
                <c:pt idx="3470">
                  <c:v>2.4145300000000001</c:v>
                </c:pt>
                <c:pt idx="3471">
                  <c:v>2.5281199999999999</c:v>
                </c:pt>
                <c:pt idx="3472">
                  <c:v>2.77976</c:v>
                </c:pt>
                <c:pt idx="3473">
                  <c:v>#N/A</c:v>
                </c:pt>
                <c:pt idx="3474">
                  <c:v>2.2377400000000001</c:v>
                </c:pt>
                <c:pt idx="3475">
                  <c:v>2.2170899999999998</c:v>
                </c:pt>
                <c:pt idx="3476">
                  <c:v>1.15378</c:v>
                </c:pt>
                <c:pt idx="3477">
                  <c:v>#N/A</c:v>
                </c:pt>
                <c:pt idx="3478">
                  <c:v>1.92181</c:v>
                </c:pt>
                <c:pt idx="3479">
                  <c:v>1.5154000000000001</c:v>
                </c:pt>
                <c:pt idx="3480">
                  <c:v>2.3774600000000001</c:v>
                </c:pt>
                <c:pt idx="3481">
                  <c:v>#N/A</c:v>
                </c:pt>
                <c:pt idx="3482">
                  <c:v>2.7707299999999999</c:v>
                </c:pt>
                <c:pt idx="3483">
                  <c:v>2.9641500000000001</c:v>
                </c:pt>
                <c:pt idx="3484">
                  <c:v>3.1766100000000002</c:v>
                </c:pt>
                <c:pt idx="3485">
                  <c:v>#N/A</c:v>
                </c:pt>
                <c:pt idx="3486">
                  <c:v>2.3664000000000001</c:v>
                </c:pt>
                <c:pt idx="3487">
                  <c:v>2.7126600000000001</c:v>
                </c:pt>
                <c:pt idx="3488">
                  <c:v>#N/A</c:v>
                </c:pt>
                <c:pt idx="3489">
                  <c:v>2.07254</c:v>
                </c:pt>
                <c:pt idx="3490">
                  <c:v>1.7462200000000001</c:v>
                </c:pt>
                <c:pt idx="3491">
                  <c:v>2.6490300000000002</c:v>
                </c:pt>
                <c:pt idx="3492">
                  <c:v>#N/A</c:v>
                </c:pt>
                <c:pt idx="3493">
                  <c:v>2.8424</c:v>
                </c:pt>
                <c:pt idx="3494">
                  <c:v>2.85093</c:v>
                </c:pt>
                <c:pt idx="3495">
                  <c:v>2.3467099999999999</c:v>
                </c:pt>
                <c:pt idx="3496">
                  <c:v>#N/A</c:v>
                </c:pt>
                <c:pt idx="3497">
                  <c:v>1.8824099999999999</c:v>
                </c:pt>
                <c:pt idx="3498">
                  <c:v>1.6066400000000001</c:v>
                </c:pt>
                <c:pt idx="3499">
                  <c:v>1.7516</c:v>
                </c:pt>
                <c:pt idx="3500">
                  <c:v>#N/A</c:v>
                </c:pt>
                <c:pt idx="3501">
                  <c:v>1.94574</c:v>
                </c:pt>
                <c:pt idx="3502">
                  <c:v>1.5457399999999999</c:v>
                </c:pt>
                <c:pt idx="3503">
                  <c:v>2.9470999999999998</c:v>
                </c:pt>
                <c:pt idx="3504">
                  <c:v>#N/A</c:v>
                </c:pt>
                <c:pt idx="3505">
                  <c:v>2.6903800000000002</c:v>
                </c:pt>
                <c:pt idx="3506">
                  <c:v>2.92191</c:v>
                </c:pt>
                <c:pt idx="3507">
                  <c:v>2.12561</c:v>
                </c:pt>
                <c:pt idx="3508">
                  <c:v>#N/A</c:v>
                </c:pt>
                <c:pt idx="3509">
                  <c:v>1.97522</c:v>
                </c:pt>
                <c:pt idx="3510">
                  <c:v>#N/A</c:v>
                </c:pt>
                <c:pt idx="3511">
                  <c:v>1.89195</c:v>
                </c:pt>
                <c:pt idx="3512">
                  <c:v>3.1936900000000001</c:v>
                </c:pt>
                <c:pt idx="3513">
                  <c:v>2.8578800000000002</c:v>
                </c:pt>
                <c:pt idx="3514">
                  <c:v>#N/A</c:v>
                </c:pt>
                <c:pt idx="3515">
                  <c:v>2.7941199999999999</c:v>
                </c:pt>
                <c:pt idx="3516">
                  <c:v>2.70444</c:v>
                </c:pt>
                <c:pt idx="3517">
                  <c:v>2.94285</c:v>
                </c:pt>
                <c:pt idx="3518">
                  <c:v>#N/A</c:v>
                </c:pt>
                <c:pt idx="3519">
                  <c:v>2.28531</c:v>
                </c:pt>
                <c:pt idx="3520">
                  <c:v>1.92404</c:v>
                </c:pt>
                <c:pt idx="3521">
                  <c:v>#N/A</c:v>
                </c:pt>
                <c:pt idx="3522">
                  <c:v>2.06595</c:v>
                </c:pt>
                <c:pt idx="3523">
                  <c:v>2.1744500000000002</c:v>
                </c:pt>
                <c:pt idx="3524">
                  <c:v>3.0904199999999999</c:v>
                </c:pt>
                <c:pt idx="3525">
                  <c:v>#N/A</c:v>
                </c:pt>
                <c:pt idx="3526">
                  <c:v>3.0739899999999998</c:v>
                </c:pt>
                <c:pt idx="3527">
                  <c:v>2.8844500000000002</c:v>
                </c:pt>
                <c:pt idx="3528">
                  <c:v>2.8701599999999998</c:v>
                </c:pt>
                <c:pt idx="3529">
                  <c:v>#N/A</c:v>
                </c:pt>
                <c:pt idx="3530">
                  <c:v>2.43899</c:v>
                </c:pt>
                <c:pt idx="3531">
                  <c:v>2.60371</c:v>
                </c:pt>
                <c:pt idx="3532">
                  <c:v>2.1231599999999999</c:v>
                </c:pt>
                <c:pt idx="3533">
                  <c:v>#N/A</c:v>
                </c:pt>
                <c:pt idx="3534">
                  <c:v>2.0205299999999999</c:v>
                </c:pt>
                <c:pt idx="3535">
                  <c:v>1.97637</c:v>
                </c:pt>
                <c:pt idx="3536">
                  <c:v>2.97472</c:v>
                </c:pt>
                <c:pt idx="3537">
                  <c:v>#N/A</c:v>
                </c:pt>
                <c:pt idx="3538">
                  <c:v>2.1367600000000002</c:v>
                </c:pt>
                <c:pt idx="3539">
                  <c:v>1.70092</c:v>
                </c:pt>
                <c:pt idx="3540">
                  <c:v>#N/A</c:v>
                </c:pt>
                <c:pt idx="3541">
                  <c:v>2.2851300000000001</c:v>
                </c:pt>
                <c:pt idx="3542">
                  <c:v>2.3021099999999999</c:v>
                </c:pt>
                <c:pt idx="3543">
                  <c:v>2.8723100000000001</c:v>
                </c:pt>
                <c:pt idx="3544">
                  <c:v>#N/A</c:v>
                </c:pt>
                <c:pt idx="3545">
                  <c:v>3.0360299999999998</c:v>
                </c:pt>
                <c:pt idx="3546">
                  <c:v>2.7771499999999998</c:v>
                </c:pt>
                <c:pt idx="3547">
                  <c:v>3.1164800000000001</c:v>
                </c:pt>
                <c:pt idx="3548">
                  <c:v>#N/A</c:v>
                </c:pt>
                <c:pt idx="3549">
                  <c:v>3.19123</c:v>
                </c:pt>
                <c:pt idx="3550">
                  <c:v>2.4712800000000001</c:v>
                </c:pt>
                <c:pt idx="3551">
                  <c:v>#N/A</c:v>
                </c:pt>
                <c:pt idx="3552">
                  <c:v>2.5418599999999998</c:v>
                </c:pt>
                <c:pt idx="3553">
                  <c:v>#N/A</c:v>
                </c:pt>
                <c:pt idx="3554">
                  <c:v>3.2826900000000001</c:v>
                </c:pt>
                <c:pt idx="3555">
                  <c:v>2.9123399999999999</c:v>
                </c:pt>
                <c:pt idx="3556">
                  <c:v>#N/A</c:v>
                </c:pt>
                <c:pt idx="3557">
                  <c:v>2.72071</c:v>
                </c:pt>
                <c:pt idx="3558">
                  <c:v>1.77722</c:v>
                </c:pt>
                <c:pt idx="3559">
                  <c:v>2.0381499999999999</c:v>
                </c:pt>
                <c:pt idx="3560">
                  <c:v>#N/A</c:v>
                </c:pt>
                <c:pt idx="3561">
                  <c:v>2.05369</c:v>
                </c:pt>
                <c:pt idx="3562">
                  <c:v>1.6659200000000001</c:v>
                </c:pt>
                <c:pt idx="3563">
                  <c:v>2.3802500000000002</c:v>
                </c:pt>
                <c:pt idx="3564">
                  <c:v>#N/A</c:v>
                </c:pt>
                <c:pt idx="3565">
                  <c:v>2.8652299999999999</c:v>
                </c:pt>
                <c:pt idx="3566">
                  <c:v>3.9498700000000002</c:v>
                </c:pt>
                <c:pt idx="3567">
                  <c:v>3.516</c:v>
                </c:pt>
                <c:pt idx="3568">
                  <c:v>#N/A</c:v>
                </c:pt>
                <c:pt idx="3569">
                  <c:v>2.8550900000000001</c:v>
                </c:pt>
                <c:pt idx="3570">
                  <c:v>1.9467000000000001</c:v>
                </c:pt>
                <c:pt idx="3571">
                  <c:v>#N/A</c:v>
                </c:pt>
                <c:pt idx="3572">
                  <c:v>2.05627</c:v>
                </c:pt>
                <c:pt idx="3573">
                  <c:v>2.6624300000000001</c:v>
                </c:pt>
                <c:pt idx="3574">
                  <c:v>2.7209500000000002</c:v>
                </c:pt>
                <c:pt idx="3575">
                  <c:v>#N/A</c:v>
                </c:pt>
                <c:pt idx="3576">
                  <c:v>2.7432300000000001</c:v>
                </c:pt>
                <c:pt idx="3577">
                  <c:v>3.2633000000000001</c:v>
                </c:pt>
                <c:pt idx="3578">
                  <c:v>3.0762800000000001</c:v>
                </c:pt>
                <c:pt idx="3579">
                  <c:v>#N/A</c:v>
                </c:pt>
                <c:pt idx="3580">
                  <c:v>2.9940500000000001</c:v>
                </c:pt>
                <c:pt idx="3581">
                  <c:v>2.1045600000000002</c:v>
                </c:pt>
                <c:pt idx="3582">
                  <c:v>1.9604999999999999</c:v>
                </c:pt>
                <c:pt idx="3583">
                  <c:v>#N/A</c:v>
                </c:pt>
                <c:pt idx="3584">
                  <c:v>1.7973600000000001</c:v>
                </c:pt>
                <c:pt idx="3585">
                  <c:v>2.2603800000000001</c:v>
                </c:pt>
                <c:pt idx="3586">
                  <c:v>#N/A</c:v>
                </c:pt>
                <c:pt idx="3587">
                  <c:v>2.6658300000000001</c:v>
                </c:pt>
                <c:pt idx="3588">
                  <c:v>3.53687</c:v>
                </c:pt>
                <c:pt idx="3589">
                  <c:v>2.87087</c:v>
                </c:pt>
                <c:pt idx="3590">
                  <c:v>#N/A</c:v>
                </c:pt>
                <c:pt idx="3591">
                  <c:v>3.3491200000000001</c:v>
                </c:pt>
                <c:pt idx="3592">
                  <c:v>2.6068199999999999</c:v>
                </c:pt>
                <c:pt idx="3593">
                  <c:v>2.1614100000000001</c:v>
                </c:pt>
                <c:pt idx="3594">
                  <c:v>#N/A</c:v>
                </c:pt>
                <c:pt idx="3595">
                  <c:v>1.87435</c:v>
                </c:pt>
                <c:pt idx="3596">
                  <c:v>2.3275000000000001</c:v>
                </c:pt>
                <c:pt idx="3597">
                  <c:v>2.4883700000000002</c:v>
                </c:pt>
                <c:pt idx="3598">
                  <c:v>#N/A</c:v>
                </c:pt>
                <c:pt idx="3599">
                  <c:v>2.71286</c:v>
                </c:pt>
                <c:pt idx="3600">
                  <c:v>2.9107500000000002</c:v>
                </c:pt>
                <c:pt idx="3601">
                  <c:v>3.21692</c:v>
                </c:pt>
                <c:pt idx="3602">
                  <c:v>#N/A</c:v>
                </c:pt>
                <c:pt idx="3603">
                  <c:v>2.7248899999999998</c:v>
                </c:pt>
                <c:pt idx="3604">
                  <c:v>2.30145</c:v>
                </c:pt>
                <c:pt idx="3605">
                  <c:v>2.2040899999999999</c:v>
                </c:pt>
                <c:pt idx="3606">
                  <c:v>#N/A</c:v>
                </c:pt>
                <c:pt idx="3607">
                  <c:v>2.3835099999999998</c:v>
                </c:pt>
                <c:pt idx="3608">
                  <c:v>2.7129300000000001</c:v>
                </c:pt>
                <c:pt idx="3609">
                  <c:v>#N/A</c:v>
                </c:pt>
                <c:pt idx="3610">
                  <c:v>3.0769199999999999</c:v>
                </c:pt>
                <c:pt idx="3611">
                  <c:v>2.63585</c:v>
                </c:pt>
                <c:pt idx="3612">
                  <c:v>2.13015</c:v>
                </c:pt>
                <c:pt idx="3613">
                  <c:v>#N/A</c:v>
                </c:pt>
                <c:pt idx="3614">
                  <c:v>2.4413200000000002</c:v>
                </c:pt>
                <c:pt idx="3615">
                  <c:v>3.0189900000000001</c:v>
                </c:pt>
                <c:pt idx="3616">
                  <c:v>3.2823199999999999</c:v>
                </c:pt>
                <c:pt idx="3617">
                  <c:v>#N/A</c:v>
                </c:pt>
                <c:pt idx="3618">
                  <c:v>2.8527900000000002</c:v>
                </c:pt>
                <c:pt idx="3619">
                  <c:v>3.1495199999999999</c:v>
                </c:pt>
                <c:pt idx="3620">
                  <c:v>3.2368299999999999</c:v>
                </c:pt>
                <c:pt idx="3621">
                  <c:v>#N/A</c:v>
                </c:pt>
                <c:pt idx="3622">
                  <c:v>2.7612999999999999</c:v>
                </c:pt>
                <c:pt idx="3623">
                  <c:v>2.2115800000000001</c:v>
                </c:pt>
                <c:pt idx="3624">
                  <c:v>1.9423600000000001</c:v>
                </c:pt>
                <c:pt idx="3625">
                  <c:v>#N/A</c:v>
                </c:pt>
                <c:pt idx="3626">
                  <c:v>2.48583</c:v>
                </c:pt>
                <c:pt idx="3627">
                  <c:v>3.1943100000000002</c:v>
                </c:pt>
                <c:pt idx="3628">
                  <c:v>3.6752600000000002</c:v>
                </c:pt>
                <c:pt idx="3629">
                  <c:v>#N/A</c:v>
                </c:pt>
                <c:pt idx="3630">
                  <c:v>3.6682700000000001</c:v>
                </c:pt>
                <c:pt idx="3631">
                  <c:v>3.3865599999999998</c:v>
                </c:pt>
                <c:pt idx="3632">
                  <c:v>2.7625600000000001</c:v>
                </c:pt>
                <c:pt idx="3633">
                  <c:v>#N/A</c:v>
                </c:pt>
                <c:pt idx="3634">
                  <c:v>2.7902200000000001</c:v>
                </c:pt>
                <c:pt idx="3635">
                  <c:v>2.2498900000000002</c:v>
                </c:pt>
                <c:pt idx="3636">
                  <c:v>2.51905</c:v>
                </c:pt>
                <c:pt idx="3637">
                  <c:v>#N/A</c:v>
                </c:pt>
                <c:pt idx="3638">
                  <c:v>2.82267</c:v>
                </c:pt>
                <c:pt idx="3639">
                  <c:v>3.4956700000000001</c:v>
                </c:pt>
                <c:pt idx="3640">
                  <c:v>#N/A</c:v>
                </c:pt>
                <c:pt idx="3641">
                  <c:v>3.0912600000000001</c:v>
                </c:pt>
                <c:pt idx="3642">
                  <c:v>2.4853399999999999</c:v>
                </c:pt>
                <c:pt idx="3643">
                  <c:v>2.2505099999999998</c:v>
                </c:pt>
                <c:pt idx="3644">
                  <c:v>#N/A</c:v>
                </c:pt>
                <c:pt idx="3645">
                  <c:v>1.8312900000000001</c:v>
                </c:pt>
                <c:pt idx="3646">
                  <c:v>2.1067399999999998</c:v>
                </c:pt>
                <c:pt idx="3647">
                  <c:v>2.4352499999999999</c:v>
                </c:pt>
                <c:pt idx="3648">
                  <c:v>#N/A</c:v>
                </c:pt>
                <c:pt idx="3649">
                  <c:v>2.9098000000000002</c:v>
                </c:pt>
                <c:pt idx="3650">
                  <c:v>3.0294500000000002</c:v>
                </c:pt>
                <c:pt idx="3651">
                  <c:v>#N/A</c:v>
                </c:pt>
                <c:pt idx="3652">
                  <c:v>3.4610599999999998</c:v>
                </c:pt>
                <c:pt idx="3653">
                  <c:v>2.6627399999999999</c:v>
                </c:pt>
                <c:pt idx="3654">
                  <c:v>2.4756100000000001</c:v>
                </c:pt>
                <c:pt idx="3655">
                  <c:v>#N/A</c:v>
                </c:pt>
                <c:pt idx="3656">
                  <c:v>2.3554400000000002</c:v>
                </c:pt>
                <c:pt idx="3657">
                  <c:v>2.29251</c:v>
                </c:pt>
                <c:pt idx="3658">
                  <c:v>2.1056400000000002</c:v>
                </c:pt>
                <c:pt idx="3659">
                  <c:v>#N/A</c:v>
                </c:pt>
                <c:pt idx="3660">
                  <c:v>2.83264</c:v>
                </c:pt>
                <c:pt idx="3661">
                  <c:v>2.91547</c:v>
                </c:pt>
                <c:pt idx="3662">
                  <c:v>3.01701</c:v>
                </c:pt>
                <c:pt idx="3663">
                  <c:v>#N/A</c:v>
                </c:pt>
                <c:pt idx="3664">
                  <c:v>2.7426300000000001</c:v>
                </c:pt>
                <c:pt idx="3665">
                  <c:v>2.6458300000000001</c:v>
                </c:pt>
                <c:pt idx="3666">
                  <c:v>2.1895600000000002</c:v>
                </c:pt>
                <c:pt idx="3667">
                  <c:v>#N/A</c:v>
                </c:pt>
                <c:pt idx="3668">
                  <c:v>2.2972999999999999</c:v>
                </c:pt>
                <c:pt idx="3669">
                  <c:v>3.0894900000000001</c:v>
                </c:pt>
                <c:pt idx="3670">
                  <c:v>3.3191600000000001</c:v>
                </c:pt>
                <c:pt idx="3671">
                  <c:v>#N/A</c:v>
                </c:pt>
                <c:pt idx="3672">
                  <c:v>3.7224400000000002</c:v>
                </c:pt>
                <c:pt idx="3673">
                  <c:v>3.3287900000000001</c:v>
                </c:pt>
                <c:pt idx="3674">
                  <c:v>#N/A</c:v>
                </c:pt>
                <c:pt idx="3675">
                  <c:v>#N/A</c:v>
                </c:pt>
                <c:pt idx="3676">
                  <c:v>#N/A</c:v>
                </c:pt>
                <c:pt idx="3677">
                  <c:v>#N/A</c:v>
                </c:pt>
                <c:pt idx="3678">
                  <c:v>#N/A</c:v>
                </c:pt>
                <c:pt idx="3679">
                  <c:v>#N/A</c:v>
                </c:pt>
                <c:pt idx="3680">
                  <c:v>#N/A</c:v>
                </c:pt>
                <c:pt idx="3681">
                  <c:v>#N/A</c:v>
                </c:pt>
                <c:pt idx="3682">
                  <c:v>#N/A</c:v>
                </c:pt>
                <c:pt idx="3683">
                  <c:v>#N/A</c:v>
                </c:pt>
                <c:pt idx="3684">
                  <c:v>#N/A</c:v>
                </c:pt>
                <c:pt idx="3685">
                  <c:v>#N/A</c:v>
                </c:pt>
                <c:pt idx="3686">
                  <c:v>#N/A</c:v>
                </c:pt>
                <c:pt idx="3687">
                  <c:v>#N/A</c:v>
                </c:pt>
                <c:pt idx="3688">
                  <c:v>#N/A</c:v>
                </c:pt>
                <c:pt idx="3689">
                  <c:v>#N/A</c:v>
                </c:pt>
                <c:pt idx="3690">
                  <c:v>#N/A</c:v>
                </c:pt>
                <c:pt idx="3691">
                  <c:v>#N/A</c:v>
                </c:pt>
                <c:pt idx="3692">
                  <c:v>#N/A</c:v>
                </c:pt>
                <c:pt idx="3693">
                  <c:v>#N/A</c:v>
                </c:pt>
                <c:pt idx="3694">
                  <c:v>#N/A</c:v>
                </c:pt>
                <c:pt idx="3695">
                  <c:v>#N/A</c:v>
                </c:pt>
                <c:pt idx="3696">
                  <c:v>#N/A</c:v>
                </c:pt>
                <c:pt idx="3697">
                  <c:v>2.92598</c:v>
                </c:pt>
                <c:pt idx="3698">
                  <c:v>2.5375899999999998</c:v>
                </c:pt>
                <c:pt idx="3699">
                  <c:v>#N/A</c:v>
                </c:pt>
                <c:pt idx="3700">
                  <c:v>3.12731</c:v>
                </c:pt>
                <c:pt idx="3701">
                  <c:v>3.0768</c:v>
                </c:pt>
                <c:pt idx="3702">
                  <c:v>#N/A</c:v>
                </c:pt>
                <c:pt idx="3703">
                  <c:v>3.1116299999999999</c:v>
                </c:pt>
                <c:pt idx="3704">
                  <c:v>#N/A</c:v>
                </c:pt>
                <c:pt idx="3705">
                  <c:v>2.7436799999999999</c:v>
                </c:pt>
                <c:pt idx="3706">
                  <c:v>1.90622</c:v>
                </c:pt>
                <c:pt idx="3707">
                  <c:v>2.1595399999999998</c:v>
                </c:pt>
                <c:pt idx="3708">
                  <c:v>#N/A</c:v>
                </c:pt>
                <c:pt idx="3709">
                  <c:v>2.0883500000000002</c:v>
                </c:pt>
                <c:pt idx="3710">
                  <c:v>2.5250400000000002</c:v>
                </c:pt>
                <c:pt idx="3711">
                  <c:v>2.9194200000000001</c:v>
                </c:pt>
                <c:pt idx="3712">
                  <c:v>#N/A</c:v>
                </c:pt>
                <c:pt idx="3713">
                  <c:v>3.4616600000000002</c:v>
                </c:pt>
                <c:pt idx="3714">
                  <c:v>3.3529</c:v>
                </c:pt>
                <c:pt idx="3715">
                  <c:v>2.7192699999999999</c:v>
                </c:pt>
                <c:pt idx="3716">
                  <c:v>#N/A</c:v>
                </c:pt>
                <c:pt idx="3717">
                  <c:v>2.4684900000000001</c:v>
                </c:pt>
                <c:pt idx="3718">
                  <c:v>2.0448400000000002</c:v>
                </c:pt>
                <c:pt idx="3719">
                  <c:v>#N/A</c:v>
                </c:pt>
                <c:pt idx="3720">
                  <c:v>2.1075300000000001</c:v>
                </c:pt>
                <c:pt idx="3721">
                  <c:v>2.5977600000000001</c:v>
                </c:pt>
                <c:pt idx="3722">
                  <c:v>2.98359</c:v>
                </c:pt>
                <c:pt idx="3723">
                  <c:v>#N/A</c:v>
                </c:pt>
                <c:pt idx="3724">
                  <c:v>2.9451100000000001</c:v>
                </c:pt>
                <c:pt idx="3725">
                  <c:v>3.1917800000000001</c:v>
                </c:pt>
                <c:pt idx="3726">
                  <c:v>2.7144599999999999</c:v>
                </c:pt>
                <c:pt idx="3727">
                  <c:v>#N/A</c:v>
                </c:pt>
                <c:pt idx="3728">
                  <c:v>2.5087000000000002</c:v>
                </c:pt>
                <c:pt idx="3729">
                  <c:v>2.4815800000000001</c:v>
                </c:pt>
                <c:pt idx="3730">
                  <c:v>2.32647</c:v>
                </c:pt>
                <c:pt idx="3731">
                  <c:v>#N/A</c:v>
                </c:pt>
                <c:pt idx="3732">
                  <c:v>2.2229399999999999</c:v>
                </c:pt>
                <c:pt idx="3733">
                  <c:v>3.0086599999999999</c:v>
                </c:pt>
                <c:pt idx="3734">
                  <c:v>3.3043100000000001</c:v>
                </c:pt>
                <c:pt idx="3735">
                  <c:v>#N/A</c:v>
                </c:pt>
                <c:pt idx="3736">
                  <c:v>3.6352500000000001</c:v>
                </c:pt>
                <c:pt idx="3737">
                  <c:v>3.63883</c:v>
                </c:pt>
                <c:pt idx="3738">
                  <c:v>3.1396099999999998</c:v>
                </c:pt>
                <c:pt idx="3739">
                  <c:v>#N/A</c:v>
                </c:pt>
                <c:pt idx="3740">
                  <c:v>2.5034200000000002</c:v>
                </c:pt>
                <c:pt idx="3741">
                  <c:v>2.75421</c:v>
                </c:pt>
                <c:pt idx="3742">
                  <c:v>#N/A</c:v>
                </c:pt>
                <c:pt idx="3743">
                  <c:v>2.9824600000000001</c:v>
                </c:pt>
                <c:pt idx="3744">
                  <c:v>3.1964199999999998</c:v>
                </c:pt>
                <c:pt idx="3745">
                  <c:v>2.6707800000000002</c:v>
                </c:pt>
                <c:pt idx="3746">
                  <c:v>#N/A</c:v>
                </c:pt>
                <c:pt idx="3747">
                  <c:v>3.0938300000000001</c:v>
                </c:pt>
                <c:pt idx="3748">
                  <c:v>3.0331899999999998</c:v>
                </c:pt>
                <c:pt idx="3749">
                  <c:v>2.7305100000000002</c:v>
                </c:pt>
                <c:pt idx="3750">
                  <c:v>#N/A</c:v>
                </c:pt>
                <c:pt idx="3751">
                  <c:v>3.0170400000000002</c:v>
                </c:pt>
                <c:pt idx="3752">
                  <c:v>3.3499400000000001</c:v>
                </c:pt>
                <c:pt idx="3753">
                  <c:v>3.60473</c:v>
                </c:pt>
                <c:pt idx="3754">
                  <c:v>#N/A</c:v>
                </c:pt>
                <c:pt idx="3755">
                  <c:v>3.9568400000000001</c:v>
                </c:pt>
                <c:pt idx="3756">
                  <c:v>3.7696299999999998</c:v>
                </c:pt>
                <c:pt idx="3757">
                  <c:v>3.5695700000000001</c:v>
                </c:pt>
                <c:pt idx="3758">
                  <c:v>#N/A</c:v>
                </c:pt>
                <c:pt idx="3759">
                  <c:v>3.1736300000000002</c:v>
                </c:pt>
                <c:pt idx="3760">
                  <c:v>3.3288000000000002</c:v>
                </c:pt>
                <c:pt idx="3761">
                  <c:v>3.2087400000000001</c:v>
                </c:pt>
                <c:pt idx="3762">
                  <c:v>#N/A</c:v>
                </c:pt>
                <c:pt idx="3763">
                  <c:v>3.6265200000000002</c:v>
                </c:pt>
                <c:pt idx="3764">
                  <c:v>3.1440700000000001</c:v>
                </c:pt>
                <c:pt idx="3765">
                  <c:v>#N/A</c:v>
                </c:pt>
                <c:pt idx="3766">
                  <c:v>3.51972</c:v>
                </c:pt>
                <c:pt idx="3767">
                  <c:v>3.3587099999999999</c:v>
                </c:pt>
                <c:pt idx="3768">
                  <c:v>2.6909900000000002</c:v>
                </c:pt>
                <c:pt idx="3769">
                  <c:v>#N/A</c:v>
                </c:pt>
                <c:pt idx="3770">
                  <c:v>2.73705</c:v>
                </c:pt>
                <c:pt idx="3771">
                  <c:v>2.1651799999999999</c:v>
                </c:pt>
                <c:pt idx="3772">
                  <c:v>3.1983100000000002</c:v>
                </c:pt>
                <c:pt idx="3773">
                  <c:v>#N/A</c:v>
                </c:pt>
                <c:pt idx="3774">
                  <c:v>#N/A</c:v>
                </c:pt>
                <c:pt idx="3775">
                  <c:v>3.27216</c:v>
                </c:pt>
                <c:pt idx="3776">
                  <c:v>3.9475600000000002</c:v>
                </c:pt>
                <c:pt idx="3777">
                  <c:v>3.5065</c:v>
                </c:pt>
                <c:pt idx="3778">
                  <c:v>#N/A</c:v>
                </c:pt>
                <c:pt idx="3779">
                  <c:v>3.1845699999999999</c:v>
                </c:pt>
                <c:pt idx="3780">
                  <c:v>3.1294900000000001</c:v>
                </c:pt>
                <c:pt idx="3781">
                  <c:v>2.6388600000000002</c:v>
                </c:pt>
                <c:pt idx="3782">
                  <c:v>#N/A</c:v>
                </c:pt>
                <c:pt idx="3783">
                  <c:v>3.0474100000000002</c:v>
                </c:pt>
                <c:pt idx="3784">
                  <c:v>3.38537</c:v>
                </c:pt>
                <c:pt idx="3785">
                  <c:v>#N/A</c:v>
                </c:pt>
                <c:pt idx="3786">
                  <c:v>4.1417900000000003</c:v>
                </c:pt>
                <c:pt idx="3787">
                  <c:v>3.88463</c:v>
                </c:pt>
                <c:pt idx="3788">
                  <c:v>4.1582699999999999</c:v>
                </c:pt>
                <c:pt idx="3789">
                  <c:v>#N/A</c:v>
                </c:pt>
                <c:pt idx="3790">
                  <c:v>2.48095</c:v>
                </c:pt>
                <c:pt idx="3791">
                  <c:v>2.39676</c:v>
                </c:pt>
                <c:pt idx="3792">
                  <c:v>#N/A</c:v>
                </c:pt>
                <c:pt idx="3793">
                  <c:v>2.5784899999999999</c:v>
                </c:pt>
                <c:pt idx="3794">
                  <c:v>2.68486</c:v>
                </c:pt>
                <c:pt idx="3795">
                  <c:v>3.58108</c:v>
                </c:pt>
                <c:pt idx="3796">
                  <c:v>#N/A</c:v>
                </c:pt>
                <c:pt idx="3797">
                  <c:v>3.6476000000000002</c:v>
                </c:pt>
                <c:pt idx="3798">
                  <c:v>3.7860399999999998</c:v>
                </c:pt>
                <c:pt idx="3799">
                  <c:v>3.4102100000000002</c:v>
                </c:pt>
                <c:pt idx="3800">
                  <c:v>#N/A</c:v>
                </c:pt>
                <c:pt idx="3801">
                  <c:v>3.0926499999999999</c:v>
                </c:pt>
                <c:pt idx="3802">
                  <c:v>2.44543</c:v>
                </c:pt>
                <c:pt idx="3803">
                  <c:v>2.5666600000000002</c:v>
                </c:pt>
                <c:pt idx="3804">
                  <c:v>#N/A</c:v>
                </c:pt>
                <c:pt idx="3805">
                  <c:v>2.7278500000000001</c:v>
                </c:pt>
                <c:pt idx="3806">
                  <c:v>3.09036</c:v>
                </c:pt>
                <c:pt idx="3807">
                  <c:v>2.9556100000000001</c:v>
                </c:pt>
                <c:pt idx="3808">
                  <c:v>#N/A</c:v>
                </c:pt>
                <c:pt idx="3809">
                  <c:v>3.54419</c:v>
                </c:pt>
                <c:pt idx="3810">
                  <c:v>3.5202300000000002</c:v>
                </c:pt>
                <c:pt idx="3811">
                  <c:v>2.7949299999999999</c:v>
                </c:pt>
                <c:pt idx="3812">
                  <c:v>#N/A</c:v>
                </c:pt>
                <c:pt idx="3813">
                  <c:v>2.5272800000000002</c:v>
                </c:pt>
                <c:pt idx="3814">
                  <c:v>2.61754</c:v>
                </c:pt>
                <c:pt idx="3815">
                  <c:v>#N/A</c:v>
                </c:pt>
                <c:pt idx="3816">
                  <c:v>2.9043000000000001</c:v>
                </c:pt>
                <c:pt idx="3817">
                  <c:v>3.43682</c:v>
                </c:pt>
                <c:pt idx="3818">
                  <c:v>3.7441300000000002</c:v>
                </c:pt>
                <c:pt idx="3819">
                  <c:v>#N/A</c:v>
                </c:pt>
                <c:pt idx="3820">
                  <c:v>3.1112700000000002</c:v>
                </c:pt>
                <c:pt idx="3821">
                  <c:v>3.2526299999999999</c:v>
                </c:pt>
                <c:pt idx="3822">
                  <c:v>3.1164299999999998</c:v>
                </c:pt>
                <c:pt idx="3823">
                  <c:v>#N/A</c:v>
                </c:pt>
                <c:pt idx="3824">
                  <c:v>3.16323</c:v>
                </c:pt>
                <c:pt idx="3825">
                  <c:v>2.5005299999999999</c:v>
                </c:pt>
                <c:pt idx="3826">
                  <c:v>3.1028799999999999</c:v>
                </c:pt>
                <c:pt idx="3827">
                  <c:v>#N/A</c:v>
                </c:pt>
                <c:pt idx="3828">
                  <c:v>2.9394399999999998</c:v>
                </c:pt>
                <c:pt idx="3829">
                  <c:v>3.11402</c:v>
                </c:pt>
                <c:pt idx="3830">
                  <c:v>2.7675700000000001</c:v>
                </c:pt>
                <c:pt idx="3831">
                  <c:v>#N/A</c:v>
                </c:pt>
                <c:pt idx="3832">
                  <c:v>2.4649000000000001</c:v>
                </c:pt>
                <c:pt idx="3833">
                  <c:v>2.6491899999999999</c:v>
                </c:pt>
                <c:pt idx="3834">
                  <c:v>2.4673699999999998</c:v>
                </c:pt>
                <c:pt idx="3835">
                  <c:v>#N/A</c:v>
                </c:pt>
                <c:pt idx="3836">
                  <c:v>2.5786099999999998</c:v>
                </c:pt>
                <c:pt idx="3837">
                  <c:v>2.8778899999999998</c:v>
                </c:pt>
                <c:pt idx="3838">
                  <c:v>#N/A</c:v>
                </c:pt>
                <c:pt idx="3839">
                  <c:v>3.46231</c:v>
                </c:pt>
                <c:pt idx="3840">
                  <c:v>3.16031</c:v>
                </c:pt>
                <c:pt idx="3841">
                  <c:v>2.8439299999999998</c:v>
                </c:pt>
                <c:pt idx="3842">
                  <c:v>#N/A</c:v>
                </c:pt>
                <c:pt idx="3843">
                  <c:v>2.2589000000000001</c:v>
                </c:pt>
                <c:pt idx="3844">
                  <c:v>2.6392000000000002</c:v>
                </c:pt>
                <c:pt idx="3845">
                  <c:v>#N/A</c:v>
                </c:pt>
                <c:pt idx="3846">
                  <c:v>2.5107599999999999</c:v>
                </c:pt>
                <c:pt idx="3847">
                  <c:v>3.1024799999999999</c:v>
                </c:pt>
                <c:pt idx="3848">
                  <c:v>3.9550200000000002</c:v>
                </c:pt>
                <c:pt idx="3849">
                  <c:v>#N/A</c:v>
                </c:pt>
                <c:pt idx="3850">
                  <c:v>3.5004900000000001</c:v>
                </c:pt>
                <c:pt idx="3851">
                  <c:v>#N/A</c:v>
                </c:pt>
                <c:pt idx="3852">
                  <c:v>2.8342399999999999</c:v>
                </c:pt>
                <c:pt idx="3853">
                  <c:v>2.7392099999999999</c:v>
                </c:pt>
                <c:pt idx="3854">
                  <c:v>#N/A</c:v>
                </c:pt>
                <c:pt idx="3855">
                  <c:v>2.21698</c:v>
                </c:pt>
                <c:pt idx="3856">
                  <c:v>2.6382400000000001</c:v>
                </c:pt>
                <c:pt idx="3857">
                  <c:v>3.1827800000000002</c:v>
                </c:pt>
                <c:pt idx="3858">
                  <c:v>#N/A</c:v>
                </c:pt>
                <c:pt idx="3859">
                  <c:v>4.0033899999999996</c:v>
                </c:pt>
                <c:pt idx="3860">
                  <c:v>3.8371300000000002</c:v>
                </c:pt>
                <c:pt idx="3861">
                  <c:v>3.39276</c:v>
                </c:pt>
                <c:pt idx="3862">
                  <c:v>#N/A</c:v>
                </c:pt>
                <c:pt idx="3863">
                  <c:v>3.32538</c:v>
                </c:pt>
                <c:pt idx="3864">
                  <c:v>2.7252900000000002</c:v>
                </c:pt>
                <c:pt idx="3865">
                  <c:v>#N/A</c:v>
                </c:pt>
                <c:pt idx="3866">
                  <c:v>2.08656</c:v>
                </c:pt>
                <c:pt idx="3867">
                  <c:v>2.3279200000000002</c:v>
                </c:pt>
                <c:pt idx="3868">
                  <c:v>2.8956300000000001</c:v>
                </c:pt>
                <c:pt idx="3869">
                  <c:v>#N/A</c:v>
                </c:pt>
                <c:pt idx="3870">
                  <c:v>3.9395899999999999</c:v>
                </c:pt>
                <c:pt idx="3871">
                  <c:v>3.68642</c:v>
                </c:pt>
                <c:pt idx="3872">
                  <c:v>3.4025599999999998</c:v>
                </c:pt>
                <c:pt idx="3873">
                  <c:v>#N/A</c:v>
                </c:pt>
                <c:pt idx="3874">
                  <c:v>2.5859999999999999</c:v>
                </c:pt>
                <c:pt idx="3875">
                  <c:v>2.8632200000000001</c:v>
                </c:pt>
                <c:pt idx="3876">
                  <c:v>2.9370599999999998</c:v>
                </c:pt>
                <c:pt idx="3877">
                  <c:v>#N/A</c:v>
                </c:pt>
                <c:pt idx="3878">
                  <c:v>3.0664600000000002</c:v>
                </c:pt>
                <c:pt idx="3879">
                  <c:v>3.9473199999999999</c:v>
                </c:pt>
                <c:pt idx="3880">
                  <c:v>4.0783300000000002</c:v>
                </c:pt>
                <c:pt idx="3881">
                  <c:v>#N/A</c:v>
                </c:pt>
                <c:pt idx="3882">
                  <c:v>4.2826899999999997</c:v>
                </c:pt>
                <c:pt idx="3883">
                  <c:v>3.8684599999999998</c:v>
                </c:pt>
                <c:pt idx="3884">
                  <c:v>3.5372300000000001</c:v>
                </c:pt>
                <c:pt idx="3885">
                  <c:v>#N/A</c:v>
                </c:pt>
                <c:pt idx="3886">
                  <c:v>3.0694300000000001</c:v>
                </c:pt>
                <c:pt idx="3887">
                  <c:v>3.14723</c:v>
                </c:pt>
                <c:pt idx="3888">
                  <c:v>3.5221200000000001</c:v>
                </c:pt>
                <c:pt idx="3889">
                  <c:v>#N/A</c:v>
                </c:pt>
                <c:pt idx="3890">
                  <c:v>3.2934999999999999</c:v>
                </c:pt>
                <c:pt idx="3891">
                  <c:v>3.1351399999999998</c:v>
                </c:pt>
                <c:pt idx="3892">
                  <c:v>#N/A</c:v>
                </c:pt>
                <c:pt idx="3893">
                  <c:v>3.2831999999999999</c:v>
                </c:pt>
                <c:pt idx="3894">
                  <c:v>3.6376499999999998</c:v>
                </c:pt>
                <c:pt idx="3895">
                  <c:v>3.0427</c:v>
                </c:pt>
                <c:pt idx="3896">
                  <c:v>#N/A</c:v>
                </c:pt>
                <c:pt idx="3897">
                  <c:v>2.7128000000000001</c:v>
                </c:pt>
                <c:pt idx="3898">
                  <c:v>3.1272000000000002</c:v>
                </c:pt>
                <c:pt idx="3899">
                  <c:v>3.30063</c:v>
                </c:pt>
                <c:pt idx="3900">
                  <c:v>#N/A</c:v>
                </c:pt>
                <c:pt idx="3901">
                  <c:v>3.5454500000000002</c:v>
                </c:pt>
                <c:pt idx="3902">
                  <c:v>3.1549299999999998</c:v>
                </c:pt>
                <c:pt idx="3903">
                  <c:v>2.7555200000000002</c:v>
                </c:pt>
                <c:pt idx="3904">
                  <c:v>#N/A</c:v>
                </c:pt>
                <c:pt idx="3905">
                  <c:v>2.9742799999999998</c:v>
                </c:pt>
                <c:pt idx="3906">
                  <c:v>3.19502</c:v>
                </c:pt>
                <c:pt idx="3907">
                  <c:v>3.7339699999999998</c:v>
                </c:pt>
                <c:pt idx="3908">
                  <c:v>#N/A</c:v>
                </c:pt>
                <c:pt idx="3909">
                  <c:v>3.2164600000000001</c:v>
                </c:pt>
                <c:pt idx="3910">
                  <c:v>3.0634700000000001</c:v>
                </c:pt>
                <c:pt idx="3911">
                  <c:v>3.2747299999999999</c:v>
                </c:pt>
                <c:pt idx="3912">
                  <c:v>#N/A</c:v>
                </c:pt>
                <c:pt idx="3913">
                  <c:v>3.4738500000000001</c:v>
                </c:pt>
                <c:pt idx="3914">
                  <c:v>3.7962099999999999</c:v>
                </c:pt>
                <c:pt idx="3915">
                  <c:v>2.49762</c:v>
                </c:pt>
                <c:pt idx="3916">
                  <c:v>#N/A</c:v>
                </c:pt>
                <c:pt idx="3917">
                  <c:v>2.6856599999999999</c:v>
                </c:pt>
                <c:pt idx="3918">
                  <c:v>2.9601999999999999</c:v>
                </c:pt>
                <c:pt idx="3919">
                  <c:v>3.2564899999999999</c:v>
                </c:pt>
                <c:pt idx="3920">
                  <c:v>#N/A</c:v>
                </c:pt>
                <c:pt idx="3921">
                  <c:v>3.0575399999999999</c:v>
                </c:pt>
                <c:pt idx="3922">
                  <c:v>3.12852</c:v>
                </c:pt>
                <c:pt idx="3923">
                  <c:v>#N/A</c:v>
                </c:pt>
                <c:pt idx="3924">
                  <c:v>2.7439100000000001</c:v>
                </c:pt>
                <c:pt idx="3925">
                  <c:v>2.6146199999999999</c:v>
                </c:pt>
                <c:pt idx="3926">
                  <c:v>#N/A</c:v>
                </c:pt>
                <c:pt idx="3927">
                  <c:v>2.41134</c:v>
                </c:pt>
                <c:pt idx="3928">
                  <c:v>2.8657699999999999</c:v>
                </c:pt>
                <c:pt idx="3929">
                  <c:v>#N/A</c:v>
                </c:pt>
                <c:pt idx="3930">
                  <c:v>2.7453599999999998</c:v>
                </c:pt>
                <c:pt idx="3931">
                  <c:v>3.3435100000000002</c:v>
                </c:pt>
                <c:pt idx="3932">
                  <c:v>#N/A</c:v>
                </c:pt>
                <c:pt idx="3933">
                  <c:v>3.46705</c:v>
                </c:pt>
                <c:pt idx="3934">
                  <c:v>3.4758</c:v>
                </c:pt>
                <c:pt idx="3935">
                  <c:v>2.9409200000000002</c:v>
                </c:pt>
                <c:pt idx="3936">
                  <c:v>#N/A</c:v>
                </c:pt>
                <c:pt idx="3937">
                  <c:v>3.0218099999999999</c:v>
                </c:pt>
                <c:pt idx="3938">
                  <c:v>2.8141799999999999</c:v>
                </c:pt>
                <c:pt idx="3939">
                  <c:v>2.2792300000000001</c:v>
                </c:pt>
                <c:pt idx="3940">
                  <c:v>#N/A</c:v>
                </c:pt>
                <c:pt idx="3941">
                  <c:v>2.6488700000000001</c:v>
                </c:pt>
                <c:pt idx="3942">
                  <c:v>3.5743999999999998</c:v>
                </c:pt>
                <c:pt idx="3943">
                  <c:v>4.1646000000000001</c:v>
                </c:pt>
                <c:pt idx="3944">
                  <c:v>#N/A</c:v>
                </c:pt>
                <c:pt idx="3945">
                  <c:v>3.3552</c:v>
                </c:pt>
                <c:pt idx="3946">
                  <c:v>3.5415899999999998</c:v>
                </c:pt>
                <c:pt idx="3947">
                  <c:v>#N/A</c:v>
                </c:pt>
                <c:pt idx="3948">
                  <c:v>2.7056</c:v>
                </c:pt>
                <c:pt idx="3949">
                  <c:v>1.9686699999999999</c:v>
                </c:pt>
                <c:pt idx="3950">
                  <c:v>1.49535</c:v>
                </c:pt>
                <c:pt idx="3951">
                  <c:v>#N/A</c:v>
                </c:pt>
                <c:pt idx="3952">
                  <c:v>2.30565</c:v>
                </c:pt>
                <c:pt idx="3953">
                  <c:v>2.9857</c:v>
                </c:pt>
                <c:pt idx="3954">
                  <c:v>2.7769300000000001</c:v>
                </c:pt>
                <c:pt idx="3955">
                  <c:v>#N/A</c:v>
                </c:pt>
                <c:pt idx="3956">
                  <c:v>3.4787499999999998</c:v>
                </c:pt>
                <c:pt idx="3957">
                  <c:v>2.23325</c:v>
                </c:pt>
                <c:pt idx="3958">
                  <c:v>2.1485300000000001</c:v>
                </c:pt>
                <c:pt idx="3959">
                  <c:v>#N/A</c:v>
                </c:pt>
                <c:pt idx="3960">
                  <c:v>2.47376</c:v>
                </c:pt>
                <c:pt idx="3961">
                  <c:v>2.3773499999999999</c:v>
                </c:pt>
                <c:pt idx="3962">
                  <c:v>2.6487699999999998</c:v>
                </c:pt>
                <c:pt idx="3963">
                  <c:v>#N/A</c:v>
                </c:pt>
                <c:pt idx="3964">
                  <c:v>3.68466</c:v>
                </c:pt>
                <c:pt idx="3965">
                  <c:v>3.5591699999999999</c:v>
                </c:pt>
                <c:pt idx="3966">
                  <c:v>3.4834900000000002</c:v>
                </c:pt>
                <c:pt idx="3967">
                  <c:v>#N/A</c:v>
                </c:pt>
                <c:pt idx="3968">
                  <c:v>3.9336099999999998</c:v>
                </c:pt>
                <c:pt idx="3969">
                  <c:v>3.18181</c:v>
                </c:pt>
                <c:pt idx="3970">
                  <c:v>3.1648100000000001</c:v>
                </c:pt>
                <c:pt idx="3971">
                  <c:v>#N/A</c:v>
                </c:pt>
                <c:pt idx="3972">
                  <c:v>2.7728899999999999</c:v>
                </c:pt>
                <c:pt idx="3973">
                  <c:v>3.3223199999999999</c:v>
                </c:pt>
                <c:pt idx="3974">
                  <c:v>3.43438</c:v>
                </c:pt>
                <c:pt idx="3975">
                  <c:v>#N/A</c:v>
                </c:pt>
                <c:pt idx="3976">
                  <c:v>2.73794</c:v>
                </c:pt>
                <c:pt idx="3977">
                  <c:v>2.77718</c:v>
                </c:pt>
                <c:pt idx="3978">
                  <c:v>1.84213</c:v>
                </c:pt>
                <c:pt idx="3979">
                  <c:v>#N/A</c:v>
                </c:pt>
                <c:pt idx="3980">
                  <c:v>2.52468</c:v>
                </c:pt>
                <c:pt idx="3981">
                  <c:v>2.1154299999999999</c:v>
                </c:pt>
                <c:pt idx="3982">
                  <c:v>2.56941</c:v>
                </c:pt>
                <c:pt idx="3983">
                  <c:v>#N/A</c:v>
                </c:pt>
                <c:pt idx="3984">
                  <c:v>3.0554600000000001</c:v>
                </c:pt>
                <c:pt idx="3985">
                  <c:v>3.41744</c:v>
                </c:pt>
                <c:pt idx="3986">
                  <c:v>#N/A</c:v>
                </c:pt>
                <c:pt idx="3987">
                  <c:v>3.2752400000000002</c:v>
                </c:pt>
                <c:pt idx="3988">
                  <c:v>2.9145300000000001</c:v>
                </c:pt>
                <c:pt idx="3989">
                  <c:v>2.7693300000000001</c:v>
                </c:pt>
                <c:pt idx="3990">
                  <c:v>#N/A</c:v>
                </c:pt>
                <c:pt idx="3991">
                  <c:v>2.4862099999999998</c:v>
                </c:pt>
                <c:pt idx="3992">
                  <c:v>3.24444</c:v>
                </c:pt>
                <c:pt idx="3993">
                  <c:v>3.51397</c:v>
                </c:pt>
                <c:pt idx="3994">
                  <c:v>#N/A</c:v>
                </c:pt>
                <c:pt idx="3995">
                  <c:v>3.7398199999999999</c:v>
                </c:pt>
                <c:pt idx="3996">
                  <c:v>3.1819999999999999</c:v>
                </c:pt>
                <c:pt idx="3997">
                  <c:v>#N/A</c:v>
                </c:pt>
                <c:pt idx="3998">
                  <c:v>2.83466</c:v>
                </c:pt>
                <c:pt idx="3999">
                  <c:v>2.3278599999999998</c:v>
                </c:pt>
                <c:pt idx="4000">
                  <c:v>#N/A</c:v>
                </c:pt>
                <c:pt idx="4001">
                  <c:v>2.44624</c:v>
                </c:pt>
                <c:pt idx="4002">
                  <c:v>2.5678200000000002</c:v>
                </c:pt>
                <c:pt idx="4003">
                  <c:v>#N/A</c:v>
                </c:pt>
                <c:pt idx="4004">
                  <c:v>4.0041700000000002</c:v>
                </c:pt>
                <c:pt idx="4005">
                  <c:v>3.6554700000000002</c:v>
                </c:pt>
                <c:pt idx="4006">
                  <c:v>3.6880600000000001</c:v>
                </c:pt>
                <c:pt idx="4007">
                  <c:v>#N/A</c:v>
                </c:pt>
                <c:pt idx="4008">
                  <c:v>2.8094700000000001</c:v>
                </c:pt>
                <c:pt idx="4009">
                  <c:v>2.6968899999999998</c:v>
                </c:pt>
                <c:pt idx="4010">
                  <c:v>2.6707999999999998</c:v>
                </c:pt>
                <c:pt idx="4011">
                  <c:v>#N/A</c:v>
                </c:pt>
                <c:pt idx="4012">
                  <c:v>2.1473100000000001</c:v>
                </c:pt>
                <c:pt idx="4013">
                  <c:v>2.6078899999999998</c:v>
                </c:pt>
                <c:pt idx="4014">
                  <c:v>#N/A</c:v>
                </c:pt>
                <c:pt idx="4015">
                  <c:v>2.4542000000000002</c:v>
                </c:pt>
                <c:pt idx="4016">
                  <c:v>3.50901</c:v>
                </c:pt>
                <c:pt idx="4017">
                  <c:v>3.21509</c:v>
                </c:pt>
                <c:pt idx="4018">
                  <c:v>#N/A</c:v>
                </c:pt>
                <c:pt idx="4019">
                  <c:v>2.96787</c:v>
                </c:pt>
                <c:pt idx="4020">
                  <c:v>3.0686</c:v>
                </c:pt>
                <c:pt idx="4021">
                  <c:v>2.28071</c:v>
                </c:pt>
                <c:pt idx="4022">
                  <c:v>#N/A</c:v>
                </c:pt>
                <c:pt idx="4023">
                  <c:v>2.41255</c:v>
                </c:pt>
                <c:pt idx="4024">
                  <c:v>2.0150399999999999</c:v>
                </c:pt>
                <c:pt idx="4025">
                  <c:v>2.66283</c:v>
                </c:pt>
                <c:pt idx="4026">
                  <c:v>#N/A</c:v>
                </c:pt>
                <c:pt idx="4027">
                  <c:v>3.02691</c:v>
                </c:pt>
                <c:pt idx="4028">
                  <c:v>3.6642600000000001</c:v>
                </c:pt>
                <c:pt idx="4029">
                  <c:v>3.4748899999999998</c:v>
                </c:pt>
                <c:pt idx="4030">
                  <c:v>#N/A</c:v>
                </c:pt>
                <c:pt idx="4031">
                  <c:v>2.9681799999999998</c:v>
                </c:pt>
                <c:pt idx="4032">
                  <c:v>2.4614099999999999</c:v>
                </c:pt>
                <c:pt idx="4033">
                  <c:v>#N/A</c:v>
                </c:pt>
                <c:pt idx="4034">
                  <c:v>2.21888</c:v>
                </c:pt>
                <c:pt idx="4035">
                  <c:v>3.1600600000000001</c:v>
                </c:pt>
                <c:pt idx="4036">
                  <c:v>2.97418</c:v>
                </c:pt>
                <c:pt idx="4037">
                  <c:v>#N/A</c:v>
                </c:pt>
                <c:pt idx="4038">
                  <c:v>2.82578</c:v>
                </c:pt>
                <c:pt idx="4039">
                  <c:v>2.79311</c:v>
                </c:pt>
                <c:pt idx="4040">
                  <c:v>3.16391</c:v>
                </c:pt>
                <c:pt idx="4041">
                  <c:v>#N/A</c:v>
                </c:pt>
                <c:pt idx="4042">
                  <c:v>2.1212399999999998</c:v>
                </c:pt>
                <c:pt idx="4043">
                  <c:v>2.3797799999999998</c:v>
                </c:pt>
                <c:pt idx="4044">
                  <c:v>1.87551</c:v>
                </c:pt>
                <c:pt idx="4045">
                  <c:v>#N/A</c:v>
                </c:pt>
                <c:pt idx="4046">
                  <c:v>2.7896299999999998</c:v>
                </c:pt>
                <c:pt idx="4047">
                  <c:v>3.7318699999999998</c:v>
                </c:pt>
                <c:pt idx="4048">
                  <c:v>3.3693300000000002</c:v>
                </c:pt>
                <c:pt idx="4049">
                  <c:v>#N/A</c:v>
                </c:pt>
                <c:pt idx="4050">
                  <c:v>2.8864899999999998</c:v>
                </c:pt>
                <c:pt idx="4051">
                  <c:v>2.76857</c:v>
                </c:pt>
                <c:pt idx="4052">
                  <c:v>#N/A</c:v>
                </c:pt>
                <c:pt idx="4053">
                  <c:v>2.7681900000000002</c:v>
                </c:pt>
                <c:pt idx="4054">
                  <c:v>2.8167800000000001</c:v>
                </c:pt>
                <c:pt idx="4055">
                  <c:v>2.8900100000000002</c:v>
                </c:pt>
                <c:pt idx="4056">
                  <c:v>#N/A</c:v>
                </c:pt>
                <c:pt idx="4057">
                  <c:v>3.2593700000000001</c:v>
                </c:pt>
                <c:pt idx="4058">
                  <c:v>3.0604300000000002</c:v>
                </c:pt>
                <c:pt idx="4059">
                  <c:v>3.6015299999999999</c:v>
                </c:pt>
                <c:pt idx="4060">
                  <c:v>#N/A</c:v>
                </c:pt>
                <c:pt idx="4061">
                  <c:v>2.8469600000000002</c:v>
                </c:pt>
                <c:pt idx="4062">
                  <c:v>2.2458900000000002</c:v>
                </c:pt>
                <c:pt idx="4063">
                  <c:v>2.0567799999999998</c:v>
                </c:pt>
                <c:pt idx="4064">
                  <c:v>#N/A</c:v>
                </c:pt>
                <c:pt idx="4065">
                  <c:v>2.71434</c:v>
                </c:pt>
                <c:pt idx="4066">
                  <c:v>2.8023099999999999</c:v>
                </c:pt>
                <c:pt idx="4067">
                  <c:v>3.6485500000000002</c:v>
                </c:pt>
                <c:pt idx="4068">
                  <c:v>#N/A</c:v>
                </c:pt>
                <c:pt idx="4069">
                  <c:v>3.8424299999999998</c:v>
                </c:pt>
                <c:pt idx="4070">
                  <c:v>3.5548199999999999</c:v>
                </c:pt>
                <c:pt idx="4071">
                  <c:v>#N/A</c:v>
                </c:pt>
                <c:pt idx="4072">
                  <c:v>3.4482900000000001</c:v>
                </c:pt>
                <c:pt idx="4073">
                  <c:v>2.4022000000000001</c:v>
                </c:pt>
                <c:pt idx="4074">
                  <c:v>2.4333499999999999</c:v>
                </c:pt>
                <c:pt idx="4075">
                  <c:v>#N/A</c:v>
                </c:pt>
                <c:pt idx="4076">
                  <c:v>2.6496900000000001</c:v>
                </c:pt>
                <c:pt idx="4077">
                  <c:v>#N/A</c:v>
                </c:pt>
                <c:pt idx="4078">
                  <c:v>3.2614399999999999</c:v>
                </c:pt>
                <c:pt idx="4079">
                  <c:v>2.9952399999999999</c:v>
                </c:pt>
                <c:pt idx="4080">
                  <c:v>#N/A</c:v>
                </c:pt>
                <c:pt idx="4081">
                  <c:v>2.88748</c:v>
                </c:pt>
                <c:pt idx="4082">
                  <c:v>2.9247299999999998</c:v>
                </c:pt>
                <c:pt idx="4083">
                  <c:v>2.88151</c:v>
                </c:pt>
                <c:pt idx="4084">
                  <c:v>#N/A</c:v>
                </c:pt>
                <c:pt idx="4085">
                  <c:v>1.8259000000000001</c:v>
                </c:pt>
                <c:pt idx="4086">
                  <c:v>2.08453</c:v>
                </c:pt>
                <c:pt idx="4087">
                  <c:v>2.8052199999999998</c:v>
                </c:pt>
                <c:pt idx="4088">
                  <c:v>#N/A</c:v>
                </c:pt>
                <c:pt idx="4089">
                  <c:v>3.43981</c:v>
                </c:pt>
                <c:pt idx="4090">
                  <c:v>3.7483900000000001</c:v>
                </c:pt>
                <c:pt idx="4091">
                  <c:v>3.4537900000000001</c:v>
                </c:pt>
                <c:pt idx="4092">
                  <c:v>#N/A</c:v>
                </c:pt>
                <c:pt idx="4093">
                  <c:v>3.0713599999999999</c:v>
                </c:pt>
                <c:pt idx="4094">
                  <c:v>2.5219100000000001</c:v>
                </c:pt>
                <c:pt idx="4095">
                  <c:v>2.4429500000000002</c:v>
                </c:pt>
                <c:pt idx="4096">
                  <c:v>#N/A</c:v>
                </c:pt>
                <c:pt idx="4097">
                  <c:v>2.5449000000000002</c:v>
                </c:pt>
                <c:pt idx="4098">
                  <c:v>3.0134099999999999</c:v>
                </c:pt>
                <c:pt idx="4099">
                  <c:v>3.0416300000000001</c:v>
                </c:pt>
                <c:pt idx="4100">
                  <c:v>#N/A</c:v>
                </c:pt>
                <c:pt idx="4101">
                  <c:v>3.47417</c:v>
                </c:pt>
                <c:pt idx="4102">
                  <c:v>3.2890100000000002</c:v>
                </c:pt>
                <c:pt idx="4103">
                  <c:v>2.3987599999999998</c:v>
                </c:pt>
                <c:pt idx="4104">
                  <c:v>#N/A</c:v>
                </c:pt>
                <c:pt idx="4105">
                  <c:v>2.1510899999999999</c:v>
                </c:pt>
                <c:pt idx="4106">
                  <c:v>2.2302599999999999</c:v>
                </c:pt>
                <c:pt idx="4107">
                  <c:v>#N/A</c:v>
                </c:pt>
                <c:pt idx="4108">
                  <c:v>2.9984500000000001</c:v>
                </c:pt>
                <c:pt idx="4109">
                  <c:v>3.3963399999999999</c:v>
                </c:pt>
                <c:pt idx="4110">
                  <c:v>2.9874299999999998</c:v>
                </c:pt>
                <c:pt idx="4111">
                  <c:v>#N/A</c:v>
                </c:pt>
                <c:pt idx="4112">
                  <c:v>3.4368699999999999</c:v>
                </c:pt>
                <c:pt idx="4113">
                  <c:v>3.68364</c:v>
                </c:pt>
                <c:pt idx="4114">
                  <c:v>#N/A</c:v>
                </c:pt>
                <c:pt idx="4115">
                  <c:v>3.3646799999999999</c:v>
                </c:pt>
                <c:pt idx="4116">
                  <c:v>2.7156099999999999</c:v>
                </c:pt>
                <c:pt idx="4117">
                  <c:v>2.6278700000000002</c:v>
                </c:pt>
                <c:pt idx="4118">
                  <c:v>#N/A</c:v>
                </c:pt>
                <c:pt idx="4119">
                  <c:v>2.90388</c:v>
                </c:pt>
                <c:pt idx="4120">
                  <c:v>3.33901</c:v>
                </c:pt>
                <c:pt idx="4121">
                  <c:v>2.9752999999999998</c:v>
                </c:pt>
                <c:pt idx="4122">
                  <c:v>#N/A</c:v>
                </c:pt>
                <c:pt idx="4123">
                  <c:v>3.1356999999999999</c:v>
                </c:pt>
                <c:pt idx="4124">
                  <c:v>3.2647300000000001</c:v>
                </c:pt>
                <c:pt idx="4125">
                  <c:v>3.0745399999999998</c:v>
                </c:pt>
                <c:pt idx="4126">
                  <c:v>#N/A</c:v>
                </c:pt>
                <c:pt idx="4127">
                  <c:v>2.4888499999999998</c:v>
                </c:pt>
                <c:pt idx="4128">
                  <c:v>2.0777399999999999</c:v>
                </c:pt>
                <c:pt idx="4129">
                  <c:v>2.28417</c:v>
                </c:pt>
                <c:pt idx="4130">
                  <c:v>#N/A</c:v>
                </c:pt>
                <c:pt idx="4131">
                  <c:v>2.9842200000000001</c:v>
                </c:pt>
                <c:pt idx="4132">
                  <c:v>2.88</c:v>
                </c:pt>
                <c:pt idx="4133">
                  <c:v>2.69686</c:v>
                </c:pt>
                <c:pt idx="4134">
                  <c:v>#N/A</c:v>
                </c:pt>
                <c:pt idx="4135">
                  <c:v>3.0687600000000002</c:v>
                </c:pt>
                <c:pt idx="4136">
                  <c:v>2.7062499999999998</c:v>
                </c:pt>
                <c:pt idx="4137">
                  <c:v>2.8839399999999999</c:v>
                </c:pt>
                <c:pt idx="4138">
                  <c:v>#N/A</c:v>
                </c:pt>
                <c:pt idx="4139">
                  <c:v>2.6784300000000001</c:v>
                </c:pt>
                <c:pt idx="4140">
                  <c:v>2.9960200000000001</c:v>
                </c:pt>
                <c:pt idx="4141">
                  <c:v>2.5464099999999998</c:v>
                </c:pt>
                <c:pt idx="4142">
                  <c:v>#N/A</c:v>
                </c:pt>
                <c:pt idx="4143">
                  <c:v>3.2439</c:v>
                </c:pt>
                <c:pt idx="4144">
                  <c:v>2.3948800000000001</c:v>
                </c:pt>
                <c:pt idx="4145">
                  <c:v>2.5598999999999998</c:v>
                </c:pt>
                <c:pt idx="4146">
                  <c:v>#N/A</c:v>
                </c:pt>
                <c:pt idx="4147">
                  <c:v>2.2328800000000002</c:v>
                </c:pt>
                <c:pt idx="4148">
                  <c:v>2.4487199999999998</c:v>
                </c:pt>
                <c:pt idx="4149">
                  <c:v>#N/A</c:v>
                </c:pt>
                <c:pt idx="4150">
                  <c:v>3.12296</c:v>
                </c:pt>
                <c:pt idx="4151">
                  <c:v>#N/A</c:v>
                </c:pt>
                <c:pt idx="4152">
                  <c:v>3.7864499999999999</c:v>
                </c:pt>
                <c:pt idx="4153">
                  <c:v>3.4858500000000001</c:v>
                </c:pt>
                <c:pt idx="4154">
                  <c:v>#N/A</c:v>
                </c:pt>
                <c:pt idx="4155">
                  <c:v>3.2498100000000001</c:v>
                </c:pt>
                <c:pt idx="4156">
                  <c:v>2.4267599999999998</c:v>
                </c:pt>
                <c:pt idx="4157">
                  <c:v>2.3985099999999999</c:v>
                </c:pt>
                <c:pt idx="4158">
                  <c:v>#N/A</c:v>
                </c:pt>
                <c:pt idx="4159">
                  <c:v>1.9569700000000001</c:v>
                </c:pt>
                <c:pt idx="4160">
                  <c:v>2.7916799999999999</c:v>
                </c:pt>
                <c:pt idx="4161">
                  <c:v>3.2727300000000001</c:v>
                </c:pt>
                <c:pt idx="4162">
                  <c:v>#N/A</c:v>
                </c:pt>
                <c:pt idx="4163">
                  <c:v>3.4839899999999999</c:v>
                </c:pt>
                <c:pt idx="4164">
                  <c:v>3.2351399999999999</c:v>
                </c:pt>
                <c:pt idx="4165">
                  <c:v>#N/A</c:v>
                </c:pt>
                <c:pt idx="4166">
                  <c:v>2.7957100000000001</c:v>
                </c:pt>
                <c:pt idx="4167">
                  <c:v>2.3749799999999999</c:v>
                </c:pt>
                <c:pt idx="4168">
                  <c:v>2.1929099999999999</c:v>
                </c:pt>
                <c:pt idx="4169">
                  <c:v>#N/A</c:v>
                </c:pt>
                <c:pt idx="4170">
                  <c:v>2.0946199999999999</c:v>
                </c:pt>
                <c:pt idx="4171">
                  <c:v>2.4854400000000001</c:v>
                </c:pt>
                <c:pt idx="4172">
                  <c:v>3.0906899999999999</c:v>
                </c:pt>
                <c:pt idx="4173">
                  <c:v>#N/A</c:v>
                </c:pt>
                <c:pt idx="4174">
                  <c:v>3.6499899999999998</c:v>
                </c:pt>
                <c:pt idx="4175">
                  <c:v>3.5603099999999999</c:v>
                </c:pt>
                <c:pt idx="4176">
                  <c:v>3.08894</c:v>
                </c:pt>
                <c:pt idx="4177">
                  <c:v>#N/A</c:v>
                </c:pt>
                <c:pt idx="4178">
                  <c:v>2.7324999999999999</c:v>
                </c:pt>
                <c:pt idx="4179">
                  <c:v>3.03714</c:v>
                </c:pt>
                <c:pt idx="4180">
                  <c:v>#N/A</c:v>
                </c:pt>
                <c:pt idx="4181">
                  <c:v>3.6412100000000001</c:v>
                </c:pt>
                <c:pt idx="4182">
                  <c:v>2.7179799999999998</c:v>
                </c:pt>
                <c:pt idx="4183">
                  <c:v>3.8401900000000002</c:v>
                </c:pt>
                <c:pt idx="4184">
                  <c:v>#N/A</c:v>
                </c:pt>
                <c:pt idx="4185">
                  <c:v>3.2358699999999998</c:v>
                </c:pt>
                <c:pt idx="4186">
                  <c:v>3.44617</c:v>
                </c:pt>
                <c:pt idx="4187">
                  <c:v>2.7128700000000001</c:v>
                </c:pt>
                <c:pt idx="4188">
                  <c:v>#N/A</c:v>
                </c:pt>
                <c:pt idx="4189">
                  <c:v>2.5116100000000001</c:v>
                </c:pt>
                <c:pt idx="4190">
                  <c:v>2.5714000000000001</c:v>
                </c:pt>
                <c:pt idx="4191">
                  <c:v>3.1175299999999999</c:v>
                </c:pt>
                <c:pt idx="4192">
                  <c:v>#N/A</c:v>
                </c:pt>
                <c:pt idx="4193">
                  <c:v>3.9481700000000002</c:v>
                </c:pt>
                <c:pt idx="4194">
                  <c:v>3.65191</c:v>
                </c:pt>
                <c:pt idx="4195">
                  <c:v>#N/A</c:v>
                </c:pt>
                <c:pt idx="4196">
                  <c:v>3.3277999999999999</c:v>
                </c:pt>
                <c:pt idx="4197">
                  <c:v>3.5232299999999999</c:v>
                </c:pt>
                <c:pt idx="4198">
                  <c:v>2.6105200000000002</c:v>
                </c:pt>
                <c:pt idx="4199">
                  <c:v>#N/A</c:v>
                </c:pt>
                <c:pt idx="4200">
                  <c:v>1.9454899999999999</c:v>
                </c:pt>
                <c:pt idx="4201">
                  <c:v>2.3680099999999999</c:v>
                </c:pt>
                <c:pt idx="4202">
                  <c:v>2.95546</c:v>
                </c:pt>
                <c:pt idx="4203">
                  <c:v>#N/A</c:v>
                </c:pt>
                <c:pt idx="4204">
                  <c:v>2.6238700000000001</c:v>
                </c:pt>
                <c:pt idx="4205">
                  <c:v>2.3544100000000001</c:v>
                </c:pt>
                <c:pt idx="4206">
                  <c:v>2.4879600000000002</c:v>
                </c:pt>
                <c:pt idx="4207">
                  <c:v>#N/A</c:v>
                </c:pt>
                <c:pt idx="4208">
                  <c:v>2.8116599999999998</c:v>
                </c:pt>
                <c:pt idx="4209">
                  <c:v>2.47967</c:v>
                </c:pt>
                <c:pt idx="4210">
                  <c:v>2.5484499999999999</c:v>
                </c:pt>
                <c:pt idx="4211">
                  <c:v>#N/A</c:v>
                </c:pt>
                <c:pt idx="4212">
                  <c:v>2.7064599999999999</c:v>
                </c:pt>
                <c:pt idx="4213">
                  <c:v>3.4010600000000002</c:v>
                </c:pt>
                <c:pt idx="4214">
                  <c:v>3.7738299999999998</c:v>
                </c:pt>
                <c:pt idx="4215">
                  <c:v>#N/A</c:v>
                </c:pt>
                <c:pt idx="4216">
                  <c:v>3.7341799999999998</c:v>
                </c:pt>
                <c:pt idx="4217">
                  <c:v>3.1825000000000001</c:v>
                </c:pt>
                <c:pt idx="4218">
                  <c:v>2.8624700000000001</c:v>
                </c:pt>
                <c:pt idx="4219">
                  <c:v>#N/A</c:v>
                </c:pt>
                <c:pt idx="4220">
                  <c:v>2.4552800000000001</c:v>
                </c:pt>
                <c:pt idx="4221">
                  <c:v>2.4926300000000001</c:v>
                </c:pt>
                <c:pt idx="4222">
                  <c:v>2.46584</c:v>
                </c:pt>
                <c:pt idx="4223">
                  <c:v>#N/A</c:v>
                </c:pt>
                <c:pt idx="4224">
                  <c:v>3.22363</c:v>
                </c:pt>
                <c:pt idx="4225">
                  <c:v>3.4475699999999998</c:v>
                </c:pt>
                <c:pt idx="4226">
                  <c:v>#N/A</c:v>
                </c:pt>
                <c:pt idx="4227">
                  <c:v>3.4439899999999999</c:v>
                </c:pt>
                <c:pt idx="4228">
                  <c:v>#N/A</c:v>
                </c:pt>
                <c:pt idx="4229">
                  <c:v>2.96191</c:v>
                </c:pt>
                <c:pt idx="4230">
                  <c:v>2.5177800000000001</c:v>
                </c:pt>
                <c:pt idx="4231">
                  <c:v>1.38568</c:v>
                </c:pt>
                <c:pt idx="4232">
                  <c:v>#N/A</c:v>
                </c:pt>
                <c:pt idx="4233">
                  <c:v>2.0908899999999999</c:v>
                </c:pt>
                <c:pt idx="4234">
                  <c:v>2.7002100000000002</c:v>
                </c:pt>
                <c:pt idx="4235">
                  <c:v>3.9801600000000001</c:v>
                </c:pt>
                <c:pt idx="4236">
                  <c:v>#N/A</c:v>
                </c:pt>
                <c:pt idx="4237">
                  <c:v>3.68038</c:v>
                </c:pt>
                <c:pt idx="4238">
                  <c:v>3.0071300000000001</c:v>
                </c:pt>
                <c:pt idx="4239">
                  <c:v>2.7547700000000002</c:v>
                </c:pt>
                <c:pt idx="4240">
                  <c:v>#N/A</c:v>
                </c:pt>
                <c:pt idx="4241">
                  <c:v>2.5544899999999999</c:v>
                </c:pt>
                <c:pt idx="4242">
                  <c:v>2.69062</c:v>
                </c:pt>
                <c:pt idx="4243">
                  <c:v>2.6353599999999999</c:v>
                </c:pt>
                <c:pt idx="4244">
                  <c:v>#N/A</c:v>
                </c:pt>
                <c:pt idx="4245">
                  <c:v>3.1903899999999998</c:v>
                </c:pt>
                <c:pt idx="4246">
                  <c:v>3.1653699999999998</c:v>
                </c:pt>
                <c:pt idx="4247">
                  <c:v>3.6175999999999999</c:v>
                </c:pt>
                <c:pt idx="4248">
                  <c:v>#N/A</c:v>
                </c:pt>
                <c:pt idx="4249">
                  <c:v>3.4836399999999998</c:v>
                </c:pt>
                <c:pt idx="4250">
                  <c:v>2.8374799999999998</c:v>
                </c:pt>
                <c:pt idx="4251">
                  <c:v>2.8357299999999999</c:v>
                </c:pt>
                <c:pt idx="4252">
                  <c:v>#N/A</c:v>
                </c:pt>
                <c:pt idx="4253">
                  <c:v>2.41513</c:v>
                </c:pt>
                <c:pt idx="4254">
                  <c:v>2.2235</c:v>
                </c:pt>
                <c:pt idx="4255">
                  <c:v>2.7964699999999998</c:v>
                </c:pt>
                <c:pt idx="4256">
                  <c:v>#N/A</c:v>
                </c:pt>
                <c:pt idx="4257">
                  <c:v>2.8271600000000001</c:v>
                </c:pt>
                <c:pt idx="4258">
                  <c:v>3.2486899999999999</c:v>
                </c:pt>
                <c:pt idx="4259">
                  <c:v>#N/A</c:v>
                </c:pt>
                <c:pt idx="4260">
                  <c:v>3.2307399999999999</c:v>
                </c:pt>
                <c:pt idx="4261">
                  <c:v>2.8753299999999999</c:v>
                </c:pt>
                <c:pt idx="4262">
                  <c:v>2.41717</c:v>
                </c:pt>
                <c:pt idx="4263">
                  <c:v>#N/A</c:v>
                </c:pt>
                <c:pt idx="4264">
                  <c:v>2.3803200000000002</c:v>
                </c:pt>
                <c:pt idx="4265">
                  <c:v>2.5532300000000001</c:v>
                </c:pt>
                <c:pt idx="4266">
                  <c:v>2.7246700000000001</c:v>
                </c:pt>
                <c:pt idx="4267">
                  <c:v>#N/A</c:v>
                </c:pt>
                <c:pt idx="4268">
                  <c:v>2.4404599999999999</c:v>
                </c:pt>
                <c:pt idx="4269">
                  <c:v>2.4569100000000001</c:v>
                </c:pt>
                <c:pt idx="4270">
                  <c:v>2.5550999999999999</c:v>
                </c:pt>
                <c:pt idx="4271">
                  <c:v>#N/A</c:v>
                </c:pt>
                <c:pt idx="4272">
                  <c:v>2.4274200000000001</c:v>
                </c:pt>
                <c:pt idx="4273">
                  <c:v>2.5611100000000002</c:v>
                </c:pt>
                <c:pt idx="4274">
                  <c:v>2.64689</c:v>
                </c:pt>
                <c:pt idx="4275">
                  <c:v>#N/A</c:v>
                </c:pt>
                <c:pt idx="4276">
                  <c:v>3.0543999999999998</c:v>
                </c:pt>
                <c:pt idx="4277">
                  <c:v>3.7114099999999999</c:v>
                </c:pt>
                <c:pt idx="4278">
                  <c:v>#N/A</c:v>
                </c:pt>
                <c:pt idx="4279">
                  <c:v>2.9748000000000001</c:v>
                </c:pt>
                <c:pt idx="4280">
                  <c:v>2.6958899999999999</c:v>
                </c:pt>
                <c:pt idx="4281">
                  <c:v>2.3094199999999998</c:v>
                </c:pt>
                <c:pt idx="4282">
                  <c:v>#N/A</c:v>
                </c:pt>
                <c:pt idx="4283">
                  <c:v>2.3982100000000002</c:v>
                </c:pt>
                <c:pt idx="4284">
                  <c:v>2.3434900000000001</c:v>
                </c:pt>
                <c:pt idx="4285">
                  <c:v>2.7444999999999999</c:v>
                </c:pt>
                <c:pt idx="4286">
                  <c:v>#N/A</c:v>
                </c:pt>
                <c:pt idx="4287">
                  <c:v>3.0326300000000002</c:v>
                </c:pt>
                <c:pt idx="4288">
                  <c:v>3.1714000000000002</c:v>
                </c:pt>
                <c:pt idx="4289">
                  <c:v>2.9532600000000002</c:v>
                </c:pt>
                <c:pt idx="4290">
                  <c:v>#N/A</c:v>
                </c:pt>
                <c:pt idx="4291">
                  <c:v>2.8671099999999998</c:v>
                </c:pt>
                <c:pt idx="4292">
                  <c:v>2.5517400000000001</c:v>
                </c:pt>
                <c:pt idx="4293">
                  <c:v>#N/A</c:v>
                </c:pt>
                <c:pt idx="4294">
                  <c:v>2.3454899999999999</c:v>
                </c:pt>
                <c:pt idx="4295">
                  <c:v>2.71923</c:v>
                </c:pt>
                <c:pt idx="4296">
                  <c:v>2.9931299999999998</c:v>
                </c:pt>
                <c:pt idx="4297">
                  <c:v>#N/A</c:v>
                </c:pt>
                <c:pt idx="4298">
                  <c:v>3.35371</c:v>
                </c:pt>
                <c:pt idx="4299">
                  <c:v>3.55816</c:v>
                </c:pt>
                <c:pt idx="4300">
                  <c:v>3.1311499999999999</c:v>
                </c:pt>
                <c:pt idx="4301">
                  <c:v>#N/A</c:v>
                </c:pt>
                <c:pt idx="4302">
                  <c:v>#N/A</c:v>
                </c:pt>
                <c:pt idx="4303">
                  <c:v>2.6847400000000001</c:v>
                </c:pt>
                <c:pt idx="4304">
                  <c:v>2.67401</c:v>
                </c:pt>
                <c:pt idx="4305">
                  <c:v>2.3892000000000002</c:v>
                </c:pt>
                <c:pt idx="4306">
                  <c:v>#N/A</c:v>
                </c:pt>
                <c:pt idx="4307">
                  <c:v>3.0995400000000002</c:v>
                </c:pt>
                <c:pt idx="4308">
                  <c:v>2.7614999999999998</c:v>
                </c:pt>
                <c:pt idx="4309">
                  <c:v>3.1721599999999999</c:v>
                </c:pt>
                <c:pt idx="4310">
                  <c:v>#N/A</c:v>
                </c:pt>
                <c:pt idx="4311">
                  <c:v>2.8401399999999999</c:v>
                </c:pt>
                <c:pt idx="4312">
                  <c:v>2.5801599999999998</c:v>
                </c:pt>
                <c:pt idx="4313">
                  <c:v>#N/A</c:v>
                </c:pt>
                <c:pt idx="4314">
                  <c:v>2.5363799999999999</c:v>
                </c:pt>
                <c:pt idx="4315">
                  <c:v>2.2347000000000001</c:v>
                </c:pt>
                <c:pt idx="4316">
                  <c:v>2.3012800000000002</c:v>
                </c:pt>
                <c:pt idx="4317">
                  <c:v>#N/A</c:v>
                </c:pt>
                <c:pt idx="4318">
                  <c:v>2.7267399999999999</c:v>
                </c:pt>
                <c:pt idx="4319">
                  <c:v>3.4789300000000001</c:v>
                </c:pt>
                <c:pt idx="4320">
                  <c:v>3.7130700000000001</c:v>
                </c:pt>
                <c:pt idx="4321">
                  <c:v>#N/A</c:v>
                </c:pt>
                <c:pt idx="4322">
                  <c:v>3.6599300000000001</c:v>
                </c:pt>
                <c:pt idx="4323">
                  <c:v>3.1041500000000002</c:v>
                </c:pt>
                <c:pt idx="4324">
                  <c:v>2.7911000000000001</c:v>
                </c:pt>
                <c:pt idx="4325">
                  <c:v>#N/A</c:v>
                </c:pt>
                <c:pt idx="4326">
                  <c:v>2.1880799999999998</c:v>
                </c:pt>
                <c:pt idx="4327">
                  <c:v>2.37826</c:v>
                </c:pt>
                <c:pt idx="4328">
                  <c:v>2.1952400000000001</c:v>
                </c:pt>
                <c:pt idx="4329">
                  <c:v>#N/A</c:v>
                </c:pt>
                <c:pt idx="4330">
                  <c:v>2.75718</c:v>
                </c:pt>
                <c:pt idx="4331">
                  <c:v>3.4452099999999999</c:v>
                </c:pt>
                <c:pt idx="4332">
                  <c:v>#N/A</c:v>
                </c:pt>
                <c:pt idx="4333">
                  <c:v>3.1116000000000001</c:v>
                </c:pt>
                <c:pt idx="4334">
                  <c:v>2.75989</c:v>
                </c:pt>
                <c:pt idx="4335">
                  <c:v>2.46746</c:v>
                </c:pt>
                <c:pt idx="4336">
                  <c:v>#N/A</c:v>
                </c:pt>
                <c:pt idx="4337">
                  <c:v>2.6859299999999999</c:v>
                </c:pt>
                <c:pt idx="4338">
                  <c:v>2.8510499999999999</c:v>
                </c:pt>
                <c:pt idx="4339">
                  <c:v>3.2188400000000001</c:v>
                </c:pt>
                <c:pt idx="4340">
                  <c:v>#N/A</c:v>
                </c:pt>
                <c:pt idx="4341">
                  <c:v>3.3388599999999999</c:v>
                </c:pt>
                <c:pt idx="4342">
                  <c:v>2.7511299999999999</c:v>
                </c:pt>
                <c:pt idx="4343">
                  <c:v>3.0049700000000001</c:v>
                </c:pt>
                <c:pt idx="4344">
                  <c:v>#N/A</c:v>
                </c:pt>
                <c:pt idx="4345">
                  <c:v>3.13287</c:v>
                </c:pt>
                <c:pt idx="4346">
                  <c:v>2.9083399999999999</c:v>
                </c:pt>
                <c:pt idx="4347">
                  <c:v>3.31433</c:v>
                </c:pt>
                <c:pt idx="4348">
                  <c:v>#N/A</c:v>
                </c:pt>
                <c:pt idx="4349">
                  <c:v>3.4287100000000001</c:v>
                </c:pt>
                <c:pt idx="4350">
                  <c:v>3.0365199999999999</c:v>
                </c:pt>
                <c:pt idx="4351">
                  <c:v>2.9021300000000001</c:v>
                </c:pt>
                <c:pt idx="4352">
                  <c:v>#N/A</c:v>
                </c:pt>
                <c:pt idx="4353">
                  <c:v>2.4942500000000001</c:v>
                </c:pt>
                <c:pt idx="4354">
                  <c:v>2.415</c:v>
                </c:pt>
                <c:pt idx="4355">
                  <c:v>2.1920600000000001</c:v>
                </c:pt>
                <c:pt idx="4356">
                  <c:v>#N/A</c:v>
                </c:pt>
                <c:pt idx="4357">
                  <c:v>2.5223100000000001</c:v>
                </c:pt>
                <c:pt idx="4358">
                  <c:v>2.69787</c:v>
                </c:pt>
                <c:pt idx="4359">
                  <c:v>2.9881099999999998</c:v>
                </c:pt>
                <c:pt idx="4360">
                  <c:v>#N/A</c:v>
                </c:pt>
                <c:pt idx="4361">
                  <c:v>3.8379099999999999</c:v>
                </c:pt>
                <c:pt idx="4362">
                  <c:v>3.3686400000000001</c:v>
                </c:pt>
                <c:pt idx="4363">
                  <c:v>#N/A</c:v>
                </c:pt>
                <c:pt idx="4364">
                  <c:v>3.1128200000000001</c:v>
                </c:pt>
                <c:pt idx="4365">
                  <c:v>2.9668199999999998</c:v>
                </c:pt>
                <c:pt idx="4366">
                  <c:v>2.7199200000000001</c:v>
                </c:pt>
                <c:pt idx="4367">
                  <c:v>#N/A</c:v>
                </c:pt>
                <c:pt idx="4368">
                  <c:v>3.0950799999999998</c:v>
                </c:pt>
                <c:pt idx="4369">
                  <c:v>3.2831199999999998</c:v>
                </c:pt>
                <c:pt idx="4370">
                  <c:v>3.2937799999999999</c:v>
                </c:pt>
                <c:pt idx="4371">
                  <c:v>#N/A</c:v>
                </c:pt>
                <c:pt idx="4372">
                  <c:v>3.2065999999999999</c:v>
                </c:pt>
                <c:pt idx="4373">
                  <c:v>3.0425399999999998</c:v>
                </c:pt>
                <c:pt idx="4374">
                  <c:v>#N/A</c:v>
                </c:pt>
                <c:pt idx="4375">
                  <c:v>2.97573</c:v>
                </c:pt>
                <c:pt idx="4376">
                  <c:v>2.2848000000000002</c:v>
                </c:pt>
                <c:pt idx="4377">
                  <c:v>#N/A</c:v>
                </c:pt>
                <c:pt idx="4378">
                  <c:v>2.1529600000000002</c:v>
                </c:pt>
                <c:pt idx="4379">
                  <c:v>2.52718</c:v>
                </c:pt>
                <c:pt idx="4380">
                  <c:v>#N/A</c:v>
                </c:pt>
                <c:pt idx="4381">
                  <c:v>3.0254500000000002</c:v>
                </c:pt>
                <c:pt idx="4382">
                  <c:v>3.1787999999999998</c:v>
                </c:pt>
                <c:pt idx="4383">
                  <c:v>3.0608399999999998</c:v>
                </c:pt>
                <c:pt idx="4384">
                  <c:v>#N/A</c:v>
                </c:pt>
                <c:pt idx="4385">
                  <c:v>3.4167999999999998</c:v>
                </c:pt>
                <c:pt idx="4386">
                  <c:v>2.5969899999999999</c:v>
                </c:pt>
                <c:pt idx="4387">
                  <c:v>2.5630600000000001</c:v>
                </c:pt>
                <c:pt idx="4388">
                  <c:v>#N/A</c:v>
                </c:pt>
                <c:pt idx="4389">
                  <c:v>2.4256099999999998</c:v>
                </c:pt>
                <c:pt idx="4390">
                  <c:v>2.8884699999999999</c:v>
                </c:pt>
                <c:pt idx="4391">
                  <c:v>#N/A</c:v>
                </c:pt>
                <c:pt idx="4392">
                  <c:v>2.8237299999999999</c:v>
                </c:pt>
                <c:pt idx="4393">
                  <c:v>3.4593400000000001</c:v>
                </c:pt>
                <c:pt idx="4394">
                  <c:v>3.00779</c:v>
                </c:pt>
                <c:pt idx="4395">
                  <c:v>#N/A</c:v>
                </c:pt>
                <c:pt idx="4396">
                  <c:v>3.0926900000000002</c:v>
                </c:pt>
                <c:pt idx="4397">
                  <c:v>2.98149</c:v>
                </c:pt>
                <c:pt idx="4398">
                  <c:v>2.7178399999999998</c:v>
                </c:pt>
                <c:pt idx="4399">
                  <c:v>#N/A</c:v>
                </c:pt>
                <c:pt idx="4400">
                  <c:v>2.7613599999999998</c:v>
                </c:pt>
                <c:pt idx="4401">
                  <c:v>3.05139</c:v>
                </c:pt>
                <c:pt idx="4402">
                  <c:v>3.0674899999999998</c:v>
                </c:pt>
                <c:pt idx="4403">
                  <c:v>#N/A</c:v>
                </c:pt>
                <c:pt idx="4404">
                  <c:v>3.8159200000000002</c:v>
                </c:pt>
                <c:pt idx="4405">
                  <c:v>3.4700600000000001</c:v>
                </c:pt>
                <c:pt idx="4406">
                  <c:v>3.9689999999999999</c:v>
                </c:pt>
                <c:pt idx="4407">
                  <c:v>#N/A</c:v>
                </c:pt>
                <c:pt idx="4408">
                  <c:v>2.8586999999999998</c:v>
                </c:pt>
                <c:pt idx="4409">
                  <c:v>2.7079599999999999</c:v>
                </c:pt>
                <c:pt idx="4410">
                  <c:v>2.7748200000000001</c:v>
                </c:pt>
                <c:pt idx="4411">
                  <c:v>#N/A</c:v>
                </c:pt>
                <c:pt idx="4412">
                  <c:v>2.8599700000000001</c:v>
                </c:pt>
                <c:pt idx="4413">
                  <c:v>3.2247400000000002</c:v>
                </c:pt>
                <c:pt idx="4414">
                  <c:v>3.1280000000000001</c:v>
                </c:pt>
                <c:pt idx="4415">
                  <c:v>#N/A</c:v>
                </c:pt>
                <c:pt idx="4416">
                  <c:v>2.6348099999999999</c:v>
                </c:pt>
                <c:pt idx="4417">
                  <c:v>2.52698</c:v>
                </c:pt>
                <c:pt idx="4418">
                  <c:v>2.87601</c:v>
                </c:pt>
                <c:pt idx="4419">
                  <c:v>#N/A</c:v>
                </c:pt>
                <c:pt idx="4420">
                  <c:v>2.9761600000000001</c:v>
                </c:pt>
                <c:pt idx="4421">
                  <c:v>2.6713800000000001</c:v>
                </c:pt>
                <c:pt idx="4422">
                  <c:v>3.4235199999999999</c:v>
                </c:pt>
                <c:pt idx="4423">
                  <c:v>#N/A</c:v>
                </c:pt>
                <c:pt idx="4424">
                  <c:v>3.9271099999999999</c:v>
                </c:pt>
                <c:pt idx="4425">
                  <c:v>3.6741000000000001</c:v>
                </c:pt>
                <c:pt idx="4426">
                  <c:v>3.6224500000000002</c:v>
                </c:pt>
                <c:pt idx="4427">
                  <c:v>#N/A</c:v>
                </c:pt>
                <c:pt idx="4428">
                  <c:v>3.5517099999999999</c:v>
                </c:pt>
                <c:pt idx="4429">
                  <c:v>3.1259999999999999</c:v>
                </c:pt>
                <c:pt idx="4430">
                  <c:v>3.3165800000000001</c:v>
                </c:pt>
                <c:pt idx="4431">
                  <c:v>#N/A</c:v>
                </c:pt>
                <c:pt idx="4432">
                  <c:v>3.2597399999999999</c:v>
                </c:pt>
                <c:pt idx="4433">
                  <c:v>2.9758800000000001</c:v>
                </c:pt>
                <c:pt idx="4434">
                  <c:v>3.1491199999999999</c:v>
                </c:pt>
                <c:pt idx="4435">
                  <c:v>#N/A</c:v>
                </c:pt>
                <c:pt idx="4436">
                  <c:v>3.2229100000000002</c:v>
                </c:pt>
                <c:pt idx="4437">
                  <c:v>2.94164</c:v>
                </c:pt>
                <c:pt idx="4438">
                  <c:v>#N/A</c:v>
                </c:pt>
                <c:pt idx="4439">
                  <c:v>2.3892500000000001</c:v>
                </c:pt>
                <c:pt idx="4440">
                  <c:v>2.46414</c:v>
                </c:pt>
                <c:pt idx="4441">
                  <c:v>2.2414700000000001</c:v>
                </c:pt>
                <c:pt idx="4442">
                  <c:v>#N/A</c:v>
                </c:pt>
                <c:pt idx="4443">
                  <c:v>3.0219399999999998</c:v>
                </c:pt>
                <c:pt idx="4444">
                  <c:v>3.45112</c:v>
                </c:pt>
                <c:pt idx="4445">
                  <c:v>3.5681500000000002</c:v>
                </c:pt>
                <c:pt idx="4446">
                  <c:v>#N/A</c:v>
                </c:pt>
                <c:pt idx="4447">
                  <c:v>3.2789600000000001</c:v>
                </c:pt>
                <c:pt idx="4448">
                  <c:v>3.4407100000000002</c:v>
                </c:pt>
                <c:pt idx="4449">
                  <c:v>3.1317300000000001</c:v>
                </c:pt>
                <c:pt idx="4450">
                  <c:v>#N/A</c:v>
                </c:pt>
                <c:pt idx="4451">
                  <c:v>2.4956900000000002</c:v>
                </c:pt>
                <c:pt idx="4452">
                  <c:v>#N/A</c:v>
                </c:pt>
                <c:pt idx="4453">
                  <c:v>2.52806</c:v>
                </c:pt>
                <c:pt idx="4454">
                  <c:v>3.1059700000000001</c:v>
                </c:pt>
                <c:pt idx="4455">
                  <c:v>#N/A</c:v>
                </c:pt>
                <c:pt idx="4456">
                  <c:v>3.1509999999999998</c:v>
                </c:pt>
                <c:pt idx="4457">
                  <c:v>2.9255300000000002</c:v>
                </c:pt>
                <c:pt idx="4458">
                  <c:v>3.1069800000000001</c:v>
                </c:pt>
                <c:pt idx="4459">
                  <c:v>#N/A</c:v>
                </c:pt>
                <c:pt idx="4460">
                  <c:v>2.2985600000000002</c:v>
                </c:pt>
                <c:pt idx="4461">
                  <c:v>1.9177599999999999</c:v>
                </c:pt>
                <c:pt idx="4462">
                  <c:v>2.1792500000000001</c:v>
                </c:pt>
                <c:pt idx="4463">
                  <c:v>#N/A</c:v>
                </c:pt>
                <c:pt idx="4464">
                  <c:v>2.8064499999999999</c:v>
                </c:pt>
                <c:pt idx="4465">
                  <c:v>3.7070799999999999</c:v>
                </c:pt>
                <c:pt idx="4466">
                  <c:v>#N/A</c:v>
                </c:pt>
                <c:pt idx="4467">
                  <c:v>3.8749099999999999</c:v>
                </c:pt>
                <c:pt idx="4468">
                  <c:v>3.32395</c:v>
                </c:pt>
                <c:pt idx="4469">
                  <c:v>2.6464099999999999</c:v>
                </c:pt>
                <c:pt idx="4470">
                  <c:v>#N/A</c:v>
                </c:pt>
                <c:pt idx="4471">
                  <c:v>2.7531500000000002</c:v>
                </c:pt>
                <c:pt idx="4472">
                  <c:v>3.20459</c:v>
                </c:pt>
                <c:pt idx="4473">
                  <c:v>2.8144</c:v>
                </c:pt>
                <c:pt idx="4474">
                  <c:v>#N/A</c:v>
                </c:pt>
                <c:pt idx="4475">
                  <c:v>2.93669</c:v>
                </c:pt>
                <c:pt idx="4476">
                  <c:v>2.8048000000000002</c:v>
                </c:pt>
                <c:pt idx="4477">
                  <c:v>3.29895</c:v>
                </c:pt>
                <c:pt idx="4478">
                  <c:v>#N/A</c:v>
                </c:pt>
                <c:pt idx="4479">
                  <c:v>3.0799099999999999</c:v>
                </c:pt>
                <c:pt idx="4480">
                  <c:v>2.66656</c:v>
                </c:pt>
                <c:pt idx="4481">
                  <c:v>2.6586799999999999</c:v>
                </c:pt>
                <c:pt idx="4482">
                  <c:v>#N/A</c:v>
                </c:pt>
                <c:pt idx="4483">
                  <c:v>2.61652</c:v>
                </c:pt>
                <c:pt idx="4484">
                  <c:v>3.2954599999999998</c:v>
                </c:pt>
                <c:pt idx="4485">
                  <c:v>3.0499000000000001</c:v>
                </c:pt>
                <c:pt idx="4486">
                  <c:v>#N/A</c:v>
                </c:pt>
                <c:pt idx="4487">
                  <c:v>3.3178100000000001</c:v>
                </c:pt>
                <c:pt idx="4488">
                  <c:v>3.3542299999999998</c:v>
                </c:pt>
                <c:pt idx="4489">
                  <c:v>3.71271</c:v>
                </c:pt>
                <c:pt idx="4490">
                  <c:v>#N/A</c:v>
                </c:pt>
                <c:pt idx="4491">
                  <c:v>2.8667400000000001</c:v>
                </c:pt>
                <c:pt idx="4492">
                  <c:v>2.6868099999999999</c:v>
                </c:pt>
                <c:pt idx="4493">
                  <c:v>#N/A</c:v>
                </c:pt>
                <c:pt idx="4494">
                  <c:v>2.45547</c:v>
                </c:pt>
                <c:pt idx="4495">
                  <c:v>2.6134400000000002</c:v>
                </c:pt>
                <c:pt idx="4496">
                  <c:v>3.3056999999999999</c:v>
                </c:pt>
                <c:pt idx="4497">
                  <c:v>#N/A</c:v>
                </c:pt>
                <c:pt idx="4498">
                  <c:v>2.6405099999999999</c:v>
                </c:pt>
                <c:pt idx="4499">
                  <c:v>#N/A</c:v>
                </c:pt>
                <c:pt idx="4500">
                  <c:v>2.4666000000000001</c:v>
                </c:pt>
                <c:pt idx="4501">
                  <c:v>2.4947499999999998</c:v>
                </c:pt>
                <c:pt idx="4502">
                  <c:v>#N/A</c:v>
                </c:pt>
                <c:pt idx="4503">
                  <c:v>2.2608700000000002</c:v>
                </c:pt>
                <c:pt idx="4504">
                  <c:v>2.4000900000000001</c:v>
                </c:pt>
                <c:pt idx="4505">
                  <c:v>2.4756300000000002</c:v>
                </c:pt>
                <c:pt idx="4506">
                  <c:v>#N/A</c:v>
                </c:pt>
                <c:pt idx="4507">
                  <c:v>3.4793500000000002</c:v>
                </c:pt>
                <c:pt idx="4508">
                  <c:v>3.2879900000000002</c:v>
                </c:pt>
                <c:pt idx="4509">
                  <c:v>3.0677099999999999</c:v>
                </c:pt>
                <c:pt idx="4510">
                  <c:v>#N/A</c:v>
                </c:pt>
                <c:pt idx="4511">
                  <c:v>3.49675</c:v>
                </c:pt>
                <c:pt idx="4512">
                  <c:v>3.0708299999999999</c:v>
                </c:pt>
                <c:pt idx="4513">
                  <c:v>2.6674000000000002</c:v>
                </c:pt>
                <c:pt idx="4514">
                  <c:v>#N/A</c:v>
                </c:pt>
                <c:pt idx="4515">
                  <c:v>3.0734599999999999</c:v>
                </c:pt>
                <c:pt idx="4516">
                  <c:v>2.9462700000000002</c:v>
                </c:pt>
                <c:pt idx="4517">
                  <c:v>3.8759800000000002</c:v>
                </c:pt>
                <c:pt idx="4518">
                  <c:v>#N/A</c:v>
                </c:pt>
                <c:pt idx="4519">
                  <c:v>3.6949299999999998</c:v>
                </c:pt>
                <c:pt idx="4520">
                  <c:v>2.8086700000000002</c:v>
                </c:pt>
                <c:pt idx="4521">
                  <c:v>2.5149499999999998</c:v>
                </c:pt>
                <c:pt idx="4522">
                  <c:v>#N/A</c:v>
                </c:pt>
                <c:pt idx="4523">
                  <c:v>2.2932800000000002</c:v>
                </c:pt>
                <c:pt idx="4524">
                  <c:v>2.8916400000000002</c:v>
                </c:pt>
                <c:pt idx="4525">
                  <c:v>3.0507</c:v>
                </c:pt>
                <c:pt idx="4526">
                  <c:v>#N/A</c:v>
                </c:pt>
                <c:pt idx="4527">
                  <c:v>3.8456299999999999</c:v>
                </c:pt>
                <c:pt idx="4528">
                  <c:v>#N/A</c:v>
                </c:pt>
                <c:pt idx="4529">
                  <c:v>3.3609499999999999</c:v>
                </c:pt>
                <c:pt idx="4530">
                  <c:v>3.1972200000000002</c:v>
                </c:pt>
                <c:pt idx="4531">
                  <c:v>2.96034</c:v>
                </c:pt>
                <c:pt idx="4532">
                  <c:v>#N/A</c:v>
                </c:pt>
                <c:pt idx="4533">
                  <c:v>2.8584800000000001</c:v>
                </c:pt>
                <c:pt idx="4534">
                  <c:v>2.87656</c:v>
                </c:pt>
                <c:pt idx="4535">
                  <c:v>2.5103200000000001</c:v>
                </c:pt>
                <c:pt idx="4536">
                  <c:v>#N/A</c:v>
                </c:pt>
                <c:pt idx="4537">
                  <c:v>2.9856699999999998</c:v>
                </c:pt>
                <c:pt idx="4538">
                  <c:v>3.0167000000000002</c:v>
                </c:pt>
                <c:pt idx="4539">
                  <c:v>3.3406699999999998</c:v>
                </c:pt>
                <c:pt idx="4540">
                  <c:v>#N/A</c:v>
                </c:pt>
                <c:pt idx="4541">
                  <c:v>2.80966</c:v>
                </c:pt>
                <c:pt idx="4542">
                  <c:v>2.85195</c:v>
                </c:pt>
                <c:pt idx="4543">
                  <c:v>#N/A</c:v>
                </c:pt>
                <c:pt idx="4544">
                  <c:v>2.2591399999999999</c:v>
                </c:pt>
                <c:pt idx="4545">
                  <c:v>3.3226900000000001</c:v>
                </c:pt>
                <c:pt idx="4546">
                  <c:v>3.0026299999999999</c:v>
                </c:pt>
                <c:pt idx="4547">
                  <c:v>#N/A</c:v>
                </c:pt>
                <c:pt idx="4548">
                  <c:v>2.99885</c:v>
                </c:pt>
                <c:pt idx="4549">
                  <c:v>3.46801</c:v>
                </c:pt>
                <c:pt idx="4550">
                  <c:v>#N/A</c:v>
                </c:pt>
                <c:pt idx="4551">
                  <c:v>3.8133699999999999</c:v>
                </c:pt>
                <c:pt idx="4552">
                  <c:v>3.6684000000000001</c:v>
                </c:pt>
                <c:pt idx="4553">
                  <c:v>3.1928299999999998</c:v>
                </c:pt>
                <c:pt idx="4554">
                  <c:v>#N/A</c:v>
                </c:pt>
                <c:pt idx="4555">
                  <c:v>2.6474000000000002</c:v>
                </c:pt>
                <c:pt idx="4556">
                  <c:v>2.5966200000000002</c:v>
                </c:pt>
                <c:pt idx="4557">
                  <c:v>2.7180800000000001</c:v>
                </c:pt>
                <c:pt idx="4558">
                  <c:v>#N/A</c:v>
                </c:pt>
                <c:pt idx="4559">
                  <c:v>2.6713499999999999</c:v>
                </c:pt>
                <c:pt idx="4560">
                  <c:v>2.8643800000000001</c:v>
                </c:pt>
                <c:pt idx="4561">
                  <c:v>2.49959</c:v>
                </c:pt>
                <c:pt idx="4562">
                  <c:v>#N/A</c:v>
                </c:pt>
                <c:pt idx="4563">
                  <c:v>3.1397200000000001</c:v>
                </c:pt>
                <c:pt idx="4564">
                  <c:v>2.3782700000000001</c:v>
                </c:pt>
                <c:pt idx="4565">
                  <c:v>2.4260000000000002</c:v>
                </c:pt>
                <c:pt idx="4566">
                  <c:v>#N/A</c:v>
                </c:pt>
                <c:pt idx="4567">
                  <c:v>2.4495100000000001</c:v>
                </c:pt>
                <c:pt idx="4568">
                  <c:v>2.9991400000000001</c:v>
                </c:pt>
                <c:pt idx="4569">
                  <c:v>3.3626499999999999</c:v>
                </c:pt>
                <c:pt idx="4570">
                  <c:v>#N/A</c:v>
                </c:pt>
                <c:pt idx="4571">
                  <c:v>3.0548899999999999</c:v>
                </c:pt>
                <c:pt idx="4572">
                  <c:v>2.8910399999999998</c:v>
                </c:pt>
                <c:pt idx="4573">
                  <c:v>2.7204700000000002</c:v>
                </c:pt>
                <c:pt idx="4574">
                  <c:v>#N/A</c:v>
                </c:pt>
                <c:pt idx="4575">
                  <c:v>2.6947100000000002</c:v>
                </c:pt>
                <c:pt idx="4576">
                  <c:v>2.7593299999999998</c:v>
                </c:pt>
                <c:pt idx="4577">
                  <c:v>2.9666100000000002</c:v>
                </c:pt>
                <c:pt idx="4578">
                  <c:v>#N/A</c:v>
                </c:pt>
                <c:pt idx="4579">
                  <c:v>3.1746500000000002</c:v>
                </c:pt>
                <c:pt idx="4580">
                  <c:v>3.1525400000000001</c:v>
                </c:pt>
                <c:pt idx="4581">
                  <c:v>#N/A</c:v>
                </c:pt>
                <c:pt idx="4582">
                  <c:v>3.3452799999999998</c:v>
                </c:pt>
                <c:pt idx="4583">
                  <c:v>2.8047399999999998</c:v>
                </c:pt>
                <c:pt idx="4584">
                  <c:v>2.5230000000000001</c:v>
                </c:pt>
                <c:pt idx="4585">
                  <c:v>#N/A</c:v>
                </c:pt>
                <c:pt idx="4586">
                  <c:v>2.68607</c:v>
                </c:pt>
                <c:pt idx="4587">
                  <c:v>2.3609800000000001</c:v>
                </c:pt>
                <c:pt idx="4588">
                  <c:v>3.0220899999999999</c:v>
                </c:pt>
                <c:pt idx="4589">
                  <c:v>#N/A</c:v>
                </c:pt>
                <c:pt idx="4590">
                  <c:v>3.2136900000000002</c:v>
                </c:pt>
                <c:pt idx="4591">
                  <c:v>3.8937599999999999</c:v>
                </c:pt>
                <c:pt idx="4592">
                  <c:v>3.7005599999999998</c:v>
                </c:pt>
                <c:pt idx="4593">
                  <c:v>#N/A</c:v>
                </c:pt>
                <c:pt idx="4594">
                  <c:v>3.1488800000000001</c:v>
                </c:pt>
                <c:pt idx="4595">
                  <c:v>2.8807</c:v>
                </c:pt>
                <c:pt idx="4596">
                  <c:v>2.3751000000000002</c:v>
                </c:pt>
                <c:pt idx="4597">
                  <c:v>#N/A</c:v>
                </c:pt>
                <c:pt idx="4598">
                  <c:v>2.0427499999999998</c:v>
                </c:pt>
                <c:pt idx="4599">
                  <c:v>2.9662500000000001</c:v>
                </c:pt>
                <c:pt idx="4600">
                  <c:v>#N/A</c:v>
                </c:pt>
                <c:pt idx="4601">
                  <c:v>2.9229699999999998</c:v>
                </c:pt>
                <c:pt idx="4602">
                  <c:v>2.99234</c:v>
                </c:pt>
                <c:pt idx="4603">
                  <c:v>#N/A</c:v>
                </c:pt>
                <c:pt idx="4604">
                  <c:v>3.1247199999999999</c:v>
                </c:pt>
                <c:pt idx="4605">
                  <c:v>2.1991000000000001</c:v>
                </c:pt>
                <c:pt idx="4606">
                  <c:v>#N/A</c:v>
                </c:pt>
                <c:pt idx="4607">
                  <c:v>2.4706000000000001</c:v>
                </c:pt>
                <c:pt idx="4608">
                  <c:v>2.1183100000000001</c:v>
                </c:pt>
                <c:pt idx="4609">
                  <c:v>2.4848400000000002</c:v>
                </c:pt>
                <c:pt idx="4610">
                  <c:v>#N/A</c:v>
                </c:pt>
                <c:pt idx="4611">
                  <c:v>2.6225999999999998</c:v>
                </c:pt>
                <c:pt idx="4612">
                  <c:v>3.7097099999999998</c:v>
                </c:pt>
                <c:pt idx="4613">
                  <c:v>3.41187</c:v>
                </c:pt>
                <c:pt idx="4614">
                  <c:v>#N/A</c:v>
                </c:pt>
                <c:pt idx="4615">
                  <c:v>3.1809699999999999</c:v>
                </c:pt>
                <c:pt idx="4616">
                  <c:v>2.5569299999999999</c:v>
                </c:pt>
                <c:pt idx="4617">
                  <c:v>#N/A</c:v>
                </c:pt>
                <c:pt idx="4618">
                  <c:v>2.1244800000000001</c:v>
                </c:pt>
                <c:pt idx="4619">
                  <c:v>2.3857200000000001</c:v>
                </c:pt>
                <c:pt idx="4620">
                  <c:v>2.71197</c:v>
                </c:pt>
                <c:pt idx="4621">
                  <c:v>#N/A</c:v>
                </c:pt>
                <c:pt idx="4622">
                  <c:v>2.8347699999999998</c:v>
                </c:pt>
                <c:pt idx="4623">
                  <c:v>3.0067699999999999</c:v>
                </c:pt>
                <c:pt idx="4624">
                  <c:v>3.0126400000000002</c:v>
                </c:pt>
                <c:pt idx="4625">
                  <c:v>#N/A</c:v>
                </c:pt>
                <c:pt idx="4626">
                  <c:v>2.4232999999999998</c:v>
                </c:pt>
                <c:pt idx="4627">
                  <c:v>1.97946</c:v>
                </c:pt>
                <c:pt idx="4628">
                  <c:v>2.3324699999999998</c:v>
                </c:pt>
                <c:pt idx="4629">
                  <c:v>#N/A</c:v>
                </c:pt>
                <c:pt idx="4630">
                  <c:v>2.4397500000000001</c:v>
                </c:pt>
                <c:pt idx="4631">
                  <c:v>2.8304800000000001</c:v>
                </c:pt>
                <c:pt idx="4632">
                  <c:v>2.9938600000000002</c:v>
                </c:pt>
                <c:pt idx="4633">
                  <c:v>#N/A</c:v>
                </c:pt>
                <c:pt idx="4634">
                  <c:v>3.3405999999999998</c:v>
                </c:pt>
                <c:pt idx="4635">
                  <c:v>3.23333</c:v>
                </c:pt>
                <c:pt idx="4636">
                  <c:v>#N/A</c:v>
                </c:pt>
                <c:pt idx="4637">
                  <c:v>3.42299</c:v>
                </c:pt>
                <c:pt idx="4638">
                  <c:v>2.83209</c:v>
                </c:pt>
                <c:pt idx="4639">
                  <c:v>3.0022500000000001</c:v>
                </c:pt>
                <c:pt idx="4640">
                  <c:v>#N/A</c:v>
                </c:pt>
                <c:pt idx="4641">
                  <c:v>2.81284</c:v>
                </c:pt>
                <c:pt idx="4642">
                  <c:v>2.82673</c:v>
                </c:pt>
                <c:pt idx="4643">
                  <c:v>3.7302499999999998</c:v>
                </c:pt>
                <c:pt idx="4644">
                  <c:v>#N/A</c:v>
                </c:pt>
                <c:pt idx="4645">
                  <c:v>2.99119</c:v>
                </c:pt>
                <c:pt idx="4646">
                  <c:v>2.6513800000000001</c:v>
                </c:pt>
                <c:pt idx="4647">
                  <c:v>2.2978700000000001</c:v>
                </c:pt>
                <c:pt idx="4648">
                  <c:v>#N/A</c:v>
                </c:pt>
                <c:pt idx="4649">
                  <c:v>2.7204199999999998</c:v>
                </c:pt>
                <c:pt idx="4650">
                  <c:v>2.5586500000000001</c:v>
                </c:pt>
                <c:pt idx="4651">
                  <c:v>3.3453400000000002</c:v>
                </c:pt>
                <c:pt idx="4652">
                  <c:v>#N/A</c:v>
                </c:pt>
                <c:pt idx="4653">
                  <c:v>3.3778199999999998</c:v>
                </c:pt>
                <c:pt idx="4654">
                  <c:v>2.9091300000000002</c:v>
                </c:pt>
                <c:pt idx="4655">
                  <c:v>2.6773699999999998</c:v>
                </c:pt>
                <c:pt idx="4656">
                  <c:v>#N/A</c:v>
                </c:pt>
                <c:pt idx="4657">
                  <c:v>2.8103600000000002</c:v>
                </c:pt>
                <c:pt idx="4658">
                  <c:v>2.5476399999999999</c:v>
                </c:pt>
                <c:pt idx="4659">
                  <c:v>#N/A</c:v>
                </c:pt>
                <c:pt idx="4660">
                  <c:v>2.58758</c:v>
                </c:pt>
                <c:pt idx="4661">
                  <c:v>2.5548099999999998</c:v>
                </c:pt>
                <c:pt idx="4662">
                  <c:v>2.8514900000000001</c:v>
                </c:pt>
                <c:pt idx="4663">
                  <c:v>#N/A</c:v>
                </c:pt>
                <c:pt idx="4664">
                  <c:v>3.2952499999999998</c:v>
                </c:pt>
                <c:pt idx="4665">
                  <c:v>3.0508999999999999</c:v>
                </c:pt>
                <c:pt idx="4666">
                  <c:v>#N/A</c:v>
                </c:pt>
                <c:pt idx="4667">
                  <c:v>3.31691</c:v>
                </c:pt>
                <c:pt idx="4668">
                  <c:v>2.66492</c:v>
                </c:pt>
                <c:pt idx="4669">
                  <c:v>2.4872200000000002</c:v>
                </c:pt>
                <c:pt idx="4670">
                  <c:v>#N/A</c:v>
                </c:pt>
                <c:pt idx="4671">
                  <c:v>2.63734</c:v>
                </c:pt>
                <c:pt idx="4672">
                  <c:v>2.5577800000000002</c:v>
                </c:pt>
                <c:pt idx="4673">
                  <c:v>3.26546</c:v>
                </c:pt>
                <c:pt idx="4674">
                  <c:v>#N/A</c:v>
                </c:pt>
                <c:pt idx="4675">
                  <c:v>3.3240500000000002</c:v>
                </c:pt>
                <c:pt idx="4676">
                  <c:v>3.4319199999999999</c:v>
                </c:pt>
                <c:pt idx="4677">
                  <c:v>3.17456</c:v>
                </c:pt>
                <c:pt idx="4678">
                  <c:v>#N/A</c:v>
                </c:pt>
                <c:pt idx="4679">
                  <c:v>3.0417200000000002</c:v>
                </c:pt>
                <c:pt idx="4680">
                  <c:v>#N/A</c:v>
                </c:pt>
                <c:pt idx="4681">
                  <c:v>2.40401</c:v>
                </c:pt>
                <c:pt idx="4682">
                  <c:v>2.48766</c:v>
                </c:pt>
                <c:pt idx="4683">
                  <c:v>2.4213499999999999</c:v>
                </c:pt>
                <c:pt idx="4684">
                  <c:v>#N/A</c:v>
                </c:pt>
                <c:pt idx="4685">
                  <c:v>2.6063399999999999</c:v>
                </c:pt>
                <c:pt idx="4686">
                  <c:v>2.52678</c:v>
                </c:pt>
                <c:pt idx="4687">
                  <c:v>2.3932500000000001</c:v>
                </c:pt>
                <c:pt idx="4688">
                  <c:v>#N/A</c:v>
                </c:pt>
                <c:pt idx="4689">
                  <c:v>2.41919</c:v>
                </c:pt>
                <c:pt idx="4690">
                  <c:v>2.22688</c:v>
                </c:pt>
                <c:pt idx="4691">
                  <c:v>2.6047600000000002</c:v>
                </c:pt>
                <c:pt idx="4692">
                  <c:v>#N/A</c:v>
                </c:pt>
                <c:pt idx="4693">
                  <c:v>2.2315100000000001</c:v>
                </c:pt>
                <c:pt idx="4694">
                  <c:v>2.53159</c:v>
                </c:pt>
                <c:pt idx="4695">
                  <c:v>#N/A</c:v>
                </c:pt>
                <c:pt idx="4696">
                  <c:v>3.2803599999999999</c:v>
                </c:pt>
                <c:pt idx="4697">
                  <c:v>3.6251000000000002</c:v>
                </c:pt>
                <c:pt idx="4698">
                  <c:v>2.9293200000000001</c:v>
                </c:pt>
                <c:pt idx="4699">
                  <c:v>#N/A</c:v>
                </c:pt>
                <c:pt idx="4700">
                  <c:v>2.4065699999999999</c:v>
                </c:pt>
                <c:pt idx="4701">
                  <c:v>2.6798500000000001</c:v>
                </c:pt>
                <c:pt idx="4702">
                  <c:v>#N/A</c:v>
                </c:pt>
                <c:pt idx="4703">
                  <c:v>2.4072499999999999</c:v>
                </c:pt>
                <c:pt idx="4704">
                  <c:v>3.3494799999999998</c:v>
                </c:pt>
                <c:pt idx="4705">
                  <c:v>2.8992800000000001</c:v>
                </c:pt>
                <c:pt idx="4706">
                  <c:v>#N/A</c:v>
                </c:pt>
                <c:pt idx="4707">
                  <c:v>2.6482000000000001</c:v>
                </c:pt>
                <c:pt idx="4708">
                  <c:v>2.6585899999999998</c:v>
                </c:pt>
                <c:pt idx="4709">
                  <c:v>2.9119000000000002</c:v>
                </c:pt>
                <c:pt idx="4710">
                  <c:v>#N/A</c:v>
                </c:pt>
                <c:pt idx="4711">
                  <c:v>2.1931600000000002</c:v>
                </c:pt>
                <c:pt idx="4712">
                  <c:v>2.0650599999999999</c:v>
                </c:pt>
                <c:pt idx="4713">
                  <c:v>2.07497</c:v>
                </c:pt>
                <c:pt idx="4714">
                  <c:v>#N/A</c:v>
                </c:pt>
                <c:pt idx="4715">
                  <c:v>2.75257</c:v>
                </c:pt>
                <c:pt idx="4716">
                  <c:v>3.1630199999999999</c:v>
                </c:pt>
                <c:pt idx="4717">
                  <c:v>3.1901799999999998</c:v>
                </c:pt>
                <c:pt idx="4718">
                  <c:v>#N/A</c:v>
                </c:pt>
                <c:pt idx="4719">
                  <c:v>2.8968600000000002</c:v>
                </c:pt>
                <c:pt idx="4720">
                  <c:v>3.1840799999999998</c:v>
                </c:pt>
                <c:pt idx="4721">
                  <c:v>3.0421100000000001</c:v>
                </c:pt>
                <c:pt idx="4722">
                  <c:v>#N/A</c:v>
                </c:pt>
                <c:pt idx="4723">
                  <c:v>2.1953</c:v>
                </c:pt>
                <c:pt idx="4724">
                  <c:v>2.6671499999999999</c:v>
                </c:pt>
                <c:pt idx="4725">
                  <c:v>3.1038899999999998</c:v>
                </c:pt>
                <c:pt idx="4726">
                  <c:v>#N/A</c:v>
                </c:pt>
                <c:pt idx="4727">
                  <c:v>3.8263500000000001</c:v>
                </c:pt>
                <c:pt idx="4728">
                  <c:v>3.3219799999999999</c:v>
                </c:pt>
                <c:pt idx="4729">
                  <c:v>2.8894099999999998</c:v>
                </c:pt>
                <c:pt idx="4730">
                  <c:v>#N/A</c:v>
                </c:pt>
                <c:pt idx="4731">
                  <c:v>2.1327600000000002</c:v>
                </c:pt>
                <c:pt idx="4732">
                  <c:v>2.2037399999999998</c:v>
                </c:pt>
                <c:pt idx="4733">
                  <c:v>2.46713</c:v>
                </c:pt>
                <c:pt idx="4734">
                  <c:v>#N/A</c:v>
                </c:pt>
                <c:pt idx="4735">
                  <c:v>3.0689099999999998</c:v>
                </c:pt>
                <c:pt idx="4736">
                  <c:v>3.1771699999999998</c:v>
                </c:pt>
                <c:pt idx="4737">
                  <c:v>3.4491200000000002</c:v>
                </c:pt>
                <c:pt idx="4738">
                  <c:v>#N/A</c:v>
                </c:pt>
                <c:pt idx="4739">
                  <c:v>3.4081899999999998</c:v>
                </c:pt>
                <c:pt idx="4740">
                  <c:v>2.79203</c:v>
                </c:pt>
                <c:pt idx="4741">
                  <c:v>2.5080300000000002</c:v>
                </c:pt>
                <c:pt idx="4742">
                  <c:v>#N/A</c:v>
                </c:pt>
                <c:pt idx="4743">
                  <c:v>2.2878799999999999</c:v>
                </c:pt>
                <c:pt idx="4744">
                  <c:v>2.75454</c:v>
                </c:pt>
                <c:pt idx="4745">
                  <c:v>#N/A</c:v>
                </c:pt>
                <c:pt idx="4746">
                  <c:v>3.6071300000000002</c:v>
                </c:pt>
                <c:pt idx="4747">
                  <c:v>3.0978599999999998</c:v>
                </c:pt>
                <c:pt idx="4748">
                  <c:v>2.8320599999999998</c:v>
                </c:pt>
                <c:pt idx="4749">
                  <c:v>#N/A</c:v>
                </c:pt>
                <c:pt idx="4750">
                  <c:v>3.05437</c:v>
                </c:pt>
                <c:pt idx="4751">
                  <c:v>2.8323499999999999</c:v>
                </c:pt>
                <c:pt idx="4752">
                  <c:v>2.48359</c:v>
                </c:pt>
                <c:pt idx="4753">
                  <c:v>#N/A</c:v>
                </c:pt>
                <c:pt idx="4754">
                  <c:v>2.46583</c:v>
                </c:pt>
                <c:pt idx="4755">
                  <c:v>#N/A</c:v>
                </c:pt>
                <c:pt idx="4756">
                  <c:v>2.9378799999999998</c:v>
                </c:pt>
                <c:pt idx="4757">
                  <c:v>#N/A</c:v>
                </c:pt>
                <c:pt idx="4758">
                  <c:v>3.6496900000000001</c:v>
                </c:pt>
                <c:pt idx="4759">
                  <c:v>3.5452300000000001</c:v>
                </c:pt>
                <c:pt idx="4760">
                  <c:v>3.5773199999999998</c:v>
                </c:pt>
                <c:pt idx="4761">
                  <c:v>#N/A</c:v>
                </c:pt>
                <c:pt idx="4762">
                  <c:v>3.1055700000000002</c:v>
                </c:pt>
                <c:pt idx="4763">
                  <c:v>2.7880199999999999</c:v>
                </c:pt>
                <c:pt idx="4764">
                  <c:v>#N/A</c:v>
                </c:pt>
                <c:pt idx="4765">
                  <c:v>2.83277</c:v>
                </c:pt>
                <c:pt idx="4766">
                  <c:v>2.3847200000000002</c:v>
                </c:pt>
                <c:pt idx="4767">
                  <c:v>2.0827100000000001</c:v>
                </c:pt>
                <c:pt idx="4768">
                  <c:v>#N/A</c:v>
                </c:pt>
                <c:pt idx="4769">
                  <c:v>3.1886399999999999</c:v>
                </c:pt>
                <c:pt idx="4770">
                  <c:v>3.5541399999999999</c:v>
                </c:pt>
                <c:pt idx="4771">
                  <c:v>3.0367000000000002</c:v>
                </c:pt>
                <c:pt idx="4772">
                  <c:v>#N/A</c:v>
                </c:pt>
                <c:pt idx="4773">
                  <c:v>2.3678300000000001</c:v>
                </c:pt>
                <c:pt idx="4774">
                  <c:v>2.3046099999999998</c:v>
                </c:pt>
                <c:pt idx="4775">
                  <c:v>2.5792199999999998</c:v>
                </c:pt>
                <c:pt idx="4776">
                  <c:v>#N/A</c:v>
                </c:pt>
                <c:pt idx="4777">
                  <c:v>2.4366099999999999</c:v>
                </c:pt>
                <c:pt idx="4778">
                  <c:v>3.3765200000000002</c:v>
                </c:pt>
                <c:pt idx="4779">
                  <c:v>2.8937499999999998</c:v>
                </c:pt>
                <c:pt idx="4780">
                  <c:v>#N/A</c:v>
                </c:pt>
                <c:pt idx="4781">
                  <c:v>3.3465799999999999</c:v>
                </c:pt>
                <c:pt idx="4782">
                  <c:v>3.6972</c:v>
                </c:pt>
                <c:pt idx="4783">
                  <c:v>3.2484899999999999</c:v>
                </c:pt>
                <c:pt idx="4784">
                  <c:v>#N/A</c:v>
                </c:pt>
                <c:pt idx="4785">
                  <c:v>2.3392499999999998</c:v>
                </c:pt>
                <c:pt idx="4786">
                  <c:v>2.3756400000000002</c:v>
                </c:pt>
                <c:pt idx="4787">
                  <c:v>2.9918300000000002</c:v>
                </c:pt>
                <c:pt idx="4788">
                  <c:v>#N/A</c:v>
                </c:pt>
                <c:pt idx="4789">
                  <c:v>3.2759200000000002</c:v>
                </c:pt>
                <c:pt idx="4790">
                  <c:v>2.9047800000000001</c:v>
                </c:pt>
                <c:pt idx="4791">
                  <c:v>2.7472699999999999</c:v>
                </c:pt>
                <c:pt idx="4792">
                  <c:v>#N/A</c:v>
                </c:pt>
                <c:pt idx="4793">
                  <c:v>2.92814</c:v>
                </c:pt>
                <c:pt idx="4794">
                  <c:v>2.6529500000000001</c:v>
                </c:pt>
                <c:pt idx="4795">
                  <c:v>#N/A</c:v>
                </c:pt>
                <c:pt idx="4796">
                  <c:v>2.2647699999999999</c:v>
                </c:pt>
                <c:pt idx="4797">
                  <c:v>2.67049</c:v>
                </c:pt>
                <c:pt idx="4798">
                  <c:v>2.9159799999999998</c:v>
                </c:pt>
                <c:pt idx="4799">
                  <c:v>#N/A</c:v>
                </c:pt>
                <c:pt idx="4800">
                  <c:v>3.6615500000000001</c:v>
                </c:pt>
                <c:pt idx="4801">
                  <c:v>3.2996799999999999</c:v>
                </c:pt>
                <c:pt idx="4802">
                  <c:v>2.3766699999999998</c:v>
                </c:pt>
                <c:pt idx="4803">
                  <c:v>#N/A</c:v>
                </c:pt>
                <c:pt idx="4804">
                  <c:v>2.2725200000000001</c:v>
                </c:pt>
                <c:pt idx="4805">
                  <c:v>2.0344699999999998</c:v>
                </c:pt>
                <c:pt idx="4806">
                  <c:v>2.94197</c:v>
                </c:pt>
                <c:pt idx="4807">
                  <c:v>#N/A</c:v>
                </c:pt>
                <c:pt idx="4808">
                  <c:v>2.57423</c:v>
                </c:pt>
                <c:pt idx="4809">
                  <c:v>2.98638</c:v>
                </c:pt>
                <c:pt idx="4810">
                  <c:v>2.8108900000000001</c:v>
                </c:pt>
                <c:pt idx="4811">
                  <c:v>#N/A</c:v>
                </c:pt>
                <c:pt idx="4812">
                  <c:v>2.7083300000000001</c:v>
                </c:pt>
                <c:pt idx="4813">
                  <c:v>3.12249</c:v>
                </c:pt>
                <c:pt idx="4814">
                  <c:v>2.1274000000000002</c:v>
                </c:pt>
                <c:pt idx="4815">
                  <c:v>#N/A</c:v>
                </c:pt>
                <c:pt idx="4816">
                  <c:v>2.1536599999999999</c:v>
                </c:pt>
                <c:pt idx="4817">
                  <c:v>2.5802900000000002</c:v>
                </c:pt>
                <c:pt idx="4818">
                  <c:v>#N/A</c:v>
                </c:pt>
                <c:pt idx="4819">
                  <c:v>3.0535199999999998</c:v>
                </c:pt>
                <c:pt idx="4820">
                  <c:v>3.3402799999999999</c:v>
                </c:pt>
                <c:pt idx="4821">
                  <c:v>3.7565200000000001</c:v>
                </c:pt>
                <c:pt idx="4822">
                  <c:v>#N/A</c:v>
                </c:pt>
                <c:pt idx="4823">
                  <c:v>3.4589599999999998</c:v>
                </c:pt>
                <c:pt idx="4824">
                  <c:v>2.6311800000000001</c:v>
                </c:pt>
                <c:pt idx="4825">
                  <c:v>2.2541000000000002</c:v>
                </c:pt>
                <c:pt idx="4826">
                  <c:v>#N/A</c:v>
                </c:pt>
                <c:pt idx="4827">
                  <c:v>1.6115900000000001</c:v>
                </c:pt>
                <c:pt idx="4828">
                  <c:v>1.9108000000000001</c:v>
                </c:pt>
                <c:pt idx="4829">
                  <c:v>#N/A</c:v>
                </c:pt>
                <c:pt idx="4830">
                  <c:v>2.5162800000000001</c:v>
                </c:pt>
                <c:pt idx="4831">
                  <c:v>3.8259799999999999</c:v>
                </c:pt>
                <c:pt idx="4832">
                  <c:v>#N/A</c:v>
                </c:pt>
                <c:pt idx="4833">
                  <c:v>2.4944899999999999</c:v>
                </c:pt>
                <c:pt idx="4834">
                  <c:v>3.1035900000000001</c:v>
                </c:pt>
                <c:pt idx="4835">
                  <c:v>1.89676</c:v>
                </c:pt>
                <c:pt idx="4836">
                  <c:v>#N/A</c:v>
                </c:pt>
                <c:pt idx="4837">
                  <c:v>1.99587</c:v>
                </c:pt>
                <c:pt idx="4838">
                  <c:v>1.54105</c:v>
                </c:pt>
                <c:pt idx="4839">
                  <c:v>2.4987699999999999</c:v>
                </c:pt>
                <c:pt idx="4840">
                  <c:v>#N/A</c:v>
                </c:pt>
                <c:pt idx="4841">
                  <c:v>2.5803799999999999</c:v>
                </c:pt>
                <c:pt idx="4842">
                  <c:v>2.9554</c:v>
                </c:pt>
                <c:pt idx="4843">
                  <c:v>3.3532500000000001</c:v>
                </c:pt>
                <c:pt idx="4844">
                  <c:v>#N/A</c:v>
                </c:pt>
                <c:pt idx="4845">
                  <c:v>3.1964100000000002</c:v>
                </c:pt>
                <c:pt idx="4846">
                  <c:v>3.37</c:v>
                </c:pt>
                <c:pt idx="4847">
                  <c:v>#N/A</c:v>
                </c:pt>
                <c:pt idx="4848">
                  <c:v>2.87385</c:v>
                </c:pt>
                <c:pt idx="4849">
                  <c:v>2.7828400000000002</c:v>
                </c:pt>
                <c:pt idx="4850">
                  <c:v>2.6250300000000002</c:v>
                </c:pt>
                <c:pt idx="4851">
                  <c:v>#N/A</c:v>
                </c:pt>
                <c:pt idx="4852">
                  <c:v>2.7143700000000002</c:v>
                </c:pt>
                <c:pt idx="4853">
                  <c:v>2.98109</c:v>
                </c:pt>
                <c:pt idx="4854">
                  <c:v>3.2572000000000001</c:v>
                </c:pt>
                <c:pt idx="4855">
                  <c:v>#N/A</c:v>
                </c:pt>
                <c:pt idx="4856">
                  <c:v>3.13137</c:v>
                </c:pt>
                <c:pt idx="4857">
                  <c:v>3.44855</c:v>
                </c:pt>
                <c:pt idx="4858">
                  <c:v>2.9681000000000002</c:v>
                </c:pt>
                <c:pt idx="4859">
                  <c:v>#N/A</c:v>
                </c:pt>
                <c:pt idx="4860">
                  <c:v>2.45167</c:v>
                </c:pt>
                <c:pt idx="4861">
                  <c:v>3.0038100000000001</c:v>
                </c:pt>
                <c:pt idx="4862">
                  <c:v>3.12738</c:v>
                </c:pt>
                <c:pt idx="4863">
                  <c:v>#N/A</c:v>
                </c:pt>
                <c:pt idx="4864">
                  <c:v>2.6060099999999999</c:v>
                </c:pt>
                <c:pt idx="4865">
                  <c:v>2.50746</c:v>
                </c:pt>
                <c:pt idx="4866">
                  <c:v>2.9189699999999998</c:v>
                </c:pt>
                <c:pt idx="4867">
                  <c:v>#N/A</c:v>
                </c:pt>
                <c:pt idx="4868">
                  <c:v>2.9293499999999999</c:v>
                </c:pt>
                <c:pt idx="4869">
                  <c:v>2.6901799999999998</c:v>
                </c:pt>
                <c:pt idx="4870">
                  <c:v>2.7188099999999999</c:v>
                </c:pt>
                <c:pt idx="4871">
                  <c:v>#N/A</c:v>
                </c:pt>
                <c:pt idx="4872">
                  <c:v>2.6051099999999998</c:v>
                </c:pt>
                <c:pt idx="4873">
                  <c:v>2.7478099999999999</c:v>
                </c:pt>
                <c:pt idx="4874">
                  <c:v>3.0833599999999999</c:v>
                </c:pt>
                <c:pt idx="4875">
                  <c:v>#N/A</c:v>
                </c:pt>
                <c:pt idx="4876">
                  <c:v>2.4520499999999998</c:v>
                </c:pt>
                <c:pt idx="4877">
                  <c:v>2.5472600000000001</c:v>
                </c:pt>
                <c:pt idx="4878">
                  <c:v>#N/A</c:v>
                </c:pt>
                <c:pt idx="4879">
                  <c:v>2.6978300000000002</c:v>
                </c:pt>
                <c:pt idx="4880">
                  <c:v>3.0375800000000002</c:v>
                </c:pt>
                <c:pt idx="4881">
                  <c:v>3.1456</c:v>
                </c:pt>
                <c:pt idx="4882">
                  <c:v>#N/A</c:v>
                </c:pt>
                <c:pt idx="4883">
                  <c:v>3.94482</c:v>
                </c:pt>
                <c:pt idx="4884">
                  <c:v>3.3763899999999998</c:v>
                </c:pt>
                <c:pt idx="4885">
                  <c:v>2.9372799999999999</c:v>
                </c:pt>
                <c:pt idx="4886">
                  <c:v>#N/A</c:v>
                </c:pt>
                <c:pt idx="4887">
                  <c:v>2.59971</c:v>
                </c:pt>
                <c:pt idx="4888">
                  <c:v>1.92014</c:v>
                </c:pt>
                <c:pt idx="4889">
                  <c:v>1.99091</c:v>
                </c:pt>
                <c:pt idx="4890">
                  <c:v>#N/A</c:v>
                </c:pt>
                <c:pt idx="4891">
                  <c:v>2.5153300000000001</c:v>
                </c:pt>
                <c:pt idx="4892">
                  <c:v>3.0692300000000001</c:v>
                </c:pt>
                <c:pt idx="4893">
                  <c:v>3.3992</c:v>
                </c:pt>
                <c:pt idx="4894">
                  <c:v>#N/A</c:v>
                </c:pt>
                <c:pt idx="4895">
                  <c:v>2.78959</c:v>
                </c:pt>
                <c:pt idx="4896">
                  <c:v>2.7727300000000001</c:v>
                </c:pt>
                <c:pt idx="4897">
                  <c:v>2.3752900000000001</c:v>
                </c:pt>
                <c:pt idx="4898">
                  <c:v>#N/A</c:v>
                </c:pt>
                <c:pt idx="4899">
                  <c:v>1.6448400000000001</c:v>
                </c:pt>
                <c:pt idx="4900">
                  <c:v>1.7501800000000001</c:v>
                </c:pt>
                <c:pt idx="4901">
                  <c:v>2.5439500000000002</c:v>
                </c:pt>
                <c:pt idx="4902">
                  <c:v>#N/A</c:v>
                </c:pt>
                <c:pt idx="4903">
                  <c:v>3.0669200000000001</c:v>
                </c:pt>
                <c:pt idx="4904">
                  <c:v>3.9871500000000002</c:v>
                </c:pt>
                <c:pt idx="4905">
                  <c:v>3.6441499999999998</c:v>
                </c:pt>
                <c:pt idx="4906">
                  <c:v>#N/A</c:v>
                </c:pt>
                <c:pt idx="4907">
                  <c:v>3.2591399999999999</c:v>
                </c:pt>
                <c:pt idx="4908">
                  <c:v>3.0975700000000002</c:v>
                </c:pt>
                <c:pt idx="4909">
                  <c:v>2.7981600000000002</c:v>
                </c:pt>
                <c:pt idx="4910">
                  <c:v>#N/A</c:v>
                </c:pt>
                <c:pt idx="4911">
                  <c:v>2.6023900000000002</c:v>
                </c:pt>
                <c:pt idx="4912">
                  <c:v>2.4598300000000002</c:v>
                </c:pt>
                <c:pt idx="4913">
                  <c:v>#N/A</c:v>
                </c:pt>
                <c:pt idx="4914">
                  <c:v>3.0309699999999999</c:v>
                </c:pt>
                <c:pt idx="4915">
                  <c:v>2.7581899999999999</c:v>
                </c:pt>
                <c:pt idx="4916">
                  <c:v>3.2142400000000002</c:v>
                </c:pt>
                <c:pt idx="4917">
                  <c:v>#N/A</c:v>
                </c:pt>
                <c:pt idx="4918">
                  <c:v>3.4341900000000001</c:v>
                </c:pt>
                <c:pt idx="4919">
                  <c:v>2.91567</c:v>
                </c:pt>
                <c:pt idx="4920">
                  <c:v>2.7331500000000002</c:v>
                </c:pt>
                <c:pt idx="4921">
                  <c:v>#N/A</c:v>
                </c:pt>
                <c:pt idx="4922">
                  <c:v>2.7142200000000001</c:v>
                </c:pt>
                <c:pt idx="4923">
                  <c:v>2.3030300000000001</c:v>
                </c:pt>
                <c:pt idx="4924">
                  <c:v>2.8106300000000002</c:v>
                </c:pt>
                <c:pt idx="4925">
                  <c:v>#N/A</c:v>
                </c:pt>
                <c:pt idx="4926">
                  <c:v>3.1399599999999999</c:v>
                </c:pt>
                <c:pt idx="4927">
                  <c:v>3.4883899999999999</c:v>
                </c:pt>
                <c:pt idx="4928">
                  <c:v>#N/A</c:v>
                </c:pt>
                <c:pt idx="4929">
                  <c:v>3.5148100000000002</c:v>
                </c:pt>
                <c:pt idx="4930">
                  <c:v>2.8616700000000002</c:v>
                </c:pt>
                <c:pt idx="4931">
                  <c:v>2.74064</c:v>
                </c:pt>
                <c:pt idx="4932">
                  <c:v>#N/A</c:v>
                </c:pt>
                <c:pt idx="4933">
                  <c:v>2.4887299999999999</c:v>
                </c:pt>
                <c:pt idx="4934">
                  <c:v>2.9764900000000001</c:v>
                </c:pt>
                <c:pt idx="4935">
                  <c:v>3.3254299999999999</c:v>
                </c:pt>
                <c:pt idx="4936">
                  <c:v>#N/A</c:v>
                </c:pt>
                <c:pt idx="4937">
                  <c:v>2.9491999999999998</c:v>
                </c:pt>
                <c:pt idx="4938">
                  <c:v>2.5774499999999998</c:v>
                </c:pt>
                <c:pt idx="4939">
                  <c:v>2.3597299999999999</c:v>
                </c:pt>
                <c:pt idx="4940">
                  <c:v>#N/A</c:v>
                </c:pt>
                <c:pt idx="4941">
                  <c:v>0.85758599999999996</c:v>
                </c:pt>
                <c:pt idx="4942">
                  <c:v>-0.28076499999999999</c:v>
                </c:pt>
                <c:pt idx="4943">
                  <c:v>-0.494286</c:v>
                </c:pt>
                <c:pt idx="4944">
                  <c:v>#N/A</c:v>
                </c:pt>
                <c:pt idx="4945">
                  <c:v>-3.5708199999999999</c:v>
                </c:pt>
                <c:pt idx="4946">
                  <c:v>-5.6526899999999998</c:v>
                </c:pt>
                <c:pt idx="4947">
                  <c:v>-8.5778999999999996</c:v>
                </c:pt>
                <c:pt idx="4948">
                  <c:v>#N/A</c:v>
                </c:pt>
                <c:pt idx="4949">
                  <c:v>-10.6096</c:v>
                </c:pt>
                <c:pt idx="4950">
                  <c:v>-11.944100000000001</c:v>
                </c:pt>
                <c:pt idx="4951">
                  <c:v>#N/A</c:v>
                </c:pt>
                <c:pt idx="4952">
                  <c:v>-13.3697</c:v>
                </c:pt>
                <c:pt idx="4953">
                  <c:v>-13.8643</c:v>
                </c:pt>
                <c:pt idx="4954">
                  <c:v>-13.835699999999999</c:v>
                </c:pt>
                <c:pt idx="4955">
                  <c:v>#N/A</c:v>
                </c:pt>
                <c:pt idx="4956">
                  <c:v>-14.709899999999999</c:v>
                </c:pt>
                <c:pt idx="4957">
                  <c:v>-15.086</c:v>
                </c:pt>
                <c:pt idx="4958">
                  <c:v>-15.078099999999999</c:v>
                </c:pt>
                <c:pt idx="4959">
                  <c:v>#N/A</c:v>
                </c:pt>
                <c:pt idx="4960">
                  <c:v>-15.159700000000001</c:v>
                </c:pt>
                <c:pt idx="4961">
                  <c:v>-15.700100000000001</c:v>
                </c:pt>
                <c:pt idx="4962">
                  <c:v>-14.349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-8.00757E-2</c:v>
                </c:pt>
                <c:pt idx="5035">
                  <c:v>#N/A</c:v>
                </c:pt>
                <c:pt idx="5036">
                  <c:v>-7.8261500000000005E-3</c:v>
                </c:pt>
                <c:pt idx="5037">
                  <c:v>-8.1920900000000005E-2</c:v>
                </c:pt>
                <c:pt idx="5038">
                  <c:v>5.1556499999999998E-2</c:v>
                </c:pt>
                <c:pt idx="5039">
                  <c:v>#N/A</c:v>
                </c:pt>
                <c:pt idx="5040">
                  <c:v>-0.121737</c:v>
                </c:pt>
                <c:pt idx="5041">
                  <c:v>-0.196182</c:v>
                </c:pt>
                <c:pt idx="5042">
                  <c:v>-0.11135</c:v>
                </c:pt>
                <c:pt idx="5043">
                  <c:v>#N/A</c:v>
                </c:pt>
                <c:pt idx="5044">
                  <c:v>-8.02749E-3</c:v>
                </c:pt>
                <c:pt idx="5045">
                  <c:v>-8.3863900000000005E-2</c:v>
                </c:pt>
                <c:pt idx="5046">
                  <c:v>-0.50986900000000002</c:v>
                </c:pt>
                <c:pt idx="5047">
                  <c:v>#N/A</c:v>
                </c:pt>
                <c:pt idx="5048">
                  <c:v>-0.85924699999999998</c:v>
                </c:pt>
                <c:pt idx="5049">
                  <c:v>-0.93381099999999995</c:v>
                </c:pt>
                <c:pt idx="5050">
                  <c:v>#N/A</c:v>
                </c:pt>
                <c:pt idx="5051">
                  <c:v>-2.3156500000000002</c:v>
                </c:pt>
                <c:pt idx="5052">
                  <c:v>-5.2419200000000004</c:v>
                </c:pt>
                <c:pt idx="5053">
                  <c:v>#N/A</c:v>
                </c:pt>
                <c:pt idx="5054">
                  <c:v>-7.2655200000000004</c:v>
                </c:pt>
                <c:pt idx="5055">
                  <c:v>-8.6428999999999991</c:v>
                </c:pt>
                <c:pt idx="5056">
                  <c:v>#N/A</c:v>
                </c:pt>
                <c:pt idx="5057">
                  <c:v>-10.1006</c:v>
                </c:pt>
                <c:pt idx="5058">
                  <c:v>-12.183299999999999</c:v>
                </c:pt>
                <c:pt idx="5059">
                  <c:v>-13.6691</c:v>
                </c:pt>
                <c:pt idx="5060">
                  <c:v>#N/A</c:v>
                </c:pt>
                <c:pt idx="5061">
                  <c:v>-15.0998</c:v>
                </c:pt>
                <c:pt idx="5062">
                  <c:v>-17.797599999999999</c:v>
                </c:pt>
                <c:pt idx="5063">
                  <c:v>#N/A</c:v>
                </c:pt>
                <c:pt idx="5064">
                  <c:v>-17.753299999999999</c:v>
                </c:pt>
                <c:pt idx="5065">
                  <c:v>-18.643999999999998</c:v>
                </c:pt>
                <c:pt idx="5066">
                  <c:v>-18.885100000000001</c:v>
                </c:pt>
                <c:pt idx="5067">
                  <c:v>#N/A</c:v>
                </c:pt>
                <c:pt idx="5068">
                  <c:v>-18.997599999999998</c:v>
                </c:pt>
                <c:pt idx="5069">
                  <c:v>-19.135100000000001</c:v>
                </c:pt>
                <c:pt idx="5070">
                  <c:v>-19.334</c:v>
                </c:pt>
                <c:pt idx="5071">
                  <c:v>#N/A</c:v>
                </c:pt>
                <c:pt idx="5072">
                  <c:v>-19.082599999999999</c:v>
                </c:pt>
                <c:pt idx="5073">
                  <c:v>-18.0396</c:v>
                </c:pt>
                <c:pt idx="5074">
                  <c:v>-17.5398</c:v>
                </c:pt>
                <c:pt idx="5075">
                  <c:v>#N/A</c:v>
                </c:pt>
                <c:pt idx="5076">
                  <c:v>-18.116399999999999</c:v>
                </c:pt>
                <c:pt idx="5077">
                  <c:v>-17.778600000000001</c:v>
                </c:pt>
                <c:pt idx="5078">
                  <c:v>-17.1158</c:v>
                </c:pt>
                <c:pt idx="5079">
                  <c:v>#N/A</c:v>
                </c:pt>
                <c:pt idx="5080">
                  <c:v>-17.129799999999999</c:v>
                </c:pt>
                <c:pt idx="5081">
                  <c:v>-17.238700000000001</c:v>
                </c:pt>
                <c:pt idx="5082">
                  <c:v>#N/A</c:v>
                </c:pt>
                <c:pt idx="5083">
                  <c:v>-16.411799999999999</c:v>
                </c:pt>
                <c:pt idx="5084">
                  <c:v>-14.3248</c:v>
                </c:pt>
                <c:pt idx="5085">
                  <c:v>-13.0069</c:v>
                </c:pt>
                <c:pt idx="5086">
                  <c:v>#N/A</c:v>
                </c:pt>
                <c:pt idx="5087">
                  <c:v>-11.610900000000001</c:v>
                </c:pt>
                <c:pt idx="5088">
                  <c:v>-8.9496800000000007</c:v>
                </c:pt>
                <c:pt idx="5089">
                  <c:v>#N/A</c:v>
                </c:pt>
                <c:pt idx="5090">
                  <c:v>-7.1455299999999999</c:v>
                </c:pt>
                <c:pt idx="5091">
                  <c:v>-6.0198999999999998</c:v>
                </c:pt>
                <c:pt idx="5092">
                  <c:v>-5.01762</c:v>
                </c:pt>
                <c:pt idx="5093">
                  <c:v>#N/A</c:v>
                </c:pt>
                <c:pt idx="5094">
                  <c:v>-4.5845599999999997</c:v>
                </c:pt>
                <c:pt idx="5095">
                  <c:v>-3.99037</c:v>
                </c:pt>
                <c:pt idx="5096">
                  <c:v>-3.3303199999999999</c:v>
                </c:pt>
                <c:pt idx="5097">
                  <c:v>#N/A</c:v>
                </c:pt>
                <c:pt idx="5098">
                  <c:v>-1.72492</c:v>
                </c:pt>
                <c:pt idx="5099">
                  <c:v>-1.9209700000000001</c:v>
                </c:pt>
                <c:pt idx="5100">
                  <c:v>#N/A</c:v>
                </c:pt>
                <c:pt idx="5101">
                  <c:v>-1.5164299999999999</c:v>
                </c:pt>
                <c:pt idx="5102">
                  <c:v>-2.3355899999999998</c:v>
                </c:pt>
                <c:pt idx="5103">
                  <c:v>-2.01085</c:v>
                </c:pt>
                <c:pt idx="5104">
                  <c:v>#N/A</c:v>
                </c:pt>
                <c:pt idx="5105">
                  <c:v>-2.8407100000000001</c:v>
                </c:pt>
                <c:pt idx="5106">
                  <c:v>-3.0177399999999999</c:v>
                </c:pt>
                <c:pt idx="5107">
                  <c:v>#N/A</c:v>
                </c:pt>
                <c:pt idx="5108">
                  <c:v>-3.6959599999999999</c:v>
                </c:pt>
                <c:pt idx="5109">
                  <c:v>-2.6476899999999999</c:v>
                </c:pt>
                <c:pt idx="5110">
                  <c:v>-2.19503</c:v>
                </c:pt>
                <c:pt idx="5111">
                  <c:v>#N/A</c:v>
                </c:pt>
                <c:pt idx="5112">
                  <c:v>-2.2117599999999999</c:v>
                </c:pt>
                <c:pt idx="5113">
                  <c:v>-2.6682999999999999</c:v>
                </c:pt>
                <c:pt idx="5114">
                  <c:v>-3.28464</c:v>
                </c:pt>
                <c:pt idx="5115">
                  <c:v>#N/A</c:v>
                </c:pt>
                <c:pt idx="5116">
                  <c:v>-3.25867</c:v>
                </c:pt>
                <c:pt idx="5117">
                  <c:v>-3.3376700000000001</c:v>
                </c:pt>
                <c:pt idx="5118">
                  <c:v>-3.0897000000000001</c:v>
                </c:pt>
                <c:pt idx="5119">
                  <c:v>#N/A</c:v>
                </c:pt>
                <c:pt idx="5120">
                  <c:v>-3.4133599999999999</c:v>
                </c:pt>
                <c:pt idx="5121">
                  <c:v>-2.72289</c:v>
                </c:pt>
                <c:pt idx="5122">
                  <c:v>-2.6103800000000001</c:v>
                </c:pt>
                <c:pt idx="5123">
                  <c:v>#N/A</c:v>
                </c:pt>
                <c:pt idx="5124">
                  <c:v>-2.7296900000000002</c:v>
                </c:pt>
                <c:pt idx="5125">
                  <c:v>-2.8769999999999998</c:v>
                </c:pt>
                <c:pt idx="5126">
                  <c:v>-2.86809</c:v>
                </c:pt>
                <c:pt idx="5127">
                  <c:v>#N/A</c:v>
                </c:pt>
                <c:pt idx="5128">
                  <c:v>-2.7953700000000001</c:v>
                </c:pt>
                <c:pt idx="5129">
                  <c:v>#N/A</c:v>
                </c:pt>
                <c:pt idx="5130">
                  <c:v>-2.71401</c:v>
                </c:pt>
                <c:pt idx="5131">
                  <c:v>-2.55721</c:v>
                </c:pt>
                <c:pt idx="5132">
                  <c:v>#N/A</c:v>
                </c:pt>
                <c:pt idx="5133">
                  <c:v>-2.43465</c:v>
                </c:pt>
                <c:pt idx="5134">
                  <c:v>#N/A</c:v>
                </c:pt>
                <c:pt idx="5135">
                  <c:v>-2.42862</c:v>
                </c:pt>
                <c:pt idx="5136">
                  <c:v>-2.9773999999999998</c:v>
                </c:pt>
                <c:pt idx="5137">
                  <c:v>-3.6972</c:v>
                </c:pt>
                <c:pt idx="5138">
                  <c:v>#N/A</c:v>
                </c:pt>
                <c:pt idx="5139">
                  <c:v>-3.62757</c:v>
                </c:pt>
                <c:pt idx="5140">
                  <c:v>-2.7132999999999998</c:v>
                </c:pt>
                <c:pt idx="5141">
                  <c:v>-2.62609</c:v>
                </c:pt>
                <c:pt idx="5142">
                  <c:v>#N/A</c:v>
                </c:pt>
                <c:pt idx="5143">
                  <c:v>-2.18059</c:v>
                </c:pt>
                <c:pt idx="5144">
                  <c:v>-2.5578099999999999</c:v>
                </c:pt>
                <c:pt idx="5145">
                  <c:v>-3.1388099999999999</c:v>
                </c:pt>
                <c:pt idx="5146">
                  <c:v>#N/A</c:v>
                </c:pt>
                <c:pt idx="5147">
                  <c:v>-2.9289999999999998</c:v>
                </c:pt>
                <c:pt idx="5148">
                  <c:v>-3.3506399999999998</c:v>
                </c:pt>
                <c:pt idx="5149">
                  <c:v>-3.80572</c:v>
                </c:pt>
                <c:pt idx="5150">
                  <c:v>#N/A</c:v>
                </c:pt>
                <c:pt idx="5151">
                  <c:v>-3.5470899999999999</c:v>
                </c:pt>
                <c:pt idx="5152">
                  <c:v>-2.4871099999999999</c:v>
                </c:pt>
                <c:pt idx="5153">
                  <c:v>-2.1949299999999998</c:v>
                </c:pt>
                <c:pt idx="5154">
                  <c:v>#N/A</c:v>
                </c:pt>
                <c:pt idx="5155">
                  <c:v>-2.4703900000000001</c:v>
                </c:pt>
                <c:pt idx="5156">
                  <c:v>-2.9371700000000001</c:v>
                </c:pt>
                <c:pt idx="5157">
                  <c:v>-2.5949900000000001</c:v>
                </c:pt>
                <c:pt idx="5158">
                  <c:v>#N/A</c:v>
                </c:pt>
                <c:pt idx="5159">
                  <c:v>-2.7808099999999998</c:v>
                </c:pt>
                <c:pt idx="5160">
                  <c:v>-3.6912799999999999</c:v>
                </c:pt>
                <c:pt idx="5161">
                  <c:v>-2.7412299999999998</c:v>
                </c:pt>
                <c:pt idx="5162">
                  <c:v>#N/A</c:v>
                </c:pt>
                <c:pt idx="5163">
                  <c:v>-2.87473</c:v>
                </c:pt>
                <c:pt idx="5164">
                  <c:v>-2.3775400000000002</c:v>
                </c:pt>
                <c:pt idx="5165">
                  <c:v>-2.4148100000000001</c:v>
                </c:pt>
                <c:pt idx="5166">
                  <c:v>#N/A</c:v>
                </c:pt>
                <c:pt idx="5167">
                  <c:v>-2.2363</c:v>
                </c:pt>
                <c:pt idx="5168">
                  <c:v>-2.8986499999999999</c:v>
                </c:pt>
                <c:pt idx="5169">
                  <c:v>#N/A</c:v>
                </c:pt>
                <c:pt idx="5170">
                  <c:v>-2.8087200000000001</c:v>
                </c:pt>
                <c:pt idx="5171">
                  <c:v>-2.7978999999999998</c:v>
                </c:pt>
                <c:pt idx="5172">
                  <c:v>-2.8083999999999998</c:v>
                </c:pt>
                <c:pt idx="5173">
                  <c:v>#N/A</c:v>
                </c:pt>
                <c:pt idx="5174">
                  <c:v>-3.06549</c:v>
                </c:pt>
                <c:pt idx="5175">
                  <c:v>-2.6469</c:v>
                </c:pt>
                <c:pt idx="5176">
                  <c:v>-2.3092199999999998</c:v>
                </c:pt>
                <c:pt idx="5177">
                  <c:v>#N/A</c:v>
                </c:pt>
                <c:pt idx="5178">
                  <c:v>-2.9647299999999999</c:v>
                </c:pt>
                <c:pt idx="5179">
                  <c:v>-2.9658000000000002</c:v>
                </c:pt>
                <c:pt idx="5180">
                  <c:v>-2.9899399999999998</c:v>
                </c:pt>
                <c:pt idx="5181">
                  <c:v>#N/A</c:v>
                </c:pt>
                <c:pt idx="5182">
                  <c:v>-2.3520400000000001</c:v>
                </c:pt>
                <c:pt idx="5183">
                  <c:v>-2.3496899999999998</c:v>
                </c:pt>
                <c:pt idx="5184">
                  <c:v>-2.2929900000000001</c:v>
                </c:pt>
                <c:pt idx="5185">
                  <c:v>#N/A</c:v>
                </c:pt>
                <c:pt idx="5186">
                  <c:v>-2.6567099999999999</c:v>
                </c:pt>
                <c:pt idx="5187">
                  <c:v>-3.0530900000000001</c:v>
                </c:pt>
                <c:pt idx="5188">
                  <c:v>-3.1007899999999999</c:v>
                </c:pt>
                <c:pt idx="5189">
                  <c:v>#N/A</c:v>
                </c:pt>
                <c:pt idx="5190">
                  <c:v>-2.8103600000000002</c:v>
                </c:pt>
                <c:pt idx="5191">
                  <c:v>-2.9163399999999999</c:v>
                </c:pt>
                <c:pt idx="5192">
                  <c:v>-1.84379</c:v>
                </c:pt>
                <c:pt idx="5193">
                  <c:v>#N/A</c:v>
                </c:pt>
                <c:pt idx="5194">
                  <c:v>-1.615</c:v>
                </c:pt>
                <c:pt idx="5195">
                  <c:v>-1.69299</c:v>
                </c:pt>
                <c:pt idx="5196">
                  <c:v>-2.6383299999999998</c:v>
                </c:pt>
                <c:pt idx="5197">
                  <c:v>#N/A</c:v>
                </c:pt>
                <c:pt idx="5198">
                  <c:v>-3.30084</c:v>
                </c:pt>
                <c:pt idx="5199">
                  <c:v>-3.6867800000000002</c:v>
                </c:pt>
                <c:pt idx="5200">
                  <c:v>-3.5209700000000002</c:v>
                </c:pt>
                <c:pt idx="5201">
                  <c:v>#N/A</c:v>
                </c:pt>
                <c:pt idx="5202">
                  <c:v>-3.29454</c:v>
                </c:pt>
                <c:pt idx="5203">
                  <c:v>-2.9808699999999999</c:v>
                </c:pt>
                <c:pt idx="5204">
                  <c:v>-2.1182799999999999</c:v>
                </c:pt>
                <c:pt idx="5205">
                  <c:v>#N/A</c:v>
                </c:pt>
                <c:pt idx="5206">
                  <c:v>-1.91733</c:v>
                </c:pt>
                <c:pt idx="5207">
                  <c:v>-2.5580699999999998</c:v>
                </c:pt>
                <c:pt idx="5208">
                  <c:v>-2.9065699999999999</c:v>
                </c:pt>
                <c:pt idx="5209">
                  <c:v>#N/A</c:v>
                </c:pt>
                <c:pt idx="5210">
                  <c:v>-3.7940100000000001</c:v>
                </c:pt>
                <c:pt idx="5211">
                  <c:v>-4.0871199999999996</c:v>
                </c:pt>
                <c:pt idx="5212">
                  <c:v>-3.3061799999999999</c:v>
                </c:pt>
                <c:pt idx="5213">
                  <c:v>#N/A</c:v>
                </c:pt>
                <c:pt idx="5214">
                  <c:v>-2.7972999999999999</c:v>
                </c:pt>
                <c:pt idx="5215">
                  <c:v>-1.99099</c:v>
                </c:pt>
                <c:pt idx="5216">
                  <c:v>-1.8164499999999999</c:v>
                </c:pt>
                <c:pt idx="5217">
                  <c:v>#N/A</c:v>
                </c:pt>
                <c:pt idx="5218">
                  <c:v>-1.5531999999999999</c:v>
                </c:pt>
                <c:pt idx="5219">
                  <c:v>-2.6419800000000002</c:v>
                </c:pt>
                <c:pt idx="5220">
                  <c:v>#N/A</c:v>
                </c:pt>
                <c:pt idx="5221">
                  <c:v>-3.2625099999999998</c:v>
                </c:pt>
                <c:pt idx="5222">
                  <c:v>-3.53193</c:v>
                </c:pt>
                <c:pt idx="5223">
                  <c:v>-2.7519100000000001</c:v>
                </c:pt>
                <c:pt idx="5224">
                  <c:v>#N/A</c:v>
                </c:pt>
                <c:pt idx="5225">
                  <c:v>-2.5613899999999998</c:v>
                </c:pt>
                <c:pt idx="5226">
                  <c:v>-2.6626099999999999</c:v>
                </c:pt>
                <c:pt idx="5227">
                  <c:v>-2.2315700000000001</c:v>
                </c:pt>
                <c:pt idx="5228">
                  <c:v>#N/A</c:v>
                </c:pt>
                <c:pt idx="5229">
                  <c:v>-2.43641</c:v>
                </c:pt>
                <c:pt idx="5230">
                  <c:v>-2.50204</c:v>
                </c:pt>
                <c:pt idx="5231">
                  <c:v>#N/A</c:v>
                </c:pt>
                <c:pt idx="5232">
                  <c:v>-2.9835099999999999</c:v>
                </c:pt>
                <c:pt idx="5233">
                  <c:v>-3.5697700000000001</c:v>
                </c:pt>
                <c:pt idx="5234">
                  <c:v>-3.4337399999999998</c:v>
                </c:pt>
                <c:pt idx="5235">
                  <c:v>#N/A</c:v>
                </c:pt>
                <c:pt idx="5236">
                  <c:v>-3.1430899999999999</c:v>
                </c:pt>
                <c:pt idx="5237">
                  <c:v>-2.5049199999999998</c:v>
                </c:pt>
                <c:pt idx="5238">
                  <c:v>-2.3324799999999999</c:v>
                </c:pt>
                <c:pt idx="5239">
                  <c:v>#N/A</c:v>
                </c:pt>
                <c:pt idx="5240">
                  <c:v>-2.5728499999999999</c:v>
                </c:pt>
                <c:pt idx="5241">
                  <c:v>-2.2137799999999999</c:v>
                </c:pt>
                <c:pt idx="5242">
                  <c:v>-3.5667900000000001</c:v>
                </c:pt>
                <c:pt idx="5243">
                  <c:v>#N/A</c:v>
                </c:pt>
                <c:pt idx="5244">
                  <c:v>-3.2262400000000002</c:v>
                </c:pt>
                <c:pt idx="5245">
                  <c:v>-3.6059700000000001</c:v>
                </c:pt>
                <c:pt idx="5246">
                  <c:v>-2.5564900000000002</c:v>
                </c:pt>
                <c:pt idx="5247">
                  <c:v>#N/A</c:v>
                </c:pt>
                <c:pt idx="5248">
                  <c:v>-2.2709999999999999</c:v>
                </c:pt>
                <c:pt idx="5249">
                  <c:v>-2.2113200000000002</c:v>
                </c:pt>
                <c:pt idx="5250">
                  <c:v>-2.94523</c:v>
                </c:pt>
                <c:pt idx="5251">
                  <c:v>#N/A</c:v>
                </c:pt>
                <c:pt idx="5252">
                  <c:v>-2.6739999999999999</c:v>
                </c:pt>
                <c:pt idx="5253">
                  <c:v>-2.2004299999999999</c:v>
                </c:pt>
                <c:pt idx="5254">
                  <c:v>-2.4449200000000002</c:v>
                </c:pt>
                <c:pt idx="5255">
                  <c:v>#N/A</c:v>
                </c:pt>
                <c:pt idx="5256">
                  <c:v>-2.3176100000000002</c:v>
                </c:pt>
                <c:pt idx="5257">
                  <c:v>-2.5545499999999999</c:v>
                </c:pt>
                <c:pt idx="5258">
                  <c:v>-2.0752700000000002</c:v>
                </c:pt>
                <c:pt idx="5259">
                  <c:v>#N/A</c:v>
                </c:pt>
                <c:pt idx="5260">
                  <c:v>-2.9432900000000002</c:v>
                </c:pt>
                <c:pt idx="5261">
                  <c:v>-3.1916799999999999</c:v>
                </c:pt>
                <c:pt idx="5262">
                  <c:v>#N/A</c:v>
                </c:pt>
                <c:pt idx="5263">
                  <c:v>-3.4691299999999998</c:v>
                </c:pt>
                <c:pt idx="5264">
                  <c:v>-2.9788199999999998</c:v>
                </c:pt>
                <c:pt idx="5265">
                  <c:v>-2.1436199999999999</c:v>
                </c:pt>
                <c:pt idx="5266">
                  <c:v>#N/A</c:v>
                </c:pt>
                <c:pt idx="5267">
                  <c:v>-1.94235</c:v>
                </c:pt>
                <c:pt idx="5268">
                  <c:v>-2.45729</c:v>
                </c:pt>
                <c:pt idx="5269">
                  <c:v>-2.4188399999999999</c:v>
                </c:pt>
                <c:pt idx="5270">
                  <c:v>#N/A</c:v>
                </c:pt>
                <c:pt idx="5271">
                  <c:v>-2.4220600000000001</c:v>
                </c:pt>
                <c:pt idx="5272">
                  <c:v>-3.4668999999999999</c:v>
                </c:pt>
                <c:pt idx="5273">
                  <c:v>-3.69272</c:v>
                </c:pt>
                <c:pt idx="5274">
                  <c:v>#N/A</c:v>
                </c:pt>
                <c:pt idx="5275">
                  <c:v>-3.3165100000000001</c:v>
                </c:pt>
                <c:pt idx="5276">
                  <c:v>-2.57165</c:v>
                </c:pt>
                <c:pt idx="5277">
                  <c:v>-1.7593000000000001</c:v>
                </c:pt>
                <c:pt idx="5278">
                  <c:v>#N/A</c:v>
                </c:pt>
                <c:pt idx="5279">
                  <c:v>-1.50082</c:v>
                </c:pt>
                <c:pt idx="5280">
                  <c:v>-2.5470999999999999</c:v>
                </c:pt>
                <c:pt idx="5281">
                  <c:v>-2.84721</c:v>
                </c:pt>
                <c:pt idx="5282">
                  <c:v>#N/A</c:v>
                </c:pt>
                <c:pt idx="5283">
                  <c:v>-3.5557500000000002</c:v>
                </c:pt>
                <c:pt idx="5284">
                  <c:v>-3.3202799999999999</c:v>
                </c:pt>
                <c:pt idx="5285">
                  <c:v>-3.1194500000000001</c:v>
                </c:pt>
                <c:pt idx="5286">
                  <c:v>#N/A</c:v>
                </c:pt>
                <c:pt idx="5287">
                  <c:v>-2.9912399999999999</c:v>
                </c:pt>
                <c:pt idx="5288">
                  <c:v>-2.1915399999999998</c:v>
                </c:pt>
                <c:pt idx="5289">
                  <c:v>-2.4147099999999999</c:v>
                </c:pt>
                <c:pt idx="5290">
                  <c:v>#N/A</c:v>
                </c:pt>
                <c:pt idx="5291">
                  <c:v>-2.4733900000000002</c:v>
                </c:pt>
                <c:pt idx="5292">
                  <c:v>-2.94679</c:v>
                </c:pt>
                <c:pt idx="5293">
                  <c:v>#N/A</c:v>
                </c:pt>
                <c:pt idx="5294">
                  <c:v>-3.5868099999999998</c:v>
                </c:pt>
                <c:pt idx="5295">
                  <c:v>-3.9566599999999998</c:v>
                </c:pt>
                <c:pt idx="5296">
                  <c:v>-3.1149</c:v>
                </c:pt>
                <c:pt idx="5297">
                  <c:v>#N/A</c:v>
                </c:pt>
                <c:pt idx="5298">
                  <c:v>-2.8952599999999999</c:v>
                </c:pt>
                <c:pt idx="5299">
                  <c:v>-2.6702599999999999</c:v>
                </c:pt>
                <c:pt idx="5300">
                  <c:v>-2.1402100000000002</c:v>
                </c:pt>
                <c:pt idx="5301">
                  <c:v>#N/A</c:v>
                </c:pt>
                <c:pt idx="5302">
                  <c:v>-1.58291</c:v>
                </c:pt>
                <c:pt idx="5303">
                  <c:v>-2.6290900000000001</c:v>
                </c:pt>
                <c:pt idx="5304">
                  <c:v>#N/A</c:v>
                </c:pt>
                <c:pt idx="5305">
                  <c:v>-3.0079600000000002</c:v>
                </c:pt>
                <c:pt idx="5306">
                  <c:v>-3.1911299999999998</c:v>
                </c:pt>
                <c:pt idx="5307">
                  <c:v>-3.3709600000000002</c:v>
                </c:pt>
                <c:pt idx="5308">
                  <c:v>#N/A</c:v>
                </c:pt>
                <c:pt idx="5309">
                  <c:v>-2.8900399999999999</c:v>
                </c:pt>
                <c:pt idx="5310">
                  <c:v>-2.5256599999999998</c:v>
                </c:pt>
                <c:pt idx="5311">
                  <c:v>-3.1401300000000001</c:v>
                </c:pt>
                <c:pt idx="5312">
                  <c:v>#N/A</c:v>
                </c:pt>
                <c:pt idx="5313">
                  <c:v>-2.2162299999999999</c:v>
                </c:pt>
                <c:pt idx="5314">
                  <c:v>-2.8680300000000001</c:v>
                </c:pt>
                <c:pt idx="5315">
                  <c:v>-2.8112599999999999</c:v>
                </c:pt>
                <c:pt idx="5316">
                  <c:v>#N/A</c:v>
                </c:pt>
                <c:pt idx="5317">
                  <c:v>-3.3228800000000001</c:v>
                </c:pt>
                <c:pt idx="5318">
                  <c:v>-2.8989799999999999</c:v>
                </c:pt>
                <c:pt idx="5319">
                  <c:v>-2.59735</c:v>
                </c:pt>
                <c:pt idx="5320">
                  <c:v>#N/A</c:v>
                </c:pt>
                <c:pt idx="5321">
                  <c:v>-2.6236700000000002</c:v>
                </c:pt>
                <c:pt idx="5322">
                  <c:v>-2.73888</c:v>
                </c:pt>
                <c:pt idx="5323">
                  <c:v>-2.9630399999999999</c:v>
                </c:pt>
                <c:pt idx="5324">
                  <c:v>#N/A</c:v>
                </c:pt>
                <c:pt idx="5325">
                  <c:v>-3.00284</c:v>
                </c:pt>
                <c:pt idx="5326">
                  <c:v>-2.6376300000000001</c:v>
                </c:pt>
                <c:pt idx="5327">
                  <c:v>-2.9256000000000002</c:v>
                </c:pt>
                <c:pt idx="5328">
                  <c:v>#N/A</c:v>
                </c:pt>
                <c:pt idx="5329">
                  <c:v>-2.8721100000000002</c:v>
                </c:pt>
                <c:pt idx="5330">
                  <c:v>-2.8923100000000002</c:v>
                </c:pt>
                <c:pt idx="5331">
                  <c:v>#N/A</c:v>
                </c:pt>
                <c:pt idx="5332">
                  <c:v>-3.0342899999999999</c:v>
                </c:pt>
                <c:pt idx="5333">
                  <c:v>-2.9111899999999999</c:v>
                </c:pt>
                <c:pt idx="5334">
                  <c:v>-2.7393100000000001</c:v>
                </c:pt>
                <c:pt idx="5335">
                  <c:v>#N/A</c:v>
                </c:pt>
                <c:pt idx="5336">
                  <c:v>-3.3204799999999999</c:v>
                </c:pt>
                <c:pt idx="5337">
                  <c:v>-3.0864400000000001</c:v>
                </c:pt>
                <c:pt idx="5338">
                  <c:v>-2.9531000000000001</c:v>
                </c:pt>
                <c:pt idx="5339">
                  <c:v>#N/A</c:v>
                </c:pt>
                <c:pt idx="5340">
                  <c:v>-2.5736699999999999</c:v>
                </c:pt>
                <c:pt idx="5341">
                  <c:v>-2.0937000000000001</c:v>
                </c:pt>
                <c:pt idx="5342">
                  <c:v>-2.4250099999999999</c:v>
                </c:pt>
                <c:pt idx="5343">
                  <c:v>#N/A</c:v>
                </c:pt>
                <c:pt idx="5344">
                  <c:v>-2.3210799999999998</c:v>
                </c:pt>
                <c:pt idx="5345">
                  <c:v>-3.1097800000000002</c:v>
                </c:pt>
                <c:pt idx="5346">
                  <c:v>-3.5150800000000002</c:v>
                </c:pt>
                <c:pt idx="5347">
                  <c:v>#N/A</c:v>
                </c:pt>
                <c:pt idx="5348">
                  <c:v>-3.3903599999999998</c:v>
                </c:pt>
                <c:pt idx="5349">
                  <c:v>-2.7899500000000002</c:v>
                </c:pt>
                <c:pt idx="5350">
                  <c:v>-2.7165900000000001</c:v>
                </c:pt>
                <c:pt idx="5351">
                  <c:v>#N/A</c:v>
                </c:pt>
                <c:pt idx="5352">
                  <c:v>-2.2224499999999998</c:v>
                </c:pt>
                <c:pt idx="5353">
                  <c:v>-2.7054299999999998</c:v>
                </c:pt>
                <c:pt idx="5354">
                  <c:v>#N/A</c:v>
                </c:pt>
                <c:pt idx="5355">
                  <c:v>-2.9695999999999998</c:v>
                </c:pt>
                <c:pt idx="5356">
                  <c:v>-3.5432800000000002</c:v>
                </c:pt>
                <c:pt idx="5357">
                  <c:v>#N/A</c:v>
                </c:pt>
                <c:pt idx="5358">
                  <c:v>-3.1206900000000002</c:v>
                </c:pt>
                <c:pt idx="5359">
                  <c:v>-2.8202400000000001</c:v>
                </c:pt>
                <c:pt idx="5360">
                  <c:v>-2.5162200000000001</c:v>
                </c:pt>
                <c:pt idx="5361">
                  <c:v>#N/A</c:v>
                </c:pt>
                <c:pt idx="5362">
                  <c:v>-1.92604</c:v>
                </c:pt>
                <c:pt idx="5363">
                  <c:v>-3.06792</c:v>
                </c:pt>
                <c:pt idx="5364">
                  <c:v>#N/A</c:v>
                </c:pt>
                <c:pt idx="5365">
                  <c:v>-2.7220200000000001</c:v>
                </c:pt>
                <c:pt idx="5366">
                  <c:v>-3.03776</c:v>
                </c:pt>
                <c:pt idx="5367">
                  <c:v>-2.6983100000000002</c:v>
                </c:pt>
                <c:pt idx="5368">
                  <c:v>#N/A</c:v>
                </c:pt>
                <c:pt idx="5369">
                  <c:v>-3.5209899999999998</c:v>
                </c:pt>
                <c:pt idx="5370">
                  <c:v>-2.6674600000000002</c:v>
                </c:pt>
                <c:pt idx="5371">
                  <c:v>-2.3394699999999999</c:v>
                </c:pt>
                <c:pt idx="5372">
                  <c:v>#N/A</c:v>
                </c:pt>
                <c:pt idx="5373">
                  <c:v>-2.07612</c:v>
                </c:pt>
                <c:pt idx="5374">
                  <c:v>-2.4627699999999999</c:v>
                </c:pt>
                <c:pt idx="5375">
                  <c:v>-2.7603399999999998</c:v>
                </c:pt>
                <c:pt idx="5376">
                  <c:v>#N/A</c:v>
                </c:pt>
                <c:pt idx="5377">
                  <c:v>-2.84165</c:v>
                </c:pt>
                <c:pt idx="5378">
                  <c:v>-3.3137500000000002</c:v>
                </c:pt>
                <c:pt idx="5379">
                  <c:v>-3.1800899999999999</c:v>
                </c:pt>
                <c:pt idx="5380">
                  <c:v>#N/A</c:v>
                </c:pt>
                <c:pt idx="5381">
                  <c:v>-3.5991900000000001</c:v>
                </c:pt>
                <c:pt idx="5382">
                  <c:v>-2.7593700000000001</c:v>
                </c:pt>
                <c:pt idx="5383">
                  <c:v>#N/A</c:v>
                </c:pt>
                <c:pt idx="5384">
                  <c:v>-2.5446</c:v>
                </c:pt>
                <c:pt idx="5385">
                  <c:v>-2.59145</c:v>
                </c:pt>
                <c:pt idx="5386">
                  <c:v>-3.0032700000000001</c:v>
                </c:pt>
                <c:pt idx="5387">
                  <c:v>#N/A</c:v>
                </c:pt>
                <c:pt idx="5388">
                  <c:v>-2.96271</c:v>
                </c:pt>
                <c:pt idx="5389">
                  <c:v>-3.5432700000000001</c:v>
                </c:pt>
                <c:pt idx="5390">
                  <c:v>#N/A</c:v>
                </c:pt>
                <c:pt idx="5391">
                  <c:v>-3.2224400000000002</c:v>
                </c:pt>
                <c:pt idx="5392">
                  <c:v>-3.1642600000000001</c:v>
                </c:pt>
                <c:pt idx="5393">
                  <c:v>-2.6620499999999998</c:v>
                </c:pt>
                <c:pt idx="5394">
                  <c:v>#N/A</c:v>
                </c:pt>
                <c:pt idx="5395">
                  <c:v>-2.7968799999999998</c:v>
                </c:pt>
                <c:pt idx="5396">
                  <c:v>-2.5763600000000002</c:v>
                </c:pt>
                <c:pt idx="5397">
                  <c:v>-2.9711099999999999</c:v>
                </c:pt>
                <c:pt idx="5398">
                  <c:v>#N/A</c:v>
                </c:pt>
                <c:pt idx="5399">
                  <c:v>-3.5206</c:v>
                </c:pt>
                <c:pt idx="5400">
                  <c:v>-3.4575200000000001</c:v>
                </c:pt>
                <c:pt idx="5401">
                  <c:v>-2.36063</c:v>
                </c:pt>
                <c:pt idx="5402">
                  <c:v>#N/A</c:v>
                </c:pt>
                <c:pt idx="5403">
                  <c:v>-2.81839</c:v>
                </c:pt>
                <c:pt idx="5404">
                  <c:v>-2.3493300000000001</c:v>
                </c:pt>
                <c:pt idx="5405">
                  <c:v>-2.5856300000000001</c:v>
                </c:pt>
                <c:pt idx="5406">
                  <c:v>#N/A</c:v>
                </c:pt>
                <c:pt idx="5407">
                  <c:v>-2.9733000000000001</c:v>
                </c:pt>
                <c:pt idx="5408">
                  <c:v>-2.8818000000000001</c:v>
                </c:pt>
                <c:pt idx="5409">
                  <c:v>-3.0329799999999998</c:v>
                </c:pt>
                <c:pt idx="5410">
                  <c:v>#N/A</c:v>
                </c:pt>
                <c:pt idx="5411">
                  <c:v>-2.9248599999999998</c:v>
                </c:pt>
                <c:pt idx="5412">
                  <c:v>-3.3447900000000002</c:v>
                </c:pt>
                <c:pt idx="5413">
                  <c:v>-2.5377000000000001</c:v>
                </c:pt>
                <c:pt idx="5414">
                  <c:v>#N/A</c:v>
                </c:pt>
                <c:pt idx="5415">
                  <c:v>-2.7573599999999998</c:v>
                </c:pt>
                <c:pt idx="5416">
                  <c:v>-2.7185700000000002</c:v>
                </c:pt>
                <c:pt idx="5417">
                  <c:v>#N/A</c:v>
                </c:pt>
                <c:pt idx="5418">
                  <c:v>-3.04596</c:v>
                </c:pt>
                <c:pt idx="5419">
                  <c:v>-3.0880200000000002</c:v>
                </c:pt>
                <c:pt idx="5420">
                  <c:v>-3.5771000000000002</c:v>
                </c:pt>
                <c:pt idx="5421">
                  <c:v>#N/A</c:v>
                </c:pt>
                <c:pt idx="5422">
                  <c:v>-3.0395099999999999</c:v>
                </c:pt>
                <c:pt idx="5423">
                  <c:v>-2.83507</c:v>
                </c:pt>
                <c:pt idx="5424">
                  <c:v>-2.3890199999999999</c:v>
                </c:pt>
                <c:pt idx="5425">
                  <c:v>#N/A</c:v>
                </c:pt>
                <c:pt idx="5426">
                  <c:v>-2.0158499999999999</c:v>
                </c:pt>
                <c:pt idx="5427">
                  <c:v>-2.14385</c:v>
                </c:pt>
                <c:pt idx="5428">
                  <c:v>-2.94869</c:v>
                </c:pt>
                <c:pt idx="5429">
                  <c:v>#N/A</c:v>
                </c:pt>
                <c:pt idx="5430">
                  <c:v>-3.4338500000000001</c:v>
                </c:pt>
                <c:pt idx="5431">
                  <c:v>-2.9805700000000002</c:v>
                </c:pt>
                <c:pt idx="5432">
                  <c:v>-2.7054299999999998</c:v>
                </c:pt>
                <c:pt idx="5433">
                  <c:v>#N/A</c:v>
                </c:pt>
                <c:pt idx="5434">
                  <c:v>-2.9814699999999998</c:v>
                </c:pt>
                <c:pt idx="5435">
                  <c:v>-2.4537</c:v>
                </c:pt>
                <c:pt idx="5436">
                  <c:v>-2.5558299999999998</c:v>
                </c:pt>
                <c:pt idx="5437">
                  <c:v>#N/A</c:v>
                </c:pt>
                <c:pt idx="5438">
                  <c:v>-2.6217299999999999</c:v>
                </c:pt>
                <c:pt idx="5439">
                  <c:v>-3.3487900000000002</c:v>
                </c:pt>
                <c:pt idx="5440">
                  <c:v>-3.4596100000000001</c:v>
                </c:pt>
                <c:pt idx="5441">
                  <c:v>#N/A</c:v>
                </c:pt>
                <c:pt idx="5442">
                  <c:v>-3.6006499999999999</c:v>
                </c:pt>
                <c:pt idx="5443">
                  <c:v>-3.5902599999999998</c:v>
                </c:pt>
                <c:pt idx="5444">
                  <c:v>#N/A</c:v>
                </c:pt>
                <c:pt idx="5445">
                  <c:v>-2.6366399999999999</c:v>
                </c:pt>
                <c:pt idx="5446">
                  <c:v>-2.70445</c:v>
                </c:pt>
                <c:pt idx="5447">
                  <c:v>-2.6227900000000002</c:v>
                </c:pt>
                <c:pt idx="5448">
                  <c:v>#N/A</c:v>
                </c:pt>
                <c:pt idx="5449">
                  <c:v>-3.02271</c:v>
                </c:pt>
                <c:pt idx="5450">
                  <c:v>-2.7904900000000001</c:v>
                </c:pt>
                <c:pt idx="5451">
                  <c:v>-3.45424</c:v>
                </c:pt>
                <c:pt idx="5452">
                  <c:v>#N/A</c:v>
                </c:pt>
                <c:pt idx="5453">
                  <c:v>-3.7136999999999998</c:v>
                </c:pt>
                <c:pt idx="5454">
                  <c:v>-3.6371699999999998</c:v>
                </c:pt>
                <c:pt idx="5455">
                  <c:v>-2.57111</c:v>
                </c:pt>
                <c:pt idx="5456">
                  <c:v>#N/A</c:v>
                </c:pt>
                <c:pt idx="5457">
                  <c:v>-2.2885200000000001</c:v>
                </c:pt>
                <c:pt idx="5458">
                  <c:v>-2.8752200000000001</c:v>
                </c:pt>
                <c:pt idx="5459">
                  <c:v>-2.9239799999999998</c:v>
                </c:pt>
                <c:pt idx="5460">
                  <c:v>#N/A</c:v>
                </c:pt>
                <c:pt idx="5461">
                  <c:v>-3.0487099999999998</c:v>
                </c:pt>
                <c:pt idx="5462">
                  <c:v>-3.3151799999999998</c:v>
                </c:pt>
                <c:pt idx="5463">
                  <c:v>-3.6284000000000001</c:v>
                </c:pt>
                <c:pt idx="5464">
                  <c:v>#N/A</c:v>
                </c:pt>
                <c:pt idx="5465">
                  <c:v>-2.7985099999999998</c:v>
                </c:pt>
                <c:pt idx="5466">
                  <c:v>-2.8509799999999998</c:v>
                </c:pt>
                <c:pt idx="5467">
                  <c:v>#N/A</c:v>
                </c:pt>
                <c:pt idx="5468">
                  <c:v>-2.8122199999999999</c:v>
                </c:pt>
                <c:pt idx="5469">
                  <c:v>-2.5905300000000002</c:v>
                </c:pt>
                <c:pt idx="5470">
                  <c:v>-3.5800900000000002</c:v>
                </c:pt>
                <c:pt idx="5471">
                  <c:v>#N/A</c:v>
                </c:pt>
                <c:pt idx="5472">
                  <c:v>-3.2803399999999998</c:v>
                </c:pt>
                <c:pt idx="5473">
                  <c:v>-3.3775300000000001</c:v>
                </c:pt>
                <c:pt idx="5474">
                  <c:v>-2.8931399999999998</c:v>
                </c:pt>
                <c:pt idx="5475">
                  <c:v>#N/A</c:v>
                </c:pt>
                <c:pt idx="5476">
                  <c:v>-2.9102299999999999</c:v>
                </c:pt>
                <c:pt idx="5477">
                  <c:v>-2.31284</c:v>
                </c:pt>
                <c:pt idx="5478">
                  <c:v>-2.4731000000000001</c:v>
                </c:pt>
                <c:pt idx="5479">
                  <c:v>#N/A</c:v>
                </c:pt>
                <c:pt idx="5480">
                  <c:v>-2.80219</c:v>
                </c:pt>
                <c:pt idx="5481">
                  <c:v>-2.9390299999999998</c:v>
                </c:pt>
                <c:pt idx="5482">
                  <c:v>-3.1799900000000001</c:v>
                </c:pt>
                <c:pt idx="5483">
                  <c:v>#N/A</c:v>
                </c:pt>
                <c:pt idx="5484">
                  <c:v>-2.8822000000000001</c:v>
                </c:pt>
                <c:pt idx="5485">
                  <c:v>-2.5984400000000001</c:v>
                </c:pt>
                <c:pt idx="5486">
                  <c:v>-2.1190699999999998</c:v>
                </c:pt>
                <c:pt idx="5487">
                  <c:v>#N/A</c:v>
                </c:pt>
                <c:pt idx="5488">
                  <c:v>-2.1055700000000002</c:v>
                </c:pt>
                <c:pt idx="5489">
                  <c:v>-2.6839499999999998</c:v>
                </c:pt>
                <c:pt idx="5490">
                  <c:v>-2.90524</c:v>
                </c:pt>
                <c:pt idx="5491">
                  <c:v>#N/A</c:v>
                </c:pt>
                <c:pt idx="5492">
                  <c:v>-2.7932700000000001</c:v>
                </c:pt>
                <c:pt idx="5493">
                  <c:v>-2.71732</c:v>
                </c:pt>
                <c:pt idx="5494">
                  <c:v>#N/A</c:v>
                </c:pt>
                <c:pt idx="5495">
                  <c:v>-2.9137499999999998</c:v>
                </c:pt>
                <c:pt idx="5496">
                  <c:v>-2.5498699999999999</c:v>
                </c:pt>
                <c:pt idx="5497">
                  <c:v>#N/A</c:v>
                </c:pt>
                <c:pt idx="5498">
                  <c:v>-2.0445199999999999</c:v>
                </c:pt>
                <c:pt idx="5499">
                  <c:v>-2.3835899999999999</c:v>
                </c:pt>
                <c:pt idx="5500">
                  <c:v>-2.77902</c:v>
                </c:pt>
                <c:pt idx="5501">
                  <c:v>#N/A</c:v>
                </c:pt>
                <c:pt idx="5502">
                  <c:v>-3.3497499999999998</c:v>
                </c:pt>
                <c:pt idx="5503">
                  <c:v>-3.9380799999999998</c:v>
                </c:pt>
                <c:pt idx="5504">
                  <c:v>-3.7260399999999998</c:v>
                </c:pt>
                <c:pt idx="5505">
                  <c:v>#N/A</c:v>
                </c:pt>
                <c:pt idx="5506">
                  <c:v>-2.83447</c:v>
                </c:pt>
                <c:pt idx="5507">
                  <c:v>-2.81054</c:v>
                </c:pt>
                <c:pt idx="5508">
                  <c:v>-2.7629100000000002</c:v>
                </c:pt>
                <c:pt idx="5509">
                  <c:v>#N/A</c:v>
                </c:pt>
                <c:pt idx="5510">
                  <c:v>-2.16804</c:v>
                </c:pt>
                <c:pt idx="5511">
                  <c:v>-2.8407</c:v>
                </c:pt>
                <c:pt idx="5512">
                  <c:v>-3.1889099999999999</c:v>
                </c:pt>
                <c:pt idx="5513">
                  <c:v>#N/A</c:v>
                </c:pt>
                <c:pt idx="5514">
                  <c:v>-3.2972000000000001</c:v>
                </c:pt>
                <c:pt idx="5515">
                  <c:v>-3.56202</c:v>
                </c:pt>
                <c:pt idx="5516">
                  <c:v>-3.0950099999999998</c:v>
                </c:pt>
                <c:pt idx="5517">
                  <c:v>#N/A</c:v>
                </c:pt>
                <c:pt idx="5518">
                  <c:v>-2.70261</c:v>
                </c:pt>
                <c:pt idx="5519">
                  <c:v>-2.2788499999999998</c:v>
                </c:pt>
                <c:pt idx="5520">
                  <c:v>-2.5784099999999999</c:v>
                </c:pt>
                <c:pt idx="5521">
                  <c:v>#N/A</c:v>
                </c:pt>
                <c:pt idx="5522">
                  <c:v>-2.48685</c:v>
                </c:pt>
                <c:pt idx="5523">
                  <c:v>-2.72662</c:v>
                </c:pt>
                <c:pt idx="5524">
                  <c:v>-3.8321200000000002</c:v>
                </c:pt>
                <c:pt idx="5525">
                  <c:v>#N/A</c:v>
                </c:pt>
                <c:pt idx="5526">
                  <c:v>-3.6229399999999998</c:v>
                </c:pt>
                <c:pt idx="5527">
                  <c:v>-3.2666599999999999</c:v>
                </c:pt>
                <c:pt idx="5528">
                  <c:v>-2.7766600000000001</c:v>
                </c:pt>
                <c:pt idx="5529">
                  <c:v>#N/A</c:v>
                </c:pt>
                <c:pt idx="5530">
                  <c:v>-2.0492499999999998</c:v>
                </c:pt>
                <c:pt idx="5531">
                  <c:v>-2.4372099999999999</c:v>
                </c:pt>
                <c:pt idx="5532">
                  <c:v>#N/A</c:v>
                </c:pt>
                <c:pt idx="5533">
                  <c:v>-2.5730300000000002</c:v>
                </c:pt>
                <c:pt idx="5534">
                  <c:v>-3.1164999999999998</c:v>
                </c:pt>
                <c:pt idx="5535">
                  <c:v>-3.4462100000000002</c:v>
                </c:pt>
                <c:pt idx="5536">
                  <c:v>#N/A</c:v>
                </c:pt>
                <c:pt idx="5537">
                  <c:v>-3.47281</c:v>
                </c:pt>
                <c:pt idx="5538">
                  <c:v>-3.3972899999999999</c:v>
                </c:pt>
                <c:pt idx="5539">
                  <c:v>-3.0373899999999998</c:v>
                </c:pt>
                <c:pt idx="5540">
                  <c:v>#N/A</c:v>
                </c:pt>
                <c:pt idx="5541">
                  <c:v>-2.4931700000000001</c:v>
                </c:pt>
                <c:pt idx="5542">
                  <c:v>-2.9282300000000001</c:v>
                </c:pt>
                <c:pt idx="5543">
                  <c:v>-3.0500799999999999</c:v>
                </c:pt>
                <c:pt idx="5544">
                  <c:v>#N/A</c:v>
                </c:pt>
                <c:pt idx="5545">
                  <c:v>-2.99607</c:v>
                </c:pt>
                <c:pt idx="5546">
                  <c:v>-3.0828199999999999</c:v>
                </c:pt>
                <c:pt idx="5547">
                  <c:v>-2.98882</c:v>
                </c:pt>
                <c:pt idx="5548">
                  <c:v>#N/A</c:v>
                </c:pt>
                <c:pt idx="5549">
                  <c:v>-2.36924</c:v>
                </c:pt>
                <c:pt idx="5550">
                  <c:v>-2.4759600000000002</c:v>
                </c:pt>
                <c:pt idx="5551">
                  <c:v>-2.3662999999999998</c:v>
                </c:pt>
                <c:pt idx="5552">
                  <c:v>#N/A</c:v>
                </c:pt>
                <c:pt idx="5553">
                  <c:v>-2.2432400000000001</c:v>
                </c:pt>
                <c:pt idx="5554">
                  <c:v>-2.98285</c:v>
                </c:pt>
                <c:pt idx="5555">
                  <c:v>-3.3043900000000002</c:v>
                </c:pt>
                <c:pt idx="5556">
                  <c:v>#N/A</c:v>
                </c:pt>
                <c:pt idx="5557">
                  <c:v>-3.3647100000000001</c:v>
                </c:pt>
                <c:pt idx="5558">
                  <c:v>-2.6813899999999999</c:v>
                </c:pt>
                <c:pt idx="5559">
                  <c:v>-2.4353799999999999</c:v>
                </c:pt>
                <c:pt idx="5560">
                  <c:v>#N/A</c:v>
                </c:pt>
                <c:pt idx="5561">
                  <c:v>-2.5656699999999999</c:v>
                </c:pt>
                <c:pt idx="5562">
                  <c:v>-2.9188399999999999</c:v>
                </c:pt>
                <c:pt idx="5563">
                  <c:v>#N/A</c:v>
                </c:pt>
                <c:pt idx="5564">
                  <c:v>-3.5197500000000002</c:v>
                </c:pt>
                <c:pt idx="5565">
                  <c:v>-3.3975599999999999</c:v>
                </c:pt>
                <c:pt idx="5566">
                  <c:v>-3.4449700000000001</c:v>
                </c:pt>
                <c:pt idx="5567">
                  <c:v>#N/A</c:v>
                </c:pt>
                <c:pt idx="5568">
                  <c:v>-3.0355300000000001</c:v>
                </c:pt>
                <c:pt idx="5569">
                  <c:v>-2.7489699999999999</c:v>
                </c:pt>
                <c:pt idx="5570">
                  <c:v>-2.1557200000000001</c:v>
                </c:pt>
                <c:pt idx="5571">
                  <c:v>#N/A</c:v>
                </c:pt>
                <c:pt idx="5572">
                  <c:v>-2.1790400000000001</c:v>
                </c:pt>
                <c:pt idx="5573">
                  <c:v>-2.6201300000000001</c:v>
                </c:pt>
                <c:pt idx="5574">
                  <c:v>#N/A</c:v>
                </c:pt>
                <c:pt idx="5575">
                  <c:v>-2.79392</c:v>
                </c:pt>
                <c:pt idx="5576">
                  <c:v>-3.3524600000000002</c:v>
                </c:pt>
                <c:pt idx="5577">
                  <c:v>#N/A</c:v>
                </c:pt>
                <c:pt idx="5578">
                  <c:v>-2.7937400000000001</c:v>
                </c:pt>
                <c:pt idx="5579">
                  <c:v>-2.6507499999999999</c:v>
                </c:pt>
                <c:pt idx="5580">
                  <c:v>#N/A</c:v>
                </c:pt>
                <c:pt idx="5581">
                  <c:v>-2.1333700000000002</c:v>
                </c:pt>
                <c:pt idx="5582">
                  <c:v>-2.2446999999999999</c:v>
                </c:pt>
                <c:pt idx="5583">
                  <c:v>#N/A</c:v>
                </c:pt>
                <c:pt idx="5584">
                  <c:v>-2.7446199999999998</c:v>
                </c:pt>
                <c:pt idx="5585">
                  <c:v>-3.2700200000000001</c:v>
                </c:pt>
                <c:pt idx="5586">
                  <c:v>-3.36673</c:v>
                </c:pt>
                <c:pt idx="5587">
                  <c:v>#N/A</c:v>
                </c:pt>
                <c:pt idx="5588">
                  <c:v>-3.37392</c:v>
                </c:pt>
                <c:pt idx="5589">
                  <c:v>-3.2044800000000002</c:v>
                </c:pt>
                <c:pt idx="5590">
                  <c:v>-2.5986500000000001</c:v>
                </c:pt>
                <c:pt idx="5591">
                  <c:v>#N/A</c:v>
                </c:pt>
                <c:pt idx="5592">
                  <c:v>-2.6094900000000001</c:v>
                </c:pt>
                <c:pt idx="5593">
                  <c:v>-2.3548200000000001</c:v>
                </c:pt>
                <c:pt idx="5594">
                  <c:v>-2.5382699999999998</c:v>
                </c:pt>
                <c:pt idx="5595">
                  <c:v>#N/A</c:v>
                </c:pt>
                <c:pt idx="5596">
                  <c:v>-3.0837699999999999</c:v>
                </c:pt>
                <c:pt idx="5597">
                  <c:v>-3.0646300000000002</c:v>
                </c:pt>
                <c:pt idx="5598">
                  <c:v>#N/A</c:v>
                </c:pt>
                <c:pt idx="5599">
                  <c:v>-3.05931</c:v>
                </c:pt>
                <c:pt idx="5600">
                  <c:v>-3.1917800000000001</c:v>
                </c:pt>
                <c:pt idx="5601">
                  <c:v>-2.8539500000000002</c:v>
                </c:pt>
                <c:pt idx="5602">
                  <c:v>#N/A</c:v>
                </c:pt>
                <c:pt idx="5603">
                  <c:v>-2.68215</c:v>
                </c:pt>
                <c:pt idx="5604">
                  <c:v>-2.8584800000000001</c:v>
                </c:pt>
                <c:pt idx="5605">
                  <c:v>#N/A</c:v>
                </c:pt>
                <c:pt idx="5606">
                  <c:v>-2.4302199999999998</c:v>
                </c:pt>
                <c:pt idx="5607">
                  <c:v>-3.0719599999999998</c:v>
                </c:pt>
                <c:pt idx="5608">
                  <c:v>-3.5960800000000002</c:v>
                </c:pt>
                <c:pt idx="5609">
                  <c:v>#N/A</c:v>
                </c:pt>
                <c:pt idx="5610">
                  <c:v>-3.3109099999999998</c:v>
                </c:pt>
                <c:pt idx="5611">
                  <c:v>-2.9310399999999999</c:v>
                </c:pt>
                <c:pt idx="5612">
                  <c:v>-2.5196100000000001</c:v>
                </c:pt>
                <c:pt idx="5613">
                  <c:v>#N/A</c:v>
                </c:pt>
                <c:pt idx="5614">
                  <c:v>-2.0493399999999999</c:v>
                </c:pt>
                <c:pt idx="5615">
                  <c:v>-2.2320700000000002</c:v>
                </c:pt>
                <c:pt idx="5616">
                  <c:v>-2.8967000000000001</c:v>
                </c:pt>
                <c:pt idx="5617">
                  <c:v>#N/A</c:v>
                </c:pt>
                <c:pt idx="5618">
                  <c:v>-2.9557199999999999</c:v>
                </c:pt>
                <c:pt idx="5619">
                  <c:v>-2.8425600000000002</c:v>
                </c:pt>
                <c:pt idx="5620">
                  <c:v>-2.8483499999999999</c:v>
                </c:pt>
                <c:pt idx="5621">
                  <c:v>#N/A</c:v>
                </c:pt>
                <c:pt idx="5622">
                  <c:v>-3.0515500000000002</c:v>
                </c:pt>
                <c:pt idx="5623">
                  <c:v>-2.7787999999999999</c:v>
                </c:pt>
                <c:pt idx="5624">
                  <c:v>-2.6583000000000001</c:v>
                </c:pt>
                <c:pt idx="5625">
                  <c:v>#N/A</c:v>
                </c:pt>
                <c:pt idx="5626">
                  <c:v>-2.5701999999999998</c:v>
                </c:pt>
                <c:pt idx="5627">
                  <c:v>-3.3295599999999999</c:v>
                </c:pt>
                <c:pt idx="5628">
                  <c:v>-3.5245799999999998</c:v>
                </c:pt>
                <c:pt idx="5629">
                  <c:v>#N/A</c:v>
                </c:pt>
                <c:pt idx="5630">
                  <c:v>-3.2097500000000001</c:v>
                </c:pt>
                <c:pt idx="5631">
                  <c:v>-2.8886799999999999</c:v>
                </c:pt>
                <c:pt idx="5632">
                  <c:v>#N/A</c:v>
                </c:pt>
                <c:pt idx="5633">
                  <c:v>-2.6189300000000002</c:v>
                </c:pt>
                <c:pt idx="5634">
                  <c:v>-2.58643</c:v>
                </c:pt>
                <c:pt idx="5635">
                  <c:v>-2.6124100000000001</c:v>
                </c:pt>
                <c:pt idx="5636">
                  <c:v>#N/A</c:v>
                </c:pt>
                <c:pt idx="5637">
                  <c:v>-2.7618499999999999</c:v>
                </c:pt>
                <c:pt idx="5638">
                  <c:v>-2.8985099999999999</c:v>
                </c:pt>
                <c:pt idx="5639">
                  <c:v>-3.40164</c:v>
                </c:pt>
                <c:pt idx="5640">
                  <c:v>#N/A</c:v>
                </c:pt>
                <c:pt idx="5641">
                  <c:v>-3.24207</c:v>
                </c:pt>
                <c:pt idx="5642">
                  <c:v>-2.8113000000000001</c:v>
                </c:pt>
                <c:pt idx="5643">
                  <c:v>-2.2631399999999999</c:v>
                </c:pt>
                <c:pt idx="5644">
                  <c:v>#N/A</c:v>
                </c:pt>
                <c:pt idx="5645">
                  <c:v>-2.3354200000000001</c:v>
                </c:pt>
                <c:pt idx="5646">
                  <c:v>-2.96835</c:v>
                </c:pt>
                <c:pt idx="5647">
                  <c:v>-3.5548000000000002</c:v>
                </c:pt>
                <c:pt idx="5648">
                  <c:v>#N/A</c:v>
                </c:pt>
                <c:pt idx="5649">
                  <c:v>-3.5291100000000002</c:v>
                </c:pt>
                <c:pt idx="5650">
                  <c:v>-3.4367899999999998</c:v>
                </c:pt>
                <c:pt idx="5651">
                  <c:v>-3.2647900000000001</c:v>
                </c:pt>
                <c:pt idx="5652">
                  <c:v>#N/A</c:v>
                </c:pt>
                <c:pt idx="5653">
                  <c:v>-2.6197599999999999</c:v>
                </c:pt>
                <c:pt idx="5654">
                  <c:v>#N/A</c:v>
                </c:pt>
                <c:pt idx="5655">
                  <c:v>-2.3652299999999999</c:v>
                </c:pt>
                <c:pt idx="5656">
                  <c:v>-2.44042</c:v>
                </c:pt>
                <c:pt idx="5657">
                  <c:v>#N/A</c:v>
                </c:pt>
                <c:pt idx="5658">
                  <c:v>-3.2626300000000001</c:v>
                </c:pt>
                <c:pt idx="5659">
                  <c:v>-3.4202499999999998</c:v>
                </c:pt>
                <c:pt idx="5660">
                  <c:v>-3.65849</c:v>
                </c:pt>
                <c:pt idx="5661">
                  <c:v>#N/A</c:v>
                </c:pt>
                <c:pt idx="5662">
                  <c:v>-3.5977100000000002</c:v>
                </c:pt>
                <c:pt idx="5663">
                  <c:v>-2.9106800000000002</c:v>
                </c:pt>
                <c:pt idx="5664">
                  <c:v>-2.0859700000000001</c:v>
                </c:pt>
                <c:pt idx="5665">
                  <c:v>#N/A</c:v>
                </c:pt>
                <c:pt idx="5666">
                  <c:v>-1.90743</c:v>
                </c:pt>
                <c:pt idx="5667">
                  <c:v>-2.7867299999999999</c:v>
                </c:pt>
                <c:pt idx="5668">
                  <c:v>-2.71956</c:v>
                </c:pt>
                <c:pt idx="5669">
                  <c:v>#N/A</c:v>
                </c:pt>
                <c:pt idx="5670">
                  <c:v>-2.9701</c:v>
                </c:pt>
                <c:pt idx="5671">
                  <c:v>-3.2157499999999999</c:v>
                </c:pt>
                <c:pt idx="5672">
                  <c:v>-3.14636</c:v>
                </c:pt>
                <c:pt idx="5673">
                  <c:v>#N/A</c:v>
                </c:pt>
                <c:pt idx="5674">
                  <c:v>-2.3324799999999999</c:v>
                </c:pt>
                <c:pt idx="5675">
                  <c:v>-2.6444399999999999</c:v>
                </c:pt>
                <c:pt idx="5676">
                  <c:v>#N/A</c:v>
                </c:pt>
                <c:pt idx="5677">
                  <c:v>-1.9223699999999999</c:v>
                </c:pt>
                <c:pt idx="5678">
                  <c:v>-1.80142</c:v>
                </c:pt>
                <c:pt idx="5679">
                  <c:v>-2.8273199999999998</c:v>
                </c:pt>
                <c:pt idx="5680">
                  <c:v>#N/A</c:v>
                </c:pt>
                <c:pt idx="5681">
                  <c:v>-2.9763700000000002</c:v>
                </c:pt>
                <c:pt idx="5682">
                  <c:v>-3.3687800000000001</c:v>
                </c:pt>
                <c:pt idx="5683">
                  <c:v>-3.1124100000000001</c:v>
                </c:pt>
                <c:pt idx="5684">
                  <c:v>#N/A</c:v>
                </c:pt>
                <c:pt idx="5685">
                  <c:v>-3.16384</c:v>
                </c:pt>
                <c:pt idx="5686">
                  <c:v>-2.4087000000000001</c:v>
                </c:pt>
                <c:pt idx="5687">
                  <c:v>-2.7782800000000001</c:v>
                </c:pt>
                <c:pt idx="5688">
                  <c:v>#N/A</c:v>
                </c:pt>
                <c:pt idx="5689">
                  <c:v>-2.8209200000000001</c:v>
                </c:pt>
                <c:pt idx="5690">
                  <c:v>-2.4753500000000002</c:v>
                </c:pt>
                <c:pt idx="5691">
                  <c:v>#N/A</c:v>
                </c:pt>
                <c:pt idx="5692">
                  <c:v>-3.0068100000000002</c:v>
                </c:pt>
                <c:pt idx="5693">
                  <c:v>-3.01464</c:v>
                </c:pt>
                <c:pt idx="5694">
                  <c:v>-2.6638999999999999</c:v>
                </c:pt>
                <c:pt idx="5695">
                  <c:v>#N/A</c:v>
                </c:pt>
                <c:pt idx="5696">
                  <c:v>-2.2961</c:v>
                </c:pt>
                <c:pt idx="5697">
                  <c:v>-2.19008</c:v>
                </c:pt>
                <c:pt idx="5698">
                  <c:v>-2.3057599999999998</c:v>
                </c:pt>
                <c:pt idx="5699">
                  <c:v>#N/A</c:v>
                </c:pt>
                <c:pt idx="5700">
                  <c:v>-2.6947999999999999</c:v>
                </c:pt>
                <c:pt idx="5701">
                  <c:v>-2.6618599999999999</c:v>
                </c:pt>
                <c:pt idx="5702">
                  <c:v>-2.5706799999999999</c:v>
                </c:pt>
                <c:pt idx="5703">
                  <c:v>#N/A</c:v>
                </c:pt>
                <c:pt idx="5704">
                  <c:v>-2.1740599999999999</c:v>
                </c:pt>
                <c:pt idx="5705">
                  <c:v>-2.5081000000000002</c:v>
                </c:pt>
                <c:pt idx="5706">
                  <c:v>-1.9708699999999999</c:v>
                </c:pt>
                <c:pt idx="5707">
                  <c:v>#N/A</c:v>
                </c:pt>
                <c:pt idx="5708">
                  <c:v>-2.0678200000000002</c:v>
                </c:pt>
                <c:pt idx="5709">
                  <c:v>-2.4849600000000001</c:v>
                </c:pt>
                <c:pt idx="5710">
                  <c:v>#N/A</c:v>
                </c:pt>
                <c:pt idx="5711">
                  <c:v>-3.1011799999999998</c:v>
                </c:pt>
                <c:pt idx="5712">
                  <c:v>-3.2263999999999999</c:v>
                </c:pt>
                <c:pt idx="5713">
                  <c:v>-3.2513999999999998</c:v>
                </c:pt>
                <c:pt idx="5714">
                  <c:v>#N/A</c:v>
                </c:pt>
                <c:pt idx="5715">
                  <c:v>-2.6219199999999998</c:v>
                </c:pt>
                <c:pt idx="5716">
                  <c:v>-2.69774</c:v>
                </c:pt>
                <c:pt idx="5717">
                  <c:v>-2.2447499999999998</c:v>
                </c:pt>
                <c:pt idx="5718">
                  <c:v>#N/A</c:v>
                </c:pt>
                <c:pt idx="5719">
                  <c:v>-2.4781900000000001</c:v>
                </c:pt>
                <c:pt idx="5720">
                  <c:v>-2.45235</c:v>
                </c:pt>
                <c:pt idx="5721">
                  <c:v>-3.0547</c:v>
                </c:pt>
                <c:pt idx="5722">
                  <c:v>#N/A</c:v>
                </c:pt>
                <c:pt idx="5723">
                  <c:v>-3.5221300000000002</c:v>
                </c:pt>
                <c:pt idx="5724">
                  <c:v>-3.22662</c:v>
                </c:pt>
                <c:pt idx="5725">
                  <c:v>#N/A</c:v>
                </c:pt>
                <c:pt idx="5726">
                  <c:v>-2.46217</c:v>
                </c:pt>
                <c:pt idx="5727">
                  <c:v>-2.0146199999999999</c:v>
                </c:pt>
                <c:pt idx="5728">
                  <c:v>#N/A</c:v>
                </c:pt>
                <c:pt idx="5729">
                  <c:v>-2.0273699999999999</c:v>
                </c:pt>
                <c:pt idx="5730">
                  <c:v>#N/A</c:v>
                </c:pt>
                <c:pt idx="5731">
                  <c:v>-2.1161599999999998</c:v>
                </c:pt>
                <c:pt idx="5732">
                  <c:v>-2.82003</c:v>
                </c:pt>
                <c:pt idx="5733">
                  <c:v>#N/A</c:v>
                </c:pt>
                <c:pt idx="5734">
                  <c:v>-3.3184300000000002</c:v>
                </c:pt>
                <c:pt idx="5735">
                  <c:v>-2.9370699999999998</c:v>
                </c:pt>
                <c:pt idx="5736">
                  <c:v>#N/A</c:v>
                </c:pt>
                <c:pt idx="5737">
                  <c:v>-2.6790500000000002</c:v>
                </c:pt>
                <c:pt idx="5738">
                  <c:v>-2.1585399999999999</c:v>
                </c:pt>
                <c:pt idx="5739">
                  <c:v>-1.94051</c:v>
                </c:pt>
                <c:pt idx="5740">
                  <c:v>#N/A</c:v>
                </c:pt>
                <c:pt idx="5741">
                  <c:v>-1.9226799999999999</c:v>
                </c:pt>
                <c:pt idx="5742">
                  <c:v>-2.1953399999999998</c:v>
                </c:pt>
                <c:pt idx="5743">
                  <c:v>-3.66926</c:v>
                </c:pt>
                <c:pt idx="5744">
                  <c:v>#N/A</c:v>
                </c:pt>
                <c:pt idx="5745">
                  <c:v>-3.5127100000000002</c:v>
                </c:pt>
                <c:pt idx="5746">
                  <c:v>-2.6606399999999999</c:v>
                </c:pt>
                <c:pt idx="5747">
                  <c:v>-2.72736</c:v>
                </c:pt>
                <c:pt idx="5748">
                  <c:v>#N/A</c:v>
                </c:pt>
                <c:pt idx="5749">
                  <c:v>-2.6601499999999998</c:v>
                </c:pt>
                <c:pt idx="5750">
                  <c:v>-2.8325300000000002</c:v>
                </c:pt>
                <c:pt idx="5751">
                  <c:v>-2.2121499999999998</c:v>
                </c:pt>
                <c:pt idx="5752">
                  <c:v>#N/A</c:v>
                </c:pt>
                <c:pt idx="5753">
                  <c:v>-2.63781</c:v>
                </c:pt>
                <c:pt idx="5754">
                  <c:v>-2.9028900000000002</c:v>
                </c:pt>
                <c:pt idx="5755">
                  <c:v>-3.6831499999999999</c:v>
                </c:pt>
                <c:pt idx="5756">
                  <c:v>#N/A</c:v>
                </c:pt>
                <c:pt idx="5757">
                  <c:v>-2.76959</c:v>
                </c:pt>
                <c:pt idx="5758">
                  <c:v>-2.7677399999999999</c:v>
                </c:pt>
                <c:pt idx="5759">
                  <c:v>#N/A</c:v>
                </c:pt>
                <c:pt idx="5760">
                  <c:v>-1.98909</c:v>
                </c:pt>
                <c:pt idx="5761">
                  <c:v>-2.5263800000000001</c:v>
                </c:pt>
                <c:pt idx="5762">
                  <c:v>-2.7809599999999999</c:v>
                </c:pt>
                <c:pt idx="5763">
                  <c:v>#N/A</c:v>
                </c:pt>
                <c:pt idx="5764">
                  <c:v>-3.0611999999999999</c:v>
                </c:pt>
                <c:pt idx="5765">
                  <c:v>-2.8477199999999998</c:v>
                </c:pt>
                <c:pt idx="5766">
                  <c:v>-3.0329600000000001</c:v>
                </c:pt>
                <c:pt idx="5767">
                  <c:v>#N/A</c:v>
                </c:pt>
                <c:pt idx="5768">
                  <c:v>-3.1955900000000002</c:v>
                </c:pt>
                <c:pt idx="5769">
                  <c:v>-2.4350700000000001</c:v>
                </c:pt>
                <c:pt idx="5770">
                  <c:v>-2.6836099999999998</c:v>
                </c:pt>
                <c:pt idx="5771">
                  <c:v>#N/A</c:v>
                </c:pt>
                <c:pt idx="5772">
                  <c:v>-2.6652499999999999</c:v>
                </c:pt>
                <c:pt idx="5773">
                  <c:v>-3.0603400000000001</c:v>
                </c:pt>
                <c:pt idx="5774">
                  <c:v>-3.2227299999999999</c:v>
                </c:pt>
                <c:pt idx="5775">
                  <c:v>#N/A</c:v>
                </c:pt>
                <c:pt idx="5776">
                  <c:v>-3.0468500000000001</c:v>
                </c:pt>
                <c:pt idx="5777">
                  <c:v>-2.7431399999999999</c:v>
                </c:pt>
                <c:pt idx="5778">
                  <c:v>-2.7288999999999999</c:v>
                </c:pt>
                <c:pt idx="5779">
                  <c:v>#N/A</c:v>
                </c:pt>
                <c:pt idx="5780">
                  <c:v>-2.70038</c:v>
                </c:pt>
                <c:pt idx="5781">
                  <c:v>-2.1230500000000001</c:v>
                </c:pt>
                <c:pt idx="5782">
                  <c:v>-2.6067800000000001</c:v>
                </c:pt>
                <c:pt idx="5783">
                  <c:v>#N/A</c:v>
                </c:pt>
                <c:pt idx="5784">
                  <c:v>-3.2095199999999999</c:v>
                </c:pt>
                <c:pt idx="5785">
                  <c:v>-3.2102900000000001</c:v>
                </c:pt>
                <c:pt idx="5786">
                  <c:v>-3.0901900000000002</c:v>
                </c:pt>
                <c:pt idx="5787">
                  <c:v>#N/A</c:v>
                </c:pt>
                <c:pt idx="5788">
                  <c:v>-2.5543499999999999</c:v>
                </c:pt>
                <c:pt idx="5789">
                  <c:v>-2.8094999999999999</c:v>
                </c:pt>
                <c:pt idx="5790">
                  <c:v>-2.3650799999999998</c:v>
                </c:pt>
                <c:pt idx="5791">
                  <c:v>#N/A</c:v>
                </c:pt>
                <c:pt idx="5792">
                  <c:v>-2.1946300000000001</c:v>
                </c:pt>
                <c:pt idx="5793">
                  <c:v>-2.2744900000000001</c:v>
                </c:pt>
                <c:pt idx="5794">
                  <c:v>-2.82002</c:v>
                </c:pt>
                <c:pt idx="5795">
                  <c:v>#N/A</c:v>
                </c:pt>
                <c:pt idx="5796">
                  <c:v>-3.43981</c:v>
                </c:pt>
                <c:pt idx="5797">
                  <c:v>-3.5402900000000002</c:v>
                </c:pt>
                <c:pt idx="5798">
                  <c:v>#N/A</c:v>
                </c:pt>
                <c:pt idx="5799">
                  <c:v>-2.7190599999999998</c:v>
                </c:pt>
                <c:pt idx="5800">
                  <c:v>-2.19733</c:v>
                </c:pt>
                <c:pt idx="5801">
                  <c:v>-1.81359</c:v>
                </c:pt>
                <c:pt idx="5802">
                  <c:v>#N/A</c:v>
                </c:pt>
                <c:pt idx="5803">
                  <c:v>-2.4908100000000002</c:v>
                </c:pt>
                <c:pt idx="5804">
                  <c:v>-3.03715</c:v>
                </c:pt>
                <c:pt idx="5805">
                  <c:v>#N/A</c:v>
                </c:pt>
                <c:pt idx="5806">
                  <c:v>-3.69428</c:v>
                </c:pt>
                <c:pt idx="5807">
                  <c:v>#N/A</c:v>
                </c:pt>
                <c:pt idx="5808">
                  <c:v>-3.6512600000000002</c:v>
                </c:pt>
                <c:pt idx="5809">
                  <c:v>-3.0416500000000002</c:v>
                </c:pt>
                <c:pt idx="5810">
                  <c:v>#N/A</c:v>
                </c:pt>
                <c:pt idx="5811">
                  <c:v>-2.2899400000000001</c:v>
                </c:pt>
                <c:pt idx="5812">
                  <c:v>-1.8771800000000001</c:v>
                </c:pt>
                <c:pt idx="5813">
                  <c:v>-2.3887999999999998</c:v>
                </c:pt>
                <c:pt idx="5814">
                  <c:v>#N/A</c:v>
                </c:pt>
                <c:pt idx="5815">
                  <c:v>-2.5122599999999999</c:v>
                </c:pt>
                <c:pt idx="5816">
                  <c:v>-3.3412600000000001</c:v>
                </c:pt>
                <c:pt idx="5817">
                  <c:v>#N/A</c:v>
                </c:pt>
                <c:pt idx="5818">
                  <c:v>-3.07395</c:v>
                </c:pt>
                <c:pt idx="5819">
                  <c:v>-3.1417799999999998</c:v>
                </c:pt>
                <c:pt idx="5820">
                  <c:v>-2.4798300000000002</c:v>
                </c:pt>
                <c:pt idx="5821">
                  <c:v>#N/A</c:v>
                </c:pt>
                <c:pt idx="5822">
                  <c:v>-2.3950399999999998</c:v>
                </c:pt>
                <c:pt idx="5823">
                  <c:v>-1.51552</c:v>
                </c:pt>
                <c:pt idx="5824">
                  <c:v>-1.82605</c:v>
                </c:pt>
                <c:pt idx="5825">
                  <c:v>#N/A</c:v>
                </c:pt>
                <c:pt idx="5826">
                  <c:v>-2.6271800000000001</c:v>
                </c:pt>
                <c:pt idx="5827">
                  <c:v>-3.1177000000000001</c:v>
                </c:pt>
                <c:pt idx="5828">
                  <c:v>-3.0231499999999998</c:v>
                </c:pt>
                <c:pt idx="5829">
                  <c:v>#N/A</c:v>
                </c:pt>
                <c:pt idx="5830">
                  <c:v>-3.0975899999999998</c:v>
                </c:pt>
                <c:pt idx="5831">
                  <c:v>-2.4531499999999999</c:v>
                </c:pt>
                <c:pt idx="5832">
                  <c:v>-2.2749899999999998</c:v>
                </c:pt>
                <c:pt idx="5833">
                  <c:v>#N/A</c:v>
                </c:pt>
                <c:pt idx="5834">
                  <c:v>-3.1254200000000001</c:v>
                </c:pt>
                <c:pt idx="5835">
                  <c:v>-3.16066</c:v>
                </c:pt>
                <c:pt idx="5836">
                  <c:v>-3.4310499999999999</c:v>
                </c:pt>
                <c:pt idx="5837">
                  <c:v>#N/A</c:v>
                </c:pt>
                <c:pt idx="5838">
                  <c:v>-3.7160799999999998</c:v>
                </c:pt>
                <c:pt idx="5839">
                  <c:v>-3.9220700000000002</c:v>
                </c:pt>
                <c:pt idx="5840">
                  <c:v>#N/A</c:v>
                </c:pt>
                <c:pt idx="5841">
                  <c:v>-3.2258200000000001</c:v>
                </c:pt>
                <c:pt idx="5842">
                  <c:v>-2.8016299999999998</c:v>
                </c:pt>
                <c:pt idx="5843">
                  <c:v>-2.4377</c:v>
                </c:pt>
                <c:pt idx="5844">
                  <c:v>#N/A</c:v>
                </c:pt>
                <c:pt idx="5845">
                  <c:v>-2.6011299999999999</c:v>
                </c:pt>
                <c:pt idx="5846">
                  <c:v>-2.8329300000000002</c:v>
                </c:pt>
                <c:pt idx="5847">
                  <c:v>-3.0977700000000001</c:v>
                </c:pt>
                <c:pt idx="5848">
                  <c:v>#N/A</c:v>
                </c:pt>
                <c:pt idx="5849">
                  <c:v>-2.76858</c:v>
                </c:pt>
                <c:pt idx="5850">
                  <c:v>-2.6528999999999998</c:v>
                </c:pt>
                <c:pt idx="5851">
                  <c:v>-2.8332799999999998</c:v>
                </c:pt>
                <c:pt idx="5852">
                  <c:v>#N/A</c:v>
                </c:pt>
                <c:pt idx="5853">
                  <c:v>-2.2406600000000001</c:v>
                </c:pt>
                <c:pt idx="5854">
                  <c:v>-1.93973</c:v>
                </c:pt>
                <c:pt idx="5855">
                  <c:v>#N/A</c:v>
                </c:pt>
                <c:pt idx="5856">
                  <c:v>-2.38679</c:v>
                </c:pt>
                <c:pt idx="5857">
                  <c:v>-2.3283999999999998</c:v>
                </c:pt>
                <c:pt idx="5858">
                  <c:v>-2.4604900000000001</c:v>
                </c:pt>
                <c:pt idx="5859">
                  <c:v>#N/A</c:v>
                </c:pt>
                <c:pt idx="5860">
                  <c:v>-2.5107900000000001</c:v>
                </c:pt>
                <c:pt idx="5861">
                  <c:v>-2.4376199999999999</c:v>
                </c:pt>
                <c:pt idx="5862">
                  <c:v>-2.2588699999999999</c:v>
                </c:pt>
                <c:pt idx="5863">
                  <c:v>#N/A</c:v>
                </c:pt>
                <c:pt idx="5864">
                  <c:v>-2.6032000000000002</c:v>
                </c:pt>
                <c:pt idx="5865">
                  <c:v>-3.1143700000000001</c:v>
                </c:pt>
                <c:pt idx="5866">
                  <c:v>-2.6793100000000001</c:v>
                </c:pt>
                <c:pt idx="5867">
                  <c:v>#N/A</c:v>
                </c:pt>
                <c:pt idx="5868">
                  <c:v>-3.0511699999999999</c:v>
                </c:pt>
                <c:pt idx="5869">
                  <c:v>-3.6612399999999998</c:v>
                </c:pt>
                <c:pt idx="5870">
                  <c:v>-3.58</c:v>
                </c:pt>
                <c:pt idx="5871">
                  <c:v>#N/A</c:v>
                </c:pt>
                <c:pt idx="5872">
                  <c:v>-2.5955699999999999</c:v>
                </c:pt>
                <c:pt idx="5873">
                  <c:v>-2.4760399999999998</c:v>
                </c:pt>
                <c:pt idx="5874">
                  <c:v>#N/A</c:v>
                </c:pt>
                <c:pt idx="5875">
                  <c:v>-2.30932</c:v>
                </c:pt>
                <c:pt idx="5876">
                  <c:v>-3.1757900000000001</c:v>
                </c:pt>
                <c:pt idx="5877">
                  <c:v>-3.1508099999999999</c:v>
                </c:pt>
                <c:pt idx="5878">
                  <c:v>#N/A</c:v>
                </c:pt>
                <c:pt idx="5879">
                  <c:v>-3.5362200000000001</c:v>
                </c:pt>
                <c:pt idx="5880">
                  <c:v>-3.6692300000000002</c:v>
                </c:pt>
                <c:pt idx="5881">
                  <c:v>-3.3876499999999998</c:v>
                </c:pt>
                <c:pt idx="5882">
                  <c:v>#N/A</c:v>
                </c:pt>
                <c:pt idx="5883">
                  <c:v>-2.88056</c:v>
                </c:pt>
                <c:pt idx="5884">
                  <c:v>-2.3975599999999999</c:v>
                </c:pt>
                <c:pt idx="5885">
                  <c:v>-2.1070700000000002</c:v>
                </c:pt>
                <c:pt idx="5886">
                  <c:v>#N/A</c:v>
                </c:pt>
                <c:pt idx="5887">
                  <c:v>-2.2099500000000001</c:v>
                </c:pt>
                <c:pt idx="5888">
                  <c:v>-3.2341099999999998</c:v>
                </c:pt>
                <c:pt idx="5889">
                  <c:v>#N/A</c:v>
                </c:pt>
                <c:pt idx="5890">
                  <c:v>-2.8926699999999999</c:v>
                </c:pt>
                <c:pt idx="5891">
                  <c:v>-3.21922</c:v>
                </c:pt>
                <c:pt idx="5892">
                  <c:v>-2.9809399999999999</c:v>
                </c:pt>
                <c:pt idx="5893">
                  <c:v>#N/A</c:v>
                </c:pt>
                <c:pt idx="5894">
                  <c:v>-2.9891999999999999</c:v>
                </c:pt>
                <c:pt idx="5895">
                  <c:v>-2.8544999999999998</c:v>
                </c:pt>
                <c:pt idx="5896">
                  <c:v>-2.0777399999999999</c:v>
                </c:pt>
                <c:pt idx="5897">
                  <c:v>#N/A</c:v>
                </c:pt>
                <c:pt idx="5898">
                  <c:v>-2.5885899999999999</c:v>
                </c:pt>
                <c:pt idx="5899">
                  <c:v>-3.47953</c:v>
                </c:pt>
                <c:pt idx="5900">
                  <c:v>-3.37053</c:v>
                </c:pt>
                <c:pt idx="5901">
                  <c:v>#N/A</c:v>
                </c:pt>
                <c:pt idx="5902">
                  <c:v>-3.5590000000000002</c:v>
                </c:pt>
                <c:pt idx="5903">
                  <c:v>-3.35493</c:v>
                </c:pt>
                <c:pt idx="5904">
                  <c:v>-2.5251999999999999</c:v>
                </c:pt>
                <c:pt idx="5905">
                  <c:v>#N/A</c:v>
                </c:pt>
                <c:pt idx="5906">
                  <c:v>-2.35778</c:v>
                </c:pt>
                <c:pt idx="5907">
                  <c:v>-2.6056599999999999</c:v>
                </c:pt>
                <c:pt idx="5908">
                  <c:v>-2.3972000000000002</c:v>
                </c:pt>
                <c:pt idx="5909">
                  <c:v>#N/A</c:v>
                </c:pt>
                <c:pt idx="5910">
                  <c:v>-2.4755400000000001</c:v>
                </c:pt>
                <c:pt idx="5911">
                  <c:v>-3.1327699999999998</c:v>
                </c:pt>
                <c:pt idx="5912">
                  <c:v>#N/A</c:v>
                </c:pt>
                <c:pt idx="5913">
                  <c:v>-2.94943</c:v>
                </c:pt>
                <c:pt idx="5914">
                  <c:v>-2.8605499999999999</c:v>
                </c:pt>
                <c:pt idx="5915">
                  <c:v>-2.2936899999999998</c:v>
                </c:pt>
                <c:pt idx="5916">
                  <c:v>#N/A</c:v>
                </c:pt>
                <c:pt idx="5917">
                  <c:v>-2.2704800000000001</c:v>
                </c:pt>
                <c:pt idx="5918">
                  <c:v>-2.6815899999999999</c:v>
                </c:pt>
                <c:pt idx="5919">
                  <c:v>#N/A</c:v>
                </c:pt>
                <c:pt idx="5920">
                  <c:v>-2.8558699999999999</c:v>
                </c:pt>
                <c:pt idx="5921">
                  <c:v>-2.92014</c:v>
                </c:pt>
                <c:pt idx="5922">
                  <c:v>-2.2908300000000001</c:v>
                </c:pt>
                <c:pt idx="5923">
                  <c:v>#N/A</c:v>
                </c:pt>
                <c:pt idx="5924">
                  <c:v>-2.5430999999999999</c:v>
                </c:pt>
                <c:pt idx="5925">
                  <c:v>-2.78484</c:v>
                </c:pt>
                <c:pt idx="5926">
                  <c:v>-2.64317</c:v>
                </c:pt>
                <c:pt idx="5927">
                  <c:v>#N/A</c:v>
                </c:pt>
                <c:pt idx="5928">
                  <c:v>-2.4574699999999998</c:v>
                </c:pt>
                <c:pt idx="5929">
                  <c:v>-2.58121</c:v>
                </c:pt>
                <c:pt idx="5930">
                  <c:v>-3.0486599999999999</c:v>
                </c:pt>
                <c:pt idx="5931">
                  <c:v>#N/A</c:v>
                </c:pt>
                <c:pt idx="5932">
                  <c:v>-3.62866</c:v>
                </c:pt>
                <c:pt idx="5933">
                  <c:v>#N/A</c:v>
                </c:pt>
                <c:pt idx="5934">
                  <c:v>#N/A</c:v>
                </c:pt>
                <c:pt idx="5935">
                  <c:v>#N/A</c:v>
                </c:pt>
                <c:pt idx="5936">
                  <c:v>#N/A</c:v>
                </c:pt>
                <c:pt idx="5937">
                  <c:v>#N/A</c:v>
                </c:pt>
                <c:pt idx="5938">
                  <c:v>#N/A</c:v>
                </c:pt>
                <c:pt idx="5939">
                  <c:v>#N/A</c:v>
                </c:pt>
                <c:pt idx="5940">
                  <c:v>#N/A</c:v>
                </c:pt>
                <c:pt idx="5941">
                  <c:v>#N/A</c:v>
                </c:pt>
                <c:pt idx="5942">
                  <c:v>#N/A</c:v>
                </c:pt>
                <c:pt idx="5943">
                  <c:v>#N/A</c:v>
                </c:pt>
                <c:pt idx="5944">
                  <c:v>#N/A</c:v>
                </c:pt>
                <c:pt idx="5945">
                  <c:v>#N/A</c:v>
                </c:pt>
                <c:pt idx="5946">
                  <c:v>#N/A</c:v>
                </c:pt>
                <c:pt idx="5947">
                  <c:v>#N/A</c:v>
                </c:pt>
                <c:pt idx="5948">
                  <c:v>#N/A</c:v>
                </c:pt>
                <c:pt idx="5949">
                  <c:v>#N/A</c:v>
                </c:pt>
                <c:pt idx="5950">
                  <c:v>#N/A</c:v>
                </c:pt>
                <c:pt idx="5951">
                  <c:v>#N/A</c:v>
                </c:pt>
                <c:pt idx="5952">
                  <c:v>#N/A</c:v>
                </c:pt>
                <c:pt idx="5953">
                  <c:v>#N/A</c:v>
                </c:pt>
                <c:pt idx="5954">
                  <c:v>#N/A</c:v>
                </c:pt>
                <c:pt idx="5955">
                  <c:v>-2.8157000000000001</c:v>
                </c:pt>
                <c:pt idx="5956">
                  <c:v>#N/A</c:v>
                </c:pt>
                <c:pt idx="5957">
                  <c:v>-2.3197899999999998</c:v>
                </c:pt>
                <c:pt idx="5958">
                  <c:v>-2.2898999999999998</c:v>
                </c:pt>
                <c:pt idx="5959">
                  <c:v>-2.5189300000000001</c:v>
                </c:pt>
                <c:pt idx="5960">
                  <c:v>#N/A</c:v>
                </c:pt>
                <c:pt idx="5961">
                  <c:v>-2.5817800000000002</c:v>
                </c:pt>
                <c:pt idx="5962">
                  <c:v>-3.1544099999999999</c:v>
                </c:pt>
                <c:pt idx="5963">
                  <c:v>-3.5762399999999999</c:v>
                </c:pt>
                <c:pt idx="5964">
                  <c:v>#N/A</c:v>
                </c:pt>
                <c:pt idx="5965">
                  <c:v>-4.1608099999999997</c:v>
                </c:pt>
                <c:pt idx="5966">
                  <c:v>-3.2123499999999998</c:v>
                </c:pt>
                <c:pt idx="5967">
                  <c:v>#N/A</c:v>
                </c:pt>
                <c:pt idx="5968">
                  <c:v>-2.5504600000000002</c:v>
                </c:pt>
                <c:pt idx="5969">
                  <c:v>-2.0565099999999998</c:v>
                </c:pt>
                <c:pt idx="5970">
                  <c:v>-1.9014899999999999</c:v>
                </c:pt>
                <c:pt idx="5971">
                  <c:v>#N/A</c:v>
                </c:pt>
                <c:pt idx="5972">
                  <c:v>-2.6251600000000002</c:v>
                </c:pt>
                <c:pt idx="5973">
                  <c:v>-3.3944299999999998</c:v>
                </c:pt>
                <c:pt idx="5974">
                  <c:v>-3.3447800000000001</c:v>
                </c:pt>
                <c:pt idx="5975">
                  <c:v>#N/A</c:v>
                </c:pt>
                <c:pt idx="5976">
                  <c:v>-3.27013</c:v>
                </c:pt>
                <c:pt idx="5977">
                  <c:v>-3.15374</c:v>
                </c:pt>
                <c:pt idx="5978">
                  <c:v>#N/A</c:v>
                </c:pt>
                <c:pt idx="5979">
                  <c:v>-2.9808400000000002</c:v>
                </c:pt>
                <c:pt idx="5980">
                  <c:v>-2.5163099999999998</c:v>
                </c:pt>
                <c:pt idx="5981">
                  <c:v>-2.3948499999999999</c:v>
                </c:pt>
                <c:pt idx="5982">
                  <c:v>#N/A</c:v>
                </c:pt>
                <c:pt idx="5983">
                  <c:v>-2.3735200000000001</c:v>
                </c:pt>
                <c:pt idx="5984">
                  <c:v>-2.8807900000000002</c:v>
                </c:pt>
                <c:pt idx="5985">
                  <c:v>-3.3753000000000002</c:v>
                </c:pt>
                <c:pt idx="5986">
                  <c:v>#N/A</c:v>
                </c:pt>
                <c:pt idx="5987">
                  <c:v>-3.54637</c:v>
                </c:pt>
                <c:pt idx="5988">
                  <c:v>-2.8352200000000001</c:v>
                </c:pt>
                <c:pt idx="5989">
                  <c:v>-2.9490099999999999</c:v>
                </c:pt>
                <c:pt idx="5990">
                  <c:v>#N/A</c:v>
                </c:pt>
                <c:pt idx="5991">
                  <c:v>-2.6180400000000001</c:v>
                </c:pt>
                <c:pt idx="5992">
                  <c:v>-2.1855799999999999</c:v>
                </c:pt>
                <c:pt idx="5993">
                  <c:v>-2.49302</c:v>
                </c:pt>
                <c:pt idx="5994">
                  <c:v>#N/A</c:v>
                </c:pt>
                <c:pt idx="5995">
                  <c:v>-2.996</c:v>
                </c:pt>
                <c:pt idx="5996">
                  <c:v>-2.85053</c:v>
                </c:pt>
                <c:pt idx="5997">
                  <c:v>-2.4756399999999998</c:v>
                </c:pt>
                <c:pt idx="5998">
                  <c:v>#N/A</c:v>
                </c:pt>
                <c:pt idx="5999">
                  <c:v>-2.7748400000000002</c:v>
                </c:pt>
                <c:pt idx="6000">
                  <c:v>-2.20025</c:v>
                </c:pt>
                <c:pt idx="6001">
                  <c:v>-2.9375300000000002</c:v>
                </c:pt>
                <c:pt idx="6002">
                  <c:v>#N/A</c:v>
                </c:pt>
                <c:pt idx="6003">
                  <c:v>-3.2162099999999998</c:v>
                </c:pt>
                <c:pt idx="6004">
                  <c:v>-2.95756</c:v>
                </c:pt>
                <c:pt idx="6005">
                  <c:v>-2.9625599999999999</c:v>
                </c:pt>
                <c:pt idx="6006">
                  <c:v>#N/A</c:v>
                </c:pt>
                <c:pt idx="6007">
                  <c:v>-2.91465</c:v>
                </c:pt>
                <c:pt idx="6008">
                  <c:v>-2.7940100000000001</c:v>
                </c:pt>
                <c:pt idx="6009">
                  <c:v>#N/A</c:v>
                </c:pt>
                <c:pt idx="6010">
                  <c:v>-2.36103</c:v>
                </c:pt>
                <c:pt idx="6011">
                  <c:v>-2.4313400000000001</c:v>
                </c:pt>
                <c:pt idx="6012">
                  <c:v>-2.5453000000000001</c:v>
                </c:pt>
                <c:pt idx="6013">
                  <c:v>#N/A</c:v>
                </c:pt>
                <c:pt idx="6014">
                  <c:v>-3.17428</c:v>
                </c:pt>
                <c:pt idx="6015">
                  <c:v>-3.5231300000000001</c:v>
                </c:pt>
                <c:pt idx="6016">
                  <c:v>-3.0626099999999998</c:v>
                </c:pt>
                <c:pt idx="6017">
                  <c:v>#N/A</c:v>
                </c:pt>
                <c:pt idx="6018">
                  <c:v>-2.70411</c:v>
                </c:pt>
                <c:pt idx="6019">
                  <c:v>-2.9866100000000002</c:v>
                </c:pt>
                <c:pt idx="6020">
                  <c:v>-2.4796100000000001</c:v>
                </c:pt>
                <c:pt idx="6021">
                  <c:v>#N/A</c:v>
                </c:pt>
                <c:pt idx="6022">
                  <c:v>-2.0987100000000001</c:v>
                </c:pt>
                <c:pt idx="6023">
                  <c:v>-2.4245199999999998</c:v>
                </c:pt>
                <c:pt idx="6024">
                  <c:v>#N/A</c:v>
                </c:pt>
                <c:pt idx="6025">
                  <c:v>-3.1259000000000001</c:v>
                </c:pt>
                <c:pt idx="6026">
                  <c:v>-3.4190700000000001</c:v>
                </c:pt>
                <c:pt idx="6027">
                  <c:v>-3.2261099999999998</c:v>
                </c:pt>
                <c:pt idx="6028">
                  <c:v>#N/A</c:v>
                </c:pt>
                <c:pt idx="6029">
                  <c:v>-2.6590500000000001</c:v>
                </c:pt>
                <c:pt idx="6030">
                  <c:v>-1.72261</c:v>
                </c:pt>
                <c:pt idx="6031">
                  <c:v>-2.0754800000000002</c:v>
                </c:pt>
                <c:pt idx="6032">
                  <c:v>#N/A</c:v>
                </c:pt>
                <c:pt idx="6033">
                  <c:v>-2.6594799999999998</c:v>
                </c:pt>
                <c:pt idx="6034">
                  <c:v>-2.5137100000000001</c:v>
                </c:pt>
                <c:pt idx="6035">
                  <c:v>-2.64209</c:v>
                </c:pt>
                <c:pt idx="6036">
                  <c:v>#N/A</c:v>
                </c:pt>
                <c:pt idx="6037">
                  <c:v>-3.2480199999999999</c:v>
                </c:pt>
                <c:pt idx="6038">
                  <c:v>-3.1722999999999999</c:v>
                </c:pt>
                <c:pt idx="6039">
                  <c:v>-3.1074799999999998</c:v>
                </c:pt>
                <c:pt idx="6040">
                  <c:v>#N/A</c:v>
                </c:pt>
                <c:pt idx="6041">
                  <c:v>-2.4210400000000001</c:v>
                </c:pt>
                <c:pt idx="6042">
                  <c:v>-1.85215</c:v>
                </c:pt>
                <c:pt idx="6043">
                  <c:v>-1.7422200000000001</c:v>
                </c:pt>
                <c:pt idx="6044">
                  <c:v>#N/A</c:v>
                </c:pt>
                <c:pt idx="6045">
                  <c:v>-2.2073700000000001</c:v>
                </c:pt>
                <c:pt idx="6046">
                  <c:v>-3.0604399999999998</c:v>
                </c:pt>
                <c:pt idx="6047">
                  <c:v>#N/A</c:v>
                </c:pt>
                <c:pt idx="6048">
                  <c:v>-3.1919400000000002</c:v>
                </c:pt>
                <c:pt idx="6049">
                  <c:v>-3.1394600000000001</c:v>
                </c:pt>
                <c:pt idx="6050">
                  <c:v>-3.3432900000000001</c:v>
                </c:pt>
                <c:pt idx="6051">
                  <c:v>#N/A</c:v>
                </c:pt>
                <c:pt idx="6052">
                  <c:v>-2.4768599999999998</c:v>
                </c:pt>
                <c:pt idx="6053">
                  <c:v>-2.3523999999999998</c:v>
                </c:pt>
                <c:pt idx="6054">
                  <c:v>-2.0343200000000001</c:v>
                </c:pt>
                <c:pt idx="6055">
                  <c:v>#N/A</c:v>
                </c:pt>
                <c:pt idx="6056">
                  <c:v>-2.4838399999999998</c:v>
                </c:pt>
                <c:pt idx="6057">
                  <c:v>-3.0551900000000001</c:v>
                </c:pt>
                <c:pt idx="6058">
                  <c:v>-3.5113500000000002</c:v>
                </c:pt>
                <c:pt idx="6059">
                  <c:v>#N/A</c:v>
                </c:pt>
                <c:pt idx="6060">
                  <c:v>-3.0790999999999999</c:v>
                </c:pt>
                <c:pt idx="6061">
                  <c:v>-3.10534</c:v>
                </c:pt>
                <c:pt idx="6062">
                  <c:v>-2.6188699999999998</c:v>
                </c:pt>
                <c:pt idx="6063">
                  <c:v>#N/A</c:v>
                </c:pt>
                <c:pt idx="6064">
                  <c:v>-2.67062</c:v>
                </c:pt>
                <c:pt idx="6065">
                  <c:v>-2.1523500000000002</c:v>
                </c:pt>
                <c:pt idx="6066">
                  <c:v>-2.60677</c:v>
                </c:pt>
                <c:pt idx="6067">
                  <c:v>#N/A</c:v>
                </c:pt>
                <c:pt idx="6068">
                  <c:v>-2.6473200000000001</c:v>
                </c:pt>
                <c:pt idx="6069">
                  <c:v>-2.9708000000000001</c:v>
                </c:pt>
                <c:pt idx="6070">
                  <c:v>-2.7915199999999998</c:v>
                </c:pt>
                <c:pt idx="6071">
                  <c:v>#N/A</c:v>
                </c:pt>
                <c:pt idx="6072">
                  <c:v>-2.6526000000000001</c:v>
                </c:pt>
                <c:pt idx="6073">
                  <c:v>-2.5293399999999999</c:v>
                </c:pt>
                <c:pt idx="6074">
                  <c:v>-2.6341800000000002</c:v>
                </c:pt>
                <c:pt idx="6075">
                  <c:v>#N/A</c:v>
                </c:pt>
                <c:pt idx="6076">
                  <c:v>-2.99376</c:v>
                </c:pt>
                <c:pt idx="6077">
                  <c:v>-2.7171400000000001</c:v>
                </c:pt>
                <c:pt idx="6078">
                  <c:v>#N/A</c:v>
                </c:pt>
                <c:pt idx="6079">
                  <c:v>-2.9460199999999999</c:v>
                </c:pt>
                <c:pt idx="6080">
                  <c:v>-3.15734</c:v>
                </c:pt>
                <c:pt idx="6081">
                  <c:v>-3.3909600000000002</c:v>
                </c:pt>
                <c:pt idx="6082">
                  <c:v>#N/A</c:v>
                </c:pt>
                <c:pt idx="6083">
                  <c:v>-1.8872199999999999</c:v>
                </c:pt>
                <c:pt idx="6084">
                  <c:v>-2.6958099999999998</c:v>
                </c:pt>
                <c:pt idx="6085">
                  <c:v>#N/A</c:v>
                </c:pt>
                <c:pt idx="6086">
                  <c:v>-2.77501</c:v>
                </c:pt>
                <c:pt idx="6087">
                  <c:v>-3.0932400000000002</c:v>
                </c:pt>
                <c:pt idx="6088">
                  <c:v>-3.8309799999999998</c:v>
                </c:pt>
                <c:pt idx="6089">
                  <c:v>#N/A</c:v>
                </c:pt>
                <c:pt idx="6090">
                  <c:v>-3.4052600000000002</c:v>
                </c:pt>
                <c:pt idx="6091">
                  <c:v>-2.7110799999999999</c:v>
                </c:pt>
                <c:pt idx="6092">
                  <c:v>-2.4891200000000002</c:v>
                </c:pt>
                <c:pt idx="6093">
                  <c:v>#N/A</c:v>
                </c:pt>
                <c:pt idx="6094">
                  <c:v>-2.2544400000000002</c:v>
                </c:pt>
                <c:pt idx="6095">
                  <c:v>-2.0787800000000001</c:v>
                </c:pt>
                <c:pt idx="6096">
                  <c:v>-2.7008899999999998</c:v>
                </c:pt>
                <c:pt idx="6097">
                  <c:v>#N/A</c:v>
                </c:pt>
                <c:pt idx="6098">
                  <c:v>-3.73813</c:v>
                </c:pt>
                <c:pt idx="6099">
                  <c:v>-3.3844599999999998</c:v>
                </c:pt>
                <c:pt idx="6100">
                  <c:v>-3.36205</c:v>
                </c:pt>
                <c:pt idx="6101">
                  <c:v>#N/A</c:v>
                </c:pt>
                <c:pt idx="6102">
                  <c:v>-2.7575400000000001</c:v>
                </c:pt>
                <c:pt idx="6103">
                  <c:v>#N/A</c:v>
                </c:pt>
                <c:pt idx="6104">
                  <c:v>-1.7755099999999999</c:v>
                </c:pt>
                <c:pt idx="6105">
                  <c:v>-2.5304500000000001</c:v>
                </c:pt>
                <c:pt idx="6106">
                  <c:v>#N/A</c:v>
                </c:pt>
                <c:pt idx="6107">
                  <c:v>-2.5162900000000001</c:v>
                </c:pt>
                <c:pt idx="6108">
                  <c:v>-3.0313599999999998</c:v>
                </c:pt>
                <c:pt idx="6109">
                  <c:v>#N/A</c:v>
                </c:pt>
                <c:pt idx="6110">
                  <c:v>-3.3727900000000002</c:v>
                </c:pt>
                <c:pt idx="6111">
                  <c:v>-3.3458999999999999</c:v>
                </c:pt>
                <c:pt idx="6112">
                  <c:v>-3.1593900000000001</c:v>
                </c:pt>
                <c:pt idx="6113">
                  <c:v>#N/A</c:v>
                </c:pt>
                <c:pt idx="6114">
                  <c:v>-2.37527</c:v>
                </c:pt>
                <c:pt idx="6115">
                  <c:v>-2.2942499999999999</c:v>
                </c:pt>
                <c:pt idx="6116">
                  <c:v>-2.3322500000000002</c:v>
                </c:pt>
                <c:pt idx="6117">
                  <c:v>#N/A</c:v>
                </c:pt>
                <c:pt idx="6118">
                  <c:v>-2.8282400000000001</c:v>
                </c:pt>
                <c:pt idx="6119">
                  <c:v>-3.5465499999999999</c:v>
                </c:pt>
                <c:pt idx="6120">
                  <c:v>-4.0377000000000001</c:v>
                </c:pt>
                <c:pt idx="6121">
                  <c:v>#N/A</c:v>
                </c:pt>
                <c:pt idx="6122">
                  <c:v>-3.1897700000000002</c:v>
                </c:pt>
                <c:pt idx="6123">
                  <c:v>-2.7724299999999999</c:v>
                </c:pt>
                <c:pt idx="6124">
                  <c:v>-2.4669400000000001</c:v>
                </c:pt>
                <c:pt idx="6125">
                  <c:v>#N/A</c:v>
                </c:pt>
                <c:pt idx="6126">
                  <c:v>-2.48461</c:v>
                </c:pt>
                <c:pt idx="6127">
                  <c:v>-2.8134100000000002</c:v>
                </c:pt>
                <c:pt idx="6128">
                  <c:v>-2.6283099999999999</c:v>
                </c:pt>
                <c:pt idx="6129">
                  <c:v>#N/A</c:v>
                </c:pt>
                <c:pt idx="6130">
                  <c:v>-2.6723400000000002</c:v>
                </c:pt>
                <c:pt idx="6131">
                  <c:v>-2.5706099999999998</c:v>
                </c:pt>
                <c:pt idx="6132">
                  <c:v>#N/A</c:v>
                </c:pt>
                <c:pt idx="6133">
                  <c:v>-2.6308400000000001</c:v>
                </c:pt>
                <c:pt idx="6134">
                  <c:v>-2.7795399999999999</c:v>
                </c:pt>
                <c:pt idx="6135">
                  <c:v>-3.0964399999999999</c:v>
                </c:pt>
                <c:pt idx="6136">
                  <c:v>#N/A</c:v>
                </c:pt>
                <c:pt idx="6137">
                  <c:v>-2.5663100000000001</c:v>
                </c:pt>
                <c:pt idx="6138">
                  <c:v>-2.5277500000000002</c:v>
                </c:pt>
                <c:pt idx="6139">
                  <c:v>-3.1730700000000001</c:v>
                </c:pt>
                <c:pt idx="6140">
                  <c:v>#N/A</c:v>
                </c:pt>
                <c:pt idx="6141">
                  <c:v>-3.2991600000000001</c:v>
                </c:pt>
                <c:pt idx="6142">
                  <c:v>-3.4468700000000001</c:v>
                </c:pt>
                <c:pt idx="6143">
                  <c:v>-2.5882999999999998</c:v>
                </c:pt>
                <c:pt idx="6144">
                  <c:v>#N/A</c:v>
                </c:pt>
                <c:pt idx="6145">
                  <c:v>-3.3843299999999998</c:v>
                </c:pt>
                <c:pt idx="6146">
                  <c:v>-2.8139699999999999</c:v>
                </c:pt>
                <c:pt idx="6147">
                  <c:v>#N/A</c:v>
                </c:pt>
                <c:pt idx="6148">
                  <c:v>-2.7399499999999999</c:v>
                </c:pt>
                <c:pt idx="6149">
                  <c:v>-2.63645</c:v>
                </c:pt>
                <c:pt idx="6150">
                  <c:v>-2.6621999999999999</c:v>
                </c:pt>
                <c:pt idx="6151">
                  <c:v>#N/A</c:v>
                </c:pt>
                <c:pt idx="6152">
                  <c:v>-2.7226300000000001</c:v>
                </c:pt>
                <c:pt idx="6153">
                  <c:v>-3.0852300000000001</c:v>
                </c:pt>
                <c:pt idx="6154">
                  <c:v>-2.49614</c:v>
                </c:pt>
                <c:pt idx="6155">
                  <c:v>#N/A</c:v>
                </c:pt>
                <c:pt idx="6156">
                  <c:v>-2.1695000000000002</c:v>
                </c:pt>
                <c:pt idx="6157">
                  <c:v>-2.2000999999999999</c:v>
                </c:pt>
                <c:pt idx="6158">
                  <c:v>-2.46252</c:v>
                </c:pt>
                <c:pt idx="6159">
                  <c:v>#N/A</c:v>
                </c:pt>
                <c:pt idx="6160">
                  <c:v>-2.7762899999999999</c:v>
                </c:pt>
                <c:pt idx="6161">
                  <c:v>-3.29358</c:v>
                </c:pt>
                <c:pt idx="6162">
                  <c:v>-3.2505899999999999</c:v>
                </c:pt>
                <c:pt idx="6163">
                  <c:v>#N/A</c:v>
                </c:pt>
                <c:pt idx="6164">
                  <c:v>-3.24871</c:v>
                </c:pt>
                <c:pt idx="6165">
                  <c:v>-2.6450200000000001</c:v>
                </c:pt>
                <c:pt idx="6166">
                  <c:v>-2.23116</c:v>
                </c:pt>
                <c:pt idx="6167">
                  <c:v>#N/A</c:v>
                </c:pt>
                <c:pt idx="6168">
                  <c:v>-1.9686600000000001</c:v>
                </c:pt>
                <c:pt idx="6169">
                  <c:v>-2.60094</c:v>
                </c:pt>
                <c:pt idx="6170">
                  <c:v>-3.35005</c:v>
                </c:pt>
                <c:pt idx="6171">
                  <c:v>#N/A</c:v>
                </c:pt>
                <c:pt idx="6172">
                  <c:v>-3.3096899999999998</c:v>
                </c:pt>
                <c:pt idx="6173">
                  <c:v>-3.3658299999999999</c:v>
                </c:pt>
                <c:pt idx="6174">
                  <c:v>-3.4263699999999999</c:v>
                </c:pt>
                <c:pt idx="6175">
                  <c:v>#N/A</c:v>
                </c:pt>
                <c:pt idx="6176">
                  <c:v>-1.8470500000000001</c:v>
                </c:pt>
                <c:pt idx="6177">
                  <c:v>#N/A</c:v>
                </c:pt>
                <c:pt idx="6178">
                  <c:v>-1.87721</c:v>
                </c:pt>
                <c:pt idx="6179">
                  <c:v>#N/A</c:v>
                </c:pt>
                <c:pt idx="6180">
                  <c:v>-1.9536500000000001</c:v>
                </c:pt>
                <c:pt idx="6181">
                  <c:v>-3.1129899999999999</c:v>
                </c:pt>
                <c:pt idx="6182">
                  <c:v>-3.3595199999999998</c:v>
                </c:pt>
                <c:pt idx="6183">
                  <c:v>#N/A</c:v>
                </c:pt>
                <c:pt idx="6184">
                  <c:v>-3.8958200000000001</c:v>
                </c:pt>
                <c:pt idx="6185">
                  <c:v>-2.9093200000000001</c:v>
                </c:pt>
                <c:pt idx="6186">
                  <c:v>-2.7752400000000002</c:v>
                </c:pt>
                <c:pt idx="6187">
                  <c:v>#N/A</c:v>
                </c:pt>
                <c:pt idx="6188">
                  <c:v>-2.2935500000000002</c:v>
                </c:pt>
                <c:pt idx="6189">
                  <c:v>-2.2166199999999998</c:v>
                </c:pt>
                <c:pt idx="6190">
                  <c:v>-2.2214900000000002</c:v>
                </c:pt>
                <c:pt idx="6191">
                  <c:v>#N/A</c:v>
                </c:pt>
                <c:pt idx="6192">
                  <c:v>-2.79915</c:v>
                </c:pt>
                <c:pt idx="6193">
                  <c:v>-3.3292799999999998</c:v>
                </c:pt>
                <c:pt idx="6194">
                  <c:v>-3.6463100000000002</c:v>
                </c:pt>
                <c:pt idx="6195">
                  <c:v>#N/A</c:v>
                </c:pt>
                <c:pt idx="6196">
                  <c:v>-3.5010500000000002</c:v>
                </c:pt>
                <c:pt idx="6197">
                  <c:v>-2.85982</c:v>
                </c:pt>
                <c:pt idx="6198">
                  <c:v>-2.8170700000000002</c:v>
                </c:pt>
                <c:pt idx="6199">
                  <c:v>#N/A</c:v>
                </c:pt>
                <c:pt idx="6200">
                  <c:v>-2.2943500000000001</c:v>
                </c:pt>
                <c:pt idx="6201">
                  <c:v>-3.4757500000000001</c:v>
                </c:pt>
                <c:pt idx="6202">
                  <c:v>-3.15205</c:v>
                </c:pt>
                <c:pt idx="6203">
                  <c:v>#N/A</c:v>
                </c:pt>
                <c:pt idx="6204">
                  <c:v>-3.17611</c:v>
                </c:pt>
                <c:pt idx="6205">
                  <c:v>-3.3706999999999998</c:v>
                </c:pt>
                <c:pt idx="6206">
                  <c:v>#N/A</c:v>
                </c:pt>
                <c:pt idx="6207">
                  <c:v>-3.1951299999999998</c:v>
                </c:pt>
                <c:pt idx="6208">
                  <c:v>-2.8521999999999998</c:v>
                </c:pt>
                <c:pt idx="6209">
                  <c:v>-2.9589599999999998</c:v>
                </c:pt>
                <c:pt idx="6210">
                  <c:v>#N/A</c:v>
                </c:pt>
                <c:pt idx="6211">
                  <c:v>-2.9306399999999999</c:v>
                </c:pt>
                <c:pt idx="6212">
                  <c:v>-3.2220800000000001</c:v>
                </c:pt>
                <c:pt idx="6213">
                  <c:v>-2.7458800000000001</c:v>
                </c:pt>
                <c:pt idx="6214">
                  <c:v>#N/A</c:v>
                </c:pt>
                <c:pt idx="6215">
                  <c:v>-2.9540899999999999</c:v>
                </c:pt>
                <c:pt idx="6216">
                  <c:v>-2.8022999999999998</c:v>
                </c:pt>
                <c:pt idx="6217">
                  <c:v>-2.2874599999999998</c:v>
                </c:pt>
                <c:pt idx="6218">
                  <c:v>#N/A</c:v>
                </c:pt>
                <c:pt idx="6219">
                  <c:v>-2.4698099999999998</c:v>
                </c:pt>
                <c:pt idx="6220">
                  <c:v>-2.3963800000000002</c:v>
                </c:pt>
                <c:pt idx="6221">
                  <c:v>-2.5178799999999999</c:v>
                </c:pt>
                <c:pt idx="6222">
                  <c:v>#N/A</c:v>
                </c:pt>
                <c:pt idx="6223">
                  <c:v>-2.77346</c:v>
                </c:pt>
                <c:pt idx="6224">
                  <c:v>-3.0369999999999999</c:v>
                </c:pt>
                <c:pt idx="6225">
                  <c:v>#N/A</c:v>
                </c:pt>
                <c:pt idx="6226">
                  <c:v>-2.9124699999999999</c:v>
                </c:pt>
                <c:pt idx="6227">
                  <c:v>-2.4703200000000001</c:v>
                </c:pt>
                <c:pt idx="6228">
                  <c:v>-2.9472499999999999</c:v>
                </c:pt>
                <c:pt idx="6229">
                  <c:v>#N/A</c:v>
                </c:pt>
                <c:pt idx="6230">
                  <c:v>-2.4370500000000002</c:v>
                </c:pt>
                <c:pt idx="6231">
                  <c:v>-2.5175800000000002</c:v>
                </c:pt>
                <c:pt idx="6232">
                  <c:v>-3.1100699999999999</c:v>
                </c:pt>
                <c:pt idx="6233">
                  <c:v>#N/A</c:v>
                </c:pt>
                <c:pt idx="6234">
                  <c:v>-3.2521200000000001</c:v>
                </c:pt>
                <c:pt idx="6235">
                  <c:v>-3.1927400000000001</c:v>
                </c:pt>
                <c:pt idx="6236">
                  <c:v>-3.2332299999999998</c:v>
                </c:pt>
                <c:pt idx="6237">
                  <c:v>#N/A</c:v>
                </c:pt>
                <c:pt idx="6238">
                  <c:v>-2.2095899999999999</c:v>
                </c:pt>
                <c:pt idx="6239">
                  <c:v>-1.9956199999999999</c:v>
                </c:pt>
                <c:pt idx="6240">
                  <c:v>-2.1818499999999998</c:v>
                </c:pt>
                <c:pt idx="6241">
                  <c:v>#N/A</c:v>
                </c:pt>
                <c:pt idx="6242">
                  <c:v>-2.4574699999999998</c:v>
                </c:pt>
                <c:pt idx="6243">
                  <c:v>-1.85501</c:v>
                </c:pt>
                <c:pt idx="6244">
                  <c:v>-3.06928</c:v>
                </c:pt>
                <c:pt idx="6245">
                  <c:v>#N/A</c:v>
                </c:pt>
                <c:pt idx="6246">
                  <c:v>-3.7932399999999999</c:v>
                </c:pt>
                <c:pt idx="6247">
                  <c:v>-3.4987499999999998</c:v>
                </c:pt>
                <c:pt idx="6248">
                  <c:v>#N/A</c:v>
                </c:pt>
                <c:pt idx="6249">
                  <c:v>-2.9619599999999999</c:v>
                </c:pt>
                <c:pt idx="6250">
                  <c:v>-2.42117</c:v>
                </c:pt>
                <c:pt idx="6251">
                  <c:v>-2.2826499999999998</c:v>
                </c:pt>
                <c:pt idx="6252">
                  <c:v>#N/A</c:v>
                </c:pt>
                <c:pt idx="6253">
                  <c:v>-2.4521299999999999</c:v>
                </c:pt>
                <c:pt idx="6254">
                  <c:v>-2.8520799999999999</c:v>
                </c:pt>
                <c:pt idx="6255">
                  <c:v>-3.3151299999999999</c:v>
                </c:pt>
                <c:pt idx="6256">
                  <c:v>#N/A</c:v>
                </c:pt>
                <c:pt idx="6257">
                  <c:v>-3.5104299999999999</c:v>
                </c:pt>
                <c:pt idx="6258">
                  <c:v>-3.1413000000000002</c:v>
                </c:pt>
                <c:pt idx="6259">
                  <c:v>-2.6176300000000001</c:v>
                </c:pt>
                <c:pt idx="6260">
                  <c:v>#N/A</c:v>
                </c:pt>
                <c:pt idx="6261">
                  <c:v>-2.1170200000000001</c:v>
                </c:pt>
                <c:pt idx="6262">
                  <c:v>-2.0400800000000001</c:v>
                </c:pt>
                <c:pt idx="6263">
                  <c:v>-2.57985</c:v>
                </c:pt>
                <c:pt idx="6264">
                  <c:v>#N/A</c:v>
                </c:pt>
                <c:pt idx="6265">
                  <c:v>-2.6408200000000002</c:v>
                </c:pt>
                <c:pt idx="6266">
                  <c:v>-3.5469499999999998</c:v>
                </c:pt>
                <c:pt idx="6267">
                  <c:v>-3.2268699999999999</c:v>
                </c:pt>
                <c:pt idx="6268">
                  <c:v>#N/A</c:v>
                </c:pt>
                <c:pt idx="6269">
                  <c:v>-2.99973</c:v>
                </c:pt>
                <c:pt idx="6270">
                  <c:v>-2.7122999999999999</c:v>
                </c:pt>
                <c:pt idx="6271">
                  <c:v>-2.1386400000000001</c:v>
                </c:pt>
                <c:pt idx="6272">
                  <c:v>#N/A</c:v>
                </c:pt>
                <c:pt idx="6273">
                  <c:v>-2.1822599999999999</c:v>
                </c:pt>
                <c:pt idx="6274">
                  <c:v>-2.0343200000000001</c:v>
                </c:pt>
                <c:pt idx="6275">
                  <c:v>#N/A</c:v>
                </c:pt>
                <c:pt idx="6276">
                  <c:v>-2.7591999999999999</c:v>
                </c:pt>
                <c:pt idx="6277">
                  <c:v>-3.0102899999999999</c:v>
                </c:pt>
                <c:pt idx="6278">
                  <c:v>-3.7447499999999998</c:v>
                </c:pt>
                <c:pt idx="6279">
                  <c:v>#N/A</c:v>
                </c:pt>
                <c:pt idx="6280">
                  <c:v>-2.7244299999999999</c:v>
                </c:pt>
                <c:pt idx="6281">
                  <c:v>-2.5274999999999999</c:v>
                </c:pt>
                <c:pt idx="6282">
                  <c:v>-1.9113899999999999</c:v>
                </c:pt>
                <c:pt idx="6283">
                  <c:v>#N/A</c:v>
                </c:pt>
                <c:pt idx="6284">
                  <c:v>-2.4007399999999999</c:v>
                </c:pt>
                <c:pt idx="6285">
                  <c:v>-2.3313000000000001</c:v>
                </c:pt>
                <c:pt idx="6286">
                  <c:v>-2.1728800000000001</c:v>
                </c:pt>
                <c:pt idx="6287">
                  <c:v>#N/A</c:v>
                </c:pt>
                <c:pt idx="6288">
                  <c:v>-2.36327</c:v>
                </c:pt>
                <c:pt idx="6289">
                  <c:v>-2.9007800000000001</c:v>
                </c:pt>
                <c:pt idx="6290">
                  <c:v>-2.8254600000000001</c:v>
                </c:pt>
                <c:pt idx="6291">
                  <c:v>#N/A</c:v>
                </c:pt>
                <c:pt idx="6292">
                  <c:v>-2.2486199999999998</c:v>
                </c:pt>
                <c:pt idx="6293">
                  <c:v>-2.4460299999999999</c:v>
                </c:pt>
                <c:pt idx="6294">
                  <c:v>-2.3771100000000001</c:v>
                </c:pt>
                <c:pt idx="6295">
                  <c:v>#N/A</c:v>
                </c:pt>
                <c:pt idx="6296">
                  <c:v>-2.6156299999999999</c:v>
                </c:pt>
                <c:pt idx="6297">
                  <c:v>-2.8236300000000001</c:v>
                </c:pt>
                <c:pt idx="6298">
                  <c:v>-2.83351</c:v>
                </c:pt>
                <c:pt idx="6299">
                  <c:v>#N/A</c:v>
                </c:pt>
                <c:pt idx="6300">
                  <c:v>-2.8099500000000002</c:v>
                </c:pt>
                <c:pt idx="6301">
                  <c:v>-2.3940899999999998</c:v>
                </c:pt>
                <c:pt idx="6302">
                  <c:v>#N/A</c:v>
                </c:pt>
                <c:pt idx="6303">
                  <c:v>-2.45695</c:v>
                </c:pt>
                <c:pt idx="6304">
                  <c:v>-2.3340200000000002</c:v>
                </c:pt>
                <c:pt idx="6305">
                  <c:v>-2.4740099999999998</c:v>
                </c:pt>
                <c:pt idx="6306">
                  <c:v>#N/A</c:v>
                </c:pt>
                <c:pt idx="6307">
                  <c:v>-2.9212099999999999</c:v>
                </c:pt>
                <c:pt idx="6308">
                  <c:v>-2.9567199999999998</c:v>
                </c:pt>
                <c:pt idx="6309">
                  <c:v>-3.0873200000000001</c:v>
                </c:pt>
                <c:pt idx="6310">
                  <c:v>#N/A</c:v>
                </c:pt>
                <c:pt idx="6311">
                  <c:v>-2.34396</c:v>
                </c:pt>
                <c:pt idx="6312">
                  <c:v>-2.47458</c:v>
                </c:pt>
                <c:pt idx="6313">
                  <c:v>-2.4226100000000002</c:v>
                </c:pt>
                <c:pt idx="6314">
                  <c:v>#N/A</c:v>
                </c:pt>
                <c:pt idx="6315">
                  <c:v>-2.74797</c:v>
                </c:pt>
                <c:pt idx="6316">
                  <c:v>-3.0522399999999998</c:v>
                </c:pt>
                <c:pt idx="6317">
                  <c:v>-3.4873699999999999</c:v>
                </c:pt>
                <c:pt idx="6318">
                  <c:v>#N/A</c:v>
                </c:pt>
                <c:pt idx="6319">
                  <c:v>-3.4904000000000002</c:v>
                </c:pt>
                <c:pt idx="6320">
                  <c:v>-3.14472</c:v>
                </c:pt>
                <c:pt idx="6321">
                  <c:v>#N/A</c:v>
                </c:pt>
                <c:pt idx="6322">
                  <c:v>-2.7522000000000002</c:v>
                </c:pt>
                <c:pt idx="6323">
                  <c:v>-2.5865200000000002</c:v>
                </c:pt>
                <c:pt idx="6324">
                  <c:v>-2.4086599999999998</c:v>
                </c:pt>
                <c:pt idx="6325">
                  <c:v>#N/A</c:v>
                </c:pt>
                <c:pt idx="6326">
                  <c:v>-2.5346700000000002</c:v>
                </c:pt>
                <c:pt idx="6327">
                  <c:v>-2.85805</c:v>
                </c:pt>
                <c:pt idx="6328">
                  <c:v>#N/A</c:v>
                </c:pt>
                <c:pt idx="6329">
                  <c:v>-2.8642599999999998</c:v>
                </c:pt>
                <c:pt idx="6330">
                  <c:v>-3.3609800000000001</c:v>
                </c:pt>
                <c:pt idx="6331">
                  <c:v>#N/A</c:v>
                </c:pt>
                <c:pt idx="6332">
                  <c:v>-2.6208499999999999</c:v>
                </c:pt>
                <c:pt idx="6333">
                  <c:v>-2.40659</c:v>
                </c:pt>
                <c:pt idx="6334">
                  <c:v>#N/A</c:v>
                </c:pt>
                <c:pt idx="6335">
                  <c:v>-1.4584999999999999</c:v>
                </c:pt>
                <c:pt idx="6336">
                  <c:v>-2.4486500000000002</c:v>
                </c:pt>
                <c:pt idx="6337">
                  <c:v>-2.9300299999999999</c:v>
                </c:pt>
                <c:pt idx="6338">
                  <c:v>#N/A</c:v>
                </c:pt>
                <c:pt idx="6339">
                  <c:v>-2.9052199999999999</c:v>
                </c:pt>
                <c:pt idx="6340">
                  <c:v>-3.2460100000000001</c:v>
                </c:pt>
                <c:pt idx="6341">
                  <c:v>-3.2406999999999999</c:v>
                </c:pt>
                <c:pt idx="6342">
                  <c:v>#N/A</c:v>
                </c:pt>
                <c:pt idx="6343">
                  <c:v>-2.7144499999999998</c:v>
                </c:pt>
                <c:pt idx="6344">
                  <c:v>-2.1090499999999999</c:v>
                </c:pt>
                <c:pt idx="6345">
                  <c:v>-1.7237899999999999</c:v>
                </c:pt>
                <c:pt idx="6346">
                  <c:v>#N/A</c:v>
                </c:pt>
                <c:pt idx="6347">
                  <c:v>-1.9845699999999999</c:v>
                </c:pt>
                <c:pt idx="6348">
                  <c:v>-2.6037599999999999</c:v>
                </c:pt>
                <c:pt idx="6349">
                  <c:v>-2.4838499999999999</c:v>
                </c:pt>
                <c:pt idx="6350">
                  <c:v>#N/A</c:v>
                </c:pt>
                <c:pt idx="6351">
                  <c:v>-2.8290099999999998</c:v>
                </c:pt>
                <c:pt idx="6352">
                  <c:v>-2.6165500000000002</c:v>
                </c:pt>
                <c:pt idx="6353">
                  <c:v>-2.8946700000000001</c:v>
                </c:pt>
                <c:pt idx="6354">
                  <c:v>#N/A</c:v>
                </c:pt>
                <c:pt idx="6355">
                  <c:v>-2.1634699999999998</c:v>
                </c:pt>
                <c:pt idx="6356">
                  <c:v>-2.2057600000000002</c:v>
                </c:pt>
                <c:pt idx="6357">
                  <c:v>#N/A</c:v>
                </c:pt>
                <c:pt idx="6358">
                  <c:v>-1.7346600000000001</c:v>
                </c:pt>
                <c:pt idx="6359">
                  <c:v>-2.4514300000000002</c:v>
                </c:pt>
                <c:pt idx="6360">
                  <c:v>-2.968</c:v>
                </c:pt>
                <c:pt idx="6361">
                  <c:v>#N/A</c:v>
                </c:pt>
                <c:pt idx="6362">
                  <c:v>-3.1265399999999999</c:v>
                </c:pt>
                <c:pt idx="6363">
                  <c:v>-2.0007799999999998</c:v>
                </c:pt>
                <c:pt idx="6364">
                  <c:v>-2.1231</c:v>
                </c:pt>
                <c:pt idx="6365">
                  <c:v>#N/A</c:v>
                </c:pt>
                <c:pt idx="6366">
                  <c:v>-2.4156399999999998</c:v>
                </c:pt>
                <c:pt idx="6367">
                  <c:v>-2.5470000000000002</c:v>
                </c:pt>
                <c:pt idx="6368">
                  <c:v>-2.1743000000000001</c:v>
                </c:pt>
                <c:pt idx="6369">
                  <c:v>#N/A</c:v>
                </c:pt>
                <c:pt idx="6370">
                  <c:v>-2.9266000000000001</c:v>
                </c:pt>
                <c:pt idx="6371">
                  <c:v>-2.5126900000000001</c:v>
                </c:pt>
                <c:pt idx="6372">
                  <c:v>#N/A</c:v>
                </c:pt>
                <c:pt idx="6373">
                  <c:v>-2.7360500000000001</c:v>
                </c:pt>
                <c:pt idx="6374">
                  <c:v>-2.6194199999999999</c:v>
                </c:pt>
                <c:pt idx="6375">
                  <c:v>-2.0478499999999999</c:v>
                </c:pt>
                <c:pt idx="6376">
                  <c:v>#N/A</c:v>
                </c:pt>
                <c:pt idx="6377">
                  <c:v>-2.3273299999999999</c:v>
                </c:pt>
                <c:pt idx="6378">
                  <c:v>-2.52834</c:v>
                </c:pt>
                <c:pt idx="6379">
                  <c:v>-2.82484</c:v>
                </c:pt>
                <c:pt idx="6380">
                  <c:v>#N/A</c:v>
                </c:pt>
                <c:pt idx="6381">
                  <c:v>-2.90862</c:v>
                </c:pt>
                <c:pt idx="6382">
                  <c:v>-2.9009399999999999</c:v>
                </c:pt>
                <c:pt idx="6383">
                  <c:v>-3.44651</c:v>
                </c:pt>
                <c:pt idx="6384">
                  <c:v>#N/A</c:v>
                </c:pt>
                <c:pt idx="6385">
                  <c:v>-3.1327799999999999</c:v>
                </c:pt>
                <c:pt idx="6386">
                  <c:v>-2.6449699999999998</c:v>
                </c:pt>
                <c:pt idx="6387">
                  <c:v>-2.1525300000000001</c:v>
                </c:pt>
                <c:pt idx="6388">
                  <c:v>#N/A</c:v>
                </c:pt>
                <c:pt idx="6389">
                  <c:v>-2.2325499999999998</c:v>
                </c:pt>
                <c:pt idx="6390">
                  <c:v>-2.4725299999999999</c:v>
                </c:pt>
                <c:pt idx="6391">
                  <c:v>-3.0242599999999999</c:v>
                </c:pt>
                <c:pt idx="6392">
                  <c:v>#N/A</c:v>
                </c:pt>
                <c:pt idx="6393">
                  <c:v>-3.0672000000000001</c:v>
                </c:pt>
                <c:pt idx="6394">
                  <c:v>-2.49621</c:v>
                </c:pt>
                <c:pt idx="6395">
                  <c:v>#N/A</c:v>
                </c:pt>
                <c:pt idx="6396">
                  <c:v>-2.1964899999999998</c:v>
                </c:pt>
                <c:pt idx="6397">
                  <c:v>-1.8666400000000001</c:v>
                </c:pt>
                <c:pt idx="6398">
                  <c:v>-1.86639</c:v>
                </c:pt>
                <c:pt idx="6399">
                  <c:v>#N/A</c:v>
                </c:pt>
                <c:pt idx="6400">
                  <c:v>-1.90516</c:v>
                </c:pt>
                <c:pt idx="6401">
                  <c:v>-2.7409500000000002</c:v>
                </c:pt>
                <c:pt idx="6402">
                  <c:v>#N/A</c:v>
                </c:pt>
                <c:pt idx="6403">
                  <c:v>-2.7827099999999998</c:v>
                </c:pt>
                <c:pt idx="6404">
                  <c:v>#N/A</c:v>
                </c:pt>
                <c:pt idx="6405">
                  <c:v>-2.6414499999999999</c:v>
                </c:pt>
                <c:pt idx="6406">
                  <c:v>-2.0119600000000002</c:v>
                </c:pt>
                <c:pt idx="6407">
                  <c:v>#N/A</c:v>
                </c:pt>
                <c:pt idx="6408">
                  <c:v>-1.9466300000000001</c:v>
                </c:pt>
                <c:pt idx="6409">
                  <c:v>-1.3971800000000001</c:v>
                </c:pt>
                <c:pt idx="6410">
                  <c:v>-1.9901500000000001</c:v>
                </c:pt>
                <c:pt idx="6411">
                  <c:v>#N/A</c:v>
                </c:pt>
                <c:pt idx="6412">
                  <c:v>-2.6230699999999998</c:v>
                </c:pt>
                <c:pt idx="6413">
                  <c:v>-3.43418</c:v>
                </c:pt>
                <c:pt idx="6414">
                  <c:v>-3.4159099999999998</c:v>
                </c:pt>
                <c:pt idx="6415">
                  <c:v>#N/A</c:v>
                </c:pt>
                <c:pt idx="6416">
                  <c:v>-2.9325000000000001</c:v>
                </c:pt>
                <c:pt idx="6417">
                  <c:v>-2.1877200000000001</c:v>
                </c:pt>
                <c:pt idx="6418">
                  <c:v>-2.2810999999999999</c:v>
                </c:pt>
                <c:pt idx="6419">
                  <c:v>#N/A</c:v>
                </c:pt>
                <c:pt idx="6420">
                  <c:v>-2.5190899999999998</c:v>
                </c:pt>
                <c:pt idx="6421">
                  <c:v>-2.5383300000000002</c:v>
                </c:pt>
                <c:pt idx="6422">
                  <c:v>-3.0296400000000001</c:v>
                </c:pt>
                <c:pt idx="6423">
                  <c:v>#N/A</c:v>
                </c:pt>
                <c:pt idx="6424">
                  <c:v>-3.1350500000000001</c:v>
                </c:pt>
                <c:pt idx="6425">
                  <c:v>-2.9013399999999998</c:v>
                </c:pt>
                <c:pt idx="6426">
                  <c:v>-2.4221599999999999</c:v>
                </c:pt>
                <c:pt idx="6427">
                  <c:v>#N/A</c:v>
                </c:pt>
                <c:pt idx="6428">
                  <c:v>-2.0475400000000001</c:v>
                </c:pt>
                <c:pt idx="6429">
                  <c:v>-1.7928299999999999</c:v>
                </c:pt>
                <c:pt idx="6430">
                  <c:v>-2.54419</c:v>
                </c:pt>
                <c:pt idx="6431">
                  <c:v>#N/A</c:v>
                </c:pt>
                <c:pt idx="6432">
                  <c:v>-2.7444099999999998</c:v>
                </c:pt>
                <c:pt idx="6433">
                  <c:v>-2.74071</c:v>
                </c:pt>
                <c:pt idx="6434">
                  <c:v>#N/A</c:v>
                </c:pt>
                <c:pt idx="6435">
                  <c:v>-2.8599100000000002</c:v>
                </c:pt>
                <c:pt idx="6436">
                  <c:v>-2.2707000000000002</c:v>
                </c:pt>
                <c:pt idx="6437">
                  <c:v>-2.66466</c:v>
                </c:pt>
                <c:pt idx="6438">
                  <c:v>#N/A</c:v>
                </c:pt>
                <c:pt idx="6439">
                  <c:v>-2.49884</c:v>
                </c:pt>
                <c:pt idx="6440">
                  <c:v>-2.2453099999999999</c:v>
                </c:pt>
                <c:pt idx="6441">
                  <c:v>#N/A</c:v>
                </c:pt>
                <c:pt idx="6442">
                  <c:v>-2.8458399999999999</c:v>
                </c:pt>
                <c:pt idx="6443">
                  <c:v>-3.0412400000000002</c:v>
                </c:pt>
                <c:pt idx="6444">
                  <c:v>-2.87622</c:v>
                </c:pt>
                <c:pt idx="6445">
                  <c:v>#N/A</c:v>
                </c:pt>
                <c:pt idx="6446">
                  <c:v>-2.6313200000000001</c:v>
                </c:pt>
                <c:pt idx="6447">
                  <c:v>-2.5066600000000001</c:v>
                </c:pt>
                <c:pt idx="6448">
                  <c:v>-1.8727799999999999</c:v>
                </c:pt>
                <c:pt idx="6449">
                  <c:v>#N/A</c:v>
                </c:pt>
                <c:pt idx="6450">
                  <c:v>-2.1767699999999999</c:v>
                </c:pt>
                <c:pt idx="6451">
                  <c:v>-2.5520399999999999</c:v>
                </c:pt>
                <c:pt idx="6452">
                  <c:v>-2.5600299999999998</c:v>
                </c:pt>
                <c:pt idx="6453">
                  <c:v>#N/A</c:v>
                </c:pt>
                <c:pt idx="6454">
                  <c:v>-2.8752200000000001</c:v>
                </c:pt>
                <c:pt idx="6455">
                  <c:v>-2.8844599999999998</c:v>
                </c:pt>
                <c:pt idx="6456">
                  <c:v>-3.0806300000000002</c:v>
                </c:pt>
                <c:pt idx="6457">
                  <c:v>#N/A</c:v>
                </c:pt>
                <c:pt idx="6458">
                  <c:v>-2.5160499999999999</c:v>
                </c:pt>
                <c:pt idx="6459">
                  <c:v>-2.21069</c:v>
                </c:pt>
                <c:pt idx="6460">
                  <c:v>-2.22587</c:v>
                </c:pt>
                <c:pt idx="6461">
                  <c:v>#N/A</c:v>
                </c:pt>
                <c:pt idx="6462">
                  <c:v>-2.5674100000000002</c:v>
                </c:pt>
                <c:pt idx="6463">
                  <c:v>-2.5891899999999999</c:v>
                </c:pt>
                <c:pt idx="6464">
                  <c:v>-3.0022799999999998</c:v>
                </c:pt>
                <c:pt idx="6465">
                  <c:v>#N/A</c:v>
                </c:pt>
                <c:pt idx="6466">
                  <c:v>-2.89994</c:v>
                </c:pt>
                <c:pt idx="6467">
                  <c:v>-3.1387800000000001</c:v>
                </c:pt>
                <c:pt idx="6468">
                  <c:v>-2.6017399999999999</c:v>
                </c:pt>
                <c:pt idx="6469">
                  <c:v>#N/A</c:v>
                </c:pt>
                <c:pt idx="6470">
                  <c:v>-1.80481</c:v>
                </c:pt>
                <c:pt idx="6471">
                  <c:v>-1.3471200000000001</c:v>
                </c:pt>
                <c:pt idx="6472">
                  <c:v>-1.73844</c:v>
                </c:pt>
                <c:pt idx="6473">
                  <c:v>#N/A</c:v>
                </c:pt>
                <c:pt idx="6474">
                  <c:v>-1.9861800000000001</c:v>
                </c:pt>
                <c:pt idx="6475">
                  <c:v>-3.0143900000000001</c:v>
                </c:pt>
                <c:pt idx="6476">
                  <c:v>#N/A</c:v>
                </c:pt>
                <c:pt idx="6477">
                  <c:v>-3.1510400000000001</c:v>
                </c:pt>
                <c:pt idx="6478">
                  <c:v>-3.13124</c:v>
                </c:pt>
                <c:pt idx="6479">
                  <c:v>#N/A</c:v>
                </c:pt>
                <c:pt idx="6480">
                  <c:v>-2.1838600000000001</c:v>
                </c:pt>
                <c:pt idx="6481">
                  <c:v>-1.8801000000000001</c:v>
                </c:pt>
                <c:pt idx="6482">
                  <c:v>#N/A</c:v>
                </c:pt>
                <c:pt idx="6483">
                  <c:v>-2.3207300000000002</c:v>
                </c:pt>
                <c:pt idx="6484">
                  <c:v>-2.3627899999999999</c:v>
                </c:pt>
                <c:pt idx="6485">
                  <c:v>#N/A</c:v>
                </c:pt>
                <c:pt idx="6486">
                  <c:v>-2.8473099999999998</c:v>
                </c:pt>
                <c:pt idx="6487">
                  <c:v>-2.38374</c:v>
                </c:pt>
                <c:pt idx="6488">
                  <c:v>-2.7380800000000001</c:v>
                </c:pt>
                <c:pt idx="6489">
                  <c:v>#N/A</c:v>
                </c:pt>
                <c:pt idx="6490">
                  <c:v>-2.79366</c:v>
                </c:pt>
                <c:pt idx="6491">
                  <c:v>-2.4136700000000002</c:v>
                </c:pt>
                <c:pt idx="6492">
                  <c:v>-2.1718199999999999</c:v>
                </c:pt>
                <c:pt idx="6493">
                  <c:v>#N/A</c:v>
                </c:pt>
                <c:pt idx="6494">
                  <c:v>-2.19048</c:v>
                </c:pt>
                <c:pt idx="6495">
                  <c:v>-2.0108700000000002</c:v>
                </c:pt>
                <c:pt idx="6496">
                  <c:v>#N/A</c:v>
                </c:pt>
                <c:pt idx="6497">
                  <c:v>-2.5018899999999999</c:v>
                </c:pt>
                <c:pt idx="6498">
                  <c:v>-2.3789400000000001</c:v>
                </c:pt>
                <c:pt idx="6499">
                  <c:v>-2.5681099999999999</c:v>
                </c:pt>
                <c:pt idx="6500">
                  <c:v>#N/A</c:v>
                </c:pt>
                <c:pt idx="6501">
                  <c:v>-2.4982899999999999</c:v>
                </c:pt>
                <c:pt idx="6502">
                  <c:v>-2.5389400000000002</c:v>
                </c:pt>
                <c:pt idx="6503">
                  <c:v>-2.6897600000000002</c:v>
                </c:pt>
                <c:pt idx="6504">
                  <c:v>#N/A</c:v>
                </c:pt>
                <c:pt idx="6505">
                  <c:v>-2.32273</c:v>
                </c:pt>
                <c:pt idx="6506">
                  <c:v>-3.04711</c:v>
                </c:pt>
                <c:pt idx="6507">
                  <c:v>#N/A</c:v>
                </c:pt>
                <c:pt idx="6508">
                  <c:v>-2.91194</c:v>
                </c:pt>
                <c:pt idx="6509">
                  <c:v>-2.4847100000000002</c:v>
                </c:pt>
                <c:pt idx="6510">
                  <c:v>-2.1203599999999998</c:v>
                </c:pt>
                <c:pt idx="6511">
                  <c:v>#N/A</c:v>
                </c:pt>
                <c:pt idx="6512">
                  <c:v>-2.43492</c:v>
                </c:pt>
                <c:pt idx="6513">
                  <c:v>-2.1192500000000001</c:v>
                </c:pt>
                <c:pt idx="6514">
                  <c:v>#N/A</c:v>
                </c:pt>
                <c:pt idx="6515">
                  <c:v>-1.8884399999999999</c:v>
                </c:pt>
                <c:pt idx="6516">
                  <c:v>-2.5797500000000002</c:v>
                </c:pt>
                <c:pt idx="6517">
                  <c:v>-2.5729700000000002</c:v>
                </c:pt>
                <c:pt idx="6518">
                  <c:v>#N/A</c:v>
                </c:pt>
                <c:pt idx="6519">
                  <c:v>-2.6635200000000001</c:v>
                </c:pt>
                <c:pt idx="6520">
                  <c:v>-1.91848</c:v>
                </c:pt>
                <c:pt idx="6521">
                  <c:v>-2.6193300000000002</c:v>
                </c:pt>
                <c:pt idx="6522">
                  <c:v>#N/A</c:v>
                </c:pt>
                <c:pt idx="6523">
                  <c:v>-1.9891399999999999</c:v>
                </c:pt>
                <c:pt idx="6524">
                  <c:v>-2.4244500000000002</c:v>
                </c:pt>
                <c:pt idx="6525">
                  <c:v>-2.87208</c:v>
                </c:pt>
                <c:pt idx="6526">
                  <c:v>#N/A</c:v>
                </c:pt>
                <c:pt idx="6527">
                  <c:v>-2.5897999999999999</c:v>
                </c:pt>
                <c:pt idx="6528">
                  <c:v>-3.0750799999999998</c:v>
                </c:pt>
                <c:pt idx="6529">
                  <c:v>-2.7850299999999999</c:v>
                </c:pt>
                <c:pt idx="6530">
                  <c:v>#N/A</c:v>
                </c:pt>
                <c:pt idx="6531">
                  <c:v>-2.54813</c:v>
                </c:pt>
                <c:pt idx="6532">
                  <c:v>-2.0047899999999998</c:v>
                </c:pt>
                <c:pt idx="6533">
                  <c:v>-1.9978100000000001</c:v>
                </c:pt>
                <c:pt idx="6534">
                  <c:v>#N/A</c:v>
                </c:pt>
                <c:pt idx="6535">
                  <c:v>-1.9477500000000001</c:v>
                </c:pt>
                <c:pt idx="6536">
                  <c:v>-2.6836500000000001</c:v>
                </c:pt>
                <c:pt idx="6537">
                  <c:v>#N/A</c:v>
                </c:pt>
                <c:pt idx="6538">
                  <c:v>-3.0884800000000001</c:v>
                </c:pt>
                <c:pt idx="6539">
                  <c:v>-3.1785299999999999</c:v>
                </c:pt>
                <c:pt idx="6540">
                  <c:v>-2.9194</c:v>
                </c:pt>
                <c:pt idx="6541">
                  <c:v>#N/A</c:v>
                </c:pt>
                <c:pt idx="6542">
                  <c:v>-2.8316699999999999</c:v>
                </c:pt>
                <c:pt idx="6543">
                  <c:v>-2.5505599999999999</c:v>
                </c:pt>
                <c:pt idx="6544">
                  <c:v>-1.9644999999999999</c:v>
                </c:pt>
                <c:pt idx="6545">
                  <c:v>#N/A</c:v>
                </c:pt>
                <c:pt idx="6546">
                  <c:v>-2.3144399999999998</c:v>
                </c:pt>
                <c:pt idx="6547">
                  <c:v>-2.55348</c:v>
                </c:pt>
                <c:pt idx="6548">
                  <c:v>-3.2168700000000001</c:v>
                </c:pt>
                <c:pt idx="6549">
                  <c:v>#N/A</c:v>
                </c:pt>
                <c:pt idx="6550">
                  <c:v>-3.0865999999999998</c:v>
                </c:pt>
                <c:pt idx="6551">
                  <c:v>-2.6396299999999999</c:v>
                </c:pt>
                <c:pt idx="6552">
                  <c:v>#N/A</c:v>
                </c:pt>
                <c:pt idx="6553">
                  <c:v>-1.74919</c:v>
                </c:pt>
                <c:pt idx="6554">
                  <c:v>-1.5067900000000001</c:v>
                </c:pt>
                <c:pt idx="6555">
                  <c:v>#N/A</c:v>
                </c:pt>
                <c:pt idx="6556">
                  <c:v>-1.47966</c:v>
                </c:pt>
                <c:pt idx="6557">
                  <c:v>-2.0448</c:v>
                </c:pt>
                <c:pt idx="6558">
                  <c:v>#N/A</c:v>
                </c:pt>
                <c:pt idx="6559">
                  <c:v>-2.7030699999999999</c:v>
                </c:pt>
                <c:pt idx="6560">
                  <c:v>-2.7748300000000001</c:v>
                </c:pt>
                <c:pt idx="6561">
                  <c:v>-2.8656100000000002</c:v>
                </c:pt>
                <c:pt idx="6562">
                  <c:v>#N/A</c:v>
                </c:pt>
                <c:pt idx="6563">
                  <c:v>-2.7876300000000001</c:v>
                </c:pt>
                <c:pt idx="6564">
                  <c:v>-2.35989</c:v>
                </c:pt>
                <c:pt idx="6565">
                  <c:v>-1.84999</c:v>
                </c:pt>
                <c:pt idx="6566">
                  <c:v>#N/A</c:v>
                </c:pt>
                <c:pt idx="6567">
                  <c:v>-2.1188199999999999</c:v>
                </c:pt>
                <c:pt idx="6568">
                  <c:v>-2.7004299999999999</c:v>
                </c:pt>
                <c:pt idx="6569">
                  <c:v>-3.1879400000000002</c:v>
                </c:pt>
                <c:pt idx="6570">
                  <c:v>#N/A</c:v>
                </c:pt>
                <c:pt idx="6571">
                  <c:v>-3.1766800000000002</c:v>
                </c:pt>
                <c:pt idx="6572">
                  <c:v>-2.8072300000000001</c:v>
                </c:pt>
                <c:pt idx="6573">
                  <c:v>-2.26708</c:v>
                </c:pt>
                <c:pt idx="6574">
                  <c:v>#N/A</c:v>
                </c:pt>
                <c:pt idx="6575">
                  <c:v>-2.1229499999999999</c:v>
                </c:pt>
                <c:pt idx="6576">
                  <c:v>-2.6100699999999999</c:v>
                </c:pt>
                <c:pt idx="6577">
                  <c:v>-1.6014999999999999</c:v>
                </c:pt>
                <c:pt idx="6578">
                  <c:v>#N/A</c:v>
                </c:pt>
                <c:pt idx="6579">
                  <c:v>-2.0862099999999999</c:v>
                </c:pt>
                <c:pt idx="6580">
                  <c:v>-2.5708299999999999</c:v>
                </c:pt>
                <c:pt idx="6581">
                  <c:v>-2.9209900000000002</c:v>
                </c:pt>
                <c:pt idx="6582">
                  <c:v>#N/A</c:v>
                </c:pt>
                <c:pt idx="6583">
                  <c:v>-2.9739</c:v>
                </c:pt>
                <c:pt idx="6584">
                  <c:v>-2.1748699999999999</c:v>
                </c:pt>
                <c:pt idx="6585">
                  <c:v>#N/A</c:v>
                </c:pt>
                <c:pt idx="6586">
                  <c:v>-2.0114100000000001</c:v>
                </c:pt>
                <c:pt idx="6587">
                  <c:v>-2.3647900000000002</c:v>
                </c:pt>
                <c:pt idx="6588">
                  <c:v>-2.3126099999999998</c:v>
                </c:pt>
                <c:pt idx="6589">
                  <c:v>#N/A</c:v>
                </c:pt>
                <c:pt idx="6590">
                  <c:v>-2.3155399999999999</c:v>
                </c:pt>
                <c:pt idx="6591">
                  <c:v>-2.5203700000000002</c:v>
                </c:pt>
                <c:pt idx="6592">
                  <c:v>-2.5228000000000002</c:v>
                </c:pt>
                <c:pt idx="6593">
                  <c:v>#N/A</c:v>
                </c:pt>
                <c:pt idx="6594">
                  <c:v>-2.25177</c:v>
                </c:pt>
                <c:pt idx="6595">
                  <c:v>-1.35788</c:v>
                </c:pt>
                <c:pt idx="6596">
                  <c:v>-1.6111800000000001</c:v>
                </c:pt>
                <c:pt idx="6597">
                  <c:v>#N/A</c:v>
                </c:pt>
                <c:pt idx="6598">
                  <c:v>-1.43859</c:v>
                </c:pt>
                <c:pt idx="6599">
                  <c:v>-2.5384000000000002</c:v>
                </c:pt>
                <c:pt idx="6600">
                  <c:v>#N/A</c:v>
                </c:pt>
                <c:pt idx="6601">
                  <c:v>-2.9802</c:v>
                </c:pt>
                <c:pt idx="6602">
                  <c:v>-2.2979099999999999</c:v>
                </c:pt>
                <c:pt idx="6603">
                  <c:v>-1.9488099999999999</c:v>
                </c:pt>
                <c:pt idx="6604">
                  <c:v>#N/A</c:v>
                </c:pt>
                <c:pt idx="6605">
                  <c:v>-1.9189000000000001</c:v>
                </c:pt>
                <c:pt idx="6606">
                  <c:v>-2.2956599999999998</c:v>
                </c:pt>
                <c:pt idx="6607">
                  <c:v>#N/A</c:v>
                </c:pt>
                <c:pt idx="6608">
                  <c:v>-2.3182700000000001</c:v>
                </c:pt>
                <c:pt idx="6609">
                  <c:v>-2.5464699999999998</c:v>
                </c:pt>
                <c:pt idx="6610">
                  <c:v>-2.7646899999999999</c:v>
                </c:pt>
                <c:pt idx="6611">
                  <c:v>#N/A</c:v>
                </c:pt>
                <c:pt idx="6612">
                  <c:v>-3.4402699999999999</c:v>
                </c:pt>
                <c:pt idx="6613">
                  <c:v>-3.3872900000000001</c:v>
                </c:pt>
                <c:pt idx="6614">
                  <c:v>-2.6773199999999999</c:v>
                </c:pt>
                <c:pt idx="6615">
                  <c:v>#N/A</c:v>
                </c:pt>
                <c:pt idx="6616">
                  <c:v>-2.3650000000000002</c:v>
                </c:pt>
                <c:pt idx="6617">
                  <c:v>-1.5894900000000001</c:v>
                </c:pt>
                <c:pt idx="6618">
                  <c:v>-2.0771899999999999</c:v>
                </c:pt>
                <c:pt idx="6619">
                  <c:v>#N/A</c:v>
                </c:pt>
                <c:pt idx="6620">
                  <c:v>-1.7983499999999999</c:v>
                </c:pt>
                <c:pt idx="6621">
                  <c:v>-2.1861000000000002</c:v>
                </c:pt>
                <c:pt idx="6622">
                  <c:v>-3.01159</c:v>
                </c:pt>
                <c:pt idx="6623">
                  <c:v>#N/A</c:v>
                </c:pt>
                <c:pt idx="6624">
                  <c:v>-3.0098500000000001</c:v>
                </c:pt>
                <c:pt idx="6625">
                  <c:v>-2.8010899999999999</c:v>
                </c:pt>
                <c:pt idx="6626">
                  <c:v>-1.80905</c:v>
                </c:pt>
                <c:pt idx="6627">
                  <c:v>#N/A</c:v>
                </c:pt>
                <c:pt idx="6628">
                  <c:v>-2.1408</c:v>
                </c:pt>
                <c:pt idx="6629">
                  <c:v>#N/A</c:v>
                </c:pt>
                <c:pt idx="6630">
                  <c:v>-1.9489799999999999</c:v>
                </c:pt>
                <c:pt idx="6631">
                  <c:v>-2.6314099999999998</c:v>
                </c:pt>
                <c:pt idx="6632">
                  <c:v>#N/A</c:v>
                </c:pt>
                <c:pt idx="6633">
                  <c:v>-2.9306299999999998</c:v>
                </c:pt>
                <c:pt idx="6634">
                  <c:v>-3.1078999999999999</c:v>
                </c:pt>
                <c:pt idx="6635">
                  <c:v>#N/A</c:v>
                </c:pt>
                <c:pt idx="6636">
                  <c:v>-2.99234</c:v>
                </c:pt>
                <c:pt idx="6637">
                  <c:v>-2.2995299999999999</c:v>
                </c:pt>
                <c:pt idx="6638">
                  <c:v>-1.4289000000000001</c:v>
                </c:pt>
                <c:pt idx="6639">
                  <c:v>#N/A</c:v>
                </c:pt>
                <c:pt idx="6640">
                  <c:v>-1.8168200000000001</c:v>
                </c:pt>
                <c:pt idx="6641">
                  <c:v>-2.57606</c:v>
                </c:pt>
                <c:pt idx="6642">
                  <c:v>-2.9364300000000001</c:v>
                </c:pt>
                <c:pt idx="6643">
                  <c:v>#N/A</c:v>
                </c:pt>
                <c:pt idx="6644">
                  <c:v>-3.17</c:v>
                </c:pt>
                <c:pt idx="6645">
                  <c:v>-3.3431999999999999</c:v>
                </c:pt>
                <c:pt idx="6646">
                  <c:v>-2.7489599999999998</c:v>
                </c:pt>
                <c:pt idx="6647">
                  <c:v>#N/A</c:v>
                </c:pt>
                <c:pt idx="6648">
                  <c:v>-2.6705800000000002</c:v>
                </c:pt>
                <c:pt idx="6649">
                  <c:v>-1.91696</c:v>
                </c:pt>
                <c:pt idx="6650">
                  <c:v>-1.6116699999999999</c:v>
                </c:pt>
                <c:pt idx="6651">
                  <c:v>#N/A</c:v>
                </c:pt>
                <c:pt idx="6652">
                  <c:v>-2.2527699999999999</c:v>
                </c:pt>
                <c:pt idx="6653">
                  <c:v>-2.32402</c:v>
                </c:pt>
                <c:pt idx="6654">
                  <c:v>#N/A</c:v>
                </c:pt>
                <c:pt idx="6655">
                  <c:v>-3.0232199999999998</c:v>
                </c:pt>
                <c:pt idx="6656">
                  <c:v>-2.71509</c:v>
                </c:pt>
                <c:pt idx="6657">
                  <c:v>-2.0968599999999999</c:v>
                </c:pt>
                <c:pt idx="6658">
                  <c:v>#N/A</c:v>
                </c:pt>
                <c:pt idx="6659">
                  <c:v>-2.2216499999999999</c:v>
                </c:pt>
                <c:pt idx="6660">
                  <c:v>-2.1668599999999998</c:v>
                </c:pt>
                <c:pt idx="6661">
                  <c:v>-2.2059000000000002</c:v>
                </c:pt>
                <c:pt idx="6662">
                  <c:v>#N/A</c:v>
                </c:pt>
                <c:pt idx="6663">
                  <c:v>-2.1699600000000001</c:v>
                </c:pt>
                <c:pt idx="6664">
                  <c:v>-2.3426499999999999</c:v>
                </c:pt>
                <c:pt idx="6665">
                  <c:v>-2.3235800000000002</c:v>
                </c:pt>
                <c:pt idx="6666">
                  <c:v>#N/A</c:v>
                </c:pt>
                <c:pt idx="6667">
                  <c:v>-1.90838</c:v>
                </c:pt>
                <c:pt idx="6668">
                  <c:v>-1.9730700000000001</c:v>
                </c:pt>
                <c:pt idx="6669">
                  <c:v>-2.4734600000000002</c:v>
                </c:pt>
                <c:pt idx="6670">
                  <c:v>#N/A</c:v>
                </c:pt>
                <c:pt idx="6671">
                  <c:v>-3.2861899999999999</c:v>
                </c:pt>
                <c:pt idx="6672">
                  <c:v>-3.2427800000000002</c:v>
                </c:pt>
                <c:pt idx="6673">
                  <c:v>-3.0135999999999998</c:v>
                </c:pt>
                <c:pt idx="6674">
                  <c:v>#N/A</c:v>
                </c:pt>
                <c:pt idx="6675">
                  <c:v>-2.7946499999999999</c:v>
                </c:pt>
                <c:pt idx="6676">
                  <c:v>-2.4704799999999998</c:v>
                </c:pt>
                <c:pt idx="6677">
                  <c:v>#N/A</c:v>
                </c:pt>
                <c:pt idx="6678">
                  <c:v>-2.09795</c:v>
                </c:pt>
                <c:pt idx="6679">
                  <c:v>-2.0535000000000001</c:v>
                </c:pt>
                <c:pt idx="6680">
                  <c:v>-1.79145</c:v>
                </c:pt>
                <c:pt idx="6681">
                  <c:v>#N/A</c:v>
                </c:pt>
                <c:pt idx="6682">
                  <c:v>-1.9976499999999999</c:v>
                </c:pt>
                <c:pt idx="6683">
                  <c:v>-3.30748</c:v>
                </c:pt>
                <c:pt idx="6684">
                  <c:v>-3.2776999999999998</c:v>
                </c:pt>
                <c:pt idx="6685">
                  <c:v>#N/A</c:v>
                </c:pt>
                <c:pt idx="6686">
                  <c:v>-2.8080699999999998</c:v>
                </c:pt>
                <c:pt idx="6687">
                  <c:v>-2.4760499999999999</c:v>
                </c:pt>
                <c:pt idx="6688">
                  <c:v>-2.3044500000000001</c:v>
                </c:pt>
                <c:pt idx="6689">
                  <c:v>#N/A</c:v>
                </c:pt>
                <c:pt idx="6690">
                  <c:v>-1.5325500000000001</c:v>
                </c:pt>
                <c:pt idx="6691">
                  <c:v>-1.82</c:v>
                </c:pt>
                <c:pt idx="6692">
                  <c:v>-1.8154999999999999</c:v>
                </c:pt>
                <c:pt idx="6693">
                  <c:v>#N/A</c:v>
                </c:pt>
                <c:pt idx="6694">
                  <c:v>-2.7986599999999999</c:v>
                </c:pt>
                <c:pt idx="6695">
                  <c:v>-3.3358300000000001</c:v>
                </c:pt>
                <c:pt idx="6696">
                  <c:v>-3.4093900000000001</c:v>
                </c:pt>
                <c:pt idx="6697">
                  <c:v>#N/A</c:v>
                </c:pt>
                <c:pt idx="6698">
                  <c:v>-2.53931</c:v>
                </c:pt>
                <c:pt idx="6699">
                  <c:v>-1.48427</c:v>
                </c:pt>
                <c:pt idx="6700">
                  <c:v>-1.64923</c:v>
                </c:pt>
                <c:pt idx="6701">
                  <c:v>#N/A</c:v>
                </c:pt>
                <c:pt idx="6702">
                  <c:v>-1.9792400000000001</c:v>
                </c:pt>
                <c:pt idx="6703">
                  <c:v>-1.96126</c:v>
                </c:pt>
                <c:pt idx="6704">
                  <c:v>#N/A</c:v>
                </c:pt>
                <c:pt idx="6705">
                  <c:v>-2.6543399999999999</c:v>
                </c:pt>
                <c:pt idx="6706">
                  <c:v>-3.18729</c:v>
                </c:pt>
                <c:pt idx="6707">
                  <c:v>-2.9773000000000001</c:v>
                </c:pt>
                <c:pt idx="6708">
                  <c:v>#N/A</c:v>
                </c:pt>
                <c:pt idx="6709">
                  <c:v>-2.7878500000000002</c:v>
                </c:pt>
                <c:pt idx="6710">
                  <c:v>-1.8138799999999999</c:v>
                </c:pt>
                <c:pt idx="6711">
                  <c:v>-1.58328</c:v>
                </c:pt>
                <c:pt idx="6712">
                  <c:v>#N/A</c:v>
                </c:pt>
                <c:pt idx="6713">
                  <c:v>-1.43956</c:v>
                </c:pt>
                <c:pt idx="6714">
                  <c:v>-1.9311700000000001</c:v>
                </c:pt>
                <c:pt idx="6715">
                  <c:v>-2.43526</c:v>
                </c:pt>
                <c:pt idx="6716">
                  <c:v>#N/A</c:v>
                </c:pt>
                <c:pt idx="6717">
                  <c:v>-2.7471199999999998</c:v>
                </c:pt>
                <c:pt idx="6718">
                  <c:v>-2.4699499999999999</c:v>
                </c:pt>
                <c:pt idx="6719">
                  <c:v>-2.4782000000000002</c:v>
                </c:pt>
                <c:pt idx="6720">
                  <c:v>#N/A</c:v>
                </c:pt>
                <c:pt idx="6721">
                  <c:v>-2.1142099999999999</c:v>
                </c:pt>
                <c:pt idx="6722">
                  <c:v>-1.6470899999999999</c:v>
                </c:pt>
                <c:pt idx="6723">
                  <c:v>-1.7060500000000001</c:v>
                </c:pt>
                <c:pt idx="6724">
                  <c:v>#N/A</c:v>
                </c:pt>
                <c:pt idx="6725">
                  <c:v>-2.0092500000000002</c:v>
                </c:pt>
                <c:pt idx="6726">
                  <c:v>-2.69543</c:v>
                </c:pt>
                <c:pt idx="6727">
                  <c:v>-2.63897</c:v>
                </c:pt>
                <c:pt idx="6728">
                  <c:v>#N/A</c:v>
                </c:pt>
                <c:pt idx="6729">
                  <c:v>-2.47227</c:v>
                </c:pt>
                <c:pt idx="6730">
                  <c:v>-2.3151099999999998</c:v>
                </c:pt>
                <c:pt idx="6731">
                  <c:v>#N/A</c:v>
                </c:pt>
                <c:pt idx="6732">
                  <c:v>-2.25387</c:v>
                </c:pt>
                <c:pt idx="6733">
                  <c:v>-2.43106</c:v>
                </c:pt>
                <c:pt idx="6734">
                  <c:v>-2.1603300000000001</c:v>
                </c:pt>
                <c:pt idx="6735">
                  <c:v>#N/A</c:v>
                </c:pt>
                <c:pt idx="6736">
                  <c:v>#N/A</c:v>
                </c:pt>
                <c:pt idx="6737">
                  <c:v>-2.5894200000000001</c:v>
                </c:pt>
                <c:pt idx="6738">
                  <c:v>#N/A</c:v>
                </c:pt>
                <c:pt idx="6739">
                  <c:v>-2.7521800000000001</c:v>
                </c:pt>
                <c:pt idx="6740">
                  <c:v>-2.13564</c:v>
                </c:pt>
                <c:pt idx="6741">
                  <c:v>-1.5418000000000001</c:v>
                </c:pt>
                <c:pt idx="6742">
                  <c:v>#N/A</c:v>
                </c:pt>
                <c:pt idx="6743">
                  <c:v>-1.55237</c:v>
                </c:pt>
                <c:pt idx="6744">
                  <c:v>-2.25257</c:v>
                </c:pt>
                <c:pt idx="6745">
                  <c:v>-2.42353</c:v>
                </c:pt>
                <c:pt idx="6746">
                  <c:v>#N/A</c:v>
                </c:pt>
                <c:pt idx="6747">
                  <c:v>-2.5715300000000001</c:v>
                </c:pt>
                <c:pt idx="6748">
                  <c:v>-2.2068400000000001</c:v>
                </c:pt>
                <c:pt idx="6749">
                  <c:v>-2.5251700000000001</c:v>
                </c:pt>
                <c:pt idx="6750">
                  <c:v>#N/A</c:v>
                </c:pt>
                <c:pt idx="6751">
                  <c:v>-2.3974000000000002</c:v>
                </c:pt>
                <c:pt idx="6752">
                  <c:v>-2.13483</c:v>
                </c:pt>
                <c:pt idx="6753">
                  <c:v>-2.5460699999999998</c:v>
                </c:pt>
                <c:pt idx="6754">
                  <c:v>#N/A</c:v>
                </c:pt>
                <c:pt idx="6755">
                  <c:v>-2.2359399999999998</c:v>
                </c:pt>
                <c:pt idx="6756">
                  <c:v>-2.7663000000000002</c:v>
                </c:pt>
                <c:pt idx="6757">
                  <c:v>-3.1373099999999998</c:v>
                </c:pt>
                <c:pt idx="6758">
                  <c:v>#N/A</c:v>
                </c:pt>
                <c:pt idx="6759">
                  <c:v>-2.9855900000000002</c:v>
                </c:pt>
                <c:pt idx="6760">
                  <c:v>-2.1555</c:v>
                </c:pt>
                <c:pt idx="6761">
                  <c:v>-2.4993799999999999</c:v>
                </c:pt>
                <c:pt idx="6762">
                  <c:v>#N/A</c:v>
                </c:pt>
                <c:pt idx="6763">
                  <c:v>-2.4570099999999999</c:v>
                </c:pt>
                <c:pt idx="6764">
                  <c:v>-2.3936899999999999</c:v>
                </c:pt>
                <c:pt idx="6765">
                  <c:v>-2.3260999999999998</c:v>
                </c:pt>
                <c:pt idx="6766">
                  <c:v>#N/A</c:v>
                </c:pt>
                <c:pt idx="6767">
                  <c:v>-2.8432900000000001</c:v>
                </c:pt>
                <c:pt idx="6768">
                  <c:v>-2.66797</c:v>
                </c:pt>
                <c:pt idx="6769">
                  <c:v>-2.6720999999999999</c:v>
                </c:pt>
                <c:pt idx="6770">
                  <c:v>#N/A</c:v>
                </c:pt>
                <c:pt idx="6771">
                  <c:v>-1.8849400000000001</c:v>
                </c:pt>
                <c:pt idx="6772">
                  <c:v>-1.50024</c:v>
                </c:pt>
                <c:pt idx="6773">
                  <c:v>#N/A</c:v>
                </c:pt>
                <c:pt idx="6774">
                  <c:v>-1.48421</c:v>
                </c:pt>
                <c:pt idx="6775">
                  <c:v>-1.8217300000000001</c:v>
                </c:pt>
                <c:pt idx="6776">
                  <c:v>-1.95713</c:v>
                </c:pt>
                <c:pt idx="6777">
                  <c:v>#N/A</c:v>
                </c:pt>
                <c:pt idx="6778">
                  <c:v>-2.1939199999999999</c:v>
                </c:pt>
                <c:pt idx="6779">
                  <c:v>-2.99885</c:v>
                </c:pt>
                <c:pt idx="6780">
                  <c:v>-3.0473599999999998</c:v>
                </c:pt>
                <c:pt idx="6781">
                  <c:v>#N/A</c:v>
                </c:pt>
                <c:pt idx="6782">
                  <c:v>-2.8442400000000001</c:v>
                </c:pt>
                <c:pt idx="6783">
                  <c:v>-2.3546100000000001</c:v>
                </c:pt>
                <c:pt idx="6784">
                  <c:v>-1.69041</c:v>
                </c:pt>
                <c:pt idx="6785">
                  <c:v>#N/A</c:v>
                </c:pt>
                <c:pt idx="6786">
                  <c:v>-1.6999500000000001</c:v>
                </c:pt>
                <c:pt idx="6787">
                  <c:v>-2.3730199999999999</c:v>
                </c:pt>
                <c:pt idx="6788">
                  <c:v>#N/A</c:v>
                </c:pt>
                <c:pt idx="6789">
                  <c:v>-2.3291300000000001</c:v>
                </c:pt>
                <c:pt idx="6790">
                  <c:v>-2.8943699999999999</c:v>
                </c:pt>
                <c:pt idx="6791">
                  <c:v>-2.97017</c:v>
                </c:pt>
                <c:pt idx="6792">
                  <c:v>#N/A</c:v>
                </c:pt>
                <c:pt idx="6793">
                  <c:v>-3.0596100000000002</c:v>
                </c:pt>
                <c:pt idx="6794">
                  <c:v>-2.0249799999999998</c:v>
                </c:pt>
                <c:pt idx="6795">
                  <c:v>-1.33667</c:v>
                </c:pt>
                <c:pt idx="6796">
                  <c:v>#N/A</c:v>
                </c:pt>
                <c:pt idx="6797">
                  <c:v>-1.0298400000000001</c:v>
                </c:pt>
                <c:pt idx="6798">
                  <c:v>-1.9040600000000001</c:v>
                </c:pt>
                <c:pt idx="6799">
                  <c:v>-2.2515499999999999</c:v>
                </c:pt>
                <c:pt idx="6800">
                  <c:v>#N/A</c:v>
                </c:pt>
                <c:pt idx="6801">
                  <c:v>-2.03626</c:v>
                </c:pt>
                <c:pt idx="6802">
                  <c:v>-2.3144300000000002</c:v>
                </c:pt>
                <c:pt idx="6803">
                  <c:v>-2.2837800000000001</c:v>
                </c:pt>
                <c:pt idx="6804">
                  <c:v>#N/A</c:v>
                </c:pt>
                <c:pt idx="6805">
                  <c:v>-2.6184699999999999</c:v>
                </c:pt>
                <c:pt idx="6806">
                  <c:v>-2.2102499999999998</c:v>
                </c:pt>
                <c:pt idx="6807">
                  <c:v>-1.9260699999999999</c:v>
                </c:pt>
                <c:pt idx="6808">
                  <c:v>#N/A</c:v>
                </c:pt>
                <c:pt idx="6809">
                  <c:v>-1.95394</c:v>
                </c:pt>
                <c:pt idx="6810">
                  <c:v>-3.0536699999999999</c:v>
                </c:pt>
                <c:pt idx="6811">
                  <c:v>#N/A</c:v>
                </c:pt>
                <c:pt idx="6812">
                  <c:v>-2.8268499999999999</c:v>
                </c:pt>
                <c:pt idx="6813">
                  <c:v>-2.9149799999999999</c:v>
                </c:pt>
                <c:pt idx="6814">
                  <c:v>-2.72227</c:v>
                </c:pt>
                <c:pt idx="6815">
                  <c:v>#N/A</c:v>
                </c:pt>
                <c:pt idx="6816">
                  <c:v>-2.14893</c:v>
                </c:pt>
                <c:pt idx="6817">
                  <c:v>-2.4571200000000002</c:v>
                </c:pt>
                <c:pt idx="6818">
                  <c:v>-2.1692999999999998</c:v>
                </c:pt>
                <c:pt idx="6819">
                  <c:v>#N/A</c:v>
                </c:pt>
                <c:pt idx="6820">
                  <c:v>-2.1394799999999998</c:v>
                </c:pt>
                <c:pt idx="6821">
                  <c:v>-2.4400400000000002</c:v>
                </c:pt>
                <c:pt idx="6822">
                  <c:v>-2.01423</c:v>
                </c:pt>
                <c:pt idx="6823">
                  <c:v>#N/A</c:v>
                </c:pt>
                <c:pt idx="6824">
                  <c:v>-1.99874</c:v>
                </c:pt>
                <c:pt idx="6825">
                  <c:v>-1.85703</c:v>
                </c:pt>
                <c:pt idx="6826">
                  <c:v>-1.5363</c:v>
                </c:pt>
                <c:pt idx="6827">
                  <c:v>#N/A</c:v>
                </c:pt>
                <c:pt idx="6828">
                  <c:v>-2.2916599999999998</c:v>
                </c:pt>
                <c:pt idx="6829">
                  <c:v>-2.57429</c:v>
                </c:pt>
                <c:pt idx="6830">
                  <c:v>-2.4584800000000002</c:v>
                </c:pt>
                <c:pt idx="6831">
                  <c:v>#N/A</c:v>
                </c:pt>
                <c:pt idx="6832">
                  <c:v>-2.7205300000000001</c:v>
                </c:pt>
                <c:pt idx="6833">
                  <c:v>-2.6311</c:v>
                </c:pt>
                <c:pt idx="6834">
                  <c:v>-2.1322199999999998</c:v>
                </c:pt>
                <c:pt idx="6835">
                  <c:v>#N/A</c:v>
                </c:pt>
                <c:pt idx="6836">
                  <c:v>-2.0268000000000002</c:v>
                </c:pt>
                <c:pt idx="6837">
                  <c:v>-1.7506699999999999</c:v>
                </c:pt>
                <c:pt idx="6838">
                  <c:v>-1.8922399999999999</c:v>
                </c:pt>
                <c:pt idx="6839">
                  <c:v>#N/A</c:v>
                </c:pt>
                <c:pt idx="6840">
                  <c:v>-2.9918999999999998</c:v>
                </c:pt>
                <c:pt idx="6841">
                  <c:v>-3.4514900000000002</c:v>
                </c:pt>
                <c:pt idx="6842">
                  <c:v>#N/A</c:v>
                </c:pt>
                <c:pt idx="6843">
                  <c:v>-3.3338100000000002</c:v>
                </c:pt>
                <c:pt idx="6844">
                  <c:v>-2.7703899999999999</c:v>
                </c:pt>
                <c:pt idx="6845">
                  <c:v>-1.74644</c:v>
                </c:pt>
                <c:pt idx="6846">
                  <c:v>#N/A</c:v>
                </c:pt>
                <c:pt idx="6847">
                  <c:v>-1.4654400000000001</c:v>
                </c:pt>
                <c:pt idx="6848">
                  <c:v>-1.45383</c:v>
                </c:pt>
                <c:pt idx="6849">
                  <c:v>-1.92276</c:v>
                </c:pt>
                <c:pt idx="6850">
                  <c:v>#N/A</c:v>
                </c:pt>
                <c:pt idx="6851">
                  <c:v>-2.2513200000000002</c:v>
                </c:pt>
                <c:pt idx="6852">
                  <c:v>-3.27467</c:v>
                </c:pt>
                <c:pt idx="6853">
                  <c:v>#N/A</c:v>
                </c:pt>
                <c:pt idx="6854">
                  <c:v>-3.1371000000000002</c:v>
                </c:pt>
                <c:pt idx="6855">
                  <c:v>#N/A</c:v>
                </c:pt>
                <c:pt idx="6856">
                  <c:v>-2.32443</c:v>
                </c:pt>
                <c:pt idx="6857">
                  <c:v>-2.1636799999999998</c:v>
                </c:pt>
                <c:pt idx="6858">
                  <c:v>-1.4992700000000001</c:v>
                </c:pt>
                <c:pt idx="6859">
                  <c:v>#N/A</c:v>
                </c:pt>
                <c:pt idx="6860">
                  <c:v>-2.02624</c:v>
                </c:pt>
                <c:pt idx="6861">
                  <c:v>-2.7189999999999999</c:v>
                </c:pt>
                <c:pt idx="6862">
                  <c:v>-2.8830300000000002</c:v>
                </c:pt>
                <c:pt idx="6863">
                  <c:v>#N/A</c:v>
                </c:pt>
                <c:pt idx="6864">
                  <c:v>-3.3615300000000001</c:v>
                </c:pt>
                <c:pt idx="6865">
                  <c:v>-3.4930300000000001</c:v>
                </c:pt>
                <c:pt idx="6866">
                  <c:v>-2.4313400000000001</c:v>
                </c:pt>
                <c:pt idx="6867">
                  <c:v>#N/A</c:v>
                </c:pt>
                <c:pt idx="6868">
                  <c:v>-2.0792700000000002</c:v>
                </c:pt>
                <c:pt idx="6869">
                  <c:v>-2.1577199999999999</c:v>
                </c:pt>
                <c:pt idx="6870">
                  <c:v>#N/A</c:v>
                </c:pt>
                <c:pt idx="6871">
                  <c:v>-3.2503099999999998</c:v>
                </c:pt>
                <c:pt idx="6872">
                  <c:v>-2.6566200000000002</c:v>
                </c:pt>
                <c:pt idx="6873">
                  <c:v>-2.6172599999999999</c:v>
                </c:pt>
                <c:pt idx="6874">
                  <c:v>#N/A</c:v>
                </c:pt>
                <c:pt idx="6875">
                  <c:v>-3.38015</c:v>
                </c:pt>
                <c:pt idx="6876">
                  <c:v>-2.7178800000000001</c:v>
                </c:pt>
                <c:pt idx="6877">
                  <c:v>-2.3511600000000001</c:v>
                </c:pt>
                <c:pt idx="6878">
                  <c:v>#N/A</c:v>
                </c:pt>
                <c:pt idx="6879">
                  <c:v>-2.23055</c:v>
                </c:pt>
                <c:pt idx="6880">
                  <c:v>-1.63001</c:v>
                </c:pt>
                <c:pt idx="6881">
                  <c:v>-2.1908599999999998</c:v>
                </c:pt>
                <c:pt idx="6882">
                  <c:v>#N/A</c:v>
                </c:pt>
                <c:pt idx="6883">
                  <c:v>-2.5739399999999999</c:v>
                </c:pt>
                <c:pt idx="6884">
                  <c:v>-2.6593200000000001</c:v>
                </c:pt>
                <c:pt idx="6885">
                  <c:v>-2.5146600000000001</c:v>
                </c:pt>
                <c:pt idx="6886">
                  <c:v>#N/A</c:v>
                </c:pt>
                <c:pt idx="6887">
                  <c:v>-2.4294699999999998</c:v>
                </c:pt>
                <c:pt idx="6888">
                  <c:v>-2.30965</c:v>
                </c:pt>
                <c:pt idx="6889">
                  <c:v>-2.1865199999999998</c:v>
                </c:pt>
                <c:pt idx="6890">
                  <c:v>#N/A</c:v>
                </c:pt>
                <c:pt idx="6891">
                  <c:v>-2.10514</c:v>
                </c:pt>
                <c:pt idx="6892">
                  <c:v>-2.5707499999999999</c:v>
                </c:pt>
                <c:pt idx="6893">
                  <c:v>-2.40924</c:v>
                </c:pt>
                <c:pt idx="6894">
                  <c:v>#N/A</c:v>
                </c:pt>
                <c:pt idx="6895">
                  <c:v>-2.0215000000000001</c:v>
                </c:pt>
                <c:pt idx="6896">
                  <c:v>-2.4119000000000002</c:v>
                </c:pt>
                <c:pt idx="6897">
                  <c:v>-2.0876299999999999</c:v>
                </c:pt>
                <c:pt idx="6898">
                  <c:v>#N/A</c:v>
                </c:pt>
                <c:pt idx="6899">
                  <c:v>-1.8943099999999999</c:v>
                </c:pt>
                <c:pt idx="6900">
                  <c:v>-2.0729700000000002</c:v>
                </c:pt>
                <c:pt idx="6901">
                  <c:v>#N/A</c:v>
                </c:pt>
                <c:pt idx="6902">
                  <c:v>-2.1625700000000001</c:v>
                </c:pt>
                <c:pt idx="6903">
                  <c:v>-2.4646599999999999</c:v>
                </c:pt>
                <c:pt idx="6904">
                  <c:v>-2.5502500000000001</c:v>
                </c:pt>
                <c:pt idx="6905">
                  <c:v>#N/A</c:v>
                </c:pt>
                <c:pt idx="6906">
                  <c:v>-2.3149799999999998</c:v>
                </c:pt>
                <c:pt idx="6907">
                  <c:v>-2.22465</c:v>
                </c:pt>
                <c:pt idx="6908">
                  <c:v>-1.7881499999999999</c:v>
                </c:pt>
                <c:pt idx="6909">
                  <c:v>#N/A</c:v>
                </c:pt>
                <c:pt idx="6910">
                  <c:v>-2.0310899999999998</c:v>
                </c:pt>
                <c:pt idx="6911">
                  <c:v>-2.16045</c:v>
                </c:pt>
                <c:pt idx="6912">
                  <c:v>#N/A</c:v>
                </c:pt>
                <c:pt idx="6913">
                  <c:v>-2.37113</c:v>
                </c:pt>
                <c:pt idx="6914">
                  <c:v>-2.8259699999999999</c:v>
                </c:pt>
                <c:pt idx="6915">
                  <c:v>-2.9319199999999999</c:v>
                </c:pt>
                <c:pt idx="6916">
                  <c:v>#N/A</c:v>
                </c:pt>
                <c:pt idx="6917">
                  <c:v>-3.1635499999999999</c:v>
                </c:pt>
                <c:pt idx="6918">
                  <c:v>-2.1112099999999998</c:v>
                </c:pt>
                <c:pt idx="6919">
                  <c:v>-1.61297</c:v>
                </c:pt>
                <c:pt idx="6920">
                  <c:v>#N/A</c:v>
                </c:pt>
                <c:pt idx="6921">
                  <c:v>-1.7294799999999999</c:v>
                </c:pt>
                <c:pt idx="6922">
                  <c:v>-2.2844500000000001</c:v>
                </c:pt>
                <c:pt idx="6923">
                  <c:v>-2.4634399999999999</c:v>
                </c:pt>
                <c:pt idx="6924">
                  <c:v>#N/A</c:v>
                </c:pt>
                <c:pt idx="6925">
                  <c:v>-2.3875799999999998</c:v>
                </c:pt>
                <c:pt idx="6926">
                  <c:v>-2.9283899999999998</c:v>
                </c:pt>
                <c:pt idx="6927">
                  <c:v>#N/A</c:v>
                </c:pt>
                <c:pt idx="6928">
                  <c:v>-2.10426</c:v>
                </c:pt>
                <c:pt idx="6929">
                  <c:v>-1.38215</c:v>
                </c:pt>
                <c:pt idx="6930">
                  <c:v>#N/A</c:v>
                </c:pt>
                <c:pt idx="6931">
                  <c:v>-1.3935599999999999</c:v>
                </c:pt>
                <c:pt idx="6932">
                  <c:v>-2.5103499999999999</c:v>
                </c:pt>
                <c:pt idx="6933">
                  <c:v>#N/A</c:v>
                </c:pt>
                <c:pt idx="6934">
                  <c:v>-1.9905999999999999</c:v>
                </c:pt>
                <c:pt idx="6935">
                  <c:v>-2.5682</c:v>
                </c:pt>
                <c:pt idx="6936">
                  <c:v>-2.4131100000000001</c:v>
                </c:pt>
                <c:pt idx="6937">
                  <c:v>#N/A</c:v>
                </c:pt>
                <c:pt idx="6938">
                  <c:v>-2.3327800000000001</c:v>
                </c:pt>
                <c:pt idx="6939">
                  <c:v>-2.6237400000000002</c:v>
                </c:pt>
                <c:pt idx="6940">
                  <c:v>-2.1406800000000001</c:v>
                </c:pt>
                <c:pt idx="6941">
                  <c:v>#N/A</c:v>
                </c:pt>
                <c:pt idx="6942">
                  <c:v>-1.89428</c:v>
                </c:pt>
                <c:pt idx="6943">
                  <c:v>-1.4876199999999999</c:v>
                </c:pt>
                <c:pt idx="6944">
                  <c:v>-2.6501800000000002</c:v>
                </c:pt>
                <c:pt idx="6945">
                  <c:v>#N/A</c:v>
                </c:pt>
                <c:pt idx="6946">
                  <c:v>-2.8151700000000002</c:v>
                </c:pt>
                <c:pt idx="6947">
                  <c:v>-3.3801299999999999</c:v>
                </c:pt>
                <c:pt idx="6948">
                  <c:v>-3.2277900000000002</c:v>
                </c:pt>
                <c:pt idx="6949">
                  <c:v>#N/A</c:v>
                </c:pt>
                <c:pt idx="6950">
                  <c:v>-2.1593399999999998</c:v>
                </c:pt>
                <c:pt idx="6951">
                  <c:v>-1.7535700000000001</c:v>
                </c:pt>
                <c:pt idx="6952">
                  <c:v>-1.88751</c:v>
                </c:pt>
                <c:pt idx="6953">
                  <c:v>#N/A</c:v>
                </c:pt>
                <c:pt idx="6954">
                  <c:v>-1.24133</c:v>
                </c:pt>
                <c:pt idx="6955">
                  <c:v>-1.6697299999999999</c:v>
                </c:pt>
                <c:pt idx="6956">
                  <c:v>-2.3283100000000001</c:v>
                </c:pt>
                <c:pt idx="6957">
                  <c:v>#N/A</c:v>
                </c:pt>
                <c:pt idx="6958">
                  <c:v>-2.7475200000000002</c:v>
                </c:pt>
                <c:pt idx="6959">
                  <c:v>-2.2917700000000001</c:v>
                </c:pt>
                <c:pt idx="6960">
                  <c:v>#N/A</c:v>
                </c:pt>
                <c:pt idx="6961">
                  <c:v>-1.68641</c:v>
                </c:pt>
                <c:pt idx="6962">
                  <c:v>-1.8130599999999999</c:v>
                </c:pt>
                <c:pt idx="6963">
                  <c:v>-2.5099200000000002</c:v>
                </c:pt>
                <c:pt idx="6964">
                  <c:v>#N/A</c:v>
                </c:pt>
                <c:pt idx="6965">
                  <c:v>-1.90262</c:v>
                </c:pt>
                <c:pt idx="6966">
                  <c:v>-2.3997000000000002</c:v>
                </c:pt>
                <c:pt idx="6967">
                  <c:v>#N/A</c:v>
                </c:pt>
                <c:pt idx="6968">
                  <c:v>-2.2953999999999999</c:v>
                </c:pt>
                <c:pt idx="6969">
                  <c:v>-3.1324299999999998</c:v>
                </c:pt>
                <c:pt idx="6970">
                  <c:v>-2.6320299999999999</c:v>
                </c:pt>
                <c:pt idx="6971">
                  <c:v>#N/A</c:v>
                </c:pt>
                <c:pt idx="6972">
                  <c:v>-2.1842800000000002</c:v>
                </c:pt>
                <c:pt idx="6973">
                  <c:v>-2.4335100000000001</c:v>
                </c:pt>
                <c:pt idx="6974">
                  <c:v>-2.94834</c:v>
                </c:pt>
                <c:pt idx="6975">
                  <c:v>#N/A</c:v>
                </c:pt>
                <c:pt idx="6976">
                  <c:v>-3.0161500000000001</c:v>
                </c:pt>
                <c:pt idx="6977">
                  <c:v>-2.9004699999999999</c:v>
                </c:pt>
                <c:pt idx="6978">
                  <c:v>-2.9083800000000002</c:v>
                </c:pt>
                <c:pt idx="6979">
                  <c:v>#N/A</c:v>
                </c:pt>
                <c:pt idx="6980">
                  <c:v>-2.33</c:v>
                </c:pt>
                <c:pt idx="6981">
                  <c:v>-2.1607599999999998</c:v>
                </c:pt>
                <c:pt idx="6982">
                  <c:v>-2.4528699999999999</c:v>
                </c:pt>
                <c:pt idx="6983">
                  <c:v>#N/A</c:v>
                </c:pt>
                <c:pt idx="6984">
                  <c:v>-2.0810900000000001</c:v>
                </c:pt>
                <c:pt idx="6985">
                  <c:v>-3.1001300000000001</c:v>
                </c:pt>
                <c:pt idx="6986">
                  <c:v>#N/A</c:v>
                </c:pt>
                <c:pt idx="6987">
                  <c:v>-2.94455</c:v>
                </c:pt>
                <c:pt idx="6988">
                  <c:v>-3.4345599999999998</c:v>
                </c:pt>
                <c:pt idx="6989">
                  <c:v>-3.17605</c:v>
                </c:pt>
                <c:pt idx="6990">
                  <c:v>#N/A</c:v>
                </c:pt>
                <c:pt idx="6991">
                  <c:v>-2.8679600000000001</c:v>
                </c:pt>
                <c:pt idx="6992">
                  <c:v>-2.81534</c:v>
                </c:pt>
                <c:pt idx="6993">
                  <c:v>-2.31854</c:v>
                </c:pt>
                <c:pt idx="6994">
                  <c:v>#N/A</c:v>
                </c:pt>
                <c:pt idx="6995">
                  <c:v>-2.33189</c:v>
                </c:pt>
                <c:pt idx="6996">
                  <c:v>-2.8622200000000002</c:v>
                </c:pt>
                <c:pt idx="6997">
                  <c:v>-3.1115200000000001</c:v>
                </c:pt>
                <c:pt idx="6998">
                  <c:v>#N/A</c:v>
                </c:pt>
                <c:pt idx="6999">
                  <c:v>-3.3713600000000001</c:v>
                </c:pt>
                <c:pt idx="7000">
                  <c:v>-3.6104500000000002</c:v>
                </c:pt>
                <c:pt idx="7001">
                  <c:v>#N/A</c:v>
                </c:pt>
                <c:pt idx="7002">
                  <c:v>-2.8565900000000002</c:v>
                </c:pt>
                <c:pt idx="7003">
                  <c:v>#N/A</c:v>
                </c:pt>
                <c:pt idx="7004">
                  <c:v>-2.1384500000000002</c:v>
                </c:pt>
                <c:pt idx="7005">
                  <c:v>-2.6815099999999998</c:v>
                </c:pt>
                <c:pt idx="7006">
                  <c:v>-3.0721400000000001</c:v>
                </c:pt>
                <c:pt idx="7007">
                  <c:v>#N/A</c:v>
                </c:pt>
                <c:pt idx="7008">
                  <c:v>-3.23265</c:v>
                </c:pt>
                <c:pt idx="7009">
                  <c:v>-3.3718300000000001</c:v>
                </c:pt>
                <c:pt idx="7010">
                  <c:v>-3.40002</c:v>
                </c:pt>
                <c:pt idx="7011">
                  <c:v>#N/A</c:v>
                </c:pt>
                <c:pt idx="7012">
                  <c:v>-2.9731700000000001</c:v>
                </c:pt>
                <c:pt idx="7013">
                  <c:v>-2.6105399999999999</c:v>
                </c:pt>
                <c:pt idx="7014">
                  <c:v>-2.0612300000000001</c:v>
                </c:pt>
                <c:pt idx="7015">
                  <c:v>#N/A</c:v>
                </c:pt>
                <c:pt idx="7016">
                  <c:v>-2.4893100000000001</c:v>
                </c:pt>
                <c:pt idx="7017">
                  <c:v>-3.0255200000000002</c:v>
                </c:pt>
                <c:pt idx="7018">
                  <c:v>-2.4516</c:v>
                </c:pt>
                <c:pt idx="7019">
                  <c:v>#N/A</c:v>
                </c:pt>
                <c:pt idx="7020">
                  <c:v>-2.8452700000000002</c:v>
                </c:pt>
                <c:pt idx="7021">
                  <c:v>-2.58704</c:v>
                </c:pt>
                <c:pt idx="7022">
                  <c:v>#N/A</c:v>
                </c:pt>
                <c:pt idx="7023">
                  <c:v>-3.0423900000000001</c:v>
                </c:pt>
                <c:pt idx="7024">
                  <c:v>-2.4012899999999999</c:v>
                </c:pt>
                <c:pt idx="7025">
                  <c:v>-2.4832800000000002</c:v>
                </c:pt>
                <c:pt idx="7026">
                  <c:v>#N/A</c:v>
                </c:pt>
                <c:pt idx="7027">
                  <c:v>-2.7215099999999999</c:v>
                </c:pt>
                <c:pt idx="7028">
                  <c:v>-2.59266</c:v>
                </c:pt>
                <c:pt idx="7029">
                  <c:v>#N/A</c:v>
                </c:pt>
                <c:pt idx="7030">
                  <c:v>-3.0692499999999998</c:v>
                </c:pt>
                <c:pt idx="7031">
                  <c:v>-3.4601500000000001</c:v>
                </c:pt>
                <c:pt idx="7032">
                  <c:v>-2.5749599999999999</c:v>
                </c:pt>
                <c:pt idx="7033">
                  <c:v>#N/A</c:v>
                </c:pt>
                <c:pt idx="7034">
                  <c:v>-2.5003500000000001</c:v>
                </c:pt>
                <c:pt idx="7035">
                  <c:v>-1.97576</c:v>
                </c:pt>
                <c:pt idx="7036">
                  <c:v>-2.6718999999999999</c:v>
                </c:pt>
                <c:pt idx="7037">
                  <c:v>#N/A</c:v>
                </c:pt>
                <c:pt idx="7038">
                  <c:v>-2.8797799999999998</c:v>
                </c:pt>
                <c:pt idx="7039">
                  <c:v>-3.03823</c:v>
                </c:pt>
                <c:pt idx="7040">
                  <c:v>-2.7320099999999998</c:v>
                </c:pt>
                <c:pt idx="7041">
                  <c:v>#N/A</c:v>
                </c:pt>
                <c:pt idx="7042">
                  <c:v>-2.94625</c:v>
                </c:pt>
                <c:pt idx="7043">
                  <c:v>-2.6357200000000001</c:v>
                </c:pt>
                <c:pt idx="7044">
                  <c:v>#N/A</c:v>
                </c:pt>
                <c:pt idx="7045">
                  <c:v>-2.1638199999999999</c:v>
                </c:pt>
                <c:pt idx="7046">
                  <c:v>-2.5899100000000002</c:v>
                </c:pt>
                <c:pt idx="7047">
                  <c:v>-2.9611100000000001</c:v>
                </c:pt>
                <c:pt idx="7048">
                  <c:v>#N/A</c:v>
                </c:pt>
                <c:pt idx="7049">
                  <c:v>-3.1920899999999999</c:v>
                </c:pt>
                <c:pt idx="7050">
                  <c:v>-3.0735199999999998</c:v>
                </c:pt>
                <c:pt idx="7051">
                  <c:v>-3.4539900000000001</c:v>
                </c:pt>
                <c:pt idx="7052">
                  <c:v>#N/A</c:v>
                </c:pt>
                <c:pt idx="7053">
                  <c:v>-3.5839500000000002</c:v>
                </c:pt>
                <c:pt idx="7054">
                  <c:v>-3.24221</c:v>
                </c:pt>
                <c:pt idx="7055">
                  <c:v>-2.5965699999999998</c:v>
                </c:pt>
                <c:pt idx="7056">
                  <c:v>#N/A</c:v>
                </c:pt>
                <c:pt idx="7057">
                  <c:v>-2.2690800000000002</c:v>
                </c:pt>
                <c:pt idx="7058">
                  <c:v>-2.2628699999999999</c:v>
                </c:pt>
                <c:pt idx="7059">
                  <c:v>-3.1001699999999999</c:v>
                </c:pt>
                <c:pt idx="7060">
                  <c:v>#N/A</c:v>
                </c:pt>
                <c:pt idx="7061">
                  <c:v>-3.2433900000000002</c:v>
                </c:pt>
                <c:pt idx="7062">
                  <c:v>-2.7175600000000002</c:v>
                </c:pt>
                <c:pt idx="7063">
                  <c:v>-2.6181199999999998</c:v>
                </c:pt>
                <c:pt idx="7064">
                  <c:v>#N/A</c:v>
                </c:pt>
                <c:pt idx="7065">
                  <c:v>-2.5470199999999998</c:v>
                </c:pt>
                <c:pt idx="7066">
                  <c:v>-2.1629200000000002</c:v>
                </c:pt>
                <c:pt idx="7067">
                  <c:v>#N/A</c:v>
                </c:pt>
                <c:pt idx="7068">
                  <c:v>-2.8317600000000001</c:v>
                </c:pt>
                <c:pt idx="7069">
                  <c:v>-3.0415999999999999</c:v>
                </c:pt>
                <c:pt idx="7070">
                  <c:v>-2.8044099999999998</c:v>
                </c:pt>
                <c:pt idx="7071">
                  <c:v>#N/A</c:v>
                </c:pt>
                <c:pt idx="7072">
                  <c:v>-3.1234700000000002</c:v>
                </c:pt>
                <c:pt idx="7073">
                  <c:v>-3.45452</c:v>
                </c:pt>
                <c:pt idx="7074">
                  <c:v>-2.8718699999999999</c:v>
                </c:pt>
                <c:pt idx="7075">
                  <c:v>#N/A</c:v>
                </c:pt>
                <c:pt idx="7076">
                  <c:v>-2.3903500000000002</c:v>
                </c:pt>
                <c:pt idx="7077">
                  <c:v>-2.33487</c:v>
                </c:pt>
                <c:pt idx="7078">
                  <c:v>-2.9216799999999998</c:v>
                </c:pt>
                <c:pt idx="7079">
                  <c:v>#N/A</c:v>
                </c:pt>
                <c:pt idx="7080">
                  <c:v>-2.7421700000000002</c:v>
                </c:pt>
                <c:pt idx="7081">
                  <c:v>-3.39913</c:v>
                </c:pt>
                <c:pt idx="7082">
                  <c:v>-3.5919699999999999</c:v>
                </c:pt>
                <c:pt idx="7083">
                  <c:v>#N/A</c:v>
                </c:pt>
                <c:pt idx="7084">
                  <c:v>-2.7772800000000002</c:v>
                </c:pt>
                <c:pt idx="7085">
                  <c:v>-2.9065500000000002</c:v>
                </c:pt>
                <c:pt idx="7086">
                  <c:v>-2.6280100000000002</c:v>
                </c:pt>
                <c:pt idx="7087">
                  <c:v>#N/A</c:v>
                </c:pt>
                <c:pt idx="7088">
                  <c:v>-2.4394200000000001</c:v>
                </c:pt>
                <c:pt idx="7089">
                  <c:v>-2.3445800000000001</c:v>
                </c:pt>
                <c:pt idx="7090">
                  <c:v>-3.0459000000000001</c:v>
                </c:pt>
                <c:pt idx="7091">
                  <c:v>#N/A</c:v>
                </c:pt>
                <c:pt idx="7092">
                  <c:v>-3.01024</c:v>
                </c:pt>
                <c:pt idx="7093">
                  <c:v>-3.18824</c:v>
                </c:pt>
                <c:pt idx="7094">
                  <c:v>-3.11083</c:v>
                </c:pt>
                <c:pt idx="7095">
                  <c:v>#N/A</c:v>
                </c:pt>
                <c:pt idx="7096">
                  <c:v>-2.6905999999999999</c:v>
                </c:pt>
                <c:pt idx="7097">
                  <c:v>-2.55219</c:v>
                </c:pt>
                <c:pt idx="7098">
                  <c:v>#N/A</c:v>
                </c:pt>
                <c:pt idx="7099">
                  <c:v>-2.1332399999999998</c:v>
                </c:pt>
                <c:pt idx="7100">
                  <c:v>-2.5102899999999999</c:v>
                </c:pt>
                <c:pt idx="7101">
                  <c:v>-3.3633099999999998</c:v>
                </c:pt>
                <c:pt idx="7102">
                  <c:v>#N/A</c:v>
                </c:pt>
                <c:pt idx="7103">
                  <c:v>-3.5618500000000002</c:v>
                </c:pt>
                <c:pt idx="7104">
                  <c:v>-2.9096500000000001</c:v>
                </c:pt>
                <c:pt idx="7105">
                  <c:v>-3.1877</c:v>
                </c:pt>
                <c:pt idx="7106">
                  <c:v>#N/A</c:v>
                </c:pt>
                <c:pt idx="7107">
                  <c:v>-3.06047</c:v>
                </c:pt>
                <c:pt idx="7108">
                  <c:v>-3.0879300000000001</c:v>
                </c:pt>
                <c:pt idx="7109">
                  <c:v>-2.6507499999999999</c:v>
                </c:pt>
                <c:pt idx="7110">
                  <c:v>#N/A</c:v>
                </c:pt>
                <c:pt idx="7111">
                  <c:v>-2.6739600000000001</c:v>
                </c:pt>
                <c:pt idx="7112">
                  <c:v>-2.9044500000000002</c:v>
                </c:pt>
                <c:pt idx="7113">
                  <c:v>-2.52094</c:v>
                </c:pt>
                <c:pt idx="7114">
                  <c:v>#N/A</c:v>
                </c:pt>
                <c:pt idx="7115">
                  <c:v>-3.0653600000000001</c:v>
                </c:pt>
                <c:pt idx="7116">
                  <c:v>-2.6148799999999999</c:v>
                </c:pt>
                <c:pt idx="7117">
                  <c:v>-2.0963599999999998</c:v>
                </c:pt>
                <c:pt idx="7118">
                  <c:v>#N/A</c:v>
                </c:pt>
                <c:pt idx="7119">
                  <c:v>-2.46699</c:v>
                </c:pt>
                <c:pt idx="7120">
                  <c:v>-2.93974</c:v>
                </c:pt>
                <c:pt idx="7121">
                  <c:v>-2.0013000000000001</c:v>
                </c:pt>
                <c:pt idx="7122">
                  <c:v>#N/A</c:v>
                </c:pt>
                <c:pt idx="7123">
                  <c:v>-2.3391099999999998</c:v>
                </c:pt>
                <c:pt idx="7124">
                  <c:v>-2.6542400000000002</c:v>
                </c:pt>
                <c:pt idx="7125">
                  <c:v>-2.5646100000000001</c:v>
                </c:pt>
                <c:pt idx="7126">
                  <c:v>#N/A</c:v>
                </c:pt>
                <c:pt idx="7127">
                  <c:v>-2.7210100000000002</c:v>
                </c:pt>
                <c:pt idx="7128">
                  <c:v>-2.5567099999999998</c:v>
                </c:pt>
                <c:pt idx="7129">
                  <c:v>-2.2395700000000001</c:v>
                </c:pt>
                <c:pt idx="7130">
                  <c:v>#N/A</c:v>
                </c:pt>
                <c:pt idx="7131">
                  <c:v>-2.8648899999999999</c:v>
                </c:pt>
                <c:pt idx="7132">
                  <c:v>-2.94015</c:v>
                </c:pt>
                <c:pt idx="7133">
                  <c:v>#N/A</c:v>
                </c:pt>
                <c:pt idx="7134">
                  <c:v>-3.19862</c:v>
                </c:pt>
                <c:pt idx="7135">
                  <c:v>-3.0085799999999998</c:v>
                </c:pt>
                <c:pt idx="7136">
                  <c:v>-2.6282199999999998</c:v>
                </c:pt>
                <c:pt idx="7137">
                  <c:v>#N/A</c:v>
                </c:pt>
                <c:pt idx="7138">
                  <c:v>-2.0590600000000001</c:v>
                </c:pt>
                <c:pt idx="7139">
                  <c:v>-2.2069999999999999</c:v>
                </c:pt>
                <c:pt idx="7140">
                  <c:v>#N/A</c:v>
                </c:pt>
                <c:pt idx="7141">
                  <c:v>-2.0484800000000001</c:v>
                </c:pt>
                <c:pt idx="7142">
                  <c:v>-3.0636299999999999</c:v>
                </c:pt>
                <c:pt idx="7143">
                  <c:v>-2.7839800000000001</c:v>
                </c:pt>
                <c:pt idx="7144">
                  <c:v>#N/A</c:v>
                </c:pt>
                <c:pt idx="7145">
                  <c:v>-2.9492699999999998</c:v>
                </c:pt>
                <c:pt idx="7146">
                  <c:v>-2.9286699999999999</c:v>
                </c:pt>
                <c:pt idx="7147">
                  <c:v>-2.2271800000000002</c:v>
                </c:pt>
                <c:pt idx="7148">
                  <c:v>#N/A</c:v>
                </c:pt>
                <c:pt idx="7149">
                  <c:v>-2.0972400000000002</c:v>
                </c:pt>
                <c:pt idx="7150">
                  <c:v>-1.8201499999999999</c:v>
                </c:pt>
                <c:pt idx="7151">
                  <c:v>#N/A</c:v>
                </c:pt>
                <c:pt idx="7152">
                  <c:v>-2.13923</c:v>
                </c:pt>
                <c:pt idx="7153">
                  <c:v>#N/A</c:v>
                </c:pt>
                <c:pt idx="7154">
                  <c:v>-3.3389600000000002</c:v>
                </c:pt>
                <c:pt idx="7155">
                  <c:v>-3.6467399999999999</c:v>
                </c:pt>
                <c:pt idx="7156">
                  <c:v>#N/A</c:v>
                </c:pt>
                <c:pt idx="7157">
                  <c:v>-3.7531699999999999</c:v>
                </c:pt>
                <c:pt idx="7158">
                  <c:v>-3.1713</c:v>
                </c:pt>
                <c:pt idx="7159">
                  <c:v>-2.4511099999999999</c:v>
                </c:pt>
                <c:pt idx="7160">
                  <c:v>#N/A</c:v>
                </c:pt>
                <c:pt idx="7161">
                  <c:v>-2.1097800000000002</c:v>
                </c:pt>
                <c:pt idx="7162">
                  <c:v>-3.06325</c:v>
                </c:pt>
                <c:pt idx="7163">
                  <c:v>-2.8326199999999999</c:v>
                </c:pt>
                <c:pt idx="7164">
                  <c:v>#N/A</c:v>
                </c:pt>
                <c:pt idx="7165">
                  <c:v>-2.2422200000000001</c:v>
                </c:pt>
                <c:pt idx="7166">
                  <c:v>-3.0982500000000002</c:v>
                </c:pt>
                <c:pt idx="7167">
                  <c:v>-2.9278900000000001</c:v>
                </c:pt>
                <c:pt idx="7168">
                  <c:v>#N/A</c:v>
                </c:pt>
                <c:pt idx="7169">
                  <c:v>-3.1986300000000001</c:v>
                </c:pt>
                <c:pt idx="7170">
                  <c:v>-2.72723</c:v>
                </c:pt>
                <c:pt idx="7171">
                  <c:v>#N/A</c:v>
                </c:pt>
                <c:pt idx="7172">
                  <c:v>-2.4685700000000002</c:v>
                </c:pt>
                <c:pt idx="7173">
                  <c:v>-1.6876599999999999</c:v>
                </c:pt>
                <c:pt idx="7174">
                  <c:v>-2.13862</c:v>
                </c:pt>
                <c:pt idx="7175">
                  <c:v>#N/A</c:v>
                </c:pt>
                <c:pt idx="7176">
                  <c:v>-2.6100400000000001</c:v>
                </c:pt>
                <c:pt idx="7177">
                  <c:v>-2.3884599999999998</c:v>
                </c:pt>
                <c:pt idx="7178">
                  <c:v>-2.2919200000000002</c:v>
                </c:pt>
                <c:pt idx="7179">
                  <c:v>#N/A</c:v>
                </c:pt>
                <c:pt idx="7180">
                  <c:v>-2.5970200000000001</c:v>
                </c:pt>
                <c:pt idx="7181">
                  <c:v>-2.6702499999999998</c:v>
                </c:pt>
                <c:pt idx="7182">
                  <c:v>#N/A</c:v>
                </c:pt>
                <c:pt idx="7183">
                  <c:v>-2.1804000000000001</c:v>
                </c:pt>
                <c:pt idx="7184">
                  <c:v>-1.76169</c:v>
                </c:pt>
                <c:pt idx="7185">
                  <c:v>-2.4657300000000002</c:v>
                </c:pt>
                <c:pt idx="7186">
                  <c:v>#N/A</c:v>
                </c:pt>
                <c:pt idx="7187">
                  <c:v>-2.2798699999999998</c:v>
                </c:pt>
                <c:pt idx="7188">
                  <c:v>-2.8429199999999999</c:v>
                </c:pt>
                <c:pt idx="7189">
                  <c:v>-2.5575700000000001</c:v>
                </c:pt>
                <c:pt idx="7190">
                  <c:v>#N/A</c:v>
                </c:pt>
                <c:pt idx="7191">
                  <c:v>-2.4157099999999998</c:v>
                </c:pt>
                <c:pt idx="7192">
                  <c:v>-2.3860600000000001</c:v>
                </c:pt>
                <c:pt idx="7193">
                  <c:v>-3.4228000000000001</c:v>
                </c:pt>
                <c:pt idx="7194">
                  <c:v>#N/A</c:v>
                </c:pt>
                <c:pt idx="7195">
                  <c:v>-2.8022200000000002</c:v>
                </c:pt>
                <c:pt idx="7196">
                  <c:v>-3.0389499999999998</c:v>
                </c:pt>
                <c:pt idx="7197">
                  <c:v>-3.0254699999999999</c:v>
                </c:pt>
                <c:pt idx="7198">
                  <c:v>#N/A</c:v>
                </c:pt>
                <c:pt idx="7199">
                  <c:v>-2.5124599999999999</c:v>
                </c:pt>
                <c:pt idx="7200">
                  <c:v>-2.4662700000000002</c:v>
                </c:pt>
                <c:pt idx="7201">
                  <c:v>-2.1412</c:v>
                </c:pt>
                <c:pt idx="7202">
                  <c:v>#N/A</c:v>
                </c:pt>
                <c:pt idx="7203">
                  <c:v>-2.4301300000000001</c:v>
                </c:pt>
                <c:pt idx="7204">
                  <c:v>-2.5973099999999998</c:v>
                </c:pt>
                <c:pt idx="7205">
                  <c:v>-2.8701599999999998</c:v>
                </c:pt>
                <c:pt idx="7206">
                  <c:v>#N/A</c:v>
                </c:pt>
                <c:pt idx="7207">
                  <c:v>-3.4620500000000001</c:v>
                </c:pt>
                <c:pt idx="7208">
                  <c:v>-3.0360399999999998</c:v>
                </c:pt>
                <c:pt idx="7209">
                  <c:v>#N/A</c:v>
                </c:pt>
                <c:pt idx="7210">
                  <c:v>-2.8915999999999999</c:v>
                </c:pt>
                <c:pt idx="7211">
                  <c:v>-2.33548</c:v>
                </c:pt>
                <c:pt idx="7212">
                  <c:v>-2.2858299999999998</c:v>
                </c:pt>
                <c:pt idx="7213">
                  <c:v>#N/A</c:v>
                </c:pt>
                <c:pt idx="7214">
                  <c:v>-2.2510400000000002</c:v>
                </c:pt>
                <c:pt idx="7215">
                  <c:v>-2.8778600000000001</c:v>
                </c:pt>
                <c:pt idx="7216">
                  <c:v>-2.9386199999999998</c:v>
                </c:pt>
                <c:pt idx="7217">
                  <c:v>#N/A</c:v>
                </c:pt>
                <c:pt idx="7218">
                  <c:v>-3.6531899999999999</c:v>
                </c:pt>
                <c:pt idx="7219">
                  <c:v>-3.7175199999999999</c:v>
                </c:pt>
                <c:pt idx="7220">
                  <c:v>-2.9145500000000002</c:v>
                </c:pt>
                <c:pt idx="7221">
                  <c:v>#N/A</c:v>
                </c:pt>
                <c:pt idx="7222">
                  <c:v>-2.4500299999999999</c:v>
                </c:pt>
                <c:pt idx="7223">
                  <c:v>-2.7080700000000002</c:v>
                </c:pt>
                <c:pt idx="7224">
                  <c:v>-2.9716800000000001</c:v>
                </c:pt>
                <c:pt idx="7225">
                  <c:v>#N/A</c:v>
                </c:pt>
                <c:pt idx="7226">
                  <c:v>-2.1310699999999998</c:v>
                </c:pt>
                <c:pt idx="7227">
                  <c:v>-2.6881300000000001</c:v>
                </c:pt>
                <c:pt idx="7228">
                  <c:v>#N/A</c:v>
                </c:pt>
                <c:pt idx="7229">
                  <c:v>-2.6868699999999999</c:v>
                </c:pt>
                <c:pt idx="7230">
                  <c:v>#N/A</c:v>
                </c:pt>
                <c:pt idx="7231">
                  <c:v>-2.8000600000000002</c:v>
                </c:pt>
                <c:pt idx="7232">
                  <c:v>-2.4480400000000002</c:v>
                </c:pt>
                <c:pt idx="7233">
                  <c:v>#N/A</c:v>
                </c:pt>
                <c:pt idx="7234">
                  <c:v>-2.00678</c:v>
                </c:pt>
                <c:pt idx="7235">
                  <c:v>-1.99434</c:v>
                </c:pt>
                <c:pt idx="7236">
                  <c:v>-2.62636</c:v>
                </c:pt>
                <c:pt idx="7237">
                  <c:v>#N/A</c:v>
                </c:pt>
                <c:pt idx="7238">
                  <c:v>-2.5858500000000002</c:v>
                </c:pt>
                <c:pt idx="7239">
                  <c:v>-2.8897900000000001</c:v>
                </c:pt>
                <c:pt idx="7240">
                  <c:v>#N/A</c:v>
                </c:pt>
                <c:pt idx="7241">
                  <c:v>-3.0236499999999999</c:v>
                </c:pt>
                <c:pt idx="7242">
                  <c:v>-2.9386899999999998</c:v>
                </c:pt>
                <c:pt idx="7243">
                  <c:v>-2.2862399999999998</c:v>
                </c:pt>
                <c:pt idx="7244">
                  <c:v>#N/A</c:v>
                </c:pt>
                <c:pt idx="7245">
                  <c:v>-2.1239400000000002</c:v>
                </c:pt>
                <c:pt idx="7246">
                  <c:v>-1.6840599999999999</c:v>
                </c:pt>
                <c:pt idx="7247">
                  <c:v>-2.0992500000000001</c:v>
                </c:pt>
                <c:pt idx="7248">
                  <c:v>#N/A</c:v>
                </c:pt>
                <c:pt idx="7249">
                  <c:v>-2.5203099999999998</c:v>
                </c:pt>
                <c:pt idx="7250">
                  <c:v>-2.55355</c:v>
                </c:pt>
                <c:pt idx="7251">
                  <c:v>-2.39011</c:v>
                </c:pt>
                <c:pt idx="7252">
                  <c:v>#N/A</c:v>
                </c:pt>
                <c:pt idx="7253">
                  <c:v>-2.3927800000000001</c:v>
                </c:pt>
                <c:pt idx="7254">
                  <c:v>-2.4591699999999999</c:v>
                </c:pt>
                <c:pt idx="7255">
                  <c:v>-1.8900300000000001</c:v>
                </c:pt>
                <c:pt idx="7256">
                  <c:v>#N/A</c:v>
                </c:pt>
                <c:pt idx="7257">
                  <c:v>-1.78888</c:v>
                </c:pt>
                <c:pt idx="7258">
                  <c:v>-2.0815800000000002</c:v>
                </c:pt>
                <c:pt idx="7259">
                  <c:v>-2.0962100000000001</c:v>
                </c:pt>
                <c:pt idx="7260">
                  <c:v>#N/A</c:v>
                </c:pt>
                <c:pt idx="7261">
                  <c:v>-2.7054</c:v>
                </c:pt>
                <c:pt idx="7262">
                  <c:v>-2.38436</c:v>
                </c:pt>
                <c:pt idx="7263">
                  <c:v>-2.5552000000000001</c:v>
                </c:pt>
                <c:pt idx="7264">
                  <c:v>#N/A</c:v>
                </c:pt>
                <c:pt idx="7265">
                  <c:v>-2.3876900000000001</c:v>
                </c:pt>
                <c:pt idx="7266">
                  <c:v>-2.1020599999999998</c:v>
                </c:pt>
                <c:pt idx="7267">
                  <c:v>-2.10432</c:v>
                </c:pt>
                <c:pt idx="7268">
                  <c:v>#N/A</c:v>
                </c:pt>
                <c:pt idx="7269">
                  <c:v>-2.7237800000000001</c:v>
                </c:pt>
                <c:pt idx="7270">
                  <c:v>-2.9178299999999999</c:v>
                </c:pt>
                <c:pt idx="7271">
                  <c:v>-2.7704900000000001</c:v>
                </c:pt>
                <c:pt idx="7272">
                  <c:v>#N/A</c:v>
                </c:pt>
                <c:pt idx="7273">
                  <c:v>-2.1041099999999999</c:v>
                </c:pt>
                <c:pt idx="7274">
                  <c:v>-1.59253</c:v>
                </c:pt>
                <c:pt idx="7275">
                  <c:v>#N/A</c:v>
                </c:pt>
                <c:pt idx="7276">
                  <c:v>-1.54097</c:v>
                </c:pt>
                <c:pt idx="7277">
                  <c:v>-2.65455</c:v>
                </c:pt>
                <c:pt idx="7278">
                  <c:v>-2.5286599999999999</c:v>
                </c:pt>
                <c:pt idx="7279">
                  <c:v>#N/A</c:v>
                </c:pt>
                <c:pt idx="7280">
                  <c:v>-2.6477499999999998</c:v>
                </c:pt>
                <c:pt idx="7281">
                  <c:v>-2.8436300000000001</c:v>
                </c:pt>
                <c:pt idx="7282">
                  <c:v>-2.6333700000000002</c:v>
                </c:pt>
                <c:pt idx="7283">
                  <c:v>#N/A</c:v>
                </c:pt>
                <c:pt idx="7284">
                  <c:v>-3.0565500000000001</c:v>
                </c:pt>
                <c:pt idx="7285">
                  <c:v>-1.9748300000000001</c:v>
                </c:pt>
                <c:pt idx="7286">
                  <c:v>-1.53912</c:v>
                </c:pt>
                <c:pt idx="7287">
                  <c:v>#N/A</c:v>
                </c:pt>
                <c:pt idx="7288">
                  <c:v>-1.9568099999999999</c:v>
                </c:pt>
                <c:pt idx="7289">
                  <c:v>-2.5484399999999998</c:v>
                </c:pt>
                <c:pt idx="7290">
                  <c:v>-3.0808399999999998</c:v>
                </c:pt>
                <c:pt idx="7291">
                  <c:v>#N/A</c:v>
                </c:pt>
                <c:pt idx="7292">
                  <c:v>-2.9611700000000001</c:v>
                </c:pt>
                <c:pt idx="7293">
                  <c:v>-2.56067</c:v>
                </c:pt>
                <c:pt idx="7294">
                  <c:v>-2.1184099999999999</c:v>
                </c:pt>
                <c:pt idx="7295">
                  <c:v>#N/A</c:v>
                </c:pt>
                <c:pt idx="7296">
                  <c:v>-1.97736</c:v>
                </c:pt>
                <c:pt idx="7297">
                  <c:v>-1.54183</c:v>
                </c:pt>
                <c:pt idx="7298">
                  <c:v>-1.88775</c:v>
                </c:pt>
                <c:pt idx="7299">
                  <c:v>#N/A</c:v>
                </c:pt>
                <c:pt idx="7300">
                  <c:v>-2.9368599999999998</c:v>
                </c:pt>
                <c:pt idx="7301">
                  <c:v>#N/A</c:v>
                </c:pt>
                <c:pt idx="7302">
                  <c:v>-2.9799000000000002</c:v>
                </c:pt>
                <c:pt idx="7303">
                  <c:v>#N/A</c:v>
                </c:pt>
                <c:pt idx="7304">
                  <c:v>-2.8482400000000001</c:v>
                </c:pt>
                <c:pt idx="7305">
                  <c:v>-1.8573299999999999</c:v>
                </c:pt>
                <c:pt idx="7306">
                  <c:v>#N/A</c:v>
                </c:pt>
                <c:pt idx="7307">
                  <c:v>-2.0735700000000001</c:v>
                </c:pt>
                <c:pt idx="7308">
                  <c:v>-1.43401</c:v>
                </c:pt>
                <c:pt idx="7309">
                  <c:v>-1.59816</c:v>
                </c:pt>
                <c:pt idx="7310">
                  <c:v>#N/A</c:v>
                </c:pt>
                <c:pt idx="7311">
                  <c:v>-2.4019200000000001</c:v>
                </c:pt>
                <c:pt idx="7312">
                  <c:v>-3.2145999999999999</c:v>
                </c:pt>
                <c:pt idx="7313">
                  <c:v>-3.4660799999999998</c:v>
                </c:pt>
                <c:pt idx="7314">
                  <c:v>#N/A</c:v>
                </c:pt>
                <c:pt idx="7315">
                  <c:v>-2.5289600000000001</c:v>
                </c:pt>
                <c:pt idx="7316">
                  <c:v>-2.33873</c:v>
                </c:pt>
                <c:pt idx="7317">
                  <c:v>-2.10317</c:v>
                </c:pt>
                <c:pt idx="7318">
                  <c:v>#N/A</c:v>
                </c:pt>
                <c:pt idx="7319">
                  <c:v>-2.2582900000000001</c:v>
                </c:pt>
                <c:pt idx="7320">
                  <c:v>-2.0245099999999998</c:v>
                </c:pt>
                <c:pt idx="7321">
                  <c:v>-2.6338200000000001</c:v>
                </c:pt>
                <c:pt idx="7322">
                  <c:v>#N/A</c:v>
                </c:pt>
                <c:pt idx="7323">
                  <c:v>-2.48306</c:v>
                </c:pt>
                <c:pt idx="7324">
                  <c:v>-2.4939499999999999</c:v>
                </c:pt>
                <c:pt idx="7325">
                  <c:v>-2.6623100000000002</c:v>
                </c:pt>
                <c:pt idx="7326">
                  <c:v>#N/A</c:v>
                </c:pt>
                <c:pt idx="7327">
                  <c:v>-2.5235699999999999</c:v>
                </c:pt>
                <c:pt idx="7328">
                  <c:v>-2.11212</c:v>
                </c:pt>
                <c:pt idx="7329">
                  <c:v>-2.1743899999999998</c:v>
                </c:pt>
                <c:pt idx="7330">
                  <c:v>#N/A</c:v>
                </c:pt>
                <c:pt idx="7331">
                  <c:v>-2.52806</c:v>
                </c:pt>
                <c:pt idx="7332">
                  <c:v>-1.88348</c:v>
                </c:pt>
                <c:pt idx="7333">
                  <c:v>-2.0483799999999999</c:v>
                </c:pt>
                <c:pt idx="7334">
                  <c:v>#N/A</c:v>
                </c:pt>
                <c:pt idx="7335">
                  <c:v>-2.3645700000000001</c:v>
                </c:pt>
                <c:pt idx="7336">
                  <c:v>-2.1835399999999998</c:v>
                </c:pt>
                <c:pt idx="7337">
                  <c:v>#N/A</c:v>
                </c:pt>
                <c:pt idx="7338">
                  <c:v>-2.7507199999999998</c:v>
                </c:pt>
                <c:pt idx="7339">
                  <c:v>-2.5137100000000001</c:v>
                </c:pt>
                <c:pt idx="7340">
                  <c:v>-2.1881300000000001</c:v>
                </c:pt>
                <c:pt idx="7341">
                  <c:v>#N/A</c:v>
                </c:pt>
                <c:pt idx="7342">
                  <c:v>-2.6248399999999998</c:v>
                </c:pt>
                <c:pt idx="7343">
                  <c:v>-2.7192699999999999</c:v>
                </c:pt>
                <c:pt idx="7344">
                  <c:v>#N/A</c:v>
                </c:pt>
                <c:pt idx="7345">
                  <c:v>-3.1797300000000002</c:v>
                </c:pt>
                <c:pt idx="7346">
                  <c:v>-2.6142799999999999</c:v>
                </c:pt>
                <c:pt idx="7347">
                  <c:v>-2.3475999999999999</c:v>
                </c:pt>
                <c:pt idx="7348">
                  <c:v>#N/A</c:v>
                </c:pt>
                <c:pt idx="7349">
                  <c:v>-2.2963399999999998</c:v>
                </c:pt>
                <c:pt idx="7350">
                  <c:v>-2.76892</c:v>
                </c:pt>
                <c:pt idx="7351">
                  <c:v>-2.6480199999999998</c:v>
                </c:pt>
                <c:pt idx="7352">
                  <c:v>#N/A</c:v>
                </c:pt>
                <c:pt idx="7353">
                  <c:v>-2.5994199999999998</c:v>
                </c:pt>
                <c:pt idx="7354">
                  <c:v>-2.3766400000000001</c:v>
                </c:pt>
                <c:pt idx="7355">
                  <c:v>-2.40998</c:v>
                </c:pt>
                <c:pt idx="7356">
                  <c:v>#N/A</c:v>
                </c:pt>
                <c:pt idx="7357">
                  <c:v>-2.3440599999999998</c:v>
                </c:pt>
                <c:pt idx="7358">
                  <c:v>-1.7217</c:v>
                </c:pt>
                <c:pt idx="7359">
                  <c:v>-1.6590100000000001</c:v>
                </c:pt>
                <c:pt idx="7360">
                  <c:v>#N/A</c:v>
                </c:pt>
                <c:pt idx="7361">
                  <c:v>-2.3315399999999999</c:v>
                </c:pt>
                <c:pt idx="7362">
                  <c:v>-2.7187000000000001</c:v>
                </c:pt>
                <c:pt idx="7363">
                  <c:v>-2.79223</c:v>
                </c:pt>
                <c:pt idx="7364">
                  <c:v>#N/A</c:v>
                </c:pt>
                <c:pt idx="7365">
                  <c:v>-3.2913100000000002</c:v>
                </c:pt>
                <c:pt idx="7366">
                  <c:v>-3.1046200000000002</c:v>
                </c:pt>
                <c:pt idx="7367">
                  <c:v>-2.7510300000000001</c:v>
                </c:pt>
                <c:pt idx="7368">
                  <c:v>#N/A</c:v>
                </c:pt>
                <c:pt idx="7369">
                  <c:v>-1.9740500000000001</c:v>
                </c:pt>
                <c:pt idx="7370">
                  <c:v>-1.6143099999999999</c:v>
                </c:pt>
                <c:pt idx="7371">
                  <c:v>-1.80105</c:v>
                </c:pt>
                <c:pt idx="7372">
                  <c:v>#N/A</c:v>
                </c:pt>
                <c:pt idx="7373">
                  <c:v>-2.64682</c:v>
                </c:pt>
                <c:pt idx="7374">
                  <c:v>-3.1796199999999999</c:v>
                </c:pt>
                <c:pt idx="7375">
                  <c:v>#N/A</c:v>
                </c:pt>
                <c:pt idx="7376">
                  <c:v>-3.6169500000000001</c:v>
                </c:pt>
                <c:pt idx="7377">
                  <c:v>#N/A</c:v>
                </c:pt>
                <c:pt idx="7378">
                  <c:v>-3.07091</c:v>
                </c:pt>
                <c:pt idx="7379">
                  <c:v>-2.4760900000000001</c:v>
                </c:pt>
                <c:pt idx="7380">
                  <c:v>-1.81711</c:v>
                </c:pt>
                <c:pt idx="7381">
                  <c:v>#N/A</c:v>
                </c:pt>
                <c:pt idx="7382">
                  <c:v>-2.1866400000000001</c:v>
                </c:pt>
                <c:pt idx="7383">
                  <c:v>-2.5194800000000002</c:v>
                </c:pt>
                <c:pt idx="7384">
                  <c:v>-3.3905799999999999</c:v>
                </c:pt>
                <c:pt idx="7385">
                  <c:v>#N/A</c:v>
                </c:pt>
                <c:pt idx="7386">
                  <c:v>-3.6477599999999999</c:v>
                </c:pt>
                <c:pt idx="7387">
                  <c:v>-3.24987</c:v>
                </c:pt>
                <c:pt idx="7388">
                  <c:v>-3.0657700000000001</c:v>
                </c:pt>
                <c:pt idx="7389">
                  <c:v>#N/A</c:v>
                </c:pt>
                <c:pt idx="7390">
                  <c:v>-2.72566</c:v>
                </c:pt>
                <c:pt idx="7391">
                  <c:v>-2.4022700000000001</c:v>
                </c:pt>
                <c:pt idx="7392">
                  <c:v>#N/A</c:v>
                </c:pt>
                <c:pt idx="7393">
                  <c:v>-2.3093400000000002</c:v>
                </c:pt>
                <c:pt idx="7394">
                  <c:v>-3.1116600000000001</c:v>
                </c:pt>
                <c:pt idx="7395">
                  <c:v>-3.1329600000000002</c:v>
                </c:pt>
                <c:pt idx="7396">
                  <c:v>#N/A</c:v>
                </c:pt>
                <c:pt idx="7397">
                  <c:v>-2.99709</c:v>
                </c:pt>
                <c:pt idx="7398">
                  <c:v>-3.0322100000000001</c:v>
                </c:pt>
                <c:pt idx="7399">
                  <c:v>-2.8554400000000002</c:v>
                </c:pt>
                <c:pt idx="7400">
                  <c:v>#N/A</c:v>
                </c:pt>
                <c:pt idx="7401">
                  <c:v>-2.9125399999999999</c:v>
                </c:pt>
                <c:pt idx="7402">
                  <c:v>-3.3337300000000001</c:v>
                </c:pt>
                <c:pt idx="7403">
                  <c:v>-2.9006599999999998</c:v>
                </c:pt>
                <c:pt idx="7404">
                  <c:v>#N/A</c:v>
                </c:pt>
                <c:pt idx="7405">
                  <c:v>-2.6549900000000002</c:v>
                </c:pt>
                <c:pt idx="7406">
                  <c:v>-3.50258</c:v>
                </c:pt>
                <c:pt idx="7407">
                  <c:v>-3.2471700000000001</c:v>
                </c:pt>
                <c:pt idx="7408">
                  <c:v>#N/A</c:v>
                </c:pt>
                <c:pt idx="7409">
                  <c:v>-3.4106700000000001</c:v>
                </c:pt>
                <c:pt idx="7410">
                  <c:v>-2.6538599999999999</c:v>
                </c:pt>
                <c:pt idx="7411">
                  <c:v>-3.0257800000000001</c:v>
                </c:pt>
                <c:pt idx="7412">
                  <c:v>#N/A</c:v>
                </c:pt>
                <c:pt idx="7413">
                  <c:v>-2.9296700000000002</c:v>
                </c:pt>
                <c:pt idx="7414">
                  <c:v>-3.1733600000000002</c:v>
                </c:pt>
                <c:pt idx="7415">
                  <c:v>#N/A</c:v>
                </c:pt>
                <c:pt idx="7416">
                  <c:v>-2.99376</c:v>
                </c:pt>
                <c:pt idx="7417">
                  <c:v>-2.84646</c:v>
                </c:pt>
                <c:pt idx="7418">
                  <c:v>-2.7781799999999999</c:v>
                </c:pt>
                <c:pt idx="7419">
                  <c:v>#N/A</c:v>
                </c:pt>
                <c:pt idx="7420">
                  <c:v>-2.6324299999999998</c:v>
                </c:pt>
                <c:pt idx="7421">
                  <c:v>-2.50962</c:v>
                </c:pt>
                <c:pt idx="7422">
                  <c:v>-2.48163</c:v>
                </c:pt>
                <c:pt idx="7423">
                  <c:v>#N/A</c:v>
                </c:pt>
                <c:pt idx="7424">
                  <c:v>-2.9639000000000002</c:v>
                </c:pt>
                <c:pt idx="7425">
                  <c:v>-3.4285399999999999</c:v>
                </c:pt>
                <c:pt idx="7426">
                  <c:v>-3.1597</c:v>
                </c:pt>
                <c:pt idx="7427">
                  <c:v>#N/A</c:v>
                </c:pt>
                <c:pt idx="7428">
                  <c:v>-3.05131</c:v>
                </c:pt>
                <c:pt idx="7429">
                  <c:v>-2.5350299999999999</c:v>
                </c:pt>
                <c:pt idx="7430">
                  <c:v>#N/A</c:v>
                </c:pt>
                <c:pt idx="7431">
                  <c:v>-2.3651</c:v>
                </c:pt>
                <c:pt idx="7432">
                  <c:v>-2.1287400000000001</c:v>
                </c:pt>
                <c:pt idx="7433">
                  <c:v>-2.6877499999999999</c:v>
                </c:pt>
                <c:pt idx="7434">
                  <c:v>#N/A</c:v>
                </c:pt>
                <c:pt idx="7435">
                  <c:v>-2.26797</c:v>
                </c:pt>
                <c:pt idx="7436">
                  <c:v>-3.1852499999999999</c:v>
                </c:pt>
                <c:pt idx="7437">
                  <c:v>-3.2062300000000001</c:v>
                </c:pt>
                <c:pt idx="7438">
                  <c:v>#N/A</c:v>
                </c:pt>
                <c:pt idx="7439">
                  <c:v>-3.5893199999999998</c:v>
                </c:pt>
                <c:pt idx="7440">
                  <c:v>-2.8549500000000001</c:v>
                </c:pt>
                <c:pt idx="7441">
                  <c:v>-2.35318</c:v>
                </c:pt>
                <c:pt idx="7442">
                  <c:v>#N/A</c:v>
                </c:pt>
                <c:pt idx="7443">
                  <c:v>-2.1678700000000002</c:v>
                </c:pt>
                <c:pt idx="7444">
                  <c:v>-2.2862399999999998</c:v>
                </c:pt>
                <c:pt idx="7445">
                  <c:v>-2.43323</c:v>
                </c:pt>
                <c:pt idx="7446">
                  <c:v>#N/A</c:v>
                </c:pt>
                <c:pt idx="7447">
                  <c:v>-2.6907000000000001</c:v>
                </c:pt>
                <c:pt idx="7448">
                  <c:v>-3.34613</c:v>
                </c:pt>
                <c:pt idx="7449">
                  <c:v>-3.21</c:v>
                </c:pt>
                <c:pt idx="7450">
                  <c:v>#N/A</c:v>
                </c:pt>
                <c:pt idx="7451">
                  <c:v>-2.6526800000000001</c:v>
                </c:pt>
                <c:pt idx="7452">
                  <c:v>#N/A</c:v>
                </c:pt>
                <c:pt idx="7453">
                  <c:v>-1.90262</c:v>
                </c:pt>
                <c:pt idx="7454">
                  <c:v>-2.1436099999999998</c:v>
                </c:pt>
                <c:pt idx="7455">
                  <c:v>#N/A</c:v>
                </c:pt>
                <c:pt idx="7456">
                  <c:v>-2.4298000000000002</c:v>
                </c:pt>
                <c:pt idx="7457">
                  <c:v>-2.5535199999999998</c:v>
                </c:pt>
                <c:pt idx="7458">
                  <c:v>-2.7264699999999999</c:v>
                </c:pt>
                <c:pt idx="7459">
                  <c:v>#N/A</c:v>
                </c:pt>
                <c:pt idx="7460">
                  <c:v>-2.931</c:v>
                </c:pt>
                <c:pt idx="7461">
                  <c:v>-2.8020999999999998</c:v>
                </c:pt>
                <c:pt idx="7462">
                  <c:v>#N/A</c:v>
                </c:pt>
                <c:pt idx="7463">
                  <c:v>-2.31474</c:v>
                </c:pt>
                <c:pt idx="7464">
                  <c:v>-2.1959599999999999</c:v>
                </c:pt>
                <c:pt idx="7465">
                  <c:v>-2.3513199999999999</c:v>
                </c:pt>
                <c:pt idx="7466">
                  <c:v>#N/A</c:v>
                </c:pt>
                <c:pt idx="7467">
                  <c:v>-3.5974699999999999</c:v>
                </c:pt>
                <c:pt idx="7468">
                  <c:v>-2.7685200000000001</c:v>
                </c:pt>
                <c:pt idx="7469">
                  <c:v>#N/A</c:v>
                </c:pt>
                <c:pt idx="7470">
                  <c:v>-3.0553499999999998</c:v>
                </c:pt>
                <c:pt idx="7471">
                  <c:v>-3.0190600000000001</c:v>
                </c:pt>
                <c:pt idx="7472">
                  <c:v>-2.9590800000000002</c:v>
                </c:pt>
                <c:pt idx="7473">
                  <c:v>#N/A</c:v>
                </c:pt>
                <c:pt idx="7474">
                  <c:v>-2.4727800000000002</c:v>
                </c:pt>
                <c:pt idx="7475">
                  <c:v>-2.1501100000000002</c:v>
                </c:pt>
                <c:pt idx="7476">
                  <c:v>-2.2539199999999999</c:v>
                </c:pt>
                <c:pt idx="7477">
                  <c:v>#N/A</c:v>
                </c:pt>
                <c:pt idx="7478">
                  <c:v>-2.3231999999999999</c:v>
                </c:pt>
                <c:pt idx="7479">
                  <c:v>-3.20804</c:v>
                </c:pt>
                <c:pt idx="7480">
                  <c:v>-3.05402</c:v>
                </c:pt>
                <c:pt idx="7481">
                  <c:v>#N/A</c:v>
                </c:pt>
                <c:pt idx="7482">
                  <c:v>-2.5179999999999998</c:v>
                </c:pt>
                <c:pt idx="7483">
                  <c:v>#N/A</c:v>
                </c:pt>
                <c:pt idx="7484">
                  <c:v>-2.2309800000000002</c:v>
                </c:pt>
                <c:pt idx="7485">
                  <c:v>-2.4678300000000002</c:v>
                </c:pt>
                <c:pt idx="7486">
                  <c:v>#N/A</c:v>
                </c:pt>
                <c:pt idx="7487">
                  <c:v>-2.0672999999999999</c:v>
                </c:pt>
                <c:pt idx="7488">
                  <c:v>-2.7653400000000001</c:v>
                </c:pt>
                <c:pt idx="7489">
                  <c:v>#N/A</c:v>
                </c:pt>
                <c:pt idx="7490">
                  <c:v>-3.0817299999999999</c:v>
                </c:pt>
                <c:pt idx="7491">
                  <c:v>-3.1179299999999999</c:v>
                </c:pt>
                <c:pt idx="7492">
                  <c:v>-2.7229100000000002</c:v>
                </c:pt>
                <c:pt idx="7493">
                  <c:v>#N/A</c:v>
                </c:pt>
                <c:pt idx="7494">
                  <c:v>-2.6735600000000002</c:v>
                </c:pt>
                <c:pt idx="7495">
                  <c:v>-1.67154</c:v>
                </c:pt>
                <c:pt idx="7496">
                  <c:v>#N/A</c:v>
                </c:pt>
                <c:pt idx="7497">
                  <c:v>-2.5535899999999998</c:v>
                </c:pt>
                <c:pt idx="7498">
                  <c:v>-2.8448000000000002</c:v>
                </c:pt>
                <c:pt idx="7499">
                  <c:v>-2.77128</c:v>
                </c:pt>
                <c:pt idx="7500">
                  <c:v>#N/A</c:v>
                </c:pt>
                <c:pt idx="7501">
                  <c:v>-3.1531500000000001</c:v>
                </c:pt>
                <c:pt idx="7502">
                  <c:v>-2.8412999999999999</c:v>
                </c:pt>
                <c:pt idx="7503">
                  <c:v>-2.6882999999999999</c:v>
                </c:pt>
                <c:pt idx="7504">
                  <c:v>#N/A</c:v>
                </c:pt>
                <c:pt idx="7505">
                  <c:v>-2.4704100000000002</c:v>
                </c:pt>
                <c:pt idx="7506">
                  <c:v>-2.4983900000000001</c:v>
                </c:pt>
                <c:pt idx="7507">
                  <c:v>-2.8603900000000002</c:v>
                </c:pt>
                <c:pt idx="7508">
                  <c:v>#N/A</c:v>
                </c:pt>
                <c:pt idx="7509">
                  <c:v>-3.3205399999999998</c:v>
                </c:pt>
                <c:pt idx="7510">
                  <c:v>-2.9081299999999999</c:v>
                </c:pt>
                <c:pt idx="7511">
                  <c:v>-3.1319900000000001</c:v>
                </c:pt>
                <c:pt idx="7512">
                  <c:v>#N/A</c:v>
                </c:pt>
                <c:pt idx="7513">
                  <c:v>-2.47092</c:v>
                </c:pt>
                <c:pt idx="7514">
                  <c:v>-2.2854999999999999</c:v>
                </c:pt>
                <c:pt idx="7515">
                  <c:v>-2.2805399999999998</c:v>
                </c:pt>
                <c:pt idx="7516">
                  <c:v>#N/A</c:v>
                </c:pt>
                <c:pt idx="7517">
                  <c:v>-2.2132299999999998</c:v>
                </c:pt>
                <c:pt idx="7518">
                  <c:v>-2.1918799999999998</c:v>
                </c:pt>
                <c:pt idx="7519">
                  <c:v>-3.0477500000000002</c:v>
                </c:pt>
                <c:pt idx="7520">
                  <c:v>#N/A</c:v>
                </c:pt>
                <c:pt idx="7521">
                  <c:v>-3.5893700000000002</c:v>
                </c:pt>
                <c:pt idx="7522">
                  <c:v>-3.8008600000000001</c:v>
                </c:pt>
                <c:pt idx="7523">
                  <c:v>-2.9878800000000001</c:v>
                </c:pt>
                <c:pt idx="7524">
                  <c:v>#N/A</c:v>
                </c:pt>
                <c:pt idx="7525">
                  <c:v>-2.8005599999999999</c:v>
                </c:pt>
                <c:pt idx="7526">
                  <c:v>-2.4232399999999998</c:v>
                </c:pt>
                <c:pt idx="7527">
                  <c:v>#N/A</c:v>
                </c:pt>
                <c:pt idx="7528">
                  <c:v>-2.9197899999999999</c:v>
                </c:pt>
                <c:pt idx="7529">
                  <c:v>#N/A</c:v>
                </c:pt>
                <c:pt idx="7530">
                  <c:v>-3.0260600000000002</c:v>
                </c:pt>
                <c:pt idx="7531">
                  <c:v>-3.5966200000000002</c:v>
                </c:pt>
                <c:pt idx="7532">
                  <c:v>#N/A</c:v>
                </c:pt>
                <c:pt idx="7533">
                  <c:v>-3.5587800000000001</c:v>
                </c:pt>
                <c:pt idx="7534">
                  <c:v>-2.5941299999999998</c:v>
                </c:pt>
                <c:pt idx="7535">
                  <c:v>#N/A</c:v>
                </c:pt>
                <c:pt idx="7536">
                  <c:v>-2.1476000000000002</c:v>
                </c:pt>
                <c:pt idx="7537">
                  <c:v>-2.0503300000000002</c:v>
                </c:pt>
                <c:pt idx="7538">
                  <c:v>-1.7291000000000001</c:v>
                </c:pt>
                <c:pt idx="7539">
                  <c:v>#N/A</c:v>
                </c:pt>
                <c:pt idx="7540">
                  <c:v>-2.17177</c:v>
                </c:pt>
                <c:pt idx="7541">
                  <c:v>-2.3050199999999998</c:v>
                </c:pt>
                <c:pt idx="7542">
                  <c:v>-3.0158499999999999</c:v>
                </c:pt>
                <c:pt idx="7543">
                  <c:v>#N/A</c:v>
                </c:pt>
                <c:pt idx="7544">
                  <c:v>-2.40734</c:v>
                </c:pt>
                <c:pt idx="7545">
                  <c:v>-2.72424</c:v>
                </c:pt>
                <c:pt idx="7546">
                  <c:v>-2.1816399999999998</c:v>
                </c:pt>
                <c:pt idx="7547">
                  <c:v>#N/A</c:v>
                </c:pt>
                <c:pt idx="7548">
                  <c:v>-2.16622</c:v>
                </c:pt>
                <c:pt idx="7549">
                  <c:v>-2.2175600000000002</c:v>
                </c:pt>
                <c:pt idx="7550">
                  <c:v>-2.8763899999999998</c:v>
                </c:pt>
                <c:pt idx="7551">
                  <c:v>#N/A</c:v>
                </c:pt>
                <c:pt idx="7552">
                  <c:v>-3.0615700000000001</c:v>
                </c:pt>
                <c:pt idx="7553">
                  <c:v>-2.6370499999999999</c:v>
                </c:pt>
                <c:pt idx="7554">
                  <c:v>-2.71712</c:v>
                </c:pt>
                <c:pt idx="7555">
                  <c:v>#N/A</c:v>
                </c:pt>
                <c:pt idx="7556">
                  <c:v>-2.4710899999999998</c:v>
                </c:pt>
                <c:pt idx="7557">
                  <c:v>-2.7776700000000001</c:v>
                </c:pt>
                <c:pt idx="7558">
                  <c:v>#N/A</c:v>
                </c:pt>
                <c:pt idx="7559">
                  <c:v>-2.2989199999999999</c:v>
                </c:pt>
                <c:pt idx="7560">
                  <c:v>-2.5454300000000001</c:v>
                </c:pt>
                <c:pt idx="7561">
                  <c:v>-2.9699499999999999</c:v>
                </c:pt>
                <c:pt idx="7562">
                  <c:v>#N/A</c:v>
                </c:pt>
                <c:pt idx="7563">
                  <c:v>-2.4197600000000001</c:v>
                </c:pt>
                <c:pt idx="7564">
                  <c:v>-2.6086100000000001</c:v>
                </c:pt>
                <c:pt idx="7565">
                  <c:v>#N/A</c:v>
                </c:pt>
                <c:pt idx="7566">
                  <c:v>-2.37825</c:v>
                </c:pt>
                <c:pt idx="7567">
                  <c:v>-2.35955</c:v>
                </c:pt>
                <c:pt idx="7568">
                  <c:v>-1.8860399999999999</c:v>
                </c:pt>
                <c:pt idx="7569">
                  <c:v>#N/A</c:v>
                </c:pt>
                <c:pt idx="7570">
                  <c:v>-2.49546</c:v>
                </c:pt>
                <c:pt idx="7571">
                  <c:v>-2.85853</c:v>
                </c:pt>
                <c:pt idx="7572">
                  <c:v>#N/A</c:v>
                </c:pt>
                <c:pt idx="7573">
                  <c:v>-3.34029</c:v>
                </c:pt>
                <c:pt idx="7574">
                  <c:v>-2.7571699999999999</c:v>
                </c:pt>
                <c:pt idx="7575">
                  <c:v>-2.6922000000000001</c:v>
                </c:pt>
                <c:pt idx="7576">
                  <c:v>#N/A</c:v>
                </c:pt>
                <c:pt idx="7577">
                  <c:v>-2.2365200000000001</c:v>
                </c:pt>
                <c:pt idx="7578">
                  <c:v>-1.9987699999999999</c:v>
                </c:pt>
                <c:pt idx="7579">
                  <c:v>-2.2209599999999998</c:v>
                </c:pt>
                <c:pt idx="7580">
                  <c:v>#N/A</c:v>
                </c:pt>
                <c:pt idx="7581">
                  <c:v>-2.1377299999999999</c:v>
                </c:pt>
                <c:pt idx="7582">
                  <c:v>-3.5137900000000002</c:v>
                </c:pt>
                <c:pt idx="7583">
                  <c:v>#N/A</c:v>
                </c:pt>
                <c:pt idx="7584">
                  <c:v>-3.6220699999999999</c:v>
                </c:pt>
                <c:pt idx="7585">
                  <c:v>-3.2416299999999998</c:v>
                </c:pt>
                <c:pt idx="7586">
                  <c:v>-2.58758</c:v>
                </c:pt>
                <c:pt idx="7587">
                  <c:v>#N/A</c:v>
                </c:pt>
                <c:pt idx="7588">
                  <c:v>-2.69516</c:v>
                </c:pt>
                <c:pt idx="7589">
                  <c:v>-2.48956</c:v>
                </c:pt>
                <c:pt idx="7590">
                  <c:v>-2.38198</c:v>
                </c:pt>
                <c:pt idx="7591">
                  <c:v>#N/A</c:v>
                </c:pt>
                <c:pt idx="7592">
                  <c:v>-2.9772099999999999</c:v>
                </c:pt>
                <c:pt idx="7593">
                  <c:v>-3.7767400000000002</c:v>
                </c:pt>
                <c:pt idx="7594">
                  <c:v>-3.86964</c:v>
                </c:pt>
                <c:pt idx="7595">
                  <c:v>#N/A</c:v>
                </c:pt>
                <c:pt idx="7596">
                  <c:v>-3.93493</c:v>
                </c:pt>
                <c:pt idx="7597">
                  <c:v>-3.4001800000000002</c:v>
                </c:pt>
                <c:pt idx="7598">
                  <c:v>-2.5622600000000002</c:v>
                </c:pt>
                <c:pt idx="7599">
                  <c:v>#N/A</c:v>
                </c:pt>
                <c:pt idx="7600">
                  <c:v>-1.88504</c:v>
                </c:pt>
                <c:pt idx="7601">
                  <c:v>-2.2571599999999998</c:v>
                </c:pt>
                <c:pt idx="7602">
                  <c:v>#N/A</c:v>
                </c:pt>
                <c:pt idx="7603">
                  <c:v>-2.9666199999999998</c:v>
                </c:pt>
                <c:pt idx="7604">
                  <c:v>#N/A</c:v>
                </c:pt>
                <c:pt idx="7605">
                  <c:v>-3.89758</c:v>
                </c:pt>
                <c:pt idx="7606">
                  <c:v>-3.3648500000000001</c:v>
                </c:pt>
                <c:pt idx="7607">
                  <c:v>#N/A</c:v>
                </c:pt>
                <c:pt idx="7608">
                  <c:v>-3.3393600000000001</c:v>
                </c:pt>
                <c:pt idx="7609">
                  <c:v>-2.7749100000000002</c:v>
                </c:pt>
                <c:pt idx="7610">
                  <c:v>-2.6898900000000001</c:v>
                </c:pt>
                <c:pt idx="7611">
                  <c:v>#N/A</c:v>
                </c:pt>
                <c:pt idx="7612">
                  <c:v>-2.5195699999999999</c:v>
                </c:pt>
                <c:pt idx="7613">
                  <c:v>-3.1343100000000002</c:v>
                </c:pt>
                <c:pt idx="7614">
                  <c:v>-3.4173499999999999</c:v>
                </c:pt>
                <c:pt idx="7615">
                  <c:v>#N/A</c:v>
                </c:pt>
                <c:pt idx="7616">
                  <c:v>-3.9225699999999999</c:v>
                </c:pt>
                <c:pt idx="7617">
                  <c:v>-3.4574799999999999</c:v>
                </c:pt>
                <c:pt idx="7618">
                  <c:v>-3.6379600000000001</c:v>
                </c:pt>
                <c:pt idx="7619">
                  <c:v>#N/A</c:v>
                </c:pt>
                <c:pt idx="7620">
                  <c:v>-2.9009800000000001</c:v>
                </c:pt>
                <c:pt idx="7621">
                  <c:v>-2.6892499999999999</c:v>
                </c:pt>
                <c:pt idx="7622">
                  <c:v>#N/A</c:v>
                </c:pt>
                <c:pt idx="7623">
                  <c:v>-2.8168299999999999</c:v>
                </c:pt>
                <c:pt idx="7624">
                  <c:v>-3.11442</c:v>
                </c:pt>
                <c:pt idx="7625">
                  <c:v>-3.65388</c:v>
                </c:pt>
                <c:pt idx="7626">
                  <c:v>#N/A</c:v>
                </c:pt>
                <c:pt idx="7627">
                  <c:v>-3.6925599999999998</c:v>
                </c:pt>
                <c:pt idx="7628">
                  <c:v>-3.28857</c:v>
                </c:pt>
                <c:pt idx="7629">
                  <c:v>-3.0900799999999999</c:v>
                </c:pt>
                <c:pt idx="7630">
                  <c:v>#N/A</c:v>
                </c:pt>
                <c:pt idx="7631">
                  <c:v>-3.1700300000000001</c:v>
                </c:pt>
                <c:pt idx="7632">
                  <c:v>-3.3851399999999998</c:v>
                </c:pt>
                <c:pt idx="7633">
                  <c:v>-3.0868899999999999</c:v>
                </c:pt>
                <c:pt idx="7634">
                  <c:v>#N/A</c:v>
                </c:pt>
                <c:pt idx="7635">
                  <c:v>-3.5398100000000001</c:v>
                </c:pt>
                <c:pt idx="7636">
                  <c:v>-3.3062100000000001</c:v>
                </c:pt>
                <c:pt idx="7637">
                  <c:v>-3.5625800000000001</c:v>
                </c:pt>
                <c:pt idx="7638">
                  <c:v>#N/A</c:v>
                </c:pt>
                <c:pt idx="7639">
                  <c:v>-3.3499699999999999</c:v>
                </c:pt>
                <c:pt idx="7640">
                  <c:v>-3.0058799999999999</c:v>
                </c:pt>
                <c:pt idx="7641">
                  <c:v>#N/A</c:v>
                </c:pt>
                <c:pt idx="7642">
                  <c:v>-3.0789900000000001</c:v>
                </c:pt>
                <c:pt idx="7643">
                  <c:v>-3.2894199999999998</c:v>
                </c:pt>
                <c:pt idx="7644">
                  <c:v>-3.6581000000000001</c:v>
                </c:pt>
                <c:pt idx="7645">
                  <c:v>#N/A</c:v>
                </c:pt>
                <c:pt idx="7646">
                  <c:v>-3.2749799999999998</c:v>
                </c:pt>
                <c:pt idx="7647">
                  <c:v>-3.3590900000000001</c:v>
                </c:pt>
                <c:pt idx="7648">
                  <c:v>-3.01709</c:v>
                </c:pt>
                <c:pt idx="7649">
                  <c:v>#N/A</c:v>
                </c:pt>
                <c:pt idx="7650">
                  <c:v>-3.3402699999999999</c:v>
                </c:pt>
                <c:pt idx="7651">
                  <c:v>-2.7390400000000001</c:v>
                </c:pt>
                <c:pt idx="7652">
                  <c:v>-2.9479500000000001</c:v>
                </c:pt>
                <c:pt idx="7653">
                  <c:v>#N/A</c:v>
                </c:pt>
                <c:pt idx="7654">
                  <c:v>-3.34789</c:v>
                </c:pt>
                <c:pt idx="7655">
                  <c:v>-3.1198199999999998</c:v>
                </c:pt>
                <c:pt idx="7656">
                  <c:v>-3.58127</c:v>
                </c:pt>
                <c:pt idx="7657">
                  <c:v>#N/A</c:v>
                </c:pt>
                <c:pt idx="7658">
                  <c:v>-3.13754</c:v>
                </c:pt>
                <c:pt idx="7659">
                  <c:v>-3.32294</c:v>
                </c:pt>
                <c:pt idx="7660">
                  <c:v>-3.25515</c:v>
                </c:pt>
                <c:pt idx="7661">
                  <c:v>#N/A</c:v>
                </c:pt>
                <c:pt idx="7662">
                  <c:v>-3.3253200000000001</c:v>
                </c:pt>
                <c:pt idx="7663">
                  <c:v>-2.8807200000000002</c:v>
                </c:pt>
                <c:pt idx="7664">
                  <c:v>-3.0348000000000002</c:v>
                </c:pt>
                <c:pt idx="7665">
                  <c:v>#N/A</c:v>
                </c:pt>
                <c:pt idx="7666">
                  <c:v>-3.18405</c:v>
                </c:pt>
                <c:pt idx="7667">
                  <c:v>-3.2882099999999999</c:v>
                </c:pt>
                <c:pt idx="7668">
                  <c:v>-2.8635899999999999</c:v>
                </c:pt>
                <c:pt idx="7669">
                  <c:v>#N/A</c:v>
                </c:pt>
                <c:pt idx="7670">
                  <c:v>-2.6698499999999998</c:v>
                </c:pt>
                <c:pt idx="7671">
                  <c:v>-1.70082</c:v>
                </c:pt>
                <c:pt idx="7672">
                  <c:v>#N/A</c:v>
                </c:pt>
                <c:pt idx="7673">
                  <c:v>-1.5256799999999999</c:v>
                </c:pt>
                <c:pt idx="7674">
                  <c:v>-2.38679</c:v>
                </c:pt>
                <c:pt idx="7675">
                  <c:v>-2.0999099999999999</c:v>
                </c:pt>
                <c:pt idx="7676">
                  <c:v>#N/A</c:v>
                </c:pt>
                <c:pt idx="7677">
                  <c:v>-3.11185</c:v>
                </c:pt>
                <c:pt idx="7678">
                  <c:v>-3.19563</c:v>
                </c:pt>
                <c:pt idx="7679">
                  <c:v>-3.6161799999999999</c:v>
                </c:pt>
                <c:pt idx="7680">
                  <c:v>#N/A</c:v>
                </c:pt>
                <c:pt idx="7681">
                  <c:v>-2.45709</c:v>
                </c:pt>
                <c:pt idx="7682">
                  <c:v>-2.02481</c:v>
                </c:pt>
                <c:pt idx="7683">
                  <c:v>-1.60869</c:v>
                </c:pt>
                <c:pt idx="7684">
                  <c:v>#N/A</c:v>
                </c:pt>
                <c:pt idx="7685">
                  <c:v>-1.7282599999999999</c:v>
                </c:pt>
                <c:pt idx="7686">
                  <c:v>-2.52454</c:v>
                </c:pt>
                <c:pt idx="7687">
                  <c:v>-2.4610400000000001</c:v>
                </c:pt>
                <c:pt idx="7688">
                  <c:v>#N/A</c:v>
                </c:pt>
                <c:pt idx="7689">
                  <c:v>-2.9847100000000002</c:v>
                </c:pt>
                <c:pt idx="7690">
                  <c:v>-3.1250499999999999</c:v>
                </c:pt>
                <c:pt idx="7691">
                  <c:v>-3.37873</c:v>
                </c:pt>
                <c:pt idx="7692">
                  <c:v>#N/A</c:v>
                </c:pt>
                <c:pt idx="7693">
                  <c:v>-2.4764900000000001</c:v>
                </c:pt>
                <c:pt idx="7694">
                  <c:v>-1.9937400000000001</c:v>
                </c:pt>
                <c:pt idx="7695">
                  <c:v>-2.4132699999999998</c:v>
                </c:pt>
                <c:pt idx="7696">
                  <c:v>#N/A</c:v>
                </c:pt>
                <c:pt idx="7697">
                  <c:v>-1.99594</c:v>
                </c:pt>
                <c:pt idx="7698">
                  <c:v>-2.1373600000000001</c:v>
                </c:pt>
                <c:pt idx="7699">
                  <c:v>#N/A</c:v>
                </c:pt>
                <c:pt idx="7700">
                  <c:v>-2.6860599999999999</c:v>
                </c:pt>
                <c:pt idx="7701">
                  <c:v>-2.8201299999999998</c:v>
                </c:pt>
                <c:pt idx="7702">
                  <c:v>-2.7260599999999999</c:v>
                </c:pt>
                <c:pt idx="7703">
                  <c:v>#N/A</c:v>
                </c:pt>
                <c:pt idx="7704">
                  <c:v>-2.94685</c:v>
                </c:pt>
                <c:pt idx="7705">
                  <c:v>-2.3702700000000001</c:v>
                </c:pt>
                <c:pt idx="7706">
                  <c:v>-2.3332799999999998</c:v>
                </c:pt>
                <c:pt idx="7707">
                  <c:v>#N/A</c:v>
                </c:pt>
                <c:pt idx="7708">
                  <c:v>-2.4051900000000002</c:v>
                </c:pt>
                <c:pt idx="7709">
                  <c:v>-2.90395</c:v>
                </c:pt>
                <c:pt idx="7710">
                  <c:v>#N/A</c:v>
                </c:pt>
                <c:pt idx="7711">
                  <c:v>-2.4885999999999999</c:v>
                </c:pt>
                <c:pt idx="7712">
                  <c:v>-2.5157400000000001</c:v>
                </c:pt>
                <c:pt idx="7713">
                  <c:v>-2.5501800000000001</c:v>
                </c:pt>
                <c:pt idx="7714">
                  <c:v>#N/A</c:v>
                </c:pt>
                <c:pt idx="7715">
                  <c:v>-2.9196300000000002</c:v>
                </c:pt>
                <c:pt idx="7716">
                  <c:v>-3.7380200000000001</c:v>
                </c:pt>
                <c:pt idx="7717">
                  <c:v>-3.0456699999999999</c:v>
                </c:pt>
                <c:pt idx="7718">
                  <c:v>#N/A</c:v>
                </c:pt>
                <c:pt idx="7719">
                  <c:v>-2.9817</c:v>
                </c:pt>
                <c:pt idx="7720">
                  <c:v>-3.0205799999999998</c:v>
                </c:pt>
                <c:pt idx="7721">
                  <c:v>-3.3372199999999999</c:v>
                </c:pt>
                <c:pt idx="7722">
                  <c:v>#N/A</c:v>
                </c:pt>
                <c:pt idx="7723">
                  <c:v>-2.7626200000000001</c:v>
                </c:pt>
                <c:pt idx="7724">
                  <c:v>-2.1586799999999999</c:v>
                </c:pt>
                <c:pt idx="7725">
                  <c:v>-2.78118</c:v>
                </c:pt>
                <c:pt idx="7726">
                  <c:v>#N/A</c:v>
                </c:pt>
                <c:pt idx="7727">
                  <c:v>-3.2235</c:v>
                </c:pt>
                <c:pt idx="7728">
                  <c:v>-3.1385999999999998</c:v>
                </c:pt>
                <c:pt idx="7729">
                  <c:v>-3.5862799999999999</c:v>
                </c:pt>
                <c:pt idx="7730">
                  <c:v>#N/A</c:v>
                </c:pt>
                <c:pt idx="7731">
                  <c:v>-3.1708799999999999</c:v>
                </c:pt>
                <c:pt idx="7732">
                  <c:v>-3.24396</c:v>
                </c:pt>
                <c:pt idx="7733">
                  <c:v>#N/A</c:v>
                </c:pt>
                <c:pt idx="7734">
                  <c:v>-2.5420699999999998</c:v>
                </c:pt>
                <c:pt idx="7735">
                  <c:v>-2.7022200000000001</c:v>
                </c:pt>
                <c:pt idx="7736">
                  <c:v>-1.915</c:v>
                </c:pt>
                <c:pt idx="7737">
                  <c:v>#N/A</c:v>
                </c:pt>
                <c:pt idx="7738">
                  <c:v>-2.1606700000000001</c:v>
                </c:pt>
                <c:pt idx="7739">
                  <c:v>-3.68032</c:v>
                </c:pt>
                <c:pt idx="7740">
                  <c:v>-3.8564600000000002</c:v>
                </c:pt>
                <c:pt idx="7741">
                  <c:v>#N/A</c:v>
                </c:pt>
                <c:pt idx="7742">
                  <c:v>-3.5514999999999999</c:v>
                </c:pt>
                <c:pt idx="7743">
                  <c:v>-3.6614800000000001</c:v>
                </c:pt>
                <c:pt idx="7744">
                  <c:v>-2.6855699999999998</c:v>
                </c:pt>
                <c:pt idx="7745">
                  <c:v>#N/A</c:v>
                </c:pt>
                <c:pt idx="7746">
                  <c:v>-2.45424</c:v>
                </c:pt>
                <c:pt idx="7747">
                  <c:v>-2.2697600000000002</c:v>
                </c:pt>
                <c:pt idx="7748">
                  <c:v>-2.1713800000000001</c:v>
                </c:pt>
                <c:pt idx="7749">
                  <c:v>#N/A</c:v>
                </c:pt>
                <c:pt idx="7750">
                  <c:v>-3.0374500000000002</c:v>
                </c:pt>
                <c:pt idx="7751">
                  <c:v>-3.7433999999999998</c:v>
                </c:pt>
                <c:pt idx="7752">
                  <c:v>#N/A</c:v>
                </c:pt>
                <c:pt idx="7753">
                  <c:v>-3.6827000000000001</c:v>
                </c:pt>
                <c:pt idx="7754">
                  <c:v>-3.4067400000000001</c:v>
                </c:pt>
                <c:pt idx="7755">
                  <c:v>#N/A</c:v>
                </c:pt>
                <c:pt idx="7756">
                  <c:v>-3.1917</c:v>
                </c:pt>
                <c:pt idx="7757">
                  <c:v>-2.57917</c:v>
                </c:pt>
                <c:pt idx="7758">
                  <c:v>#N/A</c:v>
                </c:pt>
                <c:pt idx="7759">
                  <c:v>-2.6273</c:v>
                </c:pt>
                <c:pt idx="7760">
                  <c:v>-2.67117</c:v>
                </c:pt>
                <c:pt idx="7761">
                  <c:v>-3.1233399999999998</c:v>
                </c:pt>
                <c:pt idx="7762">
                  <c:v>#N/A</c:v>
                </c:pt>
                <c:pt idx="7763">
                  <c:v>-3.32335</c:v>
                </c:pt>
                <c:pt idx="7764">
                  <c:v>-3.2356099999999999</c:v>
                </c:pt>
                <c:pt idx="7765">
                  <c:v>-2.9121000000000001</c:v>
                </c:pt>
                <c:pt idx="7766">
                  <c:v>#N/A</c:v>
                </c:pt>
                <c:pt idx="7767">
                  <c:v>-2.6337199999999998</c:v>
                </c:pt>
                <c:pt idx="7768">
                  <c:v>-3.3046500000000001</c:v>
                </c:pt>
                <c:pt idx="7769">
                  <c:v>-2.9771399999999999</c:v>
                </c:pt>
                <c:pt idx="7770">
                  <c:v>#N/A</c:v>
                </c:pt>
                <c:pt idx="7771">
                  <c:v>-3.2133099999999999</c:v>
                </c:pt>
                <c:pt idx="7772">
                  <c:v>-3.2305600000000001</c:v>
                </c:pt>
                <c:pt idx="7773">
                  <c:v>-3.3834599999999999</c:v>
                </c:pt>
                <c:pt idx="7774">
                  <c:v>#N/A</c:v>
                </c:pt>
                <c:pt idx="7775">
                  <c:v>-3.3982000000000001</c:v>
                </c:pt>
                <c:pt idx="7776">
                  <c:v>-2.53328</c:v>
                </c:pt>
                <c:pt idx="7777">
                  <c:v>-2.37174</c:v>
                </c:pt>
                <c:pt idx="7778">
                  <c:v>#N/A</c:v>
                </c:pt>
                <c:pt idx="7779">
                  <c:v>-2.5133399999999999</c:v>
                </c:pt>
                <c:pt idx="7780">
                  <c:v>-2.8144200000000001</c:v>
                </c:pt>
                <c:pt idx="7781">
                  <c:v>#N/A</c:v>
                </c:pt>
                <c:pt idx="7782">
                  <c:v>-3.1414499999999999</c:v>
                </c:pt>
                <c:pt idx="7783">
                  <c:v>-3.5463200000000001</c:v>
                </c:pt>
                <c:pt idx="7784">
                  <c:v>-3.2453799999999999</c:v>
                </c:pt>
                <c:pt idx="7785">
                  <c:v>#N/A</c:v>
                </c:pt>
                <c:pt idx="7786">
                  <c:v>-3.0046499999999998</c:v>
                </c:pt>
                <c:pt idx="7787">
                  <c:v>-2.4974699999999999</c:v>
                </c:pt>
                <c:pt idx="7788">
                  <c:v>-2.2665000000000002</c:v>
                </c:pt>
                <c:pt idx="7789">
                  <c:v>#N/A</c:v>
                </c:pt>
                <c:pt idx="7790">
                  <c:v>-2.88402</c:v>
                </c:pt>
                <c:pt idx="7791">
                  <c:v>-3.0861200000000002</c:v>
                </c:pt>
                <c:pt idx="7792">
                  <c:v>-2.99234</c:v>
                </c:pt>
                <c:pt idx="7793">
                  <c:v>#N/A</c:v>
                </c:pt>
                <c:pt idx="7794">
                  <c:v>-3.1162200000000002</c:v>
                </c:pt>
                <c:pt idx="7795">
                  <c:v>-3.14954</c:v>
                </c:pt>
                <c:pt idx="7796">
                  <c:v>-3.1230799999999999</c:v>
                </c:pt>
                <c:pt idx="7797">
                  <c:v>#N/A</c:v>
                </c:pt>
                <c:pt idx="7798">
                  <c:v>-3.1251899999999999</c:v>
                </c:pt>
                <c:pt idx="7799">
                  <c:v>-3.0947399999999998</c:v>
                </c:pt>
                <c:pt idx="7800">
                  <c:v>#N/A</c:v>
                </c:pt>
                <c:pt idx="7801">
                  <c:v>-2.5990500000000001</c:v>
                </c:pt>
                <c:pt idx="7802">
                  <c:v>-2.56474</c:v>
                </c:pt>
                <c:pt idx="7803">
                  <c:v>-3.2423099999999998</c:v>
                </c:pt>
                <c:pt idx="7804">
                  <c:v>#N/A</c:v>
                </c:pt>
                <c:pt idx="7805">
                  <c:v>-3.2258200000000001</c:v>
                </c:pt>
                <c:pt idx="7806">
                  <c:v>-2.7989199999999999</c:v>
                </c:pt>
                <c:pt idx="7807">
                  <c:v>#N/A</c:v>
                </c:pt>
                <c:pt idx="7808">
                  <c:v>-2.7728000000000002</c:v>
                </c:pt>
                <c:pt idx="7809">
                  <c:v>-2.36103</c:v>
                </c:pt>
                <c:pt idx="7810">
                  <c:v>-2.6309399999999998</c:v>
                </c:pt>
                <c:pt idx="7811">
                  <c:v>#N/A</c:v>
                </c:pt>
                <c:pt idx="7812">
                  <c:v>-2.94129</c:v>
                </c:pt>
                <c:pt idx="7813">
                  <c:v>-3.39601</c:v>
                </c:pt>
                <c:pt idx="7814">
                  <c:v>-2.9473600000000002</c:v>
                </c:pt>
                <c:pt idx="7815">
                  <c:v>#N/A</c:v>
                </c:pt>
                <c:pt idx="7816">
                  <c:v>-2.8812799999999998</c:v>
                </c:pt>
                <c:pt idx="7817">
                  <c:v>-3.03199</c:v>
                </c:pt>
                <c:pt idx="7818">
                  <c:v>-2.5337399999999999</c:v>
                </c:pt>
                <c:pt idx="7819">
                  <c:v>#N/A</c:v>
                </c:pt>
                <c:pt idx="7820">
                  <c:v>-2.6161400000000001</c:v>
                </c:pt>
                <c:pt idx="7821">
                  <c:v>-2.83494</c:v>
                </c:pt>
                <c:pt idx="7822">
                  <c:v>-2.8086199999999999</c:v>
                </c:pt>
                <c:pt idx="7823">
                  <c:v>#N/A</c:v>
                </c:pt>
                <c:pt idx="7824">
                  <c:v>-3.5365000000000002</c:v>
                </c:pt>
                <c:pt idx="7825">
                  <c:v>-3.9363100000000002</c:v>
                </c:pt>
                <c:pt idx="7826">
                  <c:v>-3.1905700000000001</c:v>
                </c:pt>
                <c:pt idx="7827">
                  <c:v>#N/A</c:v>
                </c:pt>
                <c:pt idx="7828">
                  <c:v>-2.25054</c:v>
                </c:pt>
                <c:pt idx="7829">
                  <c:v>#N/A</c:v>
                </c:pt>
                <c:pt idx="7830">
                  <c:v>-1.5571200000000001</c:v>
                </c:pt>
                <c:pt idx="7831">
                  <c:v>#N/A</c:v>
                </c:pt>
                <c:pt idx="7832">
                  <c:v>-1.82952</c:v>
                </c:pt>
                <c:pt idx="7833">
                  <c:v>-2.47153</c:v>
                </c:pt>
                <c:pt idx="7834">
                  <c:v>-3.0788700000000002</c:v>
                </c:pt>
                <c:pt idx="7835">
                  <c:v>#N/A</c:v>
                </c:pt>
                <c:pt idx="7836">
                  <c:v>-3.3751899999999999</c:v>
                </c:pt>
                <c:pt idx="7837">
                  <c:v>-2.9785200000000001</c:v>
                </c:pt>
                <c:pt idx="7838">
                  <c:v>-2.8005599999999999</c:v>
                </c:pt>
                <c:pt idx="7839">
                  <c:v>#N/A</c:v>
                </c:pt>
                <c:pt idx="7840">
                  <c:v>-2.51647</c:v>
                </c:pt>
                <c:pt idx="7841">
                  <c:v>-1.8676999999999999</c:v>
                </c:pt>
                <c:pt idx="7842">
                  <c:v>-1.9536</c:v>
                </c:pt>
                <c:pt idx="7843">
                  <c:v>#N/A</c:v>
                </c:pt>
                <c:pt idx="7844">
                  <c:v>-2.5991499999999998</c:v>
                </c:pt>
                <c:pt idx="7845">
                  <c:v>-2.38551</c:v>
                </c:pt>
                <c:pt idx="7846">
                  <c:v>-3.0574400000000002</c:v>
                </c:pt>
                <c:pt idx="7847">
                  <c:v>#N/A</c:v>
                </c:pt>
                <c:pt idx="7848">
                  <c:v>-3.5340400000000001</c:v>
                </c:pt>
                <c:pt idx="7849">
                  <c:v>-2.8412500000000001</c:v>
                </c:pt>
                <c:pt idx="7850">
                  <c:v>#N/A</c:v>
                </c:pt>
                <c:pt idx="7851">
                  <c:v>-2.8310599999999999</c:v>
                </c:pt>
                <c:pt idx="7852">
                  <c:v>-2.65361</c:v>
                </c:pt>
                <c:pt idx="7853">
                  <c:v>-2.62974</c:v>
                </c:pt>
                <c:pt idx="7854">
                  <c:v>#N/A</c:v>
                </c:pt>
                <c:pt idx="7855">
                  <c:v>-2.46909</c:v>
                </c:pt>
                <c:pt idx="7856">
                  <c:v>-2.7637900000000002</c:v>
                </c:pt>
                <c:pt idx="7857">
                  <c:v>-2.6773699999999998</c:v>
                </c:pt>
                <c:pt idx="7858">
                  <c:v>#N/A</c:v>
                </c:pt>
                <c:pt idx="7859">
                  <c:v>-3.1129699999999998</c:v>
                </c:pt>
                <c:pt idx="7860">
                  <c:v>-3.0260899999999999</c:v>
                </c:pt>
                <c:pt idx="7861">
                  <c:v>#N/A</c:v>
                </c:pt>
                <c:pt idx="7862">
                  <c:v>-2.8773499999999999</c:v>
                </c:pt>
                <c:pt idx="7863">
                  <c:v>-2.3958499999999998</c:v>
                </c:pt>
                <c:pt idx="7864">
                  <c:v>-3.60656</c:v>
                </c:pt>
                <c:pt idx="7865">
                  <c:v>#N/A</c:v>
                </c:pt>
                <c:pt idx="7866">
                  <c:v>-3.07145</c:v>
                </c:pt>
                <c:pt idx="7867">
                  <c:v>-2.52589</c:v>
                </c:pt>
                <c:pt idx="7868">
                  <c:v>-2.3637299999999999</c:v>
                </c:pt>
                <c:pt idx="7869">
                  <c:v>#N/A</c:v>
                </c:pt>
                <c:pt idx="7870">
                  <c:v>-2.2641800000000001</c:v>
                </c:pt>
                <c:pt idx="7871">
                  <c:v>-1.97163</c:v>
                </c:pt>
                <c:pt idx="7872">
                  <c:v>-2.9598399999999998</c:v>
                </c:pt>
                <c:pt idx="7873">
                  <c:v>#N/A</c:v>
                </c:pt>
                <c:pt idx="7874">
                  <c:v>-2.7663799999999998</c:v>
                </c:pt>
                <c:pt idx="7875">
                  <c:v>-3.4014600000000002</c:v>
                </c:pt>
                <c:pt idx="7876">
                  <c:v>-3.6572100000000001</c:v>
                </c:pt>
                <c:pt idx="7877">
                  <c:v>#N/A</c:v>
                </c:pt>
                <c:pt idx="7878">
                  <c:v>-3.2361</c:v>
                </c:pt>
                <c:pt idx="7879">
                  <c:v>-2.3351899999999999</c:v>
                </c:pt>
                <c:pt idx="7880">
                  <c:v>-2.25217</c:v>
                </c:pt>
                <c:pt idx="7881">
                  <c:v>#N/A</c:v>
                </c:pt>
                <c:pt idx="7882">
                  <c:v>-1.8000100000000001</c:v>
                </c:pt>
                <c:pt idx="7883">
                  <c:v>-1.7937700000000001</c:v>
                </c:pt>
                <c:pt idx="7884">
                  <c:v>-2.6221000000000001</c:v>
                </c:pt>
                <c:pt idx="7885">
                  <c:v>#N/A</c:v>
                </c:pt>
                <c:pt idx="7886">
                  <c:v>-3.4053399999999998</c:v>
                </c:pt>
                <c:pt idx="7887">
                  <c:v>-3.09687</c:v>
                </c:pt>
                <c:pt idx="7888">
                  <c:v>-3.0616699999999999</c:v>
                </c:pt>
                <c:pt idx="7889">
                  <c:v>#N/A</c:v>
                </c:pt>
                <c:pt idx="7890">
                  <c:v>-2.5667900000000001</c:v>
                </c:pt>
                <c:pt idx="7891">
                  <c:v>-1.83003</c:v>
                </c:pt>
                <c:pt idx="7892">
                  <c:v>-1.55559</c:v>
                </c:pt>
                <c:pt idx="7893">
                  <c:v>#N/A</c:v>
                </c:pt>
                <c:pt idx="7894">
                  <c:v>-1.7724500000000001</c:v>
                </c:pt>
                <c:pt idx="7895">
                  <c:v>-2.6071</c:v>
                </c:pt>
                <c:pt idx="7896">
                  <c:v>#N/A</c:v>
                </c:pt>
                <c:pt idx="7897">
                  <c:v>-2.3353299999999999</c:v>
                </c:pt>
                <c:pt idx="7898">
                  <c:v>-2.70655</c:v>
                </c:pt>
                <c:pt idx="7899">
                  <c:v>-3.0004599999999999</c:v>
                </c:pt>
                <c:pt idx="7900">
                  <c:v>#N/A</c:v>
                </c:pt>
                <c:pt idx="7901">
                  <c:v>-3.08006</c:v>
                </c:pt>
                <c:pt idx="7902">
                  <c:v>-2.4740600000000001</c:v>
                </c:pt>
                <c:pt idx="7903">
                  <c:v>#N/A</c:v>
                </c:pt>
                <c:pt idx="7904">
                  <c:v>-2.2307000000000001</c:v>
                </c:pt>
                <c:pt idx="7905">
                  <c:v>#N/A</c:v>
                </c:pt>
                <c:pt idx="7906">
                  <c:v>-2.09076</c:v>
                </c:pt>
                <c:pt idx="7907">
                  <c:v>-2.87405</c:v>
                </c:pt>
                <c:pt idx="7908">
                  <c:v>#N/A</c:v>
                </c:pt>
                <c:pt idx="7909">
                  <c:v>-3.2115499999999999</c:v>
                </c:pt>
                <c:pt idx="7910">
                  <c:v>-2.9849100000000002</c:v>
                </c:pt>
                <c:pt idx="7911">
                  <c:v>-2.8222999999999998</c:v>
                </c:pt>
                <c:pt idx="7912">
                  <c:v>#N/A</c:v>
                </c:pt>
                <c:pt idx="7913">
                  <c:v>-2.3559600000000001</c:v>
                </c:pt>
                <c:pt idx="7914">
                  <c:v>-1.94201</c:v>
                </c:pt>
                <c:pt idx="7915">
                  <c:v>-1.7659199999999999</c:v>
                </c:pt>
                <c:pt idx="7916">
                  <c:v>#N/A</c:v>
                </c:pt>
                <c:pt idx="7917">
                  <c:v>-2.3709699999999998</c:v>
                </c:pt>
                <c:pt idx="7918">
                  <c:v>-2.4885799999999998</c:v>
                </c:pt>
                <c:pt idx="7919">
                  <c:v>#N/A</c:v>
                </c:pt>
                <c:pt idx="7920">
                  <c:v>-2.6572399999999998</c:v>
                </c:pt>
                <c:pt idx="7921">
                  <c:v>-2.4283000000000001</c:v>
                </c:pt>
                <c:pt idx="7922">
                  <c:v>-1.96516</c:v>
                </c:pt>
                <c:pt idx="7923">
                  <c:v>#N/A</c:v>
                </c:pt>
                <c:pt idx="7924">
                  <c:v>-2.11904</c:v>
                </c:pt>
                <c:pt idx="7925">
                  <c:v>-2.3808099999999999</c:v>
                </c:pt>
                <c:pt idx="7926">
                  <c:v>-2.5984699999999998</c:v>
                </c:pt>
                <c:pt idx="7927">
                  <c:v>#N/A</c:v>
                </c:pt>
                <c:pt idx="7928">
                  <c:v>-2.4973100000000001</c:v>
                </c:pt>
                <c:pt idx="7929">
                  <c:v>-2.8935599999999999</c:v>
                </c:pt>
                <c:pt idx="7930">
                  <c:v>-2.6914099999999999</c:v>
                </c:pt>
                <c:pt idx="7931">
                  <c:v>#N/A</c:v>
                </c:pt>
                <c:pt idx="7932">
                  <c:v>-2.4557500000000001</c:v>
                </c:pt>
                <c:pt idx="7933">
                  <c:v>-1.99579</c:v>
                </c:pt>
                <c:pt idx="7934">
                  <c:v>-2.0416300000000001</c:v>
                </c:pt>
                <c:pt idx="7935">
                  <c:v>#N/A</c:v>
                </c:pt>
                <c:pt idx="7936">
                  <c:v>-2.41622</c:v>
                </c:pt>
                <c:pt idx="7937">
                  <c:v>-2.7450299999999999</c:v>
                </c:pt>
                <c:pt idx="7938">
                  <c:v>-2.9639000000000002</c:v>
                </c:pt>
                <c:pt idx="7939">
                  <c:v>#N/A</c:v>
                </c:pt>
                <c:pt idx="7940">
                  <c:v>-2.6267299999999998</c:v>
                </c:pt>
                <c:pt idx="7941">
                  <c:v>-2.5283799999999998</c:v>
                </c:pt>
                <c:pt idx="7942">
                  <c:v>#N/A</c:v>
                </c:pt>
                <c:pt idx="7943">
                  <c:v>-2.4466399999999999</c:v>
                </c:pt>
                <c:pt idx="7944">
                  <c:v>-2.5183399999999998</c:v>
                </c:pt>
                <c:pt idx="7945">
                  <c:v>-2.33006</c:v>
                </c:pt>
                <c:pt idx="7946">
                  <c:v>#N/A</c:v>
                </c:pt>
                <c:pt idx="7947">
                  <c:v>-2.8080400000000001</c:v>
                </c:pt>
                <c:pt idx="7948">
                  <c:v>-2.46285</c:v>
                </c:pt>
                <c:pt idx="7949">
                  <c:v>-2.83114</c:v>
                </c:pt>
                <c:pt idx="7950">
                  <c:v>#N/A</c:v>
                </c:pt>
                <c:pt idx="7951">
                  <c:v>-2.6949800000000002</c:v>
                </c:pt>
                <c:pt idx="7952">
                  <c:v>-2.32151</c:v>
                </c:pt>
                <c:pt idx="7953">
                  <c:v>-1.7992900000000001</c:v>
                </c:pt>
                <c:pt idx="7954">
                  <c:v>#N/A</c:v>
                </c:pt>
                <c:pt idx="7955">
                  <c:v>-1.6140000000000001</c:v>
                </c:pt>
                <c:pt idx="7956">
                  <c:v>-1.6524799999999999</c:v>
                </c:pt>
                <c:pt idx="7957">
                  <c:v>-1.99214</c:v>
                </c:pt>
                <c:pt idx="7958">
                  <c:v>#N/A</c:v>
                </c:pt>
                <c:pt idx="7959">
                  <c:v>-2.8895</c:v>
                </c:pt>
                <c:pt idx="7960">
                  <c:v>-2.80945</c:v>
                </c:pt>
                <c:pt idx="7961">
                  <c:v>-2.8947099999999999</c:v>
                </c:pt>
                <c:pt idx="7962">
                  <c:v>#N/A</c:v>
                </c:pt>
                <c:pt idx="7963">
                  <c:v>-2.74769</c:v>
                </c:pt>
                <c:pt idx="7964">
                  <c:v>-2.02224</c:v>
                </c:pt>
                <c:pt idx="7965">
                  <c:v>-1.75417</c:v>
                </c:pt>
                <c:pt idx="7966">
                  <c:v>#N/A</c:v>
                </c:pt>
                <c:pt idx="7967">
                  <c:v>-2.2301199999999999</c:v>
                </c:pt>
                <c:pt idx="7968">
                  <c:v>-2.7738200000000002</c:v>
                </c:pt>
                <c:pt idx="7969">
                  <c:v>-2.71495</c:v>
                </c:pt>
                <c:pt idx="7970">
                  <c:v>#N/A</c:v>
                </c:pt>
                <c:pt idx="7971">
                  <c:v>-3.2581500000000001</c:v>
                </c:pt>
                <c:pt idx="7972">
                  <c:v>-3.3426</c:v>
                </c:pt>
                <c:pt idx="7973">
                  <c:v>#N/A</c:v>
                </c:pt>
                <c:pt idx="7974">
                  <c:v>-2.6769500000000002</c:v>
                </c:pt>
                <c:pt idx="7975">
                  <c:v>-1.85642</c:v>
                </c:pt>
                <c:pt idx="7976">
                  <c:v>-1.8894599999999999</c:v>
                </c:pt>
                <c:pt idx="7977">
                  <c:v>#N/A</c:v>
                </c:pt>
                <c:pt idx="7978">
                  <c:v>-1.55888</c:v>
                </c:pt>
                <c:pt idx="7979">
                  <c:v>#N/A</c:v>
                </c:pt>
                <c:pt idx="7980">
                  <c:v>-2.7395100000000001</c:v>
                </c:pt>
                <c:pt idx="7981">
                  <c:v>-2.8365100000000001</c:v>
                </c:pt>
                <c:pt idx="7982">
                  <c:v>-3.3567800000000001</c:v>
                </c:pt>
                <c:pt idx="7983">
                  <c:v>#N/A</c:v>
                </c:pt>
                <c:pt idx="7984">
                  <c:v>-2.9815900000000002</c:v>
                </c:pt>
                <c:pt idx="7985">
                  <c:v>-2.4660000000000002</c:v>
                </c:pt>
                <c:pt idx="7986">
                  <c:v>-1.80575</c:v>
                </c:pt>
                <c:pt idx="7987">
                  <c:v>#N/A</c:v>
                </c:pt>
                <c:pt idx="7988">
                  <c:v>-1.9722299999999999</c:v>
                </c:pt>
                <c:pt idx="7989">
                  <c:v>-2.3509199999999999</c:v>
                </c:pt>
                <c:pt idx="7990">
                  <c:v>#N/A</c:v>
                </c:pt>
                <c:pt idx="7991">
                  <c:v>-2.1877800000000001</c:v>
                </c:pt>
                <c:pt idx="7992">
                  <c:v>-2.4276200000000001</c:v>
                </c:pt>
                <c:pt idx="7993">
                  <c:v>-2.8500100000000002</c:v>
                </c:pt>
                <c:pt idx="7994">
                  <c:v>#N/A</c:v>
                </c:pt>
                <c:pt idx="7995">
                  <c:v>-2.7268400000000002</c:v>
                </c:pt>
                <c:pt idx="7996">
                  <c:v>-2.0519099999999999</c:v>
                </c:pt>
                <c:pt idx="7997">
                  <c:v>-2.1915</c:v>
                </c:pt>
                <c:pt idx="7998">
                  <c:v>#N/A</c:v>
                </c:pt>
                <c:pt idx="7999">
                  <c:v>-1.9700899999999999</c:v>
                </c:pt>
                <c:pt idx="8000">
                  <c:v>-2.0351599999999999</c:v>
                </c:pt>
                <c:pt idx="8001">
                  <c:v>#N/A</c:v>
                </c:pt>
                <c:pt idx="8002">
                  <c:v>-2.7701699999999998</c:v>
                </c:pt>
                <c:pt idx="8003">
                  <c:v>-2.14242</c:v>
                </c:pt>
                <c:pt idx="8004">
                  <c:v>-2.1779799999999998</c:v>
                </c:pt>
                <c:pt idx="8005">
                  <c:v>#N/A</c:v>
                </c:pt>
                <c:pt idx="8006">
                  <c:v>-2.5998600000000001</c:v>
                </c:pt>
                <c:pt idx="8007">
                  <c:v>-2.2630400000000002</c:v>
                </c:pt>
                <c:pt idx="8008">
                  <c:v>-1.78769</c:v>
                </c:pt>
                <c:pt idx="8009">
                  <c:v>#N/A</c:v>
                </c:pt>
                <c:pt idx="8010">
                  <c:v>-1.95594</c:v>
                </c:pt>
                <c:pt idx="8011">
                  <c:v>-2.2834300000000001</c:v>
                </c:pt>
                <c:pt idx="8012">
                  <c:v>-2.5207700000000002</c:v>
                </c:pt>
                <c:pt idx="8013">
                  <c:v>#N/A</c:v>
                </c:pt>
                <c:pt idx="8014">
                  <c:v>-2.7065299999999999</c:v>
                </c:pt>
                <c:pt idx="8015">
                  <c:v>-2.0610900000000001</c:v>
                </c:pt>
                <c:pt idx="8016">
                  <c:v>-1.77668</c:v>
                </c:pt>
                <c:pt idx="8017">
                  <c:v>#N/A</c:v>
                </c:pt>
                <c:pt idx="8018">
                  <c:v>-1.61795</c:v>
                </c:pt>
                <c:pt idx="8019">
                  <c:v>-2.2817099999999999</c:v>
                </c:pt>
                <c:pt idx="8020">
                  <c:v>-1.85602</c:v>
                </c:pt>
                <c:pt idx="8021">
                  <c:v>#N/A</c:v>
                </c:pt>
                <c:pt idx="8022">
                  <c:v>-1.9314199999999999</c:v>
                </c:pt>
                <c:pt idx="8023">
                  <c:v>-2.8112699999999999</c:v>
                </c:pt>
                <c:pt idx="8024">
                  <c:v>-2.6485099999999999</c:v>
                </c:pt>
                <c:pt idx="8025">
                  <c:v>#N/A</c:v>
                </c:pt>
                <c:pt idx="8026">
                  <c:v>-2.3344900000000002</c:v>
                </c:pt>
                <c:pt idx="8027">
                  <c:v>-1.82392</c:v>
                </c:pt>
                <c:pt idx="8028">
                  <c:v>-1.5651200000000001</c:v>
                </c:pt>
                <c:pt idx="8029">
                  <c:v>#N/A</c:v>
                </c:pt>
                <c:pt idx="8030">
                  <c:v>-2.0476700000000001</c:v>
                </c:pt>
                <c:pt idx="8031">
                  <c:v>-2.5144799999999998</c:v>
                </c:pt>
                <c:pt idx="8032">
                  <c:v>#N/A</c:v>
                </c:pt>
                <c:pt idx="8033">
                  <c:v>-2.6571699999999998</c:v>
                </c:pt>
                <c:pt idx="8034">
                  <c:v>-3.0112800000000002</c:v>
                </c:pt>
                <c:pt idx="8035">
                  <c:v>-2.21156</c:v>
                </c:pt>
                <c:pt idx="8036">
                  <c:v>#N/A</c:v>
                </c:pt>
                <c:pt idx="8037">
                  <c:v>-2.30775</c:v>
                </c:pt>
                <c:pt idx="8038">
                  <c:v>-1.2085999999999999</c:v>
                </c:pt>
                <c:pt idx="8039">
                  <c:v>-1.2451700000000001</c:v>
                </c:pt>
                <c:pt idx="8040">
                  <c:v>#N/A</c:v>
                </c:pt>
                <c:pt idx="8041">
                  <c:v>-1.6670400000000001</c:v>
                </c:pt>
                <c:pt idx="8042">
                  <c:v>-2.61388</c:v>
                </c:pt>
                <c:pt idx="8043">
                  <c:v>-2.6501000000000001</c:v>
                </c:pt>
                <c:pt idx="8044">
                  <c:v>#N/A</c:v>
                </c:pt>
                <c:pt idx="8045">
                  <c:v>-2.63442</c:v>
                </c:pt>
                <c:pt idx="8046">
                  <c:v>-1.70797</c:v>
                </c:pt>
                <c:pt idx="8047">
                  <c:v>-2.0219800000000001</c:v>
                </c:pt>
                <c:pt idx="8048">
                  <c:v>#N/A</c:v>
                </c:pt>
                <c:pt idx="8049">
                  <c:v>-1.78915</c:v>
                </c:pt>
                <c:pt idx="8050">
                  <c:v>-1.4830399999999999</c:v>
                </c:pt>
                <c:pt idx="8051">
                  <c:v>-1.9841</c:v>
                </c:pt>
                <c:pt idx="8052">
                  <c:v>#N/A</c:v>
                </c:pt>
                <c:pt idx="8053">
                  <c:v>-2.3130099999999998</c:v>
                </c:pt>
                <c:pt idx="8054">
                  <c:v>-2.9475799999999999</c:v>
                </c:pt>
                <c:pt idx="8055">
                  <c:v>#N/A</c:v>
                </c:pt>
                <c:pt idx="8056">
                  <c:v>-3.1228600000000002</c:v>
                </c:pt>
                <c:pt idx="8057">
                  <c:v>-2.7642099999999998</c:v>
                </c:pt>
                <c:pt idx="8058">
                  <c:v>-2.3025699999999998</c:v>
                </c:pt>
                <c:pt idx="8059">
                  <c:v>#N/A</c:v>
                </c:pt>
                <c:pt idx="8060">
                  <c:v>-2.2974899999999998</c:v>
                </c:pt>
                <c:pt idx="8061">
                  <c:v>-1.90543</c:v>
                </c:pt>
                <c:pt idx="8062">
                  <c:v>-2.2389399999999999</c:v>
                </c:pt>
                <c:pt idx="8063">
                  <c:v>#N/A</c:v>
                </c:pt>
                <c:pt idx="8064">
                  <c:v>-2.1053500000000001</c:v>
                </c:pt>
                <c:pt idx="8065">
                  <c:v>-2.5228199999999998</c:v>
                </c:pt>
                <c:pt idx="8066">
                  <c:v>-3.1066600000000002</c:v>
                </c:pt>
                <c:pt idx="8067">
                  <c:v>#N/A</c:v>
                </c:pt>
                <c:pt idx="8068">
                  <c:v>-2.9613299999999998</c:v>
                </c:pt>
                <c:pt idx="8069">
                  <c:v>-1.7870600000000001</c:v>
                </c:pt>
                <c:pt idx="8070">
                  <c:v>-1.82168</c:v>
                </c:pt>
                <c:pt idx="8071">
                  <c:v>#N/A</c:v>
                </c:pt>
                <c:pt idx="8072">
                  <c:v>-2.2277800000000001</c:v>
                </c:pt>
                <c:pt idx="8073">
                  <c:v>-2.2583700000000002</c:v>
                </c:pt>
                <c:pt idx="8074">
                  <c:v>#N/A</c:v>
                </c:pt>
                <c:pt idx="8075">
                  <c:v>-2.6518899999999999</c:v>
                </c:pt>
                <c:pt idx="8076">
                  <c:v>-2.45743</c:v>
                </c:pt>
                <c:pt idx="8077">
                  <c:v>-2.2754699999999999</c:v>
                </c:pt>
                <c:pt idx="8078">
                  <c:v>#N/A</c:v>
                </c:pt>
                <c:pt idx="8079">
                  <c:v>-2.3124199999999999</c:v>
                </c:pt>
                <c:pt idx="8080">
                  <c:v>-2.1788799999999999</c:v>
                </c:pt>
                <c:pt idx="8081">
                  <c:v>-2.32341</c:v>
                </c:pt>
                <c:pt idx="8082">
                  <c:v>#N/A</c:v>
                </c:pt>
                <c:pt idx="8083">
                  <c:v>-2.1899500000000001</c:v>
                </c:pt>
                <c:pt idx="8084">
                  <c:v>-2.75732</c:v>
                </c:pt>
                <c:pt idx="8085">
                  <c:v>-2.8830399999999998</c:v>
                </c:pt>
                <c:pt idx="8086">
                  <c:v>#N/A</c:v>
                </c:pt>
                <c:pt idx="8087">
                  <c:v>-2.73543</c:v>
                </c:pt>
                <c:pt idx="8088">
                  <c:v>-2.6663000000000001</c:v>
                </c:pt>
                <c:pt idx="8089">
                  <c:v>-2.6776300000000002</c:v>
                </c:pt>
                <c:pt idx="8090">
                  <c:v>#N/A</c:v>
                </c:pt>
                <c:pt idx="8091">
                  <c:v>-2.3282400000000001</c:v>
                </c:pt>
                <c:pt idx="8092">
                  <c:v>-2.0851799999999998</c:v>
                </c:pt>
                <c:pt idx="8093">
                  <c:v>-1.9968999999999999</c:v>
                </c:pt>
                <c:pt idx="8094">
                  <c:v>#N/A</c:v>
                </c:pt>
                <c:pt idx="8095">
                  <c:v>-2.3477000000000001</c:v>
                </c:pt>
                <c:pt idx="8096">
                  <c:v>-2.6341199999999998</c:v>
                </c:pt>
                <c:pt idx="8097">
                  <c:v>-2.5860699999999999</c:v>
                </c:pt>
                <c:pt idx="8098">
                  <c:v>#N/A</c:v>
                </c:pt>
                <c:pt idx="8099">
                  <c:v>-2.3603200000000002</c:v>
                </c:pt>
                <c:pt idx="8100">
                  <c:v>-1.28298</c:v>
                </c:pt>
                <c:pt idx="8101">
                  <c:v>#N/A</c:v>
                </c:pt>
                <c:pt idx="8102">
                  <c:v>-1.4431400000000001</c:v>
                </c:pt>
                <c:pt idx="8103">
                  <c:v>-2.4380999999999999</c:v>
                </c:pt>
                <c:pt idx="8104">
                  <c:v>-1.7327699999999999</c:v>
                </c:pt>
                <c:pt idx="8105">
                  <c:v>#N/A</c:v>
                </c:pt>
                <c:pt idx="8106">
                  <c:v>-2.3534799999999998</c:v>
                </c:pt>
                <c:pt idx="8107">
                  <c:v>-2.4586299999999999</c:v>
                </c:pt>
                <c:pt idx="8108">
                  <c:v>-2.5706899999999999</c:v>
                </c:pt>
                <c:pt idx="8109">
                  <c:v>#N/A</c:v>
                </c:pt>
                <c:pt idx="8110">
                  <c:v>-2.2587799999999998</c:v>
                </c:pt>
                <c:pt idx="8111">
                  <c:v>-1.65472</c:v>
                </c:pt>
                <c:pt idx="8112">
                  <c:v>-1.72553</c:v>
                </c:pt>
                <c:pt idx="8113">
                  <c:v>#N/A</c:v>
                </c:pt>
                <c:pt idx="8114">
                  <c:v>-1.4934499999999999</c:v>
                </c:pt>
                <c:pt idx="8115">
                  <c:v>-2.33188</c:v>
                </c:pt>
                <c:pt idx="8116">
                  <c:v>-2.93411</c:v>
                </c:pt>
                <c:pt idx="8117">
                  <c:v>#N/A</c:v>
                </c:pt>
                <c:pt idx="8118">
                  <c:v>-2.7578399999999998</c:v>
                </c:pt>
                <c:pt idx="8119">
                  <c:v>-2.57369</c:v>
                </c:pt>
                <c:pt idx="8120">
                  <c:v>-2.37913</c:v>
                </c:pt>
                <c:pt idx="8121">
                  <c:v>#N/A</c:v>
                </c:pt>
                <c:pt idx="8122">
                  <c:v>-1.83412</c:v>
                </c:pt>
                <c:pt idx="8123">
                  <c:v>-1.2903800000000001</c:v>
                </c:pt>
                <c:pt idx="8124">
                  <c:v>-1.4837400000000001</c:v>
                </c:pt>
                <c:pt idx="8125">
                  <c:v>#N/A</c:v>
                </c:pt>
                <c:pt idx="8126">
                  <c:v>-1.94842</c:v>
                </c:pt>
                <c:pt idx="8127">
                  <c:v>-2.5302500000000001</c:v>
                </c:pt>
                <c:pt idx="8128">
                  <c:v>#N/A</c:v>
                </c:pt>
                <c:pt idx="8129">
                  <c:v>-3.16465</c:v>
                </c:pt>
                <c:pt idx="8130">
                  <c:v>-2.2704</c:v>
                </c:pt>
                <c:pt idx="8131">
                  <c:v>#N/A</c:v>
                </c:pt>
                <c:pt idx="8132">
                  <c:v>-1.9137</c:v>
                </c:pt>
                <c:pt idx="8133">
                  <c:v>-1.7765500000000001</c:v>
                </c:pt>
                <c:pt idx="8134">
                  <c:v>#N/A</c:v>
                </c:pt>
                <c:pt idx="8135">
                  <c:v>-1.84578</c:v>
                </c:pt>
                <c:pt idx="8136">
                  <c:v>-1.88794</c:v>
                </c:pt>
                <c:pt idx="8137">
                  <c:v>-2.2664800000000001</c:v>
                </c:pt>
                <c:pt idx="8138">
                  <c:v>#N/A</c:v>
                </c:pt>
                <c:pt idx="8139">
                  <c:v>-2.0484100000000001</c:v>
                </c:pt>
                <c:pt idx="8140">
                  <c:v>-2.58677</c:v>
                </c:pt>
                <c:pt idx="8141">
                  <c:v>-2.4411399999999999</c:v>
                </c:pt>
                <c:pt idx="8142">
                  <c:v>#N/A</c:v>
                </c:pt>
                <c:pt idx="8143">
                  <c:v>-1.7259199999999999</c:v>
                </c:pt>
                <c:pt idx="8144">
                  <c:v>-1.60263</c:v>
                </c:pt>
                <c:pt idx="8145">
                  <c:v>-1.66733</c:v>
                </c:pt>
                <c:pt idx="8146">
                  <c:v>#N/A</c:v>
                </c:pt>
                <c:pt idx="8147">
                  <c:v>-2.4319299999999999</c:v>
                </c:pt>
                <c:pt idx="8148">
                  <c:v>-2.6062699999999999</c:v>
                </c:pt>
                <c:pt idx="8149">
                  <c:v>-2.5885699999999998</c:v>
                </c:pt>
                <c:pt idx="8150">
                  <c:v>#N/A</c:v>
                </c:pt>
                <c:pt idx="8151">
                  <c:v>-2.1194000000000002</c:v>
                </c:pt>
                <c:pt idx="8152">
                  <c:v>-2.1238299999999999</c:v>
                </c:pt>
                <c:pt idx="8153">
                  <c:v>#N/A</c:v>
                </c:pt>
                <c:pt idx="8154">
                  <c:v>-2.2795399999999999</c:v>
                </c:pt>
                <c:pt idx="8155">
                  <c:v>-2.8733499999999998</c:v>
                </c:pt>
                <c:pt idx="8156">
                  <c:v>-2.3251400000000002</c:v>
                </c:pt>
                <c:pt idx="8157">
                  <c:v>#N/A</c:v>
                </c:pt>
                <c:pt idx="8158">
                  <c:v>-2.7492700000000001</c:v>
                </c:pt>
                <c:pt idx="8159">
                  <c:v>-2.5077199999999999</c:v>
                </c:pt>
                <c:pt idx="8160">
                  <c:v>-2.4321700000000002</c:v>
                </c:pt>
                <c:pt idx="8161">
                  <c:v>#N/A</c:v>
                </c:pt>
                <c:pt idx="8162">
                  <c:v>-2.1022400000000001</c:v>
                </c:pt>
                <c:pt idx="8163">
                  <c:v>-1.8527</c:v>
                </c:pt>
                <c:pt idx="8164">
                  <c:v>-1.8142</c:v>
                </c:pt>
                <c:pt idx="8165">
                  <c:v>#N/A</c:v>
                </c:pt>
                <c:pt idx="8166">
                  <c:v>-2.4313899999999999</c:v>
                </c:pt>
                <c:pt idx="8167">
                  <c:v>-2.27027</c:v>
                </c:pt>
                <c:pt idx="8168">
                  <c:v>#N/A</c:v>
                </c:pt>
                <c:pt idx="8169">
                  <c:v>-2.6203699999999999</c:v>
                </c:pt>
                <c:pt idx="8170">
                  <c:v>-2.1992500000000001</c:v>
                </c:pt>
                <c:pt idx="8171">
                  <c:v>-2.5782799999999999</c:v>
                </c:pt>
                <c:pt idx="8172">
                  <c:v>#N/A</c:v>
                </c:pt>
                <c:pt idx="8173">
                  <c:v>-2.3621699999999999</c:v>
                </c:pt>
                <c:pt idx="8174">
                  <c:v>-1.677</c:v>
                </c:pt>
                <c:pt idx="8175">
                  <c:v>-2.1632099999999999</c:v>
                </c:pt>
                <c:pt idx="8176">
                  <c:v>#N/A</c:v>
                </c:pt>
                <c:pt idx="8177">
                  <c:v>-2.0839699999999999</c:v>
                </c:pt>
                <c:pt idx="8178">
                  <c:v>-2.8986399999999999</c:v>
                </c:pt>
                <c:pt idx="8179">
                  <c:v>-2.9762200000000001</c:v>
                </c:pt>
                <c:pt idx="8180">
                  <c:v>#N/A</c:v>
                </c:pt>
                <c:pt idx="8181">
                  <c:v>-3.09233</c:v>
                </c:pt>
                <c:pt idx="8182">
                  <c:v>-2.6074700000000002</c:v>
                </c:pt>
                <c:pt idx="8183">
                  <c:v>-2.27738</c:v>
                </c:pt>
                <c:pt idx="8184">
                  <c:v>#N/A</c:v>
                </c:pt>
                <c:pt idx="8185">
                  <c:v>-2.1965400000000002</c:v>
                </c:pt>
                <c:pt idx="8186">
                  <c:v>-1.9655899999999999</c:v>
                </c:pt>
                <c:pt idx="8187">
                  <c:v>-2.0760900000000002</c:v>
                </c:pt>
                <c:pt idx="8188">
                  <c:v>#N/A</c:v>
                </c:pt>
                <c:pt idx="8189">
                  <c:v>-3.2835299999999998</c:v>
                </c:pt>
                <c:pt idx="8190">
                  <c:v>-2.9055</c:v>
                </c:pt>
                <c:pt idx="8191">
                  <c:v>#N/A</c:v>
                </c:pt>
                <c:pt idx="8192">
                  <c:v>#N/A</c:v>
                </c:pt>
                <c:pt idx="8193">
                  <c:v>#N/A</c:v>
                </c:pt>
                <c:pt idx="8194">
                  <c:v>#N/A</c:v>
                </c:pt>
                <c:pt idx="8195">
                  <c:v>#N/A</c:v>
                </c:pt>
                <c:pt idx="8196">
                  <c:v>#N/A</c:v>
                </c:pt>
                <c:pt idx="8197">
                  <c:v>#N/A</c:v>
                </c:pt>
                <c:pt idx="8198">
                  <c:v>#N/A</c:v>
                </c:pt>
                <c:pt idx="8199">
                  <c:v>#N/A</c:v>
                </c:pt>
                <c:pt idx="8200">
                  <c:v>#N/A</c:v>
                </c:pt>
                <c:pt idx="8201">
                  <c:v>#N/A</c:v>
                </c:pt>
                <c:pt idx="8202">
                  <c:v>#N/A</c:v>
                </c:pt>
                <c:pt idx="8203">
                  <c:v>#N/A</c:v>
                </c:pt>
                <c:pt idx="8204">
                  <c:v>#N/A</c:v>
                </c:pt>
                <c:pt idx="8205">
                  <c:v>#N/A</c:v>
                </c:pt>
                <c:pt idx="8206">
                  <c:v>#N/A</c:v>
                </c:pt>
                <c:pt idx="8207">
                  <c:v>#N/A</c:v>
                </c:pt>
                <c:pt idx="8208">
                  <c:v>#N/A</c:v>
                </c:pt>
                <c:pt idx="8209">
                  <c:v>#N/A</c:v>
                </c:pt>
                <c:pt idx="8210">
                  <c:v>#N/A</c:v>
                </c:pt>
                <c:pt idx="8211">
                  <c:v>#N/A</c:v>
                </c:pt>
                <c:pt idx="8212">
                  <c:v>#N/A</c:v>
                </c:pt>
                <c:pt idx="8213">
                  <c:v>#N/A</c:v>
                </c:pt>
                <c:pt idx="8214">
                  <c:v>#N/A</c:v>
                </c:pt>
                <c:pt idx="8215">
                  <c:v>-2.8078799999999999</c:v>
                </c:pt>
                <c:pt idx="8216">
                  <c:v>#N/A</c:v>
                </c:pt>
                <c:pt idx="8217">
                  <c:v>-2.5006499999999998</c:v>
                </c:pt>
                <c:pt idx="8218">
                  <c:v>-2.82206</c:v>
                </c:pt>
                <c:pt idx="8219">
                  <c:v>-2.7734100000000002</c:v>
                </c:pt>
                <c:pt idx="8220">
                  <c:v>#N/A</c:v>
                </c:pt>
                <c:pt idx="8221">
                  <c:v>-2.8077000000000001</c:v>
                </c:pt>
                <c:pt idx="8222">
                  <c:v>-2.9683099999999998</c:v>
                </c:pt>
                <c:pt idx="8223">
                  <c:v>-3.1564100000000002</c:v>
                </c:pt>
                <c:pt idx="8224">
                  <c:v>#N/A</c:v>
                </c:pt>
                <c:pt idx="8225">
                  <c:v>-3.19198</c:v>
                </c:pt>
                <c:pt idx="8226">
                  <c:v>-2.0853899999999999</c:v>
                </c:pt>
                <c:pt idx="8227">
                  <c:v>-2.2789299999999999</c:v>
                </c:pt>
                <c:pt idx="8228">
                  <c:v>#N/A</c:v>
                </c:pt>
                <c:pt idx="8229">
                  <c:v>-2.3256100000000002</c:v>
                </c:pt>
                <c:pt idx="8230">
                  <c:v>-2.5389200000000001</c:v>
                </c:pt>
                <c:pt idx="8231">
                  <c:v>#N/A</c:v>
                </c:pt>
                <c:pt idx="8232">
                  <c:v>-3.6478700000000002</c:v>
                </c:pt>
                <c:pt idx="8233">
                  <c:v>-3.3775400000000002</c:v>
                </c:pt>
                <c:pt idx="8234">
                  <c:v>-2.47315</c:v>
                </c:pt>
                <c:pt idx="8235">
                  <c:v>#N/A</c:v>
                </c:pt>
                <c:pt idx="8236">
                  <c:v>-2.9365600000000001</c:v>
                </c:pt>
                <c:pt idx="8237">
                  <c:v>-2.7231200000000002</c:v>
                </c:pt>
                <c:pt idx="8238">
                  <c:v>-2.7185800000000002</c:v>
                </c:pt>
                <c:pt idx="8239">
                  <c:v>#N/A</c:v>
                </c:pt>
                <c:pt idx="8240">
                  <c:v>-2.9437799999999998</c:v>
                </c:pt>
                <c:pt idx="8241">
                  <c:v>-3.4137300000000002</c:v>
                </c:pt>
                <c:pt idx="8242">
                  <c:v>-3.41066</c:v>
                </c:pt>
                <c:pt idx="8243">
                  <c:v>#N/A</c:v>
                </c:pt>
                <c:pt idx="8244">
                  <c:v>-3.6499799999999998</c:v>
                </c:pt>
                <c:pt idx="8245">
                  <c:v>-2.9082300000000001</c:v>
                </c:pt>
                <c:pt idx="8246">
                  <c:v>#N/A</c:v>
                </c:pt>
                <c:pt idx="8247">
                  <c:v>-2.30342</c:v>
                </c:pt>
                <c:pt idx="8248">
                  <c:v>-2.4066999999999998</c:v>
                </c:pt>
                <c:pt idx="8249">
                  <c:v>-3.4263300000000001</c:v>
                </c:pt>
                <c:pt idx="8250">
                  <c:v>#N/A</c:v>
                </c:pt>
                <c:pt idx="8251">
                  <c:v>-3.4142700000000001</c:v>
                </c:pt>
                <c:pt idx="8252">
                  <c:v>-3.2349700000000001</c:v>
                </c:pt>
                <c:pt idx="8253">
                  <c:v>-3.0683199999999999</c:v>
                </c:pt>
                <c:pt idx="8254">
                  <c:v>#N/A</c:v>
                </c:pt>
                <c:pt idx="8255">
                  <c:v>-2.7757900000000002</c:v>
                </c:pt>
                <c:pt idx="8256">
                  <c:v>-2.6237699999999999</c:v>
                </c:pt>
                <c:pt idx="8257">
                  <c:v>-1.81298</c:v>
                </c:pt>
                <c:pt idx="8258">
                  <c:v>#N/A</c:v>
                </c:pt>
                <c:pt idx="8259">
                  <c:v>-1.871</c:v>
                </c:pt>
                <c:pt idx="8260">
                  <c:v>-2.4211999999999998</c:v>
                </c:pt>
                <c:pt idx="8261">
                  <c:v>-3.5440100000000001</c:v>
                </c:pt>
                <c:pt idx="8262">
                  <c:v>#N/A</c:v>
                </c:pt>
                <c:pt idx="8263">
                  <c:v>-3.4643600000000001</c:v>
                </c:pt>
                <c:pt idx="8264">
                  <c:v>-3.6855099999999998</c:v>
                </c:pt>
                <c:pt idx="8265">
                  <c:v>-3.14994</c:v>
                </c:pt>
                <c:pt idx="8266">
                  <c:v>#N/A</c:v>
                </c:pt>
                <c:pt idx="8267">
                  <c:v>-3.38585</c:v>
                </c:pt>
                <c:pt idx="8268">
                  <c:v>-3.2547799999999998</c:v>
                </c:pt>
                <c:pt idx="8269">
                  <c:v>-3.1281300000000001</c:v>
                </c:pt>
                <c:pt idx="8270">
                  <c:v>#N/A</c:v>
                </c:pt>
                <c:pt idx="8271">
                  <c:v>-3.1256499999999998</c:v>
                </c:pt>
                <c:pt idx="8272">
                  <c:v>-3.3486799999999999</c:v>
                </c:pt>
                <c:pt idx="8273">
                  <c:v>-3.8071000000000002</c:v>
                </c:pt>
                <c:pt idx="8274">
                  <c:v>#N/A</c:v>
                </c:pt>
                <c:pt idx="8275">
                  <c:v>-4.2079599999999999</c:v>
                </c:pt>
                <c:pt idx="8276">
                  <c:v>-3.0428299999999999</c:v>
                </c:pt>
                <c:pt idx="8277">
                  <c:v>-2.6445699999999999</c:v>
                </c:pt>
                <c:pt idx="8278">
                  <c:v>#N/A</c:v>
                </c:pt>
                <c:pt idx="8279">
                  <c:v>-2.2121900000000001</c:v>
                </c:pt>
                <c:pt idx="8280">
                  <c:v>-1.899</c:v>
                </c:pt>
                <c:pt idx="8281">
                  <c:v>#N/A</c:v>
                </c:pt>
                <c:pt idx="8282">
                  <c:v>-2.3869799999999999</c:v>
                </c:pt>
                <c:pt idx="8283">
                  <c:v>-2.6855899999999999</c:v>
                </c:pt>
                <c:pt idx="8284">
                  <c:v>-2.77922</c:v>
                </c:pt>
                <c:pt idx="8285">
                  <c:v>#N/A</c:v>
                </c:pt>
                <c:pt idx="8286">
                  <c:v>-2.9547099999999999</c:v>
                </c:pt>
                <c:pt idx="8287">
                  <c:v>-2.6957499999999999</c:v>
                </c:pt>
                <c:pt idx="8288">
                  <c:v>-2.2294299999999998</c:v>
                </c:pt>
                <c:pt idx="8289">
                  <c:v>#N/A</c:v>
                </c:pt>
                <c:pt idx="8290">
                  <c:v>-1.8745000000000001</c:v>
                </c:pt>
                <c:pt idx="8291">
                  <c:v>-1.58067</c:v>
                </c:pt>
                <c:pt idx="8292">
                  <c:v>-2.1136699999999999</c:v>
                </c:pt>
                <c:pt idx="8293">
                  <c:v>#N/A</c:v>
                </c:pt>
                <c:pt idx="8294">
                  <c:v>-2.6270899999999999</c:v>
                </c:pt>
                <c:pt idx="8295">
                  <c:v>-3.3201200000000002</c:v>
                </c:pt>
                <c:pt idx="8296">
                  <c:v>-3.4028900000000002</c:v>
                </c:pt>
                <c:pt idx="8297">
                  <c:v>#N/A</c:v>
                </c:pt>
                <c:pt idx="8298">
                  <c:v>-2.79434</c:v>
                </c:pt>
                <c:pt idx="8299">
                  <c:v>-2.9247899999999998</c:v>
                </c:pt>
                <c:pt idx="8300">
                  <c:v>-2.70302</c:v>
                </c:pt>
                <c:pt idx="8301">
                  <c:v>#N/A</c:v>
                </c:pt>
                <c:pt idx="8302">
                  <c:v>-3.5432700000000001</c:v>
                </c:pt>
                <c:pt idx="8303">
                  <c:v>-2.7077399999999998</c:v>
                </c:pt>
                <c:pt idx="8304">
                  <c:v>#N/A</c:v>
                </c:pt>
                <c:pt idx="8305">
                  <c:v>-3.2558099999999999</c:v>
                </c:pt>
                <c:pt idx="8306">
                  <c:v>-3.3218100000000002</c:v>
                </c:pt>
                <c:pt idx="8307">
                  <c:v>-2.2738399999999999</c:v>
                </c:pt>
                <c:pt idx="8308">
                  <c:v>#N/A</c:v>
                </c:pt>
                <c:pt idx="8309">
                  <c:v>-2.4383300000000001</c:v>
                </c:pt>
                <c:pt idx="8310">
                  <c:v>-2.4119899999999999</c:v>
                </c:pt>
                <c:pt idx="8311">
                  <c:v>-3.0285199999999999</c:v>
                </c:pt>
                <c:pt idx="8312">
                  <c:v>#N/A</c:v>
                </c:pt>
                <c:pt idx="8313">
                  <c:v>-2.9250799999999999</c:v>
                </c:pt>
                <c:pt idx="8314">
                  <c:v>-3.2677700000000001</c:v>
                </c:pt>
                <c:pt idx="8315">
                  <c:v>-3.3806099999999999</c:v>
                </c:pt>
                <c:pt idx="8316">
                  <c:v>#N/A</c:v>
                </c:pt>
                <c:pt idx="8317">
                  <c:v>-2.5701200000000002</c:v>
                </c:pt>
                <c:pt idx="8318">
                  <c:v>-1.99491</c:v>
                </c:pt>
                <c:pt idx="8319">
                  <c:v>-1.95302</c:v>
                </c:pt>
                <c:pt idx="8320">
                  <c:v>#N/A</c:v>
                </c:pt>
                <c:pt idx="8321">
                  <c:v>-2.2999200000000002</c:v>
                </c:pt>
                <c:pt idx="8322">
                  <c:v>-2.46916</c:v>
                </c:pt>
                <c:pt idx="8323">
                  <c:v>-2.59938</c:v>
                </c:pt>
                <c:pt idx="8324">
                  <c:v>#N/A</c:v>
                </c:pt>
                <c:pt idx="8325">
                  <c:v>-3.3331400000000002</c:v>
                </c:pt>
                <c:pt idx="8326">
                  <c:v>-3.9286699999999999</c:v>
                </c:pt>
                <c:pt idx="8327">
                  <c:v>-3.3065699999999998</c:v>
                </c:pt>
                <c:pt idx="8328">
                  <c:v>#N/A</c:v>
                </c:pt>
                <c:pt idx="8329">
                  <c:v>-2.2425099999999998</c:v>
                </c:pt>
                <c:pt idx="8330">
                  <c:v>-2.10006</c:v>
                </c:pt>
                <c:pt idx="8331">
                  <c:v>-2.1537799999999998</c:v>
                </c:pt>
                <c:pt idx="8332">
                  <c:v>#N/A</c:v>
                </c:pt>
                <c:pt idx="8333">
                  <c:v>-3.0185599999999999</c:v>
                </c:pt>
                <c:pt idx="8334">
                  <c:v>-2.7427700000000002</c:v>
                </c:pt>
                <c:pt idx="8335">
                  <c:v>-3.2403400000000002</c:v>
                </c:pt>
                <c:pt idx="8336">
                  <c:v>#N/A</c:v>
                </c:pt>
                <c:pt idx="8337">
                  <c:v>-3.3504999999999998</c:v>
                </c:pt>
                <c:pt idx="8338">
                  <c:v>-3.43411</c:v>
                </c:pt>
                <c:pt idx="8339">
                  <c:v>#N/A</c:v>
                </c:pt>
                <c:pt idx="8340">
                  <c:v>-2.9269699999999998</c:v>
                </c:pt>
                <c:pt idx="8341">
                  <c:v>-2.1465200000000002</c:v>
                </c:pt>
                <c:pt idx="8342">
                  <c:v>-2.18512</c:v>
                </c:pt>
                <c:pt idx="8343">
                  <c:v>#N/A</c:v>
                </c:pt>
                <c:pt idx="8344">
                  <c:v>-2.6959</c:v>
                </c:pt>
                <c:pt idx="8345">
                  <c:v>-2.8405100000000001</c:v>
                </c:pt>
                <c:pt idx="8346">
                  <c:v>-3.4027799999999999</c:v>
                </c:pt>
                <c:pt idx="8347">
                  <c:v>#N/A</c:v>
                </c:pt>
                <c:pt idx="8348">
                  <c:v>-3.3811200000000001</c:v>
                </c:pt>
                <c:pt idx="8349">
                  <c:v>-2.8921700000000001</c:v>
                </c:pt>
                <c:pt idx="8350">
                  <c:v>#N/A</c:v>
                </c:pt>
                <c:pt idx="8351">
                  <c:v>-2.5084599999999999</c:v>
                </c:pt>
                <c:pt idx="8352">
                  <c:v>-1.61758</c:v>
                </c:pt>
                <c:pt idx="8353">
                  <c:v>#N/A</c:v>
                </c:pt>
                <c:pt idx="8354">
                  <c:v>-2.09294</c:v>
                </c:pt>
                <c:pt idx="8355">
                  <c:v>-2.3670300000000002</c:v>
                </c:pt>
                <c:pt idx="8356">
                  <c:v>#N/A</c:v>
                </c:pt>
                <c:pt idx="8357">
                  <c:v>-2.83534</c:v>
                </c:pt>
                <c:pt idx="8358">
                  <c:v>-2.7068300000000001</c:v>
                </c:pt>
                <c:pt idx="8359">
                  <c:v>#N/A</c:v>
                </c:pt>
                <c:pt idx="8360">
                  <c:v>-2.72939</c:v>
                </c:pt>
                <c:pt idx="8361">
                  <c:v>-2.7035300000000002</c:v>
                </c:pt>
                <c:pt idx="8362">
                  <c:v>-2.82294</c:v>
                </c:pt>
                <c:pt idx="8363">
                  <c:v>#N/A</c:v>
                </c:pt>
                <c:pt idx="8364">
                  <c:v>-2.30802</c:v>
                </c:pt>
                <c:pt idx="8365">
                  <c:v>-2.54305</c:v>
                </c:pt>
                <c:pt idx="8366">
                  <c:v>-2.9852599999999998</c:v>
                </c:pt>
                <c:pt idx="8367">
                  <c:v>#N/A</c:v>
                </c:pt>
                <c:pt idx="8368">
                  <c:v>-3.1234199999999999</c:v>
                </c:pt>
                <c:pt idx="8369">
                  <c:v>-3.4995099999999999</c:v>
                </c:pt>
                <c:pt idx="8370">
                  <c:v>-3.05532</c:v>
                </c:pt>
                <c:pt idx="8371">
                  <c:v>#N/A</c:v>
                </c:pt>
                <c:pt idx="8372">
                  <c:v>-2.3039000000000001</c:v>
                </c:pt>
                <c:pt idx="8373">
                  <c:v>-2.9091900000000002</c:v>
                </c:pt>
                <c:pt idx="8374">
                  <c:v>#N/A</c:v>
                </c:pt>
                <c:pt idx="8375">
                  <c:v>-2.44136</c:v>
                </c:pt>
                <c:pt idx="8376">
                  <c:v>-2.3072499999999998</c:v>
                </c:pt>
                <c:pt idx="8377">
                  <c:v>-2.55627</c:v>
                </c:pt>
                <c:pt idx="8378">
                  <c:v>#N/A</c:v>
                </c:pt>
                <c:pt idx="8379">
                  <c:v>-2.5517799999999999</c:v>
                </c:pt>
                <c:pt idx="8380">
                  <c:v>-2.48828</c:v>
                </c:pt>
                <c:pt idx="8381">
                  <c:v>-2.59267</c:v>
                </c:pt>
                <c:pt idx="8382">
                  <c:v>#N/A</c:v>
                </c:pt>
                <c:pt idx="8383">
                  <c:v>-2.2682899999999999</c:v>
                </c:pt>
                <c:pt idx="8384">
                  <c:v>-2.2225999999999999</c:v>
                </c:pt>
                <c:pt idx="8385">
                  <c:v>-3.05843</c:v>
                </c:pt>
                <c:pt idx="8386">
                  <c:v>#N/A</c:v>
                </c:pt>
                <c:pt idx="8387">
                  <c:v>-3.2166199999999998</c:v>
                </c:pt>
                <c:pt idx="8388">
                  <c:v>-3.4986199999999998</c:v>
                </c:pt>
                <c:pt idx="8389">
                  <c:v>-3.33636</c:v>
                </c:pt>
                <c:pt idx="8390">
                  <c:v>#N/A</c:v>
                </c:pt>
                <c:pt idx="8391">
                  <c:v>-3.0968800000000001</c:v>
                </c:pt>
                <c:pt idx="8392">
                  <c:v>-3.2399800000000001</c:v>
                </c:pt>
                <c:pt idx="8393">
                  <c:v>-2.93188</c:v>
                </c:pt>
                <c:pt idx="8394">
                  <c:v>#N/A</c:v>
                </c:pt>
                <c:pt idx="8395">
                  <c:v>-2.2110799999999999</c:v>
                </c:pt>
                <c:pt idx="8396">
                  <c:v>-2.85643</c:v>
                </c:pt>
                <c:pt idx="8397">
                  <c:v>-3.31359</c:v>
                </c:pt>
                <c:pt idx="8398">
                  <c:v>#N/A</c:v>
                </c:pt>
                <c:pt idx="8399">
                  <c:v>-3.7150699999999999</c:v>
                </c:pt>
                <c:pt idx="8400">
                  <c:v>-3.38144</c:v>
                </c:pt>
                <c:pt idx="8401">
                  <c:v>-2.9443100000000002</c:v>
                </c:pt>
                <c:pt idx="8402">
                  <c:v>#N/A</c:v>
                </c:pt>
                <c:pt idx="8403">
                  <c:v>-2.2152500000000002</c:v>
                </c:pt>
                <c:pt idx="8404">
                  <c:v>-2.1965400000000002</c:v>
                </c:pt>
                <c:pt idx="8405">
                  <c:v>#N/A</c:v>
                </c:pt>
                <c:pt idx="8406">
                  <c:v>-2.56976</c:v>
                </c:pt>
                <c:pt idx="8407">
                  <c:v>-3.0170300000000001</c:v>
                </c:pt>
                <c:pt idx="8408">
                  <c:v>-3.0352299999999999</c:v>
                </c:pt>
                <c:pt idx="8409">
                  <c:v>#N/A</c:v>
                </c:pt>
                <c:pt idx="8410">
                  <c:v>-3.49695</c:v>
                </c:pt>
                <c:pt idx="8411">
                  <c:v>-3.4289299999999998</c:v>
                </c:pt>
                <c:pt idx="8412">
                  <c:v>-2.8405</c:v>
                </c:pt>
                <c:pt idx="8413">
                  <c:v>#N/A</c:v>
                </c:pt>
                <c:pt idx="8414">
                  <c:v>-2.7574800000000002</c:v>
                </c:pt>
                <c:pt idx="8415">
                  <c:v>-2.24078</c:v>
                </c:pt>
                <c:pt idx="8416">
                  <c:v>-2.6901199999999998</c:v>
                </c:pt>
                <c:pt idx="8417">
                  <c:v>#N/A</c:v>
                </c:pt>
                <c:pt idx="8418">
                  <c:v>-2.3059099999999999</c:v>
                </c:pt>
                <c:pt idx="8419">
                  <c:v>-3.0996100000000002</c:v>
                </c:pt>
                <c:pt idx="8420">
                  <c:v>-2.8756900000000001</c:v>
                </c:pt>
                <c:pt idx="8421">
                  <c:v>#N/A</c:v>
                </c:pt>
                <c:pt idx="8422">
                  <c:v>-3.4560399999999998</c:v>
                </c:pt>
                <c:pt idx="8423">
                  <c:v>-3.3667500000000001</c:v>
                </c:pt>
                <c:pt idx="8424">
                  <c:v>-2.7816900000000002</c:v>
                </c:pt>
                <c:pt idx="8425">
                  <c:v>#N/A</c:v>
                </c:pt>
                <c:pt idx="8426">
                  <c:v>-2.7591299999999999</c:v>
                </c:pt>
                <c:pt idx="8427">
                  <c:v>#N/A</c:v>
                </c:pt>
                <c:pt idx="8428">
                  <c:v>-2.1979000000000002</c:v>
                </c:pt>
                <c:pt idx="8429">
                  <c:v>-2.6388400000000001</c:v>
                </c:pt>
                <c:pt idx="8430">
                  <c:v>-2.9127000000000001</c:v>
                </c:pt>
                <c:pt idx="8431">
                  <c:v>#N/A</c:v>
                </c:pt>
                <c:pt idx="8432">
                  <c:v>-3.17441</c:v>
                </c:pt>
                <c:pt idx="8433">
                  <c:v>-3.0301</c:v>
                </c:pt>
                <c:pt idx="8434">
                  <c:v>-3.03111</c:v>
                </c:pt>
                <c:pt idx="8435">
                  <c:v>#N/A</c:v>
                </c:pt>
                <c:pt idx="8436">
                  <c:v>-3.16255</c:v>
                </c:pt>
                <c:pt idx="8437">
                  <c:v>-2.6162000000000001</c:v>
                </c:pt>
                <c:pt idx="8438">
                  <c:v>-2.4277799999999998</c:v>
                </c:pt>
                <c:pt idx="8439">
                  <c:v>#N/A</c:v>
                </c:pt>
                <c:pt idx="8440">
                  <c:v>-2.8967200000000002</c:v>
                </c:pt>
                <c:pt idx="8441">
                  <c:v>-2.8121299999999998</c:v>
                </c:pt>
                <c:pt idx="8442">
                  <c:v>-3.0107300000000001</c:v>
                </c:pt>
                <c:pt idx="8443">
                  <c:v>#N/A</c:v>
                </c:pt>
                <c:pt idx="8444">
                  <c:v>-3.0299</c:v>
                </c:pt>
                <c:pt idx="8445">
                  <c:v>-2.8521399999999999</c:v>
                </c:pt>
                <c:pt idx="8446">
                  <c:v>-2.59653</c:v>
                </c:pt>
                <c:pt idx="8447">
                  <c:v>#N/A</c:v>
                </c:pt>
                <c:pt idx="8448">
                  <c:v>-2.7194400000000001</c:v>
                </c:pt>
                <c:pt idx="8449">
                  <c:v>-3.0636700000000001</c:v>
                </c:pt>
                <c:pt idx="8450">
                  <c:v>#N/A</c:v>
                </c:pt>
                <c:pt idx="8451">
                  <c:v>-3.13523</c:v>
                </c:pt>
                <c:pt idx="8452">
                  <c:v>-3.3536999999999999</c:v>
                </c:pt>
                <c:pt idx="8453">
                  <c:v>-3.2482099999999998</c:v>
                </c:pt>
                <c:pt idx="8454">
                  <c:v>#N/A</c:v>
                </c:pt>
                <c:pt idx="8455">
                  <c:v>-2.4773399999999999</c:v>
                </c:pt>
                <c:pt idx="8456">
                  <c:v>-1.9629700000000001</c:v>
                </c:pt>
                <c:pt idx="8457">
                  <c:v>-2.1964899999999998</c:v>
                </c:pt>
                <c:pt idx="8458">
                  <c:v>#N/A</c:v>
                </c:pt>
                <c:pt idx="8459">
                  <c:v>-2.6712699999999998</c:v>
                </c:pt>
                <c:pt idx="8460">
                  <c:v>-2.8127499999999999</c:v>
                </c:pt>
                <c:pt idx="8461">
                  <c:v>-2.89493</c:v>
                </c:pt>
                <c:pt idx="8462">
                  <c:v>#N/A</c:v>
                </c:pt>
                <c:pt idx="8463">
                  <c:v>-2.40293</c:v>
                </c:pt>
                <c:pt idx="8464">
                  <c:v>-2.59396</c:v>
                </c:pt>
                <c:pt idx="8465">
                  <c:v>-2.29834</c:v>
                </c:pt>
                <c:pt idx="8466">
                  <c:v>#N/A</c:v>
                </c:pt>
                <c:pt idx="8467">
                  <c:v>-2.4159099999999998</c:v>
                </c:pt>
                <c:pt idx="8468">
                  <c:v>-2.25522</c:v>
                </c:pt>
                <c:pt idx="8469">
                  <c:v>-2.7503000000000002</c:v>
                </c:pt>
                <c:pt idx="8470">
                  <c:v>#N/A</c:v>
                </c:pt>
                <c:pt idx="8471">
                  <c:v>-2.9006400000000001</c:v>
                </c:pt>
                <c:pt idx="8472">
                  <c:v>-3.20811</c:v>
                </c:pt>
                <c:pt idx="8473">
                  <c:v>-2.4537800000000001</c:v>
                </c:pt>
                <c:pt idx="8474">
                  <c:v>#N/A</c:v>
                </c:pt>
                <c:pt idx="8475">
                  <c:v>-2.1245699999999998</c:v>
                </c:pt>
                <c:pt idx="8476">
                  <c:v>-1.4622900000000001</c:v>
                </c:pt>
                <c:pt idx="8477">
                  <c:v>-1.48488</c:v>
                </c:pt>
                <c:pt idx="8478">
                  <c:v>#N/A</c:v>
                </c:pt>
                <c:pt idx="8479">
                  <c:v>-1.75163</c:v>
                </c:pt>
                <c:pt idx="8480">
                  <c:v>-1.6880599999999999</c:v>
                </c:pt>
                <c:pt idx="8481">
                  <c:v>-2.8184800000000001</c:v>
                </c:pt>
                <c:pt idx="8482">
                  <c:v>#N/A</c:v>
                </c:pt>
                <c:pt idx="8483">
                  <c:v>-2.9681500000000001</c:v>
                </c:pt>
                <c:pt idx="8484">
                  <c:v>-2.7128399999999999</c:v>
                </c:pt>
                <c:pt idx="8485">
                  <c:v>#N/A</c:v>
                </c:pt>
                <c:pt idx="8486">
                  <c:v>-2.1207799999999999</c:v>
                </c:pt>
                <c:pt idx="8487">
                  <c:v>-1.5010699999999999</c:v>
                </c:pt>
                <c:pt idx="8488">
                  <c:v>#N/A</c:v>
                </c:pt>
                <c:pt idx="8489">
                  <c:v>-1.2532700000000001</c:v>
                </c:pt>
                <c:pt idx="8490">
                  <c:v>-1.9977799999999999</c:v>
                </c:pt>
                <c:pt idx="8491">
                  <c:v>-2.4761600000000001</c:v>
                </c:pt>
                <c:pt idx="8492">
                  <c:v>#N/A</c:v>
                </c:pt>
                <c:pt idx="8493">
                  <c:v>-2.8320099999999999</c:v>
                </c:pt>
                <c:pt idx="8494">
                  <c:v>-3.5873200000000001</c:v>
                </c:pt>
                <c:pt idx="8495">
                  <c:v>-3.2746300000000002</c:v>
                </c:pt>
                <c:pt idx="8496">
                  <c:v>#N/A</c:v>
                </c:pt>
                <c:pt idx="8497">
                  <c:v>-2.9132799999999999</c:v>
                </c:pt>
                <c:pt idx="8498">
                  <c:v>-1.9005099999999999</c:v>
                </c:pt>
                <c:pt idx="8499">
                  <c:v>-1.24777</c:v>
                </c:pt>
                <c:pt idx="8500">
                  <c:v>#N/A</c:v>
                </c:pt>
                <c:pt idx="8501">
                  <c:v>-1.93479</c:v>
                </c:pt>
                <c:pt idx="8502">
                  <c:v>#N/A</c:v>
                </c:pt>
                <c:pt idx="8503">
                  <c:v>-2.2977400000000001</c:v>
                </c:pt>
                <c:pt idx="8504">
                  <c:v>-3.0175700000000001</c:v>
                </c:pt>
                <c:pt idx="8505">
                  <c:v>#N/A</c:v>
                </c:pt>
                <c:pt idx="8506">
                  <c:v>-3.02244</c:v>
                </c:pt>
                <c:pt idx="8507">
                  <c:v>-3.1269399999999998</c:v>
                </c:pt>
                <c:pt idx="8508">
                  <c:v>#N/A</c:v>
                </c:pt>
                <c:pt idx="8509">
                  <c:v>-2.34416</c:v>
                </c:pt>
                <c:pt idx="8510">
                  <c:v>-1.9622599999999999</c:v>
                </c:pt>
                <c:pt idx="8511">
                  <c:v>-1.83525</c:v>
                </c:pt>
                <c:pt idx="8512">
                  <c:v>#N/A</c:v>
                </c:pt>
                <c:pt idx="8513">
                  <c:v>-2.6972299999999998</c:v>
                </c:pt>
                <c:pt idx="8514">
                  <c:v>-3.2591299999999999</c:v>
                </c:pt>
                <c:pt idx="8515">
                  <c:v>-3.37059</c:v>
                </c:pt>
                <c:pt idx="8516">
                  <c:v>#N/A</c:v>
                </c:pt>
                <c:pt idx="8517">
                  <c:v>-2.4652400000000001</c:v>
                </c:pt>
                <c:pt idx="8518">
                  <c:v>-3.1883300000000001</c:v>
                </c:pt>
                <c:pt idx="8519">
                  <c:v>-2.8861500000000002</c:v>
                </c:pt>
                <c:pt idx="8520">
                  <c:v>#N/A</c:v>
                </c:pt>
                <c:pt idx="8521">
                  <c:v>-2.88734</c:v>
                </c:pt>
                <c:pt idx="8522">
                  <c:v>-1.9583200000000001</c:v>
                </c:pt>
                <c:pt idx="8523">
                  <c:v>-2.8891200000000001</c:v>
                </c:pt>
                <c:pt idx="8524">
                  <c:v>#N/A</c:v>
                </c:pt>
                <c:pt idx="8525">
                  <c:v>-2.37737</c:v>
                </c:pt>
                <c:pt idx="8526">
                  <c:v>-2.9741900000000001</c:v>
                </c:pt>
                <c:pt idx="8527">
                  <c:v>#N/A</c:v>
                </c:pt>
                <c:pt idx="8528">
                  <c:v>-2.8649499999999999</c:v>
                </c:pt>
                <c:pt idx="8529">
                  <c:v>-2.4144199999999998</c:v>
                </c:pt>
                <c:pt idx="8530">
                  <c:v>-2.2906300000000002</c:v>
                </c:pt>
                <c:pt idx="8531">
                  <c:v>#N/A</c:v>
                </c:pt>
                <c:pt idx="8532">
                  <c:v>-2.6385700000000001</c:v>
                </c:pt>
                <c:pt idx="8533">
                  <c:v>-2.6747299999999998</c:v>
                </c:pt>
                <c:pt idx="8534">
                  <c:v>-2.3001</c:v>
                </c:pt>
                <c:pt idx="8535">
                  <c:v>#N/A</c:v>
                </c:pt>
                <c:pt idx="8536">
                  <c:v>-2.2596099999999999</c:v>
                </c:pt>
                <c:pt idx="8537">
                  <c:v>-2.0356800000000002</c:v>
                </c:pt>
                <c:pt idx="8538">
                  <c:v>-1.9250700000000001</c:v>
                </c:pt>
                <c:pt idx="8539">
                  <c:v>#N/A</c:v>
                </c:pt>
                <c:pt idx="8540">
                  <c:v>-1.4342699999999999</c:v>
                </c:pt>
                <c:pt idx="8541">
                  <c:v>-1.7619800000000001</c:v>
                </c:pt>
                <c:pt idx="8542">
                  <c:v>#N/A</c:v>
                </c:pt>
                <c:pt idx="8543">
                  <c:v>-2.2211599999999998</c:v>
                </c:pt>
                <c:pt idx="8544">
                  <c:v>-2.3410700000000002</c:v>
                </c:pt>
                <c:pt idx="8545">
                  <c:v>-3.3213300000000001</c:v>
                </c:pt>
                <c:pt idx="8546">
                  <c:v>#N/A</c:v>
                </c:pt>
                <c:pt idx="8547">
                  <c:v>-2.5425</c:v>
                </c:pt>
                <c:pt idx="8548">
                  <c:v>-2.4043999999999999</c:v>
                </c:pt>
                <c:pt idx="8549">
                  <c:v>-2.016</c:v>
                </c:pt>
                <c:pt idx="8550">
                  <c:v>#N/A</c:v>
                </c:pt>
                <c:pt idx="8551">
                  <c:v>-2.18614</c:v>
                </c:pt>
                <c:pt idx="8552">
                  <c:v>-1.96363</c:v>
                </c:pt>
                <c:pt idx="8553">
                  <c:v>-2.1472799999999999</c:v>
                </c:pt>
                <c:pt idx="8554">
                  <c:v>#N/A</c:v>
                </c:pt>
                <c:pt idx="8555">
                  <c:v>-3.3703799999999999</c:v>
                </c:pt>
                <c:pt idx="8556">
                  <c:v>-2.76647</c:v>
                </c:pt>
                <c:pt idx="8557">
                  <c:v>-3.1453199999999999</c:v>
                </c:pt>
                <c:pt idx="8558">
                  <c:v>#N/A</c:v>
                </c:pt>
                <c:pt idx="8559">
                  <c:v>-2.1099399999999999</c:v>
                </c:pt>
                <c:pt idx="8560">
                  <c:v>-1.6349499999999999</c:v>
                </c:pt>
                <c:pt idx="8561">
                  <c:v>#N/A</c:v>
                </c:pt>
                <c:pt idx="8562">
                  <c:v>-1.35761</c:v>
                </c:pt>
                <c:pt idx="8563">
                  <c:v>-1.8509100000000001</c:v>
                </c:pt>
                <c:pt idx="8564">
                  <c:v>-2.29922</c:v>
                </c:pt>
                <c:pt idx="8565">
                  <c:v>#N/A</c:v>
                </c:pt>
                <c:pt idx="8566">
                  <c:v>-2.6368200000000002</c:v>
                </c:pt>
                <c:pt idx="8567">
                  <c:v>-3.2156899999999999</c:v>
                </c:pt>
                <c:pt idx="8568">
                  <c:v>-2.9568699999999999</c:v>
                </c:pt>
                <c:pt idx="8569">
                  <c:v>#N/A</c:v>
                </c:pt>
                <c:pt idx="8570">
                  <c:v>-3.0598399999999999</c:v>
                </c:pt>
                <c:pt idx="8571">
                  <c:v>-1.84087</c:v>
                </c:pt>
                <c:pt idx="8572">
                  <c:v>-1.72482</c:v>
                </c:pt>
                <c:pt idx="8573">
                  <c:v>#N/A</c:v>
                </c:pt>
                <c:pt idx="8574">
                  <c:v>-2.2604299999999999</c:v>
                </c:pt>
                <c:pt idx="8575">
                  <c:v>-2.9666199999999998</c:v>
                </c:pt>
                <c:pt idx="8576">
                  <c:v>-2.9066900000000002</c:v>
                </c:pt>
                <c:pt idx="8577">
                  <c:v>#N/A</c:v>
                </c:pt>
                <c:pt idx="8578">
                  <c:v>-2.8500899999999998</c:v>
                </c:pt>
                <c:pt idx="8579">
                  <c:v>#N/A</c:v>
                </c:pt>
                <c:pt idx="8580">
                  <c:v>-2.7791299999999999</c:v>
                </c:pt>
                <c:pt idx="8581">
                  <c:v>-2.5325600000000001</c:v>
                </c:pt>
                <c:pt idx="8582">
                  <c:v>-1.88893</c:v>
                </c:pt>
                <c:pt idx="8583">
                  <c:v>#N/A</c:v>
                </c:pt>
                <c:pt idx="8584">
                  <c:v>-2.4875699999999998</c:v>
                </c:pt>
                <c:pt idx="8585">
                  <c:v>-1.8397300000000001</c:v>
                </c:pt>
                <c:pt idx="8586">
                  <c:v>#N/A</c:v>
                </c:pt>
                <c:pt idx="8587">
                  <c:v>-3.0043199999999999</c:v>
                </c:pt>
                <c:pt idx="8588">
                  <c:v>-2.9301900000000001</c:v>
                </c:pt>
                <c:pt idx="8589">
                  <c:v>-3.0484900000000001</c:v>
                </c:pt>
                <c:pt idx="8590">
                  <c:v>#N/A</c:v>
                </c:pt>
                <c:pt idx="8591">
                  <c:v>-2.8844599999999998</c:v>
                </c:pt>
                <c:pt idx="8592">
                  <c:v>-2.6594899999999999</c:v>
                </c:pt>
                <c:pt idx="8593">
                  <c:v>-2.2485300000000001</c:v>
                </c:pt>
                <c:pt idx="8594">
                  <c:v>#N/A</c:v>
                </c:pt>
                <c:pt idx="8595">
                  <c:v>-2.4118200000000001</c:v>
                </c:pt>
                <c:pt idx="8596">
                  <c:v>-2.3359200000000002</c:v>
                </c:pt>
                <c:pt idx="8597">
                  <c:v>-2.3801700000000001</c:v>
                </c:pt>
                <c:pt idx="8598">
                  <c:v>#N/A</c:v>
                </c:pt>
                <c:pt idx="8599">
                  <c:v>-2.94611</c:v>
                </c:pt>
                <c:pt idx="8600">
                  <c:v>-2.88889</c:v>
                </c:pt>
                <c:pt idx="8601">
                  <c:v>-2.0217100000000001</c:v>
                </c:pt>
                <c:pt idx="8602">
                  <c:v>#N/A</c:v>
                </c:pt>
                <c:pt idx="8603">
                  <c:v>-1.49847</c:v>
                </c:pt>
                <c:pt idx="8604">
                  <c:v>-1.9346099999999999</c:v>
                </c:pt>
                <c:pt idx="8605">
                  <c:v>#N/A</c:v>
                </c:pt>
                <c:pt idx="8606">
                  <c:v>-1.91089</c:v>
                </c:pt>
                <c:pt idx="8607">
                  <c:v>-2.57023</c:v>
                </c:pt>
                <c:pt idx="8608">
                  <c:v>-2.8746100000000001</c:v>
                </c:pt>
                <c:pt idx="8609">
                  <c:v>#N/A</c:v>
                </c:pt>
                <c:pt idx="8610">
                  <c:v>-2.4585699999999999</c:v>
                </c:pt>
                <c:pt idx="8611">
                  <c:v>-2.1487799999999999</c:v>
                </c:pt>
                <c:pt idx="8612">
                  <c:v>-2.2549000000000001</c:v>
                </c:pt>
                <c:pt idx="8613">
                  <c:v>#N/A</c:v>
                </c:pt>
                <c:pt idx="8614">
                  <c:v>-2.3256800000000002</c:v>
                </c:pt>
                <c:pt idx="8615">
                  <c:v>-3.1769799999999999</c:v>
                </c:pt>
                <c:pt idx="8616">
                  <c:v>#N/A</c:v>
                </c:pt>
                <c:pt idx="8617">
                  <c:v>-3.6975699999999998</c:v>
                </c:pt>
                <c:pt idx="8618">
                  <c:v>-3.4740799999999998</c:v>
                </c:pt>
                <c:pt idx="8619">
                  <c:v>-3.0195400000000001</c:v>
                </c:pt>
                <c:pt idx="8620">
                  <c:v>#N/A</c:v>
                </c:pt>
                <c:pt idx="8621">
                  <c:v>-2.7968500000000001</c:v>
                </c:pt>
                <c:pt idx="8622">
                  <c:v>-2.5030700000000001</c:v>
                </c:pt>
                <c:pt idx="8623">
                  <c:v>-2.2886600000000001</c:v>
                </c:pt>
                <c:pt idx="8624">
                  <c:v>#N/A</c:v>
                </c:pt>
                <c:pt idx="8625">
                  <c:v>-2.1254900000000001</c:v>
                </c:pt>
                <c:pt idx="8626">
                  <c:v>-2.06189</c:v>
                </c:pt>
                <c:pt idx="8627">
                  <c:v>-2.2777500000000002</c:v>
                </c:pt>
                <c:pt idx="8628">
                  <c:v>#N/A</c:v>
                </c:pt>
                <c:pt idx="8629">
                  <c:v>-3.3473199999999999</c:v>
                </c:pt>
                <c:pt idx="8630">
                  <c:v>-3.3511899999999999</c:v>
                </c:pt>
                <c:pt idx="8631">
                  <c:v>-2.90652</c:v>
                </c:pt>
                <c:pt idx="8632">
                  <c:v>#N/A</c:v>
                </c:pt>
                <c:pt idx="8633">
                  <c:v>-2.5169999999999999</c:v>
                </c:pt>
                <c:pt idx="8634">
                  <c:v>-2.26959</c:v>
                </c:pt>
                <c:pt idx="8635">
                  <c:v>-2.7295500000000001</c:v>
                </c:pt>
                <c:pt idx="8636">
                  <c:v>#N/A</c:v>
                </c:pt>
                <c:pt idx="8637">
                  <c:v>-2.21163</c:v>
                </c:pt>
                <c:pt idx="8638">
                  <c:v>-2.7894000000000001</c:v>
                </c:pt>
                <c:pt idx="8639">
                  <c:v>-3.0086300000000001</c:v>
                </c:pt>
                <c:pt idx="8640">
                  <c:v>#N/A</c:v>
                </c:pt>
                <c:pt idx="8641">
                  <c:v>-3.1744300000000001</c:v>
                </c:pt>
                <c:pt idx="8642">
                  <c:v>-2.2798099999999999</c:v>
                </c:pt>
                <c:pt idx="8643">
                  <c:v>-2.2408999999999999</c:v>
                </c:pt>
                <c:pt idx="8644">
                  <c:v>#N/A</c:v>
                </c:pt>
                <c:pt idx="8645">
                  <c:v>-1.7399</c:v>
                </c:pt>
                <c:pt idx="8646">
                  <c:v>-1.6810400000000001</c:v>
                </c:pt>
                <c:pt idx="8647">
                  <c:v>#N/A</c:v>
                </c:pt>
                <c:pt idx="8648">
                  <c:v>-1.95363</c:v>
                </c:pt>
                <c:pt idx="8649">
                  <c:v>-2.3331</c:v>
                </c:pt>
                <c:pt idx="8650">
                  <c:v>-2.9212199999999999</c:v>
                </c:pt>
                <c:pt idx="8651">
                  <c:v>#N/A</c:v>
                </c:pt>
                <c:pt idx="8652">
                  <c:v>-3.1341800000000002</c:v>
                </c:pt>
                <c:pt idx="8653">
                  <c:v>-2.6000100000000002</c:v>
                </c:pt>
                <c:pt idx="8654">
                  <c:v>#N/A</c:v>
                </c:pt>
                <c:pt idx="8655">
                  <c:v>-1.9766600000000001</c:v>
                </c:pt>
                <c:pt idx="8656">
                  <c:v>-1.5491699999999999</c:v>
                </c:pt>
                <c:pt idx="8657">
                  <c:v>#N/A</c:v>
                </c:pt>
                <c:pt idx="8658">
                  <c:v>-0.88177799999999995</c:v>
                </c:pt>
                <c:pt idx="8659">
                  <c:v>-2.0832099999999998</c:v>
                </c:pt>
                <c:pt idx="8660">
                  <c:v>-2.7931900000000001</c:v>
                </c:pt>
                <c:pt idx="8661">
                  <c:v>#N/A</c:v>
                </c:pt>
                <c:pt idx="8662">
                  <c:v>-2.6639200000000001</c:v>
                </c:pt>
                <c:pt idx="8663">
                  <c:v>-2.3956</c:v>
                </c:pt>
                <c:pt idx="8664">
                  <c:v>-2.21225</c:v>
                </c:pt>
                <c:pt idx="8665">
                  <c:v>#N/A</c:v>
                </c:pt>
                <c:pt idx="8666">
                  <c:v>-1.93184</c:v>
                </c:pt>
                <c:pt idx="8667">
                  <c:v>-1.3204499999999999</c:v>
                </c:pt>
                <c:pt idx="8668">
                  <c:v>-2.0052099999999999</c:v>
                </c:pt>
                <c:pt idx="8669">
                  <c:v>#N/A</c:v>
                </c:pt>
                <c:pt idx="8670">
                  <c:v>-1.80233</c:v>
                </c:pt>
                <c:pt idx="8671">
                  <c:v>-2.63652</c:v>
                </c:pt>
                <c:pt idx="8672">
                  <c:v>-2.5399699999999998</c:v>
                </c:pt>
                <c:pt idx="8673">
                  <c:v>#N/A</c:v>
                </c:pt>
                <c:pt idx="8674">
                  <c:v>-2.4598399999999998</c:v>
                </c:pt>
                <c:pt idx="8675">
                  <c:v>-1.6487000000000001</c:v>
                </c:pt>
                <c:pt idx="8676">
                  <c:v>-1.7667900000000001</c:v>
                </c:pt>
                <c:pt idx="8677">
                  <c:v>#N/A</c:v>
                </c:pt>
                <c:pt idx="8678">
                  <c:v>-2.49986</c:v>
                </c:pt>
                <c:pt idx="8679">
                  <c:v>-2.6644999999999999</c:v>
                </c:pt>
                <c:pt idx="8680">
                  <c:v>-2.38015</c:v>
                </c:pt>
                <c:pt idx="8681">
                  <c:v>#N/A</c:v>
                </c:pt>
                <c:pt idx="8682">
                  <c:v>-2.3926400000000001</c:v>
                </c:pt>
                <c:pt idx="8683">
                  <c:v>-2.96143</c:v>
                </c:pt>
                <c:pt idx="8684">
                  <c:v>-1.78098</c:v>
                </c:pt>
                <c:pt idx="8685">
                  <c:v>#N/A</c:v>
                </c:pt>
                <c:pt idx="8686">
                  <c:v>-1.5659400000000001</c:v>
                </c:pt>
                <c:pt idx="8687">
                  <c:v>-1.6547400000000001</c:v>
                </c:pt>
                <c:pt idx="8688">
                  <c:v>-2.3727</c:v>
                </c:pt>
                <c:pt idx="8689">
                  <c:v>#N/A</c:v>
                </c:pt>
                <c:pt idx="8690">
                  <c:v>-2.73786</c:v>
                </c:pt>
                <c:pt idx="8691">
                  <c:v>-3.2191200000000002</c:v>
                </c:pt>
                <c:pt idx="8692">
                  <c:v>#N/A</c:v>
                </c:pt>
                <c:pt idx="8693">
                  <c:v>-2.4947599999999999</c:v>
                </c:pt>
                <c:pt idx="8694">
                  <c:v>-2.5880299999999998</c:v>
                </c:pt>
                <c:pt idx="8695">
                  <c:v>-2.4171499999999999</c:v>
                </c:pt>
                <c:pt idx="8696">
                  <c:v>#N/A</c:v>
                </c:pt>
                <c:pt idx="8697">
                  <c:v>-2.4184199999999998</c:v>
                </c:pt>
                <c:pt idx="8698">
                  <c:v>-2.26335</c:v>
                </c:pt>
                <c:pt idx="8699">
                  <c:v>-2.5573299999999999</c:v>
                </c:pt>
                <c:pt idx="8700">
                  <c:v>#N/A</c:v>
                </c:pt>
                <c:pt idx="8701">
                  <c:v>-2.7323499999999998</c:v>
                </c:pt>
                <c:pt idx="8702">
                  <c:v>-2.9223599999999998</c:v>
                </c:pt>
                <c:pt idx="8703">
                  <c:v>-2.8602300000000001</c:v>
                </c:pt>
                <c:pt idx="8704">
                  <c:v>#N/A</c:v>
                </c:pt>
                <c:pt idx="8705">
                  <c:v>-2.5291600000000001</c:v>
                </c:pt>
                <c:pt idx="8706">
                  <c:v>-1.85053</c:v>
                </c:pt>
                <c:pt idx="8707">
                  <c:v>-2.2697699999999998</c:v>
                </c:pt>
                <c:pt idx="8708">
                  <c:v>#N/A</c:v>
                </c:pt>
                <c:pt idx="8709">
                  <c:v>-2.3946200000000002</c:v>
                </c:pt>
                <c:pt idx="8710">
                  <c:v>-2.1453000000000002</c:v>
                </c:pt>
                <c:pt idx="8711">
                  <c:v>-2.75949</c:v>
                </c:pt>
                <c:pt idx="8712">
                  <c:v>#N/A</c:v>
                </c:pt>
                <c:pt idx="8713">
                  <c:v>-3.10806</c:v>
                </c:pt>
                <c:pt idx="8714">
                  <c:v>-2.84612</c:v>
                </c:pt>
                <c:pt idx="8715">
                  <c:v>-2.0847799999999999</c:v>
                </c:pt>
                <c:pt idx="8716">
                  <c:v>#N/A</c:v>
                </c:pt>
                <c:pt idx="8717">
                  <c:v>-2.3970799999999999</c:v>
                </c:pt>
                <c:pt idx="8718">
                  <c:v>-1.6180300000000001</c:v>
                </c:pt>
                <c:pt idx="8719">
                  <c:v>-2.6040899999999998</c:v>
                </c:pt>
                <c:pt idx="8720">
                  <c:v>#N/A</c:v>
                </c:pt>
                <c:pt idx="8721">
                  <c:v>-2.4807800000000002</c:v>
                </c:pt>
                <c:pt idx="8722">
                  <c:v>-2.58989</c:v>
                </c:pt>
                <c:pt idx="8723">
                  <c:v>-2.9373499999999999</c:v>
                </c:pt>
                <c:pt idx="8724">
                  <c:v>#N/A</c:v>
                </c:pt>
                <c:pt idx="8725">
                  <c:v>-2.8653300000000002</c:v>
                </c:pt>
                <c:pt idx="8726">
                  <c:v>-2.5601799999999999</c:v>
                </c:pt>
                <c:pt idx="8727">
                  <c:v>#N/A</c:v>
                </c:pt>
                <c:pt idx="8728">
                  <c:v>-2.4593400000000001</c:v>
                </c:pt>
                <c:pt idx="8729">
                  <c:v>#N/A</c:v>
                </c:pt>
                <c:pt idx="8730">
                  <c:v>-1.90638</c:v>
                </c:pt>
                <c:pt idx="8731">
                  <c:v>#N/A</c:v>
                </c:pt>
                <c:pt idx="8732">
                  <c:v>-2.7079300000000002</c:v>
                </c:pt>
                <c:pt idx="8733">
                  <c:v>-2.4572600000000002</c:v>
                </c:pt>
                <c:pt idx="8734">
                  <c:v>-2.7530399999999999</c:v>
                </c:pt>
                <c:pt idx="8735">
                  <c:v>#N/A</c:v>
                </c:pt>
                <c:pt idx="8736">
                  <c:v>-2.4981900000000001</c:v>
                </c:pt>
                <c:pt idx="8737">
                  <c:v>-2.6963900000000001</c:v>
                </c:pt>
                <c:pt idx="8738">
                  <c:v>-2.3491599999999999</c:v>
                </c:pt>
                <c:pt idx="8739">
                  <c:v>#N/A</c:v>
                </c:pt>
                <c:pt idx="8740">
                  <c:v>-2.2720099999999999</c:v>
                </c:pt>
                <c:pt idx="8741">
                  <c:v>-2.0785399999999998</c:v>
                </c:pt>
                <c:pt idx="8742">
                  <c:v>-2.11741</c:v>
                </c:pt>
                <c:pt idx="8743">
                  <c:v>#N/A</c:v>
                </c:pt>
                <c:pt idx="8744">
                  <c:v>-2.6149100000000001</c:v>
                </c:pt>
                <c:pt idx="8745">
                  <c:v>-2.6090900000000001</c:v>
                </c:pt>
                <c:pt idx="8746">
                  <c:v>-2.8622000000000001</c:v>
                </c:pt>
                <c:pt idx="8747">
                  <c:v>#N/A</c:v>
                </c:pt>
                <c:pt idx="8748">
                  <c:v>-2.32741</c:v>
                </c:pt>
                <c:pt idx="8749">
                  <c:v>-2.4738799999999999</c:v>
                </c:pt>
                <c:pt idx="8750">
                  <c:v>-2.1123799999999999</c:v>
                </c:pt>
                <c:pt idx="8751">
                  <c:v>#N/A</c:v>
                </c:pt>
                <c:pt idx="8752">
                  <c:v>-2.0345900000000001</c:v>
                </c:pt>
                <c:pt idx="8753">
                  <c:v>-2.2808899999999999</c:v>
                </c:pt>
                <c:pt idx="8754">
                  <c:v>#N/A</c:v>
                </c:pt>
                <c:pt idx="8755">
                  <c:v>-2.82212</c:v>
                </c:pt>
                <c:pt idx="8756">
                  <c:v>-3.3739499999999998</c:v>
                </c:pt>
                <c:pt idx="8757">
                  <c:v>-2.8994900000000001</c:v>
                </c:pt>
                <c:pt idx="8758">
                  <c:v>#N/A</c:v>
                </c:pt>
                <c:pt idx="8759">
                  <c:v>-2.3767</c:v>
                </c:pt>
                <c:pt idx="8760">
                  <c:v>-1.7506600000000001</c:v>
                </c:pt>
                <c:pt idx="8761">
                  <c:v>-2.12859</c:v>
                </c:pt>
                <c:pt idx="8762">
                  <c:v>#N/A</c:v>
                </c:pt>
                <c:pt idx="8763">
                  <c:v>-2.2702200000000001</c:v>
                </c:pt>
                <c:pt idx="8764">
                  <c:v>-2.50414</c:v>
                </c:pt>
                <c:pt idx="8765">
                  <c:v>#N/A</c:v>
                </c:pt>
                <c:pt idx="8766">
                  <c:v>-2.8892799999999998</c:v>
                </c:pt>
                <c:pt idx="8767">
                  <c:v>-2.1781199999999998</c:v>
                </c:pt>
                <c:pt idx="8768">
                  <c:v>-2.3445299999999998</c:v>
                </c:pt>
                <c:pt idx="8769">
                  <c:v>#N/A</c:v>
                </c:pt>
                <c:pt idx="8770">
                  <c:v>-2.17869</c:v>
                </c:pt>
                <c:pt idx="8771">
                  <c:v>-1.6854800000000001</c:v>
                </c:pt>
                <c:pt idx="8772">
                  <c:v>-1.8546100000000001</c:v>
                </c:pt>
                <c:pt idx="8773">
                  <c:v>#N/A</c:v>
                </c:pt>
                <c:pt idx="8774">
                  <c:v>-2.9023599999999998</c:v>
                </c:pt>
                <c:pt idx="8775">
                  <c:v>-2.6372200000000001</c:v>
                </c:pt>
                <c:pt idx="8776">
                  <c:v>-2.7688999999999999</c:v>
                </c:pt>
                <c:pt idx="8777">
                  <c:v>#N/A</c:v>
                </c:pt>
                <c:pt idx="8778">
                  <c:v>-1.9392799999999999</c:v>
                </c:pt>
                <c:pt idx="8779">
                  <c:v>-1.7471399999999999</c:v>
                </c:pt>
                <c:pt idx="8780">
                  <c:v>-1.92954</c:v>
                </c:pt>
                <c:pt idx="8781">
                  <c:v>#N/A</c:v>
                </c:pt>
                <c:pt idx="8782">
                  <c:v>-1.9056</c:v>
                </c:pt>
                <c:pt idx="8783">
                  <c:v>-1.7302299999999999</c:v>
                </c:pt>
                <c:pt idx="8784">
                  <c:v>#N/A</c:v>
                </c:pt>
                <c:pt idx="8785">
                  <c:v>-2.6190500000000001</c:v>
                </c:pt>
                <c:pt idx="8786">
                  <c:v>-2.9443100000000002</c:v>
                </c:pt>
                <c:pt idx="8787">
                  <c:v>-3.3050700000000002</c:v>
                </c:pt>
                <c:pt idx="8788">
                  <c:v>#N/A</c:v>
                </c:pt>
                <c:pt idx="8789">
                  <c:v>-2.4474499999999999</c:v>
                </c:pt>
                <c:pt idx="8790">
                  <c:v>-2.29928</c:v>
                </c:pt>
                <c:pt idx="8791">
                  <c:v>-1.93974</c:v>
                </c:pt>
                <c:pt idx="8792">
                  <c:v>#N/A</c:v>
                </c:pt>
                <c:pt idx="8793">
                  <c:v>-1.9080600000000001</c:v>
                </c:pt>
                <c:pt idx="8794">
                  <c:v>-1.9542200000000001</c:v>
                </c:pt>
                <c:pt idx="8795">
                  <c:v>-2.62012</c:v>
                </c:pt>
                <c:pt idx="8796">
                  <c:v>#N/A</c:v>
                </c:pt>
                <c:pt idx="8797">
                  <c:v>-2.84144</c:v>
                </c:pt>
                <c:pt idx="8798">
                  <c:v>-3.2984</c:v>
                </c:pt>
                <c:pt idx="8799">
                  <c:v>-2.9410400000000001</c:v>
                </c:pt>
                <c:pt idx="8800">
                  <c:v>#N/A</c:v>
                </c:pt>
                <c:pt idx="8801">
                  <c:v>-2.2257899999999999</c:v>
                </c:pt>
                <c:pt idx="8802">
                  <c:v>-1.5669900000000001</c:v>
                </c:pt>
                <c:pt idx="8803">
                  <c:v>#N/A</c:v>
                </c:pt>
                <c:pt idx="8804">
                  <c:v>-1.5079499999999999</c:v>
                </c:pt>
                <c:pt idx="8805">
                  <c:v>-1.96465</c:v>
                </c:pt>
                <c:pt idx="8806">
                  <c:v>#N/A</c:v>
                </c:pt>
                <c:pt idx="8807">
                  <c:v>-2.5613299999999999</c:v>
                </c:pt>
                <c:pt idx="8808">
                  <c:v>-2.6872799999999999</c:v>
                </c:pt>
                <c:pt idx="8809">
                  <c:v>-2.2199</c:v>
                </c:pt>
                <c:pt idx="8810">
                  <c:v>#N/A</c:v>
                </c:pt>
                <c:pt idx="8811">
                  <c:v>-2.64642</c:v>
                </c:pt>
                <c:pt idx="8812">
                  <c:v>-2.3767399999999999</c:v>
                </c:pt>
                <c:pt idx="8813">
                  <c:v>-2.1240100000000002</c:v>
                </c:pt>
                <c:pt idx="8814">
                  <c:v>#N/A</c:v>
                </c:pt>
                <c:pt idx="8815">
                  <c:v>-1.40622</c:v>
                </c:pt>
                <c:pt idx="8816">
                  <c:v>-2.0105599999999999</c:v>
                </c:pt>
                <c:pt idx="8817">
                  <c:v>#N/A</c:v>
                </c:pt>
                <c:pt idx="8818">
                  <c:v>-2.8973499999999999</c:v>
                </c:pt>
                <c:pt idx="8819">
                  <c:v>-2.95947</c:v>
                </c:pt>
                <c:pt idx="8820">
                  <c:v>-2.5663100000000001</c:v>
                </c:pt>
                <c:pt idx="8821">
                  <c:v>#N/A</c:v>
                </c:pt>
                <c:pt idx="8822">
                  <c:v>-2.5015800000000001</c:v>
                </c:pt>
                <c:pt idx="8823">
                  <c:v>-2.0111300000000001</c:v>
                </c:pt>
                <c:pt idx="8824">
                  <c:v>-2.8759999999999999</c:v>
                </c:pt>
                <c:pt idx="8825">
                  <c:v>#N/A</c:v>
                </c:pt>
                <c:pt idx="8826">
                  <c:v>-2.2897699999999999</c:v>
                </c:pt>
                <c:pt idx="8827">
                  <c:v>-2.3160699999999999</c:v>
                </c:pt>
                <c:pt idx="8828">
                  <c:v>-1.7580100000000001</c:v>
                </c:pt>
                <c:pt idx="8829">
                  <c:v>#N/A</c:v>
                </c:pt>
                <c:pt idx="8830">
                  <c:v>-2.2492000000000001</c:v>
                </c:pt>
                <c:pt idx="8831">
                  <c:v>-2.3922599999999998</c:v>
                </c:pt>
                <c:pt idx="8832">
                  <c:v>-1.7836700000000001</c:v>
                </c:pt>
                <c:pt idx="8833">
                  <c:v>#N/A</c:v>
                </c:pt>
                <c:pt idx="8834">
                  <c:v>-1.8484499999999999</c:v>
                </c:pt>
                <c:pt idx="8835">
                  <c:v>-2.09415</c:v>
                </c:pt>
                <c:pt idx="8836">
                  <c:v>-2.6218900000000001</c:v>
                </c:pt>
                <c:pt idx="8837">
                  <c:v>#N/A</c:v>
                </c:pt>
                <c:pt idx="8838">
                  <c:v>-3.0040200000000001</c:v>
                </c:pt>
                <c:pt idx="8839">
                  <c:v>-2.5681699999999998</c:v>
                </c:pt>
                <c:pt idx="8840">
                  <c:v>-1.88324</c:v>
                </c:pt>
                <c:pt idx="8841">
                  <c:v>#N/A</c:v>
                </c:pt>
                <c:pt idx="8842">
                  <c:v>-1.8923000000000001</c:v>
                </c:pt>
                <c:pt idx="8843">
                  <c:v>-1.7541</c:v>
                </c:pt>
                <c:pt idx="8844">
                  <c:v>-2.3052700000000002</c:v>
                </c:pt>
                <c:pt idx="8845">
                  <c:v>#N/A</c:v>
                </c:pt>
                <c:pt idx="8846">
                  <c:v>-2.21868</c:v>
                </c:pt>
                <c:pt idx="8847">
                  <c:v>-3.1838000000000002</c:v>
                </c:pt>
                <c:pt idx="8848">
                  <c:v>#N/A</c:v>
                </c:pt>
                <c:pt idx="8849">
                  <c:v>-3.2501099999999998</c:v>
                </c:pt>
                <c:pt idx="8850">
                  <c:v>-2.9629699999999999</c:v>
                </c:pt>
                <c:pt idx="8851">
                  <c:v>-2.3716300000000001</c:v>
                </c:pt>
                <c:pt idx="8852">
                  <c:v>#N/A</c:v>
                </c:pt>
                <c:pt idx="8853">
                  <c:v>-1.39943</c:v>
                </c:pt>
                <c:pt idx="8854">
                  <c:v>-1.0837600000000001</c:v>
                </c:pt>
                <c:pt idx="8855">
                  <c:v>-1.7879799999999999</c:v>
                </c:pt>
                <c:pt idx="8856">
                  <c:v>#N/A</c:v>
                </c:pt>
                <c:pt idx="8857">
                  <c:v>-1.82036</c:v>
                </c:pt>
                <c:pt idx="8858">
                  <c:v>-2.27596</c:v>
                </c:pt>
                <c:pt idx="8859">
                  <c:v>-3.53769</c:v>
                </c:pt>
                <c:pt idx="8860">
                  <c:v>#N/A</c:v>
                </c:pt>
                <c:pt idx="8861">
                  <c:v>-3.1037599999999999</c:v>
                </c:pt>
                <c:pt idx="8862">
                  <c:v>-2.77549</c:v>
                </c:pt>
                <c:pt idx="8863">
                  <c:v>-1.55118</c:v>
                </c:pt>
                <c:pt idx="8864">
                  <c:v>#N/A</c:v>
                </c:pt>
                <c:pt idx="8865">
                  <c:v>-1.25973</c:v>
                </c:pt>
                <c:pt idx="8866">
                  <c:v>-1.7295199999999999</c:v>
                </c:pt>
                <c:pt idx="8867">
                  <c:v>-2.28945</c:v>
                </c:pt>
                <c:pt idx="8868">
                  <c:v>#N/A</c:v>
                </c:pt>
                <c:pt idx="8869">
                  <c:v>-2.8049900000000001</c:v>
                </c:pt>
                <c:pt idx="8870">
                  <c:v>-3.2036199999999999</c:v>
                </c:pt>
                <c:pt idx="8871">
                  <c:v>-2.9107699999999999</c:v>
                </c:pt>
                <c:pt idx="8872">
                  <c:v>#N/A</c:v>
                </c:pt>
                <c:pt idx="8873">
                  <c:v>-2.9908000000000001</c:v>
                </c:pt>
                <c:pt idx="8874">
                  <c:v>-3.8349600000000001</c:v>
                </c:pt>
                <c:pt idx="8875">
                  <c:v>-3.7742300000000002</c:v>
                </c:pt>
                <c:pt idx="8876">
                  <c:v>#N/A</c:v>
                </c:pt>
                <c:pt idx="8877">
                  <c:v>-3.2278799999999999</c:v>
                </c:pt>
                <c:pt idx="8878">
                  <c:v>#N/A</c:v>
                </c:pt>
                <c:pt idx="8879">
                  <c:v>-2.8265500000000001</c:v>
                </c:pt>
                <c:pt idx="8880">
                  <c:v>#N/A</c:v>
                </c:pt>
                <c:pt idx="8881">
                  <c:v>-2.6231599999999999</c:v>
                </c:pt>
                <c:pt idx="8882">
                  <c:v>-3.1606299999999998</c:v>
                </c:pt>
                <c:pt idx="8883">
                  <c:v>-2.5625599999999999</c:v>
                </c:pt>
                <c:pt idx="8884">
                  <c:v>#N/A</c:v>
                </c:pt>
                <c:pt idx="8885">
                  <c:v>-2.0204800000000001</c:v>
                </c:pt>
                <c:pt idx="8886">
                  <c:v>-1.27329</c:v>
                </c:pt>
                <c:pt idx="8887">
                  <c:v>-1.1636200000000001</c:v>
                </c:pt>
                <c:pt idx="8888">
                  <c:v>#N/A</c:v>
                </c:pt>
                <c:pt idx="8889">
                  <c:v>-1.5029999999999999</c:v>
                </c:pt>
                <c:pt idx="8890">
                  <c:v>-1.63913</c:v>
                </c:pt>
                <c:pt idx="8891">
                  <c:v>-1.5319199999999999</c:v>
                </c:pt>
                <c:pt idx="8892">
                  <c:v>#N/A</c:v>
                </c:pt>
                <c:pt idx="8893">
                  <c:v>-1.9597599999999999</c:v>
                </c:pt>
                <c:pt idx="8894">
                  <c:v>-2.0546899999999999</c:v>
                </c:pt>
                <c:pt idx="8895">
                  <c:v>#N/A</c:v>
                </c:pt>
                <c:pt idx="8896">
                  <c:v>-2.0299800000000001</c:v>
                </c:pt>
                <c:pt idx="8897">
                  <c:v>-1.57978</c:v>
                </c:pt>
                <c:pt idx="8898">
                  <c:v>-2.2167500000000002</c:v>
                </c:pt>
                <c:pt idx="8899">
                  <c:v>#N/A</c:v>
                </c:pt>
                <c:pt idx="8900">
                  <c:v>-2.29915</c:v>
                </c:pt>
                <c:pt idx="8901">
                  <c:v>-2.9190299999999998</c:v>
                </c:pt>
                <c:pt idx="8902">
                  <c:v>-3.2496999999999998</c:v>
                </c:pt>
                <c:pt idx="8903">
                  <c:v>#N/A</c:v>
                </c:pt>
                <c:pt idx="8904">
                  <c:v>-2.8470599999999999</c:v>
                </c:pt>
                <c:pt idx="8905">
                  <c:v>-2.45871</c:v>
                </c:pt>
                <c:pt idx="8906">
                  <c:v>#N/A</c:v>
                </c:pt>
                <c:pt idx="8907">
                  <c:v>-2.89276</c:v>
                </c:pt>
                <c:pt idx="8908">
                  <c:v>-2.7247699999999999</c:v>
                </c:pt>
                <c:pt idx="8909">
                  <c:v>-2.6579100000000002</c:v>
                </c:pt>
                <c:pt idx="8910">
                  <c:v>#N/A</c:v>
                </c:pt>
                <c:pt idx="8911">
                  <c:v>-2.46278</c:v>
                </c:pt>
                <c:pt idx="8912">
                  <c:v>-2.3629899999999999</c:v>
                </c:pt>
                <c:pt idx="8913">
                  <c:v>-1.89408</c:v>
                </c:pt>
                <c:pt idx="8914">
                  <c:v>#N/A</c:v>
                </c:pt>
                <c:pt idx="8915">
                  <c:v>-1.8832</c:v>
                </c:pt>
                <c:pt idx="8916">
                  <c:v>-1.4297800000000001</c:v>
                </c:pt>
                <c:pt idx="8917">
                  <c:v>-1.2068300000000001</c:v>
                </c:pt>
                <c:pt idx="8918">
                  <c:v>#N/A</c:v>
                </c:pt>
                <c:pt idx="8919">
                  <c:v>-1.7926</c:v>
                </c:pt>
                <c:pt idx="8920">
                  <c:v>-2.5160300000000002</c:v>
                </c:pt>
                <c:pt idx="8921">
                  <c:v>-2.76939</c:v>
                </c:pt>
                <c:pt idx="8922">
                  <c:v>#N/A</c:v>
                </c:pt>
                <c:pt idx="8923">
                  <c:v>-2.3778800000000002</c:v>
                </c:pt>
                <c:pt idx="8924">
                  <c:v>-2.75725</c:v>
                </c:pt>
                <c:pt idx="8925">
                  <c:v>-2.90489</c:v>
                </c:pt>
                <c:pt idx="8926">
                  <c:v>#N/A</c:v>
                </c:pt>
                <c:pt idx="8927">
                  <c:v>-2.4315899999999999</c:v>
                </c:pt>
                <c:pt idx="8928">
                  <c:v>-2.2250299999999998</c:v>
                </c:pt>
                <c:pt idx="8929">
                  <c:v>-2.3948499999999999</c:v>
                </c:pt>
                <c:pt idx="8930">
                  <c:v>#N/A</c:v>
                </c:pt>
                <c:pt idx="8931">
                  <c:v>-2.5119600000000002</c:v>
                </c:pt>
                <c:pt idx="8932">
                  <c:v>-3.4743900000000001</c:v>
                </c:pt>
                <c:pt idx="8933">
                  <c:v>-2.9887899999999998</c:v>
                </c:pt>
                <c:pt idx="8934">
                  <c:v>#N/A</c:v>
                </c:pt>
                <c:pt idx="8935">
                  <c:v>-2.41079</c:v>
                </c:pt>
                <c:pt idx="8936">
                  <c:v>-1.7219199999999999</c:v>
                </c:pt>
                <c:pt idx="8937">
                  <c:v>#N/A</c:v>
                </c:pt>
                <c:pt idx="8938">
                  <c:v>-1.2722800000000001</c:v>
                </c:pt>
                <c:pt idx="8939">
                  <c:v>-1.4927699999999999</c:v>
                </c:pt>
                <c:pt idx="8940">
                  <c:v>-2.26999</c:v>
                </c:pt>
                <c:pt idx="8941">
                  <c:v>#N/A</c:v>
                </c:pt>
                <c:pt idx="8942">
                  <c:v>-2.18588</c:v>
                </c:pt>
                <c:pt idx="8943">
                  <c:v>-2.6692300000000002</c:v>
                </c:pt>
                <c:pt idx="8944">
                  <c:v>-3.3913899999999999</c:v>
                </c:pt>
                <c:pt idx="8945">
                  <c:v>#N/A</c:v>
                </c:pt>
                <c:pt idx="8946">
                  <c:v>-2.4351400000000001</c:v>
                </c:pt>
                <c:pt idx="8947">
                  <c:v>-1.7478</c:v>
                </c:pt>
                <c:pt idx="8948">
                  <c:v>-1.6569700000000001</c:v>
                </c:pt>
                <c:pt idx="8949">
                  <c:v>#N/A</c:v>
                </c:pt>
                <c:pt idx="8950">
                  <c:v>-2.0037699999999998</c:v>
                </c:pt>
                <c:pt idx="8951">
                  <c:v>-1.6987000000000001</c:v>
                </c:pt>
                <c:pt idx="8952">
                  <c:v>#N/A</c:v>
                </c:pt>
                <c:pt idx="8953">
                  <c:v>-2.4502000000000002</c:v>
                </c:pt>
                <c:pt idx="8954">
                  <c:v>-3.0364100000000001</c:v>
                </c:pt>
                <c:pt idx="8955">
                  <c:v>#N/A</c:v>
                </c:pt>
                <c:pt idx="8956">
                  <c:v>-2.9455</c:v>
                </c:pt>
                <c:pt idx="8957">
                  <c:v>-2.5001500000000001</c:v>
                </c:pt>
                <c:pt idx="8958">
                  <c:v>#N/A</c:v>
                </c:pt>
                <c:pt idx="8959">
                  <c:v>-2.2245699999999999</c:v>
                </c:pt>
                <c:pt idx="8960">
                  <c:v>-1.8885000000000001</c:v>
                </c:pt>
                <c:pt idx="8961">
                  <c:v>-1.55453</c:v>
                </c:pt>
                <c:pt idx="8962">
                  <c:v>#N/A</c:v>
                </c:pt>
                <c:pt idx="8963">
                  <c:v>-2.1068799999999999</c:v>
                </c:pt>
                <c:pt idx="8964">
                  <c:v>-2.4390999999999998</c:v>
                </c:pt>
                <c:pt idx="8965">
                  <c:v>-2.5994199999999998</c:v>
                </c:pt>
                <c:pt idx="8966">
                  <c:v>#N/A</c:v>
                </c:pt>
                <c:pt idx="8967">
                  <c:v>-2.8668</c:v>
                </c:pt>
                <c:pt idx="8968">
                  <c:v>-2.5286300000000002</c:v>
                </c:pt>
                <c:pt idx="8969">
                  <c:v>#N/A</c:v>
                </c:pt>
                <c:pt idx="8970">
                  <c:v>-2.4270700000000001</c:v>
                </c:pt>
                <c:pt idx="8971">
                  <c:v>-2.3752599999999999</c:v>
                </c:pt>
                <c:pt idx="8972">
                  <c:v>-2.3363700000000001</c:v>
                </c:pt>
                <c:pt idx="8973">
                  <c:v>#N/A</c:v>
                </c:pt>
                <c:pt idx="8974">
                  <c:v>-2.6166700000000001</c:v>
                </c:pt>
                <c:pt idx="8975">
                  <c:v>#N/A</c:v>
                </c:pt>
                <c:pt idx="8976">
                  <c:v>-2.6614499999999999</c:v>
                </c:pt>
                <c:pt idx="8977">
                  <c:v>-2.2650199999999998</c:v>
                </c:pt>
                <c:pt idx="8978">
                  <c:v>#N/A</c:v>
                </c:pt>
                <c:pt idx="8979">
                  <c:v>-2.0100899999999999</c:v>
                </c:pt>
                <c:pt idx="8980">
                  <c:v>-2.2509299999999999</c:v>
                </c:pt>
                <c:pt idx="8981">
                  <c:v>-2.25542</c:v>
                </c:pt>
                <c:pt idx="8982">
                  <c:v>#N/A</c:v>
                </c:pt>
                <c:pt idx="8983">
                  <c:v>-2.5423900000000001</c:v>
                </c:pt>
                <c:pt idx="8984">
                  <c:v>-2.65848</c:v>
                </c:pt>
                <c:pt idx="8985">
                  <c:v>-2.4008099999999999</c:v>
                </c:pt>
                <c:pt idx="8986">
                  <c:v>#N/A</c:v>
                </c:pt>
                <c:pt idx="8987">
                  <c:v>-2.7511399999999999</c:v>
                </c:pt>
                <c:pt idx="8988">
                  <c:v>-2.2659799999999999</c:v>
                </c:pt>
                <c:pt idx="8989">
                  <c:v>-1.9791399999999999</c:v>
                </c:pt>
                <c:pt idx="8990">
                  <c:v>#N/A</c:v>
                </c:pt>
                <c:pt idx="8991">
                  <c:v>-2.1437400000000002</c:v>
                </c:pt>
                <c:pt idx="8992">
                  <c:v>-2.14194</c:v>
                </c:pt>
                <c:pt idx="8993">
                  <c:v>#N/A</c:v>
                </c:pt>
                <c:pt idx="8994">
                  <c:v>-2.8269799999999998</c:v>
                </c:pt>
                <c:pt idx="8995">
                  <c:v>-2.9185300000000001</c:v>
                </c:pt>
                <c:pt idx="8996">
                  <c:v>-3.1122700000000001</c:v>
                </c:pt>
                <c:pt idx="8997">
                  <c:v>#N/A</c:v>
                </c:pt>
                <c:pt idx="8998">
                  <c:v>-2.1666300000000001</c:v>
                </c:pt>
                <c:pt idx="8999">
                  <c:v>-1.77037</c:v>
                </c:pt>
                <c:pt idx="9000">
                  <c:v>-1.59528</c:v>
                </c:pt>
                <c:pt idx="9001">
                  <c:v>#N/A</c:v>
                </c:pt>
                <c:pt idx="9002">
                  <c:v>-1.42041</c:v>
                </c:pt>
                <c:pt idx="9003">
                  <c:v>-2.0450599999999999</c:v>
                </c:pt>
                <c:pt idx="9004">
                  <c:v>-2.8369900000000001</c:v>
                </c:pt>
                <c:pt idx="9005">
                  <c:v>#N/A</c:v>
                </c:pt>
                <c:pt idx="9006">
                  <c:v>-2.8503099999999999</c:v>
                </c:pt>
                <c:pt idx="9007">
                  <c:v>-2.6764800000000002</c:v>
                </c:pt>
                <c:pt idx="9008">
                  <c:v>-2.4955500000000002</c:v>
                </c:pt>
                <c:pt idx="9009">
                  <c:v>#N/A</c:v>
                </c:pt>
                <c:pt idx="9010">
                  <c:v>-1.81819</c:v>
                </c:pt>
                <c:pt idx="9011">
                  <c:v>-1.29976</c:v>
                </c:pt>
                <c:pt idx="9012">
                  <c:v>-1.57236</c:v>
                </c:pt>
                <c:pt idx="9013">
                  <c:v>#N/A</c:v>
                </c:pt>
                <c:pt idx="9014">
                  <c:v>-2.63252</c:v>
                </c:pt>
                <c:pt idx="9015">
                  <c:v>-2.4057300000000001</c:v>
                </c:pt>
                <c:pt idx="9016">
                  <c:v>-2.9411700000000001</c:v>
                </c:pt>
                <c:pt idx="9017">
                  <c:v>#N/A</c:v>
                </c:pt>
                <c:pt idx="9018">
                  <c:v>-3.1246900000000002</c:v>
                </c:pt>
                <c:pt idx="9019">
                  <c:v>-2.7746</c:v>
                </c:pt>
                <c:pt idx="9020">
                  <c:v>-1.89629</c:v>
                </c:pt>
                <c:pt idx="9021">
                  <c:v>#N/A</c:v>
                </c:pt>
                <c:pt idx="9022">
                  <c:v>-1.47865</c:v>
                </c:pt>
                <c:pt idx="9023">
                  <c:v>-1.6088</c:v>
                </c:pt>
                <c:pt idx="9024">
                  <c:v>#N/A</c:v>
                </c:pt>
                <c:pt idx="9025">
                  <c:v>-2.0380600000000002</c:v>
                </c:pt>
                <c:pt idx="9026">
                  <c:v>-2.2064499999999998</c:v>
                </c:pt>
                <c:pt idx="9027">
                  <c:v>-2.4823200000000001</c:v>
                </c:pt>
                <c:pt idx="9028">
                  <c:v>#N/A</c:v>
                </c:pt>
                <c:pt idx="9029">
                  <c:v>-2.53138</c:v>
                </c:pt>
                <c:pt idx="9030">
                  <c:v>#N/A</c:v>
                </c:pt>
                <c:pt idx="9031">
                  <c:v>-2.2771400000000002</c:v>
                </c:pt>
                <c:pt idx="9032">
                  <c:v>#N/A</c:v>
                </c:pt>
                <c:pt idx="9033">
                  <c:v>-2.22302</c:v>
                </c:pt>
                <c:pt idx="9034">
                  <c:v>-2.1577500000000001</c:v>
                </c:pt>
                <c:pt idx="9035">
                  <c:v>-2.1955499999999999</c:v>
                </c:pt>
                <c:pt idx="9036">
                  <c:v>#N/A</c:v>
                </c:pt>
                <c:pt idx="9037">
                  <c:v>-2.17455</c:v>
                </c:pt>
                <c:pt idx="9038">
                  <c:v>-2.8406699999999998</c:v>
                </c:pt>
                <c:pt idx="9039">
                  <c:v>-2.4840100000000001</c:v>
                </c:pt>
                <c:pt idx="9040">
                  <c:v>#N/A</c:v>
                </c:pt>
                <c:pt idx="9041">
                  <c:v>-2.2575099999999999</c:v>
                </c:pt>
                <c:pt idx="9042">
                  <c:v>-2.44001</c:v>
                </c:pt>
                <c:pt idx="9043">
                  <c:v>-1.7688200000000001</c:v>
                </c:pt>
                <c:pt idx="9044">
                  <c:v>#N/A</c:v>
                </c:pt>
                <c:pt idx="9045">
                  <c:v>-1.7315199999999999</c:v>
                </c:pt>
                <c:pt idx="9046">
                  <c:v>-2.0443600000000002</c:v>
                </c:pt>
                <c:pt idx="9047">
                  <c:v>-2.8984100000000002</c:v>
                </c:pt>
                <c:pt idx="9048">
                  <c:v>#N/A</c:v>
                </c:pt>
                <c:pt idx="9049">
                  <c:v>-3.22498</c:v>
                </c:pt>
                <c:pt idx="9050">
                  <c:v>-2.5834299999999999</c:v>
                </c:pt>
                <c:pt idx="9051">
                  <c:v>-2.1754600000000002</c:v>
                </c:pt>
                <c:pt idx="9052">
                  <c:v>#N/A</c:v>
                </c:pt>
                <c:pt idx="9053">
                  <c:v>-2.3246500000000001</c:v>
                </c:pt>
                <c:pt idx="9054">
                  <c:v>-2.9837600000000002</c:v>
                </c:pt>
                <c:pt idx="9055">
                  <c:v>-2.6463399999999999</c:v>
                </c:pt>
                <c:pt idx="9056">
                  <c:v>#N/A</c:v>
                </c:pt>
                <c:pt idx="9057">
                  <c:v>-2.80159</c:v>
                </c:pt>
                <c:pt idx="9058">
                  <c:v>-2.6799900000000001</c:v>
                </c:pt>
                <c:pt idx="9059">
                  <c:v>#N/A</c:v>
                </c:pt>
                <c:pt idx="9060">
                  <c:v>-2.3771599999999999</c:v>
                </c:pt>
                <c:pt idx="9061">
                  <c:v>-2.3854000000000002</c:v>
                </c:pt>
                <c:pt idx="9062">
                  <c:v>-2.2485900000000001</c:v>
                </c:pt>
                <c:pt idx="9063">
                  <c:v>#N/A</c:v>
                </c:pt>
                <c:pt idx="9064">
                  <c:v>-1.6862299999999999</c:v>
                </c:pt>
                <c:pt idx="9065">
                  <c:v>-2.5883500000000002</c:v>
                </c:pt>
                <c:pt idx="9066">
                  <c:v>-2.6397300000000001</c:v>
                </c:pt>
                <c:pt idx="9067">
                  <c:v>#N/A</c:v>
                </c:pt>
                <c:pt idx="9068">
                  <c:v>-2.3781400000000001</c:v>
                </c:pt>
                <c:pt idx="9069">
                  <c:v>-2.7445499999999998</c:v>
                </c:pt>
                <c:pt idx="9070">
                  <c:v>-2.4566400000000002</c:v>
                </c:pt>
                <c:pt idx="9071">
                  <c:v>#N/A</c:v>
                </c:pt>
                <c:pt idx="9072">
                  <c:v>-2.2822100000000001</c:v>
                </c:pt>
                <c:pt idx="9073">
                  <c:v>-2.1781700000000002</c:v>
                </c:pt>
                <c:pt idx="9074">
                  <c:v>-2.4326599999999998</c:v>
                </c:pt>
                <c:pt idx="9075">
                  <c:v>#N/A</c:v>
                </c:pt>
                <c:pt idx="9076">
                  <c:v>-2.84266</c:v>
                </c:pt>
                <c:pt idx="9077">
                  <c:v>-3.3258899999999998</c:v>
                </c:pt>
                <c:pt idx="9078">
                  <c:v>-3.3474200000000001</c:v>
                </c:pt>
                <c:pt idx="9079">
                  <c:v>#N/A</c:v>
                </c:pt>
                <c:pt idx="9080">
                  <c:v>-3.2913299999999999</c:v>
                </c:pt>
                <c:pt idx="9081">
                  <c:v>-2.31819</c:v>
                </c:pt>
                <c:pt idx="9082">
                  <c:v>#N/A</c:v>
                </c:pt>
                <c:pt idx="9083">
                  <c:v>-1.73848</c:v>
                </c:pt>
                <c:pt idx="9084">
                  <c:v>-2.2869600000000001</c:v>
                </c:pt>
                <c:pt idx="9085">
                  <c:v>-2.2721200000000001</c:v>
                </c:pt>
                <c:pt idx="9086">
                  <c:v>#N/A</c:v>
                </c:pt>
                <c:pt idx="9087">
                  <c:v>-2.34144</c:v>
                </c:pt>
                <c:pt idx="9088">
                  <c:v>-2.75522</c:v>
                </c:pt>
                <c:pt idx="9089">
                  <c:v>-2.9108200000000002</c:v>
                </c:pt>
                <c:pt idx="9090">
                  <c:v>#N/A</c:v>
                </c:pt>
                <c:pt idx="9091">
                  <c:v>-2.7810899999999998</c:v>
                </c:pt>
                <c:pt idx="9092">
                  <c:v>-2.3541500000000002</c:v>
                </c:pt>
                <c:pt idx="9093">
                  <c:v>-1.93346</c:v>
                </c:pt>
                <c:pt idx="9094">
                  <c:v>#N/A</c:v>
                </c:pt>
                <c:pt idx="9095">
                  <c:v>-1.59778</c:v>
                </c:pt>
                <c:pt idx="9096">
                  <c:v>-2.1403500000000002</c:v>
                </c:pt>
                <c:pt idx="9097">
                  <c:v>#N/A</c:v>
                </c:pt>
                <c:pt idx="9098">
                  <c:v>-2.0399099999999999</c:v>
                </c:pt>
                <c:pt idx="9099">
                  <c:v>-2.4555699999999998</c:v>
                </c:pt>
                <c:pt idx="9100">
                  <c:v>-2.9807199999999998</c:v>
                </c:pt>
                <c:pt idx="9101">
                  <c:v>#N/A</c:v>
                </c:pt>
                <c:pt idx="9102">
                  <c:v>-3.0183200000000001</c:v>
                </c:pt>
                <c:pt idx="9103">
                  <c:v>-2.46258</c:v>
                </c:pt>
                <c:pt idx="9104">
                  <c:v>#N/A</c:v>
                </c:pt>
                <c:pt idx="9105">
                  <c:v>-2.03586</c:v>
                </c:pt>
                <c:pt idx="9106">
                  <c:v>-2.18161</c:v>
                </c:pt>
                <c:pt idx="9107">
                  <c:v>#N/A</c:v>
                </c:pt>
                <c:pt idx="9108">
                  <c:v>-1.82073</c:v>
                </c:pt>
                <c:pt idx="9109">
                  <c:v>-2.9176600000000001</c:v>
                </c:pt>
                <c:pt idx="9110">
                  <c:v>-2.8207200000000001</c:v>
                </c:pt>
                <c:pt idx="9111">
                  <c:v>#N/A</c:v>
                </c:pt>
                <c:pt idx="9112">
                  <c:v>-2.6457299999999999</c:v>
                </c:pt>
                <c:pt idx="9113">
                  <c:v>-2.8478400000000001</c:v>
                </c:pt>
                <c:pt idx="9114">
                  <c:v>#N/A</c:v>
                </c:pt>
                <c:pt idx="9115">
                  <c:v>-2.6029100000000001</c:v>
                </c:pt>
                <c:pt idx="9116">
                  <c:v>-2.0053800000000002</c:v>
                </c:pt>
                <c:pt idx="9117">
                  <c:v>-2.0582099999999999</c:v>
                </c:pt>
                <c:pt idx="9118">
                  <c:v>#N/A</c:v>
                </c:pt>
                <c:pt idx="9119">
                  <c:v>-2.2679100000000001</c:v>
                </c:pt>
                <c:pt idx="9120">
                  <c:v>-1.9614799999999999</c:v>
                </c:pt>
                <c:pt idx="9121">
                  <c:v>-2.6450900000000002</c:v>
                </c:pt>
                <c:pt idx="9122">
                  <c:v>#N/A</c:v>
                </c:pt>
                <c:pt idx="9123">
                  <c:v>-2.6806000000000001</c:v>
                </c:pt>
                <c:pt idx="9124">
                  <c:v>-2.6679400000000002</c:v>
                </c:pt>
                <c:pt idx="9125">
                  <c:v>-2.0596100000000002</c:v>
                </c:pt>
                <c:pt idx="9126">
                  <c:v>#N/A</c:v>
                </c:pt>
                <c:pt idx="9127">
                  <c:v>-2.4156200000000001</c:v>
                </c:pt>
                <c:pt idx="9128">
                  <c:v>-2.2515999999999998</c:v>
                </c:pt>
                <c:pt idx="9129">
                  <c:v>-2.6914199999999999</c:v>
                </c:pt>
                <c:pt idx="9130">
                  <c:v>#N/A</c:v>
                </c:pt>
                <c:pt idx="9131">
                  <c:v>-2.8599700000000001</c:v>
                </c:pt>
                <c:pt idx="9132">
                  <c:v>-2.2987799999999998</c:v>
                </c:pt>
                <c:pt idx="9133">
                  <c:v>-1.68011</c:v>
                </c:pt>
                <c:pt idx="9134">
                  <c:v>#N/A</c:v>
                </c:pt>
                <c:pt idx="9135">
                  <c:v>-2.1575600000000001</c:v>
                </c:pt>
                <c:pt idx="9136">
                  <c:v>-2.3611200000000001</c:v>
                </c:pt>
                <c:pt idx="9137">
                  <c:v>-2.1835900000000001</c:v>
                </c:pt>
                <c:pt idx="9138">
                  <c:v>#N/A</c:v>
                </c:pt>
                <c:pt idx="9139">
                  <c:v>-2.7702</c:v>
                </c:pt>
                <c:pt idx="9140">
                  <c:v>-2.5066299999999999</c:v>
                </c:pt>
                <c:pt idx="9141">
                  <c:v>-2.8283299999999998</c:v>
                </c:pt>
                <c:pt idx="9142">
                  <c:v>#N/A</c:v>
                </c:pt>
                <c:pt idx="9143">
                  <c:v>-2.3176000000000001</c:v>
                </c:pt>
                <c:pt idx="9144">
                  <c:v>-2.25434</c:v>
                </c:pt>
                <c:pt idx="9145">
                  <c:v>#N/A</c:v>
                </c:pt>
                <c:pt idx="9146">
                  <c:v>-1.68831</c:v>
                </c:pt>
                <c:pt idx="9147">
                  <c:v>-1.72044</c:v>
                </c:pt>
                <c:pt idx="9148">
                  <c:v>-1.59785</c:v>
                </c:pt>
                <c:pt idx="9149">
                  <c:v>#N/A</c:v>
                </c:pt>
                <c:pt idx="9150">
                  <c:v>-2.2744200000000001</c:v>
                </c:pt>
                <c:pt idx="9151">
                  <c:v>-2.3064300000000002</c:v>
                </c:pt>
                <c:pt idx="9152">
                  <c:v>-3.1477300000000001</c:v>
                </c:pt>
                <c:pt idx="9153">
                  <c:v>#N/A</c:v>
                </c:pt>
                <c:pt idx="9154">
                  <c:v>-3.4935200000000002</c:v>
                </c:pt>
                <c:pt idx="9155">
                  <c:v>-2.6751200000000002</c:v>
                </c:pt>
                <c:pt idx="9156">
                  <c:v>-1.9918499999999999</c:v>
                </c:pt>
                <c:pt idx="9157">
                  <c:v>#N/A</c:v>
                </c:pt>
                <c:pt idx="9158">
                  <c:v>-1.9105799999999999</c:v>
                </c:pt>
                <c:pt idx="9159">
                  <c:v>-1.8618300000000001</c:v>
                </c:pt>
                <c:pt idx="9160">
                  <c:v>-2.8866200000000002</c:v>
                </c:pt>
                <c:pt idx="9161">
                  <c:v>#N/A</c:v>
                </c:pt>
                <c:pt idx="9162">
                  <c:v>-2.9616500000000001</c:v>
                </c:pt>
                <c:pt idx="9163">
                  <c:v>-3.5612200000000001</c:v>
                </c:pt>
                <c:pt idx="9164">
                  <c:v>-3.1311300000000002</c:v>
                </c:pt>
                <c:pt idx="9165">
                  <c:v>#N/A</c:v>
                </c:pt>
                <c:pt idx="9166">
                  <c:v>-3.03816</c:v>
                </c:pt>
                <c:pt idx="9167">
                  <c:v>-2.5422199999999999</c:v>
                </c:pt>
                <c:pt idx="9168">
                  <c:v>#N/A</c:v>
                </c:pt>
                <c:pt idx="9169">
                  <c:v>-2.1199499999999998</c:v>
                </c:pt>
                <c:pt idx="9170">
                  <c:v>-2.5225200000000001</c:v>
                </c:pt>
                <c:pt idx="9171">
                  <c:v>-2.2057699999999998</c:v>
                </c:pt>
                <c:pt idx="9172">
                  <c:v>#N/A</c:v>
                </c:pt>
                <c:pt idx="9173">
                  <c:v>-2.9423900000000001</c:v>
                </c:pt>
                <c:pt idx="9174">
                  <c:v>-3.2048899999999998</c:v>
                </c:pt>
                <c:pt idx="9175">
                  <c:v>-2.9341599999999999</c:v>
                </c:pt>
                <c:pt idx="9176">
                  <c:v>#N/A</c:v>
                </c:pt>
                <c:pt idx="9177">
                  <c:v>-2.33473</c:v>
                </c:pt>
                <c:pt idx="9178">
                  <c:v>-2.3047200000000001</c:v>
                </c:pt>
                <c:pt idx="9179">
                  <c:v>#N/A</c:v>
                </c:pt>
                <c:pt idx="9180">
                  <c:v>-1.5660700000000001</c:v>
                </c:pt>
                <c:pt idx="9181">
                  <c:v>#N/A</c:v>
                </c:pt>
                <c:pt idx="9182">
                  <c:v>-2.5832700000000002</c:v>
                </c:pt>
                <c:pt idx="9183">
                  <c:v>-2.8580100000000002</c:v>
                </c:pt>
                <c:pt idx="9184">
                  <c:v>-2.6236799999999998</c:v>
                </c:pt>
                <c:pt idx="9185">
                  <c:v>#N/A</c:v>
                </c:pt>
                <c:pt idx="9186">
                  <c:v>-2.60223</c:v>
                </c:pt>
                <c:pt idx="9187">
                  <c:v>-2.41831</c:v>
                </c:pt>
                <c:pt idx="9188">
                  <c:v>-2.5346199999999999</c:v>
                </c:pt>
                <c:pt idx="9189">
                  <c:v>#N/A</c:v>
                </c:pt>
                <c:pt idx="9190">
                  <c:v>-2.0001099999999998</c:v>
                </c:pt>
                <c:pt idx="9191">
                  <c:v>-2.3555899999999999</c:v>
                </c:pt>
                <c:pt idx="9192">
                  <c:v>-2.5303300000000002</c:v>
                </c:pt>
                <c:pt idx="9193">
                  <c:v>#N/A</c:v>
                </c:pt>
                <c:pt idx="9194">
                  <c:v>-2.5522399999999998</c:v>
                </c:pt>
                <c:pt idx="9195">
                  <c:v>-2.5498500000000002</c:v>
                </c:pt>
                <c:pt idx="9196">
                  <c:v>-2.4083399999999999</c:v>
                </c:pt>
                <c:pt idx="9197">
                  <c:v>#N/A</c:v>
                </c:pt>
                <c:pt idx="9198">
                  <c:v>-2.01803</c:v>
                </c:pt>
                <c:pt idx="9199">
                  <c:v>-2.0783</c:v>
                </c:pt>
                <c:pt idx="9200">
                  <c:v>-2.14961</c:v>
                </c:pt>
                <c:pt idx="9201">
                  <c:v>#N/A</c:v>
                </c:pt>
                <c:pt idx="9202">
                  <c:v>-2.3041900000000002</c:v>
                </c:pt>
                <c:pt idx="9203">
                  <c:v>-2.2310099999999999</c:v>
                </c:pt>
                <c:pt idx="9204">
                  <c:v>#N/A</c:v>
                </c:pt>
                <c:pt idx="9205">
                  <c:v>-2.7740800000000001</c:v>
                </c:pt>
                <c:pt idx="9206">
                  <c:v>-2.6505100000000001</c:v>
                </c:pt>
                <c:pt idx="9207">
                  <c:v>-2.4929899999999998</c:v>
                </c:pt>
                <c:pt idx="9208">
                  <c:v>#N/A</c:v>
                </c:pt>
                <c:pt idx="9209">
                  <c:v>-1.8454999999999999</c:v>
                </c:pt>
                <c:pt idx="9210">
                  <c:v>-1.82494</c:v>
                </c:pt>
                <c:pt idx="9211">
                  <c:v>-1.8104199999999999</c:v>
                </c:pt>
                <c:pt idx="9212">
                  <c:v>#N/A</c:v>
                </c:pt>
                <c:pt idx="9213">
                  <c:v>-2.7869299999999999</c:v>
                </c:pt>
                <c:pt idx="9214">
                  <c:v>-2.6487599999999998</c:v>
                </c:pt>
                <c:pt idx="9215">
                  <c:v>-2.3559800000000002</c:v>
                </c:pt>
                <c:pt idx="9216">
                  <c:v>#N/A</c:v>
                </c:pt>
                <c:pt idx="9217">
                  <c:v>-2.2189000000000001</c:v>
                </c:pt>
                <c:pt idx="9218">
                  <c:v>-2.3435800000000002</c:v>
                </c:pt>
                <c:pt idx="9219">
                  <c:v>-1.8966499999999999</c:v>
                </c:pt>
                <c:pt idx="9220">
                  <c:v>#N/A</c:v>
                </c:pt>
                <c:pt idx="9221">
                  <c:v>-1.8293600000000001</c:v>
                </c:pt>
                <c:pt idx="9222">
                  <c:v>-2.2077399999999998</c:v>
                </c:pt>
                <c:pt idx="9223">
                  <c:v>-2.3186399999999998</c:v>
                </c:pt>
                <c:pt idx="9224">
                  <c:v>#N/A</c:v>
                </c:pt>
                <c:pt idx="9225">
                  <c:v>-3.01423</c:v>
                </c:pt>
                <c:pt idx="9226">
                  <c:v>-2.88503</c:v>
                </c:pt>
                <c:pt idx="9227">
                  <c:v>-3.1052399999999998</c:v>
                </c:pt>
                <c:pt idx="9228">
                  <c:v>#N/A</c:v>
                </c:pt>
                <c:pt idx="9229">
                  <c:v>-2.1165099999999999</c:v>
                </c:pt>
                <c:pt idx="9230">
                  <c:v>-2.4439500000000001</c:v>
                </c:pt>
                <c:pt idx="9231">
                  <c:v>-2.0492300000000001</c:v>
                </c:pt>
                <c:pt idx="9232">
                  <c:v>#N/A</c:v>
                </c:pt>
                <c:pt idx="9233">
                  <c:v>-2.0299800000000001</c:v>
                </c:pt>
                <c:pt idx="9234">
                  <c:v>-2.7996799999999999</c:v>
                </c:pt>
                <c:pt idx="9235">
                  <c:v>#N/A</c:v>
                </c:pt>
                <c:pt idx="9236">
                  <c:v>-3.44903</c:v>
                </c:pt>
                <c:pt idx="9237">
                  <c:v>-2.6126800000000001</c:v>
                </c:pt>
                <c:pt idx="9238">
                  <c:v>-2.7643599999999999</c:v>
                </c:pt>
                <c:pt idx="9239">
                  <c:v>#N/A</c:v>
                </c:pt>
                <c:pt idx="9240">
                  <c:v>-1.9256200000000001</c:v>
                </c:pt>
                <c:pt idx="9241">
                  <c:v>-1.54539</c:v>
                </c:pt>
                <c:pt idx="9242">
                  <c:v>-2.5183300000000002</c:v>
                </c:pt>
                <c:pt idx="9243">
                  <c:v>#N/A</c:v>
                </c:pt>
                <c:pt idx="9244">
                  <c:v>-1.98621</c:v>
                </c:pt>
                <c:pt idx="9245">
                  <c:v>-2.6266600000000002</c:v>
                </c:pt>
                <c:pt idx="9246">
                  <c:v>-3.1063000000000001</c:v>
                </c:pt>
                <c:pt idx="9247">
                  <c:v>#N/A</c:v>
                </c:pt>
                <c:pt idx="9248">
                  <c:v>-3.0636899999999998</c:v>
                </c:pt>
                <c:pt idx="9249">
                  <c:v>-2.5822699999999998</c:v>
                </c:pt>
                <c:pt idx="9250">
                  <c:v>-1.7304299999999999</c:v>
                </c:pt>
                <c:pt idx="9251">
                  <c:v>#N/A</c:v>
                </c:pt>
                <c:pt idx="9252">
                  <c:v>-1.8679600000000001</c:v>
                </c:pt>
                <c:pt idx="9253">
                  <c:v>-1.37832</c:v>
                </c:pt>
                <c:pt idx="9254">
                  <c:v>#N/A</c:v>
                </c:pt>
                <c:pt idx="9255">
                  <c:v>-2.5573100000000002</c:v>
                </c:pt>
                <c:pt idx="9256">
                  <c:v>#N/A</c:v>
                </c:pt>
                <c:pt idx="9257">
                  <c:v>-3.1409899999999999</c:v>
                </c:pt>
                <c:pt idx="9258">
                  <c:v>-3.4079000000000002</c:v>
                </c:pt>
                <c:pt idx="9259">
                  <c:v>-3.24973</c:v>
                </c:pt>
                <c:pt idx="9260">
                  <c:v>#N/A</c:v>
                </c:pt>
                <c:pt idx="9261">
                  <c:v>-2.5296400000000001</c:v>
                </c:pt>
                <c:pt idx="9262">
                  <c:v>-1.97604</c:v>
                </c:pt>
                <c:pt idx="9263">
                  <c:v>-2.3896299999999999</c:v>
                </c:pt>
                <c:pt idx="9264">
                  <c:v>#N/A</c:v>
                </c:pt>
                <c:pt idx="9265">
                  <c:v>-2.4986299999999999</c:v>
                </c:pt>
                <c:pt idx="9266">
                  <c:v>-2.6813699999999998</c:v>
                </c:pt>
                <c:pt idx="9267">
                  <c:v>-2.58392</c:v>
                </c:pt>
                <c:pt idx="9268">
                  <c:v>#N/A</c:v>
                </c:pt>
                <c:pt idx="9269">
                  <c:v>-3.11815</c:v>
                </c:pt>
                <c:pt idx="9270">
                  <c:v>-3.3226499999999999</c:v>
                </c:pt>
                <c:pt idx="9271">
                  <c:v>-2.6262099999999999</c:v>
                </c:pt>
                <c:pt idx="9272">
                  <c:v>#N/A</c:v>
                </c:pt>
                <c:pt idx="9273">
                  <c:v>-2.3030499999999998</c:v>
                </c:pt>
                <c:pt idx="9274">
                  <c:v>-2.1321500000000002</c:v>
                </c:pt>
                <c:pt idx="9275">
                  <c:v>#N/A</c:v>
                </c:pt>
                <c:pt idx="9276">
                  <c:v>-2.55661</c:v>
                </c:pt>
                <c:pt idx="9277">
                  <c:v>-2.9547099999999999</c:v>
                </c:pt>
                <c:pt idx="9278">
                  <c:v>-2.4875799999999999</c:v>
                </c:pt>
                <c:pt idx="9279">
                  <c:v>#N/A</c:v>
                </c:pt>
                <c:pt idx="9280">
                  <c:v>-2.7058200000000001</c:v>
                </c:pt>
                <c:pt idx="9281">
                  <c:v>-3.1427200000000002</c:v>
                </c:pt>
                <c:pt idx="9282">
                  <c:v>#N/A</c:v>
                </c:pt>
                <c:pt idx="9283">
                  <c:v>-3.0028999999999999</c:v>
                </c:pt>
                <c:pt idx="9284">
                  <c:v>-2.8297400000000001</c:v>
                </c:pt>
                <c:pt idx="9285">
                  <c:v>-2.7359800000000001</c:v>
                </c:pt>
                <c:pt idx="9286">
                  <c:v>#N/A</c:v>
                </c:pt>
                <c:pt idx="9287">
                  <c:v>-2.9564400000000002</c:v>
                </c:pt>
                <c:pt idx="9288">
                  <c:v>-2.98245</c:v>
                </c:pt>
                <c:pt idx="9289">
                  <c:v>-3.2974800000000002</c:v>
                </c:pt>
                <c:pt idx="9290">
                  <c:v>#N/A</c:v>
                </c:pt>
                <c:pt idx="9291">
                  <c:v>-3.92726</c:v>
                </c:pt>
                <c:pt idx="9292">
                  <c:v>-3.2019199999999999</c:v>
                </c:pt>
                <c:pt idx="9293">
                  <c:v>-2.8726400000000001</c:v>
                </c:pt>
                <c:pt idx="9294">
                  <c:v>#N/A</c:v>
                </c:pt>
                <c:pt idx="9295">
                  <c:v>-3.2124299999999999</c:v>
                </c:pt>
                <c:pt idx="9296">
                  <c:v>-3.2787099999999998</c:v>
                </c:pt>
                <c:pt idx="9297">
                  <c:v>-2.8257300000000001</c:v>
                </c:pt>
                <c:pt idx="9298">
                  <c:v>#N/A</c:v>
                </c:pt>
                <c:pt idx="9299">
                  <c:v>-2.6643300000000001</c:v>
                </c:pt>
                <c:pt idx="9300">
                  <c:v>-2.69726</c:v>
                </c:pt>
                <c:pt idx="9301">
                  <c:v>-2.1108199999999999</c:v>
                </c:pt>
                <c:pt idx="9302">
                  <c:v>#N/A</c:v>
                </c:pt>
                <c:pt idx="9303">
                  <c:v>-1.76112</c:v>
                </c:pt>
                <c:pt idx="9304">
                  <c:v>-1.9355899999999999</c:v>
                </c:pt>
                <c:pt idx="9305">
                  <c:v>#N/A</c:v>
                </c:pt>
                <c:pt idx="9306">
                  <c:v>-2.67456</c:v>
                </c:pt>
                <c:pt idx="9307">
                  <c:v>-3.2839800000000001</c:v>
                </c:pt>
                <c:pt idx="9308">
                  <c:v>-3.1307200000000002</c:v>
                </c:pt>
                <c:pt idx="9309">
                  <c:v>#N/A</c:v>
                </c:pt>
                <c:pt idx="9310">
                  <c:v>-3.0350100000000002</c:v>
                </c:pt>
                <c:pt idx="9311">
                  <c:v>-2.7413500000000002</c:v>
                </c:pt>
                <c:pt idx="9312">
                  <c:v>-1.9803299999999999</c:v>
                </c:pt>
                <c:pt idx="9313">
                  <c:v>#N/A</c:v>
                </c:pt>
                <c:pt idx="9314">
                  <c:v>-1.7458499999999999</c:v>
                </c:pt>
                <c:pt idx="9315">
                  <c:v>-1.59809</c:v>
                </c:pt>
                <c:pt idx="9316">
                  <c:v>-2.1883300000000001</c:v>
                </c:pt>
                <c:pt idx="9317">
                  <c:v>#N/A</c:v>
                </c:pt>
                <c:pt idx="9318">
                  <c:v>-2.8674900000000001</c:v>
                </c:pt>
                <c:pt idx="9319">
                  <c:v>-3.4056600000000001</c:v>
                </c:pt>
                <c:pt idx="9320">
                  <c:v>-3.5073799999999999</c:v>
                </c:pt>
                <c:pt idx="9321">
                  <c:v>#N/A</c:v>
                </c:pt>
                <c:pt idx="9322">
                  <c:v>-2.9509699999999999</c:v>
                </c:pt>
                <c:pt idx="9323">
                  <c:v>-2.72281</c:v>
                </c:pt>
                <c:pt idx="9324">
                  <c:v>-1.86388</c:v>
                </c:pt>
                <c:pt idx="9325">
                  <c:v>#N/A</c:v>
                </c:pt>
                <c:pt idx="9326">
                  <c:v>-1.99603</c:v>
                </c:pt>
                <c:pt idx="9327">
                  <c:v>-1.9532700000000001</c:v>
                </c:pt>
                <c:pt idx="9328">
                  <c:v>-2.8752599999999999</c:v>
                </c:pt>
                <c:pt idx="9329">
                  <c:v>#N/A</c:v>
                </c:pt>
                <c:pt idx="9330">
                  <c:v>-2.8812700000000002</c:v>
                </c:pt>
                <c:pt idx="9331">
                  <c:v>#N/A</c:v>
                </c:pt>
                <c:pt idx="9332">
                  <c:v>-3.1744599999999998</c:v>
                </c:pt>
                <c:pt idx="9333">
                  <c:v>-3.0438900000000002</c:v>
                </c:pt>
                <c:pt idx="9334">
                  <c:v>-2.3087900000000001</c:v>
                </c:pt>
                <c:pt idx="9335">
                  <c:v>#N/A</c:v>
                </c:pt>
                <c:pt idx="9336">
                  <c:v>-2.18398</c:v>
                </c:pt>
                <c:pt idx="9337">
                  <c:v>-1.7442800000000001</c:v>
                </c:pt>
                <c:pt idx="9338">
                  <c:v>-2.4432999999999998</c:v>
                </c:pt>
                <c:pt idx="9339">
                  <c:v>#N/A</c:v>
                </c:pt>
                <c:pt idx="9340">
                  <c:v>-2.4677799999999999</c:v>
                </c:pt>
                <c:pt idx="9341">
                  <c:v>-2.4646499999999998</c:v>
                </c:pt>
                <c:pt idx="9342">
                  <c:v>-2.1714899999999999</c:v>
                </c:pt>
                <c:pt idx="9343">
                  <c:v>#N/A</c:v>
                </c:pt>
                <c:pt idx="9344">
                  <c:v>-2.5045999999999999</c:v>
                </c:pt>
                <c:pt idx="9345">
                  <c:v>-2.2065000000000001</c:v>
                </c:pt>
                <c:pt idx="9346">
                  <c:v>#N/A</c:v>
                </c:pt>
                <c:pt idx="9347">
                  <c:v>-2.7786</c:v>
                </c:pt>
                <c:pt idx="9348">
                  <c:v>-2.77488</c:v>
                </c:pt>
                <c:pt idx="9349">
                  <c:v>-2.9114800000000001</c:v>
                </c:pt>
                <c:pt idx="9350">
                  <c:v>#N/A</c:v>
                </c:pt>
                <c:pt idx="9351">
                  <c:v>-2.5520900000000002</c:v>
                </c:pt>
                <c:pt idx="9352">
                  <c:v>-3.30036</c:v>
                </c:pt>
                <c:pt idx="9353">
                  <c:v>-2.9359299999999999</c:v>
                </c:pt>
                <c:pt idx="9354">
                  <c:v>#N/A</c:v>
                </c:pt>
                <c:pt idx="9355">
                  <c:v>-2.2608700000000002</c:v>
                </c:pt>
                <c:pt idx="9356">
                  <c:v>-2.5527099999999998</c:v>
                </c:pt>
                <c:pt idx="9357">
                  <c:v>-2.5568399999999998</c:v>
                </c:pt>
                <c:pt idx="9358">
                  <c:v>#N/A</c:v>
                </c:pt>
                <c:pt idx="9359">
                  <c:v>-2.9787599999999999</c:v>
                </c:pt>
                <c:pt idx="9360">
                  <c:v>-2.7955899999999998</c:v>
                </c:pt>
                <c:pt idx="9361">
                  <c:v>-2.95519</c:v>
                </c:pt>
                <c:pt idx="9362">
                  <c:v>#N/A</c:v>
                </c:pt>
                <c:pt idx="9363">
                  <c:v>-2.66995</c:v>
                </c:pt>
                <c:pt idx="9364">
                  <c:v>-1.9253100000000001</c:v>
                </c:pt>
                <c:pt idx="9365">
                  <c:v>-1.41028</c:v>
                </c:pt>
                <c:pt idx="9366">
                  <c:v>#N/A</c:v>
                </c:pt>
                <c:pt idx="9367">
                  <c:v>-1.52261</c:v>
                </c:pt>
                <c:pt idx="9368">
                  <c:v>-2.1626400000000001</c:v>
                </c:pt>
                <c:pt idx="9369">
                  <c:v>#N/A</c:v>
                </c:pt>
                <c:pt idx="9370">
                  <c:v>-2.56765</c:v>
                </c:pt>
                <c:pt idx="9371">
                  <c:v>-2.8453300000000001</c:v>
                </c:pt>
                <c:pt idx="9372">
                  <c:v>-2.57376</c:v>
                </c:pt>
                <c:pt idx="9373">
                  <c:v>#N/A</c:v>
                </c:pt>
                <c:pt idx="9374">
                  <c:v>-2.5415899999999998</c:v>
                </c:pt>
                <c:pt idx="9375">
                  <c:v>-1.62544</c:v>
                </c:pt>
                <c:pt idx="9376">
                  <c:v>-1.9175599999999999</c:v>
                </c:pt>
                <c:pt idx="9377">
                  <c:v>#N/A</c:v>
                </c:pt>
                <c:pt idx="9378">
                  <c:v>-1.8873200000000001</c:v>
                </c:pt>
                <c:pt idx="9379">
                  <c:v>-2.17272</c:v>
                </c:pt>
                <c:pt idx="9380">
                  <c:v>-2.7122999999999999</c:v>
                </c:pt>
                <c:pt idx="9381">
                  <c:v>#N/A</c:v>
                </c:pt>
                <c:pt idx="9382">
                  <c:v>-3.0197400000000001</c:v>
                </c:pt>
                <c:pt idx="9383">
                  <c:v>-3.50223</c:v>
                </c:pt>
                <c:pt idx="9384">
                  <c:v>#N/A</c:v>
                </c:pt>
                <c:pt idx="9385">
                  <c:v>-2.75956</c:v>
                </c:pt>
                <c:pt idx="9386">
                  <c:v>-2.28132</c:v>
                </c:pt>
                <c:pt idx="9387">
                  <c:v>#N/A</c:v>
                </c:pt>
                <c:pt idx="9388">
                  <c:v>-1.7382200000000001</c:v>
                </c:pt>
                <c:pt idx="9389">
                  <c:v>-2.2643200000000001</c:v>
                </c:pt>
                <c:pt idx="9390">
                  <c:v>-2.0915499999999998</c:v>
                </c:pt>
                <c:pt idx="9391">
                  <c:v>#N/A</c:v>
                </c:pt>
                <c:pt idx="9392">
                  <c:v>-2.6150099999999998</c:v>
                </c:pt>
                <c:pt idx="9393">
                  <c:v>-2.6237900000000001</c:v>
                </c:pt>
                <c:pt idx="9394">
                  <c:v>-2.9483100000000002</c:v>
                </c:pt>
                <c:pt idx="9395">
                  <c:v>#N/A</c:v>
                </c:pt>
                <c:pt idx="9396">
                  <c:v>-3.1116299999999999</c:v>
                </c:pt>
                <c:pt idx="9397">
                  <c:v>-2.2685300000000002</c:v>
                </c:pt>
                <c:pt idx="9398">
                  <c:v>-1.8364799999999999</c:v>
                </c:pt>
                <c:pt idx="9399">
                  <c:v>#N/A</c:v>
                </c:pt>
                <c:pt idx="9400">
                  <c:v>-1.5815300000000001</c:v>
                </c:pt>
                <c:pt idx="9401">
                  <c:v>-2.33718</c:v>
                </c:pt>
                <c:pt idx="9402">
                  <c:v>-3.07307</c:v>
                </c:pt>
                <c:pt idx="9403">
                  <c:v>#N/A</c:v>
                </c:pt>
                <c:pt idx="9404">
                  <c:v>-3.1755800000000001</c:v>
                </c:pt>
                <c:pt idx="9405">
                  <c:v>#N/A</c:v>
                </c:pt>
                <c:pt idx="9406">
                  <c:v>-2.84552</c:v>
                </c:pt>
                <c:pt idx="9407">
                  <c:v>-2.3607300000000002</c:v>
                </c:pt>
                <c:pt idx="9408">
                  <c:v>#N/A</c:v>
                </c:pt>
                <c:pt idx="9409">
                  <c:v>-2.2712500000000002</c:v>
                </c:pt>
                <c:pt idx="9410">
                  <c:v>-2.8036300000000001</c:v>
                </c:pt>
                <c:pt idx="9411">
                  <c:v>-2.6535899999999999</c:v>
                </c:pt>
                <c:pt idx="9412">
                  <c:v>#N/A</c:v>
                </c:pt>
                <c:pt idx="9413">
                  <c:v>-3.25597</c:v>
                </c:pt>
                <c:pt idx="9414">
                  <c:v>-2.6803499999999998</c:v>
                </c:pt>
                <c:pt idx="9415">
                  <c:v>-2.7218900000000001</c:v>
                </c:pt>
                <c:pt idx="9416">
                  <c:v>#N/A</c:v>
                </c:pt>
                <c:pt idx="9417">
                  <c:v>-2.87018</c:v>
                </c:pt>
                <c:pt idx="9418">
                  <c:v>-2.3287300000000002</c:v>
                </c:pt>
                <c:pt idx="9419">
                  <c:v>-2.2797900000000002</c:v>
                </c:pt>
                <c:pt idx="9420">
                  <c:v>#N/A</c:v>
                </c:pt>
                <c:pt idx="9421">
                  <c:v>-2.4459599999999999</c:v>
                </c:pt>
                <c:pt idx="9422">
                  <c:v>-2.9537200000000001</c:v>
                </c:pt>
                <c:pt idx="9423">
                  <c:v>#N/A</c:v>
                </c:pt>
                <c:pt idx="9424">
                  <c:v>-2.7178</c:v>
                </c:pt>
                <c:pt idx="9425">
                  <c:v>-2.6061800000000002</c:v>
                </c:pt>
                <c:pt idx="9426">
                  <c:v>-2.3454299999999999</c:v>
                </c:pt>
                <c:pt idx="9427">
                  <c:v>#N/A</c:v>
                </c:pt>
                <c:pt idx="9428">
                  <c:v>-1.6329100000000001</c:v>
                </c:pt>
                <c:pt idx="9429">
                  <c:v>-2.4171399999999998</c:v>
                </c:pt>
                <c:pt idx="9430">
                  <c:v>-2.4188200000000002</c:v>
                </c:pt>
                <c:pt idx="9431">
                  <c:v>#N/A</c:v>
                </c:pt>
                <c:pt idx="9432">
                  <c:v>-2.4887899999999998</c:v>
                </c:pt>
                <c:pt idx="9433">
                  <c:v>-2.8297300000000001</c:v>
                </c:pt>
                <c:pt idx="9434">
                  <c:v>-3.0931500000000001</c:v>
                </c:pt>
                <c:pt idx="9435">
                  <c:v>#N/A</c:v>
                </c:pt>
                <c:pt idx="9436">
                  <c:v>-3.1621800000000002</c:v>
                </c:pt>
                <c:pt idx="9437">
                  <c:v>-2.1674199999999999</c:v>
                </c:pt>
                <c:pt idx="9438">
                  <c:v>-2.1305800000000001</c:v>
                </c:pt>
                <c:pt idx="9439">
                  <c:v>#N/A</c:v>
                </c:pt>
                <c:pt idx="9440">
                  <c:v>-1.8512900000000001</c:v>
                </c:pt>
                <c:pt idx="9441">
                  <c:v>-2.2899099999999999</c:v>
                </c:pt>
                <c:pt idx="9442">
                  <c:v>-2.6486900000000002</c:v>
                </c:pt>
                <c:pt idx="9443">
                  <c:v>#N/A</c:v>
                </c:pt>
                <c:pt idx="9444">
                  <c:v>-3.0620799999999999</c:v>
                </c:pt>
                <c:pt idx="9445">
                  <c:v>-2.9591799999999999</c:v>
                </c:pt>
                <c:pt idx="9446">
                  <c:v>-2.8333499999999998</c:v>
                </c:pt>
                <c:pt idx="9447">
                  <c:v>#N/A</c:v>
                </c:pt>
                <c:pt idx="9448">
                  <c:v>-2.65978</c:v>
                </c:pt>
                <c:pt idx="9449">
                  <c:v>-1.4568000000000001</c:v>
                </c:pt>
                <c:pt idx="9450">
                  <c:v>-1.59453</c:v>
                </c:pt>
                <c:pt idx="9451">
                  <c:v>#N/A</c:v>
                </c:pt>
                <c:pt idx="9452">
                  <c:v>-2.2332800000000002</c:v>
                </c:pt>
                <c:pt idx="9453">
                  <c:v>-2.4051100000000001</c:v>
                </c:pt>
                <c:pt idx="9454">
                  <c:v>-2.4742799999999998</c:v>
                </c:pt>
                <c:pt idx="9455">
                  <c:v>#N/A</c:v>
                </c:pt>
                <c:pt idx="9456">
                  <c:v>-2.8730600000000002</c:v>
                </c:pt>
                <c:pt idx="9457">
                  <c:v>-2.5407700000000002</c:v>
                </c:pt>
                <c:pt idx="9458">
                  <c:v>#N/A</c:v>
                </c:pt>
                <c:pt idx="9459">
                  <c:v>-2.41147</c:v>
                </c:pt>
                <c:pt idx="9460">
                  <c:v>-1.6662300000000001</c:v>
                </c:pt>
                <c:pt idx="9461">
                  <c:v>-1.7065399999999999</c:v>
                </c:pt>
                <c:pt idx="9462">
                  <c:v>#N/A</c:v>
                </c:pt>
                <c:pt idx="9463">
                  <c:v>-1.5676000000000001</c:v>
                </c:pt>
                <c:pt idx="9464">
                  <c:v>-2.2609400000000002</c:v>
                </c:pt>
                <c:pt idx="9465">
                  <c:v>-2.6010300000000002</c:v>
                </c:pt>
                <c:pt idx="9466">
                  <c:v>#N/A</c:v>
                </c:pt>
                <c:pt idx="9467">
                  <c:v>-2.9903900000000001</c:v>
                </c:pt>
                <c:pt idx="9468">
                  <c:v>-2.5037600000000002</c:v>
                </c:pt>
                <c:pt idx="9469">
                  <c:v>-2.5727199999999999</c:v>
                </c:pt>
                <c:pt idx="9470">
                  <c:v>#N/A</c:v>
                </c:pt>
                <c:pt idx="9471">
                  <c:v>-2.7716500000000002</c:v>
                </c:pt>
                <c:pt idx="9472">
                  <c:v>-1.7771699999999999</c:v>
                </c:pt>
                <c:pt idx="9473">
                  <c:v>-2.1766899999999998</c:v>
                </c:pt>
                <c:pt idx="9474">
                  <c:v>#N/A</c:v>
                </c:pt>
                <c:pt idx="9475">
                  <c:v>-2.55423</c:v>
                </c:pt>
                <c:pt idx="9476">
                  <c:v>-2.56785</c:v>
                </c:pt>
                <c:pt idx="9477">
                  <c:v>-3.29643</c:v>
                </c:pt>
                <c:pt idx="9478">
                  <c:v>#N/A</c:v>
                </c:pt>
                <c:pt idx="9479">
                  <c:v>-2.94014</c:v>
                </c:pt>
                <c:pt idx="9480">
                  <c:v>#N/A</c:v>
                </c:pt>
                <c:pt idx="9481">
                  <c:v>-2.4081199999999998</c:v>
                </c:pt>
                <c:pt idx="9482">
                  <c:v>#N/A</c:v>
                </c:pt>
                <c:pt idx="9483">
                  <c:v>-2.5419700000000001</c:v>
                </c:pt>
                <c:pt idx="9484">
                  <c:v>-3.6782699999999999</c:v>
                </c:pt>
                <c:pt idx="9485">
                  <c:v>#N/A</c:v>
                </c:pt>
                <c:pt idx="9486">
                  <c:v>-3.4991099999999999</c:v>
                </c:pt>
                <c:pt idx="9487">
                  <c:v>-3.9684900000000001</c:v>
                </c:pt>
                <c:pt idx="9488">
                  <c:v>-3.7962099999999999</c:v>
                </c:pt>
                <c:pt idx="9489">
                  <c:v>#N/A</c:v>
                </c:pt>
                <c:pt idx="9490">
                  <c:v>-3.10093</c:v>
                </c:pt>
                <c:pt idx="9491">
                  <c:v>-2.8542000000000001</c:v>
                </c:pt>
                <c:pt idx="9492">
                  <c:v>-2.1323799999999999</c:v>
                </c:pt>
                <c:pt idx="9493">
                  <c:v>#N/A</c:v>
                </c:pt>
                <c:pt idx="9494">
                  <c:v>-1.913</c:v>
                </c:pt>
                <c:pt idx="9495">
                  <c:v>-2.3127</c:v>
                </c:pt>
                <c:pt idx="9496">
                  <c:v>#N/A</c:v>
                </c:pt>
                <c:pt idx="9497">
                  <c:v>-2.3835000000000002</c:v>
                </c:pt>
                <c:pt idx="9498">
                  <c:v>-2.6911900000000002</c:v>
                </c:pt>
                <c:pt idx="9499">
                  <c:v>-1.81179</c:v>
                </c:pt>
                <c:pt idx="9500">
                  <c:v>#N/A</c:v>
                </c:pt>
                <c:pt idx="9501">
                  <c:v>-1.77783</c:v>
                </c:pt>
                <c:pt idx="9502">
                  <c:v>-1.85276</c:v>
                </c:pt>
                <c:pt idx="9503">
                  <c:v>-1.62222</c:v>
                </c:pt>
                <c:pt idx="9504">
                  <c:v>#N/A</c:v>
                </c:pt>
                <c:pt idx="9505">
                  <c:v>-1.86581</c:v>
                </c:pt>
                <c:pt idx="9506">
                  <c:v>-2.3057500000000002</c:v>
                </c:pt>
                <c:pt idx="9507">
                  <c:v>-2.6073</c:v>
                </c:pt>
                <c:pt idx="9508">
                  <c:v>#N/A</c:v>
                </c:pt>
                <c:pt idx="9509">
                  <c:v>-2.1685599999999998</c:v>
                </c:pt>
                <c:pt idx="9510">
                  <c:v>-2.0925600000000002</c:v>
                </c:pt>
                <c:pt idx="9511">
                  <c:v>-2.1589999999999998</c:v>
                </c:pt>
                <c:pt idx="9512">
                  <c:v>#N/A</c:v>
                </c:pt>
                <c:pt idx="9513">
                  <c:v>-2.2010299999999998</c:v>
                </c:pt>
                <c:pt idx="9514">
                  <c:v>-3.2521100000000001</c:v>
                </c:pt>
                <c:pt idx="9515">
                  <c:v>#N/A</c:v>
                </c:pt>
                <c:pt idx="9516">
                  <c:v>-3.3197100000000002</c:v>
                </c:pt>
                <c:pt idx="9517">
                  <c:v>-3.2001400000000002</c:v>
                </c:pt>
                <c:pt idx="9518">
                  <c:v>-3.0906500000000001</c:v>
                </c:pt>
                <c:pt idx="9519">
                  <c:v>#N/A</c:v>
                </c:pt>
                <c:pt idx="9520">
                  <c:v>-2.6176300000000001</c:v>
                </c:pt>
                <c:pt idx="9521">
                  <c:v>-2.41025</c:v>
                </c:pt>
                <c:pt idx="9522">
                  <c:v>-1.51616</c:v>
                </c:pt>
                <c:pt idx="9523">
                  <c:v>#N/A</c:v>
                </c:pt>
                <c:pt idx="9524">
                  <c:v>-1.5462899999999999</c:v>
                </c:pt>
                <c:pt idx="9525">
                  <c:v>-2.04915</c:v>
                </c:pt>
                <c:pt idx="9526">
                  <c:v>-3.0733600000000001</c:v>
                </c:pt>
                <c:pt idx="9527">
                  <c:v>#N/A</c:v>
                </c:pt>
                <c:pt idx="9528">
                  <c:v>-2.8278699999999999</c:v>
                </c:pt>
                <c:pt idx="9529">
                  <c:v>-2.6480100000000002</c:v>
                </c:pt>
                <c:pt idx="9530">
                  <c:v>#N/A</c:v>
                </c:pt>
                <c:pt idx="9531">
                  <c:v>-2.5653899999999998</c:v>
                </c:pt>
                <c:pt idx="9532">
                  <c:v>-2.50746</c:v>
                </c:pt>
                <c:pt idx="9533">
                  <c:v>-1.72743</c:v>
                </c:pt>
                <c:pt idx="9534">
                  <c:v>#N/A</c:v>
                </c:pt>
                <c:pt idx="9535">
                  <c:v>-1.75603</c:v>
                </c:pt>
                <c:pt idx="9536">
                  <c:v>-2.05707</c:v>
                </c:pt>
                <c:pt idx="9537">
                  <c:v>-2.75231</c:v>
                </c:pt>
                <c:pt idx="9538">
                  <c:v>#N/A</c:v>
                </c:pt>
                <c:pt idx="9539">
                  <c:v>-3.1153</c:v>
                </c:pt>
                <c:pt idx="9540">
                  <c:v>-3.6021899999999998</c:v>
                </c:pt>
                <c:pt idx="9541">
                  <c:v>-2.9529000000000001</c:v>
                </c:pt>
                <c:pt idx="9542">
                  <c:v>#N/A</c:v>
                </c:pt>
                <c:pt idx="9543">
                  <c:v>-2.4840599999999999</c:v>
                </c:pt>
                <c:pt idx="9544">
                  <c:v>-2.28416</c:v>
                </c:pt>
                <c:pt idx="9545">
                  <c:v>-2.4304000000000001</c:v>
                </c:pt>
                <c:pt idx="9546">
                  <c:v>#N/A</c:v>
                </c:pt>
                <c:pt idx="9547">
                  <c:v>-2.3570700000000002</c:v>
                </c:pt>
                <c:pt idx="9548">
                  <c:v>-3.0546899999999999</c:v>
                </c:pt>
                <c:pt idx="9549">
                  <c:v>-3.6040299999999998</c:v>
                </c:pt>
                <c:pt idx="9550">
                  <c:v>#N/A</c:v>
                </c:pt>
                <c:pt idx="9551">
                  <c:v>-3.3986700000000001</c:v>
                </c:pt>
                <c:pt idx="9552">
                  <c:v>-3.0095900000000002</c:v>
                </c:pt>
                <c:pt idx="9553">
                  <c:v>#N/A</c:v>
                </c:pt>
                <c:pt idx="9554">
                  <c:v>-2.2503799999999998</c:v>
                </c:pt>
                <c:pt idx="9555">
                  <c:v>-1.85076</c:v>
                </c:pt>
                <c:pt idx="9556">
                  <c:v>#N/A</c:v>
                </c:pt>
                <c:pt idx="9557">
                  <c:v>-1.96902</c:v>
                </c:pt>
                <c:pt idx="9558">
                  <c:v>-2.3514699999999999</c:v>
                </c:pt>
                <c:pt idx="9559">
                  <c:v>#N/A</c:v>
                </c:pt>
                <c:pt idx="9560">
                  <c:v>-2.94367</c:v>
                </c:pt>
                <c:pt idx="9561">
                  <c:v>-2.7192799999999999</c:v>
                </c:pt>
                <c:pt idx="9562">
                  <c:v>-2.7506599999999999</c:v>
                </c:pt>
                <c:pt idx="9563">
                  <c:v>#N/A</c:v>
                </c:pt>
                <c:pt idx="9564">
                  <c:v>-2.5870099999999998</c:v>
                </c:pt>
                <c:pt idx="9565">
                  <c:v>-2.2330700000000001</c:v>
                </c:pt>
                <c:pt idx="9566">
                  <c:v>-2.15158</c:v>
                </c:pt>
                <c:pt idx="9567">
                  <c:v>#N/A</c:v>
                </c:pt>
                <c:pt idx="9568">
                  <c:v>-2.4737900000000002</c:v>
                </c:pt>
                <c:pt idx="9569">
                  <c:v>-2.1301899999999998</c:v>
                </c:pt>
                <c:pt idx="9570">
                  <c:v>-2.8254000000000001</c:v>
                </c:pt>
                <c:pt idx="9571">
                  <c:v>#N/A</c:v>
                </c:pt>
                <c:pt idx="9572">
                  <c:v>-2.5116100000000001</c:v>
                </c:pt>
                <c:pt idx="9573">
                  <c:v>-2.4717899999999999</c:v>
                </c:pt>
                <c:pt idx="9574">
                  <c:v>-2.2591800000000002</c:v>
                </c:pt>
                <c:pt idx="9575">
                  <c:v>#N/A</c:v>
                </c:pt>
                <c:pt idx="9576">
                  <c:v>-2.4035199999999999</c:v>
                </c:pt>
                <c:pt idx="9577">
                  <c:v>-3.0531799999999998</c:v>
                </c:pt>
                <c:pt idx="9578">
                  <c:v>-2.39635</c:v>
                </c:pt>
                <c:pt idx="9579">
                  <c:v>#N/A</c:v>
                </c:pt>
                <c:pt idx="9580">
                  <c:v>-2.9614099999999999</c:v>
                </c:pt>
                <c:pt idx="9581">
                  <c:v>-2.6550600000000002</c:v>
                </c:pt>
                <c:pt idx="9582">
                  <c:v>-2.55653</c:v>
                </c:pt>
                <c:pt idx="9583">
                  <c:v>#N/A</c:v>
                </c:pt>
                <c:pt idx="9584">
                  <c:v>-2.29887</c:v>
                </c:pt>
                <c:pt idx="9585">
                  <c:v>-1.9333899999999999</c:v>
                </c:pt>
                <c:pt idx="9586">
                  <c:v>-1.96062</c:v>
                </c:pt>
                <c:pt idx="9587">
                  <c:v>#N/A</c:v>
                </c:pt>
                <c:pt idx="9588">
                  <c:v>-2.7786599999999999</c:v>
                </c:pt>
                <c:pt idx="9589">
                  <c:v>-3.6241400000000001</c:v>
                </c:pt>
                <c:pt idx="9590">
                  <c:v>-3.5055299999999998</c:v>
                </c:pt>
                <c:pt idx="9591">
                  <c:v>#N/A</c:v>
                </c:pt>
                <c:pt idx="9592">
                  <c:v>-2.5365799999999998</c:v>
                </c:pt>
                <c:pt idx="9593">
                  <c:v>-2.5367500000000001</c:v>
                </c:pt>
                <c:pt idx="9594">
                  <c:v>-2.4105300000000001</c:v>
                </c:pt>
                <c:pt idx="9595">
                  <c:v>#N/A</c:v>
                </c:pt>
                <c:pt idx="9596">
                  <c:v>-2.04129</c:v>
                </c:pt>
                <c:pt idx="9597">
                  <c:v>-1.8550599999999999</c:v>
                </c:pt>
                <c:pt idx="9598">
                  <c:v>#N/A</c:v>
                </c:pt>
                <c:pt idx="9599">
                  <c:v>-2.11382</c:v>
                </c:pt>
                <c:pt idx="9600">
                  <c:v>-3.0636399999999999</c:v>
                </c:pt>
                <c:pt idx="9601">
                  <c:v>-3.11348</c:v>
                </c:pt>
                <c:pt idx="9602">
                  <c:v>#N/A</c:v>
                </c:pt>
                <c:pt idx="9603">
                  <c:v>-2.56386</c:v>
                </c:pt>
                <c:pt idx="9604">
                  <c:v>-2.6435200000000001</c:v>
                </c:pt>
                <c:pt idx="9605">
                  <c:v>-2.2635200000000002</c:v>
                </c:pt>
                <c:pt idx="9606">
                  <c:v>#N/A</c:v>
                </c:pt>
                <c:pt idx="9607">
                  <c:v>-2.4653200000000002</c:v>
                </c:pt>
                <c:pt idx="9608">
                  <c:v>-2.2817400000000001</c:v>
                </c:pt>
                <c:pt idx="9609">
                  <c:v>-2.1831100000000001</c:v>
                </c:pt>
                <c:pt idx="9610">
                  <c:v>#N/A</c:v>
                </c:pt>
                <c:pt idx="9611">
                  <c:v>-2.4943</c:v>
                </c:pt>
                <c:pt idx="9612">
                  <c:v>-3.4834299999999998</c:v>
                </c:pt>
                <c:pt idx="9613">
                  <c:v>-3.18302</c:v>
                </c:pt>
                <c:pt idx="9614">
                  <c:v>#N/A</c:v>
                </c:pt>
                <c:pt idx="9615">
                  <c:v>-2.6848999999999998</c:v>
                </c:pt>
                <c:pt idx="9616">
                  <c:v>-2.5299499999999999</c:v>
                </c:pt>
                <c:pt idx="9617">
                  <c:v>-2.0108100000000002</c:v>
                </c:pt>
                <c:pt idx="9618">
                  <c:v>#N/A</c:v>
                </c:pt>
                <c:pt idx="9619">
                  <c:v>-1.92123</c:v>
                </c:pt>
                <c:pt idx="9620">
                  <c:v>-2.22986</c:v>
                </c:pt>
                <c:pt idx="9621">
                  <c:v>-2.7999200000000002</c:v>
                </c:pt>
                <c:pt idx="9622">
                  <c:v>#N/A</c:v>
                </c:pt>
                <c:pt idx="9623">
                  <c:v>-3.2287300000000001</c:v>
                </c:pt>
                <c:pt idx="9624">
                  <c:v>-3.2324099999999998</c:v>
                </c:pt>
                <c:pt idx="9625">
                  <c:v>-2.79596</c:v>
                </c:pt>
                <c:pt idx="9626">
                  <c:v>#N/A</c:v>
                </c:pt>
                <c:pt idx="9627">
                  <c:v>-2.08474</c:v>
                </c:pt>
                <c:pt idx="9628">
                  <c:v>-2.0336400000000001</c:v>
                </c:pt>
                <c:pt idx="9629">
                  <c:v>-2.1944599999999999</c:v>
                </c:pt>
                <c:pt idx="9630">
                  <c:v>#N/A</c:v>
                </c:pt>
                <c:pt idx="9631">
                  <c:v>-2.2827000000000002</c:v>
                </c:pt>
                <c:pt idx="9632">
                  <c:v>-2.6878099999999998</c:v>
                </c:pt>
                <c:pt idx="9633">
                  <c:v>#N/A</c:v>
                </c:pt>
                <c:pt idx="9634">
                  <c:v>-2.5943399999999999</c:v>
                </c:pt>
                <c:pt idx="9635">
                  <c:v>-2.5144600000000001</c:v>
                </c:pt>
                <c:pt idx="9636">
                  <c:v>#N/A</c:v>
                </c:pt>
                <c:pt idx="9637">
                  <c:v>-2.5060500000000001</c:v>
                </c:pt>
                <c:pt idx="9638">
                  <c:v>-2.3870499999999999</c:v>
                </c:pt>
                <c:pt idx="9639">
                  <c:v>-2.0454699999999999</c:v>
                </c:pt>
                <c:pt idx="9640">
                  <c:v>#N/A</c:v>
                </c:pt>
                <c:pt idx="9641">
                  <c:v>-2.1197499999999998</c:v>
                </c:pt>
                <c:pt idx="9642">
                  <c:v>-2.7088700000000001</c:v>
                </c:pt>
                <c:pt idx="9643">
                  <c:v>-2.5434700000000001</c:v>
                </c:pt>
                <c:pt idx="9644">
                  <c:v>#N/A</c:v>
                </c:pt>
                <c:pt idx="9645">
                  <c:v>-2.7264400000000002</c:v>
                </c:pt>
                <c:pt idx="9646">
                  <c:v>-2.96448</c:v>
                </c:pt>
                <c:pt idx="9647">
                  <c:v>#N/A</c:v>
                </c:pt>
                <c:pt idx="9648">
                  <c:v>-2.395</c:v>
                </c:pt>
                <c:pt idx="9649">
                  <c:v>-2.4893000000000001</c:v>
                </c:pt>
                <c:pt idx="9650">
                  <c:v>-2.6189399999999998</c:v>
                </c:pt>
                <c:pt idx="9651">
                  <c:v>#N/A</c:v>
                </c:pt>
                <c:pt idx="9652">
                  <c:v>-2.5802900000000002</c:v>
                </c:pt>
                <c:pt idx="9653">
                  <c:v>-2.6575500000000001</c:v>
                </c:pt>
                <c:pt idx="9654">
                  <c:v>#N/A</c:v>
                </c:pt>
                <c:pt idx="9655">
                  <c:v>-2.2482000000000002</c:v>
                </c:pt>
                <c:pt idx="9656">
                  <c:v>-2.19991</c:v>
                </c:pt>
                <c:pt idx="9657">
                  <c:v>-2.1519300000000001</c:v>
                </c:pt>
                <c:pt idx="9658">
                  <c:v>#N/A</c:v>
                </c:pt>
                <c:pt idx="9659">
                  <c:v>-1.96055</c:v>
                </c:pt>
                <c:pt idx="9660">
                  <c:v>-1.93041</c:v>
                </c:pt>
                <c:pt idx="9661">
                  <c:v>-2.1492800000000001</c:v>
                </c:pt>
                <c:pt idx="9662">
                  <c:v>#N/A</c:v>
                </c:pt>
                <c:pt idx="9663">
                  <c:v>-2.9042699999999999</c:v>
                </c:pt>
                <c:pt idx="9664">
                  <c:v>-2.9418799999999998</c:v>
                </c:pt>
                <c:pt idx="9665">
                  <c:v>-2.7426699999999999</c:v>
                </c:pt>
                <c:pt idx="9666">
                  <c:v>#N/A</c:v>
                </c:pt>
                <c:pt idx="9667">
                  <c:v>-2.56067</c:v>
                </c:pt>
                <c:pt idx="9668">
                  <c:v>-2.5722200000000002</c:v>
                </c:pt>
                <c:pt idx="9669">
                  <c:v>-2.1616200000000001</c:v>
                </c:pt>
                <c:pt idx="9670">
                  <c:v>#N/A</c:v>
                </c:pt>
                <c:pt idx="9671">
                  <c:v>-1.67784</c:v>
                </c:pt>
                <c:pt idx="9672">
                  <c:v>-1.80857</c:v>
                </c:pt>
                <c:pt idx="9673">
                  <c:v>-2.78782</c:v>
                </c:pt>
                <c:pt idx="9674">
                  <c:v>#N/A</c:v>
                </c:pt>
                <c:pt idx="9675">
                  <c:v>-2.8574199999999998</c:v>
                </c:pt>
                <c:pt idx="9676">
                  <c:v>-2.7966199999999999</c:v>
                </c:pt>
                <c:pt idx="9677">
                  <c:v>-2.1025299999999998</c:v>
                </c:pt>
                <c:pt idx="9678">
                  <c:v>#N/A</c:v>
                </c:pt>
                <c:pt idx="9679">
                  <c:v>-1.61087</c:v>
                </c:pt>
                <c:pt idx="9680">
                  <c:v>-2.0741399999999999</c:v>
                </c:pt>
                <c:pt idx="9681">
                  <c:v>#N/A</c:v>
                </c:pt>
                <c:pt idx="9682">
                  <c:v>-2.3463400000000001</c:v>
                </c:pt>
                <c:pt idx="9683">
                  <c:v>-1.91171</c:v>
                </c:pt>
                <c:pt idx="9684">
                  <c:v>-2.3528500000000001</c:v>
                </c:pt>
                <c:pt idx="9685">
                  <c:v>#N/A</c:v>
                </c:pt>
                <c:pt idx="9686">
                  <c:v>-2.9279500000000001</c:v>
                </c:pt>
                <c:pt idx="9687">
                  <c:v>-2.95913</c:v>
                </c:pt>
                <c:pt idx="9688">
                  <c:v>-2.3464</c:v>
                </c:pt>
                <c:pt idx="9689">
                  <c:v>#N/A</c:v>
                </c:pt>
                <c:pt idx="9690">
                  <c:v>-1.9636</c:v>
                </c:pt>
                <c:pt idx="9691">
                  <c:v>-1.42333</c:v>
                </c:pt>
                <c:pt idx="9692">
                  <c:v>-1.7082900000000001</c:v>
                </c:pt>
                <c:pt idx="9693">
                  <c:v>#N/A</c:v>
                </c:pt>
                <c:pt idx="9694">
                  <c:v>-1.9624299999999999</c:v>
                </c:pt>
                <c:pt idx="9695">
                  <c:v>-3.0474100000000002</c:v>
                </c:pt>
                <c:pt idx="9696">
                  <c:v>#N/A</c:v>
                </c:pt>
                <c:pt idx="9697">
                  <c:v>-2.7244700000000002</c:v>
                </c:pt>
                <c:pt idx="9698">
                  <c:v>-3.1808900000000002</c:v>
                </c:pt>
                <c:pt idx="9699">
                  <c:v>-2.5072000000000001</c:v>
                </c:pt>
                <c:pt idx="9700">
                  <c:v>#N/A</c:v>
                </c:pt>
                <c:pt idx="9701">
                  <c:v>-2.2711999999999999</c:v>
                </c:pt>
                <c:pt idx="9702">
                  <c:v>-1.9117</c:v>
                </c:pt>
                <c:pt idx="9703">
                  <c:v>-1.90324</c:v>
                </c:pt>
                <c:pt idx="9704">
                  <c:v>#N/A</c:v>
                </c:pt>
                <c:pt idx="9705">
                  <c:v>-2.9908399999999999</c:v>
                </c:pt>
                <c:pt idx="9706">
                  <c:v>#N/A</c:v>
                </c:pt>
                <c:pt idx="9707">
                  <c:v>-2.5786199999999999</c:v>
                </c:pt>
                <c:pt idx="9708">
                  <c:v>-2.3042099999999999</c:v>
                </c:pt>
                <c:pt idx="9709">
                  <c:v>#N/A</c:v>
                </c:pt>
                <c:pt idx="9710">
                  <c:v>-2.3868100000000001</c:v>
                </c:pt>
                <c:pt idx="9711">
                  <c:v>-2.2763100000000001</c:v>
                </c:pt>
                <c:pt idx="9712">
                  <c:v>-2.0080300000000002</c:v>
                </c:pt>
                <c:pt idx="9713">
                  <c:v>#N/A</c:v>
                </c:pt>
                <c:pt idx="9714">
                  <c:v>-1.91361</c:v>
                </c:pt>
                <c:pt idx="9715">
                  <c:v>-2.4937499999999999</c:v>
                </c:pt>
                <c:pt idx="9716">
                  <c:v>#N/A</c:v>
                </c:pt>
                <c:pt idx="9717">
                  <c:v>-2.3769300000000002</c:v>
                </c:pt>
                <c:pt idx="9718">
                  <c:v>-2.4374400000000001</c:v>
                </c:pt>
                <c:pt idx="9719">
                  <c:v>-2.7939799999999999</c:v>
                </c:pt>
                <c:pt idx="9720">
                  <c:v>#N/A</c:v>
                </c:pt>
                <c:pt idx="9721">
                  <c:v>-2.20045</c:v>
                </c:pt>
                <c:pt idx="9722">
                  <c:v>#N/A</c:v>
                </c:pt>
                <c:pt idx="9723">
                  <c:v>-2.3855200000000001</c:v>
                </c:pt>
                <c:pt idx="9724">
                  <c:v>-2.3701699999999999</c:v>
                </c:pt>
                <c:pt idx="9725">
                  <c:v>#N/A</c:v>
                </c:pt>
                <c:pt idx="9726">
                  <c:v>-2.4506000000000001</c:v>
                </c:pt>
                <c:pt idx="9727">
                  <c:v>-2.91743</c:v>
                </c:pt>
                <c:pt idx="9728">
                  <c:v>-3.1925500000000002</c:v>
                </c:pt>
                <c:pt idx="9729">
                  <c:v>#N/A</c:v>
                </c:pt>
                <c:pt idx="9730">
                  <c:v>-2.6309999999999998</c:v>
                </c:pt>
                <c:pt idx="9731">
                  <c:v>-2.2121200000000001</c:v>
                </c:pt>
                <c:pt idx="9732">
                  <c:v>-2.2763100000000001</c:v>
                </c:pt>
                <c:pt idx="9733">
                  <c:v>#N/A</c:v>
                </c:pt>
                <c:pt idx="9734">
                  <c:v>-2.8122699999999998</c:v>
                </c:pt>
                <c:pt idx="9735">
                  <c:v>-1.9107400000000001</c:v>
                </c:pt>
                <c:pt idx="9736">
                  <c:v>-2.6301100000000002</c:v>
                </c:pt>
                <c:pt idx="9737">
                  <c:v>#N/A</c:v>
                </c:pt>
                <c:pt idx="9738">
                  <c:v>-3.0112700000000001</c:v>
                </c:pt>
                <c:pt idx="9739">
                  <c:v>-2.9009100000000001</c:v>
                </c:pt>
                <c:pt idx="9740">
                  <c:v>-2.7315800000000001</c:v>
                </c:pt>
                <c:pt idx="9741">
                  <c:v>#N/A</c:v>
                </c:pt>
                <c:pt idx="9742">
                  <c:v>-2.4550200000000002</c:v>
                </c:pt>
                <c:pt idx="9743">
                  <c:v>-2.1040000000000001</c:v>
                </c:pt>
                <c:pt idx="9744">
                  <c:v>-2.41506</c:v>
                </c:pt>
                <c:pt idx="9745">
                  <c:v>#N/A</c:v>
                </c:pt>
                <c:pt idx="9746">
                  <c:v>-2.7072500000000002</c:v>
                </c:pt>
                <c:pt idx="9747">
                  <c:v>-2.6766200000000002</c:v>
                </c:pt>
                <c:pt idx="9748">
                  <c:v>-2.59144</c:v>
                </c:pt>
                <c:pt idx="9749">
                  <c:v>#N/A</c:v>
                </c:pt>
                <c:pt idx="9750">
                  <c:v>-2.6161599999999998</c:v>
                </c:pt>
                <c:pt idx="9751">
                  <c:v>-2.1162000000000001</c:v>
                </c:pt>
                <c:pt idx="9752">
                  <c:v>-1.4853799999999999</c:v>
                </c:pt>
                <c:pt idx="9753">
                  <c:v>#N/A</c:v>
                </c:pt>
                <c:pt idx="9754">
                  <c:v>-1.8068599999999999</c:v>
                </c:pt>
                <c:pt idx="9755">
                  <c:v>-1.7313700000000001</c:v>
                </c:pt>
                <c:pt idx="9756">
                  <c:v>-2.40083</c:v>
                </c:pt>
                <c:pt idx="9757">
                  <c:v>#N/A</c:v>
                </c:pt>
                <c:pt idx="9758">
                  <c:v>-2.6129099999999998</c:v>
                </c:pt>
                <c:pt idx="9759">
                  <c:v>-2.8329200000000001</c:v>
                </c:pt>
                <c:pt idx="9760">
                  <c:v>#N/A</c:v>
                </c:pt>
                <c:pt idx="9761">
                  <c:v>-2.5095000000000001</c:v>
                </c:pt>
                <c:pt idx="9762">
                  <c:v>-2.5792700000000002</c:v>
                </c:pt>
                <c:pt idx="9763">
                  <c:v>-2.11612</c:v>
                </c:pt>
                <c:pt idx="9764">
                  <c:v>#N/A</c:v>
                </c:pt>
                <c:pt idx="9765">
                  <c:v>-1.97645</c:v>
                </c:pt>
                <c:pt idx="9766">
                  <c:v>-2.2409599999999998</c:v>
                </c:pt>
                <c:pt idx="9767">
                  <c:v>-2.8451599999999999</c:v>
                </c:pt>
                <c:pt idx="9768">
                  <c:v>#N/A</c:v>
                </c:pt>
                <c:pt idx="9769">
                  <c:v>-2.6891099999999999</c:v>
                </c:pt>
                <c:pt idx="9770">
                  <c:v>-3.20329</c:v>
                </c:pt>
                <c:pt idx="9771">
                  <c:v>-2.8703500000000002</c:v>
                </c:pt>
                <c:pt idx="9772">
                  <c:v>#N/A</c:v>
                </c:pt>
                <c:pt idx="9773">
                  <c:v>-2.3443999999999998</c:v>
                </c:pt>
                <c:pt idx="9774">
                  <c:v>-2.43893</c:v>
                </c:pt>
                <c:pt idx="9775">
                  <c:v>#N/A</c:v>
                </c:pt>
                <c:pt idx="9776">
                  <c:v>-2.26213</c:v>
                </c:pt>
                <c:pt idx="9777">
                  <c:v>-1.8976200000000001</c:v>
                </c:pt>
                <c:pt idx="9778">
                  <c:v>-2.2622499999999999</c:v>
                </c:pt>
                <c:pt idx="9779">
                  <c:v>#N/A</c:v>
                </c:pt>
                <c:pt idx="9780">
                  <c:v>-2.89893</c:v>
                </c:pt>
                <c:pt idx="9781">
                  <c:v>-2.6221000000000001</c:v>
                </c:pt>
                <c:pt idx="9782">
                  <c:v>-2.3551899999999999</c:v>
                </c:pt>
                <c:pt idx="9783">
                  <c:v>#N/A</c:v>
                </c:pt>
                <c:pt idx="9784">
                  <c:v>-2.2508300000000001</c:v>
                </c:pt>
                <c:pt idx="9785">
                  <c:v>-2.1423899999999998</c:v>
                </c:pt>
                <c:pt idx="9786">
                  <c:v>#N/A</c:v>
                </c:pt>
                <c:pt idx="9787">
                  <c:v>-2.1824400000000002</c:v>
                </c:pt>
                <c:pt idx="9788">
                  <c:v>-2.51688</c:v>
                </c:pt>
                <c:pt idx="9789">
                  <c:v>-2.4517600000000002</c:v>
                </c:pt>
                <c:pt idx="9790">
                  <c:v>#N/A</c:v>
                </c:pt>
                <c:pt idx="9791">
                  <c:v>-2.83094</c:v>
                </c:pt>
                <c:pt idx="9792">
                  <c:v>-2.7075100000000001</c:v>
                </c:pt>
                <c:pt idx="9793">
                  <c:v>-2.4981900000000001</c:v>
                </c:pt>
                <c:pt idx="9794">
                  <c:v>#N/A</c:v>
                </c:pt>
                <c:pt idx="9795">
                  <c:v>-2.5111400000000001</c:v>
                </c:pt>
                <c:pt idx="9796">
                  <c:v>-2.49064</c:v>
                </c:pt>
                <c:pt idx="9797">
                  <c:v>-2.19095</c:v>
                </c:pt>
                <c:pt idx="9798">
                  <c:v>#N/A</c:v>
                </c:pt>
                <c:pt idx="9799">
                  <c:v>-2.5860400000000001</c:v>
                </c:pt>
                <c:pt idx="9800">
                  <c:v>-2.8911699999999998</c:v>
                </c:pt>
                <c:pt idx="9801">
                  <c:v>-2.6223100000000001</c:v>
                </c:pt>
                <c:pt idx="9802">
                  <c:v>#N/A</c:v>
                </c:pt>
                <c:pt idx="9803">
                  <c:v>-2.33968</c:v>
                </c:pt>
                <c:pt idx="9804">
                  <c:v>-2.16703</c:v>
                </c:pt>
                <c:pt idx="9805">
                  <c:v>-2.2509700000000001</c:v>
                </c:pt>
                <c:pt idx="9806">
                  <c:v>#N/A</c:v>
                </c:pt>
                <c:pt idx="9807">
                  <c:v>-2.6348099999999999</c:v>
                </c:pt>
                <c:pt idx="9808">
                  <c:v>-2.7866599999999999</c:v>
                </c:pt>
                <c:pt idx="9809">
                  <c:v>-3.1507700000000001</c:v>
                </c:pt>
                <c:pt idx="9810">
                  <c:v>#N/A</c:v>
                </c:pt>
                <c:pt idx="9811">
                  <c:v>-2.9280300000000001</c:v>
                </c:pt>
                <c:pt idx="9812">
                  <c:v>-2.5431900000000001</c:v>
                </c:pt>
                <c:pt idx="9813">
                  <c:v>-2.22906</c:v>
                </c:pt>
                <c:pt idx="9814">
                  <c:v>#N/A</c:v>
                </c:pt>
                <c:pt idx="9815">
                  <c:v>-1.4313199999999999</c:v>
                </c:pt>
                <c:pt idx="9816">
                  <c:v>-1.6479600000000001</c:v>
                </c:pt>
                <c:pt idx="9817">
                  <c:v>#N/A</c:v>
                </c:pt>
                <c:pt idx="9818">
                  <c:v>-2.1955800000000001</c:v>
                </c:pt>
                <c:pt idx="9819">
                  <c:v>-2.9767999999999999</c:v>
                </c:pt>
                <c:pt idx="9820">
                  <c:v>-2.8543799999999999</c:v>
                </c:pt>
                <c:pt idx="9821">
                  <c:v>#N/A</c:v>
                </c:pt>
                <c:pt idx="9822">
                  <c:v>-2.9645100000000002</c:v>
                </c:pt>
                <c:pt idx="9823">
                  <c:v>-3.1918000000000002</c:v>
                </c:pt>
                <c:pt idx="9824">
                  <c:v>-2.0496400000000001</c:v>
                </c:pt>
                <c:pt idx="9825">
                  <c:v>#N/A</c:v>
                </c:pt>
                <c:pt idx="9826">
                  <c:v>-1.8191200000000001</c:v>
                </c:pt>
                <c:pt idx="9827">
                  <c:v>-2.0656500000000002</c:v>
                </c:pt>
                <c:pt idx="9828">
                  <c:v>-2.0747100000000001</c:v>
                </c:pt>
                <c:pt idx="9829">
                  <c:v>#N/A</c:v>
                </c:pt>
                <c:pt idx="9830">
                  <c:v>-2.97201</c:v>
                </c:pt>
                <c:pt idx="9831">
                  <c:v>-3.0999599999999998</c:v>
                </c:pt>
                <c:pt idx="9832">
                  <c:v>-3.0914799999999998</c:v>
                </c:pt>
                <c:pt idx="9833">
                  <c:v>#N/A</c:v>
                </c:pt>
                <c:pt idx="9834">
                  <c:v>-2.97607</c:v>
                </c:pt>
                <c:pt idx="9835">
                  <c:v>-2.4887700000000001</c:v>
                </c:pt>
                <c:pt idx="9836">
                  <c:v>-2.23102</c:v>
                </c:pt>
                <c:pt idx="9837">
                  <c:v>#N/A</c:v>
                </c:pt>
                <c:pt idx="9838">
                  <c:v>-1.64737</c:v>
                </c:pt>
                <c:pt idx="9839">
                  <c:v>-2.4611100000000001</c:v>
                </c:pt>
                <c:pt idx="9840">
                  <c:v>#N/A</c:v>
                </c:pt>
                <c:pt idx="9841">
                  <c:v>-2.5610200000000001</c:v>
                </c:pt>
                <c:pt idx="9842">
                  <c:v>-3.2682199999999999</c:v>
                </c:pt>
                <c:pt idx="9843">
                  <c:v>-2.9982600000000001</c:v>
                </c:pt>
                <c:pt idx="9844">
                  <c:v>#N/A</c:v>
                </c:pt>
                <c:pt idx="9845">
                  <c:v>-2.9433600000000002</c:v>
                </c:pt>
                <c:pt idx="9846">
                  <c:v>-2.6250300000000002</c:v>
                </c:pt>
                <c:pt idx="9847">
                  <c:v>-1.9374100000000001</c:v>
                </c:pt>
                <c:pt idx="9848">
                  <c:v>#N/A</c:v>
                </c:pt>
                <c:pt idx="9849">
                  <c:v>-2.0143200000000001</c:v>
                </c:pt>
                <c:pt idx="9850">
                  <c:v>-3.0095999999999998</c:v>
                </c:pt>
                <c:pt idx="9851">
                  <c:v>-2.9476300000000002</c:v>
                </c:pt>
                <c:pt idx="9852">
                  <c:v>#N/A</c:v>
                </c:pt>
                <c:pt idx="9853">
                  <c:v>-3.15829</c:v>
                </c:pt>
                <c:pt idx="9854">
                  <c:v>-2.9744199999999998</c:v>
                </c:pt>
                <c:pt idx="9855">
                  <c:v>#N/A</c:v>
                </c:pt>
                <c:pt idx="9856">
                  <c:v>-3.2029100000000001</c:v>
                </c:pt>
                <c:pt idx="9857">
                  <c:v>-2.4694199999999999</c:v>
                </c:pt>
                <c:pt idx="9858">
                  <c:v>#N/A</c:v>
                </c:pt>
                <c:pt idx="9859">
                  <c:v>-2.62669</c:v>
                </c:pt>
                <c:pt idx="9860">
                  <c:v>-2.16676</c:v>
                </c:pt>
                <c:pt idx="9861">
                  <c:v>#N/A</c:v>
                </c:pt>
                <c:pt idx="9862">
                  <c:v>-2.0036900000000002</c:v>
                </c:pt>
                <c:pt idx="9863">
                  <c:v>-2.9125700000000001</c:v>
                </c:pt>
                <c:pt idx="9864">
                  <c:v>-2.9949400000000002</c:v>
                </c:pt>
                <c:pt idx="9865">
                  <c:v>#N/A</c:v>
                </c:pt>
                <c:pt idx="9866">
                  <c:v>-2.7741500000000001</c:v>
                </c:pt>
                <c:pt idx="9867">
                  <c:v>-2.3995799999999998</c:v>
                </c:pt>
                <c:pt idx="9868">
                  <c:v>#N/A</c:v>
                </c:pt>
                <c:pt idx="9869">
                  <c:v>-2.3383799999999999</c:v>
                </c:pt>
                <c:pt idx="9870">
                  <c:v>-2.0266799999999998</c:v>
                </c:pt>
                <c:pt idx="9871">
                  <c:v>-2.4799099999999998</c:v>
                </c:pt>
                <c:pt idx="9872">
                  <c:v>#N/A</c:v>
                </c:pt>
                <c:pt idx="9873">
                  <c:v>-2.5056500000000002</c:v>
                </c:pt>
                <c:pt idx="9874">
                  <c:v>-2.6715100000000001</c:v>
                </c:pt>
                <c:pt idx="9875">
                  <c:v>-2.60399</c:v>
                </c:pt>
                <c:pt idx="9876">
                  <c:v>#N/A</c:v>
                </c:pt>
                <c:pt idx="9877">
                  <c:v>-2.0723600000000002</c:v>
                </c:pt>
                <c:pt idx="9878">
                  <c:v>-1.88741</c:v>
                </c:pt>
                <c:pt idx="9879">
                  <c:v>-1.57988</c:v>
                </c:pt>
                <c:pt idx="9880">
                  <c:v>#N/A</c:v>
                </c:pt>
                <c:pt idx="9881">
                  <c:v>-2.3822399999999999</c:v>
                </c:pt>
                <c:pt idx="9882">
                  <c:v>-2.2367300000000001</c:v>
                </c:pt>
                <c:pt idx="9883">
                  <c:v>-2.8527300000000002</c:v>
                </c:pt>
                <c:pt idx="9884">
                  <c:v>#N/A</c:v>
                </c:pt>
                <c:pt idx="9885">
                  <c:v>-2.8732000000000002</c:v>
                </c:pt>
                <c:pt idx="9886">
                  <c:v>-2.5987300000000002</c:v>
                </c:pt>
                <c:pt idx="9887">
                  <c:v>-1.9736199999999999</c:v>
                </c:pt>
                <c:pt idx="9888">
                  <c:v>#N/A</c:v>
                </c:pt>
                <c:pt idx="9889">
                  <c:v>-1.8642099999999999</c:v>
                </c:pt>
                <c:pt idx="9890">
                  <c:v>-2.16533</c:v>
                </c:pt>
                <c:pt idx="9891">
                  <c:v>-2.7253400000000001</c:v>
                </c:pt>
                <c:pt idx="9892">
                  <c:v>#N/A</c:v>
                </c:pt>
                <c:pt idx="9893">
                  <c:v>-3.1589200000000002</c:v>
                </c:pt>
                <c:pt idx="9894">
                  <c:v>-2.6397900000000001</c:v>
                </c:pt>
                <c:pt idx="9895">
                  <c:v>-2.7024499999999998</c:v>
                </c:pt>
                <c:pt idx="9896">
                  <c:v>#N/A</c:v>
                </c:pt>
                <c:pt idx="9897">
                  <c:v>-2.3328899999999999</c:v>
                </c:pt>
                <c:pt idx="9898">
                  <c:v>-1.6380699999999999</c:v>
                </c:pt>
                <c:pt idx="9899">
                  <c:v>#N/A</c:v>
                </c:pt>
                <c:pt idx="9900">
                  <c:v>-1.8252699999999999</c:v>
                </c:pt>
                <c:pt idx="9901">
                  <c:v>-2.0360800000000001</c:v>
                </c:pt>
                <c:pt idx="9902">
                  <c:v>-2.3934299999999999</c:v>
                </c:pt>
                <c:pt idx="9903">
                  <c:v>#N/A</c:v>
                </c:pt>
                <c:pt idx="9904">
                  <c:v>-2.7035900000000002</c:v>
                </c:pt>
                <c:pt idx="9905">
                  <c:v>-3.2745000000000002</c:v>
                </c:pt>
                <c:pt idx="9906">
                  <c:v>-2.6537000000000002</c:v>
                </c:pt>
                <c:pt idx="9907">
                  <c:v>#N/A</c:v>
                </c:pt>
                <c:pt idx="9908">
                  <c:v>-2.8632599999999999</c:v>
                </c:pt>
                <c:pt idx="9909">
                  <c:v>-2.2764099999999998</c:v>
                </c:pt>
                <c:pt idx="9910">
                  <c:v>#N/A</c:v>
                </c:pt>
                <c:pt idx="9911">
                  <c:v>-2.5050300000000001</c:v>
                </c:pt>
                <c:pt idx="9912">
                  <c:v>-2.8195999999999999</c:v>
                </c:pt>
                <c:pt idx="9913">
                  <c:v>-2.8944200000000002</c:v>
                </c:pt>
                <c:pt idx="9914">
                  <c:v>#N/A</c:v>
                </c:pt>
                <c:pt idx="9915">
                  <c:v>-3.3345099999999999</c:v>
                </c:pt>
                <c:pt idx="9916">
                  <c:v>-3.2295699999999998</c:v>
                </c:pt>
                <c:pt idx="9917">
                  <c:v>-2.57721</c:v>
                </c:pt>
                <c:pt idx="9918">
                  <c:v>#N/A</c:v>
                </c:pt>
                <c:pt idx="9919">
                  <c:v>-2.5065</c:v>
                </c:pt>
                <c:pt idx="9920">
                  <c:v>-2.4467400000000001</c:v>
                </c:pt>
                <c:pt idx="9921">
                  <c:v>#N/A</c:v>
                </c:pt>
                <c:pt idx="9922">
                  <c:v>-2.1541800000000002</c:v>
                </c:pt>
                <c:pt idx="9923">
                  <c:v>-1.9090400000000001</c:v>
                </c:pt>
                <c:pt idx="9924">
                  <c:v>-2.8119900000000002</c:v>
                </c:pt>
                <c:pt idx="9925">
                  <c:v>#N/A</c:v>
                </c:pt>
                <c:pt idx="9926">
                  <c:v>-2.8975200000000001</c:v>
                </c:pt>
                <c:pt idx="9927">
                  <c:v>-3.0668500000000001</c:v>
                </c:pt>
                <c:pt idx="9928">
                  <c:v>-3.0428700000000002</c:v>
                </c:pt>
                <c:pt idx="9929">
                  <c:v>#N/A</c:v>
                </c:pt>
                <c:pt idx="9930">
                  <c:v>-2.4599700000000002</c:v>
                </c:pt>
                <c:pt idx="9931">
                  <c:v>#N/A</c:v>
                </c:pt>
                <c:pt idx="9932">
                  <c:v>-2.27291</c:v>
                </c:pt>
                <c:pt idx="9933">
                  <c:v>-2.4611999999999998</c:v>
                </c:pt>
                <c:pt idx="9934">
                  <c:v>#N/A</c:v>
                </c:pt>
                <c:pt idx="9935">
                  <c:v>-2.38246</c:v>
                </c:pt>
                <c:pt idx="9936">
                  <c:v>-3.0634999999999999</c:v>
                </c:pt>
                <c:pt idx="9937">
                  <c:v>-2.8144800000000001</c:v>
                </c:pt>
                <c:pt idx="9938">
                  <c:v>#N/A</c:v>
                </c:pt>
                <c:pt idx="9939">
                  <c:v>-2.6539999999999999</c:v>
                </c:pt>
                <c:pt idx="9940">
                  <c:v>-2.3875600000000001</c:v>
                </c:pt>
                <c:pt idx="9941">
                  <c:v>#N/A</c:v>
                </c:pt>
                <c:pt idx="9942">
                  <c:v>-2.6579100000000002</c:v>
                </c:pt>
                <c:pt idx="9943">
                  <c:v>-2.3591700000000002</c:v>
                </c:pt>
                <c:pt idx="9944">
                  <c:v>-1.8979200000000001</c:v>
                </c:pt>
                <c:pt idx="9945">
                  <c:v>#N/A</c:v>
                </c:pt>
                <c:pt idx="9946">
                  <c:v>-2.32376</c:v>
                </c:pt>
                <c:pt idx="9947">
                  <c:v>-2.8777200000000001</c:v>
                </c:pt>
                <c:pt idx="9948">
                  <c:v>-2.9235899999999999</c:v>
                </c:pt>
                <c:pt idx="9949">
                  <c:v>#N/A</c:v>
                </c:pt>
                <c:pt idx="9950">
                  <c:v>-2.7428699999999999</c:v>
                </c:pt>
                <c:pt idx="9951">
                  <c:v>-1.97346</c:v>
                </c:pt>
                <c:pt idx="9952">
                  <c:v>-2.06616</c:v>
                </c:pt>
                <c:pt idx="9953">
                  <c:v>#N/A</c:v>
                </c:pt>
                <c:pt idx="9954">
                  <c:v>-2.61246</c:v>
                </c:pt>
                <c:pt idx="9955">
                  <c:v>-2.5494699999999999</c:v>
                </c:pt>
                <c:pt idx="9956">
                  <c:v>-3.0324399999999998</c:v>
                </c:pt>
                <c:pt idx="9957">
                  <c:v>#N/A</c:v>
                </c:pt>
                <c:pt idx="9958">
                  <c:v>-2.6920799999999998</c:v>
                </c:pt>
                <c:pt idx="9959">
                  <c:v>-2.6314099999999998</c:v>
                </c:pt>
                <c:pt idx="9960">
                  <c:v>-2.5789599999999999</c:v>
                </c:pt>
                <c:pt idx="9961">
                  <c:v>#N/A</c:v>
                </c:pt>
                <c:pt idx="9962">
                  <c:v>-2.20703</c:v>
                </c:pt>
                <c:pt idx="9963">
                  <c:v>-1.48532</c:v>
                </c:pt>
                <c:pt idx="9964">
                  <c:v>-2.5673300000000001</c:v>
                </c:pt>
                <c:pt idx="9965">
                  <c:v>#N/A</c:v>
                </c:pt>
                <c:pt idx="9966">
                  <c:v>-3.4176199999999999</c:v>
                </c:pt>
                <c:pt idx="9967">
                  <c:v>-3.68668</c:v>
                </c:pt>
                <c:pt idx="9968">
                  <c:v>#N/A</c:v>
                </c:pt>
                <c:pt idx="9969">
                  <c:v>-3.6135700000000002</c:v>
                </c:pt>
                <c:pt idx="9970">
                  <c:v>-2.6846800000000002</c:v>
                </c:pt>
                <c:pt idx="9971">
                  <c:v>-3.0082200000000001</c:v>
                </c:pt>
                <c:pt idx="9972">
                  <c:v>#N/A</c:v>
                </c:pt>
                <c:pt idx="9973">
                  <c:v>-2.4557899999999999</c:v>
                </c:pt>
                <c:pt idx="9974">
                  <c:v>-2.5103499999999999</c:v>
                </c:pt>
                <c:pt idx="9975">
                  <c:v>-2.90781</c:v>
                </c:pt>
                <c:pt idx="9976">
                  <c:v>#N/A</c:v>
                </c:pt>
                <c:pt idx="9977">
                  <c:v>-2.93323</c:v>
                </c:pt>
                <c:pt idx="9978">
                  <c:v>-2.1848200000000002</c:v>
                </c:pt>
                <c:pt idx="9979">
                  <c:v>-0.91958899999999999</c:v>
                </c:pt>
                <c:pt idx="9980">
                  <c:v>#N/A</c:v>
                </c:pt>
                <c:pt idx="9981">
                  <c:v>1.19977</c:v>
                </c:pt>
                <c:pt idx="9982">
                  <c:v>3.3978999999999999</c:v>
                </c:pt>
                <c:pt idx="9983">
                  <c:v>7.3293600000000003</c:v>
                </c:pt>
                <c:pt idx="9984">
                  <c:v>#N/A</c:v>
                </c:pt>
                <c:pt idx="9985">
                  <c:v>9.2042699999999993</c:v>
                </c:pt>
                <c:pt idx="9986">
                  <c:v>9.8153199999999998</c:v>
                </c:pt>
                <c:pt idx="9987">
                  <c:v>10.490399999999999</c:v>
                </c:pt>
                <c:pt idx="9988">
                  <c:v>#N/A</c:v>
                </c:pt>
                <c:pt idx="9989">
                  <c:v>12.3744</c:v>
                </c:pt>
                <c:pt idx="9990">
                  <c:v>13.0844</c:v>
                </c:pt>
                <c:pt idx="9991">
                  <c:v>13.7325</c:v>
                </c:pt>
                <c:pt idx="9992">
                  <c:v>#N/A</c:v>
                </c:pt>
                <c:pt idx="9993">
                  <c:v>15.0449</c:v>
                </c:pt>
                <c:pt idx="9994">
                  <c:v>16.128900000000002</c:v>
                </c:pt>
                <c:pt idx="9995">
                  <c:v>16.411200000000001</c:v>
                </c:pt>
                <c:pt idx="9996">
                  <c:v>#N/A</c:v>
                </c:pt>
                <c:pt idx="9997">
                  <c:v>16.8368</c:v>
                </c:pt>
                <c:pt idx="9998">
                  <c:v>16.691400000000002</c:v>
                </c:pt>
                <c:pt idx="9999">
                  <c:v>15.81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C97-436A-B433-EF4A9EDEE5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768548367"/>
      </c:lineChart>
      <c:valAx>
        <c:axId val="768548367"/>
        <c:scaling>
          <c:orientation val="minMax"/>
          <c:max val="10"/>
          <c:min val="-10"/>
        </c:scaling>
        <c:delete val="0"/>
        <c:axPos val="l"/>
        <c:majorGridlines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0"/>
        <c:axPos val="b"/>
        <c:numFmt formatCode="General" sourceLinked="0"/>
        <c:majorTickMark val="cross"/>
        <c:minorTickMark val="cross"/>
        <c:tickLblPos val="none"/>
        <c:spPr>
          <a:ln>
            <a:noFill/>
          </a:ln>
        </c:spPr>
        <c:crossAx val="768548367"/>
        <c:crosses val="autoZero"/>
        <c:auto val="1"/>
        <c:lblAlgn val="ctr"/>
        <c:lblOffset val="100"/>
        <c:noMultiLvlLbl val="1"/>
      </c:catAx>
    </c:plotArea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Before</a:t>
            </a:r>
            <a:r>
              <a:rPr lang="en-US" baseline="0" dirty="0"/>
              <a:t> Maintenance</a:t>
            </a:r>
            <a:endParaRPr lang="en-US" dirty="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Average of torqueactual</c:v>
                </c:pt>
              </c:strCache>
            </c:strRef>
          </c:tx>
          <c:spPr>
            <a:ln w="3175">
              <a:solidFill>
                <a:srgbClr val="1F77B4"/>
              </a:solidFill>
              <a:round/>
            </a:ln>
          </c:spPr>
          <c:marker>
            <c:symbol val="none"/>
          </c:marker>
          <c:cat>
            <c:numRef>
              <c:f>Data!$C$3:$C$10002</c:f>
              <c:numCache>
                <c:formatCode>General</c:formatCode>
                <c:ptCount val="100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0</c:v>
                </c:pt>
                <c:pt idx="701">
                  <c:v>0</c:v>
                </c:pt>
                <c:pt idx="702">
                  <c:v>0</c:v>
                </c:pt>
                <c:pt idx="703">
                  <c:v>0</c:v>
                </c:pt>
                <c:pt idx="704">
                  <c:v>0</c:v>
                </c:pt>
                <c:pt idx="705">
                  <c:v>0</c:v>
                </c:pt>
                <c:pt idx="706">
                  <c:v>0</c:v>
                </c:pt>
                <c:pt idx="707">
                  <c:v>0</c:v>
                </c:pt>
                <c:pt idx="708">
                  <c:v>0</c:v>
                </c:pt>
                <c:pt idx="709">
                  <c:v>0</c:v>
                </c:pt>
                <c:pt idx="710">
                  <c:v>0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  <c:pt idx="805">
                  <c:v>0</c:v>
                </c:pt>
                <c:pt idx="806">
                  <c:v>0</c:v>
                </c:pt>
                <c:pt idx="807">
                  <c:v>0</c:v>
                </c:pt>
                <c:pt idx="808">
                  <c:v>0</c:v>
                </c:pt>
                <c:pt idx="809">
                  <c:v>0</c:v>
                </c:pt>
                <c:pt idx="810">
                  <c:v>0</c:v>
                </c:pt>
                <c:pt idx="811">
                  <c:v>0</c:v>
                </c:pt>
                <c:pt idx="812">
                  <c:v>0</c:v>
                </c:pt>
                <c:pt idx="813">
                  <c:v>0</c:v>
                </c:pt>
                <c:pt idx="814">
                  <c:v>0</c:v>
                </c:pt>
                <c:pt idx="815">
                  <c:v>0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0</c:v>
                </c:pt>
                <c:pt idx="901">
                  <c:v>0</c:v>
                </c:pt>
                <c:pt idx="902">
                  <c:v>0</c:v>
                </c:pt>
                <c:pt idx="903">
                  <c:v>0</c:v>
                </c:pt>
                <c:pt idx="904">
                  <c:v>0</c:v>
                </c:pt>
                <c:pt idx="905">
                  <c:v>0</c:v>
                </c:pt>
                <c:pt idx="906">
                  <c:v>0</c:v>
                </c:pt>
                <c:pt idx="907">
                  <c:v>0</c:v>
                </c:pt>
                <c:pt idx="908">
                  <c:v>0</c:v>
                </c:pt>
                <c:pt idx="909">
                  <c:v>0</c:v>
                </c:pt>
                <c:pt idx="910">
                  <c:v>0</c:v>
                </c:pt>
                <c:pt idx="911">
                  <c:v>0</c:v>
                </c:pt>
                <c:pt idx="912">
                  <c:v>0</c:v>
                </c:pt>
                <c:pt idx="913">
                  <c:v>0</c:v>
                </c:pt>
                <c:pt idx="914">
                  <c:v>0</c:v>
                </c:pt>
                <c:pt idx="915">
                  <c:v>0</c:v>
                </c:pt>
                <c:pt idx="916">
                  <c:v>0</c:v>
                </c:pt>
                <c:pt idx="917">
                  <c:v>0</c:v>
                </c:pt>
                <c:pt idx="918">
                  <c:v>0</c:v>
                </c:pt>
                <c:pt idx="919">
                  <c:v>0</c:v>
                </c:pt>
                <c:pt idx="920">
                  <c:v>0</c:v>
                </c:pt>
                <c:pt idx="921">
                  <c:v>0</c:v>
                </c:pt>
                <c:pt idx="922">
                  <c:v>0</c:v>
                </c:pt>
                <c:pt idx="923">
                  <c:v>0</c:v>
                </c:pt>
                <c:pt idx="924">
                  <c:v>0</c:v>
                </c:pt>
                <c:pt idx="925">
                  <c:v>0</c:v>
                </c:pt>
                <c:pt idx="926">
                  <c:v>0</c:v>
                </c:pt>
                <c:pt idx="927">
                  <c:v>0</c:v>
                </c:pt>
                <c:pt idx="928">
                  <c:v>0</c:v>
                </c:pt>
                <c:pt idx="929">
                  <c:v>0</c:v>
                </c:pt>
                <c:pt idx="930">
                  <c:v>0</c:v>
                </c:pt>
                <c:pt idx="931">
                  <c:v>0</c:v>
                </c:pt>
                <c:pt idx="932">
                  <c:v>0</c:v>
                </c:pt>
                <c:pt idx="933">
                  <c:v>0</c:v>
                </c:pt>
                <c:pt idx="934">
                  <c:v>0</c:v>
                </c:pt>
                <c:pt idx="935">
                  <c:v>0</c:v>
                </c:pt>
                <c:pt idx="936">
                  <c:v>0</c:v>
                </c:pt>
                <c:pt idx="937">
                  <c:v>0</c:v>
                </c:pt>
                <c:pt idx="938">
                  <c:v>0</c:v>
                </c:pt>
                <c:pt idx="939">
                  <c:v>0</c:v>
                </c:pt>
                <c:pt idx="940">
                  <c:v>0</c:v>
                </c:pt>
                <c:pt idx="941">
                  <c:v>0</c:v>
                </c:pt>
                <c:pt idx="942">
                  <c:v>0</c:v>
                </c:pt>
                <c:pt idx="943">
                  <c:v>0</c:v>
                </c:pt>
                <c:pt idx="944">
                  <c:v>0</c:v>
                </c:pt>
                <c:pt idx="945">
                  <c:v>0</c:v>
                </c:pt>
                <c:pt idx="946">
                  <c:v>0</c:v>
                </c:pt>
                <c:pt idx="947">
                  <c:v>0</c:v>
                </c:pt>
                <c:pt idx="948">
                  <c:v>0</c:v>
                </c:pt>
                <c:pt idx="949">
                  <c:v>0</c:v>
                </c:pt>
                <c:pt idx="950">
                  <c:v>0</c:v>
                </c:pt>
                <c:pt idx="951">
                  <c:v>0</c:v>
                </c:pt>
                <c:pt idx="952">
                  <c:v>0</c:v>
                </c:pt>
                <c:pt idx="953">
                  <c:v>0</c:v>
                </c:pt>
                <c:pt idx="954">
                  <c:v>0</c:v>
                </c:pt>
                <c:pt idx="955">
                  <c:v>0</c:v>
                </c:pt>
                <c:pt idx="956">
                  <c:v>0</c:v>
                </c:pt>
                <c:pt idx="957">
                  <c:v>0</c:v>
                </c:pt>
                <c:pt idx="958">
                  <c:v>0</c:v>
                </c:pt>
                <c:pt idx="959">
                  <c:v>0</c:v>
                </c:pt>
                <c:pt idx="960">
                  <c:v>0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0</c:v>
                </c:pt>
                <c:pt idx="1001">
                  <c:v>0</c:v>
                </c:pt>
                <c:pt idx="1002">
                  <c:v>0</c:v>
                </c:pt>
                <c:pt idx="1003">
                  <c:v>0</c:v>
                </c:pt>
                <c:pt idx="1004">
                  <c:v>0</c:v>
                </c:pt>
                <c:pt idx="1005">
                  <c:v>0</c:v>
                </c:pt>
                <c:pt idx="1006">
                  <c:v>0</c:v>
                </c:pt>
                <c:pt idx="1007">
                  <c:v>0</c:v>
                </c:pt>
                <c:pt idx="1008">
                  <c:v>0</c:v>
                </c:pt>
                <c:pt idx="1009">
                  <c:v>0</c:v>
                </c:pt>
                <c:pt idx="1010">
                  <c:v>0</c:v>
                </c:pt>
                <c:pt idx="1011">
                  <c:v>0</c:v>
                </c:pt>
                <c:pt idx="1012">
                  <c:v>0</c:v>
                </c:pt>
                <c:pt idx="1013">
                  <c:v>0</c:v>
                </c:pt>
                <c:pt idx="1014">
                  <c:v>0</c:v>
                </c:pt>
                <c:pt idx="1015">
                  <c:v>0</c:v>
                </c:pt>
                <c:pt idx="1016">
                  <c:v>0</c:v>
                </c:pt>
                <c:pt idx="1017">
                  <c:v>0</c:v>
                </c:pt>
                <c:pt idx="1018">
                  <c:v>0</c:v>
                </c:pt>
                <c:pt idx="1019">
                  <c:v>0</c:v>
                </c:pt>
                <c:pt idx="1020">
                  <c:v>0</c:v>
                </c:pt>
                <c:pt idx="1021">
                  <c:v>0</c:v>
                </c:pt>
                <c:pt idx="1022">
                  <c:v>0</c:v>
                </c:pt>
                <c:pt idx="1023">
                  <c:v>0</c:v>
                </c:pt>
                <c:pt idx="1024">
                  <c:v>0</c:v>
                </c:pt>
                <c:pt idx="1025">
                  <c:v>0</c:v>
                </c:pt>
                <c:pt idx="1026">
                  <c:v>0</c:v>
                </c:pt>
                <c:pt idx="1027">
                  <c:v>0</c:v>
                </c:pt>
                <c:pt idx="1028">
                  <c:v>0</c:v>
                </c:pt>
                <c:pt idx="1029">
                  <c:v>0</c:v>
                </c:pt>
                <c:pt idx="1030">
                  <c:v>0</c:v>
                </c:pt>
                <c:pt idx="1031">
                  <c:v>0</c:v>
                </c:pt>
                <c:pt idx="1032">
                  <c:v>0</c:v>
                </c:pt>
                <c:pt idx="1033">
                  <c:v>0</c:v>
                </c:pt>
                <c:pt idx="1034">
                  <c:v>0</c:v>
                </c:pt>
                <c:pt idx="1035">
                  <c:v>0</c:v>
                </c:pt>
                <c:pt idx="1036">
                  <c:v>0</c:v>
                </c:pt>
                <c:pt idx="1037">
                  <c:v>0</c:v>
                </c:pt>
                <c:pt idx="1038">
                  <c:v>0</c:v>
                </c:pt>
                <c:pt idx="1039">
                  <c:v>0</c:v>
                </c:pt>
                <c:pt idx="1040">
                  <c:v>0</c:v>
                </c:pt>
                <c:pt idx="1041">
                  <c:v>0</c:v>
                </c:pt>
                <c:pt idx="1042">
                  <c:v>0</c:v>
                </c:pt>
                <c:pt idx="1043">
                  <c:v>0</c:v>
                </c:pt>
                <c:pt idx="1044">
                  <c:v>0</c:v>
                </c:pt>
                <c:pt idx="1045">
                  <c:v>0</c:v>
                </c:pt>
                <c:pt idx="1046">
                  <c:v>0</c:v>
                </c:pt>
                <c:pt idx="1047">
                  <c:v>0</c:v>
                </c:pt>
                <c:pt idx="1048">
                  <c:v>0</c:v>
                </c:pt>
                <c:pt idx="1049">
                  <c:v>0</c:v>
                </c:pt>
                <c:pt idx="1050">
                  <c:v>0</c:v>
                </c:pt>
                <c:pt idx="1051">
                  <c:v>0</c:v>
                </c:pt>
                <c:pt idx="1052">
                  <c:v>0</c:v>
                </c:pt>
                <c:pt idx="1053">
                  <c:v>0</c:v>
                </c:pt>
                <c:pt idx="1054">
                  <c:v>0</c:v>
                </c:pt>
                <c:pt idx="1055">
                  <c:v>0</c:v>
                </c:pt>
                <c:pt idx="1056">
                  <c:v>0</c:v>
                </c:pt>
                <c:pt idx="1057">
                  <c:v>0</c:v>
                </c:pt>
                <c:pt idx="1058">
                  <c:v>0</c:v>
                </c:pt>
                <c:pt idx="1059">
                  <c:v>0</c:v>
                </c:pt>
                <c:pt idx="1060">
                  <c:v>0</c:v>
                </c:pt>
                <c:pt idx="1061">
                  <c:v>0</c:v>
                </c:pt>
                <c:pt idx="1062">
                  <c:v>0</c:v>
                </c:pt>
                <c:pt idx="1063">
                  <c:v>0</c:v>
                </c:pt>
                <c:pt idx="1064">
                  <c:v>0</c:v>
                </c:pt>
                <c:pt idx="1065">
                  <c:v>0</c:v>
                </c:pt>
                <c:pt idx="1066">
                  <c:v>0</c:v>
                </c:pt>
                <c:pt idx="1067">
                  <c:v>0</c:v>
                </c:pt>
                <c:pt idx="1068">
                  <c:v>0</c:v>
                </c:pt>
                <c:pt idx="1069">
                  <c:v>0</c:v>
                </c:pt>
                <c:pt idx="1070">
                  <c:v>0</c:v>
                </c:pt>
                <c:pt idx="1071">
                  <c:v>0</c:v>
                </c:pt>
                <c:pt idx="1072">
                  <c:v>0</c:v>
                </c:pt>
                <c:pt idx="1073">
                  <c:v>0</c:v>
                </c:pt>
                <c:pt idx="1074">
                  <c:v>0</c:v>
                </c:pt>
                <c:pt idx="1075">
                  <c:v>0</c:v>
                </c:pt>
                <c:pt idx="1076">
                  <c:v>0</c:v>
                </c:pt>
                <c:pt idx="1077">
                  <c:v>0</c:v>
                </c:pt>
                <c:pt idx="1078">
                  <c:v>0</c:v>
                </c:pt>
                <c:pt idx="1079">
                  <c:v>0</c:v>
                </c:pt>
                <c:pt idx="1080">
                  <c:v>0</c:v>
                </c:pt>
                <c:pt idx="1081">
                  <c:v>0</c:v>
                </c:pt>
                <c:pt idx="1082">
                  <c:v>0</c:v>
                </c:pt>
                <c:pt idx="1083">
                  <c:v>0</c:v>
                </c:pt>
                <c:pt idx="1084">
                  <c:v>0</c:v>
                </c:pt>
                <c:pt idx="1085">
                  <c:v>0</c:v>
                </c:pt>
                <c:pt idx="1086">
                  <c:v>0</c:v>
                </c:pt>
                <c:pt idx="1087">
                  <c:v>0</c:v>
                </c:pt>
                <c:pt idx="1088">
                  <c:v>0</c:v>
                </c:pt>
                <c:pt idx="1089">
                  <c:v>0</c:v>
                </c:pt>
                <c:pt idx="1090">
                  <c:v>0</c:v>
                </c:pt>
                <c:pt idx="1091">
                  <c:v>0</c:v>
                </c:pt>
                <c:pt idx="1092">
                  <c:v>0</c:v>
                </c:pt>
                <c:pt idx="1093">
                  <c:v>0</c:v>
                </c:pt>
                <c:pt idx="1094">
                  <c:v>0</c:v>
                </c:pt>
                <c:pt idx="1095">
                  <c:v>0</c:v>
                </c:pt>
                <c:pt idx="1096">
                  <c:v>0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0</c:v>
                </c:pt>
                <c:pt idx="1101">
                  <c:v>0</c:v>
                </c:pt>
                <c:pt idx="1102">
                  <c:v>0</c:v>
                </c:pt>
                <c:pt idx="1103">
                  <c:v>0</c:v>
                </c:pt>
                <c:pt idx="1104">
                  <c:v>0</c:v>
                </c:pt>
                <c:pt idx="1105">
                  <c:v>0</c:v>
                </c:pt>
                <c:pt idx="1106">
                  <c:v>0</c:v>
                </c:pt>
                <c:pt idx="1107">
                  <c:v>0</c:v>
                </c:pt>
                <c:pt idx="1108">
                  <c:v>0</c:v>
                </c:pt>
                <c:pt idx="1109">
                  <c:v>0</c:v>
                </c:pt>
                <c:pt idx="1110">
                  <c:v>0</c:v>
                </c:pt>
                <c:pt idx="1111">
                  <c:v>0</c:v>
                </c:pt>
                <c:pt idx="1112">
                  <c:v>0</c:v>
                </c:pt>
                <c:pt idx="1113">
                  <c:v>0</c:v>
                </c:pt>
                <c:pt idx="1114">
                  <c:v>0</c:v>
                </c:pt>
                <c:pt idx="1115">
                  <c:v>0</c:v>
                </c:pt>
                <c:pt idx="1116">
                  <c:v>0</c:v>
                </c:pt>
                <c:pt idx="1117">
                  <c:v>0</c:v>
                </c:pt>
                <c:pt idx="1118">
                  <c:v>0</c:v>
                </c:pt>
                <c:pt idx="1119">
                  <c:v>0</c:v>
                </c:pt>
                <c:pt idx="1120">
                  <c:v>0</c:v>
                </c:pt>
                <c:pt idx="1121">
                  <c:v>0</c:v>
                </c:pt>
                <c:pt idx="1122">
                  <c:v>0</c:v>
                </c:pt>
                <c:pt idx="1123">
                  <c:v>0</c:v>
                </c:pt>
                <c:pt idx="1124">
                  <c:v>0</c:v>
                </c:pt>
                <c:pt idx="1125">
                  <c:v>0</c:v>
                </c:pt>
                <c:pt idx="1126">
                  <c:v>0</c:v>
                </c:pt>
                <c:pt idx="1127">
                  <c:v>0</c:v>
                </c:pt>
                <c:pt idx="1128">
                  <c:v>0</c:v>
                </c:pt>
                <c:pt idx="1129">
                  <c:v>0</c:v>
                </c:pt>
                <c:pt idx="1130">
                  <c:v>0</c:v>
                </c:pt>
                <c:pt idx="1131">
                  <c:v>0</c:v>
                </c:pt>
                <c:pt idx="1132">
                  <c:v>0</c:v>
                </c:pt>
                <c:pt idx="1133">
                  <c:v>0</c:v>
                </c:pt>
                <c:pt idx="1134">
                  <c:v>0</c:v>
                </c:pt>
                <c:pt idx="1135">
                  <c:v>0</c:v>
                </c:pt>
                <c:pt idx="1136">
                  <c:v>0</c:v>
                </c:pt>
                <c:pt idx="1137">
                  <c:v>0</c:v>
                </c:pt>
                <c:pt idx="1138">
                  <c:v>0</c:v>
                </c:pt>
                <c:pt idx="1139">
                  <c:v>0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0</c:v>
                </c:pt>
                <c:pt idx="5414">
                  <c:v>0</c:v>
                </c:pt>
                <c:pt idx="5415">
                  <c:v>0</c:v>
                </c:pt>
                <c:pt idx="5416">
                  <c:v>0</c:v>
                </c:pt>
                <c:pt idx="5417">
                  <c:v>0</c:v>
                </c:pt>
                <c:pt idx="5418">
                  <c:v>0</c:v>
                </c:pt>
                <c:pt idx="5419">
                  <c:v>0</c:v>
                </c:pt>
                <c:pt idx="5420">
                  <c:v>0</c:v>
                </c:pt>
                <c:pt idx="5421">
                  <c:v>0</c:v>
                </c:pt>
                <c:pt idx="5422">
                  <c:v>0</c:v>
                </c:pt>
                <c:pt idx="5423">
                  <c:v>0</c:v>
                </c:pt>
                <c:pt idx="5424">
                  <c:v>0</c:v>
                </c:pt>
                <c:pt idx="5425">
                  <c:v>0</c:v>
                </c:pt>
                <c:pt idx="5426">
                  <c:v>0</c:v>
                </c:pt>
                <c:pt idx="5427">
                  <c:v>0</c:v>
                </c:pt>
                <c:pt idx="5428">
                  <c:v>0</c:v>
                </c:pt>
                <c:pt idx="5429">
                  <c:v>0</c:v>
                </c:pt>
                <c:pt idx="5430">
                  <c:v>0</c:v>
                </c:pt>
                <c:pt idx="5431">
                  <c:v>0</c:v>
                </c:pt>
                <c:pt idx="5432">
                  <c:v>0</c:v>
                </c:pt>
                <c:pt idx="5433">
                  <c:v>0</c:v>
                </c:pt>
                <c:pt idx="5434">
                  <c:v>0</c:v>
                </c:pt>
                <c:pt idx="5435">
                  <c:v>0</c:v>
                </c:pt>
                <c:pt idx="5436">
                  <c:v>0</c:v>
                </c:pt>
                <c:pt idx="5437">
                  <c:v>0</c:v>
                </c:pt>
                <c:pt idx="5438">
                  <c:v>0</c:v>
                </c:pt>
                <c:pt idx="5439">
                  <c:v>0</c:v>
                </c:pt>
                <c:pt idx="5440">
                  <c:v>0</c:v>
                </c:pt>
                <c:pt idx="5441">
                  <c:v>0</c:v>
                </c:pt>
                <c:pt idx="5442">
                  <c:v>0</c:v>
                </c:pt>
                <c:pt idx="5443">
                  <c:v>0</c:v>
                </c:pt>
                <c:pt idx="5444">
                  <c:v>0</c:v>
                </c:pt>
                <c:pt idx="5445">
                  <c:v>0</c:v>
                </c:pt>
                <c:pt idx="5446">
                  <c:v>0</c:v>
                </c:pt>
                <c:pt idx="5447">
                  <c:v>0</c:v>
                </c:pt>
                <c:pt idx="5448">
                  <c:v>0</c:v>
                </c:pt>
                <c:pt idx="5449">
                  <c:v>0</c:v>
                </c:pt>
                <c:pt idx="5450">
                  <c:v>0</c:v>
                </c:pt>
                <c:pt idx="5451">
                  <c:v>0</c:v>
                </c:pt>
                <c:pt idx="5452">
                  <c:v>0</c:v>
                </c:pt>
                <c:pt idx="5453">
                  <c:v>0</c:v>
                </c:pt>
                <c:pt idx="5454">
                  <c:v>0</c:v>
                </c:pt>
                <c:pt idx="5455">
                  <c:v>0</c:v>
                </c:pt>
                <c:pt idx="5456">
                  <c:v>0</c:v>
                </c:pt>
                <c:pt idx="5457">
                  <c:v>0</c:v>
                </c:pt>
                <c:pt idx="5458">
                  <c:v>0</c:v>
                </c:pt>
                <c:pt idx="5459">
                  <c:v>0</c:v>
                </c:pt>
                <c:pt idx="5460">
                  <c:v>0</c:v>
                </c:pt>
                <c:pt idx="5461">
                  <c:v>0</c:v>
                </c:pt>
                <c:pt idx="5462">
                  <c:v>0</c:v>
                </c:pt>
                <c:pt idx="5463">
                  <c:v>0</c:v>
                </c:pt>
                <c:pt idx="5464">
                  <c:v>0</c:v>
                </c:pt>
                <c:pt idx="5465">
                  <c:v>0</c:v>
                </c:pt>
                <c:pt idx="5466">
                  <c:v>0</c:v>
                </c:pt>
                <c:pt idx="5467">
                  <c:v>0</c:v>
                </c:pt>
                <c:pt idx="5468">
                  <c:v>0</c:v>
                </c:pt>
                <c:pt idx="5469">
                  <c:v>0</c:v>
                </c:pt>
                <c:pt idx="5470">
                  <c:v>0</c:v>
                </c:pt>
                <c:pt idx="5471">
                  <c:v>0</c:v>
                </c:pt>
                <c:pt idx="5472">
                  <c:v>0</c:v>
                </c:pt>
                <c:pt idx="5473">
                  <c:v>0</c:v>
                </c:pt>
                <c:pt idx="5474">
                  <c:v>0</c:v>
                </c:pt>
                <c:pt idx="5475">
                  <c:v>0</c:v>
                </c:pt>
                <c:pt idx="5476">
                  <c:v>0</c:v>
                </c:pt>
                <c:pt idx="5477">
                  <c:v>0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  <c:pt idx="6013">
                  <c:v>0</c:v>
                </c:pt>
                <c:pt idx="6014">
                  <c:v>0</c:v>
                </c:pt>
                <c:pt idx="6015">
                  <c:v>0</c:v>
                </c:pt>
                <c:pt idx="6016">
                  <c:v>0</c:v>
                </c:pt>
                <c:pt idx="6017">
                  <c:v>0</c:v>
                </c:pt>
                <c:pt idx="6018">
                  <c:v>0</c:v>
                </c:pt>
                <c:pt idx="6019">
                  <c:v>0</c:v>
                </c:pt>
                <c:pt idx="6020">
                  <c:v>0</c:v>
                </c:pt>
                <c:pt idx="6021">
                  <c:v>0</c:v>
                </c:pt>
                <c:pt idx="6022">
                  <c:v>0</c:v>
                </c:pt>
                <c:pt idx="6023">
                  <c:v>0</c:v>
                </c:pt>
                <c:pt idx="6024">
                  <c:v>0</c:v>
                </c:pt>
                <c:pt idx="6025">
                  <c:v>0</c:v>
                </c:pt>
                <c:pt idx="6026">
                  <c:v>0</c:v>
                </c:pt>
                <c:pt idx="6027">
                  <c:v>0</c:v>
                </c:pt>
                <c:pt idx="6028">
                  <c:v>0</c:v>
                </c:pt>
                <c:pt idx="6029">
                  <c:v>0</c:v>
                </c:pt>
                <c:pt idx="6030">
                  <c:v>0</c:v>
                </c:pt>
                <c:pt idx="6031">
                  <c:v>0</c:v>
                </c:pt>
                <c:pt idx="6032">
                  <c:v>0</c:v>
                </c:pt>
                <c:pt idx="6033">
                  <c:v>0</c:v>
                </c:pt>
                <c:pt idx="6034">
                  <c:v>0</c:v>
                </c:pt>
                <c:pt idx="6035">
                  <c:v>0</c:v>
                </c:pt>
                <c:pt idx="6036">
                  <c:v>0</c:v>
                </c:pt>
                <c:pt idx="6037">
                  <c:v>0</c:v>
                </c:pt>
                <c:pt idx="6038">
                  <c:v>0</c:v>
                </c:pt>
                <c:pt idx="6039">
                  <c:v>0</c:v>
                </c:pt>
                <c:pt idx="6040">
                  <c:v>0</c:v>
                </c:pt>
                <c:pt idx="6041">
                  <c:v>0</c:v>
                </c:pt>
                <c:pt idx="6042">
                  <c:v>0</c:v>
                </c:pt>
                <c:pt idx="6043">
                  <c:v>0</c:v>
                </c:pt>
                <c:pt idx="6044">
                  <c:v>0</c:v>
                </c:pt>
                <c:pt idx="6045">
                  <c:v>0</c:v>
                </c:pt>
                <c:pt idx="6046">
                  <c:v>0</c:v>
                </c:pt>
                <c:pt idx="6047">
                  <c:v>0</c:v>
                </c:pt>
                <c:pt idx="6048">
                  <c:v>0</c:v>
                </c:pt>
                <c:pt idx="6049">
                  <c:v>0</c:v>
                </c:pt>
                <c:pt idx="6050">
                  <c:v>0</c:v>
                </c:pt>
                <c:pt idx="6051">
                  <c:v>0</c:v>
                </c:pt>
                <c:pt idx="6052">
                  <c:v>0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  <c:pt idx="6108">
                  <c:v>0</c:v>
                </c:pt>
                <c:pt idx="6109">
                  <c:v>0</c:v>
                </c:pt>
                <c:pt idx="6110">
                  <c:v>0</c:v>
                </c:pt>
                <c:pt idx="6111">
                  <c:v>0</c:v>
                </c:pt>
                <c:pt idx="6112">
                  <c:v>0</c:v>
                </c:pt>
                <c:pt idx="6113">
                  <c:v>0</c:v>
                </c:pt>
                <c:pt idx="6114">
                  <c:v>0</c:v>
                </c:pt>
                <c:pt idx="6115">
                  <c:v>0</c:v>
                </c:pt>
                <c:pt idx="6116">
                  <c:v>0</c:v>
                </c:pt>
                <c:pt idx="6117">
                  <c:v>0</c:v>
                </c:pt>
                <c:pt idx="6118">
                  <c:v>0</c:v>
                </c:pt>
                <c:pt idx="6119">
                  <c:v>0</c:v>
                </c:pt>
                <c:pt idx="6120">
                  <c:v>0</c:v>
                </c:pt>
                <c:pt idx="6121">
                  <c:v>0</c:v>
                </c:pt>
                <c:pt idx="6122">
                  <c:v>0</c:v>
                </c:pt>
                <c:pt idx="6123">
                  <c:v>0</c:v>
                </c:pt>
                <c:pt idx="6124">
                  <c:v>0</c:v>
                </c:pt>
                <c:pt idx="6125">
                  <c:v>0</c:v>
                </c:pt>
                <c:pt idx="6126">
                  <c:v>0</c:v>
                </c:pt>
                <c:pt idx="6127">
                  <c:v>0</c:v>
                </c:pt>
                <c:pt idx="6128">
                  <c:v>0</c:v>
                </c:pt>
                <c:pt idx="6129">
                  <c:v>0</c:v>
                </c:pt>
                <c:pt idx="6130">
                  <c:v>0</c:v>
                </c:pt>
                <c:pt idx="6131">
                  <c:v>0</c:v>
                </c:pt>
                <c:pt idx="6132">
                  <c:v>0</c:v>
                </c:pt>
                <c:pt idx="6133">
                  <c:v>0</c:v>
                </c:pt>
                <c:pt idx="6134">
                  <c:v>0</c:v>
                </c:pt>
                <c:pt idx="6135">
                  <c:v>0</c:v>
                </c:pt>
                <c:pt idx="6136">
                  <c:v>0</c:v>
                </c:pt>
                <c:pt idx="6137">
                  <c:v>0</c:v>
                </c:pt>
                <c:pt idx="6138">
                  <c:v>0</c:v>
                </c:pt>
                <c:pt idx="6139">
                  <c:v>0</c:v>
                </c:pt>
                <c:pt idx="6140">
                  <c:v>0</c:v>
                </c:pt>
                <c:pt idx="6141">
                  <c:v>0</c:v>
                </c:pt>
                <c:pt idx="6142">
                  <c:v>0</c:v>
                </c:pt>
                <c:pt idx="6143">
                  <c:v>0</c:v>
                </c:pt>
                <c:pt idx="6144">
                  <c:v>0</c:v>
                </c:pt>
                <c:pt idx="6145">
                  <c:v>0</c:v>
                </c:pt>
                <c:pt idx="6146">
                  <c:v>0</c:v>
                </c:pt>
                <c:pt idx="6147">
                  <c:v>0</c:v>
                </c:pt>
                <c:pt idx="6148">
                  <c:v>0</c:v>
                </c:pt>
                <c:pt idx="6149">
                  <c:v>0</c:v>
                </c:pt>
                <c:pt idx="6150">
                  <c:v>0</c:v>
                </c:pt>
                <c:pt idx="6151">
                  <c:v>0</c:v>
                </c:pt>
                <c:pt idx="6152">
                  <c:v>0</c:v>
                </c:pt>
                <c:pt idx="6153">
                  <c:v>0</c:v>
                </c:pt>
                <c:pt idx="6154">
                  <c:v>0</c:v>
                </c:pt>
                <c:pt idx="6155">
                  <c:v>0</c:v>
                </c:pt>
                <c:pt idx="6156">
                  <c:v>0</c:v>
                </c:pt>
                <c:pt idx="6157">
                  <c:v>0</c:v>
                </c:pt>
                <c:pt idx="6158">
                  <c:v>0</c:v>
                </c:pt>
                <c:pt idx="6159">
                  <c:v>0</c:v>
                </c:pt>
                <c:pt idx="6160">
                  <c:v>0</c:v>
                </c:pt>
                <c:pt idx="6161">
                  <c:v>0</c:v>
                </c:pt>
                <c:pt idx="6162">
                  <c:v>0</c:v>
                </c:pt>
                <c:pt idx="6163">
                  <c:v>0</c:v>
                </c:pt>
                <c:pt idx="6164">
                  <c:v>0</c:v>
                </c:pt>
                <c:pt idx="6165">
                  <c:v>0</c:v>
                </c:pt>
                <c:pt idx="6166">
                  <c:v>0</c:v>
                </c:pt>
                <c:pt idx="6167">
                  <c:v>0</c:v>
                </c:pt>
                <c:pt idx="6168">
                  <c:v>0</c:v>
                </c:pt>
                <c:pt idx="6169">
                  <c:v>0</c:v>
                </c:pt>
                <c:pt idx="6170">
                  <c:v>0</c:v>
                </c:pt>
                <c:pt idx="6171">
                  <c:v>0</c:v>
                </c:pt>
                <c:pt idx="6172">
                  <c:v>0</c:v>
                </c:pt>
                <c:pt idx="6173">
                  <c:v>0</c:v>
                </c:pt>
                <c:pt idx="6174">
                  <c:v>0</c:v>
                </c:pt>
                <c:pt idx="6175">
                  <c:v>0</c:v>
                </c:pt>
                <c:pt idx="6176">
                  <c:v>0</c:v>
                </c:pt>
                <c:pt idx="6177">
                  <c:v>0</c:v>
                </c:pt>
                <c:pt idx="6178">
                  <c:v>0</c:v>
                </c:pt>
                <c:pt idx="6179">
                  <c:v>0</c:v>
                </c:pt>
                <c:pt idx="6180">
                  <c:v>0</c:v>
                </c:pt>
                <c:pt idx="6181">
                  <c:v>0</c:v>
                </c:pt>
                <c:pt idx="6182">
                  <c:v>0</c:v>
                </c:pt>
                <c:pt idx="6183">
                  <c:v>0</c:v>
                </c:pt>
                <c:pt idx="6184">
                  <c:v>0</c:v>
                </c:pt>
                <c:pt idx="6185">
                  <c:v>0</c:v>
                </c:pt>
                <c:pt idx="6186">
                  <c:v>0</c:v>
                </c:pt>
                <c:pt idx="6187">
                  <c:v>0</c:v>
                </c:pt>
                <c:pt idx="6188">
                  <c:v>0</c:v>
                </c:pt>
                <c:pt idx="6189">
                  <c:v>0</c:v>
                </c:pt>
                <c:pt idx="6190">
                  <c:v>0</c:v>
                </c:pt>
                <c:pt idx="6191">
                  <c:v>0</c:v>
                </c:pt>
                <c:pt idx="6192">
                  <c:v>0</c:v>
                </c:pt>
                <c:pt idx="6193">
                  <c:v>0</c:v>
                </c:pt>
                <c:pt idx="6194">
                  <c:v>0</c:v>
                </c:pt>
                <c:pt idx="6195">
                  <c:v>0</c:v>
                </c:pt>
                <c:pt idx="6196">
                  <c:v>0</c:v>
                </c:pt>
                <c:pt idx="6197">
                  <c:v>0</c:v>
                </c:pt>
                <c:pt idx="6198">
                  <c:v>0</c:v>
                </c:pt>
                <c:pt idx="6199">
                  <c:v>0</c:v>
                </c:pt>
                <c:pt idx="6200">
                  <c:v>0</c:v>
                </c:pt>
                <c:pt idx="6201">
                  <c:v>0</c:v>
                </c:pt>
                <c:pt idx="6202">
                  <c:v>0</c:v>
                </c:pt>
                <c:pt idx="6203">
                  <c:v>0</c:v>
                </c:pt>
                <c:pt idx="6204">
                  <c:v>0</c:v>
                </c:pt>
                <c:pt idx="6205">
                  <c:v>0</c:v>
                </c:pt>
                <c:pt idx="6206">
                  <c:v>0</c:v>
                </c:pt>
                <c:pt idx="6207">
                  <c:v>0</c:v>
                </c:pt>
                <c:pt idx="6208">
                  <c:v>0</c:v>
                </c:pt>
                <c:pt idx="6209">
                  <c:v>0</c:v>
                </c:pt>
                <c:pt idx="6210">
                  <c:v>0</c:v>
                </c:pt>
                <c:pt idx="6211">
                  <c:v>0</c:v>
                </c:pt>
                <c:pt idx="6212">
                  <c:v>0</c:v>
                </c:pt>
                <c:pt idx="6213">
                  <c:v>0</c:v>
                </c:pt>
                <c:pt idx="6214">
                  <c:v>0</c:v>
                </c:pt>
                <c:pt idx="6215">
                  <c:v>0</c:v>
                </c:pt>
                <c:pt idx="6216">
                  <c:v>0</c:v>
                </c:pt>
                <c:pt idx="6217">
                  <c:v>0</c:v>
                </c:pt>
                <c:pt idx="6218">
                  <c:v>0</c:v>
                </c:pt>
                <c:pt idx="6219">
                  <c:v>0</c:v>
                </c:pt>
                <c:pt idx="6220">
                  <c:v>0</c:v>
                </c:pt>
                <c:pt idx="6221">
                  <c:v>0</c:v>
                </c:pt>
                <c:pt idx="6222">
                  <c:v>0</c:v>
                </c:pt>
                <c:pt idx="6223">
                  <c:v>0</c:v>
                </c:pt>
                <c:pt idx="6224">
                  <c:v>0</c:v>
                </c:pt>
                <c:pt idx="6225">
                  <c:v>0</c:v>
                </c:pt>
                <c:pt idx="6226">
                  <c:v>0</c:v>
                </c:pt>
                <c:pt idx="6227">
                  <c:v>0</c:v>
                </c:pt>
                <c:pt idx="6228">
                  <c:v>0</c:v>
                </c:pt>
                <c:pt idx="6229">
                  <c:v>0</c:v>
                </c:pt>
                <c:pt idx="6230">
                  <c:v>0</c:v>
                </c:pt>
                <c:pt idx="6231">
                  <c:v>0</c:v>
                </c:pt>
                <c:pt idx="6232">
                  <c:v>0</c:v>
                </c:pt>
                <c:pt idx="6233">
                  <c:v>0</c:v>
                </c:pt>
                <c:pt idx="6234">
                  <c:v>0</c:v>
                </c:pt>
                <c:pt idx="6235">
                  <c:v>0</c:v>
                </c:pt>
                <c:pt idx="6236">
                  <c:v>0</c:v>
                </c:pt>
                <c:pt idx="6237">
                  <c:v>0</c:v>
                </c:pt>
                <c:pt idx="6238">
                  <c:v>0</c:v>
                </c:pt>
                <c:pt idx="6239">
                  <c:v>0</c:v>
                </c:pt>
                <c:pt idx="6240">
                  <c:v>0</c:v>
                </c:pt>
                <c:pt idx="6241">
                  <c:v>0</c:v>
                </c:pt>
                <c:pt idx="6242">
                  <c:v>0</c:v>
                </c:pt>
                <c:pt idx="6243">
                  <c:v>0</c:v>
                </c:pt>
                <c:pt idx="6244">
                  <c:v>0</c:v>
                </c:pt>
                <c:pt idx="6245">
                  <c:v>0</c:v>
                </c:pt>
                <c:pt idx="6246">
                  <c:v>0</c:v>
                </c:pt>
                <c:pt idx="6247">
                  <c:v>0</c:v>
                </c:pt>
                <c:pt idx="6248">
                  <c:v>0</c:v>
                </c:pt>
                <c:pt idx="6249">
                  <c:v>0</c:v>
                </c:pt>
                <c:pt idx="6250">
                  <c:v>0</c:v>
                </c:pt>
                <c:pt idx="6251">
                  <c:v>0</c:v>
                </c:pt>
                <c:pt idx="6252">
                  <c:v>0</c:v>
                </c:pt>
                <c:pt idx="6253">
                  <c:v>0</c:v>
                </c:pt>
                <c:pt idx="6254">
                  <c:v>0</c:v>
                </c:pt>
                <c:pt idx="6255">
                  <c:v>0</c:v>
                </c:pt>
                <c:pt idx="6256">
                  <c:v>0</c:v>
                </c:pt>
                <c:pt idx="6257">
                  <c:v>0</c:v>
                </c:pt>
                <c:pt idx="6258">
                  <c:v>0</c:v>
                </c:pt>
                <c:pt idx="6259">
                  <c:v>0</c:v>
                </c:pt>
                <c:pt idx="6260">
                  <c:v>0</c:v>
                </c:pt>
                <c:pt idx="6261">
                  <c:v>0</c:v>
                </c:pt>
                <c:pt idx="6262">
                  <c:v>0</c:v>
                </c:pt>
                <c:pt idx="6263">
                  <c:v>0</c:v>
                </c:pt>
                <c:pt idx="6264">
                  <c:v>0</c:v>
                </c:pt>
                <c:pt idx="6265">
                  <c:v>0</c:v>
                </c:pt>
                <c:pt idx="6266">
                  <c:v>0</c:v>
                </c:pt>
                <c:pt idx="6267">
                  <c:v>0</c:v>
                </c:pt>
                <c:pt idx="6268">
                  <c:v>0</c:v>
                </c:pt>
                <c:pt idx="6269">
                  <c:v>0</c:v>
                </c:pt>
                <c:pt idx="6270">
                  <c:v>0</c:v>
                </c:pt>
                <c:pt idx="6271">
                  <c:v>0</c:v>
                </c:pt>
                <c:pt idx="6272">
                  <c:v>0</c:v>
                </c:pt>
                <c:pt idx="6273">
                  <c:v>0</c:v>
                </c:pt>
                <c:pt idx="6274">
                  <c:v>0</c:v>
                </c:pt>
                <c:pt idx="6275">
                  <c:v>0</c:v>
                </c:pt>
                <c:pt idx="6276">
                  <c:v>0</c:v>
                </c:pt>
                <c:pt idx="6277">
                  <c:v>0</c:v>
                </c:pt>
                <c:pt idx="6278">
                  <c:v>0</c:v>
                </c:pt>
                <c:pt idx="6279">
                  <c:v>0</c:v>
                </c:pt>
                <c:pt idx="6280">
                  <c:v>0</c:v>
                </c:pt>
                <c:pt idx="6281">
                  <c:v>0</c:v>
                </c:pt>
                <c:pt idx="6282">
                  <c:v>0</c:v>
                </c:pt>
                <c:pt idx="6283">
                  <c:v>0</c:v>
                </c:pt>
                <c:pt idx="6284">
                  <c:v>0</c:v>
                </c:pt>
                <c:pt idx="6285">
                  <c:v>0</c:v>
                </c:pt>
                <c:pt idx="6286">
                  <c:v>0</c:v>
                </c:pt>
                <c:pt idx="6287">
                  <c:v>0</c:v>
                </c:pt>
                <c:pt idx="6288">
                  <c:v>0</c:v>
                </c:pt>
                <c:pt idx="6289">
                  <c:v>0</c:v>
                </c:pt>
                <c:pt idx="6290">
                  <c:v>0</c:v>
                </c:pt>
                <c:pt idx="6291">
                  <c:v>0</c:v>
                </c:pt>
                <c:pt idx="6292">
                  <c:v>0</c:v>
                </c:pt>
                <c:pt idx="6293">
                  <c:v>0</c:v>
                </c:pt>
                <c:pt idx="6294">
                  <c:v>0</c:v>
                </c:pt>
                <c:pt idx="6295">
                  <c:v>0</c:v>
                </c:pt>
                <c:pt idx="6296">
                  <c:v>0</c:v>
                </c:pt>
                <c:pt idx="6297">
                  <c:v>0</c:v>
                </c:pt>
                <c:pt idx="6298">
                  <c:v>0</c:v>
                </c:pt>
                <c:pt idx="6299">
                  <c:v>0</c:v>
                </c:pt>
                <c:pt idx="6300">
                  <c:v>0</c:v>
                </c:pt>
                <c:pt idx="6301">
                  <c:v>0</c:v>
                </c:pt>
                <c:pt idx="6302">
                  <c:v>0</c:v>
                </c:pt>
                <c:pt idx="6303">
                  <c:v>0</c:v>
                </c:pt>
                <c:pt idx="6304">
                  <c:v>0</c:v>
                </c:pt>
                <c:pt idx="6305">
                  <c:v>0</c:v>
                </c:pt>
                <c:pt idx="6306">
                  <c:v>0</c:v>
                </c:pt>
                <c:pt idx="6307">
                  <c:v>0</c:v>
                </c:pt>
                <c:pt idx="6308">
                  <c:v>0</c:v>
                </c:pt>
                <c:pt idx="6309">
                  <c:v>0</c:v>
                </c:pt>
                <c:pt idx="6310">
                  <c:v>0</c:v>
                </c:pt>
                <c:pt idx="6311">
                  <c:v>0</c:v>
                </c:pt>
                <c:pt idx="6312">
                  <c:v>0</c:v>
                </c:pt>
                <c:pt idx="6313">
                  <c:v>0</c:v>
                </c:pt>
                <c:pt idx="6314">
                  <c:v>0</c:v>
                </c:pt>
                <c:pt idx="6315">
                  <c:v>0</c:v>
                </c:pt>
                <c:pt idx="6316">
                  <c:v>0</c:v>
                </c:pt>
                <c:pt idx="6317">
                  <c:v>0</c:v>
                </c:pt>
                <c:pt idx="6318">
                  <c:v>0</c:v>
                </c:pt>
                <c:pt idx="6319">
                  <c:v>0</c:v>
                </c:pt>
                <c:pt idx="6320">
                  <c:v>0</c:v>
                </c:pt>
                <c:pt idx="6321">
                  <c:v>0</c:v>
                </c:pt>
                <c:pt idx="6322">
                  <c:v>0</c:v>
                </c:pt>
                <c:pt idx="6323">
                  <c:v>0</c:v>
                </c:pt>
                <c:pt idx="6324">
                  <c:v>0</c:v>
                </c:pt>
                <c:pt idx="6325">
                  <c:v>0</c:v>
                </c:pt>
                <c:pt idx="6326">
                  <c:v>0</c:v>
                </c:pt>
                <c:pt idx="6327">
                  <c:v>0</c:v>
                </c:pt>
                <c:pt idx="6328">
                  <c:v>0</c:v>
                </c:pt>
                <c:pt idx="6329">
                  <c:v>0</c:v>
                </c:pt>
                <c:pt idx="6330">
                  <c:v>0</c:v>
                </c:pt>
                <c:pt idx="6331">
                  <c:v>0</c:v>
                </c:pt>
                <c:pt idx="6332">
                  <c:v>0</c:v>
                </c:pt>
                <c:pt idx="6333">
                  <c:v>0</c:v>
                </c:pt>
                <c:pt idx="6334">
                  <c:v>0</c:v>
                </c:pt>
                <c:pt idx="6335">
                  <c:v>0</c:v>
                </c:pt>
                <c:pt idx="6336">
                  <c:v>0</c:v>
                </c:pt>
                <c:pt idx="6337">
                  <c:v>0</c:v>
                </c:pt>
                <c:pt idx="6338">
                  <c:v>0</c:v>
                </c:pt>
                <c:pt idx="6339">
                  <c:v>0</c:v>
                </c:pt>
                <c:pt idx="6340">
                  <c:v>0</c:v>
                </c:pt>
                <c:pt idx="6341">
                  <c:v>0</c:v>
                </c:pt>
                <c:pt idx="6342">
                  <c:v>0</c:v>
                </c:pt>
                <c:pt idx="6343">
                  <c:v>0</c:v>
                </c:pt>
                <c:pt idx="6344">
                  <c:v>0</c:v>
                </c:pt>
                <c:pt idx="6345">
                  <c:v>0</c:v>
                </c:pt>
                <c:pt idx="6346">
                  <c:v>0</c:v>
                </c:pt>
                <c:pt idx="6347">
                  <c:v>0</c:v>
                </c:pt>
                <c:pt idx="6348">
                  <c:v>0</c:v>
                </c:pt>
                <c:pt idx="6349">
                  <c:v>0</c:v>
                </c:pt>
                <c:pt idx="6350">
                  <c:v>0</c:v>
                </c:pt>
                <c:pt idx="6351">
                  <c:v>0</c:v>
                </c:pt>
                <c:pt idx="6352">
                  <c:v>0</c:v>
                </c:pt>
                <c:pt idx="6353">
                  <c:v>0</c:v>
                </c:pt>
                <c:pt idx="6354">
                  <c:v>0</c:v>
                </c:pt>
                <c:pt idx="6355">
                  <c:v>0</c:v>
                </c:pt>
                <c:pt idx="6356">
                  <c:v>0</c:v>
                </c:pt>
                <c:pt idx="6357">
                  <c:v>0</c:v>
                </c:pt>
                <c:pt idx="6358">
                  <c:v>0</c:v>
                </c:pt>
                <c:pt idx="6359">
                  <c:v>0</c:v>
                </c:pt>
                <c:pt idx="6360">
                  <c:v>0</c:v>
                </c:pt>
                <c:pt idx="6361">
                  <c:v>0</c:v>
                </c:pt>
                <c:pt idx="6362">
                  <c:v>0</c:v>
                </c:pt>
                <c:pt idx="6363">
                  <c:v>0</c:v>
                </c:pt>
                <c:pt idx="6364">
                  <c:v>0</c:v>
                </c:pt>
                <c:pt idx="6365">
                  <c:v>0</c:v>
                </c:pt>
                <c:pt idx="6366">
                  <c:v>0</c:v>
                </c:pt>
                <c:pt idx="6367">
                  <c:v>0</c:v>
                </c:pt>
                <c:pt idx="6368">
                  <c:v>0</c:v>
                </c:pt>
                <c:pt idx="6369">
                  <c:v>0</c:v>
                </c:pt>
                <c:pt idx="6370">
                  <c:v>0</c:v>
                </c:pt>
                <c:pt idx="6371">
                  <c:v>0</c:v>
                </c:pt>
                <c:pt idx="6372">
                  <c:v>0</c:v>
                </c:pt>
                <c:pt idx="6373">
                  <c:v>0</c:v>
                </c:pt>
                <c:pt idx="6374">
                  <c:v>0</c:v>
                </c:pt>
                <c:pt idx="6375">
                  <c:v>0</c:v>
                </c:pt>
                <c:pt idx="6376">
                  <c:v>0</c:v>
                </c:pt>
                <c:pt idx="6377">
                  <c:v>0</c:v>
                </c:pt>
                <c:pt idx="6378">
                  <c:v>0</c:v>
                </c:pt>
                <c:pt idx="6379">
                  <c:v>0</c:v>
                </c:pt>
                <c:pt idx="6380">
                  <c:v>0</c:v>
                </c:pt>
                <c:pt idx="6381">
                  <c:v>0</c:v>
                </c:pt>
                <c:pt idx="6382">
                  <c:v>0</c:v>
                </c:pt>
                <c:pt idx="6383">
                  <c:v>0</c:v>
                </c:pt>
                <c:pt idx="6384">
                  <c:v>0</c:v>
                </c:pt>
                <c:pt idx="6385">
                  <c:v>0</c:v>
                </c:pt>
                <c:pt idx="6386">
                  <c:v>0</c:v>
                </c:pt>
                <c:pt idx="6387">
                  <c:v>0</c:v>
                </c:pt>
                <c:pt idx="6388">
                  <c:v>0</c:v>
                </c:pt>
                <c:pt idx="6389">
                  <c:v>0</c:v>
                </c:pt>
                <c:pt idx="6390">
                  <c:v>0</c:v>
                </c:pt>
                <c:pt idx="6391">
                  <c:v>0</c:v>
                </c:pt>
                <c:pt idx="6392">
                  <c:v>0</c:v>
                </c:pt>
                <c:pt idx="6393">
                  <c:v>0</c:v>
                </c:pt>
                <c:pt idx="6394">
                  <c:v>0</c:v>
                </c:pt>
                <c:pt idx="6395">
                  <c:v>0</c:v>
                </c:pt>
                <c:pt idx="6396">
                  <c:v>0</c:v>
                </c:pt>
                <c:pt idx="6397">
                  <c:v>0</c:v>
                </c:pt>
                <c:pt idx="6398">
                  <c:v>0</c:v>
                </c:pt>
                <c:pt idx="6399">
                  <c:v>0</c:v>
                </c:pt>
                <c:pt idx="6400">
                  <c:v>0</c:v>
                </c:pt>
                <c:pt idx="6401">
                  <c:v>0</c:v>
                </c:pt>
                <c:pt idx="6402">
                  <c:v>0</c:v>
                </c:pt>
                <c:pt idx="6403">
                  <c:v>0</c:v>
                </c:pt>
                <c:pt idx="6404">
                  <c:v>0</c:v>
                </c:pt>
                <c:pt idx="6405">
                  <c:v>0</c:v>
                </c:pt>
                <c:pt idx="6406">
                  <c:v>0</c:v>
                </c:pt>
                <c:pt idx="6407">
                  <c:v>0</c:v>
                </c:pt>
                <c:pt idx="6408">
                  <c:v>0</c:v>
                </c:pt>
                <c:pt idx="6409">
                  <c:v>0</c:v>
                </c:pt>
                <c:pt idx="6410">
                  <c:v>0</c:v>
                </c:pt>
                <c:pt idx="6411">
                  <c:v>0</c:v>
                </c:pt>
                <c:pt idx="6412">
                  <c:v>0</c:v>
                </c:pt>
                <c:pt idx="6413">
                  <c:v>0</c:v>
                </c:pt>
                <c:pt idx="6414">
                  <c:v>0</c:v>
                </c:pt>
                <c:pt idx="6415">
                  <c:v>0</c:v>
                </c:pt>
                <c:pt idx="6416">
                  <c:v>0</c:v>
                </c:pt>
                <c:pt idx="6417">
                  <c:v>0</c:v>
                </c:pt>
                <c:pt idx="6418">
                  <c:v>0</c:v>
                </c:pt>
                <c:pt idx="6419">
                  <c:v>0</c:v>
                </c:pt>
                <c:pt idx="6420">
                  <c:v>0</c:v>
                </c:pt>
                <c:pt idx="6421">
                  <c:v>0</c:v>
                </c:pt>
                <c:pt idx="6422">
                  <c:v>0</c:v>
                </c:pt>
                <c:pt idx="6423">
                  <c:v>0</c:v>
                </c:pt>
                <c:pt idx="6424">
                  <c:v>0</c:v>
                </c:pt>
                <c:pt idx="6425">
                  <c:v>0</c:v>
                </c:pt>
                <c:pt idx="6426">
                  <c:v>0</c:v>
                </c:pt>
                <c:pt idx="6427">
                  <c:v>0</c:v>
                </c:pt>
                <c:pt idx="6428">
                  <c:v>0</c:v>
                </c:pt>
                <c:pt idx="6429">
                  <c:v>0</c:v>
                </c:pt>
                <c:pt idx="6430">
                  <c:v>0</c:v>
                </c:pt>
                <c:pt idx="6431">
                  <c:v>0</c:v>
                </c:pt>
                <c:pt idx="6432">
                  <c:v>0</c:v>
                </c:pt>
                <c:pt idx="6433">
                  <c:v>0</c:v>
                </c:pt>
                <c:pt idx="6434">
                  <c:v>0</c:v>
                </c:pt>
                <c:pt idx="6435">
                  <c:v>0</c:v>
                </c:pt>
                <c:pt idx="6436">
                  <c:v>0</c:v>
                </c:pt>
                <c:pt idx="6437">
                  <c:v>0</c:v>
                </c:pt>
                <c:pt idx="6438">
                  <c:v>0</c:v>
                </c:pt>
                <c:pt idx="6439">
                  <c:v>0</c:v>
                </c:pt>
                <c:pt idx="6440">
                  <c:v>0</c:v>
                </c:pt>
                <c:pt idx="6441">
                  <c:v>0</c:v>
                </c:pt>
                <c:pt idx="6442">
                  <c:v>0</c:v>
                </c:pt>
                <c:pt idx="6443">
                  <c:v>0</c:v>
                </c:pt>
                <c:pt idx="6444">
                  <c:v>0</c:v>
                </c:pt>
                <c:pt idx="6445">
                  <c:v>0</c:v>
                </c:pt>
                <c:pt idx="6446">
                  <c:v>0</c:v>
                </c:pt>
                <c:pt idx="6447">
                  <c:v>0</c:v>
                </c:pt>
                <c:pt idx="6448">
                  <c:v>0</c:v>
                </c:pt>
                <c:pt idx="6449">
                  <c:v>0</c:v>
                </c:pt>
                <c:pt idx="6450">
                  <c:v>0</c:v>
                </c:pt>
                <c:pt idx="6451">
                  <c:v>0</c:v>
                </c:pt>
                <c:pt idx="6452">
                  <c:v>0</c:v>
                </c:pt>
                <c:pt idx="6453">
                  <c:v>0</c:v>
                </c:pt>
                <c:pt idx="6454">
                  <c:v>0</c:v>
                </c:pt>
                <c:pt idx="6455">
                  <c:v>0</c:v>
                </c:pt>
                <c:pt idx="6456">
                  <c:v>0</c:v>
                </c:pt>
                <c:pt idx="6457">
                  <c:v>0</c:v>
                </c:pt>
                <c:pt idx="6458">
                  <c:v>0</c:v>
                </c:pt>
                <c:pt idx="6459">
                  <c:v>0</c:v>
                </c:pt>
                <c:pt idx="6460">
                  <c:v>0</c:v>
                </c:pt>
                <c:pt idx="6461">
                  <c:v>0</c:v>
                </c:pt>
                <c:pt idx="6462">
                  <c:v>0</c:v>
                </c:pt>
                <c:pt idx="6463">
                  <c:v>0</c:v>
                </c:pt>
                <c:pt idx="6464">
                  <c:v>0</c:v>
                </c:pt>
                <c:pt idx="6465">
                  <c:v>0</c:v>
                </c:pt>
                <c:pt idx="6466">
                  <c:v>0</c:v>
                </c:pt>
                <c:pt idx="6467">
                  <c:v>0</c:v>
                </c:pt>
                <c:pt idx="6468">
                  <c:v>0</c:v>
                </c:pt>
                <c:pt idx="6469">
                  <c:v>0</c:v>
                </c:pt>
                <c:pt idx="6470">
                  <c:v>0</c:v>
                </c:pt>
                <c:pt idx="6471">
                  <c:v>0</c:v>
                </c:pt>
                <c:pt idx="6472">
                  <c:v>0</c:v>
                </c:pt>
                <c:pt idx="6473">
                  <c:v>0</c:v>
                </c:pt>
                <c:pt idx="6474">
                  <c:v>0</c:v>
                </c:pt>
                <c:pt idx="6475">
                  <c:v>0</c:v>
                </c:pt>
                <c:pt idx="6476">
                  <c:v>0</c:v>
                </c:pt>
                <c:pt idx="6477">
                  <c:v>0</c:v>
                </c:pt>
                <c:pt idx="6478">
                  <c:v>0</c:v>
                </c:pt>
                <c:pt idx="6479">
                  <c:v>0</c:v>
                </c:pt>
                <c:pt idx="6480">
                  <c:v>0</c:v>
                </c:pt>
                <c:pt idx="6481">
                  <c:v>0</c:v>
                </c:pt>
                <c:pt idx="6482">
                  <c:v>0</c:v>
                </c:pt>
                <c:pt idx="6483">
                  <c:v>0</c:v>
                </c:pt>
                <c:pt idx="6484">
                  <c:v>0</c:v>
                </c:pt>
                <c:pt idx="6485">
                  <c:v>0</c:v>
                </c:pt>
                <c:pt idx="6486">
                  <c:v>0</c:v>
                </c:pt>
                <c:pt idx="6487">
                  <c:v>0</c:v>
                </c:pt>
                <c:pt idx="6488">
                  <c:v>0</c:v>
                </c:pt>
                <c:pt idx="6489">
                  <c:v>0</c:v>
                </c:pt>
                <c:pt idx="6490">
                  <c:v>0</c:v>
                </c:pt>
                <c:pt idx="6491">
                  <c:v>0</c:v>
                </c:pt>
                <c:pt idx="6492">
                  <c:v>0</c:v>
                </c:pt>
                <c:pt idx="6493">
                  <c:v>0</c:v>
                </c:pt>
                <c:pt idx="6494">
                  <c:v>0</c:v>
                </c:pt>
                <c:pt idx="6495">
                  <c:v>0</c:v>
                </c:pt>
                <c:pt idx="6496">
                  <c:v>0</c:v>
                </c:pt>
                <c:pt idx="6497">
                  <c:v>0</c:v>
                </c:pt>
                <c:pt idx="6498">
                  <c:v>0</c:v>
                </c:pt>
                <c:pt idx="6499">
                  <c:v>0</c:v>
                </c:pt>
                <c:pt idx="6500">
                  <c:v>0</c:v>
                </c:pt>
                <c:pt idx="6501">
                  <c:v>0</c:v>
                </c:pt>
                <c:pt idx="6502">
                  <c:v>0</c:v>
                </c:pt>
                <c:pt idx="6503">
                  <c:v>0</c:v>
                </c:pt>
                <c:pt idx="6504">
                  <c:v>0</c:v>
                </c:pt>
                <c:pt idx="6505">
                  <c:v>0</c:v>
                </c:pt>
                <c:pt idx="6506">
                  <c:v>0</c:v>
                </c:pt>
                <c:pt idx="6507">
                  <c:v>0</c:v>
                </c:pt>
                <c:pt idx="6508">
                  <c:v>0</c:v>
                </c:pt>
                <c:pt idx="6509">
                  <c:v>0</c:v>
                </c:pt>
                <c:pt idx="6510">
                  <c:v>0</c:v>
                </c:pt>
                <c:pt idx="6511">
                  <c:v>0</c:v>
                </c:pt>
                <c:pt idx="6512">
                  <c:v>0</c:v>
                </c:pt>
                <c:pt idx="6513">
                  <c:v>0</c:v>
                </c:pt>
                <c:pt idx="6514">
                  <c:v>0</c:v>
                </c:pt>
                <c:pt idx="6515">
                  <c:v>0</c:v>
                </c:pt>
                <c:pt idx="6516">
                  <c:v>0</c:v>
                </c:pt>
                <c:pt idx="6517">
                  <c:v>0</c:v>
                </c:pt>
                <c:pt idx="6518">
                  <c:v>0</c:v>
                </c:pt>
                <c:pt idx="6519">
                  <c:v>0</c:v>
                </c:pt>
                <c:pt idx="6520">
                  <c:v>0</c:v>
                </c:pt>
                <c:pt idx="6521">
                  <c:v>0</c:v>
                </c:pt>
                <c:pt idx="6522">
                  <c:v>0</c:v>
                </c:pt>
                <c:pt idx="6523">
                  <c:v>0</c:v>
                </c:pt>
                <c:pt idx="6524">
                  <c:v>0</c:v>
                </c:pt>
                <c:pt idx="6525">
                  <c:v>0</c:v>
                </c:pt>
                <c:pt idx="6526">
                  <c:v>0</c:v>
                </c:pt>
                <c:pt idx="6527">
                  <c:v>0</c:v>
                </c:pt>
                <c:pt idx="6528">
                  <c:v>0</c:v>
                </c:pt>
                <c:pt idx="6529">
                  <c:v>0</c:v>
                </c:pt>
                <c:pt idx="6530">
                  <c:v>0</c:v>
                </c:pt>
                <c:pt idx="6531">
                  <c:v>0</c:v>
                </c:pt>
                <c:pt idx="6532">
                  <c:v>0</c:v>
                </c:pt>
                <c:pt idx="6533">
                  <c:v>0</c:v>
                </c:pt>
                <c:pt idx="6534">
                  <c:v>0</c:v>
                </c:pt>
                <c:pt idx="6535">
                  <c:v>0</c:v>
                </c:pt>
                <c:pt idx="6536">
                  <c:v>0</c:v>
                </c:pt>
                <c:pt idx="6537">
                  <c:v>0</c:v>
                </c:pt>
                <c:pt idx="6538">
                  <c:v>0</c:v>
                </c:pt>
                <c:pt idx="6539">
                  <c:v>0</c:v>
                </c:pt>
                <c:pt idx="6540">
                  <c:v>0</c:v>
                </c:pt>
                <c:pt idx="6541">
                  <c:v>0</c:v>
                </c:pt>
                <c:pt idx="6542">
                  <c:v>0</c:v>
                </c:pt>
                <c:pt idx="6543">
                  <c:v>0</c:v>
                </c:pt>
                <c:pt idx="6544">
                  <c:v>0</c:v>
                </c:pt>
                <c:pt idx="6545">
                  <c:v>0</c:v>
                </c:pt>
                <c:pt idx="6546">
                  <c:v>0</c:v>
                </c:pt>
                <c:pt idx="6547">
                  <c:v>0</c:v>
                </c:pt>
                <c:pt idx="6548">
                  <c:v>0</c:v>
                </c:pt>
                <c:pt idx="6549">
                  <c:v>0</c:v>
                </c:pt>
                <c:pt idx="6550">
                  <c:v>0</c:v>
                </c:pt>
                <c:pt idx="6551">
                  <c:v>0</c:v>
                </c:pt>
                <c:pt idx="6552">
                  <c:v>0</c:v>
                </c:pt>
                <c:pt idx="6553">
                  <c:v>0</c:v>
                </c:pt>
                <c:pt idx="6554">
                  <c:v>0</c:v>
                </c:pt>
                <c:pt idx="6555">
                  <c:v>0</c:v>
                </c:pt>
                <c:pt idx="6556">
                  <c:v>0</c:v>
                </c:pt>
                <c:pt idx="6557">
                  <c:v>0</c:v>
                </c:pt>
                <c:pt idx="6558">
                  <c:v>0</c:v>
                </c:pt>
                <c:pt idx="6559">
                  <c:v>0</c:v>
                </c:pt>
                <c:pt idx="6560">
                  <c:v>0</c:v>
                </c:pt>
                <c:pt idx="6561">
                  <c:v>0</c:v>
                </c:pt>
                <c:pt idx="6562">
                  <c:v>0</c:v>
                </c:pt>
                <c:pt idx="6563">
                  <c:v>0</c:v>
                </c:pt>
                <c:pt idx="6564">
                  <c:v>0</c:v>
                </c:pt>
                <c:pt idx="6565">
                  <c:v>0</c:v>
                </c:pt>
                <c:pt idx="6566">
                  <c:v>0</c:v>
                </c:pt>
                <c:pt idx="6567">
                  <c:v>0</c:v>
                </c:pt>
                <c:pt idx="6568">
                  <c:v>0</c:v>
                </c:pt>
                <c:pt idx="6569">
                  <c:v>0</c:v>
                </c:pt>
                <c:pt idx="6570">
                  <c:v>0</c:v>
                </c:pt>
                <c:pt idx="6571">
                  <c:v>0</c:v>
                </c:pt>
                <c:pt idx="6572">
                  <c:v>0</c:v>
                </c:pt>
                <c:pt idx="6573">
                  <c:v>0</c:v>
                </c:pt>
                <c:pt idx="6574">
                  <c:v>0</c:v>
                </c:pt>
                <c:pt idx="6575">
                  <c:v>0</c:v>
                </c:pt>
                <c:pt idx="6576">
                  <c:v>0</c:v>
                </c:pt>
                <c:pt idx="6577">
                  <c:v>0</c:v>
                </c:pt>
                <c:pt idx="6578">
                  <c:v>0</c:v>
                </c:pt>
                <c:pt idx="6579">
                  <c:v>0</c:v>
                </c:pt>
                <c:pt idx="6580">
                  <c:v>0</c:v>
                </c:pt>
                <c:pt idx="6581">
                  <c:v>0</c:v>
                </c:pt>
                <c:pt idx="6582">
                  <c:v>0</c:v>
                </c:pt>
                <c:pt idx="6583">
                  <c:v>0</c:v>
                </c:pt>
                <c:pt idx="6584">
                  <c:v>0</c:v>
                </c:pt>
                <c:pt idx="6585">
                  <c:v>0</c:v>
                </c:pt>
                <c:pt idx="6586">
                  <c:v>0</c:v>
                </c:pt>
                <c:pt idx="6587">
                  <c:v>0</c:v>
                </c:pt>
                <c:pt idx="6588">
                  <c:v>0</c:v>
                </c:pt>
                <c:pt idx="6589">
                  <c:v>0</c:v>
                </c:pt>
                <c:pt idx="6590">
                  <c:v>0</c:v>
                </c:pt>
                <c:pt idx="6591">
                  <c:v>0</c:v>
                </c:pt>
                <c:pt idx="6592">
                  <c:v>0</c:v>
                </c:pt>
                <c:pt idx="6593">
                  <c:v>0</c:v>
                </c:pt>
                <c:pt idx="6594">
                  <c:v>0</c:v>
                </c:pt>
                <c:pt idx="6595">
                  <c:v>0</c:v>
                </c:pt>
                <c:pt idx="6596">
                  <c:v>0</c:v>
                </c:pt>
                <c:pt idx="6597">
                  <c:v>0</c:v>
                </c:pt>
                <c:pt idx="6598">
                  <c:v>0</c:v>
                </c:pt>
                <c:pt idx="6599">
                  <c:v>0</c:v>
                </c:pt>
                <c:pt idx="6600">
                  <c:v>0</c:v>
                </c:pt>
                <c:pt idx="6601">
                  <c:v>0</c:v>
                </c:pt>
                <c:pt idx="6602">
                  <c:v>0</c:v>
                </c:pt>
                <c:pt idx="6603">
                  <c:v>0</c:v>
                </c:pt>
                <c:pt idx="6604">
                  <c:v>0</c:v>
                </c:pt>
                <c:pt idx="6605">
                  <c:v>0</c:v>
                </c:pt>
                <c:pt idx="6606">
                  <c:v>0</c:v>
                </c:pt>
                <c:pt idx="6607">
                  <c:v>0</c:v>
                </c:pt>
                <c:pt idx="6608">
                  <c:v>0</c:v>
                </c:pt>
                <c:pt idx="6609">
                  <c:v>0</c:v>
                </c:pt>
                <c:pt idx="6610">
                  <c:v>0</c:v>
                </c:pt>
                <c:pt idx="6611">
                  <c:v>0</c:v>
                </c:pt>
                <c:pt idx="6612">
                  <c:v>0</c:v>
                </c:pt>
                <c:pt idx="6613">
                  <c:v>0</c:v>
                </c:pt>
                <c:pt idx="6614">
                  <c:v>0</c:v>
                </c:pt>
                <c:pt idx="6615">
                  <c:v>0</c:v>
                </c:pt>
                <c:pt idx="6616">
                  <c:v>0</c:v>
                </c:pt>
                <c:pt idx="6617">
                  <c:v>0</c:v>
                </c:pt>
                <c:pt idx="6618">
                  <c:v>0</c:v>
                </c:pt>
                <c:pt idx="6619">
                  <c:v>0</c:v>
                </c:pt>
                <c:pt idx="6620">
                  <c:v>0</c:v>
                </c:pt>
                <c:pt idx="6621">
                  <c:v>0</c:v>
                </c:pt>
                <c:pt idx="6622">
                  <c:v>0</c:v>
                </c:pt>
                <c:pt idx="6623">
                  <c:v>0</c:v>
                </c:pt>
                <c:pt idx="6624">
                  <c:v>0</c:v>
                </c:pt>
                <c:pt idx="6625">
                  <c:v>0</c:v>
                </c:pt>
                <c:pt idx="6626">
                  <c:v>0</c:v>
                </c:pt>
                <c:pt idx="6627">
                  <c:v>0</c:v>
                </c:pt>
                <c:pt idx="6628">
                  <c:v>0</c:v>
                </c:pt>
                <c:pt idx="6629">
                  <c:v>0</c:v>
                </c:pt>
                <c:pt idx="6630">
                  <c:v>0</c:v>
                </c:pt>
                <c:pt idx="6631">
                  <c:v>0</c:v>
                </c:pt>
                <c:pt idx="6632">
                  <c:v>0</c:v>
                </c:pt>
                <c:pt idx="6633">
                  <c:v>0</c:v>
                </c:pt>
                <c:pt idx="6634">
                  <c:v>0</c:v>
                </c:pt>
                <c:pt idx="6635">
                  <c:v>0</c:v>
                </c:pt>
                <c:pt idx="6636">
                  <c:v>0</c:v>
                </c:pt>
                <c:pt idx="6637">
                  <c:v>0</c:v>
                </c:pt>
                <c:pt idx="6638">
                  <c:v>0</c:v>
                </c:pt>
                <c:pt idx="6639">
                  <c:v>0</c:v>
                </c:pt>
                <c:pt idx="6640">
                  <c:v>0</c:v>
                </c:pt>
                <c:pt idx="6641">
                  <c:v>0</c:v>
                </c:pt>
                <c:pt idx="6642">
                  <c:v>0</c:v>
                </c:pt>
                <c:pt idx="6643">
                  <c:v>0</c:v>
                </c:pt>
                <c:pt idx="6644">
                  <c:v>0</c:v>
                </c:pt>
                <c:pt idx="6645">
                  <c:v>0</c:v>
                </c:pt>
                <c:pt idx="6646">
                  <c:v>0</c:v>
                </c:pt>
                <c:pt idx="6647">
                  <c:v>0</c:v>
                </c:pt>
                <c:pt idx="6648">
                  <c:v>0</c:v>
                </c:pt>
                <c:pt idx="6649">
                  <c:v>0</c:v>
                </c:pt>
                <c:pt idx="6650">
                  <c:v>0</c:v>
                </c:pt>
                <c:pt idx="6651">
                  <c:v>0</c:v>
                </c:pt>
                <c:pt idx="6652">
                  <c:v>0</c:v>
                </c:pt>
                <c:pt idx="6653">
                  <c:v>0</c:v>
                </c:pt>
                <c:pt idx="6654">
                  <c:v>0</c:v>
                </c:pt>
                <c:pt idx="6655">
                  <c:v>0</c:v>
                </c:pt>
                <c:pt idx="6656">
                  <c:v>0</c:v>
                </c:pt>
                <c:pt idx="6657">
                  <c:v>0</c:v>
                </c:pt>
                <c:pt idx="6658">
                  <c:v>0</c:v>
                </c:pt>
                <c:pt idx="6659">
                  <c:v>0</c:v>
                </c:pt>
                <c:pt idx="6660">
                  <c:v>0</c:v>
                </c:pt>
                <c:pt idx="6661">
                  <c:v>0</c:v>
                </c:pt>
                <c:pt idx="6662">
                  <c:v>0</c:v>
                </c:pt>
                <c:pt idx="6663">
                  <c:v>0</c:v>
                </c:pt>
                <c:pt idx="6664">
                  <c:v>0</c:v>
                </c:pt>
                <c:pt idx="6665">
                  <c:v>0</c:v>
                </c:pt>
                <c:pt idx="6666">
                  <c:v>0</c:v>
                </c:pt>
                <c:pt idx="6667">
                  <c:v>0</c:v>
                </c:pt>
                <c:pt idx="6668">
                  <c:v>0</c:v>
                </c:pt>
                <c:pt idx="6669">
                  <c:v>0</c:v>
                </c:pt>
                <c:pt idx="6670">
                  <c:v>0</c:v>
                </c:pt>
                <c:pt idx="6671">
                  <c:v>0</c:v>
                </c:pt>
                <c:pt idx="6672">
                  <c:v>0</c:v>
                </c:pt>
                <c:pt idx="6673">
                  <c:v>0</c:v>
                </c:pt>
                <c:pt idx="6674">
                  <c:v>0</c:v>
                </c:pt>
                <c:pt idx="6675">
                  <c:v>0</c:v>
                </c:pt>
                <c:pt idx="6676">
                  <c:v>0</c:v>
                </c:pt>
                <c:pt idx="6677">
                  <c:v>0</c:v>
                </c:pt>
                <c:pt idx="6678">
                  <c:v>0</c:v>
                </c:pt>
                <c:pt idx="6679">
                  <c:v>0</c:v>
                </c:pt>
                <c:pt idx="6680">
                  <c:v>0</c:v>
                </c:pt>
                <c:pt idx="6681">
                  <c:v>0</c:v>
                </c:pt>
                <c:pt idx="6682">
                  <c:v>0</c:v>
                </c:pt>
                <c:pt idx="6683">
                  <c:v>0</c:v>
                </c:pt>
                <c:pt idx="6684">
                  <c:v>0</c:v>
                </c:pt>
                <c:pt idx="6685">
                  <c:v>0</c:v>
                </c:pt>
                <c:pt idx="6686">
                  <c:v>0</c:v>
                </c:pt>
                <c:pt idx="6687">
                  <c:v>0</c:v>
                </c:pt>
                <c:pt idx="6688">
                  <c:v>0</c:v>
                </c:pt>
                <c:pt idx="6689">
                  <c:v>0</c:v>
                </c:pt>
                <c:pt idx="6690">
                  <c:v>0</c:v>
                </c:pt>
                <c:pt idx="6691">
                  <c:v>0</c:v>
                </c:pt>
                <c:pt idx="6692">
                  <c:v>0</c:v>
                </c:pt>
                <c:pt idx="6693">
                  <c:v>0</c:v>
                </c:pt>
                <c:pt idx="6694">
                  <c:v>0</c:v>
                </c:pt>
                <c:pt idx="6695">
                  <c:v>0</c:v>
                </c:pt>
                <c:pt idx="6696">
                  <c:v>0</c:v>
                </c:pt>
                <c:pt idx="6697">
                  <c:v>0</c:v>
                </c:pt>
                <c:pt idx="6698">
                  <c:v>0</c:v>
                </c:pt>
                <c:pt idx="6699">
                  <c:v>0</c:v>
                </c:pt>
                <c:pt idx="6700">
                  <c:v>0</c:v>
                </c:pt>
                <c:pt idx="6701">
                  <c:v>0</c:v>
                </c:pt>
                <c:pt idx="6702">
                  <c:v>0</c:v>
                </c:pt>
                <c:pt idx="6703">
                  <c:v>0</c:v>
                </c:pt>
                <c:pt idx="6704">
                  <c:v>0</c:v>
                </c:pt>
                <c:pt idx="6705">
                  <c:v>0</c:v>
                </c:pt>
                <c:pt idx="6706">
                  <c:v>0</c:v>
                </c:pt>
                <c:pt idx="6707">
                  <c:v>0</c:v>
                </c:pt>
                <c:pt idx="6708">
                  <c:v>0</c:v>
                </c:pt>
                <c:pt idx="6709">
                  <c:v>0</c:v>
                </c:pt>
                <c:pt idx="6710">
                  <c:v>0</c:v>
                </c:pt>
                <c:pt idx="6711">
                  <c:v>0</c:v>
                </c:pt>
                <c:pt idx="6712">
                  <c:v>0</c:v>
                </c:pt>
                <c:pt idx="6713">
                  <c:v>0</c:v>
                </c:pt>
                <c:pt idx="6714">
                  <c:v>0</c:v>
                </c:pt>
                <c:pt idx="6715">
                  <c:v>0</c:v>
                </c:pt>
                <c:pt idx="6716">
                  <c:v>0</c:v>
                </c:pt>
                <c:pt idx="6717">
                  <c:v>0</c:v>
                </c:pt>
                <c:pt idx="6718">
                  <c:v>0</c:v>
                </c:pt>
                <c:pt idx="6719">
                  <c:v>0</c:v>
                </c:pt>
                <c:pt idx="6720">
                  <c:v>0</c:v>
                </c:pt>
                <c:pt idx="6721">
                  <c:v>0</c:v>
                </c:pt>
                <c:pt idx="6722">
                  <c:v>0</c:v>
                </c:pt>
                <c:pt idx="6723">
                  <c:v>0</c:v>
                </c:pt>
                <c:pt idx="6724">
                  <c:v>0</c:v>
                </c:pt>
                <c:pt idx="6725">
                  <c:v>0</c:v>
                </c:pt>
                <c:pt idx="6726">
                  <c:v>0</c:v>
                </c:pt>
                <c:pt idx="6727">
                  <c:v>0</c:v>
                </c:pt>
                <c:pt idx="6728">
                  <c:v>0</c:v>
                </c:pt>
                <c:pt idx="6729">
                  <c:v>0</c:v>
                </c:pt>
                <c:pt idx="6730">
                  <c:v>0</c:v>
                </c:pt>
                <c:pt idx="6731">
                  <c:v>0</c:v>
                </c:pt>
                <c:pt idx="6732">
                  <c:v>0</c:v>
                </c:pt>
                <c:pt idx="6733">
                  <c:v>0</c:v>
                </c:pt>
                <c:pt idx="6734">
                  <c:v>0</c:v>
                </c:pt>
                <c:pt idx="6735">
                  <c:v>0</c:v>
                </c:pt>
                <c:pt idx="6736">
                  <c:v>0</c:v>
                </c:pt>
                <c:pt idx="6737">
                  <c:v>0</c:v>
                </c:pt>
                <c:pt idx="6738">
                  <c:v>0</c:v>
                </c:pt>
                <c:pt idx="6739">
                  <c:v>0</c:v>
                </c:pt>
                <c:pt idx="6740">
                  <c:v>0</c:v>
                </c:pt>
                <c:pt idx="6741">
                  <c:v>0</c:v>
                </c:pt>
                <c:pt idx="6742">
                  <c:v>0</c:v>
                </c:pt>
                <c:pt idx="6743">
                  <c:v>0</c:v>
                </c:pt>
                <c:pt idx="6744">
                  <c:v>0</c:v>
                </c:pt>
                <c:pt idx="6745">
                  <c:v>0</c:v>
                </c:pt>
                <c:pt idx="6746">
                  <c:v>0</c:v>
                </c:pt>
                <c:pt idx="6747">
                  <c:v>0</c:v>
                </c:pt>
                <c:pt idx="6748">
                  <c:v>0</c:v>
                </c:pt>
                <c:pt idx="6749">
                  <c:v>0</c:v>
                </c:pt>
                <c:pt idx="6750">
                  <c:v>0</c:v>
                </c:pt>
                <c:pt idx="6751">
                  <c:v>0</c:v>
                </c:pt>
                <c:pt idx="6752">
                  <c:v>0</c:v>
                </c:pt>
                <c:pt idx="6753">
                  <c:v>0</c:v>
                </c:pt>
                <c:pt idx="6754">
                  <c:v>0</c:v>
                </c:pt>
                <c:pt idx="6755">
                  <c:v>0</c:v>
                </c:pt>
                <c:pt idx="6756">
                  <c:v>0</c:v>
                </c:pt>
                <c:pt idx="6757">
                  <c:v>0</c:v>
                </c:pt>
                <c:pt idx="6758">
                  <c:v>0</c:v>
                </c:pt>
                <c:pt idx="6759">
                  <c:v>0</c:v>
                </c:pt>
                <c:pt idx="6760">
                  <c:v>0</c:v>
                </c:pt>
                <c:pt idx="6761">
                  <c:v>0</c:v>
                </c:pt>
                <c:pt idx="6762">
                  <c:v>0</c:v>
                </c:pt>
                <c:pt idx="6763">
                  <c:v>0</c:v>
                </c:pt>
                <c:pt idx="6764">
                  <c:v>0</c:v>
                </c:pt>
                <c:pt idx="6765">
                  <c:v>0</c:v>
                </c:pt>
                <c:pt idx="6766">
                  <c:v>0</c:v>
                </c:pt>
                <c:pt idx="6767">
                  <c:v>0</c:v>
                </c:pt>
                <c:pt idx="6768">
                  <c:v>0</c:v>
                </c:pt>
                <c:pt idx="6769">
                  <c:v>0</c:v>
                </c:pt>
                <c:pt idx="6770">
                  <c:v>0</c:v>
                </c:pt>
                <c:pt idx="6771">
                  <c:v>0</c:v>
                </c:pt>
                <c:pt idx="6772">
                  <c:v>0</c:v>
                </c:pt>
                <c:pt idx="6773">
                  <c:v>0</c:v>
                </c:pt>
                <c:pt idx="6774">
                  <c:v>0</c:v>
                </c:pt>
                <c:pt idx="6775">
                  <c:v>0</c:v>
                </c:pt>
                <c:pt idx="6776">
                  <c:v>0</c:v>
                </c:pt>
                <c:pt idx="6777">
                  <c:v>0</c:v>
                </c:pt>
                <c:pt idx="6778">
                  <c:v>0</c:v>
                </c:pt>
                <c:pt idx="6779">
                  <c:v>0</c:v>
                </c:pt>
                <c:pt idx="6780">
                  <c:v>0</c:v>
                </c:pt>
                <c:pt idx="6781">
                  <c:v>0</c:v>
                </c:pt>
                <c:pt idx="6782">
                  <c:v>0</c:v>
                </c:pt>
                <c:pt idx="6783">
                  <c:v>0</c:v>
                </c:pt>
                <c:pt idx="6784">
                  <c:v>0</c:v>
                </c:pt>
                <c:pt idx="6785">
                  <c:v>0</c:v>
                </c:pt>
                <c:pt idx="6786">
                  <c:v>0</c:v>
                </c:pt>
                <c:pt idx="6787">
                  <c:v>0</c:v>
                </c:pt>
                <c:pt idx="6788">
                  <c:v>0</c:v>
                </c:pt>
                <c:pt idx="6789">
                  <c:v>0</c:v>
                </c:pt>
                <c:pt idx="6790">
                  <c:v>0</c:v>
                </c:pt>
                <c:pt idx="6791">
                  <c:v>0</c:v>
                </c:pt>
                <c:pt idx="6792">
                  <c:v>0</c:v>
                </c:pt>
                <c:pt idx="6793">
                  <c:v>0</c:v>
                </c:pt>
                <c:pt idx="6794">
                  <c:v>0</c:v>
                </c:pt>
                <c:pt idx="6795">
                  <c:v>0</c:v>
                </c:pt>
                <c:pt idx="6796">
                  <c:v>0</c:v>
                </c:pt>
                <c:pt idx="6797">
                  <c:v>0</c:v>
                </c:pt>
                <c:pt idx="6798">
                  <c:v>0</c:v>
                </c:pt>
                <c:pt idx="6799">
                  <c:v>0</c:v>
                </c:pt>
                <c:pt idx="6800">
                  <c:v>0</c:v>
                </c:pt>
                <c:pt idx="6801">
                  <c:v>0</c:v>
                </c:pt>
                <c:pt idx="6802">
                  <c:v>0</c:v>
                </c:pt>
                <c:pt idx="6803">
                  <c:v>0</c:v>
                </c:pt>
                <c:pt idx="6804">
                  <c:v>0</c:v>
                </c:pt>
                <c:pt idx="6805">
                  <c:v>0</c:v>
                </c:pt>
                <c:pt idx="6806">
                  <c:v>0</c:v>
                </c:pt>
                <c:pt idx="6807">
                  <c:v>0</c:v>
                </c:pt>
                <c:pt idx="6808">
                  <c:v>0</c:v>
                </c:pt>
                <c:pt idx="6809">
                  <c:v>0</c:v>
                </c:pt>
                <c:pt idx="6810">
                  <c:v>0</c:v>
                </c:pt>
                <c:pt idx="6811">
                  <c:v>0</c:v>
                </c:pt>
                <c:pt idx="6812">
                  <c:v>0</c:v>
                </c:pt>
                <c:pt idx="6813">
                  <c:v>0</c:v>
                </c:pt>
                <c:pt idx="6814">
                  <c:v>0</c:v>
                </c:pt>
                <c:pt idx="6815">
                  <c:v>0</c:v>
                </c:pt>
                <c:pt idx="6816">
                  <c:v>0</c:v>
                </c:pt>
                <c:pt idx="6817">
                  <c:v>0</c:v>
                </c:pt>
                <c:pt idx="6818">
                  <c:v>0</c:v>
                </c:pt>
                <c:pt idx="6819">
                  <c:v>0</c:v>
                </c:pt>
                <c:pt idx="6820">
                  <c:v>0</c:v>
                </c:pt>
                <c:pt idx="6821">
                  <c:v>0</c:v>
                </c:pt>
                <c:pt idx="6822">
                  <c:v>0</c:v>
                </c:pt>
                <c:pt idx="6823">
                  <c:v>0</c:v>
                </c:pt>
                <c:pt idx="6824">
                  <c:v>0</c:v>
                </c:pt>
                <c:pt idx="6825">
                  <c:v>0</c:v>
                </c:pt>
                <c:pt idx="6826">
                  <c:v>0</c:v>
                </c:pt>
                <c:pt idx="6827">
                  <c:v>0</c:v>
                </c:pt>
                <c:pt idx="6828">
                  <c:v>0</c:v>
                </c:pt>
                <c:pt idx="6829">
                  <c:v>0</c:v>
                </c:pt>
                <c:pt idx="6830">
                  <c:v>0</c:v>
                </c:pt>
                <c:pt idx="6831">
                  <c:v>0</c:v>
                </c:pt>
                <c:pt idx="6832">
                  <c:v>0</c:v>
                </c:pt>
                <c:pt idx="6833">
                  <c:v>0</c:v>
                </c:pt>
                <c:pt idx="6834">
                  <c:v>0</c:v>
                </c:pt>
                <c:pt idx="6835">
                  <c:v>0</c:v>
                </c:pt>
                <c:pt idx="6836">
                  <c:v>0</c:v>
                </c:pt>
                <c:pt idx="6837">
                  <c:v>0</c:v>
                </c:pt>
                <c:pt idx="6838">
                  <c:v>0</c:v>
                </c:pt>
                <c:pt idx="6839">
                  <c:v>0</c:v>
                </c:pt>
                <c:pt idx="6840">
                  <c:v>0</c:v>
                </c:pt>
                <c:pt idx="6841">
                  <c:v>0</c:v>
                </c:pt>
                <c:pt idx="6842">
                  <c:v>0</c:v>
                </c:pt>
                <c:pt idx="6843">
                  <c:v>0</c:v>
                </c:pt>
                <c:pt idx="6844">
                  <c:v>0</c:v>
                </c:pt>
                <c:pt idx="6845">
                  <c:v>0</c:v>
                </c:pt>
                <c:pt idx="6846">
                  <c:v>0</c:v>
                </c:pt>
                <c:pt idx="6847">
                  <c:v>0</c:v>
                </c:pt>
                <c:pt idx="6848">
                  <c:v>0</c:v>
                </c:pt>
                <c:pt idx="6849">
                  <c:v>0</c:v>
                </c:pt>
                <c:pt idx="6850">
                  <c:v>0</c:v>
                </c:pt>
                <c:pt idx="6851">
                  <c:v>0</c:v>
                </c:pt>
                <c:pt idx="6852">
                  <c:v>0</c:v>
                </c:pt>
                <c:pt idx="6853">
                  <c:v>0</c:v>
                </c:pt>
                <c:pt idx="6854">
                  <c:v>0</c:v>
                </c:pt>
                <c:pt idx="6855">
                  <c:v>0</c:v>
                </c:pt>
                <c:pt idx="6856">
                  <c:v>0</c:v>
                </c:pt>
                <c:pt idx="6857">
                  <c:v>0</c:v>
                </c:pt>
                <c:pt idx="6858">
                  <c:v>0</c:v>
                </c:pt>
                <c:pt idx="6859">
                  <c:v>0</c:v>
                </c:pt>
                <c:pt idx="6860">
                  <c:v>0</c:v>
                </c:pt>
                <c:pt idx="6861">
                  <c:v>0</c:v>
                </c:pt>
                <c:pt idx="6862">
                  <c:v>0</c:v>
                </c:pt>
                <c:pt idx="6863">
                  <c:v>0</c:v>
                </c:pt>
                <c:pt idx="6864">
                  <c:v>0</c:v>
                </c:pt>
                <c:pt idx="6865">
                  <c:v>0</c:v>
                </c:pt>
                <c:pt idx="6866">
                  <c:v>0</c:v>
                </c:pt>
                <c:pt idx="6867">
                  <c:v>0</c:v>
                </c:pt>
                <c:pt idx="6868">
                  <c:v>0</c:v>
                </c:pt>
                <c:pt idx="6869">
                  <c:v>0</c:v>
                </c:pt>
                <c:pt idx="6870">
                  <c:v>0</c:v>
                </c:pt>
                <c:pt idx="6871">
                  <c:v>0</c:v>
                </c:pt>
                <c:pt idx="6872">
                  <c:v>0</c:v>
                </c:pt>
                <c:pt idx="6873">
                  <c:v>0</c:v>
                </c:pt>
                <c:pt idx="6874">
                  <c:v>0</c:v>
                </c:pt>
                <c:pt idx="6875">
                  <c:v>0</c:v>
                </c:pt>
                <c:pt idx="6876">
                  <c:v>0</c:v>
                </c:pt>
                <c:pt idx="6877">
                  <c:v>0</c:v>
                </c:pt>
                <c:pt idx="6878">
                  <c:v>0</c:v>
                </c:pt>
                <c:pt idx="6879">
                  <c:v>0</c:v>
                </c:pt>
                <c:pt idx="6880">
                  <c:v>0</c:v>
                </c:pt>
                <c:pt idx="6881">
                  <c:v>0</c:v>
                </c:pt>
                <c:pt idx="6882">
                  <c:v>0</c:v>
                </c:pt>
                <c:pt idx="6883">
                  <c:v>0</c:v>
                </c:pt>
                <c:pt idx="6884">
                  <c:v>0</c:v>
                </c:pt>
                <c:pt idx="6885">
                  <c:v>0</c:v>
                </c:pt>
                <c:pt idx="6886">
                  <c:v>0</c:v>
                </c:pt>
                <c:pt idx="6887">
                  <c:v>0</c:v>
                </c:pt>
                <c:pt idx="6888">
                  <c:v>0</c:v>
                </c:pt>
                <c:pt idx="6889">
                  <c:v>0</c:v>
                </c:pt>
                <c:pt idx="6890">
                  <c:v>0</c:v>
                </c:pt>
                <c:pt idx="6891">
                  <c:v>0</c:v>
                </c:pt>
                <c:pt idx="6892">
                  <c:v>0</c:v>
                </c:pt>
                <c:pt idx="6893">
                  <c:v>0</c:v>
                </c:pt>
                <c:pt idx="6894">
                  <c:v>0</c:v>
                </c:pt>
                <c:pt idx="6895">
                  <c:v>0</c:v>
                </c:pt>
                <c:pt idx="6896">
                  <c:v>0</c:v>
                </c:pt>
                <c:pt idx="6897">
                  <c:v>0</c:v>
                </c:pt>
                <c:pt idx="6898">
                  <c:v>0</c:v>
                </c:pt>
                <c:pt idx="6899">
                  <c:v>0</c:v>
                </c:pt>
                <c:pt idx="6900">
                  <c:v>0</c:v>
                </c:pt>
                <c:pt idx="6901">
                  <c:v>0</c:v>
                </c:pt>
                <c:pt idx="6902">
                  <c:v>0</c:v>
                </c:pt>
                <c:pt idx="6903">
                  <c:v>0</c:v>
                </c:pt>
                <c:pt idx="6904">
                  <c:v>0</c:v>
                </c:pt>
                <c:pt idx="6905">
                  <c:v>0</c:v>
                </c:pt>
                <c:pt idx="6906">
                  <c:v>0</c:v>
                </c:pt>
                <c:pt idx="6907">
                  <c:v>0</c:v>
                </c:pt>
                <c:pt idx="6908">
                  <c:v>0</c:v>
                </c:pt>
                <c:pt idx="6909">
                  <c:v>0</c:v>
                </c:pt>
                <c:pt idx="6910">
                  <c:v>0</c:v>
                </c:pt>
                <c:pt idx="6911">
                  <c:v>0</c:v>
                </c:pt>
                <c:pt idx="6912">
                  <c:v>0</c:v>
                </c:pt>
                <c:pt idx="6913">
                  <c:v>0</c:v>
                </c:pt>
                <c:pt idx="6914">
                  <c:v>0</c:v>
                </c:pt>
                <c:pt idx="6915">
                  <c:v>0</c:v>
                </c:pt>
                <c:pt idx="6916">
                  <c:v>0</c:v>
                </c:pt>
                <c:pt idx="6917">
                  <c:v>0</c:v>
                </c:pt>
                <c:pt idx="6918">
                  <c:v>0</c:v>
                </c:pt>
                <c:pt idx="6919">
                  <c:v>0</c:v>
                </c:pt>
                <c:pt idx="6920">
                  <c:v>0</c:v>
                </c:pt>
                <c:pt idx="6921">
                  <c:v>0</c:v>
                </c:pt>
                <c:pt idx="6922">
                  <c:v>0</c:v>
                </c:pt>
                <c:pt idx="6923">
                  <c:v>0</c:v>
                </c:pt>
                <c:pt idx="6924">
                  <c:v>0</c:v>
                </c:pt>
                <c:pt idx="6925">
                  <c:v>0</c:v>
                </c:pt>
                <c:pt idx="6926">
                  <c:v>0</c:v>
                </c:pt>
                <c:pt idx="6927">
                  <c:v>0</c:v>
                </c:pt>
                <c:pt idx="6928">
                  <c:v>0</c:v>
                </c:pt>
                <c:pt idx="6929">
                  <c:v>0</c:v>
                </c:pt>
                <c:pt idx="6930">
                  <c:v>0</c:v>
                </c:pt>
                <c:pt idx="6931">
                  <c:v>0</c:v>
                </c:pt>
                <c:pt idx="6932">
                  <c:v>0</c:v>
                </c:pt>
                <c:pt idx="6933">
                  <c:v>0</c:v>
                </c:pt>
                <c:pt idx="6934">
                  <c:v>0</c:v>
                </c:pt>
                <c:pt idx="6935">
                  <c:v>0</c:v>
                </c:pt>
                <c:pt idx="6936">
                  <c:v>0</c:v>
                </c:pt>
                <c:pt idx="6937">
                  <c:v>0</c:v>
                </c:pt>
                <c:pt idx="6938">
                  <c:v>0</c:v>
                </c:pt>
                <c:pt idx="6939">
                  <c:v>0</c:v>
                </c:pt>
                <c:pt idx="6940">
                  <c:v>0</c:v>
                </c:pt>
                <c:pt idx="6941">
                  <c:v>0</c:v>
                </c:pt>
                <c:pt idx="6942">
                  <c:v>0</c:v>
                </c:pt>
                <c:pt idx="6943">
                  <c:v>0</c:v>
                </c:pt>
                <c:pt idx="6944">
                  <c:v>0</c:v>
                </c:pt>
                <c:pt idx="6945">
                  <c:v>0</c:v>
                </c:pt>
                <c:pt idx="6946">
                  <c:v>0</c:v>
                </c:pt>
                <c:pt idx="6947">
                  <c:v>0</c:v>
                </c:pt>
                <c:pt idx="6948">
                  <c:v>0</c:v>
                </c:pt>
                <c:pt idx="6949">
                  <c:v>0</c:v>
                </c:pt>
                <c:pt idx="6950">
                  <c:v>0</c:v>
                </c:pt>
                <c:pt idx="6951">
                  <c:v>0</c:v>
                </c:pt>
                <c:pt idx="6952">
                  <c:v>0</c:v>
                </c:pt>
                <c:pt idx="6953">
                  <c:v>0</c:v>
                </c:pt>
                <c:pt idx="6954">
                  <c:v>0</c:v>
                </c:pt>
                <c:pt idx="6955">
                  <c:v>0</c:v>
                </c:pt>
                <c:pt idx="6956">
                  <c:v>0</c:v>
                </c:pt>
                <c:pt idx="6957">
                  <c:v>0</c:v>
                </c:pt>
                <c:pt idx="6958">
                  <c:v>0</c:v>
                </c:pt>
                <c:pt idx="6959">
                  <c:v>0</c:v>
                </c:pt>
                <c:pt idx="6960">
                  <c:v>0</c:v>
                </c:pt>
                <c:pt idx="6961">
                  <c:v>0</c:v>
                </c:pt>
                <c:pt idx="6962">
                  <c:v>0</c:v>
                </c:pt>
                <c:pt idx="6963">
                  <c:v>0</c:v>
                </c:pt>
                <c:pt idx="6964">
                  <c:v>0</c:v>
                </c:pt>
                <c:pt idx="6965">
                  <c:v>0</c:v>
                </c:pt>
                <c:pt idx="6966">
                  <c:v>0</c:v>
                </c:pt>
                <c:pt idx="6967">
                  <c:v>0</c:v>
                </c:pt>
                <c:pt idx="6968">
                  <c:v>0</c:v>
                </c:pt>
                <c:pt idx="6969">
                  <c:v>0</c:v>
                </c:pt>
                <c:pt idx="6970">
                  <c:v>0</c:v>
                </c:pt>
                <c:pt idx="6971">
                  <c:v>0</c:v>
                </c:pt>
                <c:pt idx="6972">
                  <c:v>0</c:v>
                </c:pt>
                <c:pt idx="6973">
                  <c:v>0</c:v>
                </c:pt>
                <c:pt idx="6974">
                  <c:v>0</c:v>
                </c:pt>
                <c:pt idx="6975">
                  <c:v>0</c:v>
                </c:pt>
                <c:pt idx="6976">
                  <c:v>0</c:v>
                </c:pt>
                <c:pt idx="6977">
                  <c:v>0</c:v>
                </c:pt>
                <c:pt idx="6978">
                  <c:v>0</c:v>
                </c:pt>
                <c:pt idx="6979">
                  <c:v>0</c:v>
                </c:pt>
                <c:pt idx="6980">
                  <c:v>0</c:v>
                </c:pt>
                <c:pt idx="6981">
                  <c:v>0</c:v>
                </c:pt>
                <c:pt idx="6982">
                  <c:v>0</c:v>
                </c:pt>
                <c:pt idx="6983">
                  <c:v>0</c:v>
                </c:pt>
                <c:pt idx="6984">
                  <c:v>0</c:v>
                </c:pt>
                <c:pt idx="6985">
                  <c:v>0</c:v>
                </c:pt>
                <c:pt idx="6986">
                  <c:v>0</c:v>
                </c:pt>
                <c:pt idx="6987">
                  <c:v>0</c:v>
                </c:pt>
                <c:pt idx="6988">
                  <c:v>0</c:v>
                </c:pt>
                <c:pt idx="6989">
                  <c:v>0</c:v>
                </c:pt>
                <c:pt idx="6990">
                  <c:v>0</c:v>
                </c:pt>
                <c:pt idx="6991">
                  <c:v>0</c:v>
                </c:pt>
                <c:pt idx="6992">
                  <c:v>0</c:v>
                </c:pt>
                <c:pt idx="6993">
                  <c:v>0</c:v>
                </c:pt>
                <c:pt idx="6994">
                  <c:v>0</c:v>
                </c:pt>
                <c:pt idx="6995">
                  <c:v>0</c:v>
                </c:pt>
                <c:pt idx="6996">
                  <c:v>0</c:v>
                </c:pt>
                <c:pt idx="6997">
                  <c:v>0</c:v>
                </c:pt>
                <c:pt idx="6998">
                  <c:v>0</c:v>
                </c:pt>
                <c:pt idx="6999">
                  <c:v>0</c:v>
                </c:pt>
                <c:pt idx="7000">
                  <c:v>0</c:v>
                </c:pt>
                <c:pt idx="7001">
                  <c:v>0</c:v>
                </c:pt>
                <c:pt idx="7002">
                  <c:v>0</c:v>
                </c:pt>
                <c:pt idx="7003">
                  <c:v>0</c:v>
                </c:pt>
                <c:pt idx="7004">
                  <c:v>0</c:v>
                </c:pt>
                <c:pt idx="7005">
                  <c:v>0</c:v>
                </c:pt>
                <c:pt idx="7006">
                  <c:v>0</c:v>
                </c:pt>
                <c:pt idx="7007">
                  <c:v>0</c:v>
                </c:pt>
                <c:pt idx="7008">
                  <c:v>0</c:v>
                </c:pt>
                <c:pt idx="7009">
                  <c:v>0</c:v>
                </c:pt>
                <c:pt idx="7010">
                  <c:v>0</c:v>
                </c:pt>
                <c:pt idx="7011">
                  <c:v>0</c:v>
                </c:pt>
                <c:pt idx="7012">
                  <c:v>0</c:v>
                </c:pt>
                <c:pt idx="7013">
                  <c:v>0</c:v>
                </c:pt>
                <c:pt idx="7014">
                  <c:v>0</c:v>
                </c:pt>
                <c:pt idx="7015">
                  <c:v>0</c:v>
                </c:pt>
                <c:pt idx="7016">
                  <c:v>0</c:v>
                </c:pt>
                <c:pt idx="7017">
                  <c:v>0</c:v>
                </c:pt>
                <c:pt idx="7018">
                  <c:v>0</c:v>
                </c:pt>
                <c:pt idx="7019">
                  <c:v>0</c:v>
                </c:pt>
                <c:pt idx="7020">
                  <c:v>0</c:v>
                </c:pt>
                <c:pt idx="7021">
                  <c:v>0</c:v>
                </c:pt>
                <c:pt idx="7022">
                  <c:v>0</c:v>
                </c:pt>
                <c:pt idx="7023">
                  <c:v>0</c:v>
                </c:pt>
                <c:pt idx="7024">
                  <c:v>0</c:v>
                </c:pt>
                <c:pt idx="7025">
                  <c:v>0</c:v>
                </c:pt>
                <c:pt idx="7026">
                  <c:v>0</c:v>
                </c:pt>
                <c:pt idx="7027">
                  <c:v>0</c:v>
                </c:pt>
                <c:pt idx="7028">
                  <c:v>0</c:v>
                </c:pt>
                <c:pt idx="7029">
                  <c:v>0</c:v>
                </c:pt>
                <c:pt idx="7030">
                  <c:v>0</c:v>
                </c:pt>
                <c:pt idx="7031">
                  <c:v>0</c:v>
                </c:pt>
                <c:pt idx="7032">
                  <c:v>0</c:v>
                </c:pt>
                <c:pt idx="7033">
                  <c:v>0</c:v>
                </c:pt>
                <c:pt idx="7034">
                  <c:v>0</c:v>
                </c:pt>
                <c:pt idx="7035">
                  <c:v>0</c:v>
                </c:pt>
                <c:pt idx="7036">
                  <c:v>0</c:v>
                </c:pt>
                <c:pt idx="7037">
                  <c:v>0</c:v>
                </c:pt>
                <c:pt idx="7038">
                  <c:v>0</c:v>
                </c:pt>
                <c:pt idx="7039">
                  <c:v>0</c:v>
                </c:pt>
                <c:pt idx="7040">
                  <c:v>0</c:v>
                </c:pt>
                <c:pt idx="7041">
                  <c:v>0</c:v>
                </c:pt>
                <c:pt idx="7042">
                  <c:v>0</c:v>
                </c:pt>
                <c:pt idx="7043">
                  <c:v>0</c:v>
                </c:pt>
                <c:pt idx="7044">
                  <c:v>0</c:v>
                </c:pt>
                <c:pt idx="7045">
                  <c:v>0</c:v>
                </c:pt>
                <c:pt idx="7046">
                  <c:v>0</c:v>
                </c:pt>
                <c:pt idx="7047">
                  <c:v>0</c:v>
                </c:pt>
                <c:pt idx="7048">
                  <c:v>0</c:v>
                </c:pt>
                <c:pt idx="7049">
                  <c:v>0</c:v>
                </c:pt>
                <c:pt idx="7050">
                  <c:v>0</c:v>
                </c:pt>
                <c:pt idx="7051">
                  <c:v>0</c:v>
                </c:pt>
                <c:pt idx="7052">
                  <c:v>0</c:v>
                </c:pt>
                <c:pt idx="7053">
                  <c:v>0</c:v>
                </c:pt>
                <c:pt idx="7054">
                  <c:v>0</c:v>
                </c:pt>
                <c:pt idx="7055">
                  <c:v>0</c:v>
                </c:pt>
                <c:pt idx="7056">
                  <c:v>0</c:v>
                </c:pt>
                <c:pt idx="7057">
                  <c:v>0</c:v>
                </c:pt>
                <c:pt idx="7058">
                  <c:v>0</c:v>
                </c:pt>
                <c:pt idx="7059">
                  <c:v>0</c:v>
                </c:pt>
                <c:pt idx="7060">
                  <c:v>0</c:v>
                </c:pt>
                <c:pt idx="7061">
                  <c:v>0</c:v>
                </c:pt>
                <c:pt idx="7062">
                  <c:v>0</c:v>
                </c:pt>
                <c:pt idx="7063">
                  <c:v>0</c:v>
                </c:pt>
                <c:pt idx="7064">
                  <c:v>0</c:v>
                </c:pt>
                <c:pt idx="7065">
                  <c:v>0</c:v>
                </c:pt>
                <c:pt idx="7066">
                  <c:v>0</c:v>
                </c:pt>
                <c:pt idx="7067">
                  <c:v>0</c:v>
                </c:pt>
                <c:pt idx="7068">
                  <c:v>0</c:v>
                </c:pt>
                <c:pt idx="7069">
                  <c:v>0</c:v>
                </c:pt>
                <c:pt idx="7070">
                  <c:v>0</c:v>
                </c:pt>
                <c:pt idx="7071">
                  <c:v>0</c:v>
                </c:pt>
                <c:pt idx="7072">
                  <c:v>0</c:v>
                </c:pt>
                <c:pt idx="7073">
                  <c:v>0</c:v>
                </c:pt>
                <c:pt idx="7074">
                  <c:v>0</c:v>
                </c:pt>
                <c:pt idx="7075">
                  <c:v>0</c:v>
                </c:pt>
                <c:pt idx="7076">
                  <c:v>0</c:v>
                </c:pt>
                <c:pt idx="7077">
                  <c:v>0</c:v>
                </c:pt>
                <c:pt idx="7078">
                  <c:v>0</c:v>
                </c:pt>
                <c:pt idx="7079">
                  <c:v>0</c:v>
                </c:pt>
                <c:pt idx="7080">
                  <c:v>0</c:v>
                </c:pt>
                <c:pt idx="7081">
                  <c:v>0</c:v>
                </c:pt>
                <c:pt idx="7082">
                  <c:v>0</c:v>
                </c:pt>
                <c:pt idx="7083">
                  <c:v>0</c:v>
                </c:pt>
                <c:pt idx="7084">
                  <c:v>0</c:v>
                </c:pt>
                <c:pt idx="7085">
                  <c:v>0</c:v>
                </c:pt>
                <c:pt idx="7086">
                  <c:v>0</c:v>
                </c:pt>
                <c:pt idx="7087">
                  <c:v>0</c:v>
                </c:pt>
                <c:pt idx="7088">
                  <c:v>0</c:v>
                </c:pt>
                <c:pt idx="7089">
                  <c:v>0</c:v>
                </c:pt>
                <c:pt idx="7090">
                  <c:v>0</c:v>
                </c:pt>
                <c:pt idx="7091">
                  <c:v>0</c:v>
                </c:pt>
                <c:pt idx="7092">
                  <c:v>0</c:v>
                </c:pt>
                <c:pt idx="7093">
                  <c:v>0</c:v>
                </c:pt>
                <c:pt idx="7094">
                  <c:v>0</c:v>
                </c:pt>
                <c:pt idx="7095">
                  <c:v>0</c:v>
                </c:pt>
                <c:pt idx="7096">
                  <c:v>0</c:v>
                </c:pt>
                <c:pt idx="7097">
                  <c:v>0</c:v>
                </c:pt>
                <c:pt idx="7098">
                  <c:v>0</c:v>
                </c:pt>
                <c:pt idx="7099">
                  <c:v>0</c:v>
                </c:pt>
                <c:pt idx="7100">
                  <c:v>0</c:v>
                </c:pt>
                <c:pt idx="7101">
                  <c:v>0</c:v>
                </c:pt>
                <c:pt idx="7102">
                  <c:v>0</c:v>
                </c:pt>
                <c:pt idx="7103">
                  <c:v>0</c:v>
                </c:pt>
                <c:pt idx="7104">
                  <c:v>0</c:v>
                </c:pt>
                <c:pt idx="7105">
                  <c:v>0</c:v>
                </c:pt>
                <c:pt idx="7106">
                  <c:v>0</c:v>
                </c:pt>
                <c:pt idx="7107">
                  <c:v>0</c:v>
                </c:pt>
                <c:pt idx="7108">
                  <c:v>0</c:v>
                </c:pt>
                <c:pt idx="7109">
                  <c:v>0</c:v>
                </c:pt>
                <c:pt idx="7110">
                  <c:v>0</c:v>
                </c:pt>
                <c:pt idx="7111">
                  <c:v>0</c:v>
                </c:pt>
                <c:pt idx="7112">
                  <c:v>0</c:v>
                </c:pt>
                <c:pt idx="7113">
                  <c:v>0</c:v>
                </c:pt>
                <c:pt idx="7114">
                  <c:v>0</c:v>
                </c:pt>
                <c:pt idx="7115">
                  <c:v>0</c:v>
                </c:pt>
                <c:pt idx="7116">
                  <c:v>0</c:v>
                </c:pt>
                <c:pt idx="7117">
                  <c:v>0</c:v>
                </c:pt>
                <c:pt idx="7118">
                  <c:v>0</c:v>
                </c:pt>
                <c:pt idx="7119">
                  <c:v>0</c:v>
                </c:pt>
                <c:pt idx="7120">
                  <c:v>0</c:v>
                </c:pt>
                <c:pt idx="7121">
                  <c:v>0</c:v>
                </c:pt>
                <c:pt idx="7122">
                  <c:v>0</c:v>
                </c:pt>
                <c:pt idx="7123">
                  <c:v>0</c:v>
                </c:pt>
                <c:pt idx="7124">
                  <c:v>0</c:v>
                </c:pt>
                <c:pt idx="7125">
                  <c:v>0</c:v>
                </c:pt>
                <c:pt idx="7126">
                  <c:v>0</c:v>
                </c:pt>
                <c:pt idx="7127">
                  <c:v>0</c:v>
                </c:pt>
                <c:pt idx="7128">
                  <c:v>0</c:v>
                </c:pt>
                <c:pt idx="7129">
                  <c:v>0</c:v>
                </c:pt>
                <c:pt idx="7130">
                  <c:v>0</c:v>
                </c:pt>
                <c:pt idx="7131">
                  <c:v>0</c:v>
                </c:pt>
                <c:pt idx="7132">
                  <c:v>0</c:v>
                </c:pt>
                <c:pt idx="7133">
                  <c:v>0</c:v>
                </c:pt>
                <c:pt idx="7134">
                  <c:v>0</c:v>
                </c:pt>
                <c:pt idx="7135">
                  <c:v>0</c:v>
                </c:pt>
                <c:pt idx="7136">
                  <c:v>0</c:v>
                </c:pt>
                <c:pt idx="7137">
                  <c:v>0</c:v>
                </c:pt>
                <c:pt idx="7138">
                  <c:v>0</c:v>
                </c:pt>
                <c:pt idx="7139">
                  <c:v>0</c:v>
                </c:pt>
                <c:pt idx="7140">
                  <c:v>0</c:v>
                </c:pt>
                <c:pt idx="7141">
                  <c:v>0</c:v>
                </c:pt>
                <c:pt idx="7142">
                  <c:v>0</c:v>
                </c:pt>
                <c:pt idx="7143">
                  <c:v>0</c:v>
                </c:pt>
                <c:pt idx="7144">
                  <c:v>0</c:v>
                </c:pt>
                <c:pt idx="7145">
                  <c:v>0</c:v>
                </c:pt>
                <c:pt idx="7146">
                  <c:v>0</c:v>
                </c:pt>
                <c:pt idx="7147">
                  <c:v>0</c:v>
                </c:pt>
                <c:pt idx="7148">
                  <c:v>0</c:v>
                </c:pt>
                <c:pt idx="7149">
                  <c:v>0</c:v>
                </c:pt>
                <c:pt idx="7150">
                  <c:v>0</c:v>
                </c:pt>
                <c:pt idx="7151">
                  <c:v>0</c:v>
                </c:pt>
                <c:pt idx="7152">
                  <c:v>0</c:v>
                </c:pt>
                <c:pt idx="7153">
                  <c:v>0</c:v>
                </c:pt>
                <c:pt idx="7154">
                  <c:v>0</c:v>
                </c:pt>
                <c:pt idx="7155">
                  <c:v>0</c:v>
                </c:pt>
                <c:pt idx="7156">
                  <c:v>0</c:v>
                </c:pt>
                <c:pt idx="7157">
                  <c:v>0</c:v>
                </c:pt>
                <c:pt idx="7158">
                  <c:v>0</c:v>
                </c:pt>
                <c:pt idx="7159">
                  <c:v>0</c:v>
                </c:pt>
                <c:pt idx="7160">
                  <c:v>0</c:v>
                </c:pt>
                <c:pt idx="7161">
                  <c:v>0</c:v>
                </c:pt>
                <c:pt idx="7162">
                  <c:v>0</c:v>
                </c:pt>
                <c:pt idx="7163">
                  <c:v>0</c:v>
                </c:pt>
                <c:pt idx="7164">
                  <c:v>0</c:v>
                </c:pt>
                <c:pt idx="7165">
                  <c:v>0</c:v>
                </c:pt>
                <c:pt idx="7166">
                  <c:v>0</c:v>
                </c:pt>
                <c:pt idx="7167">
                  <c:v>0</c:v>
                </c:pt>
                <c:pt idx="7168">
                  <c:v>0</c:v>
                </c:pt>
                <c:pt idx="7169">
                  <c:v>0</c:v>
                </c:pt>
                <c:pt idx="7170">
                  <c:v>0</c:v>
                </c:pt>
                <c:pt idx="7171">
                  <c:v>0</c:v>
                </c:pt>
                <c:pt idx="7172">
                  <c:v>0</c:v>
                </c:pt>
                <c:pt idx="7173">
                  <c:v>0</c:v>
                </c:pt>
                <c:pt idx="7174">
                  <c:v>0</c:v>
                </c:pt>
                <c:pt idx="7175">
                  <c:v>0</c:v>
                </c:pt>
                <c:pt idx="7176">
                  <c:v>0</c:v>
                </c:pt>
                <c:pt idx="7177">
                  <c:v>0</c:v>
                </c:pt>
                <c:pt idx="7178">
                  <c:v>0</c:v>
                </c:pt>
                <c:pt idx="7179">
                  <c:v>0</c:v>
                </c:pt>
                <c:pt idx="7180">
                  <c:v>0</c:v>
                </c:pt>
                <c:pt idx="7181">
                  <c:v>0</c:v>
                </c:pt>
                <c:pt idx="7182">
                  <c:v>0</c:v>
                </c:pt>
                <c:pt idx="7183">
                  <c:v>0</c:v>
                </c:pt>
                <c:pt idx="7184">
                  <c:v>0</c:v>
                </c:pt>
                <c:pt idx="7185">
                  <c:v>0</c:v>
                </c:pt>
                <c:pt idx="7186">
                  <c:v>0</c:v>
                </c:pt>
                <c:pt idx="7187">
                  <c:v>0</c:v>
                </c:pt>
                <c:pt idx="7188">
                  <c:v>0</c:v>
                </c:pt>
                <c:pt idx="7189">
                  <c:v>0</c:v>
                </c:pt>
                <c:pt idx="7190">
                  <c:v>0</c:v>
                </c:pt>
                <c:pt idx="7191">
                  <c:v>0</c:v>
                </c:pt>
                <c:pt idx="7192">
                  <c:v>0</c:v>
                </c:pt>
                <c:pt idx="7193">
                  <c:v>0</c:v>
                </c:pt>
                <c:pt idx="7194">
                  <c:v>0</c:v>
                </c:pt>
                <c:pt idx="7195">
                  <c:v>0</c:v>
                </c:pt>
                <c:pt idx="7196">
                  <c:v>0</c:v>
                </c:pt>
                <c:pt idx="7197">
                  <c:v>0</c:v>
                </c:pt>
                <c:pt idx="7198">
                  <c:v>0</c:v>
                </c:pt>
                <c:pt idx="7199">
                  <c:v>0</c:v>
                </c:pt>
                <c:pt idx="7200">
                  <c:v>0</c:v>
                </c:pt>
                <c:pt idx="7201">
                  <c:v>0</c:v>
                </c:pt>
                <c:pt idx="7202">
                  <c:v>0</c:v>
                </c:pt>
                <c:pt idx="7203">
                  <c:v>0</c:v>
                </c:pt>
                <c:pt idx="7204">
                  <c:v>0</c:v>
                </c:pt>
                <c:pt idx="7205">
                  <c:v>0</c:v>
                </c:pt>
                <c:pt idx="7206">
                  <c:v>0</c:v>
                </c:pt>
                <c:pt idx="7207">
                  <c:v>0</c:v>
                </c:pt>
                <c:pt idx="7208">
                  <c:v>0</c:v>
                </c:pt>
                <c:pt idx="7209">
                  <c:v>0</c:v>
                </c:pt>
                <c:pt idx="7210">
                  <c:v>0</c:v>
                </c:pt>
                <c:pt idx="7211">
                  <c:v>0</c:v>
                </c:pt>
                <c:pt idx="7212">
                  <c:v>0</c:v>
                </c:pt>
                <c:pt idx="7213">
                  <c:v>0</c:v>
                </c:pt>
                <c:pt idx="7214">
                  <c:v>0</c:v>
                </c:pt>
                <c:pt idx="7215">
                  <c:v>0</c:v>
                </c:pt>
                <c:pt idx="7216">
                  <c:v>0</c:v>
                </c:pt>
                <c:pt idx="7217">
                  <c:v>0</c:v>
                </c:pt>
                <c:pt idx="7218">
                  <c:v>0</c:v>
                </c:pt>
                <c:pt idx="7219">
                  <c:v>0</c:v>
                </c:pt>
                <c:pt idx="7220">
                  <c:v>0</c:v>
                </c:pt>
                <c:pt idx="7221">
                  <c:v>0</c:v>
                </c:pt>
                <c:pt idx="7222">
                  <c:v>0</c:v>
                </c:pt>
                <c:pt idx="7223">
                  <c:v>0</c:v>
                </c:pt>
                <c:pt idx="7224">
                  <c:v>0</c:v>
                </c:pt>
                <c:pt idx="7225">
                  <c:v>0</c:v>
                </c:pt>
                <c:pt idx="7226">
                  <c:v>0</c:v>
                </c:pt>
                <c:pt idx="7227">
                  <c:v>0</c:v>
                </c:pt>
                <c:pt idx="7228">
                  <c:v>0</c:v>
                </c:pt>
                <c:pt idx="7229">
                  <c:v>0</c:v>
                </c:pt>
                <c:pt idx="7230">
                  <c:v>0</c:v>
                </c:pt>
                <c:pt idx="7231">
                  <c:v>0</c:v>
                </c:pt>
                <c:pt idx="7232">
                  <c:v>0</c:v>
                </c:pt>
                <c:pt idx="7233">
                  <c:v>0</c:v>
                </c:pt>
                <c:pt idx="7234">
                  <c:v>0</c:v>
                </c:pt>
                <c:pt idx="7235">
                  <c:v>0</c:v>
                </c:pt>
                <c:pt idx="7236">
                  <c:v>0</c:v>
                </c:pt>
                <c:pt idx="7237">
                  <c:v>0</c:v>
                </c:pt>
                <c:pt idx="7238">
                  <c:v>0</c:v>
                </c:pt>
                <c:pt idx="7239">
                  <c:v>0</c:v>
                </c:pt>
                <c:pt idx="7240">
                  <c:v>0</c:v>
                </c:pt>
                <c:pt idx="7241">
                  <c:v>0</c:v>
                </c:pt>
                <c:pt idx="7242">
                  <c:v>0</c:v>
                </c:pt>
                <c:pt idx="7243">
                  <c:v>0</c:v>
                </c:pt>
                <c:pt idx="7244">
                  <c:v>0</c:v>
                </c:pt>
                <c:pt idx="7245">
                  <c:v>0</c:v>
                </c:pt>
                <c:pt idx="7246">
                  <c:v>0</c:v>
                </c:pt>
                <c:pt idx="7247">
                  <c:v>0</c:v>
                </c:pt>
                <c:pt idx="7248">
                  <c:v>0</c:v>
                </c:pt>
                <c:pt idx="7249">
                  <c:v>0</c:v>
                </c:pt>
                <c:pt idx="7250">
                  <c:v>0</c:v>
                </c:pt>
                <c:pt idx="7251">
                  <c:v>0</c:v>
                </c:pt>
                <c:pt idx="7252">
                  <c:v>0</c:v>
                </c:pt>
                <c:pt idx="7253">
                  <c:v>0</c:v>
                </c:pt>
                <c:pt idx="7254">
                  <c:v>0</c:v>
                </c:pt>
                <c:pt idx="7255">
                  <c:v>0</c:v>
                </c:pt>
                <c:pt idx="7256">
                  <c:v>0</c:v>
                </c:pt>
                <c:pt idx="7257">
                  <c:v>0</c:v>
                </c:pt>
                <c:pt idx="7258">
                  <c:v>0</c:v>
                </c:pt>
                <c:pt idx="7259">
                  <c:v>0</c:v>
                </c:pt>
                <c:pt idx="7260">
                  <c:v>0</c:v>
                </c:pt>
                <c:pt idx="7261">
                  <c:v>0</c:v>
                </c:pt>
                <c:pt idx="7262">
                  <c:v>0</c:v>
                </c:pt>
                <c:pt idx="7263">
                  <c:v>0</c:v>
                </c:pt>
                <c:pt idx="7264">
                  <c:v>0</c:v>
                </c:pt>
                <c:pt idx="7265">
                  <c:v>0</c:v>
                </c:pt>
                <c:pt idx="7266">
                  <c:v>0</c:v>
                </c:pt>
                <c:pt idx="7267">
                  <c:v>0</c:v>
                </c:pt>
                <c:pt idx="7268">
                  <c:v>0</c:v>
                </c:pt>
                <c:pt idx="7269">
                  <c:v>0</c:v>
                </c:pt>
                <c:pt idx="7270">
                  <c:v>0</c:v>
                </c:pt>
                <c:pt idx="7271">
                  <c:v>0</c:v>
                </c:pt>
                <c:pt idx="7272">
                  <c:v>0</c:v>
                </c:pt>
                <c:pt idx="7273">
                  <c:v>0</c:v>
                </c:pt>
                <c:pt idx="7274">
                  <c:v>0</c:v>
                </c:pt>
                <c:pt idx="7275">
                  <c:v>0</c:v>
                </c:pt>
                <c:pt idx="7276">
                  <c:v>0</c:v>
                </c:pt>
                <c:pt idx="7277">
                  <c:v>0</c:v>
                </c:pt>
                <c:pt idx="7278">
                  <c:v>0</c:v>
                </c:pt>
                <c:pt idx="7279">
                  <c:v>0</c:v>
                </c:pt>
                <c:pt idx="7280">
                  <c:v>0</c:v>
                </c:pt>
                <c:pt idx="7281">
                  <c:v>0</c:v>
                </c:pt>
                <c:pt idx="7282">
                  <c:v>0</c:v>
                </c:pt>
                <c:pt idx="7283">
                  <c:v>0</c:v>
                </c:pt>
                <c:pt idx="7284">
                  <c:v>0</c:v>
                </c:pt>
                <c:pt idx="7285">
                  <c:v>0</c:v>
                </c:pt>
                <c:pt idx="7286">
                  <c:v>0</c:v>
                </c:pt>
                <c:pt idx="7287">
                  <c:v>0</c:v>
                </c:pt>
                <c:pt idx="7288">
                  <c:v>0</c:v>
                </c:pt>
                <c:pt idx="7289">
                  <c:v>0</c:v>
                </c:pt>
                <c:pt idx="7290">
                  <c:v>0</c:v>
                </c:pt>
                <c:pt idx="7291">
                  <c:v>0</c:v>
                </c:pt>
                <c:pt idx="7292">
                  <c:v>0</c:v>
                </c:pt>
                <c:pt idx="7293">
                  <c:v>0</c:v>
                </c:pt>
                <c:pt idx="7294">
                  <c:v>0</c:v>
                </c:pt>
                <c:pt idx="7295">
                  <c:v>0</c:v>
                </c:pt>
                <c:pt idx="7296">
                  <c:v>0</c:v>
                </c:pt>
                <c:pt idx="7297">
                  <c:v>0</c:v>
                </c:pt>
                <c:pt idx="7298">
                  <c:v>0</c:v>
                </c:pt>
                <c:pt idx="7299">
                  <c:v>0</c:v>
                </c:pt>
                <c:pt idx="7300">
                  <c:v>0</c:v>
                </c:pt>
                <c:pt idx="7301">
                  <c:v>0</c:v>
                </c:pt>
                <c:pt idx="7302">
                  <c:v>0</c:v>
                </c:pt>
                <c:pt idx="7303">
                  <c:v>0</c:v>
                </c:pt>
                <c:pt idx="7304">
                  <c:v>0</c:v>
                </c:pt>
                <c:pt idx="7305">
                  <c:v>0</c:v>
                </c:pt>
                <c:pt idx="7306">
                  <c:v>0</c:v>
                </c:pt>
                <c:pt idx="7307">
                  <c:v>0</c:v>
                </c:pt>
                <c:pt idx="7308">
                  <c:v>0</c:v>
                </c:pt>
                <c:pt idx="7309">
                  <c:v>0</c:v>
                </c:pt>
                <c:pt idx="7310">
                  <c:v>0</c:v>
                </c:pt>
                <c:pt idx="7311">
                  <c:v>0</c:v>
                </c:pt>
                <c:pt idx="7312">
                  <c:v>0</c:v>
                </c:pt>
                <c:pt idx="7313">
                  <c:v>0</c:v>
                </c:pt>
                <c:pt idx="7314">
                  <c:v>0</c:v>
                </c:pt>
                <c:pt idx="7315">
                  <c:v>0</c:v>
                </c:pt>
                <c:pt idx="7316">
                  <c:v>0</c:v>
                </c:pt>
                <c:pt idx="7317">
                  <c:v>0</c:v>
                </c:pt>
                <c:pt idx="7318">
                  <c:v>0</c:v>
                </c:pt>
                <c:pt idx="7319">
                  <c:v>0</c:v>
                </c:pt>
                <c:pt idx="7320">
                  <c:v>0</c:v>
                </c:pt>
                <c:pt idx="7321">
                  <c:v>0</c:v>
                </c:pt>
                <c:pt idx="7322">
                  <c:v>0</c:v>
                </c:pt>
                <c:pt idx="7323">
                  <c:v>0</c:v>
                </c:pt>
                <c:pt idx="7324">
                  <c:v>0</c:v>
                </c:pt>
                <c:pt idx="7325">
                  <c:v>0</c:v>
                </c:pt>
                <c:pt idx="7326">
                  <c:v>0</c:v>
                </c:pt>
                <c:pt idx="7327">
                  <c:v>0</c:v>
                </c:pt>
                <c:pt idx="7328">
                  <c:v>0</c:v>
                </c:pt>
                <c:pt idx="7329">
                  <c:v>0</c:v>
                </c:pt>
                <c:pt idx="7330">
                  <c:v>0</c:v>
                </c:pt>
                <c:pt idx="7331">
                  <c:v>0</c:v>
                </c:pt>
                <c:pt idx="7332">
                  <c:v>0</c:v>
                </c:pt>
                <c:pt idx="7333">
                  <c:v>0</c:v>
                </c:pt>
                <c:pt idx="7334">
                  <c:v>0</c:v>
                </c:pt>
                <c:pt idx="7335">
                  <c:v>0</c:v>
                </c:pt>
                <c:pt idx="7336">
                  <c:v>0</c:v>
                </c:pt>
                <c:pt idx="7337">
                  <c:v>0</c:v>
                </c:pt>
                <c:pt idx="7338">
                  <c:v>0</c:v>
                </c:pt>
                <c:pt idx="7339">
                  <c:v>0</c:v>
                </c:pt>
                <c:pt idx="7340">
                  <c:v>0</c:v>
                </c:pt>
                <c:pt idx="7341">
                  <c:v>0</c:v>
                </c:pt>
                <c:pt idx="7342">
                  <c:v>0</c:v>
                </c:pt>
                <c:pt idx="7343">
                  <c:v>0</c:v>
                </c:pt>
                <c:pt idx="7344">
                  <c:v>0</c:v>
                </c:pt>
                <c:pt idx="7345">
                  <c:v>0</c:v>
                </c:pt>
                <c:pt idx="7346">
                  <c:v>0</c:v>
                </c:pt>
                <c:pt idx="7347">
                  <c:v>0</c:v>
                </c:pt>
                <c:pt idx="7348">
                  <c:v>0</c:v>
                </c:pt>
                <c:pt idx="7349">
                  <c:v>0</c:v>
                </c:pt>
                <c:pt idx="7350">
                  <c:v>0</c:v>
                </c:pt>
                <c:pt idx="7351">
                  <c:v>0</c:v>
                </c:pt>
                <c:pt idx="7352">
                  <c:v>0</c:v>
                </c:pt>
                <c:pt idx="7353">
                  <c:v>0</c:v>
                </c:pt>
                <c:pt idx="7354">
                  <c:v>0</c:v>
                </c:pt>
                <c:pt idx="7355">
                  <c:v>0</c:v>
                </c:pt>
                <c:pt idx="7356">
                  <c:v>0</c:v>
                </c:pt>
                <c:pt idx="7357">
                  <c:v>0</c:v>
                </c:pt>
                <c:pt idx="7358">
                  <c:v>0</c:v>
                </c:pt>
                <c:pt idx="7359">
                  <c:v>0</c:v>
                </c:pt>
                <c:pt idx="7360">
                  <c:v>0</c:v>
                </c:pt>
                <c:pt idx="7361">
                  <c:v>0</c:v>
                </c:pt>
                <c:pt idx="7362">
                  <c:v>0</c:v>
                </c:pt>
                <c:pt idx="7363">
                  <c:v>0</c:v>
                </c:pt>
                <c:pt idx="7364">
                  <c:v>0</c:v>
                </c:pt>
                <c:pt idx="7365">
                  <c:v>0</c:v>
                </c:pt>
                <c:pt idx="7366">
                  <c:v>0</c:v>
                </c:pt>
                <c:pt idx="7367">
                  <c:v>0</c:v>
                </c:pt>
                <c:pt idx="7368">
                  <c:v>0</c:v>
                </c:pt>
                <c:pt idx="7369">
                  <c:v>0</c:v>
                </c:pt>
                <c:pt idx="7370">
                  <c:v>0</c:v>
                </c:pt>
                <c:pt idx="7371">
                  <c:v>0</c:v>
                </c:pt>
                <c:pt idx="7372">
                  <c:v>0</c:v>
                </c:pt>
                <c:pt idx="7373">
                  <c:v>0</c:v>
                </c:pt>
                <c:pt idx="7374">
                  <c:v>0</c:v>
                </c:pt>
                <c:pt idx="7375">
                  <c:v>0</c:v>
                </c:pt>
                <c:pt idx="7376">
                  <c:v>0</c:v>
                </c:pt>
                <c:pt idx="7377">
                  <c:v>0</c:v>
                </c:pt>
                <c:pt idx="7378">
                  <c:v>0</c:v>
                </c:pt>
                <c:pt idx="7379">
                  <c:v>0</c:v>
                </c:pt>
                <c:pt idx="7380">
                  <c:v>0</c:v>
                </c:pt>
                <c:pt idx="7381">
                  <c:v>0</c:v>
                </c:pt>
                <c:pt idx="7382">
                  <c:v>0</c:v>
                </c:pt>
                <c:pt idx="7383">
                  <c:v>0</c:v>
                </c:pt>
                <c:pt idx="7384">
                  <c:v>0</c:v>
                </c:pt>
                <c:pt idx="7385">
                  <c:v>0</c:v>
                </c:pt>
                <c:pt idx="7386">
                  <c:v>0</c:v>
                </c:pt>
                <c:pt idx="7387">
                  <c:v>0</c:v>
                </c:pt>
                <c:pt idx="7388">
                  <c:v>0</c:v>
                </c:pt>
                <c:pt idx="7389">
                  <c:v>0</c:v>
                </c:pt>
                <c:pt idx="7390">
                  <c:v>0</c:v>
                </c:pt>
                <c:pt idx="7391">
                  <c:v>0</c:v>
                </c:pt>
                <c:pt idx="7392">
                  <c:v>0</c:v>
                </c:pt>
                <c:pt idx="7393">
                  <c:v>0</c:v>
                </c:pt>
                <c:pt idx="7394">
                  <c:v>0</c:v>
                </c:pt>
                <c:pt idx="7395">
                  <c:v>0</c:v>
                </c:pt>
                <c:pt idx="7396">
                  <c:v>0</c:v>
                </c:pt>
                <c:pt idx="7397">
                  <c:v>0</c:v>
                </c:pt>
                <c:pt idx="7398">
                  <c:v>0</c:v>
                </c:pt>
                <c:pt idx="7399">
                  <c:v>0</c:v>
                </c:pt>
                <c:pt idx="7400">
                  <c:v>0</c:v>
                </c:pt>
                <c:pt idx="7401">
                  <c:v>0</c:v>
                </c:pt>
                <c:pt idx="7402">
                  <c:v>0</c:v>
                </c:pt>
                <c:pt idx="7403">
                  <c:v>0</c:v>
                </c:pt>
                <c:pt idx="7404">
                  <c:v>0</c:v>
                </c:pt>
                <c:pt idx="7405">
                  <c:v>0</c:v>
                </c:pt>
                <c:pt idx="7406">
                  <c:v>0</c:v>
                </c:pt>
                <c:pt idx="7407">
                  <c:v>0</c:v>
                </c:pt>
                <c:pt idx="7408">
                  <c:v>0</c:v>
                </c:pt>
                <c:pt idx="7409">
                  <c:v>0</c:v>
                </c:pt>
                <c:pt idx="7410">
                  <c:v>0</c:v>
                </c:pt>
                <c:pt idx="7411">
                  <c:v>0</c:v>
                </c:pt>
                <c:pt idx="7412">
                  <c:v>0</c:v>
                </c:pt>
                <c:pt idx="7413">
                  <c:v>0</c:v>
                </c:pt>
                <c:pt idx="7414">
                  <c:v>0</c:v>
                </c:pt>
                <c:pt idx="7415">
                  <c:v>0</c:v>
                </c:pt>
                <c:pt idx="7416">
                  <c:v>0</c:v>
                </c:pt>
                <c:pt idx="7417">
                  <c:v>0</c:v>
                </c:pt>
                <c:pt idx="7418">
                  <c:v>0</c:v>
                </c:pt>
                <c:pt idx="7419">
                  <c:v>0</c:v>
                </c:pt>
                <c:pt idx="7420">
                  <c:v>0</c:v>
                </c:pt>
                <c:pt idx="7421">
                  <c:v>0</c:v>
                </c:pt>
                <c:pt idx="7422">
                  <c:v>0</c:v>
                </c:pt>
                <c:pt idx="7423">
                  <c:v>0</c:v>
                </c:pt>
                <c:pt idx="7424">
                  <c:v>0</c:v>
                </c:pt>
                <c:pt idx="7425">
                  <c:v>0</c:v>
                </c:pt>
                <c:pt idx="7426">
                  <c:v>0</c:v>
                </c:pt>
                <c:pt idx="7427">
                  <c:v>0</c:v>
                </c:pt>
                <c:pt idx="7428">
                  <c:v>0</c:v>
                </c:pt>
                <c:pt idx="7429">
                  <c:v>0</c:v>
                </c:pt>
                <c:pt idx="7430">
                  <c:v>0</c:v>
                </c:pt>
                <c:pt idx="7431">
                  <c:v>0</c:v>
                </c:pt>
                <c:pt idx="7432">
                  <c:v>0</c:v>
                </c:pt>
                <c:pt idx="7433">
                  <c:v>0</c:v>
                </c:pt>
                <c:pt idx="7434">
                  <c:v>0</c:v>
                </c:pt>
                <c:pt idx="7435">
                  <c:v>0</c:v>
                </c:pt>
                <c:pt idx="7436">
                  <c:v>0</c:v>
                </c:pt>
                <c:pt idx="7437">
                  <c:v>0</c:v>
                </c:pt>
                <c:pt idx="7438">
                  <c:v>0</c:v>
                </c:pt>
                <c:pt idx="7439">
                  <c:v>0</c:v>
                </c:pt>
                <c:pt idx="7440">
                  <c:v>0</c:v>
                </c:pt>
                <c:pt idx="7441">
                  <c:v>0</c:v>
                </c:pt>
                <c:pt idx="7442">
                  <c:v>0</c:v>
                </c:pt>
                <c:pt idx="7443">
                  <c:v>0</c:v>
                </c:pt>
                <c:pt idx="7444">
                  <c:v>0</c:v>
                </c:pt>
                <c:pt idx="7445">
                  <c:v>0</c:v>
                </c:pt>
                <c:pt idx="7446">
                  <c:v>0</c:v>
                </c:pt>
                <c:pt idx="7447">
                  <c:v>0</c:v>
                </c:pt>
                <c:pt idx="7448">
                  <c:v>0</c:v>
                </c:pt>
                <c:pt idx="7449">
                  <c:v>0</c:v>
                </c:pt>
                <c:pt idx="7450">
                  <c:v>0</c:v>
                </c:pt>
                <c:pt idx="7451">
                  <c:v>0</c:v>
                </c:pt>
                <c:pt idx="7452">
                  <c:v>0</c:v>
                </c:pt>
                <c:pt idx="7453">
                  <c:v>0</c:v>
                </c:pt>
                <c:pt idx="7454">
                  <c:v>0</c:v>
                </c:pt>
                <c:pt idx="7455">
                  <c:v>0</c:v>
                </c:pt>
                <c:pt idx="7456">
                  <c:v>0</c:v>
                </c:pt>
                <c:pt idx="7457">
                  <c:v>0</c:v>
                </c:pt>
                <c:pt idx="7458">
                  <c:v>0</c:v>
                </c:pt>
                <c:pt idx="7459">
                  <c:v>0</c:v>
                </c:pt>
                <c:pt idx="7460">
                  <c:v>0</c:v>
                </c:pt>
                <c:pt idx="7461">
                  <c:v>0</c:v>
                </c:pt>
                <c:pt idx="7462">
                  <c:v>0</c:v>
                </c:pt>
                <c:pt idx="7463">
                  <c:v>0</c:v>
                </c:pt>
                <c:pt idx="7464">
                  <c:v>0</c:v>
                </c:pt>
                <c:pt idx="7465">
                  <c:v>0</c:v>
                </c:pt>
                <c:pt idx="7466">
                  <c:v>0</c:v>
                </c:pt>
                <c:pt idx="7467">
                  <c:v>0</c:v>
                </c:pt>
                <c:pt idx="7468">
                  <c:v>0</c:v>
                </c:pt>
                <c:pt idx="7469">
                  <c:v>0</c:v>
                </c:pt>
                <c:pt idx="7470">
                  <c:v>0</c:v>
                </c:pt>
                <c:pt idx="7471">
                  <c:v>0</c:v>
                </c:pt>
                <c:pt idx="7472">
                  <c:v>0</c:v>
                </c:pt>
                <c:pt idx="7473">
                  <c:v>0</c:v>
                </c:pt>
                <c:pt idx="7474">
                  <c:v>0</c:v>
                </c:pt>
                <c:pt idx="7475">
                  <c:v>0</c:v>
                </c:pt>
                <c:pt idx="7476">
                  <c:v>0</c:v>
                </c:pt>
                <c:pt idx="7477">
                  <c:v>0</c:v>
                </c:pt>
                <c:pt idx="7478">
                  <c:v>0</c:v>
                </c:pt>
                <c:pt idx="7479">
                  <c:v>0</c:v>
                </c:pt>
                <c:pt idx="7480">
                  <c:v>0</c:v>
                </c:pt>
                <c:pt idx="7481">
                  <c:v>0</c:v>
                </c:pt>
                <c:pt idx="7482">
                  <c:v>0</c:v>
                </c:pt>
                <c:pt idx="7483">
                  <c:v>0</c:v>
                </c:pt>
                <c:pt idx="7484">
                  <c:v>0</c:v>
                </c:pt>
                <c:pt idx="7485">
                  <c:v>0</c:v>
                </c:pt>
                <c:pt idx="7486">
                  <c:v>0</c:v>
                </c:pt>
                <c:pt idx="7487">
                  <c:v>0</c:v>
                </c:pt>
                <c:pt idx="7488">
                  <c:v>0</c:v>
                </c:pt>
                <c:pt idx="7489">
                  <c:v>0</c:v>
                </c:pt>
                <c:pt idx="7490">
                  <c:v>0</c:v>
                </c:pt>
                <c:pt idx="7491">
                  <c:v>0</c:v>
                </c:pt>
                <c:pt idx="7492">
                  <c:v>0</c:v>
                </c:pt>
                <c:pt idx="7493">
                  <c:v>0</c:v>
                </c:pt>
                <c:pt idx="7494">
                  <c:v>0</c:v>
                </c:pt>
                <c:pt idx="7495">
                  <c:v>0</c:v>
                </c:pt>
                <c:pt idx="7496">
                  <c:v>0</c:v>
                </c:pt>
                <c:pt idx="7497">
                  <c:v>0</c:v>
                </c:pt>
                <c:pt idx="7498">
                  <c:v>0</c:v>
                </c:pt>
                <c:pt idx="7499">
                  <c:v>0</c:v>
                </c:pt>
                <c:pt idx="7500">
                  <c:v>0</c:v>
                </c:pt>
                <c:pt idx="7501">
                  <c:v>0</c:v>
                </c:pt>
                <c:pt idx="7502">
                  <c:v>0</c:v>
                </c:pt>
                <c:pt idx="7503">
                  <c:v>0</c:v>
                </c:pt>
                <c:pt idx="7504">
                  <c:v>0</c:v>
                </c:pt>
                <c:pt idx="7505">
                  <c:v>0</c:v>
                </c:pt>
                <c:pt idx="7506">
                  <c:v>0</c:v>
                </c:pt>
                <c:pt idx="7507">
                  <c:v>0</c:v>
                </c:pt>
                <c:pt idx="7508">
                  <c:v>0</c:v>
                </c:pt>
                <c:pt idx="7509">
                  <c:v>0</c:v>
                </c:pt>
                <c:pt idx="7510">
                  <c:v>0</c:v>
                </c:pt>
                <c:pt idx="7511">
                  <c:v>0</c:v>
                </c:pt>
                <c:pt idx="7512">
                  <c:v>0</c:v>
                </c:pt>
                <c:pt idx="7513">
                  <c:v>0</c:v>
                </c:pt>
                <c:pt idx="7514">
                  <c:v>0</c:v>
                </c:pt>
                <c:pt idx="7515">
                  <c:v>0</c:v>
                </c:pt>
                <c:pt idx="7516">
                  <c:v>0</c:v>
                </c:pt>
                <c:pt idx="7517">
                  <c:v>0</c:v>
                </c:pt>
                <c:pt idx="7518">
                  <c:v>0</c:v>
                </c:pt>
                <c:pt idx="7519">
                  <c:v>0</c:v>
                </c:pt>
                <c:pt idx="7520">
                  <c:v>0</c:v>
                </c:pt>
                <c:pt idx="7521">
                  <c:v>0</c:v>
                </c:pt>
                <c:pt idx="7522">
                  <c:v>0</c:v>
                </c:pt>
                <c:pt idx="7523">
                  <c:v>0</c:v>
                </c:pt>
                <c:pt idx="7524">
                  <c:v>0</c:v>
                </c:pt>
                <c:pt idx="7525">
                  <c:v>0</c:v>
                </c:pt>
                <c:pt idx="7526">
                  <c:v>0</c:v>
                </c:pt>
                <c:pt idx="7527">
                  <c:v>0</c:v>
                </c:pt>
                <c:pt idx="7528">
                  <c:v>0</c:v>
                </c:pt>
                <c:pt idx="7529">
                  <c:v>0</c:v>
                </c:pt>
                <c:pt idx="7530">
                  <c:v>0</c:v>
                </c:pt>
                <c:pt idx="7531">
                  <c:v>0</c:v>
                </c:pt>
                <c:pt idx="7532">
                  <c:v>0</c:v>
                </c:pt>
                <c:pt idx="7533">
                  <c:v>0</c:v>
                </c:pt>
                <c:pt idx="7534">
                  <c:v>0</c:v>
                </c:pt>
                <c:pt idx="7535">
                  <c:v>0</c:v>
                </c:pt>
                <c:pt idx="7536">
                  <c:v>0</c:v>
                </c:pt>
                <c:pt idx="7537">
                  <c:v>0</c:v>
                </c:pt>
                <c:pt idx="7538">
                  <c:v>0</c:v>
                </c:pt>
                <c:pt idx="7539">
                  <c:v>0</c:v>
                </c:pt>
                <c:pt idx="7540">
                  <c:v>0</c:v>
                </c:pt>
                <c:pt idx="7541">
                  <c:v>0</c:v>
                </c:pt>
                <c:pt idx="7542">
                  <c:v>0</c:v>
                </c:pt>
                <c:pt idx="7543">
                  <c:v>0</c:v>
                </c:pt>
                <c:pt idx="7544">
                  <c:v>0</c:v>
                </c:pt>
                <c:pt idx="7545">
                  <c:v>0</c:v>
                </c:pt>
                <c:pt idx="7546">
                  <c:v>0</c:v>
                </c:pt>
                <c:pt idx="7547">
                  <c:v>0</c:v>
                </c:pt>
                <c:pt idx="7548">
                  <c:v>0</c:v>
                </c:pt>
                <c:pt idx="7549">
                  <c:v>0</c:v>
                </c:pt>
                <c:pt idx="7550">
                  <c:v>0</c:v>
                </c:pt>
                <c:pt idx="7551">
                  <c:v>0</c:v>
                </c:pt>
                <c:pt idx="7552">
                  <c:v>0</c:v>
                </c:pt>
                <c:pt idx="7553">
                  <c:v>0</c:v>
                </c:pt>
                <c:pt idx="7554">
                  <c:v>0</c:v>
                </c:pt>
                <c:pt idx="7555">
                  <c:v>0</c:v>
                </c:pt>
                <c:pt idx="7556">
                  <c:v>0</c:v>
                </c:pt>
                <c:pt idx="7557">
                  <c:v>0</c:v>
                </c:pt>
                <c:pt idx="7558">
                  <c:v>0</c:v>
                </c:pt>
                <c:pt idx="7559">
                  <c:v>0</c:v>
                </c:pt>
                <c:pt idx="7560">
                  <c:v>0</c:v>
                </c:pt>
                <c:pt idx="7561">
                  <c:v>0</c:v>
                </c:pt>
                <c:pt idx="7562">
                  <c:v>0</c:v>
                </c:pt>
                <c:pt idx="7563">
                  <c:v>0</c:v>
                </c:pt>
                <c:pt idx="7564">
                  <c:v>0</c:v>
                </c:pt>
                <c:pt idx="7565">
                  <c:v>0</c:v>
                </c:pt>
                <c:pt idx="7566">
                  <c:v>0</c:v>
                </c:pt>
                <c:pt idx="7567">
                  <c:v>0</c:v>
                </c:pt>
                <c:pt idx="7568">
                  <c:v>0</c:v>
                </c:pt>
                <c:pt idx="7569">
                  <c:v>0</c:v>
                </c:pt>
                <c:pt idx="7570">
                  <c:v>0</c:v>
                </c:pt>
                <c:pt idx="7571">
                  <c:v>0</c:v>
                </c:pt>
                <c:pt idx="7572">
                  <c:v>0</c:v>
                </c:pt>
                <c:pt idx="7573">
                  <c:v>0</c:v>
                </c:pt>
                <c:pt idx="7574">
                  <c:v>0</c:v>
                </c:pt>
                <c:pt idx="7575">
                  <c:v>0</c:v>
                </c:pt>
                <c:pt idx="7576">
                  <c:v>0</c:v>
                </c:pt>
                <c:pt idx="7577">
                  <c:v>0</c:v>
                </c:pt>
                <c:pt idx="7578">
                  <c:v>0</c:v>
                </c:pt>
                <c:pt idx="7579">
                  <c:v>0</c:v>
                </c:pt>
                <c:pt idx="7580">
                  <c:v>0</c:v>
                </c:pt>
                <c:pt idx="7581">
                  <c:v>0</c:v>
                </c:pt>
                <c:pt idx="7582">
                  <c:v>0</c:v>
                </c:pt>
                <c:pt idx="7583">
                  <c:v>0</c:v>
                </c:pt>
                <c:pt idx="7584">
                  <c:v>0</c:v>
                </c:pt>
                <c:pt idx="7585">
                  <c:v>0</c:v>
                </c:pt>
                <c:pt idx="7586">
                  <c:v>0</c:v>
                </c:pt>
                <c:pt idx="7587">
                  <c:v>0</c:v>
                </c:pt>
                <c:pt idx="7588">
                  <c:v>0</c:v>
                </c:pt>
                <c:pt idx="7589">
                  <c:v>0</c:v>
                </c:pt>
                <c:pt idx="7590">
                  <c:v>0</c:v>
                </c:pt>
                <c:pt idx="7591">
                  <c:v>0</c:v>
                </c:pt>
                <c:pt idx="7592">
                  <c:v>0</c:v>
                </c:pt>
                <c:pt idx="7593">
                  <c:v>0</c:v>
                </c:pt>
                <c:pt idx="7594">
                  <c:v>0</c:v>
                </c:pt>
                <c:pt idx="7595">
                  <c:v>0</c:v>
                </c:pt>
                <c:pt idx="7596">
                  <c:v>0</c:v>
                </c:pt>
                <c:pt idx="7597">
                  <c:v>0</c:v>
                </c:pt>
                <c:pt idx="7598">
                  <c:v>0</c:v>
                </c:pt>
                <c:pt idx="7599">
                  <c:v>0</c:v>
                </c:pt>
                <c:pt idx="7600">
                  <c:v>0</c:v>
                </c:pt>
                <c:pt idx="7601">
                  <c:v>0</c:v>
                </c:pt>
                <c:pt idx="7602">
                  <c:v>0</c:v>
                </c:pt>
                <c:pt idx="7603">
                  <c:v>0</c:v>
                </c:pt>
                <c:pt idx="7604">
                  <c:v>0</c:v>
                </c:pt>
                <c:pt idx="7605">
                  <c:v>0</c:v>
                </c:pt>
                <c:pt idx="7606">
                  <c:v>0</c:v>
                </c:pt>
                <c:pt idx="7607">
                  <c:v>0</c:v>
                </c:pt>
                <c:pt idx="7608">
                  <c:v>0</c:v>
                </c:pt>
                <c:pt idx="7609">
                  <c:v>0</c:v>
                </c:pt>
                <c:pt idx="7610">
                  <c:v>0</c:v>
                </c:pt>
                <c:pt idx="7611">
                  <c:v>0</c:v>
                </c:pt>
                <c:pt idx="7612">
                  <c:v>0</c:v>
                </c:pt>
                <c:pt idx="7613">
                  <c:v>0</c:v>
                </c:pt>
                <c:pt idx="7614">
                  <c:v>0</c:v>
                </c:pt>
                <c:pt idx="7615">
                  <c:v>0</c:v>
                </c:pt>
                <c:pt idx="7616">
                  <c:v>0</c:v>
                </c:pt>
                <c:pt idx="7617">
                  <c:v>0</c:v>
                </c:pt>
                <c:pt idx="7618">
                  <c:v>0</c:v>
                </c:pt>
                <c:pt idx="7619">
                  <c:v>0</c:v>
                </c:pt>
                <c:pt idx="7620">
                  <c:v>0</c:v>
                </c:pt>
                <c:pt idx="7621">
                  <c:v>0</c:v>
                </c:pt>
                <c:pt idx="7622">
                  <c:v>0</c:v>
                </c:pt>
                <c:pt idx="7623">
                  <c:v>0</c:v>
                </c:pt>
                <c:pt idx="7624">
                  <c:v>0</c:v>
                </c:pt>
                <c:pt idx="7625">
                  <c:v>0</c:v>
                </c:pt>
                <c:pt idx="7626">
                  <c:v>0</c:v>
                </c:pt>
                <c:pt idx="7627">
                  <c:v>0</c:v>
                </c:pt>
                <c:pt idx="7628">
                  <c:v>0</c:v>
                </c:pt>
                <c:pt idx="7629">
                  <c:v>0</c:v>
                </c:pt>
                <c:pt idx="7630">
                  <c:v>0</c:v>
                </c:pt>
                <c:pt idx="7631">
                  <c:v>0</c:v>
                </c:pt>
                <c:pt idx="7632">
                  <c:v>0</c:v>
                </c:pt>
                <c:pt idx="7633">
                  <c:v>0</c:v>
                </c:pt>
                <c:pt idx="7634">
                  <c:v>0</c:v>
                </c:pt>
                <c:pt idx="7635">
                  <c:v>0</c:v>
                </c:pt>
                <c:pt idx="7636">
                  <c:v>0</c:v>
                </c:pt>
                <c:pt idx="7637">
                  <c:v>0</c:v>
                </c:pt>
                <c:pt idx="7638">
                  <c:v>0</c:v>
                </c:pt>
                <c:pt idx="7639">
                  <c:v>0</c:v>
                </c:pt>
                <c:pt idx="7640">
                  <c:v>0</c:v>
                </c:pt>
                <c:pt idx="7641">
                  <c:v>0</c:v>
                </c:pt>
                <c:pt idx="7642">
                  <c:v>0</c:v>
                </c:pt>
                <c:pt idx="7643">
                  <c:v>0</c:v>
                </c:pt>
                <c:pt idx="7644">
                  <c:v>0</c:v>
                </c:pt>
                <c:pt idx="7645">
                  <c:v>0</c:v>
                </c:pt>
                <c:pt idx="7646">
                  <c:v>0</c:v>
                </c:pt>
                <c:pt idx="7647">
                  <c:v>0</c:v>
                </c:pt>
                <c:pt idx="7648">
                  <c:v>0</c:v>
                </c:pt>
                <c:pt idx="7649">
                  <c:v>0</c:v>
                </c:pt>
                <c:pt idx="7650">
                  <c:v>0</c:v>
                </c:pt>
                <c:pt idx="7651">
                  <c:v>0</c:v>
                </c:pt>
                <c:pt idx="7652">
                  <c:v>0</c:v>
                </c:pt>
                <c:pt idx="7653">
                  <c:v>0</c:v>
                </c:pt>
                <c:pt idx="7654">
                  <c:v>0</c:v>
                </c:pt>
                <c:pt idx="7655">
                  <c:v>0</c:v>
                </c:pt>
                <c:pt idx="7656">
                  <c:v>0</c:v>
                </c:pt>
                <c:pt idx="7657">
                  <c:v>0</c:v>
                </c:pt>
                <c:pt idx="7658">
                  <c:v>0</c:v>
                </c:pt>
                <c:pt idx="7659">
                  <c:v>0</c:v>
                </c:pt>
                <c:pt idx="7660">
                  <c:v>0</c:v>
                </c:pt>
                <c:pt idx="7661">
                  <c:v>0</c:v>
                </c:pt>
                <c:pt idx="7662">
                  <c:v>0</c:v>
                </c:pt>
                <c:pt idx="7663">
                  <c:v>0</c:v>
                </c:pt>
                <c:pt idx="7664">
                  <c:v>0</c:v>
                </c:pt>
                <c:pt idx="7665">
                  <c:v>0</c:v>
                </c:pt>
                <c:pt idx="7666">
                  <c:v>0</c:v>
                </c:pt>
                <c:pt idx="7667">
                  <c:v>0</c:v>
                </c:pt>
                <c:pt idx="7668">
                  <c:v>0</c:v>
                </c:pt>
                <c:pt idx="7669">
                  <c:v>0</c:v>
                </c:pt>
                <c:pt idx="7670">
                  <c:v>0</c:v>
                </c:pt>
                <c:pt idx="7671">
                  <c:v>0</c:v>
                </c:pt>
                <c:pt idx="7672">
                  <c:v>0</c:v>
                </c:pt>
                <c:pt idx="7673">
                  <c:v>0</c:v>
                </c:pt>
                <c:pt idx="7674">
                  <c:v>0</c:v>
                </c:pt>
                <c:pt idx="7675">
                  <c:v>0</c:v>
                </c:pt>
                <c:pt idx="7676">
                  <c:v>0</c:v>
                </c:pt>
                <c:pt idx="7677">
                  <c:v>0</c:v>
                </c:pt>
                <c:pt idx="7678">
                  <c:v>0</c:v>
                </c:pt>
                <c:pt idx="7679">
                  <c:v>0</c:v>
                </c:pt>
                <c:pt idx="7680">
                  <c:v>0</c:v>
                </c:pt>
                <c:pt idx="7681">
                  <c:v>0</c:v>
                </c:pt>
                <c:pt idx="7682">
                  <c:v>0</c:v>
                </c:pt>
                <c:pt idx="7683">
                  <c:v>0</c:v>
                </c:pt>
                <c:pt idx="7684">
                  <c:v>0</c:v>
                </c:pt>
                <c:pt idx="7685">
                  <c:v>0</c:v>
                </c:pt>
                <c:pt idx="7686">
                  <c:v>0</c:v>
                </c:pt>
                <c:pt idx="7687">
                  <c:v>0</c:v>
                </c:pt>
                <c:pt idx="7688">
                  <c:v>0</c:v>
                </c:pt>
                <c:pt idx="7689">
                  <c:v>0</c:v>
                </c:pt>
                <c:pt idx="7690">
                  <c:v>0</c:v>
                </c:pt>
                <c:pt idx="7691">
                  <c:v>0</c:v>
                </c:pt>
                <c:pt idx="7692">
                  <c:v>0</c:v>
                </c:pt>
                <c:pt idx="7693">
                  <c:v>0</c:v>
                </c:pt>
                <c:pt idx="7694">
                  <c:v>0</c:v>
                </c:pt>
                <c:pt idx="7695">
                  <c:v>0</c:v>
                </c:pt>
                <c:pt idx="7696">
                  <c:v>0</c:v>
                </c:pt>
                <c:pt idx="7697">
                  <c:v>0</c:v>
                </c:pt>
                <c:pt idx="7698">
                  <c:v>0</c:v>
                </c:pt>
                <c:pt idx="7699">
                  <c:v>0</c:v>
                </c:pt>
                <c:pt idx="7700">
                  <c:v>0</c:v>
                </c:pt>
                <c:pt idx="7701">
                  <c:v>0</c:v>
                </c:pt>
                <c:pt idx="7702">
                  <c:v>0</c:v>
                </c:pt>
                <c:pt idx="7703">
                  <c:v>0</c:v>
                </c:pt>
                <c:pt idx="7704">
                  <c:v>0</c:v>
                </c:pt>
                <c:pt idx="7705">
                  <c:v>0</c:v>
                </c:pt>
                <c:pt idx="7706">
                  <c:v>0</c:v>
                </c:pt>
                <c:pt idx="7707">
                  <c:v>0</c:v>
                </c:pt>
                <c:pt idx="7708">
                  <c:v>0</c:v>
                </c:pt>
                <c:pt idx="7709">
                  <c:v>0</c:v>
                </c:pt>
                <c:pt idx="7710">
                  <c:v>0</c:v>
                </c:pt>
                <c:pt idx="7711">
                  <c:v>0</c:v>
                </c:pt>
                <c:pt idx="7712">
                  <c:v>0</c:v>
                </c:pt>
                <c:pt idx="7713">
                  <c:v>0</c:v>
                </c:pt>
                <c:pt idx="7714">
                  <c:v>0</c:v>
                </c:pt>
                <c:pt idx="7715">
                  <c:v>0</c:v>
                </c:pt>
                <c:pt idx="7716">
                  <c:v>0</c:v>
                </c:pt>
                <c:pt idx="7717">
                  <c:v>0</c:v>
                </c:pt>
                <c:pt idx="7718">
                  <c:v>0</c:v>
                </c:pt>
                <c:pt idx="7719">
                  <c:v>0</c:v>
                </c:pt>
                <c:pt idx="7720">
                  <c:v>0</c:v>
                </c:pt>
                <c:pt idx="7721">
                  <c:v>0</c:v>
                </c:pt>
                <c:pt idx="7722">
                  <c:v>0</c:v>
                </c:pt>
                <c:pt idx="7723">
                  <c:v>0</c:v>
                </c:pt>
                <c:pt idx="7724">
                  <c:v>0</c:v>
                </c:pt>
                <c:pt idx="7725">
                  <c:v>0</c:v>
                </c:pt>
                <c:pt idx="7726">
                  <c:v>0</c:v>
                </c:pt>
                <c:pt idx="7727">
                  <c:v>0</c:v>
                </c:pt>
                <c:pt idx="7728">
                  <c:v>0</c:v>
                </c:pt>
                <c:pt idx="7729">
                  <c:v>0</c:v>
                </c:pt>
                <c:pt idx="7730">
                  <c:v>0</c:v>
                </c:pt>
                <c:pt idx="7731">
                  <c:v>0</c:v>
                </c:pt>
                <c:pt idx="7732">
                  <c:v>0</c:v>
                </c:pt>
                <c:pt idx="7733">
                  <c:v>0</c:v>
                </c:pt>
                <c:pt idx="7734">
                  <c:v>0</c:v>
                </c:pt>
                <c:pt idx="7735">
                  <c:v>0</c:v>
                </c:pt>
                <c:pt idx="7736">
                  <c:v>0</c:v>
                </c:pt>
                <c:pt idx="7737">
                  <c:v>0</c:v>
                </c:pt>
                <c:pt idx="7738">
                  <c:v>0</c:v>
                </c:pt>
                <c:pt idx="7739">
                  <c:v>0</c:v>
                </c:pt>
                <c:pt idx="7740">
                  <c:v>0</c:v>
                </c:pt>
                <c:pt idx="7741">
                  <c:v>0</c:v>
                </c:pt>
                <c:pt idx="7742">
                  <c:v>0</c:v>
                </c:pt>
                <c:pt idx="7743">
                  <c:v>0</c:v>
                </c:pt>
                <c:pt idx="7744">
                  <c:v>0</c:v>
                </c:pt>
                <c:pt idx="7745">
                  <c:v>0</c:v>
                </c:pt>
                <c:pt idx="7746">
                  <c:v>0</c:v>
                </c:pt>
                <c:pt idx="7747">
                  <c:v>0</c:v>
                </c:pt>
                <c:pt idx="7748">
                  <c:v>0</c:v>
                </c:pt>
                <c:pt idx="7749">
                  <c:v>0</c:v>
                </c:pt>
                <c:pt idx="7750">
                  <c:v>0</c:v>
                </c:pt>
                <c:pt idx="7751">
                  <c:v>0</c:v>
                </c:pt>
                <c:pt idx="7752">
                  <c:v>0</c:v>
                </c:pt>
                <c:pt idx="7753">
                  <c:v>0</c:v>
                </c:pt>
                <c:pt idx="7754">
                  <c:v>0</c:v>
                </c:pt>
                <c:pt idx="7755">
                  <c:v>0</c:v>
                </c:pt>
                <c:pt idx="7756">
                  <c:v>0</c:v>
                </c:pt>
                <c:pt idx="7757">
                  <c:v>0</c:v>
                </c:pt>
                <c:pt idx="7758">
                  <c:v>0</c:v>
                </c:pt>
                <c:pt idx="7759">
                  <c:v>0</c:v>
                </c:pt>
                <c:pt idx="7760">
                  <c:v>0</c:v>
                </c:pt>
                <c:pt idx="7761">
                  <c:v>0</c:v>
                </c:pt>
                <c:pt idx="7762">
                  <c:v>0</c:v>
                </c:pt>
                <c:pt idx="7763">
                  <c:v>0</c:v>
                </c:pt>
                <c:pt idx="7764">
                  <c:v>0</c:v>
                </c:pt>
                <c:pt idx="7765">
                  <c:v>0</c:v>
                </c:pt>
                <c:pt idx="7766">
                  <c:v>0</c:v>
                </c:pt>
                <c:pt idx="7767">
                  <c:v>0</c:v>
                </c:pt>
                <c:pt idx="7768">
                  <c:v>0</c:v>
                </c:pt>
                <c:pt idx="7769">
                  <c:v>0</c:v>
                </c:pt>
                <c:pt idx="7770">
                  <c:v>0</c:v>
                </c:pt>
                <c:pt idx="7771">
                  <c:v>0</c:v>
                </c:pt>
                <c:pt idx="7772">
                  <c:v>0</c:v>
                </c:pt>
                <c:pt idx="7773">
                  <c:v>0</c:v>
                </c:pt>
                <c:pt idx="7774">
                  <c:v>0</c:v>
                </c:pt>
                <c:pt idx="7775">
                  <c:v>0</c:v>
                </c:pt>
                <c:pt idx="7776">
                  <c:v>0</c:v>
                </c:pt>
                <c:pt idx="7777">
                  <c:v>0</c:v>
                </c:pt>
                <c:pt idx="7778">
                  <c:v>0</c:v>
                </c:pt>
                <c:pt idx="7779">
                  <c:v>0</c:v>
                </c:pt>
                <c:pt idx="7780">
                  <c:v>0</c:v>
                </c:pt>
                <c:pt idx="7781">
                  <c:v>0</c:v>
                </c:pt>
                <c:pt idx="7782">
                  <c:v>0</c:v>
                </c:pt>
                <c:pt idx="7783">
                  <c:v>0</c:v>
                </c:pt>
                <c:pt idx="7784">
                  <c:v>0</c:v>
                </c:pt>
                <c:pt idx="7785">
                  <c:v>0</c:v>
                </c:pt>
                <c:pt idx="7786">
                  <c:v>0</c:v>
                </c:pt>
                <c:pt idx="7787">
                  <c:v>0</c:v>
                </c:pt>
                <c:pt idx="7788">
                  <c:v>0</c:v>
                </c:pt>
                <c:pt idx="7789">
                  <c:v>0</c:v>
                </c:pt>
                <c:pt idx="7790">
                  <c:v>0</c:v>
                </c:pt>
                <c:pt idx="7791">
                  <c:v>0</c:v>
                </c:pt>
                <c:pt idx="7792">
                  <c:v>0</c:v>
                </c:pt>
                <c:pt idx="7793">
                  <c:v>0</c:v>
                </c:pt>
                <c:pt idx="7794">
                  <c:v>0</c:v>
                </c:pt>
                <c:pt idx="7795">
                  <c:v>0</c:v>
                </c:pt>
                <c:pt idx="7796">
                  <c:v>0</c:v>
                </c:pt>
                <c:pt idx="7797">
                  <c:v>0</c:v>
                </c:pt>
                <c:pt idx="7798">
                  <c:v>0</c:v>
                </c:pt>
                <c:pt idx="7799">
                  <c:v>0</c:v>
                </c:pt>
                <c:pt idx="7800">
                  <c:v>0</c:v>
                </c:pt>
                <c:pt idx="7801">
                  <c:v>0</c:v>
                </c:pt>
                <c:pt idx="7802">
                  <c:v>0</c:v>
                </c:pt>
                <c:pt idx="7803">
                  <c:v>0</c:v>
                </c:pt>
                <c:pt idx="7804">
                  <c:v>0</c:v>
                </c:pt>
                <c:pt idx="7805">
                  <c:v>0</c:v>
                </c:pt>
                <c:pt idx="7806">
                  <c:v>0</c:v>
                </c:pt>
                <c:pt idx="7807">
                  <c:v>0</c:v>
                </c:pt>
                <c:pt idx="7808">
                  <c:v>0</c:v>
                </c:pt>
                <c:pt idx="7809">
                  <c:v>0</c:v>
                </c:pt>
                <c:pt idx="7810">
                  <c:v>0</c:v>
                </c:pt>
                <c:pt idx="7811">
                  <c:v>0</c:v>
                </c:pt>
                <c:pt idx="7812">
                  <c:v>0</c:v>
                </c:pt>
                <c:pt idx="7813">
                  <c:v>0</c:v>
                </c:pt>
                <c:pt idx="7814">
                  <c:v>0</c:v>
                </c:pt>
                <c:pt idx="7815">
                  <c:v>0</c:v>
                </c:pt>
                <c:pt idx="7816">
                  <c:v>0</c:v>
                </c:pt>
                <c:pt idx="7817">
                  <c:v>0</c:v>
                </c:pt>
                <c:pt idx="7818">
                  <c:v>0</c:v>
                </c:pt>
                <c:pt idx="7819">
                  <c:v>0</c:v>
                </c:pt>
                <c:pt idx="7820">
                  <c:v>0</c:v>
                </c:pt>
                <c:pt idx="7821">
                  <c:v>0</c:v>
                </c:pt>
                <c:pt idx="7822">
                  <c:v>0</c:v>
                </c:pt>
                <c:pt idx="7823">
                  <c:v>0</c:v>
                </c:pt>
                <c:pt idx="7824">
                  <c:v>0</c:v>
                </c:pt>
                <c:pt idx="7825">
                  <c:v>0</c:v>
                </c:pt>
                <c:pt idx="7826">
                  <c:v>0</c:v>
                </c:pt>
                <c:pt idx="7827">
                  <c:v>0</c:v>
                </c:pt>
                <c:pt idx="7828">
                  <c:v>0</c:v>
                </c:pt>
                <c:pt idx="7829">
                  <c:v>0</c:v>
                </c:pt>
                <c:pt idx="7830">
                  <c:v>0</c:v>
                </c:pt>
                <c:pt idx="7831">
                  <c:v>0</c:v>
                </c:pt>
                <c:pt idx="7832">
                  <c:v>0</c:v>
                </c:pt>
                <c:pt idx="7833">
                  <c:v>0</c:v>
                </c:pt>
                <c:pt idx="7834">
                  <c:v>0</c:v>
                </c:pt>
                <c:pt idx="7835">
                  <c:v>0</c:v>
                </c:pt>
                <c:pt idx="7836">
                  <c:v>0</c:v>
                </c:pt>
                <c:pt idx="7837">
                  <c:v>0</c:v>
                </c:pt>
                <c:pt idx="7838">
                  <c:v>0</c:v>
                </c:pt>
                <c:pt idx="7839">
                  <c:v>0</c:v>
                </c:pt>
                <c:pt idx="7840">
                  <c:v>0</c:v>
                </c:pt>
                <c:pt idx="7841">
                  <c:v>0</c:v>
                </c:pt>
                <c:pt idx="7842">
                  <c:v>0</c:v>
                </c:pt>
                <c:pt idx="7843">
                  <c:v>0</c:v>
                </c:pt>
                <c:pt idx="7844">
                  <c:v>0</c:v>
                </c:pt>
                <c:pt idx="7845">
                  <c:v>0</c:v>
                </c:pt>
                <c:pt idx="7846">
                  <c:v>0</c:v>
                </c:pt>
                <c:pt idx="7847">
                  <c:v>0</c:v>
                </c:pt>
                <c:pt idx="7848">
                  <c:v>0</c:v>
                </c:pt>
                <c:pt idx="7849">
                  <c:v>0</c:v>
                </c:pt>
                <c:pt idx="7850">
                  <c:v>0</c:v>
                </c:pt>
                <c:pt idx="7851">
                  <c:v>0</c:v>
                </c:pt>
                <c:pt idx="7852">
                  <c:v>0</c:v>
                </c:pt>
                <c:pt idx="7853">
                  <c:v>0</c:v>
                </c:pt>
                <c:pt idx="7854">
                  <c:v>0</c:v>
                </c:pt>
                <c:pt idx="7855">
                  <c:v>0</c:v>
                </c:pt>
                <c:pt idx="7856">
                  <c:v>0</c:v>
                </c:pt>
                <c:pt idx="7857">
                  <c:v>0</c:v>
                </c:pt>
                <c:pt idx="7858">
                  <c:v>0</c:v>
                </c:pt>
                <c:pt idx="7859">
                  <c:v>0</c:v>
                </c:pt>
                <c:pt idx="7860">
                  <c:v>0</c:v>
                </c:pt>
                <c:pt idx="7861">
                  <c:v>0</c:v>
                </c:pt>
                <c:pt idx="7862">
                  <c:v>0</c:v>
                </c:pt>
                <c:pt idx="7863">
                  <c:v>0</c:v>
                </c:pt>
                <c:pt idx="7864">
                  <c:v>0</c:v>
                </c:pt>
                <c:pt idx="7865">
                  <c:v>0</c:v>
                </c:pt>
                <c:pt idx="7866">
                  <c:v>0</c:v>
                </c:pt>
                <c:pt idx="7867">
                  <c:v>0</c:v>
                </c:pt>
                <c:pt idx="7868">
                  <c:v>0</c:v>
                </c:pt>
                <c:pt idx="7869">
                  <c:v>0</c:v>
                </c:pt>
                <c:pt idx="7870">
                  <c:v>0</c:v>
                </c:pt>
                <c:pt idx="7871">
                  <c:v>0</c:v>
                </c:pt>
                <c:pt idx="7872">
                  <c:v>0</c:v>
                </c:pt>
                <c:pt idx="7873">
                  <c:v>0</c:v>
                </c:pt>
                <c:pt idx="7874">
                  <c:v>0</c:v>
                </c:pt>
                <c:pt idx="7875">
                  <c:v>0</c:v>
                </c:pt>
                <c:pt idx="7876">
                  <c:v>0</c:v>
                </c:pt>
                <c:pt idx="7877">
                  <c:v>0</c:v>
                </c:pt>
                <c:pt idx="7878">
                  <c:v>0</c:v>
                </c:pt>
                <c:pt idx="7879">
                  <c:v>0</c:v>
                </c:pt>
                <c:pt idx="7880">
                  <c:v>0</c:v>
                </c:pt>
                <c:pt idx="7881">
                  <c:v>0</c:v>
                </c:pt>
                <c:pt idx="7882">
                  <c:v>0</c:v>
                </c:pt>
                <c:pt idx="7883">
                  <c:v>0</c:v>
                </c:pt>
                <c:pt idx="7884">
                  <c:v>0</c:v>
                </c:pt>
                <c:pt idx="7885">
                  <c:v>0</c:v>
                </c:pt>
                <c:pt idx="7886">
                  <c:v>0</c:v>
                </c:pt>
                <c:pt idx="7887">
                  <c:v>0</c:v>
                </c:pt>
                <c:pt idx="7888">
                  <c:v>0</c:v>
                </c:pt>
                <c:pt idx="7889">
                  <c:v>0</c:v>
                </c:pt>
                <c:pt idx="7890">
                  <c:v>0</c:v>
                </c:pt>
                <c:pt idx="7891">
                  <c:v>0</c:v>
                </c:pt>
                <c:pt idx="7892">
                  <c:v>0</c:v>
                </c:pt>
                <c:pt idx="7893">
                  <c:v>0</c:v>
                </c:pt>
                <c:pt idx="7894">
                  <c:v>0</c:v>
                </c:pt>
                <c:pt idx="7895">
                  <c:v>0</c:v>
                </c:pt>
                <c:pt idx="7896">
                  <c:v>0</c:v>
                </c:pt>
                <c:pt idx="7897">
                  <c:v>0</c:v>
                </c:pt>
                <c:pt idx="7898">
                  <c:v>0</c:v>
                </c:pt>
                <c:pt idx="7899">
                  <c:v>0</c:v>
                </c:pt>
                <c:pt idx="7900">
                  <c:v>0</c:v>
                </c:pt>
                <c:pt idx="7901">
                  <c:v>0</c:v>
                </c:pt>
                <c:pt idx="7902">
                  <c:v>0</c:v>
                </c:pt>
                <c:pt idx="7903">
                  <c:v>0</c:v>
                </c:pt>
                <c:pt idx="7904">
                  <c:v>0</c:v>
                </c:pt>
                <c:pt idx="7905">
                  <c:v>0</c:v>
                </c:pt>
                <c:pt idx="7906">
                  <c:v>0</c:v>
                </c:pt>
                <c:pt idx="7907">
                  <c:v>0</c:v>
                </c:pt>
                <c:pt idx="7908">
                  <c:v>0</c:v>
                </c:pt>
                <c:pt idx="7909">
                  <c:v>0</c:v>
                </c:pt>
                <c:pt idx="7910">
                  <c:v>0</c:v>
                </c:pt>
                <c:pt idx="7911">
                  <c:v>0</c:v>
                </c:pt>
                <c:pt idx="7912">
                  <c:v>0</c:v>
                </c:pt>
                <c:pt idx="7913">
                  <c:v>0</c:v>
                </c:pt>
                <c:pt idx="7914">
                  <c:v>0</c:v>
                </c:pt>
                <c:pt idx="7915">
                  <c:v>0</c:v>
                </c:pt>
                <c:pt idx="7916">
                  <c:v>0</c:v>
                </c:pt>
                <c:pt idx="7917">
                  <c:v>0</c:v>
                </c:pt>
                <c:pt idx="7918">
                  <c:v>0</c:v>
                </c:pt>
                <c:pt idx="7919">
                  <c:v>0</c:v>
                </c:pt>
                <c:pt idx="7920">
                  <c:v>0</c:v>
                </c:pt>
                <c:pt idx="7921">
                  <c:v>0</c:v>
                </c:pt>
                <c:pt idx="7922">
                  <c:v>0</c:v>
                </c:pt>
                <c:pt idx="7923">
                  <c:v>0</c:v>
                </c:pt>
                <c:pt idx="7924">
                  <c:v>0</c:v>
                </c:pt>
                <c:pt idx="7925">
                  <c:v>0</c:v>
                </c:pt>
                <c:pt idx="7926">
                  <c:v>0</c:v>
                </c:pt>
                <c:pt idx="7927">
                  <c:v>0</c:v>
                </c:pt>
                <c:pt idx="7928">
                  <c:v>0</c:v>
                </c:pt>
                <c:pt idx="7929">
                  <c:v>0</c:v>
                </c:pt>
                <c:pt idx="7930">
                  <c:v>0</c:v>
                </c:pt>
                <c:pt idx="7931">
                  <c:v>0</c:v>
                </c:pt>
                <c:pt idx="7932">
                  <c:v>0</c:v>
                </c:pt>
                <c:pt idx="7933">
                  <c:v>0</c:v>
                </c:pt>
                <c:pt idx="7934">
                  <c:v>0</c:v>
                </c:pt>
                <c:pt idx="7935">
                  <c:v>0</c:v>
                </c:pt>
                <c:pt idx="7936">
                  <c:v>0</c:v>
                </c:pt>
                <c:pt idx="7937">
                  <c:v>0</c:v>
                </c:pt>
                <c:pt idx="7938">
                  <c:v>0</c:v>
                </c:pt>
                <c:pt idx="7939">
                  <c:v>0</c:v>
                </c:pt>
                <c:pt idx="7940">
                  <c:v>0</c:v>
                </c:pt>
                <c:pt idx="7941">
                  <c:v>0</c:v>
                </c:pt>
                <c:pt idx="7942">
                  <c:v>0</c:v>
                </c:pt>
                <c:pt idx="7943">
                  <c:v>0</c:v>
                </c:pt>
                <c:pt idx="7944">
                  <c:v>0</c:v>
                </c:pt>
                <c:pt idx="7945">
                  <c:v>0</c:v>
                </c:pt>
                <c:pt idx="7946">
                  <c:v>0</c:v>
                </c:pt>
                <c:pt idx="7947">
                  <c:v>0</c:v>
                </c:pt>
                <c:pt idx="7948">
                  <c:v>0</c:v>
                </c:pt>
                <c:pt idx="7949">
                  <c:v>0</c:v>
                </c:pt>
                <c:pt idx="7950">
                  <c:v>0</c:v>
                </c:pt>
                <c:pt idx="7951">
                  <c:v>0</c:v>
                </c:pt>
                <c:pt idx="7952">
                  <c:v>0</c:v>
                </c:pt>
                <c:pt idx="7953">
                  <c:v>0</c:v>
                </c:pt>
                <c:pt idx="7954">
                  <c:v>0</c:v>
                </c:pt>
                <c:pt idx="7955">
                  <c:v>0</c:v>
                </c:pt>
                <c:pt idx="7956">
                  <c:v>0</c:v>
                </c:pt>
                <c:pt idx="7957">
                  <c:v>0</c:v>
                </c:pt>
                <c:pt idx="7958">
                  <c:v>0</c:v>
                </c:pt>
                <c:pt idx="7959">
                  <c:v>0</c:v>
                </c:pt>
                <c:pt idx="7960">
                  <c:v>0</c:v>
                </c:pt>
                <c:pt idx="7961">
                  <c:v>0</c:v>
                </c:pt>
                <c:pt idx="7962">
                  <c:v>0</c:v>
                </c:pt>
                <c:pt idx="7963">
                  <c:v>0</c:v>
                </c:pt>
                <c:pt idx="7964">
                  <c:v>0</c:v>
                </c:pt>
                <c:pt idx="7965">
                  <c:v>0</c:v>
                </c:pt>
                <c:pt idx="7966">
                  <c:v>0</c:v>
                </c:pt>
                <c:pt idx="7967">
                  <c:v>0</c:v>
                </c:pt>
                <c:pt idx="7968">
                  <c:v>0</c:v>
                </c:pt>
                <c:pt idx="7969">
                  <c:v>0</c:v>
                </c:pt>
                <c:pt idx="7970">
                  <c:v>0</c:v>
                </c:pt>
                <c:pt idx="7971">
                  <c:v>0</c:v>
                </c:pt>
                <c:pt idx="7972">
                  <c:v>0</c:v>
                </c:pt>
                <c:pt idx="7973">
                  <c:v>0</c:v>
                </c:pt>
                <c:pt idx="7974">
                  <c:v>0</c:v>
                </c:pt>
                <c:pt idx="7975">
                  <c:v>0</c:v>
                </c:pt>
                <c:pt idx="7976">
                  <c:v>0</c:v>
                </c:pt>
                <c:pt idx="7977">
                  <c:v>0</c:v>
                </c:pt>
                <c:pt idx="7978">
                  <c:v>0</c:v>
                </c:pt>
                <c:pt idx="7979">
                  <c:v>0</c:v>
                </c:pt>
                <c:pt idx="7980">
                  <c:v>0</c:v>
                </c:pt>
                <c:pt idx="7981">
                  <c:v>0</c:v>
                </c:pt>
                <c:pt idx="7982">
                  <c:v>0</c:v>
                </c:pt>
                <c:pt idx="7983">
                  <c:v>0</c:v>
                </c:pt>
                <c:pt idx="7984">
                  <c:v>0</c:v>
                </c:pt>
                <c:pt idx="7985">
                  <c:v>0</c:v>
                </c:pt>
                <c:pt idx="7986">
                  <c:v>0</c:v>
                </c:pt>
                <c:pt idx="7987">
                  <c:v>0</c:v>
                </c:pt>
                <c:pt idx="7988">
                  <c:v>0</c:v>
                </c:pt>
                <c:pt idx="7989">
                  <c:v>0</c:v>
                </c:pt>
                <c:pt idx="7990">
                  <c:v>0</c:v>
                </c:pt>
                <c:pt idx="7991">
                  <c:v>0</c:v>
                </c:pt>
                <c:pt idx="7992">
                  <c:v>0</c:v>
                </c:pt>
                <c:pt idx="7993">
                  <c:v>0</c:v>
                </c:pt>
                <c:pt idx="7994">
                  <c:v>0</c:v>
                </c:pt>
                <c:pt idx="7995">
                  <c:v>0</c:v>
                </c:pt>
                <c:pt idx="7996">
                  <c:v>0</c:v>
                </c:pt>
                <c:pt idx="7997">
                  <c:v>0</c:v>
                </c:pt>
                <c:pt idx="7998">
                  <c:v>0</c:v>
                </c:pt>
                <c:pt idx="7999">
                  <c:v>0</c:v>
                </c:pt>
                <c:pt idx="8000">
                  <c:v>0</c:v>
                </c:pt>
                <c:pt idx="8001">
                  <c:v>0</c:v>
                </c:pt>
                <c:pt idx="8002">
                  <c:v>0</c:v>
                </c:pt>
                <c:pt idx="8003">
                  <c:v>0</c:v>
                </c:pt>
                <c:pt idx="8004">
                  <c:v>0</c:v>
                </c:pt>
                <c:pt idx="8005">
                  <c:v>0</c:v>
                </c:pt>
                <c:pt idx="8006">
                  <c:v>0</c:v>
                </c:pt>
                <c:pt idx="8007">
                  <c:v>0</c:v>
                </c:pt>
                <c:pt idx="8008">
                  <c:v>0</c:v>
                </c:pt>
                <c:pt idx="8009">
                  <c:v>0</c:v>
                </c:pt>
                <c:pt idx="8010">
                  <c:v>0</c:v>
                </c:pt>
                <c:pt idx="8011">
                  <c:v>0</c:v>
                </c:pt>
                <c:pt idx="8012">
                  <c:v>0</c:v>
                </c:pt>
                <c:pt idx="8013">
                  <c:v>0</c:v>
                </c:pt>
                <c:pt idx="8014">
                  <c:v>0</c:v>
                </c:pt>
                <c:pt idx="8015">
                  <c:v>0</c:v>
                </c:pt>
                <c:pt idx="8016">
                  <c:v>0</c:v>
                </c:pt>
                <c:pt idx="8017">
                  <c:v>0</c:v>
                </c:pt>
                <c:pt idx="8018">
                  <c:v>0</c:v>
                </c:pt>
                <c:pt idx="8019">
                  <c:v>0</c:v>
                </c:pt>
                <c:pt idx="8020">
                  <c:v>0</c:v>
                </c:pt>
                <c:pt idx="8021">
                  <c:v>0</c:v>
                </c:pt>
                <c:pt idx="8022">
                  <c:v>0</c:v>
                </c:pt>
                <c:pt idx="8023">
                  <c:v>0</c:v>
                </c:pt>
                <c:pt idx="8024">
                  <c:v>0</c:v>
                </c:pt>
                <c:pt idx="8025">
                  <c:v>0</c:v>
                </c:pt>
                <c:pt idx="8026">
                  <c:v>0</c:v>
                </c:pt>
                <c:pt idx="8027">
                  <c:v>0</c:v>
                </c:pt>
                <c:pt idx="8028">
                  <c:v>0</c:v>
                </c:pt>
                <c:pt idx="8029">
                  <c:v>0</c:v>
                </c:pt>
                <c:pt idx="8030">
                  <c:v>0</c:v>
                </c:pt>
                <c:pt idx="8031">
                  <c:v>0</c:v>
                </c:pt>
                <c:pt idx="8032">
                  <c:v>0</c:v>
                </c:pt>
                <c:pt idx="8033">
                  <c:v>0</c:v>
                </c:pt>
                <c:pt idx="8034">
                  <c:v>0</c:v>
                </c:pt>
                <c:pt idx="8035">
                  <c:v>0</c:v>
                </c:pt>
                <c:pt idx="8036">
                  <c:v>0</c:v>
                </c:pt>
                <c:pt idx="8037">
                  <c:v>0</c:v>
                </c:pt>
                <c:pt idx="8038">
                  <c:v>0</c:v>
                </c:pt>
                <c:pt idx="8039">
                  <c:v>0</c:v>
                </c:pt>
                <c:pt idx="8040">
                  <c:v>0</c:v>
                </c:pt>
                <c:pt idx="8041">
                  <c:v>0</c:v>
                </c:pt>
                <c:pt idx="8042">
                  <c:v>0</c:v>
                </c:pt>
                <c:pt idx="8043">
                  <c:v>0</c:v>
                </c:pt>
                <c:pt idx="8044">
                  <c:v>0</c:v>
                </c:pt>
                <c:pt idx="8045">
                  <c:v>0</c:v>
                </c:pt>
                <c:pt idx="8046">
                  <c:v>0</c:v>
                </c:pt>
                <c:pt idx="8047">
                  <c:v>0</c:v>
                </c:pt>
                <c:pt idx="8048">
                  <c:v>0</c:v>
                </c:pt>
                <c:pt idx="8049">
                  <c:v>0</c:v>
                </c:pt>
                <c:pt idx="8050">
                  <c:v>0</c:v>
                </c:pt>
                <c:pt idx="8051">
                  <c:v>0</c:v>
                </c:pt>
                <c:pt idx="8052">
                  <c:v>0</c:v>
                </c:pt>
                <c:pt idx="8053">
                  <c:v>0</c:v>
                </c:pt>
                <c:pt idx="8054">
                  <c:v>0</c:v>
                </c:pt>
                <c:pt idx="8055">
                  <c:v>0</c:v>
                </c:pt>
                <c:pt idx="8056">
                  <c:v>0</c:v>
                </c:pt>
                <c:pt idx="8057">
                  <c:v>0</c:v>
                </c:pt>
                <c:pt idx="8058">
                  <c:v>0</c:v>
                </c:pt>
                <c:pt idx="8059">
                  <c:v>0</c:v>
                </c:pt>
                <c:pt idx="8060">
                  <c:v>0</c:v>
                </c:pt>
                <c:pt idx="8061">
                  <c:v>0</c:v>
                </c:pt>
                <c:pt idx="8062">
                  <c:v>0</c:v>
                </c:pt>
                <c:pt idx="8063">
                  <c:v>0</c:v>
                </c:pt>
                <c:pt idx="8064">
                  <c:v>0</c:v>
                </c:pt>
                <c:pt idx="8065">
                  <c:v>0</c:v>
                </c:pt>
                <c:pt idx="8066">
                  <c:v>0</c:v>
                </c:pt>
                <c:pt idx="8067">
                  <c:v>0</c:v>
                </c:pt>
                <c:pt idx="8068">
                  <c:v>0</c:v>
                </c:pt>
                <c:pt idx="8069">
                  <c:v>0</c:v>
                </c:pt>
                <c:pt idx="8070">
                  <c:v>0</c:v>
                </c:pt>
                <c:pt idx="8071">
                  <c:v>0</c:v>
                </c:pt>
                <c:pt idx="8072">
                  <c:v>0</c:v>
                </c:pt>
                <c:pt idx="8073">
                  <c:v>0</c:v>
                </c:pt>
                <c:pt idx="8074">
                  <c:v>0</c:v>
                </c:pt>
                <c:pt idx="8075">
                  <c:v>0</c:v>
                </c:pt>
                <c:pt idx="8076">
                  <c:v>0</c:v>
                </c:pt>
                <c:pt idx="8077">
                  <c:v>0</c:v>
                </c:pt>
                <c:pt idx="8078">
                  <c:v>0</c:v>
                </c:pt>
                <c:pt idx="8079">
                  <c:v>0</c:v>
                </c:pt>
                <c:pt idx="8080">
                  <c:v>0</c:v>
                </c:pt>
                <c:pt idx="8081">
                  <c:v>0</c:v>
                </c:pt>
                <c:pt idx="8082">
                  <c:v>0</c:v>
                </c:pt>
                <c:pt idx="8083">
                  <c:v>0</c:v>
                </c:pt>
                <c:pt idx="8084">
                  <c:v>0</c:v>
                </c:pt>
                <c:pt idx="8085">
                  <c:v>0</c:v>
                </c:pt>
                <c:pt idx="8086">
                  <c:v>0</c:v>
                </c:pt>
                <c:pt idx="8087">
                  <c:v>0</c:v>
                </c:pt>
                <c:pt idx="8088">
                  <c:v>0</c:v>
                </c:pt>
                <c:pt idx="8089">
                  <c:v>0</c:v>
                </c:pt>
                <c:pt idx="8090">
                  <c:v>0</c:v>
                </c:pt>
                <c:pt idx="8091">
                  <c:v>0</c:v>
                </c:pt>
                <c:pt idx="8092">
                  <c:v>0</c:v>
                </c:pt>
                <c:pt idx="8093">
                  <c:v>0</c:v>
                </c:pt>
                <c:pt idx="8094">
                  <c:v>0</c:v>
                </c:pt>
                <c:pt idx="8095">
                  <c:v>0</c:v>
                </c:pt>
                <c:pt idx="8096">
                  <c:v>0</c:v>
                </c:pt>
                <c:pt idx="8097">
                  <c:v>0</c:v>
                </c:pt>
                <c:pt idx="8098">
                  <c:v>0</c:v>
                </c:pt>
                <c:pt idx="8099">
                  <c:v>0</c:v>
                </c:pt>
                <c:pt idx="8100">
                  <c:v>0</c:v>
                </c:pt>
                <c:pt idx="8101">
                  <c:v>0</c:v>
                </c:pt>
                <c:pt idx="8102">
                  <c:v>0</c:v>
                </c:pt>
                <c:pt idx="8103">
                  <c:v>0</c:v>
                </c:pt>
                <c:pt idx="8104">
                  <c:v>0</c:v>
                </c:pt>
                <c:pt idx="8105">
                  <c:v>0</c:v>
                </c:pt>
                <c:pt idx="8106">
                  <c:v>0</c:v>
                </c:pt>
                <c:pt idx="8107">
                  <c:v>0</c:v>
                </c:pt>
                <c:pt idx="8108">
                  <c:v>0</c:v>
                </c:pt>
                <c:pt idx="8109">
                  <c:v>0</c:v>
                </c:pt>
                <c:pt idx="8110">
                  <c:v>0</c:v>
                </c:pt>
                <c:pt idx="8111">
                  <c:v>0</c:v>
                </c:pt>
                <c:pt idx="8112">
                  <c:v>0</c:v>
                </c:pt>
                <c:pt idx="8113">
                  <c:v>0</c:v>
                </c:pt>
                <c:pt idx="8114">
                  <c:v>0</c:v>
                </c:pt>
                <c:pt idx="8115">
                  <c:v>0</c:v>
                </c:pt>
                <c:pt idx="8116">
                  <c:v>0</c:v>
                </c:pt>
                <c:pt idx="8117">
                  <c:v>0</c:v>
                </c:pt>
                <c:pt idx="8118">
                  <c:v>0</c:v>
                </c:pt>
                <c:pt idx="8119">
                  <c:v>0</c:v>
                </c:pt>
                <c:pt idx="8120">
                  <c:v>0</c:v>
                </c:pt>
                <c:pt idx="8121">
                  <c:v>0</c:v>
                </c:pt>
                <c:pt idx="8122">
                  <c:v>0</c:v>
                </c:pt>
                <c:pt idx="8123">
                  <c:v>0</c:v>
                </c:pt>
                <c:pt idx="8124">
                  <c:v>0</c:v>
                </c:pt>
                <c:pt idx="8125">
                  <c:v>0</c:v>
                </c:pt>
                <c:pt idx="8126">
                  <c:v>0</c:v>
                </c:pt>
                <c:pt idx="8127">
                  <c:v>0</c:v>
                </c:pt>
                <c:pt idx="8128">
                  <c:v>0</c:v>
                </c:pt>
                <c:pt idx="8129">
                  <c:v>0</c:v>
                </c:pt>
                <c:pt idx="8130">
                  <c:v>0</c:v>
                </c:pt>
                <c:pt idx="8131">
                  <c:v>0</c:v>
                </c:pt>
                <c:pt idx="8132">
                  <c:v>0</c:v>
                </c:pt>
                <c:pt idx="8133">
                  <c:v>0</c:v>
                </c:pt>
                <c:pt idx="8134">
                  <c:v>0</c:v>
                </c:pt>
                <c:pt idx="8135">
                  <c:v>0</c:v>
                </c:pt>
                <c:pt idx="8136">
                  <c:v>0</c:v>
                </c:pt>
                <c:pt idx="8137">
                  <c:v>0</c:v>
                </c:pt>
                <c:pt idx="8138">
                  <c:v>0</c:v>
                </c:pt>
                <c:pt idx="8139">
                  <c:v>0</c:v>
                </c:pt>
                <c:pt idx="8140">
                  <c:v>0</c:v>
                </c:pt>
                <c:pt idx="8141">
                  <c:v>0</c:v>
                </c:pt>
                <c:pt idx="8142">
                  <c:v>0</c:v>
                </c:pt>
                <c:pt idx="8143">
                  <c:v>0</c:v>
                </c:pt>
                <c:pt idx="8144">
                  <c:v>0</c:v>
                </c:pt>
                <c:pt idx="8145">
                  <c:v>0</c:v>
                </c:pt>
                <c:pt idx="8146">
                  <c:v>0</c:v>
                </c:pt>
                <c:pt idx="8147">
                  <c:v>0</c:v>
                </c:pt>
                <c:pt idx="8148">
                  <c:v>0</c:v>
                </c:pt>
                <c:pt idx="8149">
                  <c:v>0</c:v>
                </c:pt>
                <c:pt idx="8150">
                  <c:v>0</c:v>
                </c:pt>
                <c:pt idx="8151">
                  <c:v>0</c:v>
                </c:pt>
                <c:pt idx="8152">
                  <c:v>0</c:v>
                </c:pt>
                <c:pt idx="8153">
                  <c:v>0</c:v>
                </c:pt>
                <c:pt idx="8154">
                  <c:v>0</c:v>
                </c:pt>
                <c:pt idx="8155">
                  <c:v>0</c:v>
                </c:pt>
                <c:pt idx="8156">
                  <c:v>0</c:v>
                </c:pt>
                <c:pt idx="8157">
                  <c:v>0</c:v>
                </c:pt>
                <c:pt idx="8158">
                  <c:v>0</c:v>
                </c:pt>
                <c:pt idx="8159">
                  <c:v>0</c:v>
                </c:pt>
                <c:pt idx="8160">
                  <c:v>0</c:v>
                </c:pt>
                <c:pt idx="8161">
                  <c:v>0</c:v>
                </c:pt>
                <c:pt idx="8162">
                  <c:v>0</c:v>
                </c:pt>
                <c:pt idx="8163">
                  <c:v>0</c:v>
                </c:pt>
                <c:pt idx="8164">
                  <c:v>0</c:v>
                </c:pt>
                <c:pt idx="8165">
                  <c:v>0</c:v>
                </c:pt>
                <c:pt idx="8166">
                  <c:v>0</c:v>
                </c:pt>
                <c:pt idx="8167">
                  <c:v>0</c:v>
                </c:pt>
                <c:pt idx="8168">
                  <c:v>0</c:v>
                </c:pt>
                <c:pt idx="8169">
                  <c:v>0</c:v>
                </c:pt>
                <c:pt idx="8170">
                  <c:v>0</c:v>
                </c:pt>
                <c:pt idx="8171">
                  <c:v>0</c:v>
                </c:pt>
                <c:pt idx="8172">
                  <c:v>0</c:v>
                </c:pt>
                <c:pt idx="8173">
                  <c:v>0</c:v>
                </c:pt>
                <c:pt idx="8174">
                  <c:v>0</c:v>
                </c:pt>
                <c:pt idx="8175">
                  <c:v>0</c:v>
                </c:pt>
                <c:pt idx="8176">
                  <c:v>0</c:v>
                </c:pt>
                <c:pt idx="8177">
                  <c:v>0</c:v>
                </c:pt>
                <c:pt idx="8178">
                  <c:v>0</c:v>
                </c:pt>
                <c:pt idx="8179">
                  <c:v>0</c:v>
                </c:pt>
                <c:pt idx="8180">
                  <c:v>0</c:v>
                </c:pt>
                <c:pt idx="8181">
                  <c:v>0</c:v>
                </c:pt>
                <c:pt idx="8182">
                  <c:v>0</c:v>
                </c:pt>
                <c:pt idx="8183">
                  <c:v>0</c:v>
                </c:pt>
                <c:pt idx="8184">
                  <c:v>0</c:v>
                </c:pt>
                <c:pt idx="8185">
                  <c:v>0</c:v>
                </c:pt>
                <c:pt idx="8186">
                  <c:v>0</c:v>
                </c:pt>
                <c:pt idx="8187">
                  <c:v>0</c:v>
                </c:pt>
                <c:pt idx="8188">
                  <c:v>0</c:v>
                </c:pt>
                <c:pt idx="8189">
                  <c:v>0</c:v>
                </c:pt>
                <c:pt idx="8190">
                  <c:v>0</c:v>
                </c:pt>
                <c:pt idx="8191">
                  <c:v>0</c:v>
                </c:pt>
                <c:pt idx="8192">
                  <c:v>0</c:v>
                </c:pt>
                <c:pt idx="8193">
                  <c:v>0</c:v>
                </c:pt>
                <c:pt idx="8194">
                  <c:v>0</c:v>
                </c:pt>
                <c:pt idx="8195">
                  <c:v>0</c:v>
                </c:pt>
                <c:pt idx="8196">
                  <c:v>0</c:v>
                </c:pt>
                <c:pt idx="8197">
                  <c:v>0</c:v>
                </c:pt>
                <c:pt idx="8198">
                  <c:v>0</c:v>
                </c:pt>
                <c:pt idx="8199">
                  <c:v>0</c:v>
                </c:pt>
                <c:pt idx="8200">
                  <c:v>0</c:v>
                </c:pt>
                <c:pt idx="8201">
                  <c:v>0</c:v>
                </c:pt>
                <c:pt idx="8202">
                  <c:v>0</c:v>
                </c:pt>
                <c:pt idx="8203">
                  <c:v>0</c:v>
                </c:pt>
                <c:pt idx="8204">
                  <c:v>0</c:v>
                </c:pt>
                <c:pt idx="8205">
                  <c:v>0</c:v>
                </c:pt>
                <c:pt idx="8206">
                  <c:v>0</c:v>
                </c:pt>
                <c:pt idx="8207">
                  <c:v>0</c:v>
                </c:pt>
                <c:pt idx="8208">
                  <c:v>0</c:v>
                </c:pt>
                <c:pt idx="8209">
                  <c:v>0</c:v>
                </c:pt>
                <c:pt idx="8210">
                  <c:v>0</c:v>
                </c:pt>
                <c:pt idx="8211">
                  <c:v>0</c:v>
                </c:pt>
                <c:pt idx="8212">
                  <c:v>0</c:v>
                </c:pt>
                <c:pt idx="8213">
                  <c:v>0</c:v>
                </c:pt>
                <c:pt idx="8214">
                  <c:v>0</c:v>
                </c:pt>
                <c:pt idx="8215">
                  <c:v>0</c:v>
                </c:pt>
                <c:pt idx="8216">
                  <c:v>0</c:v>
                </c:pt>
                <c:pt idx="8217">
                  <c:v>0</c:v>
                </c:pt>
                <c:pt idx="8218">
                  <c:v>0</c:v>
                </c:pt>
                <c:pt idx="8219">
                  <c:v>0</c:v>
                </c:pt>
                <c:pt idx="8220">
                  <c:v>0</c:v>
                </c:pt>
                <c:pt idx="8221">
                  <c:v>0</c:v>
                </c:pt>
                <c:pt idx="8222">
                  <c:v>0</c:v>
                </c:pt>
                <c:pt idx="8223">
                  <c:v>0</c:v>
                </c:pt>
                <c:pt idx="8224">
                  <c:v>0</c:v>
                </c:pt>
                <c:pt idx="8225">
                  <c:v>0</c:v>
                </c:pt>
                <c:pt idx="8226">
                  <c:v>0</c:v>
                </c:pt>
                <c:pt idx="8227">
                  <c:v>0</c:v>
                </c:pt>
                <c:pt idx="8228">
                  <c:v>0</c:v>
                </c:pt>
                <c:pt idx="8229">
                  <c:v>0</c:v>
                </c:pt>
                <c:pt idx="8230">
                  <c:v>0</c:v>
                </c:pt>
                <c:pt idx="8231">
                  <c:v>0</c:v>
                </c:pt>
                <c:pt idx="8232">
                  <c:v>0</c:v>
                </c:pt>
                <c:pt idx="8233">
                  <c:v>0</c:v>
                </c:pt>
                <c:pt idx="8234">
                  <c:v>0</c:v>
                </c:pt>
                <c:pt idx="8235">
                  <c:v>0</c:v>
                </c:pt>
                <c:pt idx="8236">
                  <c:v>0</c:v>
                </c:pt>
                <c:pt idx="8237">
                  <c:v>0</c:v>
                </c:pt>
                <c:pt idx="8238">
                  <c:v>0</c:v>
                </c:pt>
                <c:pt idx="8239">
                  <c:v>0</c:v>
                </c:pt>
                <c:pt idx="8240">
                  <c:v>0</c:v>
                </c:pt>
                <c:pt idx="8241">
                  <c:v>0</c:v>
                </c:pt>
                <c:pt idx="8242">
                  <c:v>0</c:v>
                </c:pt>
                <c:pt idx="8243">
                  <c:v>0</c:v>
                </c:pt>
                <c:pt idx="8244">
                  <c:v>0</c:v>
                </c:pt>
                <c:pt idx="8245">
                  <c:v>0</c:v>
                </c:pt>
                <c:pt idx="8246">
                  <c:v>0</c:v>
                </c:pt>
                <c:pt idx="8247">
                  <c:v>0</c:v>
                </c:pt>
                <c:pt idx="8248">
                  <c:v>0</c:v>
                </c:pt>
                <c:pt idx="8249">
                  <c:v>0</c:v>
                </c:pt>
                <c:pt idx="8250">
                  <c:v>0</c:v>
                </c:pt>
                <c:pt idx="8251">
                  <c:v>0</c:v>
                </c:pt>
                <c:pt idx="8252">
                  <c:v>0</c:v>
                </c:pt>
                <c:pt idx="8253">
                  <c:v>0</c:v>
                </c:pt>
                <c:pt idx="8254">
                  <c:v>0</c:v>
                </c:pt>
                <c:pt idx="8255">
                  <c:v>0</c:v>
                </c:pt>
                <c:pt idx="8256">
                  <c:v>0</c:v>
                </c:pt>
                <c:pt idx="8257">
                  <c:v>0</c:v>
                </c:pt>
                <c:pt idx="8258">
                  <c:v>0</c:v>
                </c:pt>
                <c:pt idx="8259">
                  <c:v>0</c:v>
                </c:pt>
                <c:pt idx="8260">
                  <c:v>0</c:v>
                </c:pt>
                <c:pt idx="8261">
                  <c:v>0</c:v>
                </c:pt>
                <c:pt idx="8262">
                  <c:v>0</c:v>
                </c:pt>
                <c:pt idx="8263">
                  <c:v>0</c:v>
                </c:pt>
                <c:pt idx="8264">
                  <c:v>0</c:v>
                </c:pt>
                <c:pt idx="8265">
                  <c:v>0</c:v>
                </c:pt>
                <c:pt idx="8266">
                  <c:v>0</c:v>
                </c:pt>
                <c:pt idx="8267">
                  <c:v>0</c:v>
                </c:pt>
                <c:pt idx="8268">
                  <c:v>0</c:v>
                </c:pt>
                <c:pt idx="8269">
                  <c:v>0</c:v>
                </c:pt>
                <c:pt idx="8270">
                  <c:v>0</c:v>
                </c:pt>
                <c:pt idx="8271">
                  <c:v>0</c:v>
                </c:pt>
                <c:pt idx="8272">
                  <c:v>0</c:v>
                </c:pt>
                <c:pt idx="8273">
                  <c:v>0</c:v>
                </c:pt>
                <c:pt idx="8274">
                  <c:v>0</c:v>
                </c:pt>
                <c:pt idx="8275">
                  <c:v>0</c:v>
                </c:pt>
                <c:pt idx="8276">
                  <c:v>0</c:v>
                </c:pt>
                <c:pt idx="8277">
                  <c:v>0</c:v>
                </c:pt>
                <c:pt idx="8278">
                  <c:v>0</c:v>
                </c:pt>
                <c:pt idx="8279">
                  <c:v>0</c:v>
                </c:pt>
                <c:pt idx="8280">
                  <c:v>0</c:v>
                </c:pt>
                <c:pt idx="8281">
                  <c:v>0</c:v>
                </c:pt>
                <c:pt idx="8282">
                  <c:v>0</c:v>
                </c:pt>
                <c:pt idx="8283">
                  <c:v>0</c:v>
                </c:pt>
                <c:pt idx="8284">
                  <c:v>0</c:v>
                </c:pt>
                <c:pt idx="8285">
                  <c:v>0</c:v>
                </c:pt>
                <c:pt idx="8286">
                  <c:v>0</c:v>
                </c:pt>
                <c:pt idx="8287">
                  <c:v>0</c:v>
                </c:pt>
                <c:pt idx="8288">
                  <c:v>0</c:v>
                </c:pt>
                <c:pt idx="8289">
                  <c:v>0</c:v>
                </c:pt>
                <c:pt idx="8290">
                  <c:v>0</c:v>
                </c:pt>
                <c:pt idx="8291">
                  <c:v>0</c:v>
                </c:pt>
                <c:pt idx="8292">
                  <c:v>0</c:v>
                </c:pt>
                <c:pt idx="8293">
                  <c:v>0</c:v>
                </c:pt>
                <c:pt idx="8294">
                  <c:v>0</c:v>
                </c:pt>
                <c:pt idx="8295">
                  <c:v>0</c:v>
                </c:pt>
                <c:pt idx="8296">
                  <c:v>0</c:v>
                </c:pt>
                <c:pt idx="8297">
                  <c:v>0</c:v>
                </c:pt>
                <c:pt idx="8298">
                  <c:v>0</c:v>
                </c:pt>
                <c:pt idx="8299">
                  <c:v>0</c:v>
                </c:pt>
                <c:pt idx="8300">
                  <c:v>0</c:v>
                </c:pt>
                <c:pt idx="8301">
                  <c:v>0</c:v>
                </c:pt>
                <c:pt idx="8302">
                  <c:v>0</c:v>
                </c:pt>
                <c:pt idx="8303">
                  <c:v>0</c:v>
                </c:pt>
                <c:pt idx="8304">
                  <c:v>0</c:v>
                </c:pt>
                <c:pt idx="8305">
                  <c:v>0</c:v>
                </c:pt>
                <c:pt idx="8306">
                  <c:v>0</c:v>
                </c:pt>
                <c:pt idx="8307">
                  <c:v>0</c:v>
                </c:pt>
                <c:pt idx="8308">
                  <c:v>0</c:v>
                </c:pt>
                <c:pt idx="8309">
                  <c:v>0</c:v>
                </c:pt>
                <c:pt idx="8310">
                  <c:v>0</c:v>
                </c:pt>
                <c:pt idx="8311">
                  <c:v>0</c:v>
                </c:pt>
                <c:pt idx="8312">
                  <c:v>0</c:v>
                </c:pt>
                <c:pt idx="8313">
                  <c:v>0</c:v>
                </c:pt>
                <c:pt idx="8314">
                  <c:v>0</c:v>
                </c:pt>
                <c:pt idx="8315">
                  <c:v>0</c:v>
                </c:pt>
                <c:pt idx="8316">
                  <c:v>0</c:v>
                </c:pt>
                <c:pt idx="8317">
                  <c:v>0</c:v>
                </c:pt>
                <c:pt idx="8318">
                  <c:v>0</c:v>
                </c:pt>
                <c:pt idx="8319">
                  <c:v>0</c:v>
                </c:pt>
                <c:pt idx="8320">
                  <c:v>0</c:v>
                </c:pt>
                <c:pt idx="8321">
                  <c:v>0</c:v>
                </c:pt>
                <c:pt idx="8322">
                  <c:v>0</c:v>
                </c:pt>
                <c:pt idx="8323">
                  <c:v>0</c:v>
                </c:pt>
                <c:pt idx="8324">
                  <c:v>0</c:v>
                </c:pt>
                <c:pt idx="8325">
                  <c:v>0</c:v>
                </c:pt>
                <c:pt idx="8326">
                  <c:v>0</c:v>
                </c:pt>
                <c:pt idx="8327">
                  <c:v>0</c:v>
                </c:pt>
                <c:pt idx="8328">
                  <c:v>0</c:v>
                </c:pt>
                <c:pt idx="8329">
                  <c:v>0</c:v>
                </c:pt>
                <c:pt idx="8330">
                  <c:v>0</c:v>
                </c:pt>
                <c:pt idx="8331">
                  <c:v>0</c:v>
                </c:pt>
                <c:pt idx="8332">
                  <c:v>0</c:v>
                </c:pt>
                <c:pt idx="8333">
                  <c:v>0</c:v>
                </c:pt>
                <c:pt idx="8334">
                  <c:v>0</c:v>
                </c:pt>
                <c:pt idx="8335">
                  <c:v>0</c:v>
                </c:pt>
                <c:pt idx="8336">
                  <c:v>0</c:v>
                </c:pt>
                <c:pt idx="8337">
                  <c:v>0</c:v>
                </c:pt>
                <c:pt idx="8338">
                  <c:v>0</c:v>
                </c:pt>
                <c:pt idx="8339">
                  <c:v>0</c:v>
                </c:pt>
                <c:pt idx="8340">
                  <c:v>0</c:v>
                </c:pt>
                <c:pt idx="8341">
                  <c:v>0</c:v>
                </c:pt>
                <c:pt idx="8342">
                  <c:v>0</c:v>
                </c:pt>
                <c:pt idx="8343">
                  <c:v>0</c:v>
                </c:pt>
                <c:pt idx="8344">
                  <c:v>0</c:v>
                </c:pt>
                <c:pt idx="8345">
                  <c:v>0</c:v>
                </c:pt>
                <c:pt idx="8346">
                  <c:v>0</c:v>
                </c:pt>
                <c:pt idx="8347">
                  <c:v>0</c:v>
                </c:pt>
                <c:pt idx="8348">
                  <c:v>0</c:v>
                </c:pt>
                <c:pt idx="8349">
                  <c:v>0</c:v>
                </c:pt>
                <c:pt idx="8350">
                  <c:v>0</c:v>
                </c:pt>
                <c:pt idx="8351">
                  <c:v>0</c:v>
                </c:pt>
                <c:pt idx="8352">
                  <c:v>0</c:v>
                </c:pt>
                <c:pt idx="8353">
                  <c:v>0</c:v>
                </c:pt>
                <c:pt idx="8354">
                  <c:v>0</c:v>
                </c:pt>
                <c:pt idx="8355">
                  <c:v>0</c:v>
                </c:pt>
                <c:pt idx="8356">
                  <c:v>0</c:v>
                </c:pt>
                <c:pt idx="8357">
                  <c:v>0</c:v>
                </c:pt>
                <c:pt idx="8358">
                  <c:v>0</c:v>
                </c:pt>
                <c:pt idx="8359">
                  <c:v>0</c:v>
                </c:pt>
                <c:pt idx="8360">
                  <c:v>0</c:v>
                </c:pt>
                <c:pt idx="8361">
                  <c:v>0</c:v>
                </c:pt>
                <c:pt idx="8362">
                  <c:v>0</c:v>
                </c:pt>
                <c:pt idx="8363">
                  <c:v>0</c:v>
                </c:pt>
                <c:pt idx="8364">
                  <c:v>0</c:v>
                </c:pt>
                <c:pt idx="8365">
                  <c:v>0</c:v>
                </c:pt>
                <c:pt idx="8366">
                  <c:v>0</c:v>
                </c:pt>
                <c:pt idx="8367">
                  <c:v>0</c:v>
                </c:pt>
                <c:pt idx="8368">
                  <c:v>0</c:v>
                </c:pt>
                <c:pt idx="8369">
                  <c:v>0</c:v>
                </c:pt>
                <c:pt idx="8370">
                  <c:v>0</c:v>
                </c:pt>
                <c:pt idx="8371">
                  <c:v>0</c:v>
                </c:pt>
                <c:pt idx="8372">
                  <c:v>0</c:v>
                </c:pt>
                <c:pt idx="8373">
                  <c:v>0</c:v>
                </c:pt>
                <c:pt idx="8374">
                  <c:v>0</c:v>
                </c:pt>
                <c:pt idx="8375">
                  <c:v>0</c:v>
                </c:pt>
                <c:pt idx="8376">
                  <c:v>0</c:v>
                </c:pt>
                <c:pt idx="8377">
                  <c:v>0</c:v>
                </c:pt>
                <c:pt idx="8378">
                  <c:v>0</c:v>
                </c:pt>
                <c:pt idx="8379">
                  <c:v>0</c:v>
                </c:pt>
                <c:pt idx="8380">
                  <c:v>0</c:v>
                </c:pt>
                <c:pt idx="8381">
                  <c:v>0</c:v>
                </c:pt>
                <c:pt idx="8382">
                  <c:v>0</c:v>
                </c:pt>
                <c:pt idx="8383">
                  <c:v>0</c:v>
                </c:pt>
                <c:pt idx="8384">
                  <c:v>0</c:v>
                </c:pt>
                <c:pt idx="8385">
                  <c:v>0</c:v>
                </c:pt>
                <c:pt idx="8386">
                  <c:v>0</c:v>
                </c:pt>
                <c:pt idx="8387">
                  <c:v>0</c:v>
                </c:pt>
                <c:pt idx="8388">
                  <c:v>0</c:v>
                </c:pt>
                <c:pt idx="8389">
                  <c:v>0</c:v>
                </c:pt>
                <c:pt idx="8390">
                  <c:v>0</c:v>
                </c:pt>
                <c:pt idx="8391">
                  <c:v>0</c:v>
                </c:pt>
                <c:pt idx="8392">
                  <c:v>0</c:v>
                </c:pt>
                <c:pt idx="8393">
                  <c:v>0</c:v>
                </c:pt>
                <c:pt idx="8394">
                  <c:v>0</c:v>
                </c:pt>
                <c:pt idx="8395">
                  <c:v>0</c:v>
                </c:pt>
                <c:pt idx="8396">
                  <c:v>0</c:v>
                </c:pt>
                <c:pt idx="8397">
                  <c:v>0</c:v>
                </c:pt>
                <c:pt idx="8398">
                  <c:v>0</c:v>
                </c:pt>
                <c:pt idx="8399">
                  <c:v>0</c:v>
                </c:pt>
                <c:pt idx="8400">
                  <c:v>0</c:v>
                </c:pt>
                <c:pt idx="8401">
                  <c:v>0</c:v>
                </c:pt>
                <c:pt idx="8402">
                  <c:v>0</c:v>
                </c:pt>
                <c:pt idx="8403">
                  <c:v>0</c:v>
                </c:pt>
                <c:pt idx="8404">
                  <c:v>0</c:v>
                </c:pt>
                <c:pt idx="8405">
                  <c:v>0</c:v>
                </c:pt>
                <c:pt idx="8406">
                  <c:v>0</c:v>
                </c:pt>
                <c:pt idx="8407">
                  <c:v>0</c:v>
                </c:pt>
                <c:pt idx="8408">
                  <c:v>0</c:v>
                </c:pt>
                <c:pt idx="8409">
                  <c:v>0</c:v>
                </c:pt>
                <c:pt idx="8410">
                  <c:v>0</c:v>
                </c:pt>
                <c:pt idx="8411">
                  <c:v>0</c:v>
                </c:pt>
                <c:pt idx="8412">
                  <c:v>0</c:v>
                </c:pt>
                <c:pt idx="8413">
                  <c:v>0</c:v>
                </c:pt>
                <c:pt idx="8414">
                  <c:v>0</c:v>
                </c:pt>
                <c:pt idx="8415">
                  <c:v>0</c:v>
                </c:pt>
                <c:pt idx="8416">
                  <c:v>0</c:v>
                </c:pt>
                <c:pt idx="8417">
                  <c:v>0</c:v>
                </c:pt>
                <c:pt idx="8418">
                  <c:v>0</c:v>
                </c:pt>
                <c:pt idx="8419">
                  <c:v>0</c:v>
                </c:pt>
                <c:pt idx="8420">
                  <c:v>0</c:v>
                </c:pt>
                <c:pt idx="8421">
                  <c:v>0</c:v>
                </c:pt>
                <c:pt idx="8422">
                  <c:v>0</c:v>
                </c:pt>
                <c:pt idx="8423">
                  <c:v>0</c:v>
                </c:pt>
                <c:pt idx="8424">
                  <c:v>0</c:v>
                </c:pt>
                <c:pt idx="8425">
                  <c:v>0</c:v>
                </c:pt>
                <c:pt idx="8426">
                  <c:v>0</c:v>
                </c:pt>
                <c:pt idx="8427">
                  <c:v>0</c:v>
                </c:pt>
                <c:pt idx="8428">
                  <c:v>0</c:v>
                </c:pt>
                <c:pt idx="8429">
                  <c:v>0</c:v>
                </c:pt>
                <c:pt idx="8430">
                  <c:v>0</c:v>
                </c:pt>
                <c:pt idx="8431">
                  <c:v>0</c:v>
                </c:pt>
                <c:pt idx="8432">
                  <c:v>0</c:v>
                </c:pt>
                <c:pt idx="8433">
                  <c:v>0</c:v>
                </c:pt>
                <c:pt idx="8434">
                  <c:v>0</c:v>
                </c:pt>
                <c:pt idx="8435">
                  <c:v>0</c:v>
                </c:pt>
                <c:pt idx="8436">
                  <c:v>0</c:v>
                </c:pt>
                <c:pt idx="8437">
                  <c:v>0</c:v>
                </c:pt>
                <c:pt idx="8438">
                  <c:v>0</c:v>
                </c:pt>
                <c:pt idx="8439">
                  <c:v>0</c:v>
                </c:pt>
                <c:pt idx="8440">
                  <c:v>0</c:v>
                </c:pt>
                <c:pt idx="8441">
                  <c:v>0</c:v>
                </c:pt>
                <c:pt idx="8442">
                  <c:v>0</c:v>
                </c:pt>
                <c:pt idx="8443">
                  <c:v>0</c:v>
                </c:pt>
                <c:pt idx="8444">
                  <c:v>0</c:v>
                </c:pt>
                <c:pt idx="8445">
                  <c:v>0</c:v>
                </c:pt>
                <c:pt idx="8446">
                  <c:v>0</c:v>
                </c:pt>
                <c:pt idx="8447">
                  <c:v>0</c:v>
                </c:pt>
                <c:pt idx="8448">
                  <c:v>0</c:v>
                </c:pt>
                <c:pt idx="8449">
                  <c:v>0</c:v>
                </c:pt>
                <c:pt idx="8450">
                  <c:v>0</c:v>
                </c:pt>
                <c:pt idx="8451">
                  <c:v>0</c:v>
                </c:pt>
                <c:pt idx="8452">
                  <c:v>0</c:v>
                </c:pt>
                <c:pt idx="8453">
                  <c:v>0</c:v>
                </c:pt>
                <c:pt idx="8454">
                  <c:v>0</c:v>
                </c:pt>
                <c:pt idx="8455">
                  <c:v>0</c:v>
                </c:pt>
                <c:pt idx="8456">
                  <c:v>0</c:v>
                </c:pt>
                <c:pt idx="8457">
                  <c:v>0</c:v>
                </c:pt>
                <c:pt idx="8458">
                  <c:v>0</c:v>
                </c:pt>
                <c:pt idx="8459">
                  <c:v>0</c:v>
                </c:pt>
                <c:pt idx="8460">
                  <c:v>0</c:v>
                </c:pt>
                <c:pt idx="8461">
                  <c:v>0</c:v>
                </c:pt>
                <c:pt idx="8462">
                  <c:v>0</c:v>
                </c:pt>
                <c:pt idx="8463">
                  <c:v>0</c:v>
                </c:pt>
                <c:pt idx="8464">
                  <c:v>0</c:v>
                </c:pt>
                <c:pt idx="8465">
                  <c:v>0</c:v>
                </c:pt>
                <c:pt idx="8466">
                  <c:v>0</c:v>
                </c:pt>
                <c:pt idx="8467">
                  <c:v>0</c:v>
                </c:pt>
                <c:pt idx="8468">
                  <c:v>0</c:v>
                </c:pt>
                <c:pt idx="8469">
                  <c:v>0</c:v>
                </c:pt>
                <c:pt idx="8470">
                  <c:v>0</c:v>
                </c:pt>
                <c:pt idx="8471">
                  <c:v>0</c:v>
                </c:pt>
                <c:pt idx="8472">
                  <c:v>0</c:v>
                </c:pt>
                <c:pt idx="8473">
                  <c:v>0</c:v>
                </c:pt>
                <c:pt idx="8474">
                  <c:v>0</c:v>
                </c:pt>
                <c:pt idx="8475">
                  <c:v>0</c:v>
                </c:pt>
                <c:pt idx="8476">
                  <c:v>0</c:v>
                </c:pt>
                <c:pt idx="8477">
                  <c:v>0</c:v>
                </c:pt>
                <c:pt idx="8478">
                  <c:v>0</c:v>
                </c:pt>
                <c:pt idx="8479">
                  <c:v>0</c:v>
                </c:pt>
                <c:pt idx="8480">
                  <c:v>0</c:v>
                </c:pt>
                <c:pt idx="8481">
                  <c:v>0</c:v>
                </c:pt>
                <c:pt idx="8482">
                  <c:v>0</c:v>
                </c:pt>
                <c:pt idx="8483">
                  <c:v>0</c:v>
                </c:pt>
                <c:pt idx="8484">
                  <c:v>0</c:v>
                </c:pt>
                <c:pt idx="8485">
                  <c:v>0</c:v>
                </c:pt>
                <c:pt idx="8486">
                  <c:v>0</c:v>
                </c:pt>
                <c:pt idx="8487">
                  <c:v>0</c:v>
                </c:pt>
                <c:pt idx="8488">
                  <c:v>0</c:v>
                </c:pt>
                <c:pt idx="8489">
                  <c:v>0</c:v>
                </c:pt>
                <c:pt idx="8490">
                  <c:v>0</c:v>
                </c:pt>
                <c:pt idx="8491">
                  <c:v>0</c:v>
                </c:pt>
                <c:pt idx="8492">
                  <c:v>0</c:v>
                </c:pt>
                <c:pt idx="8493">
                  <c:v>0</c:v>
                </c:pt>
                <c:pt idx="8494">
                  <c:v>0</c:v>
                </c:pt>
                <c:pt idx="8495">
                  <c:v>0</c:v>
                </c:pt>
                <c:pt idx="8496">
                  <c:v>0</c:v>
                </c:pt>
                <c:pt idx="8497">
                  <c:v>0</c:v>
                </c:pt>
                <c:pt idx="8498">
                  <c:v>0</c:v>
                </c:pt>
                <c:pt idx="8499">
                  <c:v>0</c:v>
                </c:pt>
                <c:pt idx="8500">
                  <c:v>0</c:v>
                </c:pt>
                <c:pt idx="8501">
                  <c:v>0</c:v>
                </c:pt>
                <c:pt idx="8502">
                  <c:v>0</c:v>
                </c:pt>
                <c:pt idx="8503">
                  <c:v>0</c:v>
                </c:pt>
                <c:pt idx="8504">
                  <c:v>0</c:v>
                </c:pt>
                <c:pt idx="8505">
                  <c:v>0</c:v>
                </c:pt>
                <c:pt idx="8506">
                  <c:v>0</c:v>
                </c:pt>
                <c:pt idx="8507">
                  <c:v>0</c:v>
                </c:pt>
                <c:pt idx="8508">
                  <c:v>0</c:v>
                </c:pt>
                <c:pt idx="8509">
                  <c:v>0</c:v>
                </c:pt>
                <c:pt idx="8510">
                  <c:v>0</c:v>
                </c:pt>
                <c:pt idx="8511">
                  <c:v>0</c:v>
                </c:pt>
                <c:pt idx="8512">
                  <c:v>0</c:v>
                </c:pt>
                <c:pt idx="8513">
                  <c:v>0</c:v>
                </c:pt>
                <c:pt idx="8514">
                  <c:v>0</c:v>
                </c:pt>
                <c:pt idx="8515">
                  <c:v>0</c:v>
                </c:pt>
                <c:pt idx="8516">
                  <c:v>0</c:v>
                </c:pt>
                <c:pt idx="8517">
                  <c:v>0</c:v>
                </c:pt>
                <c:pt idx="8518">
                  <c:v>0</c:v>
                </c:pt>
                <c:pt idx="8519">
                  <c:v>0</c:v>
                </c:pt>
                <c:pt idx="8520">
                  <c:v>0</c:v>
                </c:pt>
                <c:pt idx="8521">
                  <c:v>0</c:v>
                </c:pt>
                <c:pt idx="8522">
                  <c:v>0</c:v>
                </c:pt>
                <c:pt idx="8523">
                  <c:v>0</c:v>
                </c:pt>
                <c:pt idx="8524">
                  <c:v>0</c:v>
                </c:pt>
                <c:pt idx="8525">
                  <c:v>0</c:v>
                </c:pt>
                <c:pt idx="8526">
                  <c:v>0</c:v>
                </c:pt>
                <c:pt idx="8527">
                  <c:v>0</c:v>
                </c:pt>
                <c:pt idx="8528">
                  <c:v>0</c:v>
                </c:pt>
                <c:pt idx="8529">
                  <c:v>0</c:v>
                </c:pt>
                <c:pt idx="8530">
                  <c:v>0</c:v>
                </c:pt>
                <c:pt idx="8531">
                  <c:v>0</c:v>
                </c:pt>
                <c:pt idx="8532">
                  <c:v>0</c:v>
                </c:pt>
                <c:pt idx="8533">
                  <c:v>0</c:v>
                </c:pt>
                <c:pt idx="8534">
                  <c:v>0</c:v>
                </c:pt>
                <c:pt idx="8535">
                  <c:v>0</c:v>
                </c:pt>
                <c:pt idx="8536">
                  <c:v>0</c:v>
                </c:pt>
                <c:pt idx="8537">
                  <c:v>0</c:v>
                </c:pt>
                <c:pt idx="8538">
                  <c:v>0</c:v>
                </c:pt>
                <c:pt idx="8539">
                  <c:v>0</c:v>
                </c:pt>
                <c:pt idx="8540">
                  <c:v>0</c:v>
                </c:pt>
                <c:pt idx="8541">
                  <c:v>0</c:v>
                </c:pt>
                <c:pt idx="8542">
                  <c:v>0</c:v>
                </c:pt>
                <c:pt idx="8543">
                  <c:v>0</c:v>
                </c:pt>
                <c:pt idx="8544">
                  <c:v>0</c:v>
                </c:pt>
                <c:pt idx="8545">
                  <c:v>0</c:v>
                </c:pt>
                <c:pt idx="8546">
                  <c:v>0</c:v>
                </c:pt>
                <c:pt idx="8547">
                  <c:v>0</c:v>
                </c:pt>
                <c:pt idx="8548">
                  <c:v>0</c:v>
                </c:pt>
                <c:pt idx="8549">
                  <c:v>0</c:v>
                </c:pt>
                <c:pt idx="8550">
                  <c:v>0</c:v>
                </c:pt>
                <c:pt idx="8551">
                  <c:v>0</c:v>
                </c:pt>
                <c:pt idx="8552">
                  <c:v>0</c:v>
                </c:pt>
                <c:pt idx="8553">
                  <c:v>0</c:v>
                </c:pt>
                <c:pt idx="8554">
                  <c:v>0</c:v>
                </c:pt>
                <c:pt idx="8555">
                  <c:v>0</c:v>
                </c:pt>
                <c:pt idx="8556">
                  <c:v>0</c:v>
                </c:pt>
                <c:pt idx="8557">
                  <c:v>0</c:v>
                </c:pt>
                <c:pt idx="8558">
                  <c:v>0</c:v>
                </c:pt>
                <c:pt idx="8559">
                  <c:v>0</c:v>
                </c:pt>
                <c:pt idx="8560">
                  <c:v>0</c:v>
                </c:pt>
                <c:pt idx="8561">
                  <c:v>0</c:v>
                </c:pt>
                <c:pt idx="8562">
                  <c:v>0</c:v>
                </c:pt>
                <c:pt idx="8563">
                  <c:v>0</c:v>
                </c:pt>
                <c:pt idx="8564">
                  <c:v>0</c:v>
                </c:pt>
                <c:pt idx="8565">
                  <c:v>0</c:v>
                </c:pt>
                <c:pt idx="8566">
                  <c:v>0</c:v>
                </c:pt>
                <c:pt idx="8567">
                  <c:v>0</c:v>
                </c:pt>
                <c:pt idx="8568">
                  <c:v>0</c:v>
                </c:pt>
                <c:pt idx="8569">
                  <c:v>0</c:v>
                </c:pt>
                <c:pt idx="8570">
                  <c:v>0</c:v>
                </c:pt>
                <c:pt idx="8571">
                  <c:v>0</c:v>
                </c:pt>
                <c:pt idx="8572">
                  <c:v>0</c:v>
                </c:pt>
                <c:pt idx="8573">
                  <c:v>0</c:v>
                </c:pt>
                <c:pt idx="8574">
                  <c:v>0</c:v>
                </c:pt>
                <c:pt idx="8575">
                  <c:v>0</c:v>
                </c:pt>
                <c:pt idx="8576">
                  <c:v>0</c:v>
                </c:pt>
                <c:pt idx="8577">
                  <c:v>0</c:v>
                </c:pt>
                <c:pt idx="8578">
                  <c:v>0</c:v>
                </c:pt>
                <c:pt idx="8579">
                  <c:v>0</c:v>
                </c:pt>
                <c:pt idx="8580">
                  <c:v>0</c:v>
                </c:pt>
                <c:pt idx="8581">
                  <c:v>0</c:v>
                </c:pt>
                <c:pt idx="8582">
                  <c:v>0</c:v>
                </c:pt>
                <c:pt idx="8583">
                  <c:v>0</c:v>
                </c:pt>
                <c:pt idx="8584">
                  <c:v>0</c:v>
                </c:pt>
                <c:pt idx="8585">
                  <c:v>0</c:v>
                </c:pt>
                <c:pt idx="8586">
                  <c:v>0</c:v>
                </c:pt>
                <c:pt idx="8587">
                  <c:v>0</c:v>
                </c:pt>
                <c:pt idx="8588">
                  <c:v>0</c:v>
                </c:pt>
                <c:pt idx="8589">
                  <c:v>0</c:v>
                </c:pt>
                <c:pt idx="8590">
                  <c:v>0</c:v>
                </c:pt>
                <c:pt idx="8591">
                  <c:v>0</c:v>
                </c:pt>
                <c:pt idx="8592">
                  <c:v>0</c:v>
                </c:pt>
                <c:pt idx="8593">
                  <c:v>0</c:v>
                </c:pt>
                <c:pt idx="8594">
                  <c:v>0</c:v>
                </c:pt>
                <c:pt idx="8595">
                  <c:v>0</c:v>
                </c:pt>
                <c:pt idx="8596">
                  <c:v>0</c:v>
                </c:pt>
                <c:pt idx="8597">
                  <c:v>0</c:v>
                </c:pt>
                <c:pt idx="8598">
                  <c:v>0</c:v>
                </c:pt>
                <c:pt idx="8599">
                  <c:v>0</c:v>
                </c:pt>
                <c:pt idx="8600">
                  <c:v>0</c:v>
                </c:pt>
                <c:pt idx="8601">
                  <c:v>0</c:v>
                </c:pt>
                <c:pt idx="8602">
                  <c:v>0</c:v>
                </c:pt>
                <c:pt idx="8603">
                  <c:v>0</c:v>
                </c:pt>
                <c:pt idx="8604">
                  <c:v>0</c:v>
                </c:pt>
                <c:pt idx="8605">
                  <c:v>0</c:v>
                </c:pt>
                <c:pt idx="8606">
                  <c:v>0</c:v>
                </c:pt>
                <c:pt idx="8607">
                  <c:v>0</c:v>
                </c:pt>
                <c:pt idx="8608">
                  <c:v>0</c:v>
                </c:pt>
                <c:pt idx="8609">
                  <c:v>0</c:v>
                </c:pt>
                <c:pt idx="8610">
                  <c:v>0</c:v>
                </c:pt>
                <c:pt idx="8611">
                  <c:v>0</c:v>
                </c:pt>
                <c:pt idx="8612">
                  <c:v>0</c:v>
                </c:pt>
                <c:pt idx="8613">
                  <c:v>0</c:v>
                </c:pt>
                <c:pt idx="8614">
                  <c:v>0</c:v>
                </c:pt>
                <c:pt idx="8615">
                  <c:v>0</c:v>
                </c:pt>
                <c:pt idx="8616">
                  <c:v>0</c:v>
                </c:pt>
                <c:pt idx="8617">
                  <c:v>0</c:v>
                </c:pt>
                <c:pt idx="8618">
                  <c:v>0</c:v>
                </c:pt>
                <c:pt idx="8619">
                  <c:v>0</c:v>
                </c:pt>
                <c:pt idx="8620">
                  <c:v>0</c:v>
                </c:pt>
                <c:pt idx="8621">
                  <c:v>0</c:v>
                </c:pt>
                <c:pt idx="8622">
                  <c:v>0</c:v>
                </c:pt>
                <c:pt idx="8623">
                  <c:v>0</c:v>
                </c:pt>
                <c:pt idx="8624">
                  <c:v>0</c:v>
                </c:pt>
                <c:pt idx="8625">
                  <c:v>0</c:v>
                </c:pt>
                <c:pt idx="8626">
                  <c:v>0</c:v>
                </c:pt>
                <c:pt idx="8627">
                  <c:v>0</c:v>
                </c:pt>
                <c:pt idx="8628">
                  <c:v>0</c:v>
                </c:pt>
                <c:pt idx="8629">
                  <c:v>0</c:v>
                </c:pt>
                <c:pt idx="8630">
                  <c:v>0</c:v>
                </c:pt>
                <c:pt idx="8631">
                  <c:v>0</c:v>
                </c:pt>
                <c:pt idx="8632">
                  <c:v>0</c:v>
                </c:pt>
                <c:pt idx="8633">
                  <c:v>0</c:v>
                </c:pt>
                <c:pt idx="8634">
                  <c:v>0</c:v>
                </c:pt>
                <c:pt idx="8635">
                  <c:v>0</c:v>
                </c:pt>
                <c:pt idx="8636">
                  <c:v>0</c:v>
                </c:pt>
                <c:pt idx="8637">
                  <c:v>0</c:v>
                </c:pt>
                <c:pt idx="8638">
                  <c:v>0</c:v>
                </c:pt>
                <c:pt idx="8639">
                  <c:v>0</c:v>
                </c:pt>
                <c:pt idx="8640">
                  <c:v>0</c:v>
                </c:pt>
                <c:pt idx="8641">
                  <c:v>0</c:v>
                </c:pt>
                <c:pt idx="8642">
                  <c:v>0</c:v>
                </c:pt>
                <c:pt idx="8643">
                  <c:v>0</c:v>
                </c:pt>
                <c:pt idx="8644">
                  <c:v>0</c:v>
                </c:pt>
                <c:pt idx="8645">
                  <c:v>0</c:v>
                </c:pt>
                <c:pt idx="8646">
                  <c:v>0</c:v>
                </c:pt>
                <c:pt idx="8647">
                  <c:v>0</c:v>
                </c:pt>
                <c:pt idx="8648">
                  <c:v>0</c:v>
                </c:pt>
                <c:pt idx="8649">
                  <c:v>0</c:v>
                </c:pt>
                <c:pt idx="8650">
                  <c:v>0</c:v>
                </c:pt>
                <c:pt idx="8651">
                  <c:v>0</c:v>
                </c:pt>
                <c:pt idx="8652">
                  <c:v>0</c:v>
                </c:pt>
                <c:pt idx="8653">
                  <c:v>0</c:v>
                </c:pt>
                <c:pt idx="8654">
                  <c:v>0</c:v>
                </c:pt>
                <c:pt idx="8655">
                  <c:v>0</c:v>
                </c:pt>
                <c:pt idx="8656">
                  <c:v>0</c:v>
                </c:pt>
                <c:pt idx="8657">
                  <c:v>0</c:v>
                </c:pt>
                <c:pt idx="8658">
                  <c:v>0</c:v>
                </c:pt>
                <c:pt idx="8659">
                  <c:v>0</c:v>
                </c:pt>
                <c:pt idx="8660">
                  <c:v>0</c:v>
                </c:pt>
                <c:pt idx="8661">
                  <c:v>0</c:v>
                </c:pt>
                <c:pt idx="8662">
                  <c:v>0</c:v>
                </c:pt>
                <c:pt idx="8663">
                  <c:v>0</c:v>
                </c:pt>
                <c:pt idx="8664">
                  <c:v>0</c:v>
                </c:pt>
                <c:pt idx="8665">
                  <c:v>0</c:v>
                </c:pt>
                <c:pt idx="8666">
                  <c:v>0</c:v>
                </c:pt>
                <c:pt idx="8667">
                  <c:v>0</c:v>
                </c:pt>
                <c:pt idx="8668">
                  <c:v>0</c:v>
                </c:pt>
                <c:pt idx="8669">
                  <c:v>0</c:v>
                </c:pt>
                <c:pt idx="8670">
                  <c:v>0</c:v>
                </c:pt>
                <c:pt idx="8671">
                  <c:v>0</c:v>
                </c:pt>
                <c:pt idx="8672">
                  <c:v>0</c:v>
                </c:pt>
                <c:pt idx="8673">
                  <c:v>0</c:v>
                </c:pt>
                <c:pt idx="8674">
                  <c:v>0</c:v>
                </c:pt>
                <c:pt idx="8675">
                  <c:v>0</c:v>
                </c:pt>
                <c:pt idx="8676">
                  <c:v>0</c:v>
                </c:pt>
                <c:pt idx="8677">
                  <c:v>0</c:v>
                </c:pt>
                <c:pt idx="8678">
                  <c:v>0</c:v>
                </c:pt>
                <c:pt idx="8679">
                  <c:v>0</c:v>
                </c:pt>
                <c:pt idx="8680">
                  <c:v>0</c:v>
                </c:pt>
                <c:pt idx="8681">
                  <c:v>0</c:v>
                </c:pt>
                <c:pt idx="8682">
                  <c:v>0</c:v>
                </c:pt>
                <c:pt idx="8683">
                  <c:v>0</c:v>
                </c:pt>
                <c:pt idx="8684">
                  <c:v>0</c:v>
                </c:pt>
                <c:pt idx="8685">
                  <c:v>0</c:v>
                </c:pt>
                <c:pt idx="8686">
                  <c:v>0</c:v>
                </c:pt>
                <c:pt idx="8687">
                  <c:v>0</c:v>
                </c:pt>
                <c:pt idx="8688">
                  <c:v>0</c:v>
                </c:pt>
                <c:pt idx="8689">
                  <c:v>0</c:v>
                </c:pt>
                <c:pt idx="8690">
                  <c:v>0</c:v>
                </c:pt>
                <c:pt idx="8691">
                  <c:v>0</c:v>
                </c:pt>
                <c:pt idx="8692">
                  <c:v>0</c:v>
                </c:pt>
                <c:pt idx="8693">
                  <c:v>0</c:v>
                </c:pt>
                <c:pt idx="8694">
                  <c:v>0</c:v>
                </c:pt>
                <c:pt idx="8695">
                  <c:v>0</c:v>
                </c:pt>
                <c:pt idx="8696">
                  <c:v>0</c:v>
                </c:pt>
                <c:pt idx="8697">
                  <c:v>0</c:v>
                </c:pt>
                <c:pt idx="8698">
                  <c:v>0</c:v>
                </c:pt>
                <c:pt idx="8699">
                  <c:v>0</c:v>
                </c:pt>
                <c:pt idx="8700">
                  <c:v>0</c:v>
                </c:pt>
                <c:pt idx="8701">
                  <c:v>0</c:v>
                </c:pt>
                <c:pt idx="8702">
                  <c:v>0</c:v>
                </c:pt>
                <c:pt idx="8703">
                  <c:v>0</c:v>
                </c:pt>
                <c:pt idx="8704">
                  <c:v>0</c:v>
                </c:pt>
                <c:pt idx="8705">
                  <c:v>0</c:v>
                </c:pt>
                <c:pt idx="8706">
                  <c:v>0</c:v>
                </c:pt>
                <c:pt idx="8707">
                  <c:v>0</c:v>
                </c:pt>
                <c:pt idx="8708">
                  <c:v>0</c:v>
                </c:pt>
                <c:pt idx="8709">
                  <c:v>0</c:v>
                </c:pt>
                <c:pt idx="8710">
                  <c:v>0</c:v>
                </c:pt>
                <c:pt idx="8711">
                  <c:v>0</c:v>
                </c:pt>
                <c:pt idx="8712">
                  <c:v>0</c:v>
                </c:pt>
                <c:pt idx="8713">
                  <c:v>0</c:v>
                </c:pt>
                <c:pt idx="8714">
                  <c:v>0</c:v>
                </c:pt>
                <c:pt idx="8715">
                  <c:v>0</c:v>
                </c:pt>
                <c:pt idx="8716">
                  <c:v>0</c:v>
                </c:pt>
                <c:pt idx="8717">
                  <c:v>0</c:v>
                </c:pt>
                <c:pt idx="8718">
                  <c:v>0</c:v>
                </c:pt>
                <c:pt idx="8719">
                  <c:v>0</c:v>
                </c:pt>
                <c:pt idx="8720">
                  <c:v>0</c:v>
                </c:pt>
                <c:pt idx="8721">
                  <c:v>0</c:v>
                </c:pt>
                <c:pt idx="8722">
                  <c:v>0</c:v>
                </c:pt>
                <c:pt idx="8723">
                  <c:v>0</c:v>
                </c:pt>
                <c:pt idx="8724">
                  <c:v>0</c:v>
                </c:pt>
                <c:pt idx="8725">
                  <c:v>0</c:v>
                </c:pt>
                <c:pt idx="8726">
                  <c:v>0</c:v>
                </c:pt>
                <c:pt idx="8727">
                  <c:v>0</c:v>
                </c:pt>
                <c:pt idx="8728">
                  <c:v>0</c:v>
                </c:pt>
                <c:pt idx="8729">
                  <c:v>0</c:v>
                </c:pt>
                <c:pt idx="8730">
                  <c:v>0</c:v>
                </c:pt>
                <c:pt idx="8731">
                  <c:v>0</c:v>
                </c:pt>
                <c:pt idx="8732">
                  <c:v>0</c:v>
                </c:pt>
                <c:pt idx="8733">
                  <c:v>0</c:v>
                </c:pt>
                <c:pt idx="8734">
                  <c:v>0</c:v>
                </c:pt>
                <c:pt idx="8735">
                  <c:v>0</c:v>
                </c:pt>
                <c:pt idx="8736">
                  <c:v>0</c:v>
                </c:pt>
                <c:pt idx="8737">
                  <c:v>0</c:v>
                </c:pt>
                <c:pt idx="8738">
                  <c:v>0</c:v>
                </c:pt>
                <c:pt idx="8739">
                  <c:v>0</c:v>
                </c:pt>
                <c:pt idx="8740">
                  <c:v>0</c:v>
                </c:pt>
                <c:pt idx="8741">
                  <c:v>0</c:v>
                </c:pt>
                <c:pt idx="8742">
                  <c:v>0</c:v>
                </c:pt>
                <c:pt idx="8743">
                  <c:v>0</c:v>
                </c:pt>
                <c:pt idx="8744">
                  <c:v>0</c:v>
                </c:pt>
                <c:pt idx="8745">
                  <c:v>0</c:v>
                </c:pt>
                <c:pt idx="8746">
                  <c:v>0</c:v>
                </c:pt>
                <c:pt idx="8747">
                  <c:v>0</c:v>
                </c:pt>
                <c:pt idx="8748">
                  <c:v>0</c:v>
                </c:pt>
                <c:pt idx="8749">
                  <c:v>0</c:v>
                </c:pt>
                <c:pt idx="8750">
                  <c:v>0</c:v>
                </c:pt>
                <c:pt idx="8751">
                  <c:v>0</c:v>
                </c:pt>
                <c:pt idx="8752">
                  <c:v>0</c:v>
                </c:pt>
                <c:pt idx="8753">
                  <c:v>0</c:v>
                </c:pt>
                <c:pt idx="8754">
                  <c:v>0</c:v>
                </c:pt>
                <c:pt idx="8755">
                  <c:v>0</c:v>
                </c:pt>
                <c:pt idx="8756">
                  <c:v>0</c:v>
                </c:pt>
                <c:pt idx="8757">
                  <c:v>0</c:v>
                </c:pt>
                <c:pt idx="8758">
                  <c:v>0</c:v>
                </c:pt>
                <c:pt idx="8759">
                  <c:v>0</c:v>
                </c:pt>
                <c:pt idx="8760">
                  <c:v>0</c:v>
                </c:pt>
                <c:pt idx="8761">
                  <c:v>0</c:v>
                </c:pt>
                <c:pt idx="8762">
                  <c:v>0</c:v>
                </c:pt>
                <c:pt idx="8763">
                  <c:v>0</c:v>
                </c:pt>
                <c:pt idx="8764">
                  <c:v>0</c:v>
                </c:pt>
                <c:pt idx="8765">
                  <c:v>0</c:v>
                </c:pt>
                <c:pt idx="8766">
                  <c:v>0</c:v>
                </c:pt>
                <c:pt idx="8767">
                  <c:v>0</c:v>
                </c:pt>
                <c:pt idx="8768">
                  <c:v>0</c:v>
                </c:pt>
                <c:pt idx="8769">
                  <c:v>0</c:v>
                </c:pt>
                <c:pt idx="8770">
                  <c:v>0</c:v>
                </c:pt>
                <c:pt idx="8771">
                  <c:v>0</c:v>
                </c:pt>
                <c:pt idx="8772">
                  <c:v>0</c:v>
                </c:pt>
                <c:pt idx="8773">
                  <c:v>0</c:v>
                </c:pt>
                <c:pt idx="8774">
                  <c:v>0</c:v>
                </c:pt>
                <c:pt idx="8775">
                  <c:v>0</c:v>
                </c:pt>
                <c:pt idx="8776">
                  <c:v>0</c:v>
                </c:pt>
                <c:pt idx="8777">
                  <c:v>0</c:v>
                </c:pt>
                <c:pt idx="8778">
                  <c:v>0</c:v>
                </c:pt>
                <c:pt idx="8779">
                  <c:v>0</c:v>
                </c:pt>
                <c:pt idx="8780">
                  <c:v>0</c:v>
                </c:pt>
                <c:pt idx="8781">
                  <c:v>0</c:v>
                </c:pt>
                <c:pt idx="8782">
                  <c:v>0</c:v>
                </c:pt>
                <c:pt idx="8783">
                  <c:v>0</c:v>
                </c:pt>
                <c:pt idx="8784">
                  <c:v>0</c:v>
                </c:pt>
                <c:pt idx="8785">
                  <c:v>0</c:v>
                </c:pt>
                <c:pt idx="8786">
                  <c:v>0</c:v>
                </c:pt>
                <c:pt idx="8787">
                  <c:v>0</c:v>
                </c:pt>
                <c:pt idx="8788">
                  <c:v>0</c:v>
                </c:pt>
                <c:pt idx="8789">
                  <c:v>0</c:v>
                </c:pt>
                <c:pt idx="8790">
                  <c:v>0</c:v>
                </c:pt>
                <c:pt idx="8791">
                  <c:v>0</c:v>
                </c:pt>
                <c:pt idx="8792">
                  <c:v>0</c:v>
                </c:pt>
                <c:pt idx="8793">
                  <c:v>0</c:v>
                </c:pt>
                <c:pt idx="8794">
                  <c:v>0</c:v>
                </c:pt>
                <c:pt idx="8795">
                  <c:v>0</c:v>
                </c:pt>
                <c:pt idx="8796">
                  <c:v>0</c:v>
                </c:pt>
                <c:pt idx="8797">
                  <c:v>0</c:v>
                </c:pt>
                <c:pt idx="8798">
                  <c:v>0</c:v>
                </c:pt>
                <c:pt idx="8799">
                  <c:v>0</c:v>
                </c:pt>
                <c:pt idx="8800">
                  <c:v>0</c:v>
                </c:pt>
                <c:pt idx="8801">
                  <c:v>0</c:v>
                </c:pt>
                <c:pt idx="8802">
                  <c:v>0</c:v>
                </c:pt>
                <c:pt idx="8803">
                  <c:v>0</c:v>
                </c:pt>
                <c:pt idx="8804">
                  <c:v>0</c:v>
                </c:pt>
                <c:pt idx="8805">
                  <c:v>0</c:v>
                </c:pt>
                <c:pt idx="8806">
                  <c:v>0</c:v>
                </c:pt>
                <c:pt idx="8807">
                  <c:v>0</c:v>
                </c:pt>
                <c:pt idx="8808">
                  <c:v>0</c:v>
                </c:pt>
                <c:pt idx="8809">
                  <c:v>0</c:v>
                </c:pt>
                <c:pt idx="8810">
                  <c:v>0</c:v>
                </c:pt>
                <c:pt idx="8811">
                  <c:v>0</c:v>
                </c:pt>
                <c:pt idx="8812">
                  <c:v>0</c:v>
                </c:pt>
                <c:pt idx="8813">
                  <c:v>0</c:v>
                </c:pt>
                <c:pt idx="8814">
                  <c:v>0</c:v>
                </c:pt>
                <c:pt idx="8815">
                  <c:v>0</c:v>
                </c:pt>
                <c:pt idx="8816">
                  <c:v>0</c:v>
                </c:pt>
                <c:pt idx="8817">
                  <c:v>0</c:v>
                </c:pt>
                <c:pt idx="8818">
                  <c:v>0</c:v>
                </c:pt>
                <c:pt idx="8819">
                  <c:v>0</c:v>
                </c:pt>
                <c:pt idx="8820">
                  <c:v>0</c:v>
                </c:pt>
                <c:pt idx="8821">
                  <c:v>0</c:v>
                </c:pt>
                <c:pt idx="8822">
                  <c:v>0</c:v>
                </c:pt>
                <c:pt idx="8823">
                  <c:v>0</c:v>
                </c:pt>
                <c:pt idx="8824">
                  <c:v>0</c:v>
                </c:pt>
                <c:pt idx="8825">
                  <c:v>0</c:v>
                </c:pt>
                <c:pt idx="8826">
                  <c:v>0</c:v>
                </c:pt>
                <c:pt idx="8827">
                  <c:v>0</c:v>
                </c:pt>
                <c:pt idx="8828">
                  <c:v>0</c:v>
                </c:pt>
                <c:pt idx="8829">
                  <c:v>0</c:v>
                </c:pt>
                <c:pt idx="8830">
                  <c:v>0</c:v>
                </c:pt>
                <c:pt idx="8831">
                  <c:v>0</c:v>
                </c:pt>
                <c:pt idx="8832">
                  <c:v>0</c:v>
                </c:pt>
                <c:pt idx="8833">
                  <c:v>0</c:v>
                </c:pt>
                <c:pt idx="8834">
                  <c:v>0</c:v>
                </c:pt>
                <c:pt idx="8835">
                  <c:v>0</c:v>
                </c:pt>
                <c:pt idx="8836">
                  <c:v>0</c:v>
                </c:pt>
                <c:pt idx="8837">
                  <c:v>0</c:v>
                </c:pt>
                <c:pt idx="8838">
                  <c:v>0</c:v>
                </c:pt>
                <c:pt idx="8839">
                  <c:v>0</c:v>
                </c:pt>
                <c:pt idx="8840">
                  <c:v>0</c:v>
                </c:pt>
                <c:pt idx="8841">
                  <c:v>0</c:v>
                </c:pt>
                <c:pt idx="8842">
                  <c:v>0</c:v>
                </c:pt>
                <c:pt idx="8843">
                  <c:v>0</c:v>
                </c:pt>
                <c:pt idx="8844">
                  <c:v>0</c:v>
                </c:pt>
                <c:pt idx="8845">
                  <c:v>0</c:v>
                </c:pt>
                <c:pt idx="8846">
                  <c:v>0</c:v>
                </c:pt>
                <c:pt idx="8847">
                  <c:v>0</c:v>
                </c:pt>
                <c:pt idx="8848">
                  <c:v>0</c:v>
                </c:pt>
                <c:pt idx="8849">
                  <c:v>0</c:v>
                </c:pt>
                <c:pt idx="8850">
                  <c:v>0</c:v>
                </c:pt>
                <c:pt idx="8851">
                  <c:v>0</c:v>
                </c:pt>
                <c:pt idx="8852">
                  <c:v>0</c:v>
                </c:pt>
                <c:pt idx="8853">
                  <c:v>0</c:v>
                </c:pt>
                <c:pt idx="8854">
                  <c:v>0</c:v>
                </c:pt>
                <c:pt idx="8855">
                  <c:v>0</c:v>
                </c:pt>
                <c:pt idx="8856">
                  <c:v>0</c:v>
                </c:pt>
                <c:pt idx="8857">
                  <c:v>0</c:v>
                </c:pt>
                <c:pt idx="8858">
                  <c:v>0</c:v>
                </c:pt>
                <c:pt idx="8859">
                  <c:v>0</c:v>
                </c:pt>
                <c:pt idx="8860">
                  <c:v>0</c:v>
                </c:pt>
                <c:pt idx="8861">
                  <c:v>0</c:v>
                </c:pt>
                <c:pt idx="8862">
                  <c:v>0</c:v>
                </c:pt>
                <c:pt idx="8863">
                  <c:v>0</c:v>
                </c:pt>
                <c:pt idx="8864">
                  <c:v>0</c:v>
                </c:pt>
                <c:pt idx="8865">
                  <c:v>0</c:v>
                </c:pt>
                <c:pt idx="8866">
                  <c:v>0</c:v>
                </c:pt>
                <c:pt idx="8867">
                  <c:v>0</c:v>
                </c:pt>
                <c:pt idx="8868">
                  <c:v>0</c:v>
                </c:pt>
                <c:pt idx="8869">
                  <c:v>0</c:v>
                </c:pt>
                <c:pt idx="8870">
                  <c:v>0</c:v>
                </c:pt>
                <c:pt idx="8871">
                  <c:v>0</c:v>
                </c:pt>
                <c:pt idx="8872">
                  <c:v>0</c:v>
                </c:pt>
                <c:pt idx="8873">
                  <c:v>0</c:v>
                </c:pt>
                <c:pt idx="8874">
                  <c:v>0</c:v>
                </c:pt>
                <c:pt idx="8875">
                  <c:v>0</c:v>
                </c:pt>
                <c:pt idx="8876">
                  <c:v>0</c:v>
                </c:pt>
                <c:pt idx="8877">
                  <c:v>0</c:v>
                </c:pt>
                <c:pt idx="8878">
                  <c:v>0</c:v>
                </c:pt>
                <c:pt idx="8879">
                  <c:v>0</c:v>
                </c:pt>
                <c:pt idx="8880">
                  <c:v>0</c:v>
                </c:pt>
                <c:pt idx="8881">
                  <c:v>0</c:v>
                </c:pt>
                <c:pt idx="8882">
                  <c:v>0</c:v>
                </c:pt>
                <c:pt idx="8883">
                  <c:v>0</c:v>
                </c:pt>
                <c:pt idx="8884">
                  <c:v>0</c:v>
                </c:pt>
                <c:pt idx="8885">
                  <c:v>0</c:v>
                </c:pt>
                <c:pt idx="8886">
                  <c:v>0</c:v>
                </c:pt>
                <c:pt idx="8887">
                  <c:v>0</c:v>
                </c:pt>
                <c:pt idx="8888">
                  <c:v>0</c:v>
                </c:pt>
                <c:pt idx="8889">
                  <c:v>0</c:v>
                </c:pt>
                <c:pt idx="8890">
                  <c:v>0</c:v>
                </c:pt>
                <c:pt idx="8891">
                  <c:v>0</c:v>
                </c:pt>
                <c:pt idx="8892">
                  <c:v>0</c:v>
                </c:pt>
                <c:pt idx="8893">
                  <c:v>0</c:v>
                </c:pt>
                <c:pt idx="8894">
                  <c:v>0</c:v>
                </c:pt>
                <c:pt idx="8895">
                  <c:v>0</c:v>
                </c:pt>
                <c:pt idx="8896">
                  <c:v>0</c:v>
                </c:pt>
                <c:pt idx="8897">
                  <c:v>0</c:v>
                </c:pt>
                <c:pt idx="8898">
                  <c:v>0</c:v>
                </c:pt>
                <c:pt idx="8899">
                  <c:v>0</c:v>
                </c:pt>
                <c:pt idx="8900">
                  <c:v>0</c:v>
                </c:pt>
                <c:pt idx="8901">
                  <c:v>0</c:v>
                </c:pt>
                <c:pt idx="8902">
                  <c:v>0</c:v>
                </c:pt>
                <c:pt idx="8903">
                  <c:v>0</c:v>
                </c:pt>
                <c:pt idx="8904">
                  <c:v>0</c:v>
                </c:pt>
                <c:pt idx="8905">
                  <c:v>0</c:v>
                </c:pt>
                <c:pt idx="8906">
                  <c:v>0</c:v>
                </c:pt>
                <c:pt idx="8907">
                  <c:v>0</c:v>
                </c:pt>
                <c:pt idx="8908">
                  <c:v>0</c:v>
                </c:pt>
                <c:pt idx="8909">
                  <c:v>0</c:v>
                </c:pt>
                <c:pt idx="8910">
                  <c:v>0</c:v>
                </c:pt>
                <c:pt idx="8911">
                  <c:v>0</c:v>
                </c:pt>
                <c:pt idx="8912">
                  <c:v>0</c:v>
                </c:pt>
                <c:pt idx="8913">
                  <c:v>0</c:v>
                </c:pt>
                <c:pt idx="8914">
                  <c:v>0</c:v>
                </c:pt>
                <c:pt idx="8915">
                  <c:v>0</c:v>
                </c:pt>
                <c:pt idx="8916">
                  <c:v>0</c:v>
                </c:pt>
                <c:pt idx="8917">
                  <c:v>0</c:v>
                </c:pt>
                <c:pt idx="8918">
                  <c:v>0</c:v>
                </c:pt>
                <c:pt idx="8919">
                  <c:v>0</c:v>
                </c:pt>
                <c:pt idx="8920">
                  <c:v>0</c:v>
                </c:pt>
                <c:pt idx="8921">
                  <c:v>0</c:v>
                </c:pt>
                <c:pt idx="8922">
                  <c:v>0</c:v>
                </c:pt>
                <c:pt idx="8923">
                  <c:v>0</c:v>
                </c:pt>
                <c:pt idx="8924">
                  <c:v>0</c:v>
                </c:pt>
                <c:pt idx="8925">
                  <c:v>0</c:v>
                </c:pt>
                <c:pt idx="8926">
                  <c:v>0</c:v>
                </c:pt>
                <c:pt idx="8927">
                  <c:v>0</c:v>
                </c:pt>
                <c:pt idx="8928">
                  <c:v>0</c:v>
                </c:pt>
                <c:pt idx="8929">
                  <c:v>0</c:v>
                </c:pt>
                <c:pt idx="8930">
                  <c:v>0</c:v>
                </c:pt>
                <c:pt idx="8931">
                  <c:v>0</c:v>
                </c:pt>
                <c:pt idx="8932">
                  <c:v>0</c:v>
                </c:pt>
                <c:pt idx="8933">
                  <c:v>0</c:v>
                </c:pt>
                <c:pt idx="8934">
                  <c:v>0</c:v>
                </c:pt>
                <c:pt idx="8935">
                  <c:v>0</c:v>
                </c:pt>
                <c:pt idx="8936">
                  <c:v>0</c:v>
                </c:pt>
                <c:pt idx="8937">
                  <c:v>0</c:v>
                </c:pt>
                <c:pt idx="8938">
                  <c:v>0</c:v>
                </c:pt>
                <c:pt idx="8939">
                  <c:v>0</c:v>
                </c:pt>
                <c:pt idx="8940">
                  <c:v>0</c:v>
                </c:pt>
                <c:pt idx="8941">
                  <c:v>0</c:v>
                </c:pt>
                <c:pt idx="8942">
                  <c:v>0</c:v>
                </c:pt>
                <c:pt idx="8943">
                  <c:v>0</c:v>
                </c:pt>
                <c:pt idx="8944">
                  <c:v>0</c:v>
                </c:pt>
                <c:pt idx="8945">
                  <c:v>0</c:v>
                </c:pt>
                <c:pt idx="8946">
                  <c:v>0</c:v>
                </c:pt>
                <c:pt idx="8947">
                  <c:v>0</c:v>
                </c:pt>
                <c:pt idx="8948">
                  <c:v>0</c:v>
                </c:pt>
                <c:pt idx="8949">
                  <c:v>0</c:v>
                </c:pt>
                <c:pt idx="8950">
                  <c:v>0</c:v>
                </c:pt>
                <c:pt idx="8951">
                  <c:v>0</c:v>
                </c:pt>
                <c:pt idx="8952">
                  <c:v>0</c:v>
                </c:pt>
                <c:pt idx="8953">
                  <c:v>0</c:v>
                </c:pt>
                <c:pt idx="8954">
                  <c:v>0</c:v>
                </c:pt>
                <c:pt idx="8955">
                  <c:v>0</c:v>
                </c:pt>
                <c:pt idx="8956">
                  <c:v>0</c:v>
                </c:pt>
                <c:pt idx="8957">
                  <c:v>0</c:v>
                </c:pt>
                <c:pt idx="8958">
                  <c:v>0</c:v>
                </c:pt>
                <c:pt idx="8959">
                  <c:v>0</c:v>
                </c:pt>
                <c:pt idx="8960">
                  <c:v>0</c:v>
                </c:pt>
                <c:pt idx="8961">
                  <c:v>0</c:v>
                </c:pt>
                <c:pt idx="8962">
                  <c:v>0</c:v>
                </c:pt>
                <c:pt idx="8963">
                  <c:v>0</c:v>
                </c:pt>
                <c:pt idx="8964">
                  <c:v>0</c:v>
                </c:pt>
                <c:pt idx="8965">
                  <c:v>0</c:v>
                </c:pt>
                <c:pt idx="8966">
                  <c:v>0</c:v>
                </c:pt>
                <c:pt idx="8967">
                  <c:v>0</c:v>
                </c:pt>
                <c:pt idx="8968">
                  <c:v>0</c:v>
                </c:pt>
                <c:pt idx="8969">
                  <c:v>0</c:v>
                </c:pt>
                <c:pt idx="8970">
                  <c:v>0</c:v>
                </c:pt>
                <c:pt idx="8971">
                  <c:v>0</c:v>
                </c:pt>
                <c:pt idx="8972">
                  <c:v>0</c:v>
                </c:pt>
                <c:pt idx="8973">
                  <c:v>0</c:v>
                </c:pt>
                <c:pt idx="8974">
                  <c:v>0</c:v>
                </c:pt>
                <c:pt idx="8975">
                  <c:v>0</c:v>
                </c:pt>
                <c:pt idx="8976">
                  <c:v>0</c:v>
                </c:pt>
                <c:pt idx="8977">
                  <c:v>0</c:v>
                </c:pt>
                <c:pt idx="8978">
                  <c:v>0</c:v>
                </c:pt>
                <c:pt idx="8979">
                  <c:v>0</c:v>
                </c:pt>
                <c:pt idx="8980">
                  <c:v>0</c:v>
                </c:pt>
                <c:pt idx="8981">
                  <c:v>0</c:v>
                </c:pt>
                <c:pt idx="8982">
                  <c:v>0</c:v>
                </c:pt>
                <c:pt idx="8983">
                  <c:v>0</c:v>
                </c:pt>
                <c:pt idx="8984">
                  <c:v>0</c:v>
                </c:pt>
                <c:pt idx="8985">
                  <c:v>0</c:v>
                </c:pt>
                <c:pt idx="8986">
                  <c:v>0</c:v>
                </c:pt>
                <c:pt idx="8987">
                  <c:v>0</c:v>
                </c:pt>
                <c:pt idx="8988">
                  <c:v>0</c:v>
                </c:pt>
                <c:pt idx="8989">
                  <c:v>0</c:v>
                </c:pt>
                <c:pt idx="8990">
                  <c:v>0</c:v>
                </c:pt>
                <c:pt idx="8991">
                  <c:v>0</c:v>
                </c:pt>
                <c:pt idx="8992">
                  <c:v>0</c:v>
                </c:pt>
                <c:pt idx="8993">
                  <c:v>0</c:v>
                </c:pt>
                <c:pt idx="8994">
                  <c:v>0</c:v>
                </c:pt>
                <c:pt idx="8995">
                  <c:v>0</c:v>
                </c:pt>
                <c:pt idx="8996">
                  <c:v>0</c:v>
                </c:pt>
                <c:pt idx="8997">
                  <c:v>0</c:v>
                </c:pt>
                <c:pt idx="8998">
                  <c:v>0</c:v>
                </c:pt>
                <c:pt idx="8999">
                  <c:v>0</c:v>
                </c:pt>
                <c:pt idx="9000">
                  <c:v>0</c:v>
                </c:pt>
                <c:pt idx="9001">
                  <c:v>0</c:v>
                </c:pt>
                <c:pt idx="9002">
                  <c:v>0</c:v>
                </c:pt>
                <c:pt idx="9003">
                  <c:v>0</c:v>
                </c:pt>
                <c:pt idx="9004">
                  <c:v>0</c:v>
                </c:pt>
                <c:pt idx="9005">
                  <c:v>0</c:v>
                </c:pt>
                <c:pt idx="9006">
                  <c:v>0</c:v>
                </c:pt>
                <c:pt idx="9007">
                  <c:v>0</c:v>
                </c:pt>
                <c:pt idx="9008">
                  <c:v>0</c:v>
                </c:pt>
                <c:pt idx="9009">
                  <c:v>0</c:v>
                </c:pt>
                <c:pt idx="9010">
                  <c:v>0</c:v>
                </c:pt>
                <c:pt idx="9011">
                  <c:v>0</c:v>
                </c:pt>
                <c:pt idx="9012">
                  <c:v>0</c:v>
                </c:pt>
                <c:pt idx="9013">
                  <c:v>0</c:v>
                </c:pt>
                <c:pt idx="9014">
                  <c:v>0</c:v>
                </c:pt>
                <c:pt idx="9015">
                  <c:v>0</c:v>
                </c:pt>
                <c:pt idx="9016">
                  <c:v>0</c:v>
                </c:pt>
                <c:pt idx="9017">
                  <c:v>0</c:v>
                </c:pt>
                <c:pt idx="9018">
                  <c:v>0</c:v>
                </c:pt>
                <c:pt idx="9019">
                  <c:v>0</c:v>
                </c:pt>
                <c:pt idx="9020">
                  <c:v>0</c:v>
                </c:pt>
                <c:pt idx="9021">
                  <c:v>0</c:v>
                </c:pt>
                <c:pt idx="9022">
                  <c:v>0</c:v>
                </c:pt>
                <c:pt idx="9023">
                  <c:v>0</c:v>
                </c:pt>
                <c:pt idx="9024">
                  <c:v>0</c:v>
                </c:pt>
                <c:pt idx="9025">
                  <c:v>0</c:v>
                </c:pt>
                <c:pt idx="9026">
                  <c:v>0</c:v>
                </c:pt>
                <c:pt idx="9027">
                  <c:v>0</c:v>
                </c:pt>
                <c:pt idx="9028">
                  <c:v>0</c:v>
                </c:pt>
                <c:pt idx="9029">
                  <c:v>0</c:v>
                </c:pt>
                <c:pt idx="9030">
                  <c:v>0</c:v>
                </c:pt>
                <c:pt idx="9031">
                  <c:v>0</c:v>
                </c:pt>
                <c:pt idx="9032">
                  <c:v>0</c:v>
                </c:pt>
                <c:pt idx="9033">
                  <c:v>0</c:v>
                </c:pt>
                <c:pt idx="9034">
                  <c:v>0</c:v>
                </c:pt>
                <c:pt idx="9035">
                  <c:v>0</c:v>
                </c:pt>
                <c:pt idx="9036">
                  <c:v>0</c:v>
                </c:pt>
                <c:pt idx="9037">
                  <c:v>0</c:v>
                </c:pt>
                <c:pt idx="9038">
                  <c:v>0</c:v>
                </c:pt>
                <c:pt idx="9039">
                  <c:v>0</c:v>
                </c:pt>
                <c:pt idx="9040">
                  <c:v>0</c:v>
                </c:pt>
                <c:pt idx="9041">
                  <c:v>0</c:v>
                </c:pt>
                <c:pt idx="9042">
                  <c:v>0</c:v>
                </c:pt>
                <c:pt idx="9043">
                  <c:v>0</c:v>
                </c:pt>
                <c:pt idx="9044">
                  <c:v>0</c:v>
                </c:pt>
                <c:pt idx="9045">
                  <c:v>0</c:v>
                </c:pt>
                <c:pt idx="9046">
                  <c:v>0</c:v>
                </c:pt>
                <c:pt idx="9047">
                  <c:v>0</c:v>
                </c:pt>
                <c:pt idx="9048">
                  <c:v>0</c:v>
                </c:pt>
                <c:pt idx="9049">
                  <c:v>0</c:v>
                </c:pt>
                <c:pt idx="9050">
                  <c:v>0</c:v>
                </c:pt>
                <c:pt idx="9051">
                  <c:v>0</c:v>
                </c:pt>
                <c:pt idx="9052">
                  <c:v>0</c:v>
                </c:pt>
                <c:pt idx="9053">
                  <c:v>0</c:v>
                </c:pt>
                <c:pt idx="9054">
                  <c:v>0</c:v>
                </c:pt>
                <c:pt idx="9055">
                  <c:v>0</c:v>
                </c:pt>
                <c:pt idx="9056">
                  <c:v>0</c:v>
                </c:pt>
                <c:pt idx="9057">
                  <c:v>0</c:v>
                </c:pt>
                <c:pt idx="9058">
                  <c:v>0</c:v>
                </c:pt>
                <c:pt idx="9059">
                  <c:v>0</c:v>
                </c:pt>
                <c:pt idx="9060">
                  <c:v>0</c:v>
                </c:pt>
                <c:pt idx="9061">
                  <c:v>0</c:v>
                </c:pt>
                <c:pt idx="9062">
                  <c:v>0</c:v>
                </c:pt>
                <c:pt idx="9063">
                  <c:v>0</c:v>
                </c:pt>
                <c:pt idx="9064">
                  <c:v>0</c:v>
                </c:pt>
                <c:pt idx="9065">
                  <c:v>0</c:v>
                </c:pt>
                <c:pt idx="9066">
                  <c:v>0</c:v>
                </c:pt>
                <c:pt idx="9067">
                  <c:v>0</c:v>
                </c:pt>
                <c:pt idx="9068">
                  <c:v>0</c:v>
                </c:pt>
                <c:pt idx="9069">
                  <c:v>0</c:v>
                </c:pt>
                <c:pt idx="9070">
                  <c:v>0</c:v>
                </c:pt>
                <c:pt idx="9071">
                  <c:v>0</c:v>
                </c:pt>
                <c:pt idx="9072">
                  <c:v>0</c:v>
                </c:pt>
                <c:pt idx="9073">
                  <c:v>0</c:v>
                </c:pt>
                <c:pt idx="9074">
                  <c:v>0</c:v>
                </c:pt>
                <c:pt idx="9075">
                  <c:v>0</c:v>
                </c:pt>
                <c:pt idx="9076">
                  <c:v>0</c:v>
                </c:pt>
                <c:pt idx="9077">
                  <c:v>0</c:v>
                </c:pt>
                <c:pt idx="9078">
                  <c:v>0</c:v>
                </c:pt>
                <c:pt idx="9079">
                  <c:v>0</c:v>
                </c:pt>
                <c:pt idx="9080">
                  <c:v>0</c:v>
                </c:pt>
                <c:pt idx="9081">
                  <c:v>0</c:v>
                </c:pt>
                <c:pt idx="9082">
                  <c:v>0</c:v>
                </c:pt>
                <c:pt idx="9083">
                  <c:v>0</c:v>
                </c:pt>
                <c:pt idx="9084">
                  <c:v>0</c:v>
                </c:pt>
                <c:pt idx="9085">
                  <c:v>0</c:v>
                </c:pt>
                <c:pt idx="9086">
                  <c:v>0</c:v>
                </c:pt>
                <c:pt idx="9087">
                  <c:v>0</c:v>
                </c:pt>
                <c:pt idx="9088">
                  <c:v>0</c:v>
                </c:pt>
                <c:pt idx="9089">
                  <c:v>0</c:v>
                </c:pt>
                <c:pt idx="9090">
                  <c:v>0</c:v>
                </c:pt>
                <c:pt idx="9091">
                  <c:v>0</c:v>
                </c:pt>
                <c:pt idx="9092">
                  <c:v>0</c:v>
                </c:pt>
                <c:pt idx="9093">
                  <c:v>0</c:v>
                </c:pt>
                <c:pt idx="9094">
                  <c:v>0</c:v>
                </c:pt>
                <c:pt idx="9095">
                  <c:v>0</c:v>
                </c:pt>
                <c:pt idx="9096">
                  <c:v>0</c:v>
                </c:pt>
                <c:pt idx="9097">
                  <c:v>0</c:v>
                </c:pt>
                <c:pt idx="9098">
                  <c:v>0</c:v>
                </c:pt>
                <c:pt idx="9099">
                  <c:v>0</c:v>
                </c:pt>
                <c:pt idx="9100">
                  <c:v>0</c:v>
                </c:pt>
                <c:pt idx="9101">
                  <c:v>0</c:v>
                </c:pt>
                <c:pt idx="9102">
                  <c:v>0</c:v>
                </c:pt>
                <c:pt idx="9103">
                  <c:v>0</c:v>
                </c:pt>
                <c:pt idx="9104">
                  <c:v>0</c:v>
                </c:pt>
                <c:pt idx="9105">
                  <c:v>0</c:v>
                </c:pt>
                <c:pt idx="9106">
                  <c:v>0</c:v>
                </c:pt>
                <c:pt idx="9107">
                  <c:v>0</c:v>
                </c:pt>
                <c:pt idx="9108">
                  <c:v>0</c:v>
                </c:pt>
                <c:pt idx="9109">
                  <c:v>0</c:v>
                </c:pt>
                <c:pt idx="9110">
                  <c:v>0</c:v>
                </c:pt>
                <c:pt idx="9111">
                  <c:v>0</c:v>
                </c:pt>
                <c:pt idx="9112">
                  <c:v>0</c:v>
                </c:pt>
                <c:pt idx="9113">
                  <c:v>0</c:v>
                </c:pt>
                <c:pt idx="9114">
                  <c:v>0</c:v>
                </c:pt>
                <c:pt idx="9115">
                  <c:v>0</c:v>
                </c:pt>
                <c:pt idx="9116">
                  <c:v>0</c:v>
                </c:pt>
                <c:pt idx="9117">
                  <c:v>0</c:v>
                </c:pt>
                <c:pt idx="9118">
                  <c:v>0</c:v>
                </c:pt>
                <c:pt idx="9119">
                  <c:v>0</c:v>
                </c:pt>
                <c:pt idx="9120">
                  <c:v>0</c:v>
                </c:pt>
                <c:pt idx="9121">
                  <c:v>0</c:v>
                </c:pt>
                <c:pt idx="9122">
                  <c:v>0</c:v>
                </c:pt>
                <c:pt idx="9123">
                  <c:v>0</c:v>
                </c:pt>
                <c:pt idx="9124">
                  <c:v>0</c:v>
                </c:pt>
                <c:pt idx="9125">
                  <c:v>0</c:v>
                </c:pt>
                <c:pt idx="9126">
                  <c:v>0</c:v>
                </c:pt>
                <c:pt idx="9127">
                  <c:v>0</c:v>
                </c:pt>
                <c:pt idx="9128">
                  <c:v>0</c:v>
                </c:pt>
                <c:pt idx="9129">
                  <c:v>0</c:v>
                </c:pt>
                <c:pt idx="9130">
                  <c:v>0</c:v>
                </c:pt>
                <c:pt idx="9131">
                  <c:v>0</c:v>
                </c:pt>
                <c:pt idx="9132">
                  <c:v>0</c:v>
                </c:pt>
                <c:pt idx="9133">
                  <c:v>0</c:v>
                </c:pt>
                <c:pt idx="9134">
                  <c:v>0</c:v>
                </c:pt>
                <c:pt idx="9135">
                  <c:v>0</c:v>
                </c:pt>
                <c:pt idx="9136">
                  <c:v>0</c:v>
                </c:pt>
                <c:pt idx="9137">
                  <c:v>0</c:v>
                </c:pt>
                <c:pt idx="9138">
                  <c:v>0</c:v>
                </c:pt>
                <c:pt idx="9139">
                  <c:v>0</c:v>
                </c:pt>
                <c:pt idx="9140">
                  <c:v>0</c:v>
                </c:pt>
                <c:pt idx="9141">
                  <c:v>0</c:v>
                </c:pt>
                <c:pt idx="9142">
                  <c:v>0</c:v>
                </c:pt>
                <c:pt idx="9143">
                  <c:v>0</c:v>
                </c:pt>
                <c:pt idx="9144">
                  <c:v>0</c:v>
                </c:pt>
                <c:pt idx="9145">
                  <c:v>0</c:v>
                </c:pt>
                <c:pt idx="9146">
                  <c:v>0</c:v>
                </c:pt>
                <c:pt idx="9147">
                  <c:v>0</c:v>
                </c:pt>
                <c:pt idx="9148">
                  <c:v>0</c:v>
                </c:pt>
                <c:pt idx="9149">
                  <c:v>0</c:v>
                </c:pt>
                <c:pt idx="9150">
                  <c:v>0</c:v>
                </c:pt>
                <c:pt idx="9151">
                  <c:v>0</c:v>
                </c:pt>
                <c:pt idx="9152">
                  <c:v>0</c:v>
                </c:pt>
                <c:pt idx="9153">
                  <c:v>0</c:v>
                </c:pt>
                <c:pt idx="9154">
                  <c:v>0</c:v>
                </c:pt>
                <c:pt idx="9155">
                  <c:v>0</c:v>
                </c:pt>
                <c:pt idx="9156">
                  <c:v>0</c:v>
                </c:pt>
                <c:pt idx="9157">
                  <c:v>0</c:v>
                </c:pt>
                <c:pt idx="9158">
                  <c:v>0</c:v>
                </c:pt>
                <c:pt idx="9159">
                  <c:v>0</c:v>
                </c:pt>
                <c:pt idx="9160">
                  <c:v>0</c:v>
                </c:pt>
                <c:pt idx="9161">
                  <c:v>0</c:v>
                </c:pt>
                <c:pt idx="9162">
                  <c:v>0</c:v>
                </c:pt>
                <c:pt idx="9163">
                  <c:v>0</c:v>
                </c:pt>
                <c:pt idx="9164">
                  <c:v>0</c:v>
                </c:pt>
                <c:pt idx="9165">
                  <c:v>0</c:v>
                </c:pt>
                <c:pt idx="9166">
                  <c:v>0</c:v>
                </c:pt>
                <c:pt idx="9167">
                  <c:v>0</c:v>
                </c:pt>
                <c:pt idx="9168">
                  <c:v>0</c:v>
                </c:pt>
                <c:pt idx="9169">
                  <c:v>0</c:v>
                </c:pt>
                <c:pt idx="9170">
                  <c:v>0</c:v>
                </c:pt>
                <c:pt idx="9171">
                  <c:v>0</c:v>
                </c:pt>
                <c:pt idx="9172">
                  <c:v>0</c:v>
                </c:pt>
                <c:pt idx="9173">
                  <c:v>0</c:v>
                </c:pt>
                <c:pt idx="9174">
                  <c:v>0</c:v>
                </c:pt>
                <c:pt idx="9175">
                  <c:v>0</c:v>
                </c:pt>
                <c:pt idx="9176">
                  <c:v>0</c:v>
                </c:pt>
                <c:pt idx="9177">
                  <c:v>0</c:v>
                </c:pt>
                <c:pt idx="9178">
                  <c:v>0</c:v>
                </c:pt>
                <c:pt idx="9179">
                  <c:v>0</c:v>
                </c:pt>
                <c:pt idx="9180">
                  <c:v>0</c:v>
                </c:pt>
                <c:pt idx="9181">
                  <c:v>0</c:v>
                </c:pt>
                <c:pt idx="9182">
                  <c:v>0</c:v>
                </c:pt>
                <c:pt idx="9183">
                  <c:v>0</c:v>
                </c:pt>
                <c:pt idx="9184">
                  <c:v>0</c:v>
                </c:pt>
                <c:pt idx="9185">
                  <c:v>0</c:v>
                </c:pt>
                <c:pt idx="9186">
                  <c:v>0</c:v>
                </c:pt>
                <c:pt idx="9187">
                  <c:v>0</c:v>
                </c:pt>
                <c:pt idx="9188">
                  <c:v>0</c:v>
                </c:pt>
                <c:pt idx="9189">
                  <c:v>0</c:v>
                </c:pt>
                <c:pt idx="9190">
                  <c:v>0</c:v>
                </c:pt>
                <c:pt idx="9191">
                  <c:v>0</c:v>
                </c:pt>
                <c:pt idx="9192">
                  <c:v>0</c:v>
                </c:pt>
                <c:pt idx="9193">
                  <c:v>0</c:v>
                </c:pt>
                <c:pt idx="9194">
                  <c:v>0</c:v>
                </c:pt>
                <c:pt idx="9195">
                  <c:v>0</c:v>
                </c:pt>
                <c:pt idx="9196">
                  <c:v>0</c:v>
                </c:pt>
                <c:pt idx="9197">
                  <c:v>0</c:v>
                </c:pt>
                <c:pt idx="9198">
                  <c:v>0</c:v>
                </c:pt>
                <c:pt idx="9199">
                  <c:v>0</c:v>
                </c:pt>
                <c:pt idx="9200">
                  <c:v>0</c:v>
                </c:pt>
                <c:pt idx="9201">
                  <c:v>0</c:v>
                </c:pt>
                <c:pt idx="9202">
                  <c:v>0</c:v>
                </c:pt>
                <c:pt idx="9203">
                  <c:v>0</c:v>
                </c:pt>
                <c:pt idx="9204">
                  <c:v>0</c:v>
                </c:pt>
                <c:pt idx="9205">
                  <c:v>0</c:v>
                </c:pt>
                <c:pt idx="9206">
                  <c:v>0</c:v>
                </c:pt>
                <c:pt idx="9207">
                  <c:v>0</c:v>
                </c:pt>
                <c:pt idx="9208">
                  <c:v>0</c:v>
                </c:pt>
                <c:pt idx="9209">
                  <c:v>0</c:v>
                </c:pt>
                <c:pt idx="9210">
                  <c:v>0</c:v>
                </c:pt>
                <c:pt idx="9211">
                  <c:v>0</c:v>
                </c:pt>
                <c:pt idx="9212">
                  <c:v>0</c:v>
                </c:pt>
                <c:pt idx="9213">
                  <c:v>0</c:v>
                </c:pt>
                <c:pt idx="9214">
                  <c:v>0</c:v>
                </c:pt>
                <c:pt idx="9215">
                  <c:v>0</c:v>
                </c:pt>
                <c:pt idx="9216">
                  <c:v>0</c:v>
                </c:pt>
                <c:pt idx="9217">
                  <c:v>0</c:v>
                </c:pt>
                <c:pt idx="9218">
                  <c:v>0</c:v>
                </c:pt>
                <c:pt idx="9219">
                  <c:v>0</c:v>
                </c:pt>
                <c:pt idx="9220">
                  <c:v>0</c:v>
                </c:pt>
                <c:pt idx="9221">
                  <c:v>0</c:v>
                </c:pt>
                <c:pt idx="9222">
                  <c:v>0</c:v>
                </c:pt>
                <c:pt idx="9223">
                  <c:v>0</c:v>
                </c:pt>
                <c:pt idx="9224">
                  <c:v>0</c:v>
                </c:pt>
                <c:pt idx="9225">
                  <c:v>0</c:v>
                </c:pt>
                <c:pt idx="9226">
                  <c:v>0</c:v>
                </c:pt>
                <c:pt idx="9227">
                  <c:v>0</c:v>
                </c:pt>
                <c:pt idx="9228">
                  <c:v>0</c:v>
                </c:pt>
                <c:pt idx="9229">
                  <c:v>0</c:v>
                </c:pt>
                <c:pt idx="9230">
                  <c:v>0</c:v>
                </c:pt>
                <c:pt idx="9231">
                  <c:v>0</c:v>
                </c:pt>
                <c:pt idx="9232">
                  <c:v>0</c:v>
                </c:pt>
                <c:pt idx="9233">
                  <c:v>0</c:v>
                </c:pt>
                <c:pt idx="9234">
                  <c:v>0</c:v>
                </c:pt>
                <c:pt idx="9235">
                  <c:v>0</c:v>
                </c:pt>
                <c:pt idx="9236">
                  <c:v>0</c:v>
                </c:pt>
                <c:pt idx="9237">
                  <c:v>0</c:v>
                </c:pt>
                <c:pt idx="9238">
                  <c:v>0</c:v>
                </c:pt>
                <c:pt idx="9239">
                  <c:v>0</c:v>
                </c:pt>
                <c:pt idx="9240">
                  <c:v>0</c:v>
                </c:pt>
                <c:pt idx="9241">
                  <c:v>0</c:v>
                </c:pt>
                <c:pt idx="9242">
                  <c:v>0</c:v>
                </c:pt>
                <c:pt idx="9243">
                  <c:v>0</c:v>
                </c:pt>
                <c:pt idx="9244">
                  <c:v>0</c:v>
                </c:pt>
                <c:pt idx="9245">
                  <c:v>0</c:v>
                </c:pt>
                <c:pt idx="9246">
                  <c:v>0</c:v>
                </c:pt>
                <c:pt idx="9247">
                  <c:v>0</c:v>
                </c:pt>
                <c:pt idx="9248">
                  <c:v>0</c:v>
                </c:pt>
                <c:pt idx="9249">
                  <c:v>0</c:v>
                </c:pt>
                <c:pt idx="9250">
                  <c:v>0</c:v>
                </c:pt>
                <c:pt idx="9251">
                  <c:v>0</c:v>
                </c:pt>
                <c:pt idx="9252">
                  <c:v>0</c:v>
                </c:pt>
                <c:pt idx="9253">
                  <c:v>0</c:v>
                </c:pt>
                <c:pt idx="9254">
                  <c:v>0</c:v>
                </c:pt>
                <c:pt idx="9255">
                  <c:v>0</c:v>
                </c:pt>
                <c:pt idx="9256">
                  <c:v>0</c:v>
                </c:pt>
                <c:pt idx="9257">
                  <c:v>0</c:v>
                </c:pt>
                <c:pt idx="9258">
                  <c:v>0</c:v>
                </c:pt>
                <c:pt idx="9259">
                  <c:v>0</c:v>
                </c:pt>
                <c:pt idx="9260">
                  <c:v>0</c:v>
                </c:pt>
                <c:pt idx="9261">
                  <c:v>0</c:v>
                </c:pt>
                <c:pt idx="9262">
                  <c:v>0</c:v>
                </c:pt>
                <c:pt idx="9263">
                  <c:v>0</c:v>
                </c:pt>
                <c:pt idx="9264">
                  <c:v>0</c:v>
                </c:pt>
                <c:pt idx="9265">
                  <c:v>0</c:v>
                </c:pt>
                <c:pt idx="9266">
                  <c:v>0</c:v>
                </c:pt>
                <c:pt idx="9267">
                  <c:v>0</c:v>
                </c:pt>
                <c:pt idx="9268">
                  <c:v>0</c:v>
                </c:pt>
                <c:pt idx="9269">
                  <c:v>0</c:v>
                </c:pt>
                <c:pt idx="9270">
                  <c:v>0</c:v>
                </c:pt>
                <c:pt idx="9271">
                  <c:v>0</c:v>
                </c:pt>
                <c:pt idx="9272">
                  <c:v>0</c:v>
                </c:pt>
                <c:pt idx="9273">
                  <c:v>0</c:v>
                </c:pt>
                <c:pt idx="9274">
                  <c:v>0</c:v>
                </c:pt>
                <c:pt idx="9275">
                  <c:v>0</c:v>
                </c:pt>
                <c:pt idx="9276">
                  <c:v>0</c:v>
                </c:pt>
                <c:pt idx="9277">
                  <c:v>0</c:v>
                </c:pt>
                <c:pt idx="9278">
                  <c:v>0</c:v>
                </c:pt>
                <c:pt idx="9279">
                  <c:v>0</c:v>
                </c:pt>
                <c:pt idx="9280">
                  <c:v>0</c:v>
                </c:pt>
                <c:pt idx="9281">
                  <c:v>0</c:v>
                </c:pt>
                <c:pt idx="9282">
                  <c:v>0</c:v>
                </c:pt>
                <c:pt idx="9283">
                  <c:v>0</c:v>
                </c:pt>
                <c:pt idx="9284">
                  <c:v>0</c:v>
                </c:pt>
                <c:pt idx="9285">
                  <c:v>0</c:v>
                </c:pt>
                <c:pt idx="9286">
                  <c:v>0</c:v>
                </c:pt>
                <c:pt idx="9287">
                  <c:v>0</c:v>
                </c:pt>
                <c:pt idx="9288">
                  <c:v>0</c:v>
                </c:pt>
                <c:pt idx="9289">
                  <c:v>0</c:v>
                </c:pt>
                <c:pt idx="9290">
                  <c:v>0</c:v>
                </c:pt>
                <c:pt idx="9291">
                  <c:v>0</c:v>
                </c:pt>
                <c:pt idx="9292">
                  <c:v>0</c:v>
                </c:pt>
                <c:pt idx="9293">
                  <c:v>0</c:v>
                </c:pt>
                <c:pt idx="9294">
                  <c:v>0</c:v>
                </c:pt>
                <c:pt idx="9295">
                  <c:v>0</c:v>
                </c:pt>
                <c:pt idx="9296">
                  <c:v>0</c:v>
                </c:pt>
                <c:pt idx="9297">
                  <c:v>0</c:v>
                </c:pt>
                <c:pt idx="9298">
                  <c:v>0</c:v>
                </c:pt>
                <c:pt idx="9299">
                  <c:v>0</c:v>
                </c:pt>
                <c:pt idx="9300">
                  <c:v>0</c:v>
                </c:pt>
                <c:pt idx="9301">
                  <c:v>0</c:v>
                </c:pt>
                <c:pt idx="9302">
                  <c:v>0</c:v>
                </c:pt>
                <c:pt idx="9303">
                  <c:v>0</c:v>
                </c:pt>
                <c:pt idx="9304">
                  <c:v>0</c:v>
                </c:pt>
                <c:pt idx="9305">
                  <c:v>0</c:v>
                </c:pt>
                <c:pt idx="9306">
                  <c:v>0</c:v>
                </c:pt>
                <c:pt idx="9307">
                  <c:v>0</c:v>
                </c:pt>
                <c:pt idx="9308">
                  <c:v>0</c:v>
                </c:pt>
                <c:pt idx="9309">
                  <c:v>0</c:v>
                </c:pt>
                <c:pt idx="9310">
                  <c:v>0</c:v>
                </c:pt>
                <c:pt idx="9311">
                  <c:v>0</c:v>
                </c:pt>
                <c:pt idx="9312">
                  <c:v>0</c:v>
                </c:pt>
                <c:pt idx="9313">
                  <c:v>0</c:v>
                </c:pt>
                <c:pt idx="9314">
                  <c:v>0</c:v>
                </c:pt>
                <c:pt idx="9315">
                  <c:v>0</c:v>
                </c:pt>
                <c:pt idx="9316">
                  <c:v>0</c:v>
                </c:pt>
                <c:pt idx="9317">
                  <c:v>0</c:v>
                </c:pt>
                <c:pt idx="9318">
                  <c:v>0</c:v>
                </c:pt>
                <c:pt idx="9319">
                  <c:v>0</c:v>
                </c:pt>
                <c:pt idx="9320">
                  <c:v>0</c:v>
                </c:pt>
                <c:pt idx="9321">
                  <c:v>0</c:v>
                </c:pt>
                <c:pt idx="9322">
                  <c:v>0</c:v>
                </c:pt>
                <c:pt idx="9323">
                  <c:v>0</c:v>
                </c:pt>
                <c:pt idx="9324">
                  <c:v>0</c:v>
                </c:pt>
                <c:pt idx="9325">
                  <c:v>0</c:v>
                </c:pt>
                <c:pt idx="9326">
                  <c:v>0</c:v>
                </c:pt>
                <c:pt idx="9327">
                  <c:v>0</c:v>
                </c:pt>
                <c:pt idx="9328">
                  <c:v>0</c:v>
                </c:pt>
                <c:pt idx="9329">
                  <c:v>0</c:v>
                </c:pt>
                <c:pt idx="9330">
                  <c:v>0</c:v>
                </c:pt>
                <c:pt idx="9331">
                  <c:v>0</c:v>
                </c:pt>
                <c:pt idx="9332">
                  <c:v>0</c:v>
                </c:pt>
                <c:pt idx="9333">
                  <c:v>0</c:v>
                </c:pt>
                <c:pt idx="9334">
                  <c:v>0</c:v>
                </c:pt>
                <c:pt idx="9335">
                  <c:v>0</c:v>
                </c:pt>
                <c:pt idx="9336">
                  <c:v>0</c:v>
                </c:pt>
                <c:pt idx="9337">
                  <c:v>0</c:v>
                </c:pt>
                <c:pt idx="9338">
                  <c:v>0</c:v>
                </c:pt>
                <c:pt idx="9339">
                  <c:v>0</c:v>
                </c:pt>
                <c:pt idx="9340">
                  <c:v>0</c:v>
                </c:pt>
                <c:pt idx="9341">
                  <c:v>0</c:v>
                </c:pt>
                <c:pt idx="9342">
                  <c:v>0</c:v>
                </c:pt>
                <c:pt idx="9343">
                  <c:v>0</c:v>
                </c:pt>
                <c:pt idx="9344">
                  <c:v>0</c:v>
                </c:pt>
                <c:pt idx="9345">
                  <c:v>0</c:v>
                </c:pt>
                <c:pt idx="9346">
                  <c:v>0</c:v>
                </c:pt>
                <c:pt idx="9347">
                  <c:v>0</c:v>
                </c:pt>
                <c:pt idx="9348">
                  <c:v>0</c:v>
                </c:pt>
                <c:pt idx="9349">
                  <c:v>0</c:v>
                </c:pt>
                <c:pt idx="9350">
                  <c:v>0</c:v>
                </c:pt>
                <c:pt idx="9351">
                  <c:v>0</c:v>
                </c:pt>
                <c:pt idx="9352">
                  <c:v>0</c:v>
                </c:pt>
                <c:pt idx="9353">
                  <c:v>0</c:v>
                </c:pt>
                <c:pt idx="9354">
                  <c:v>0</c:v>
                </c:pt>
                <c:pt idx="9355">
                  <c:v>0</c:v>
                </c:pt>
                <c:pt idx="9356">
                  <c:v>0</c:v>
                </c:pt>
                <c:pt idx="9357">
                  <c:v>0</c:v>
                </c:pt>
                <c:pt idx="9358">
                  <c:v>0</c:v>
                </c:pt>
                <c:pt idx="9359">
                  <c:v>0</c:v>
                </c:pt>
                <c:pt idx="9360">
                  <c:v>0</c:v>
                </c:pt>
                <c:pt idx="9361">
                  <c:v>0</c:v>
                </c:pt>
                <c:pt idx="9362">
                  <c:v>0</c:v>
                </c:pt>
                <c:pt idx="9363">
                  <c:v>0</c:v>
                </c:pt>
                <c:pt idx="9364">
                  <c:v>0</c:v>
                </c:pt>
                <c:pt idx="9365">
                  <c:v>0</c:v>
                </c:pt>
                <c:pt idx="9366">
                  <c:v>0</c:v>
                </c:pt>
                <c:pt idx="9367">
                  <c:v>0</c:v>
                </c:pt>
                <c:pt idx="9368">
                  <c:v>0</c:v>
                </c:pt>
                <c:pt idx="9369">
                  <c:v>0</c:v>
                </c:pt>
                <c:pt idx="9370">
                  <c:v>0</c:v>
                </c:pt>
                <c:pt idx="9371">
                  <c:v>0</c:v>
                </c:pt>
                <c:pt idx="9372">
                  <c:v>0</c:v>
                </c:pt>
                <c:pt idx="9373">
                  <c:v>0</c:v>
                </c:pt>
                <c:pt idx="9374">
                  <c:v>0</c:v>
                </c:pt>
                <c:pt idx="9375">
                  <c:v>0</c:v>
                </c:pt>
                <c:pt idx="9376">
                  <c:v>0</c:v>
                </c:pt>
                <c:pt idx="9377">
                  <c:v>0</c:v>
                </c:pt>
                <c:pt idx="9378">
                  <c:v>0</c:v>
                </c:pt>
                <c:pt idx="9379">
                  <c:v>0</c:v>
                </c:pt>
                <c:pt idx="9380">
                  <c:v>0</c:v>
                </c:pt>
                <c:pt idx="9381">
                  <c:v>0</c:v>
                </c:pt>
                <c:pt idx="9382">
                  <c:v>0</c:v>
                </c:pt>
                <c:pt idx="9383">
                  <c:v>0</c:v>
                </c:pt>
                <c:pt idx="9384">
                  <c:v>0</c:v>
                </c:pt>
                <c:pt idx="9385">
                  <c:v>0</c:v>
                </c:pt>
                <c:pt idx="9386">
                  <c:v>0</c:v>
                </c:pt>
                <c:pt idx="9387">
                  <c:v>0</c:v>
                </c:pt>
                <c:pt idx="9388">
                  <c:v>0</c:v>
                </c:pt>
                <c:pt idx="9389">
                  <c:v>0</c:v>
                </c:pt>
                <c:pt idx="9390">
                  <c:v>0</c:v>
                </c:pt>
                <c:pt idx="9391">
                  <c:v>0</c:v>
                </c:pt>
                <c:pt idx="9392">
                  <c:v>0</c:v>
                </c:pt>
                <c:pt idx="9393">
                  <c:v>0</c:v>
                </c:pt>
                <c:pt idx="9394">
                  <c:v>0</c:v>
                </c:pt>
                <c:pt idx="9395">
                  <c:v>0</c:v>
                </c:pt>
                <c:pt idx="9396">
                  <c:v>0</c:v>
                </c:pt>
                <c:pt idx="9397">
                  <c:v>0</c:v>
                </c:pt>
                <c:pt idx="9398">
                  <c:v>0</c:v>
                </c:pt>
                <c:pt idx="9399">
                  <c:v>0</c:v>
                </c:pt>
                <c:pt idx="9400">
                  <c:v>0</c:v>
                </c:pt>
                <c:pt idx="9401">
                  <c:v>0</c:v>
                </c:pt>
                <c:pt idx="9402">
                  <c:v>0</c:v>
                </c:pt>
                <c:pt idx="9403">
                  <c:v>0</c:v>
                </c:pt>
                <c:pt idx="9404">
                  <c:v>0</c:v>
                </c:pt>
                <c:pt idx="9405">
                  <c:v>0</c:v>
                </c:pt>
                <c:pt idx="9406">
                  <c:v>0</c:v>
                </c:pt>
                <c:pt idx="9407">
                  <c:v>0</c:v>
                </c:pt>
                <c:pt idx="9408">
                  <c:v>0</c:v>
                </c:pt>
                <c:pt idx="9409">
                  <c:v>0</c:v>
                </c:pt>
                <c:pt idx="9410">
                  <c:v>0</c:v>
                </c:pt>
                <c:pt idx="9411">
                  <c:v>0</c:v>
                </c:pt>
                <c:pt idx="9412">
                  <c:v>0</c:v>
                </c:pt>
                <c:pt idx="9413">
                  <c:v>0</c:v>
                </c:pt>
                <c:pt idx="9414">
                  <c:v>0</c:v>
                </c:pt>
                <c:pt idx="9415">
                  <c:v>0</c:v>
                </c:pt>
                <c:pt idx="9416">
                  <c:v>0</c:v>
                </c:pt>
                <c:pt idx="9417">
                  <c:v>0</c:v>
                </c:pt>
                <c:pt idx="9418">
                  <c:v>0</c:v>
                </c:pt>
                <c:pt idx="9419">
                  <c:v>0</c:v>
                </c:pt>
                <c:pt idx="9420">
                  <c:v>0</c:v>
                </c:pt>
                <c:pt idx="9421">
                  <c:v>0</c:v>
                </c:pt>
                <c:pt idx="9422">
                  <c:v>0</c:v>
                </c:pt>
                <c:pt idx="9423">
                  <c:v>0</c:v>
                </c:pt>
                <c:pt idx="9424">
                  <c:v>0</c:v>
                </c:pt>
                <c:pt idx="9425">
                  <c:v>0</c:v>
                </c:pt>
                <c:pt idx="9426">
                  <c:v>0</c:v>
                </c:pt>
                <c:pt idx="9427">
                  <c:v>0</c:v>
                </c:pt>
                <c:pt idx="9428">
                  <c:v>0</c:v>
                </c:pt>
                <c:pt idx="9429">
                  <c:v>0</c:v>
                </c:pt>
                <c:pt idx="9430">
                  <c:v>0</c:v>
                </c:pt>
                <c:pt idx="9431">
                  <c:v>0</c:v>
                </c:pt>
                <c:pt idx="9432">
                  <c:v>0</c:v>
                </c:pt>
                <c:pt idx="9433">
                  <c:v>0</c:v>
                </c:pt>
                <c:pt idx="9434">
                  <c:v>0</c:v>
                </c:pt>
                <c:pt idx="9435">
                  <c:v>0</c:v>
                </c:pt>
                <c:pt idx="9436">
                  <c:v>0</c:v>
                </c:pt>
                <c:pt idx="9437">
                  <c:v>0</c:v>
                </c:pt>
                <c:pt idx="9438">
                  <c:v>0</c:v>
                </c:pt>
                <c:pt idx="9439">
                  <c:v>0</c:v>
                </c:pt>
                <c:pt idx="9440">
                  <c:v>0</c:v>
                </c:pt>
                <c:pt idx="9441">
                  <c:v>0</c:v>
                </c:pt>
                <c:pt idx="9442">
                  <c:v>0</c:v>
                </c:pt>
                <c:pt idx="9443">
                  <c:v>0</c:v>
                </c:pt>
                <c:pt idx="9444">
                  <c:v>0</c:v>
                </c:pt>
                <c:pt idx="9445">
                  <c:v>0</c:v>
                </c:pt>
                <c:pt idx="9446">
                  <c:v>0</c:v>
                </c:pt>
                <c:pt idx="9447">
                  <c:v>0</c:v>
                </c:pt>
                <c:pt idx="9448">
                  <c:v>0</c:v>
                </c:pt>
                <c:pt idx="9449">
                  <c:v>0</c:v>
                </c:pt>
                <c:pt idx="9450">
                  <c:v>0</c:v>
                </c:pt>
                <c:pt idx="9451">
                  <c:v>0</c:v>
                </c:pt>
                <c:pt idx="9452">
                  <c:v>0</c:v>
                </c:pt>
                <c:pt idx="9453">
                  <c:v>0</c:v>
                </c:pt>
                <c:pt idx="9454">
                  <c:v>0</c:v>
                </c:pt>
                <c:pt idx="9455">
                  <c:v>0</c:v>
                </c:pt>
                <c:pt idx="9456">
                  <c:v>0</c:v>
                </c:pt>
                <c:pt idx="9457">
                  <c:v>0</c:v>
                </c:pt>
                <c:pt idx="9458">
                  <c:v>0</c:v>
                </c:pt>
                <c:pt idx="9459">
                  <c:v>0</c:v>
                </c:pt>
                <c:pt idx="9460">
                  <c:v>0</c:v>
                </c:pt>
                <c:pt idx="9461">
                  <c:v>0</c:v>
                </c:pt>
                <c:pt idx="9462">
                  <c:v>0</c:v>
                </c:pt>
                <c:pt idx="9463">
                  <c:v>0</c:v>
                </c:pt>
                <c:pt idx="9464">
                  <c:v>0</c:v>
                </c:pt>
                <c:pt idx="9465">
                  <c:v>0</c:v>
                </c:pt>
                <c:pt idx="9466">
                  <c:v>0</c:v>
                </c:pt>
                <c:pt idx="9467">
                  <c:v>0</c:v>
                </c:pt>
                <c:pt idx="9468">
                  <c:v>0</c:v>
                </c:pt>
                <c:pt idx="9469">
                  <c:v>0</c:v>
                </c:pt>
                <c:pt idx="9470">
                  <c:v>0</c:v>
                </c:pt>
                <c:pt idx="9471">
                  <c:v>0</c:v>
                </c:pt>
                <c:pt idx="9472">
                  <c:v>0</c:v>
                </c:pt>
                <c:pt idx="9473">
                  <c:v>0</c:v>
                </c:pt>
                <c:pt idx="9474">
                  <c:v>0</c:v>
                </c:pt>
                <c:pt idx="9475">
                  <c:v>0</c:v>
                </c:pt>
                <c:pt idx="9476">
                  <c:v>0</c:v>
                </c:pt>
                <c:pt idx="9477">
                  <c:v>0</c:v>
                </c:pt>
                <c:pt idx="9478">
                  <c:v>0</c:v>
                </c:pt>
                <c:pt idx="9479">
                  <c:v>0</c:v>
                </c:pt>
                <c:pt idx="9480">
                  <c:v>0</c:v>
                </c:pt>
                <c:pt idx="9481">
                  <c:v>0</c:v>
                </c:pt>
                <c:pt idx="9482">
                  <c:v>0</c:v>
                </c:pt>
                <c:pt idx="9483">
                  <c:v>0</c:v>
                </c:pt>
                <c:pt idx="9484">
                  <c:v>0</c:v>
                </c:pt>
                <c:pt idx="9485">
                  <c:v>0</c:v>
                </c:pt>
                <c:pt idx="9486">
                  <c:v>0</c:v>
                </c:pt>
                <c:pt idx="9487">
                  <c:v>0</c:v>
                </c:pt>
                <c:pt idx="9488">
                  <c:v>0</c:v>
                </c:pt>
                <c:pt idx="9489">
                  <c:v>0</c:v>
                </c:pt>
                <c:pt idx="9490">
                  <c:v>0</c:v>
                </c:pt>
                <c:pt idx="9491">
                  <c:v>0</c:v>
                </c:pt>
                <c:pt idx="9492">
                  <c:v>0</c:v>
                </c:pt>
                <c:pt idx="9493">
                  <c:v>0</c:v>
                </c:pt>
                <c:pt idx="9494">
                  <c:v>0</c:v>
                </c:pt>
                <c:pt idx="9495">
                  <c:v>0</c:v>
                </c:pt>
                <c:pt idx="9496">
                  <c:v>0</c:v>
                </c:pt>
                <c:pt idx="9497">
                  <c:v>0</c:v>
                </c:pt>
                <c:pt idx="9498">
                  <c:v>0</c:v>
                </c:pt>
                <c:pt idx="9499">
                  <c:v>0</c:v>
                </c:pt>
                <c:pt idx="9500">
                  <c:v>0</c:v>
                </c:pt>
                <c:pt idx="9501">
                  <c:v>0</c:v>
                </c:pt>
                <c:pt idx="9502">
                  <c:v>0</c:v>
                </c:pt>
                <c:pt idx="9503">
                  <c:v>0</c:v>
                </c:pt>
                <c:pt idx="9504">
                  <c:v>0</c:v>
                </c:pt>
                <c:pt idx="9505">
                  <c:v>0</c:v>
                </c:pt>
                <c:pt idx="9506">
                  <c:v>0</c:v>
                </c:pt>
                <c:pt idx="9507">
                  <c:v>0</c:v>
                </c:pt>
                <c:pt idx="9508">
                  <c:v>0</c:v>
                </c:pt>
                <c:pt idx="9509">
                  <c:v>0</c:v>
                </c:pt>
                <c:pt idx="9510">
                  <c:v>0</c:v>
                </c:pt>
                <c:pt idx="9511">
                  <c:v>0</c:v>
                </c:pt>
                <c:pt idx="9512">
                  <c:v>0</c:v>
                </c:pt>
                <c:pt idx="9513">
                  <c:v>0</c:v>
                </c:pt>
                <c:pt idx="9514">
                  <c:v>0</c:v>
                </c:pt>
                <c:pt idx="9515">
                  <c:v>0</c:v>
                </c:pt>
                <c:pt idx="9516">
                  <c:v>0</c:v>
                </c:pt>
                <c:pt idx="9517">
                  <c:v>0</c:v>
                </c:pt>
                <c:pt idx="9518">
                  <c:v>0</c:v>
                </c:pt>
                <c:pt idx="9519">
                  <c:v>0</c:v>
                </c:pt>
                <c:pt idx="9520">
                  <c:v>0</c:v>
                </c:pt>
                <c:pt idx="9521">
                  <c:v>0</c:v>
                </c:pt>
                <c:pt idx="9522">
                  <c:v>0</c:v>
                </c:pt>
                <c:pt idx="9523">
                  <c:v>0</c:v>
                </c:pt>
                <c:pt idx="9524">
                  <c:v>0</c:v>
                </c:pt>
                <c:pt idx="9525">
                  <c:v>0</c:v>
                </c:pt>
                <c:pt idx="9526">
                  <c:v>0</c:v>
                </c:pt>
                <c:pt idx="9527">
                  <c:v>0</c:v>
                </c:pt>
                <c:pt idx="9528">
                  <c:v>0</c:v>
                </c:pt>
                <c:pt idx="9529">
                  <c:v>0</c:v>
                </c:pt>
                <c:pt idx="9530">
                  <c:v>0</c:v>
                </c:pt>
                <c:pt idx="9531">
                  <c:v>0</c:v>
                </c:pt>
                <c:pt idx="9532">
                  <c:v>0</c:v>
                </c:pt>
                <c:pt idx="9533">
                  <c:v>0</c:v>
                </c:pt>
                <c:pt idx="9534">
                  <c:v>0</c:v>
                </c:pt>
                <c:pt idx="9535">
                  <c:v>0</c:v>
                </c:pt>
                <c:pt idx="9536">
                  <c:v>0</c:v>
                </c:pt>
                <c:pt idx="9537">
                  <c:v>0</c:v>
                </c:pt>
                <c:pt idx="9538">
                  <c:v>0</c:v>
                </c:pt>
                <c:pt idx="9539">
                  <c:v>0</c:v>
                </c:pt>
                <c:pt idx="9540">
                  <c:v>0</c:v>
                </c:pt>
                <c:pt idx="9541">
                  <c:v>0</c:v>
                </c:pt>
                <c:pt idx="9542">
                  <c:v>0</c:v>
                </c:pt>
                <c:pt idx="9543">
                  <c:v>0</c:v>
                </c:pt>
                <c:pt idx="9544">
                  <c:v>0</c:v>
                </c:pt>
                <c:pt idx="9545">
                  <c:v>0</c:v>
                </c:pt>
                <c:pt idx="9546">
                  <c:v>0</c:v>
                </c:pt>
                <c:pt idx="9547">
                  <c:v>0</c:v>
                </c:pt>
                <c:pt idx="9548">
                  <c:v>0</c:v>
                </c:pt>
                <c:pt idx="9549">
                  <c:v>0</c:v>
                </c:pt>
                <c:pt idx="9550">
                  <c:v>0</c:v>
                </c:pt>
                <c:pt idx="9551">
                  <c:v>0</c:v>
                </c:pt>
                <c:pt idx="9552">
                  <c:v>0</c:v>
                </c:pt>
                <c:pt idx="9553">
                  <c:v>0</c:v>
                </c:pt>
                <c:pt idx="9554">
                  <c:v>0</c:v>
                </c:pt>
                <c:pt idx="9555">
                  <c:v>0</c:v>
                </c:pt>
                <c:pt idx="9556">
                  <c:v>0</c:v>
                </c:pt>
                <c:pt idx="9557">
                  <c:v>0</c:v>
                </c:pt>
                <c:pt idx="9558">
                  <c:v>0</c:v>
                </c:pt>
                <c:pt idx="9559">
                  <c:v>0</c:v>
                </c:pt>
                <c:pt idx="9560">
                  <c:v>0</c:v>
                </c:pt>
                <c:pt idx="9561">
                  <c:v>0</c:v>
                </c:pt>
                <c:pt idx="9562">
                  <c:v>0</c:v>
                </c:pt>
                <c:pt idx="9563">
                  <c:v>0</c:v>
                </c:pt>
                <c:pt idx="9564">
                  <c:v>0</c:v>
                </c:pt>
                <c:pt idx="9565">
                  <c:v>0</c:v>
                </c:pt>
                <c:pt idx="9566">
                  <c:v>0</c:v>
                </c:pt>
                <c:pt idx="9567">
                  <c:v>0</c:v>
                </c:pt>
                <c:pt idx="9568">
                  <c:v>0</c:v>
                </c:pt>
                <c:pt idx="9569">
                  <c:v>0</c:v>
                </c:pt>
                <c:pt idx="9570">
                  <c:v>0</c:v>
                </c:pt>
                <c:pt idx="9571">
                  <c:v>0</c:v>
                </c:pt>
                <c:pt idx="9572">
                  <c:v>0</c:v>
                </c:pt>
                <c:pt idx="9573">
                  <c:v>0</c:v>
                </c:pt>
                <c:pt idx="9574">
                  <c:v>0</c:v>
                </c:pt>
                <c:pt idx="9575">
                  <c:v>0</c:v>
                </c:pt>
                <c:pt idx="9576">
                  <c:v>0</c:v>
                </c:pt>
                <c:pt idx="9577">
                  <c:v>0</c:v>
                </c:pt>
                <c:pt idx="9578">
                  <c:v>0</c:v>
                </c:pt>
                <c:pt idx="9579">
                  <c:v>0</c:v>
                </c:pt>
                <c:pt idx="9580">
                  <c:v>0</c:v>
                </c:pt>
                <c:pt idx="9581">
                  <c:v>0</c:v>
                </c:pt>
                <c:pt idx="9582">
                  <c:v>0</c:v>
                </c:pt>
                <c:pt idx="9583">
                  <c:v>0</c:v>
                </c:pt>
                <c:pt idx="9584">
                  <c:v>0</c:v>
                </c:pt>
                <c:pt idx="9585">
                  <c:v>0</c:v>
                </c:pt>
                <c:pt idx="9586">
                  <c:v>0</c:v>
                </c:pt>
                <c:pt idx="9587">
                  <c:v>0</c:v>
                </c:pt>
                <c:pt idx="9588">
                  <c:v>0</c:v>
                </c:pt>
                <c:pt idx="9589">
                  <c:v>0</c:v>
                </c:pt>
                <c:pt idx="9590">
                  <c:v>0</c:v>
                </c:pt>
                <c:pt idx="9591">
                  <c:v>0</c:v>
                </c:pt>
                <c:pt idx="9592">
                  <c:v>0</c:v>
                </c:pt>
                <c:pt idx="9593">
                  <c:v>0</c:v>
                </c:pt>
                <c:pt idx="9594">
                  <c:v>0</c:v>
                </c:pt>
                <c:pt idx="9595">
                  <c:v>0</c:v>
                </c:pt>
                <c:pt idx="9596">
                  <c:v>0</c:v>
                </c:pt>
                <c:pt idx="9597">
                  <c:v>0</c:v>
                </c:pt>
                <c:pt idx="9598">
                  <c:v>0</c:v>
                </c:pt>
                <c:pt idx="9599">
                  <c:v>0</c:v>
                </c:pt>
                <c:pt idx="9600">
                  <c:v>0</c:v>
                </c:pt>
                <c:pt idx="9601">
                  <c:v>0</c:v>
                </c:pt>
                <c:pt idx="9602">
                  <c:v>0</c:v>
                </c:pt>
                <c:pt idx="9603">
                  <c:v>0</c:v>
                </c:pt>
                <c:pt idx="9604">
                  <c:v>0</c:v>
                </c:pt>
                <c:pt idx="9605">
                  <c:v>0</c:v>
                </c:pt>
                <c:pt idx="9606">
                  <c:v>0</c:v>
                </c:pt>
                <c:pt idx="9607">
                  <c:v>0</c:v>
                </c:pt>
                <c:pt idx="9608">
                  <c:v>0</c:v>
                </c:pt>
                <c:pt idx="9609">
                  <c:v>0</c:v>
                </c:pt>
                <c:pt idx="9610">
                  <c:v>0</c:v>
                </c:pt>
                <c:pt idx="9611">
                  <c:v>0</c:v>
                </c:pt>
                <c:pt idx="9612">
                  <c:v>0</c:v>
                </c:pt>
                <c:pt idx="9613">
                  <c:v>0</c:v>
                </c:pt>
                <c:pt idx="9614">
                  <c:v>0</c:v>
                </c:pt>
                <c:pt idx="9615">
                  <c:v>0</c:v>
                </c:pt>
                <c:pt idx="9616">
                  <c:v>0</c:v>
                </c:pt>
                <c:pt idx="9617">
                  <c:v>0</c:v>
                </c:pt>
                <c:pt idx="9618">
                  <c:v>0</c:v>
                </c:pt>
                <c:pt idx="9619">
                  <c:v>0</c:v>
                </c:pt>
                <c:pt idx="9620">
                  <c:v>0</c:v>
                </c:pt>
                <c:pt idx="9621">
                  <c:v>0</c:v>
                </c:pt>
                <c:pt idx="9622">
                  <c:v>0</c:v>
                </c:pt>
                <c:pt idx="9623">
                  <c:v>0</c:v>
                </c:pt>
                <c:pt idx="9624">
                  <c:v>0</c:v>
                </c:pt>
                <c:pt idx="9625">
                  <c:v>0</c:v>
                </c:pt>
                <c:pt idx="9626">
                  <c:v>0</c:v>
                </c:pt>
                <c:pt idx="9627">
                  <c:v>0</c:v>
                </c:pt>
                <c:pt idx="9628">
                  <c:v>0</c:v>
                </c:pt>
                <c:pt idx="9629">
                  <c:v>0</c:v>
                </c:pt>
                <c:pt idx="9630">
                  <c:v>0</c:v>
                </c:pt>
                <c:pt idx="9631">
                  <c:v>0</c:v>
                </c:pt>
                <c:pt idx="9632">
                  <c:v>0</c:v>
                </c:pt>
                <c:pt idx="9633">
                  <c:v>0</c:v>
                </c:pt>
                <c:pt idx="9634">
                  <c:v>0</c:v>
                </c:pt>
                <c:pt idx="9635">
                  <c:v>0</c:v>
                </c:pt>
                <c:pt idx="9636">
                  <c:v>0</c:v>
                </c:pt>
                <c:pt idx="9637">
                  <c:v>0</c:v>
                </c:pt>
                <c:pt idx="9638">
                  <c:v>0</c:v>
                </c:pt>
                <c:pt idx="9639">
                  <c:v>0</c:v>
                </c:pt>
                <c:pt idx="9640">
                  <c:v>0</c:v>
                </c:pt>
                <c:pt idx="9641">
                  <c:v>0</c:v>
                </c:pt>
                <c:pt idx="9642">
                  <c:v>0</c:v>
                </c:pt>
                <c:pt idx="9643">
                  <c:v>0</c:v>
                </c:pt>
                <c:pt idx="9644">
                  <c:v>0</c:v>
                </c:pt>
                <c:pt idx="9645">
                  <c:v>0</c:v>
                </c:pt>
                <c:pt idx="9646">
                  <c:v>0</c:v>
                </c:pt>
                <c:pt idx="9647">
                  <c:v>0</c:v>
                </c:pt>
                <c:pt idx="9648">
                  <c:v>0</c:v>
                </c:pt>
                <c:pt idx="9649">
                  <c:v>0</c:v>
                </c:pt>
                <c:pt idx="9650">
                  <c:v>0</c:v>
                </c:pt>
                <c:pt idx="9651">
                  <c:v>0</c:v>
                </c:pt>
                <c:pt idx="9652">
                  <c:v>0</c:v>
                </c:pt>
                <c:pt idx="9653">
                  <c:v>0</c:v>
                </c:pt>
                <c:pt idx="9654">
                  <c:v>0</c:v>
                </c:pt>
                <c:pt idx="9655">
                  <c:v>0</c:v>
                </c:pt>
                <c:pt idx="9656">
                  <c:v>0</c:v>
                </c:pt>
                <c:pt idx="9657">
                  <c:v>0</c:v>
                </c:pt>
                <c:pt idx="9658">
                  <c:v>0</c:v>
                </c:pt>
                <c:pt idx="9659">
                  <c:v>0</c:v>
                </c:pt>
                <c:pt idx="9660">
                  <c:v>0</c:v>
                </c:pt>
                <c:pt idx="9661">
                  <c:v>0</c:v>
                </c:pt>
                <c:pt idx="9662">
                  <c:v>0</c:v>
                </c:pt>
                <c:pt idx="9663">
                  <c:v>0</c:v>
                </c:pt>
                <c:pt idx="9664">
                  <c:v>0</c:v>
                </c:pt>
                <c:pt idx="9665">
                  <c:v>0</c:v>
                </c:pt>
                <c:pt idx="9666">
                  <c:v>0</c:v>
                </c:pt>
                <c:pt idx="9667">
                  <c:v>0</c:v>
                </c:pt>
                <c:pt idx="9668">
                  <c:v>0</c:v>
                </c:pt>
                <c:pt idx="9669">
                  <c:v>0</c:v>
                </c:pt>
                <c:pt idx="9670">
                  <c:v>0</c:v>
                </c:pt>
                <c:pt idx="9671">
                  <c:v>0</c:v>
                </c:pt>
                <c:pt idx="9672">
                  <c:v>0</c:v>
                </c:pt>
                <c:pt idx="9673">
                  <c:v>0</c:v>
                </c:pt>
                <c:pt idx="9674">
                  <c:v>0</c:v>
                </c:pt>
                <c:pt idx="9675">
                  <c:v>0</c:v>
                </c:pt>
                <c:pt idx="9676">
                  <c:v>0</c:v>
                </c:pt>
                <c:pt idx="9677">
                  <c:v>0</c:v>
                </c:pt>
                <c:pt idx="9678">
                  <c:v>0</c:v>
                </c:pt>
                <c:pt idx="9679">
                  <c:v>0</c:v>
                </c:pt>
                <c:pt idx="9680">
                  <c:v>0</c:v>
                </c:pt>
                <c:pt idx="9681">
                  <c:v>0</c:v>
                </c:pt>
                <c:pt idx="9682">
                  <c:v>0</c:v>
                </c:pt>
                <c:pt idx="9683">
                  <c:v>0</c:v>
                </c:pt>
                <c:pt idx="9684">
                  <c:v>0</c:v>
                </c:pt>
                <c:pt idx="9685">
                  <c:v>0</c:v>
                </c:pt>
                <c:pt idx="9686">
                  <c:v>0</c:v>
                </c:pt>
                <c:pt idx="9687">
                  <c:v>0</c:v>
                </c:pt>
                <c:pt idx="9688">
                  <c:v>0</c:v>
                </c:pt>
                <c:pt idx="9689">
                  <c:v>0</c:v>
                </c:pt>
                <c:pt idx="9690">
                  <c:v>0</c:v>
                </c:pt>
                <c:pt idx="9691">
                  <c:v>0</c:v>
                </c:pt>
                <c:pt idx="9692">
                  <c:v>0</c:v>
                </c:pt>
                <c:pt idx="9693">
                  <c:v>0</c:v>
                </c:pt>
                <c:pt idx="9694">
                  <c:v>0</c:v>
                </c:pt>
                <c:pt idx="9695">
                  <c:v>0</c:v>
                </c:pt>
                <c:pt idx="9696">
                  <c:v>0</c:v>
                </c:pt>
                <c:pt idx="9697">
                  <c:v>0</c:v>
                </c:pt>
                <c:pt idx="9698">
                  <c:v>0</c:v>
                </c:pt>
                <c:pt idx="9699">
                  <c:v>0</c:v>
                </c:pt>
                <c:pt idx="9700">
                  <c:v>0</c:v>
                </c:pt>
                <c:pt idx="9701">
                  <c:v>0</c:v>
                </c:pt>
                <c:pt idx="9702">
                  <c:v>0</c:v>
                </c:pt>
                <c:pt idx="9703">
                  <c:v>0</c:v>
                </c:pt>
                <c:pt idx="9704">
                  <c:v>0</c:v>
                </c:pt>
                <c:pt idx="9705">
                  <c:v>0</c:v>
                </c:pt>
                <c:pt idx="9706">
                  <c:v>0</c:v>
                </c:pt>
                <c:pt idx="9707">
                  <c:v>0</c:v>
                </c:pt>
                <c:pt idx="9708">
                  <c:v>0</c:v>
                </c:pt>
                <c:pt idx="9709">
                  <c:v>0</c:v>
                </c:pt>
                <c:pt idx="9710">
                  <c:v>0</c:v>
                </c:pt>
                <c:pt idx="9711">
                  <c:v>0</c:v>
                </c:pt>
                <c:pt idx="9712">
                  <c:v>0</c:v>
                </c:pt>
                <c:pt idx="9713">
                  <c:v>0</c:v>
                </c:pt>
                <c:pt idx="9714">
                  <c:v>0</c:v>
                </c:pt>
                <c:pt idx="9715">
                  <c:v>0</c:v>
                </c:pt>
                <c:pt idx="9716">
                  <c:v>0</c:v>
                </c:pt>
                <c:pt idx="9717">
                  <c:v>0</c:v>
                </c:pt>
                <c:pt idx="9718">
                  <c:v>0</c:v>
                </c:pt>
                <c:pt idx="9719">
                  <c:v>0</c:v>
                </c:pt>
                <c:pt idx="9720">
                  <c:v>0</c:v>
                </c:pt>
                <c:pt idx="9721">
                  <c:v>0</c:v>
                </c:pt>
                <c:pt idx="9722">
                  <c:v>0</c:v>
                </c:pt>
                <c:pt idx="9723">
                  <c:v>0</c:v>
                </c:pt>
                <c:pt idx="9724">
                  <c:v>0</c:v>
                </c:pt>
                <c:pt idx="9725">
                  <c:v>0</c:v>
                </c:pt>
                <c:pt idx="9726">
                  <c:v>0</c:v>
                </c:pt>
                <c:pt idx="9727">
                  <c:v>0</c:v>
                </c:pt>
                <c:pt idx="9728">
                  <c:v>0</c:v>
                </c:pt>
                <c:pt idx="9729">
                  <c:v>0</c:v>
                </c:pt>
                <c:pt idx="9730">
                  <c:v>0</c:v>
                </c:pt>
                <c:pt idx="9731">
                  <c:v>0</c:v>
                </c:pt>
                <c:pt idx="9732">
                  <c:v>0</c:v>
                </c:pt>
                <c:pt idx="9733">
                  <c:v>0</c:v>
                </c:pt>
                <c:pt idx="9734">
                  <c:v>0</c:v>
                </c:pt>
                <c:pt idx="9735">
                  <c:v>0</c:v>
                </c:pt>
                <c:pt idx="9736">
                  <c:v>0</c:v>
                </c:pt>
                <c:pt idx="9737">
                  <c:v>0</c:v>
                </c:pt>
                <c:pt idx="9738">
                  <c:v>0</c:v>
                </c:pt>
                <c:pt idx="9739">
                  <c:v>0</c:v>
                </c:pt>
                <c:pt idx="9740">
                  <c:v>0</c:v>
                </c:pt>
                <c:pt idx="9741">
                  <c:v>0</c:v>
                </c:pt>
                <c:pt idx="9742">
                  <c:v>0</c:v>
                </c:pt>
                <c:pt idx="9743">
                  <c:v>0</c:v>
                </c:pt>
                <c:pt idx="9744">
                  <c:v>0</c:v>
                </c:pt>
                <c:pt idx="9745">
                  <c:v>0</c:v>
                </c:pt>
                <c:pt idx="9746">
                  <c:v>0</c:v>
                </c:pt>
                <c:pt idx="9747">
                  <c:v>0</c:v>
                </c:pt>
                <c:pt idx="9748">
                  <c:v>0</c:v>
                </c:pt>
                <c:pt idx="9749">
                  <c:v>0</c:v>
                </c:pt>
                <c:pt idx="9750">
                  <c:v>0</c:v>
                </c:pt>
                <c:pt idx="9751">
                  <c:v>0</c:v>
                </c:pt>
                <c:pt idx="9752">
                  <c:v>0</c:v>
                </c:pt>
                <c:pt idx="9753">
                  <c:v>0</c:v>
                </c:pt>
                <c:pt idx="9754">
                  <c:v>0</c:v>
                </c:pt>
                <c:pt idx="9755">
                  <c:v>0</c:v>
                </c:pt>
                <c:pt idx="9756">
                  <c:v>0</c:v>
                </c:pt>
                <c:pt idx="9757">
                  <c:v>0</c:v>
                </c:pt>
                <c:pt idx="9758">
                  <c:v>0</c:v>
                </c:pt>
                <c:pt idx="9759">
                  <c:v>0</c:v>
                </c:pt>
                <c:pt idx="9760">
                  <c:v>0</c:v>
                </c:pt>
                <c:pt idx="9761">
                  <c:v>0</c:v>
                </c:pt>
                <c:pt idx="9762">
                  <c:v>0</c:v>
                </c:pt>
                <c:pt idx="9763">
                  <c:v>0</c:v>
                </c:pt>
                <c:pt idx="9764">
                  <c:v>0</c:v>
                </c:pt>
                <c:pt idx="9765">
                  <c:v>0</c:v>
                </c:pt>
                <c:pt idx="9766">
                  <c:v>0</c:v>
                </c:pt>
                <c:pt idx="9767">
                  <c:v>0</c:v>
                </c:pt>
                <c:pt idx="9768">
                  <c:v>0</c:v>
                </c:pt>
                <c:pt idx="9769">
                  <c:v>0</c:v>
                </c:pt>
                <c:pt idx="9770">
                  <c:v>0</c:v>
                </c:pt>
                <c:pt idx="9771">
                  <c:v>0</c:v>
                </c:pt>
                <c:pt idx="9772">
                  <c:v>0</c:v>
                </c:pt>
                <c:pt idx="9773">
                  <c:v>0</c:v>
                </c:pt>
                <c:pt idx="9774">
                  <c:v>0</c:v>
                </c:pt>
                <c:pt idx="9775">
                  <c:v>0</c:v>
                </c:pt>
                <c:pt idx="9776">
                  <c:v>0</c:v>
                </c:pt>
                <c:pt idx="9777">
                  <c:v>0</c:v>
                </c:pt>
                <c:pt idx="9778">
                  <c:v>0</c:v>
                </c:pt>
                <c:pt idx="9779">
                  <c:v>0</c:v>
                </c:pt>
                <c:pt idx="9780">
                  <c:v>0</c:v>
                </c:pt>
                <c:pt idx="9781">
                  <c:v>0</c:v>
                </c:pt>
                <c:pt idx="9782">
                  <c:v>0</c:v>
                </c:pt>
                <c:pt idx="9783">
                  <c:v>0</c:v>
                </c:pt>
                <c:pt idx="9784">
                  <c:v>0</c:v>
                </c:pt>
                <c:pt idx="9785">
                  <c:v>0</c:v>
                </c:pt>
                <c:pt idx="9786">
                  <c:v>0</c:v>
                </c:pt>
                <c:pt idx="9787">
                  <c:v>0</c:v>
                </c:pt>
                <c:pt idx="9788">
                  <c:v>0</c:v>
                </c:pt>
                <c:pt idx="9789">
                  <c:v>0</c:v>
                </c:pt>
                <c:pt idx="9790">
                  <c:v>0</c:v>
                </c:pt>
                <c:pt idx="9791">
                  <c:v>0</c:v>
                </c:pt>
                <c:pt idx="9792">
                  <c:v>0</c:v>
                </c:pt>
                <c:pt idx="9793">
                  <c:v>0</c:v>
                </c:pt>
                <c:pt idx="9794">
                  <c:v>0</c:v>
                </c:pt>
                <c:pt idx="9795">
                  <c:v>0</c:v>
                </c:pt>
                <c:pt idx="9796">
                  <c:v>0</c:v>
                </c:pt>
                <c:pt idx="9797">
                  <c:v>0</c:v>
                </c:pt>
                <c:pt idx="9798">
                  <c:v>0</c:v>
                </c:pt>
                <c:pt idx="9799">
                  <c:v>0</c:v>
                </c:pt>
                <c:pt idx="9800">
                  <c:v>0</c:v>
                </c:pt>
                <c:pt idx="9801">
                  <c:v>0</c:v>
                </c:pt>
                <c:pt idx="9802">
                  <c:v>0</c:v>
                </c:pt>
                <c:pt idx="9803">
                  <c:v>0</c:v>
                </c:pt>
                <c:pt idx="9804">
                  <c:v>0</c:v>
                </c:pt>
                <c:pt idx="9805">
                  <c:v>0</c:v>
                </c:pt>
                <c:pt idx="9806">
                  <c:v>0</c:v>
                </c:pt>
                <c:pt idx="9807">
                  <c:v>0</c:v>
                </c:pt>
                <c:pt idx="9808">
                  <c:v>0</c:v>
                </c:pt>
                <c:pt idx="9809">
                  <c:v>0</c:v>
                </c:pt>
                <c:pt idx="9810">
                  <c:v>0</c:v>
                </c:pt>
                <c:pt idx="9811">
                  <c:v>0</c:v>
                </c:pt>
                <c:pt idx="9812">
                  <c:v>0</c:v>
                </c:pt>
                <c:pt idx="9813">
                  <c:v>0</c:v>
                </c:pt>
                <c:pt idx="9814">
                  <c:v>0</c:v>
                </c:pt>
                <c:pt idx="9815">
                  <c:v>0</c:v>
                </c:pt>
                <c:pt idx="9816">
                  <c:v>0</c:v>
                </c:pt>
                <c:pt idx="9817">
                  <c:v>0</c:v>
                </c:pt>
                <c:pt idx="9818">
                  <c:v>0</c:v>
                </c:pt>
                <c:pt idx="9819">
                  <c:v>0</c:v>
                </c:pt>
                <c:pt idx="9820">
                  <c:v>0</c:v>
                </c:pt>
                <c:pt idx="9821">
                  <c:v>0</c:v>
                </c:pt>
                <c:pt idx="9822">
                  <c:v>0</c:v>
                </c:pt>
                <c:pt idx="9823">
                  <c:v>0</c:v>
                </c:pt>
                <c:pt idx="9824">
                  <c:v>0</c:v>
                </c:pt>
                <c:pt idx="9825">
                  <c:v>0</c:v>
                </c:pt>
                <c:pt idx="9826">
                  <c:v>0</c:v>
                </c:pt>
                <c:pt idx="9827">
                  <c:v>0</c:v>
                </c:pt>
                <c:pt idx="9828">
                  <c:v>0</c:v>
                </c:pt>
                <c:pt idx="9829">
                  <c:v>0</c:v>
                </c:pt>
                <c:pt idx="9830">
                  <c:v>0</c:v>
                </c:pt>
                <c:pt idx="9831">
                  <c:v>0</c:v>
                </c:pt>
                <c:pt idx="9832">
                  <c:v>0</c:v>
                </c:pt>
                <c:pt idx="9833">
                  <c:v>0</c:v>
                </c:pt>
                <c:pt idx="9834">
                  <c:v>0</c:v>
                </c:pt>
                <c:pt idx="9835">
                  <c:v>0</c:v>
                </c:pt>
                <c:pt idx="9836">
                  <c:v>0</c:v>
                </c:pt>
                <c:pt idx="9837">
                  <c:v>0</c:v>
                </c:pt>
                <c:pt idx="9838">
                  <c:v>0</c:v>
                </c:pt>
                <c:pt idx="9839">
                  <c:v>0</c:v>
                </c:pt>
                <c:pt idx="9840">
                  <c:v>0</c:v>
                </c:pt>
                <c:pt idx="9841">
                  <c:v>0</c:v>
                </c:pt>
                <c:pt idx="9842">
                  <c:v>0</c:v>
                </c:pt>
                <c:pt idx="9843">
                  <c:v>0</c:v>
                </c:pt>
                <c:pt idx="9844">
                  <c:v>0</c:v>
                </c:pt>
                <c:pt idx="9845">
                  <c:v>0</c:v>
                </c:pt>
                <c:pt idx="9846">
                  <c:v>0</c:v>
                </c:pt>
                <c:pt idx="9847">
                  <c:v>0</c:v>
                </c:pt>
                <c:pt idx="9848">
                  <c:v>0</c:v>
                </c:pt>
                <c:pt idx="9849">
                  <c:v>0</c:v>
                </c:pt>
                <c:pt idx="9850">
                  <c:v>0</c:v>
                </c:pt>
                <c:pt idx="9851">
                  <c:v>0</c:v>
                </c:pt>
                <c:pt idx="9852">
                  <c:v>0</c:v>
                </c:pt>
                <c:pt idx="9853">
                  <c:v>0</c:v>
                </c:pt>
                <c:pt idx="9854">
                  <c:v>0</c:v>
                </c:pt>
                <c:pt idx="9855">
                  <c:v>0</c:v>
                </c:pt>
                <c:pt idx="9856">
                  <c:v>0</c:v>
                </c:pt>
                <c:pt idx="9857">
                  <c:v>0</c:v>
                </c:pt>
                <c:pt idx="9858">
                  <c:v>0</c:v>
                </c:pt>
                <c:pt idx="9859">
                  <c:v>0</c:v>
                </c:pt>
                <c:pt idx="9860">
                  <c:v>0</c:v>
                </c:pt>
                <c:pt idx="9861">
                  <c:v>0</c:v>
                </c:pt>
                <c:pt idx="9862">
                  <c:v>0</c:v>
                </c:pt>
                <c:pt idx="9863">
                  <c:v>0</c:v>
                </c:pt>
                <c:pt idx="9864">
                  <c:v>0</c:v>
                </c:pt>
                <c:pt idx="9865">
                  <c:v>0</c:v>
                </c:pt>
                <c:pt idx="9866">
                  <c:v>0</c:v>
                </c:pt>
                <c:pt idx="9867">
                  <c:v>0</c:v>
                </c:pt>
                <c:pt idx="9868">
                  <c:v>0</c:v>
                </c:pt>
                <c:pt idx="9869">
                  <c:v>0</c:v>
                </c:pt>
                <c:pt idx="9870">
                  <c:v>0</c:v>
                </c:pt>
                <c:pt idx="9871">
                  <c:v>0</c:v>
                </c:pt>
                <c:pt idx="9872">
                  <c:v>0</c:v>
                </c:pt>
                <c:pt idx="9873">
                  <c:v>0</c:v>
                </c:pt>
                <c:pt idx="9874">
                  <c:v>0</c:v>
                </c:pt>
                <c:pt idx="9875">
                  <c:v>0</c:v>
                </c:pt>
                <c:pt idx="9876">
                  <c:v>0</c:v>
                </c:pt>
                <c:pt idx="9877">
                  <c:v>0</c:v>
                </c:pt>
                <c:pt idx="9878">
                  <c:v>0</c:v>
                </c:pt>
                <c:pt idx="9879">
                  <c:v>0</c:v>
                </c:pt>
                <c:pt idx="9880">
                  <c:v>0</c:v>
                </c:pt>
                <c:pt idx="9881">
                  <c:v>0</c:v>
                </c:pt>
                <c:pt idx="9882">
                  <c:v>0</c:v>
                </c:pt>
                <c:pt idx="9883">
                  <c:v>0</c:v>
                </c:pt>
                <c:pt idx="9884">
                  <c:v>0</c:v>
                </c:pt>
                <c:pt idx="9885">
                  <c:v>0</c:v>
                </c:pt>
                <c:pt idx="9886">
                  <c:v>0</c:v>
                </c:pt>
                <c:pt idx="9887">
                  <c:v>0</c:v>
                </c:pt>
                <c:pt idx="9888">
                  <c:v>0</c:v>
                </c:pt>
                <c:pt idx="9889">
                  <c:v>0</c:v>
                </c:pt>
                <c:pt idx="9890">
                  <c:v>0</c:v>
                </c:pt>
                <c:pt idx="9891">
                  <c:v>0</c:v>
                </c:pt>
                <c:pt idx="9892">
                  <c:v>0</c:v>
                </c:pt>
                <c:pt idx="9893">
                  <c:v>0</c:v>
                </c:pt>
                <c:pt idx="9894">
                  <c:v>0</c:v>
                </c:pt>
                <c:pt idx="9895">
                  <c:v>0</c:v>
                </c:pt>
                <c:pt idx="9896">
                  <c:v>0</c:v>
                </c:pt>
                <c:pt idx="9897">
                  <c:v>0</c:v>
                </c:pt>
                <c:pt idx="9898">
                  <c:v>0</c:v>
                </c:pt>
                <c:pt idx="9899">
                  <c:v>0</c:v>
                </c:pt>
                <c:pt idx="9900">
                  <c:v>0</c:v>
                </c:pt>
                <c:pt idx="9901">
                  <c:v>0</c:v>
                </c:pt>
                <c:pt idx="9902">
                  <c:v>0</c:v>
                </c:pt>
                <c:pt idx="9903">
                  <c:v>0</c:v>
                </c:pt>
                <c:pt idx="9904">
                  <c:v>0</c:v>
                </c:pt>
                <c:pt idx="9905">
                  <c:v>0</c:v>
                </c:pt>
                <c:pt idx="9906">
                  <c:v>0</c:v>
                </c:pt>
                <c:pt idx="9907">
                  <c:v>0</c:v>
                </c:pt>
                <c:pt idx="9908">
                  <c:v>0</c:v>
                </c:pt>
                <c:pt idx="9909">
                  <c:v>0</c:v>
                </c:pt>
                <c:pt idx="9910">
                  <c:v>0</c:v>
                </c:pt>
                <c:pt idx="9911">
                  <c:v>0</c:v>
                </c:pt>
                <c:pt idx="9912">
                  <c:v>0</c:v>
                </c:pt>
                <c:pt idx="9913">
                  <c:v>0</c:v>
                </c:pt>
                <c:pt idx="9914">
                  <c:v>0</c:v>
                </c:pt>
                <c:pt idx="9915">
                  <c:v>0</c:v>
                </c:pt>
                <c:pt idx="9916">
                  <c:v>0</c:v>
                </c:pt>
                <c:pt idx="9917">
                  <c:v>0</c:v>
                </c:pt>
                <c:pt idx="9918">
                  <c:v>0</c:v>
                </c:pt>
                <c:pt idx="9919">
                  <c:v>0</c:v>
                </c:pt>
                <c:pt idx="9920">
                  <c:v>0</c:v>
                </c:pt>
                <c:pt idx="9921">
                  <c:v>0</c:v>
                </c:pt>
                <c:pt idx="9922">
                  <c:v>0</c:v>
                </c:pt>
                <c:pt idx="9923">
                  <c:v>0</c:v>
                </c:pt>
                <c:pt idx="9924">
                  <c:v>0</c:v>
                </c:pt>
                <c:pt idx="9925">
                  <c:v>0</c:v>
                </c:pt>
                <c:pt idx="9926">
                  <c:v>0</c:v>
                </c:pt>
                <c:pt idx="9927">
                  <c:v>0</c:v>
                </c:pt>
                <c:pt idx="9928">
                  <c:v>0</c:v>
                </c:pt>
                <c:pt idx="9929">
                  <c:v>0</c:v>
                </c:pt>
                <c:pt idx="9930">
                  <c:v>0</c:v>
                </c:pt>
                <c:pt idx="9931">
                  <c:v>0</c:v>
                </c:pt>
                <c:pt idx="9932">
                  <c:v>0</c:v>
                </c:pt>
                <c:pt idx="9933">
                  <c:v>0</c:v>
                </c:pt>
                <c:pt idx="9934">
                  <c:v>0</c:v>
                </c:pt>
                <c:pt idx="9935">
                  <c:v>0</c:v>
                </c:pt>
                <c:pt idx="9936">
                  <c:v>0</c:v>
                </c:pt>
                <c:pt idx="9937">
                  <c:v>0</c:v>
                </c:pt>
                <c:pt idx="9938">
                  <c:v>0</c:v>
                </c:pt>
                <c:pt idx="9939">
                  <c:v>0</c:v>
                </c:pt>
                <c:pt idx="9940">
                  <c:v>0</c:v>
                </c:pt>
                <c:pt idx="9941">
                  <c:v>0</c:v>
                </c:pt>
                <c:pt idx="9942">
                  <c:v>0</c:v>
                </c:pt>
                <c:pt idx="9943">
                  <c:v>0</c:v>
                </c:pt>
                <c:pt idx="9944">
                  <c:v>0</c:v>
                </c:pt>
                <c:pt idx="9945">
                  <c:v>0</c:v>
                </c:pt>
                <c:pt idx="9946">
                  <c:v>0</c:v>
                </c:pt>
                <c:pt idx="9947">
                  <c:v>0</c:v>
                </c:pt>
                <c:pt idx="9948">
                  <c:v>0</c:v>
                </c:pt>
                <c:pt idx="9949">
                  <c:v>0</c:v>
                </c:pt>
                <c:pt idx="9950">
                  <c:v>0</c:v>
                </c:pt>
                <c:pt idx="9951">
                  <c:v>0</c:v>
                </c:pt>
                <c:pt idx="9952">
                  <c:v>0</c:v>
                </c:pt>
                <c:pt idx="9953">
                  <c:v>0</c:v>
                </c:pt>
                <c:pt idx="9954">
                  <c:v>0</c:v>
                </c:pt>
                <c:pt idx="9955">
                  <c:v>0</c:v>
                </c:pt>
                <c:pt idx="9956">
                  <c:v>0</c:v>
                </c:pt>
                <c:pt idx="9957">
                  <c:v>0</c:v>
                </c:pt>
                <c:pt idx="9958">
                  <c:v>0</c:v>
                </c:pt>
                <c:pt idx="9959">
                  <c:v>0</c:v>
                </c:pt>
                <c:pt idx="9960">
                  <c:v>0</c:v>
                </c:pt>
                <c:pt idx="9961">
                  <c:v>0</c:v>
                </c:pt>
                <c:pt idx="9962">
                  <c:v>0</c:v>
                </c:pt>
                <c:pt idx="9963">
                  <c:v>0</c:v>
                </c:pt>
                <c:pt idx="9964">
                  <c:v>0</c:v>
                </c:pt>
                <c:pt idx="9965">
                  <c:v>0</c:v>
                </c:pt>
                <c:pt idx="9966">
                  <c:v>0</c:v>
                </c:pt>
                <c:pt idx="9967">
                  <c:v>0</c:v>
                </c:pt>
                <c:pt idx="9968">
                  <c:v>0</c:v>
                </c:pt>
                <c:pt idx="9969">
                  <c:v>0</c:v>
                </c:pt>
                <c:pt idx="9970">
                  <c:v>0</c:v>
                </c:pt>
                <c:pt idx="9971">
                  <c:v>0</c:v>
                </c:pt>
                <c:pt idx="9972">
                  <c:v>0</c:v>
                </c:pt>
                <c:pt idx="9973">
                  <c:v>0</c:v>
                </c:pt>
                <c:pt idx="9974">
                  <c:v>0</c:v>
                </c:pt>
                <c:pt idx="9975">
                  <c:v>0</c:v>
                </c:pt>
                <c:pt idx="9976">
                  <c:v>0</c:v>
                </c:pt>
                <c:pt idx="9977">
                  <c:v>0</c:v>
                </c:pt>
                <c:pt idx="9978">
                  <c:v>0</c:v>
                </c:pt>
                <c:pt idx="9979">
                  <c:v>0</c:v>
                </c:pt>
                <c:pt idx="9980">
                  <c:v>0</c:v>
                </c:pt>
                <c:pt idx="9981">
                  <c:v>0</c:v>
                </c:pt>
                <c:pt idx="9982">
                  <c:v>0</c:v>
                </c:pt>
                <c:pt idx="9983">
                  <c:v>0</c:v>
                </c:pt>
                <c:pt idx="9984">
                  <c:v>0</c:v>
                </c:pt>
                <c:pt idx="9985">
                  <c:v>0</c:v>
                </c:pt>
                <c:pt idx="9986">
                  <c:v>0</c:v>
                </c:pt>
                <c:pt idx="9987">
                  <c:v>0</c:v>
                </c:pt>
                <c:pt idx="9988">
                  <c:v>0</c:v>
                </c:pt>
                <c:pt idx="9989">
                  <c:v>0</c:v>
                </c:pt>
                <c:pt idx="9990">
                  <c:v>0</c:v>
                </c:pt>
                <c:pt idx="9991">
                  <c:v>0</c:v>
                </c:pt>
                <c:pt idx="9992">
                  <c:v>0</c:v>
                </c:pt>
                <c:pt idx="9993">
                  <c:v>0</c:v>
                </c:pt>
                <c:pt idx="9994">
                  <c:v>0</c:v>
                </c:pt>
                <c:pt idx="9995">
                  <c:v>0</c:v>
                </c:pt>
                <c:pt idx="9996">
                  <c:v>0</c:v>
                </c:pt>
                <c:pt idx="9997">
                  <c:v>0</c:v>
                </c:pt>
                <c:pt idx="9998">
                  <c:v>0</c:v>
                </c:pt>
                <c:pt idx="9999">
                  <c:v>0</c:v>
                </c:pt>
              </c:numCache>
            </c:numRef>
          </c:cat>
          <c:val>
            <c:numRef>
              <c:f>Data!$B$3:$B$10002</c:f>
              <c:numCache>
                <c:formatCode>General</c:formatCode>
                <c:ptCount val="10000"/>
                <c:pt idx="0">
                  <c:v>-4.4431699999999998E-2</c:v>
                </c:pt>
                <c:pt idx="1">
                  <c:v>0.172015</c:v>
                </c:pt>
                <c:pt idx="2">
                  <c:v>0.175571</c:v>
                </c:pt>
                <c:pt idx="3">
                  <c:v>#N/A</c:v>
                </c:pt>
                <c:pt idx="4">
                  <c:v>0.31769900000000001</c:v>
                </c:pt>
                <c:pt idx="5">
                  <c:v>0.28497899999999998</c:v>
                </c:pt>
                <c:pt idx="6">
                  <c:v>0.162804</c:v>
                </c:pt>
                <c:pt idx="7">
                  <c:v>#N/A</c:v>
                </c:pt>
                <c:pt idx="8">
                  <c:v>0.22159999999999999</c:v>
                </c:pt>
                <c:pt idx="9">
                  <c:v>0.83338999999999996</c:v>
                </c:pt>
                <c:pt idx="10">
                  <c:v>1.3157399999999999</c:v>
                </c:pt>
                <c:pt idx="11">
                  <c:v>#N/A</c:v>
                </c:pt>
                <c:pt idx="12">
                  <c:v>1.89076</c:v>
                </c:pt>
                <c:pt idx="13">
                  <c:v>3.2001300000000001</c:v>
                </c:pt>
                <c:pt idx="14">
                  <c:v>4.3832700000000004</c:v>
                </c:pt>
                <c:pt idx="15">
                  <c:v>#N/A</c:v>
                </c:pt>
                <c:pt idx="16">
                  <c:v>5.6279700000000004</c:v>
                </c:pt>
                <c:pt idx="17">
                  <c:v>7.0564299999999998</c:v>
                </c:pt>
                <c:pt idx="18">
                  <c:v>#N/A</c:v>
                </c:pt>
                <c:pt idx="19">
                  <c:v>9.4388699999999996</c:v>
                </c:pt>
                <c:pt idx="20">
                  <c:v>10.633699999999999</c:v>
                </c:pt>
                <c:pt idx="21">
                  <c:v>11.4747</c:v>
                </c:pt>
                <c:pt idx="22">
                  <c:v>#N/A</c:v>
                </c:pt>
                <c:pt idx="23">
                  <c:v>12.8734</c:v>
                </c:pt>
                <c:pt idx="24">
                  <c:v>15.7798</c:v>
                </c:pt>
                <c:pt idx="25">
                  <c:v>16.275500000000001</c:v>
                </c:pt>
                <c:pt idx="26">
                  <c:v>#N/A</c:v>
                </c:pt>
                <c:pt idx="27">
                  <c:v>16.488600000000002</c:v>
                </c:pt>
                <c:pt idx="28">
                  <c:v>17.549700000000001</c:v>
                </c:pt>
                <c:pt idx="29">
                  <c:v>17.121099999999998</c:v>
                </c:pt>
                <c:pt idx="30">
                  <c:v>#N/A</c:v>
                </c:pt>
                <c:pt idx="31">
                  <c:v>18.569900000000001</c:v>
                </c:pt>
                <c:pt idx="32">
                  <c:v>17.648700000000002</c:v>
                </c:pt>
                <c:pt idx="33">
                  <c:v>18.6815</c:v>
                </c:pt>
                <c:pt idx="34">
                  <c:v>#N/A</c:v>
                </c:pt>
                <c:pt idx="35">
                  <c:v>17.789300000000001</c:v>
                </c:pt>
                <c:pt idx="36">
                  <c:v>17.891400000000001</c:v>
                </c:pt>
                <c:pt idx="37">
                  <c:v>#N/A</c:v>
                </c:pt>
                <c:pt idx="38">
                  <c:v>17.0305</c:v>
                </c:pt>
                <c:pt idx="39">
                  <c:v>17.635400000000001</c:v>
                </c:pt>
                <c:pt idx="40">
                  <c:v>16.939399999999999</c:v>
                </c:pt>
                <c:pt idx="41">
                  <c:v>#N/A</c:v>
                </c:pt>
                <c:pt idx="42">
                  <c:v>17.601299999999998</c:v>
                </c:pt>
                <c:pt idx="43">
                  <c:v>16.815999999999999</c:v>
                </c:pt>
                <c:pt idx="44">
                  <c:v>16.914400000000001</c:v>
                </c:pt>
                <c:pt idx="45">
                  <c:v>#N/A</c:v>
                </c:pt>
                <c:pt idx="46">
                  <c:v>15.537100000000001</c:v>
                </c:pt>
                <c:pt idx="47">
                  <c:v>13.829499999999999</c:v>
                </c:pt>
                <c:pt idx="48">
                  <c:v>11.9605</c:v>
                </c:pt>
                <c:pt idx="49">
                  <c:v>#N/A</c:v>
                </c:pt>
                <c:pt idx="50">
                  <c:v>9.1758199999999999</c:v>
                </c:pt>
                <c:pt idx="51">
                  <c:v>8.2223600000000001</c:v>
                </c:pt>
                <c:pt idx="52">
                  <c:v>#N/A</c:v>
                </c:pt>
                <c:pt idx="53">
                  <c:v>7.4937800000000001</c:v>
                </c:pt>
                <c:pt idx="54">
                  <c:v>6.3607100000000001</c:v>
                </c:pt>
                <c:pt idx="55">
                  <c:v>4.7644799999999998</c:v>
                </c:pt>
                <c:pt idx="56">
                  <c:v>#N/A</c:v>
                </c:pt>
                <c:pt idx="57">
                  <c:v>3.5109400000000002</c:v>
                </c:pt>
                <c:pt idx="58">
                  <c:v>1.3277000000000001</c:v>
                </c:pt>
                <c:pt idx="59">
                  <c:v>0.63546599999999998</c:v>
                </c:pt>
                <c:pt idx="60">
                  <c:v>#N/A</c:v>
                </c:pt>
                <c:pt idx="61">
                  <c:v>0.27933400000000003</c:v>
                </c:pt>
                <c:pt idx="62">
                  <c:v>0.26217600000000002</c:v>
                </c:pt>
                <c:pt idx="63">
                  <c:v>4.1592700000000003E-2</c:v>
                </c:pt>
                <c:pt idx="64">
                  <c:v>#N/A</c:v>
                </c:pt>
                <c:pt idx="65">
                  <c:v>1.3975200000000001</c:v>
                </c:pt>
                <c:pt idx="66">
                  <c:v>0.77607199999999998</c:v>
                </c:pt>
                <c:pt idx="67">
                  <c:v>1.0507299999999999</c:v>
                </c:pt>
                <c:pt idx="68">
                  <c:v>#N/A</c:v>
                </c:pt>
                <c:pt idx="69">
                  <c:v>0.81764400000000004</c:v>
                </c:pt>
                <c:pt idx="70">
                  <c:v>1.2899700000000001</c:v>
                </c:pt>
                <c:pt idx="71">
                  <c:v>#N/A</c:v>
                </c:pt>
                <c:pt idx="72">
                  <c:v>1.92195</c:v>
                </c:pt>
                <c:pt idx="73">
                  <c:v>#N/A</c:v>
                </c:pt>
                <c:pt idx="74">
                  <c:v>2.7410600000000001</c:v>
                </c:pt>
                <c:pt idx="75">
                  <c:v>3.2472799999999999</c:v>
                </c:pt>
                <c:pt idx="76">
                  <c:v>3.4809199999999998</c:v>
                </c:pt>
                <c:pt idx="77">
                  <c:v>#N/A</c:v>
                </c:pt>
                <c:pt idx="78">
                  <c:v>3.5139900000000002</c:v>
                </c:pt>
                <c:pt idx="79">
                  <c:v>3.2714500000000002</c:v>
                </c:pt>
                <c:pt idx="80">
                  <c:v>3.2901799999999999</c:v>
                </c:pt>
                <c:pt idx="81">
                  <c:v>#N/A</c:v>
                </c:pt>
                <c:pt idx="82">
                  <c:v>2.72851</c:v>
                </c:pt>
                <c:pt idx="83">
                  <c:v>3.4074800000000001</c:v>
                </c:pt>
                <c:pt idx="84">
                  <c:v>3.10331</c:v>
                </c:pt>
                <c:pt idx="85">
                  <c:v>#N/A</c:v>
                </c:pt>
                <c:pt idx="86">
                  <c:v>3.2102300000000001</c:v>
                </c:pt>
                <c:pt idx="87">
                  <c:v>3.1606399999999999</c:v>
                </c:pt>
                <c:pt idx="88">
                  <c:v>2.0260899999999999</c:v>
                </c:pt>
                <c:pt idx="89">
                  <c:v>#N/A</c:v>
                </c:pt>
                <c:pt idx="90">
                  <c:v>1.0692999999999999</c:v>
                </c:pt>
                <c:pt idx="91">
                  <c:v>0.83059400000000005</c:v>
                </c:pt>
                <c:pt idx="92">
                  <c:v>1.2129799999999999</c:v>
                </c:pt>
                <c:pt idx="93">
                  <c:v>#N/A</c:v>
                </c:pt>
                <c:pt idx="94">
                  <c:v>1.8401799999999999</c:v>
                </c:pt>
                <c:pt idx="95">
                  <c:v>2.8444500000000001</c:v>
                </c:pt>
                <c:pt idx="96">
                  <c:v>2.7713000000000001</c:v>
                </c:pt>
                <c:pt idx="97">
                  <c:v>#N/A</c:v>
                </c:pt>
                <c:pt idx="98">
                  <c:v>2.6280600000000001</c:v>
                </c:pt>
                <c:pt idx="99">
                  <c:v>2.4051999999999998</c:v>
                </c:pt>
                <c:pt idx="100">
                  <c:v>#N/A</c:v>
                </c:pt>
                <c:pt idx="101">
                  <c:v>2.0762499999999999</c:v>
                </c:pt>
                <c:pt idx="102">
                  <c:v>2.36808</c:v>
                </c:pt>
                <c:pt idx="103">
                  <c:v>2.73441</c:v>
                </c:pt>
                <c:pt idx="104">
                  <c:v>#N/A</c:v>
                </c:pt>
                <c:pt idx="105">
                  <c:v>3.2706200000000001</c:v>
                </c:pt>
                <c:pt idx="106">
                  <c:v>3.3461400000000001</c:v>
                </c:pt>
                <c:pt idx="107">
                  <c:v>3.0462799999999999</c:v>
                </c:pt>
                <c:pt idx="108">
                  <c:v>#N/A</c:v>
                </c:pt>
                <c:pt idx="109">
                  <c:v>3.2436600000000002</c:v>
                </c:pt>
                <c:pt idx="110">
                  <c:v>2.6706099999999999</c:v>
                </c:pt>
                <c:pt idx="111">
                  <c:v>2.4185300000000001</c:v>
                </c:pt>
                <c:pt idx="112">
                  <c:v>#N/A</c:v>
                </c:pt>
                <c:pt idx="113">
                  <c:v>2.5286</c:v>
                </c:pt>
                <c:pt idx="114">
                  <c:v>2.5389599999999999</c:v>
                </c:pt>
                <c:pt idx="115">
                  <c:v>2.6848000000000001</c:v>
                </c:pt>
                <c:pt idx="116">
                  <c:v>#N/A</c:v>
                </c:pt>
                <c:pt idx="117">
                  <c:v>3.0815199999999998</c:v>
                </c:pt>
                <c:pt idx="118">
                  <c:v>3.1144799999999999</c:v>
                </c:pt>
                <c:pt idx="119">
                  <c:v>2.6739099999999998</c:v>
                </c:pt>
                <c:pt idx="120">
                  <c:v>#N/A</c:v>
                </c:pt>
                <c:pt idx="121">
                  <c:v>2.55158</c:v>
                </c:pt>
                <c:pt idx="122">
                  <c:v>2.49918</c:v>
                </c:pt>
                <c:pt idx="123">
                  <c:v>2.2870599999999999</c:v>
                </c:pt>
                <c:pt idx="124">
                  <c:v>#N/A</c:v>
                </c:pt>
                <c:pt idx="125">
                  <c:v>2.6190600000000002</c:v>
                </c:pt>
                <c:pt idx="126">
                  <c:v>2.8671899999999999</c:v>
                </c:pt>
                <c:pt idx="127">
                  <c:v>#N/A</c:v>
                </c:pt>
                <c:pt idx="128">
                  <c:v>2.2741099999999999</c:v>
                </c:pt>
                <c:pt idx="129">
                  <c:v>2.4245899999999998</c:v>
                </c:pt>
                <c:pt idx="130">
                  <c:v>2.1031200000000001</c:v>
                </c:pt>
                <c:pt idx="131">
                  <c:v>#N/A</c:v>
                </c:pt>
                <c:pt idx="132">
                  <c:v>1.3203199999999999</c:v>
                </c:pt>
                <c:pt idx="133">
                  <c:v>1.64886</c:v>
                </c:pt>
                <c:pt idx="134">
                  <c:v>1.72824</c:v>
                </c:pt>
                <c:pt idx="135">
                  <c:v>#N/A</c:v>
                </c:pt>
                <c:pt idx="136">
                  <c:v>2.5061599999999999</c:v>
                </c:pt>
                <c:pt idx="137">
                  <c:v>3.37466</c:v>
                </c:pt>
                <c:pt idx="138">
                  <c:v>3.0904199999999999</c:v>
                </c:pt>
                <c:pt idx="139">
                  <c:v>#N/A</c:v>
                </c:pt>
                <c:pt idx="140">
                  <c:v>2.9741399999999998</c:v>
                </c:pt>
                <c:pt idx="141">
                  <c:v>2.4022399999999999</c:v>
                </c:pt>
                <c:pt idx="142">
                  <c:v>2.2832400000000002</c:v>
                </c:pt>
                <c:pt idx="143">
                  <c:v>#N/A</c:v>
                </c:pt>
                <c:pt idx="144">
                  <c:v>2.0104600000000001</c:v>
                </c:pt>
                <c:pt idx="145">
                  <c:v>1.8842300000000001</c:v>
                </c:pt>
                <c:pt idx="146">
                  <c:v>#N/A</c:v>
                </c:pt>
                <c:pt idx="147">
                  <c:v>2.99213</c:v>
                </c:pt>
                <c:pt idx="148">
                  <c:v>#N/A</c:v>
                </c:pt>
                <c:pt idx="149">
                  <c:v>3.0898300000000001</c:v>
                </c:pt>
                <c:pt idx="150">
                  <c:v>2.3702000000000001</c:v>
                </c:pt>
                <c:pt idx="151">
                  <c:v>1.59212</c:v>
                </c:pt>
                <c:pt idx="152">
                  <c:v>#N/A</c:v>
                </c:pt>
                <c:pt idx="153">
                  <c:v>1.41357</c:v>
                </c:pt>
                <c:pt idx="154">
                  <c:v>1.4083000000000001</c:v>
                </c:pt>
                <c:pt idx="155">
                  <c:v>#N/A</c:v>
                </c:pt>
                <c:pt idx="156">
                  <c:v>1.3918600000000001</c:v>
                </c:pt>
                <c:pt idx="157">
                  <c:v>1.94638</c:v>
                </c:pt>
                <c:pt idx="158">
                  <c:v>2.7124000000000001</c:v>
                </c:pt>
                <c:pt idx="159">
                  <c:v>#N/A</c:v>
                </c:pt>
                <c:pt idx="160">
                  <c:v>2.7504</c:v>
                </c:pt>
                <c:pt idx="161">
                  <c:v>3.1153</c:v>
                </c:pt>
                <c:pt idx="162">
                  <c:v>#N/A</c:v>
                </c:pt>
                <c:pt idx="163">
                  <c:v>2.51877</c:v>
                </c:pt>
                <c:pt idx="164">
                  <c:v>2.0770599999999999</c:v>
                </c:pt>
                <c:pt idx="165">
                  <c:v>2.1919400000000002</c:v>
                </c:pt>
                <c:pt idx="166">
                  <c:v>#N/A</c:v>
                </c:pt>
                <c:pt idx="167">
                  <c:v>2.6009099999999998</c:v>
                </c:pt>
                <c:pt idx="168">
                  <c:v>2.4278900000000001</c:v>
                </c:pt>
                <c:pt idx="169">
                  <c:v>2.5098600000000002</c:v>
                </c:pt>
                <c:pt idx="170">
                  <c:v>#N/A</c:v>
                </c:pt>
                <c:pt idx="171">
                  <c:v>2.16066</c:v>
                </c:pt>
                <c:pt idx="172">
                  <c:v>2.7747899999999999</c:v>
                </c:pt>
                <c:pt idx="173">
                  <c:v>2.3838699999999999</c:v>
                </c:pt>
                <c:pt idx="174">
                  <c:v>#N/A</c:v>
                </c:pt>
                <c:pt idx="175">
                  <c:v>1.9069499999999999</c:v>
                </c:pt>
                <c:pt idx="176">
                  <c:v>2.04339</c:v>
                </c:pt>
                <c:pt idx="177">
                  <c:v>2.51884</c:v>
                </c:pt>
                <c:pt idx="178">
                  <c:v>#N/A</c:v>
                </c:pt>
                <c:pt idx="179">
                  <c:v>2.7750499999999998</c:v>
                </c:pt>
                <c:pt idx="180">
                  <c:v>2.6075900000000001</c:v>
                </c:pt>
                <c:pt idx="181">
                  <c:v>2.7226699999999999</c:v>
                </c:pt>
                <c:pt idx="182">
                  <c:v>#N/A</c:v>
                </c:pt>
                <c:pt idx="183">
                  <c:v>2.3495200000000001</c:v>
                </c:pt>
                <c:pt idx="184">
                  <c:v>2.2017000000000002</c:v>
                </c:pt>
                <c:pt idx="185">
                  <c:v>1.60442</c:v>
                </c:pt>
                <c:pt idx="186">
                  <c:v>#N/A</c:v>
                </c:pt>
                <c:pt idx="187">
                  <c:v>1.82348</c:v>
                </c:pt>
                <c:pt idx="188">
                  <c:v>1.9563999999999999</c:v>
                </c:pt>
                <c:pt idx="189">
                  <c:v>#N/A</c:v>
                </c:pt>
                <c:pt idx="190">
                  <c:v>2.35256</c:v>
                </c:pt>
                <c:pt idx="191">
                  <c:v>1.9261999999999999</c:v>
                </c:pt>
                <c:pt idx="192">
                  <c:v>2.3037000000000001</c:v>
                </c:pt>
                <c:pt idx="193">
                  <c:v>#N/A</c:v>
                </c:pt>
                <c:pt idx="194">
                  <c:v>1.57565</c:v>
                </c:pt>
                <c:pt idx="195">
                  <c:v>1.5781000000000001</c:v>
                </c:pt>
                <c:pt idx="196">
                  <c:v>1.8588</c:v>
                </c:pt>
                <c:pt idx="197">
                  <c:v>#N/A</c:v>
                </c:pt>
                <c:pt idx="198">
                  <c:v>3.15625</c:v>
                </c:pt>
                <c:pt idx="199">
                  <c:v>3.2206299999999999</c:v>
                </c:pt>
                <c:pt idx="200">
                  <c:v>3.0883099999999999</c:v>
                </c:pt>
                <c:pt idx="201">
                  <c:v>#N/A</c:v>
                </c:pt>
                <c:pt idx="202">
                  <c:v>2.8747099999999999</c:v>
                </c:pt>
                <c:pt idx="203">
                  <c:v>2.77108</c:v>
                </c:pt>
                <c:pt idx="204">
                  <c:v>1.90449</c:v>
                </c:pt>
                <c:pt idx="205">
                  <c:v>#N/A</c:v>
                </c:pt>
                <c:pt idx="206">
                  <c:v>1.61734</c:v>
                </c:pt>
                <c:pt idx="207">
                  <c:v>1.80175</c:v>
                </c:pt>
                <c:pt idx="208">
                  <c:v>2.3967499999999999</c:v>
                </c:pt>
                <c:pt idx="209">
                  <c:v>#N/A</c:v>
                </c:pt>
                <c:pt idx="210">
                  <c:v>3.35514</c:v>
                </c:pt>
                <c:pt idx="211">
                  <c:v>2.6689400000000001</c:v>
                </c:pt>
                <c:pt idx="212">
                  <c:v>2.09911</c:v>
                </c:pt>
                <c:pt idx="213">
                  <c:v>#N/A</c:v>
                </c:pt>
                <c:pt idx="214">
                  <c:v>2.4079899999999999</c:v>
                </c:pt>
                <c:pt idx="215">
                  <c:v>1.6211100000000001</c:v>
                </c:pt>
                <c:pt idx="216">
                  <c:v>1.8421099999999999</c:v>
                </c:pt>
                <c:pt idx="217">
                  <c:v>#N/A</c:v>
                </c:pt>
                <c:pt idx="218">
                  <c:v>1.7679</c:v>
                </c:pt>
                <c:pt idx="219">
                  <c:v>2.5078399999999998</c:v>
                </c:pt>
                <c:pt idx="220">
                  <c:v>2.8475000000000001</c:v>
                </c:pt>
                <c:pt idx="221">
                  <c:v>#N/A</c:v>
                </c:pt>
                <c:pt idx="222">
                  <c:v>#N/A</c:v>
                </c:pt>
                <c:pt idx="223">
                  <c:v>3.13049</c:v>
                </c:pt>
                <c:pt idx="224">
                  <c:v>2.5523699999999998</c:v>
                </c:pt>
                <c:pt idx="225">
                  <c:v>#N/A</c:v>
                </c:pt>
                <c:pt idx="226">
                  <c:v>2.5185900000000001</c:v>
                </c:pt>
                <c:pt idx="227">
                  <c:v>2.0505900000000001</c:v>
                </c:pt>
                <c:pt idx="228">
                  <c:v>2.2198500000000001</c:v>
                </c:pt>
                <c:pt idx="229">
                  <c:v>#N/A</c:v>
                </c:pt>
                <c:pt idx="230">
                  <c:v>2.7810999999999999</c:v>
                </c:pt>
                <c:pt idx="231">
                  <c:v>3.0167600000000001</c:v>
                </c:pt>
                <c:pt idx="232">
                  <c:v>2.8719000000000001</c:v>
                </c:pt>
                <c:pt idx="233">
                  <c:v>#N/A</c:v>
                </c:pt>
                <c:pt idx="234">
                  <c:v>2.9205999999999999</c:v>
                </c:pt>
                <c:pt idx="235">
                  <c:v>1.9115899999999999</c:v>
                </c:pt>
                <c:pt idx="236">
                  <c:v>2.0489299999999999</c:v>
                </c:pt>
                <c:pt idx="237">
                  <c:v>#N/A</c:v>
                </c:pt>
                <c:pt idx="238">
                  <c:v>2.1817299999999999</c:v>
                </c:pt>
                <c:pt idx="239">
                  <c:v>2.0682700000000001</c:v>
                </c:pt>
                <c:pt idx="240">
                  <c:v>2.9229400000000001</c:v>
                </c:pt>
                <c:pt idx="241">
                  <c:v>#N/A</c:v>
                </c:pt>
                <c:pt idx="242">
                  <c:v>3.0833900000000001</c:v>
                </c:pt>
                <c:pt idx="243">
                  <c:v>3.2349299999999999</c:v>
                </c:pt>
                <c:pt idx="244">
                  <c:v>2.8972099999999998</c:v>
                </c:pt>
                <c:pt idx="245">
                  <c:v>#N/A</c:v>
                </c:pt>
                <c:pt idx="246">
                  <c:v>2.68289</c:v>
                </c:pt>
                <c:pt idx="247">
                  <c:v>2.38687</c:v>
                </c:pt>
                <c:pt idx="248">
                  <c:v>#N/A</c:v>
                </c:pt>
                <c:pt idx="249">
                  <c:v>2.3787600000000002</c:v>
                </c:pt>
                <c:pt idx="250">
                  <c:v>2.5705900000000002</c:v>
                </c:pt>
                <c:pt idx="251">
                  <c:v>2.2505099999999998</c:v>
                </c:pt>
                <c:pt idx="252">
                  <c:v>#N/A</c:v>
                </c:pt>
                <c:pt idx="253">
                  <c:v>2.2321</c:v>
                </c:pt>
                <c:pt idx="254">
                  <c:v>2.6720899999999999</c:v>
                </c:pt>
                <c:pt idx="255">
                  <c:v>2.5548099999999998</c:v>
                </c:pt>
                <c:pt idx="256">
                  <c:v>#N/A</c:v>
                </c:pt>
                <c:pt idx="257">
                  <c:v>2.2334900000000002</c:v>
                </c:pt>
                <c:pt idx="258">
                  <c:v>2.52447</c:v>
                </c:pt>
                <c:pt idx="259">
                  <c:v>2.4938899999999999</c:v>
                </c:pt>
                <c:pt idx="260">
                  <c:v>#N/A</c:v>
                </c:pt>
                <c:pt idx="261">
                  <c:v>2.81697</c:v>
                </c:pt>
                <c:pt idx="262">
                  <c:v>3.3200099999999999</c:v>
                </c:pt>
                <c:pt idx="263">
                  <c:v>3.6600199999999998</c:v>
                </c:pt>
                <c:pt idx="264">
                  <c:v>#N/A</c:v>
                </c:pt>
                <c:pt idx="265">
                  <c:v>3.20777</c:v>
                </c:pt>
                <c:pt idx="266">
                  <c:v>2.9764200000000001</c:v>
                </c:pt>
                <c:pt idx="267">
                  <c:v>2.2773099999999999</c:v>
                </c:pt>
                <c:pt idx="268">
                  <c:v>#N/A</c:v>
                </c:pt>
                <c:pt idx="269">
                  <c:v>2.2814100000000002</c:v>
                </c:pt>
                <c:pt idx="270">
                  <c:v>2.78139</c:v>
                </c:pt>
                <c:pt idx="271">
                  <c:v>#N/A</c:v>
                </c:pt>
                <c:pt idx="272">
                  <c:v>2.85562</c:v>
                </c:pt>
                <c:pt idx="273">
                  <c:v>2.8536700000000002</c:v>
                </c:pt>
                <c:pt idx="274">
                  <c:v>2.6925300000000001</c:v>
                </c:pt>
                <c:pt idx="275">
                  <c:v>#N/A</c:v>
                </c:pt>
                <c:pt idx="276">
                  <c:v>2.1307100000000001</c:v>
                </c:pt>
                <c:pt idx="277">
                  <c:v>1.4277</c:v>
                </c:pt>
                <c:pt idx="278">
                  <c:v>1.5516799999999999</c:v>
                </c:pt>
                <c:pt idx="279">
                  <c:v>#N/A</c:v>
                </c:pt>
                <c:pt idx="280">
                  <c:v>2.1903999999999999</c:v>
                </c:pt>
                <c:pt idx="281">
                  <c:v>2.33555</c:v>
                </c:pt>
                <c:pt idx="282">
                  <c:v>3.17469</c:v>
                </c:pt>
                <c:pt idx="283">
                  <c:v>#N/A</c:v>
                </c:pt>
                <c:pt idx="284">
                  <c:v>3.2409599999999998</c:v>
                </c:pt>
                <c:pt idx="285">
                  <c:v>3.3842099999999999</c:v>
                </c:pt>
                <c:pt idx="286">
                  <c:v>2.8077399999999999</c:v>
                </c:pt>
                <c:pt idx="287">
                  <c:v>#N/A</c:v>
                </c:pt>
                <c:pt idx="288">
                  <c:v>2.1882700000000002</c:v>
                </c:pt>
                <c:pt idx="289">
                  <c:v>2.19136</c:v>
                </c:pt>
                <c:pt idx="290">
                  <c:v>#N/A</c:v>
                </c:pt>
                <c:pt idx="291">
                  <c:v>2.4877699999999998</c:v>
                </c:pt>
                <c:pt idx="292">
                  <c:v>2.0466099999999998</c:v>
                </c:pt>
                <c:pt idx="293">
                  <c:v>2.6514099999999998</c:v>
                </c:pt>
                <c:pt idx="294">
                  <c:v>#N/A</c:v>
                </c:pt>
                <c:pt idx="295">
                  <c:v>3.1601400000000002</c:v>
                </c:pt>
                <c:pt idx="296">
                  <c:v>2.7176300000000002</c:v>
                </c:pt>
                <c:pt idx="297">
                  <c:v>#N/A</c:v>
                </c:pt>
                <c:pt idx="298">
                  <c:v>2.8871000000000002</c:v>
                </c:pt>
                <c:pt idx="299">
                  <c:v>1.7893600000000001</c:v>
                </c:pt>
                <c:pt idx="300">
                  <c:v>#N/A</c:v>
                </c:pt>
                <c:pt idx="301">
                  <c:v>1.8286800000000001</c:v>
                </c:pt>
                <c:pt idx="302">
                  <c:v>2.08013</c:v>
                </c:pt>
                <c:pt idx="303">
                  <c:v>2.1424099999999999</c:v>
                </c:pt>
                <c:pt idx="304">
                  <c:v>#N/A</c:v>
                </c:pt>
                <c:pt idx="305">
                  <c:v>3.1294900000000001</c:v>
                </c:pt>
                <c:pt idx="306">
                  <c:v>3.48889</c:v>
                </c:pt>
                <c:pt idx="307">
                  <c:v>3.2584200000000001</c:v>
                </c:pt>
                <c:pt idx="308">
                  <c:v>#N/A</c:v>
                </c:pt>
                <c:pt idx="309">
                  <c:v>2.39622</c:v>
                </c:pt>
                <c:pt idx="310">
                  <c:v>1.81219</c:v>
                </c:pt>
                <c:pt idx="311">
                  <c:v>2.0102799999999998</c:v>
                </c:pt>
                <c:pt idx="312">
                  <c:v>#N/A</c:v>
                </c:pt>
                <c:pt idx="313">
                  <c:v>1.9872099999999999</c:v>
                </c:pt>
                <c:pt idx="314">
                  <c:v>2.9552999999999998</c:v>
                </c:pt>
                <c:pt idx="315">
                  <c:v>#N/A</c:v>
                </c:pt>
                <c:pt idx="316">
                  <c:v>2.8321800000000001</c:v>
                </c:pt>
                <c:pt idx="317">
                  <c:v>3.2914400000000001</c:v>
                </c:pt>
                <c:pt idx="318">
                  <c:v>2.6999900000000001</c:v>
                </c:pt>
                <c:pt idx="319">
                  <c:v>#N/A</c:v>
                </c:pt>
                <c:pt idx="320">
                  <c:v>2.5964800000000001</c:v>
                </c:pt>
                <c:pt idx="321">
                  <c:v>2.3178399999999999</c:v>
                </c:pt>
                <c:pt idx="322">
                  <c:v>2.4233899999999999</c:v>
                </c:pt>
                <c:pt idx="323">
                  <c:v>#N/A</c:v>
                </c:pt>
                <c:pt idx="324">
                  <c:v>2.8767800000000001</c:v>
                </c:pt>
                <c:pt idx="325">
                  <c:v>3.7317800000000001</c:v>
                </c:pt>
                <c:pt idx="326">
                  <c:v>3.0509400000000002</c:v>
                </c:pt>
                <c:pt idx="327">
                  <c:v>#N/A</c:v>
                </c:pt>
                <c:pt idx="328">
                  <c:v>2.9003100000000002</c:v>
                </c:pt>
                <c:pt idx="329">
                  <c:v>2.3945400000000001</c:v>
                </c:pt>
                <c:pt idx="330">
                  <c:v>2.5539100000000001</c:v>
                </c:pt>
                <c:pt idx="331">
                  <c:v>#N/A</c:v>
                </c:pt>
                <c:pt idx="332">
                  <c:v>2.847</c:v>
                </c:pt>
                <c:pt idx="333">
                  <c:v>2.6739199999999999</c:v>
                </c:pt>
                <c:pt idx="334">
                  <c:v>3.0784600000000002</c:v>
                </c:pt>
                <c:pt idx="335">
                  <c:v>#N/A</c:v>
                </c:pt>
                <c:pt idx="336">
                  <c:v>2.81073</c:v>
                </c:pt>
                <c:pt idx="337">
                  <c:v>2.9826899999999998</c:v>
                </c:pt>
                <c:pt idx="338">
                  <c:v>#N/A</c:v>
                </c:pt>
                <c:pt idx="339">
                  <c:v>2.2885399999999998</c:v>
                </c:pt>
                <c:pt idx="340">
                  <c:v>2.3311199999999999</c:v>
                </c:pt>
                <c:pt idx="341">
                  <c:v>2.0852300000000001</c:v>
                </c:pt>
                <c:pt idx="342">
                  <c:v>#N/A</c:v>
                </c:pt>
                <c:pt idx="343">
                  <c:v>2.4674499999999999</c:v>
                </c:pt>
                <c:pt idx="344">
                  <c:v>2.81826</c:v>
                </c:pt>
                <c:pt idx="345">
                  <c:v>3.4068900000000002</c:v>
                </c:pt>
                <c:pt idx="346">
                  <c:v>#N/A</c:v>
                </c:pt>
                <c:pt idx="347">
                  <c:v>3.39872</c:v>
                </c:pt>
                <c:pt idx="348">
                  <c:v>2.8663500000000002</c:v>
                </c:pt>
                <c:pt idx="349">
                  <c:v>3.1118600000000001</c:v>
                </c:pt>
                <c:pt idx="350">
                  <c:v>#N/A</c:v>
                </c:pt>
                <c:pt idx="351">
                  <c:v>2.3075899999999998</c:v>
                </c:pt>
                <c:pt idx="352">
                  <c:v>2.2845800000000001</c:v>
                </c:pt>
                <c:pt idx="353">
                  <c:v>2.65957</c:v>
                </c:pt>
                <c:pt idx="354">
                  <c:v>#N/A</c:v>
                </c:pt>
                <c:pt idx="355">
                  <c:v>2.8664499999999999</c:v>
                </c:pt>
                <c:pt idx="356">
                  <c:v>3.0355699999999999</c:v>
                </c:pt>
                <c:pt idx="357">
                  <c:v>3.1142500000000002</c:v>
                </c:pt>
                <c:pt idx="358">
                  <c:v>#N/A</c:v>
                </c:pt>
                <c:pt idx="359">
                  <c:v>2.6346599999999998</c:v>
                </c:pt>
                <c:pt idx="360">
                  <c:v>2.5997400000000002</c:v>
                </c:pt>
                <c:pt idx="361">
                  <c:v>#N/A</c:v>
                </c:pt>
                <c:pt idx="362">
                  <c:v>2.0905300000000002</c:v>
                </c:pt>
                <c:pt idx="363">
                  <c:v>2.11483</c:v>
                </c:pt>
                <c:pt idx="364">
                  <c:v>2.4729100000000002</c:v>
                </c:pt>
                <c:pt idx="365">
                  <c:v>#N/A</c:v>
                </c:pt>
                <c:pt idx="366">
                  <c:v>2.9403899999999998</c:v>
                </c:pt>
                <c:pt idx="367">
                  <c:v>3.7578100000000001</c:v>
                </c:pt>
                <c:pt idx="368">
                  <c:v>3.4641099999999998</c:v>
                </c:pt>
                <c:pt idx="369">
                  <c:v>#N/A</c:v>
                </c:pt>
                <c:pt idx="370">
                  <c:v>3.5342899999999999</c:v>
                </c:pt>
                <c:pt idx="371">
                  <c:v>2.74709</c:v>
                </c:pt>
                <c:pt idx="372">
                  <c:v>#N/A</c:v>
                </c:pt>
                <c:pt idx="373">
                  <c:v>1.8230200000000001</c:v>
                </c:pt>
                <c:pt idx="374">
                  <c:v>#N/A</c:v>
                </c:pt>
                <c:pt idx="375">
                  <c:v>2.2058300000000002</c:v>
                </c:pt>
                <c:pt idx="376">
                  <c:v>2.6589900000000002</c:v>
                </c:pt>
                <c:pt idx="377">
                  <c:v>3.2709199999999998</c:v>
                </c:pt>
                <c:pt idx="378">
                  <c:v>#N/A</c:v>
                </c:pt>
                <c:pt idx="379">
                  <c:v>3.2603900000000001</c:v>
                </c:pt>
                <c:pt idx="380">
                  <c:v>3.1025700000000001</c:v>
                </c:pt>
                <c:pt idx="381">
                  <c:v>2.7944100000000001</c:v>
                </c:pt>
                <c:pt idx="382">
                  <c:v>#N/A</c:v>
                </c:pt>
                <c:pt idx="383">
                  <c:v>1.89601</c:v>
                </c:pt>
                <c:pt idx="384">
                  <c:v>2.0642499999999999</c:v>
                </c:pt>
                <c:pt idx="385">
                  <c:v>2.4059900000000001</c:v>
                </c:pt>
                <c:pt idx="386">
                  <c:v>#N/A</c:v>
                </c:pt>
                <c:pt idx="387">
                  <c:v>3.2328399999999999</c:v>
                </c:pt>
                <c:pt idx="388">
                  <c:v>3.32707</c:v>
                </c:pt>
                <c:pt idx="389">
                  <c:v>3.31019</c:v>
                </c:pt>
                <c:pt idx="390">
                  <c:v>#N/A</c:v>
                </c:pt>
                <c:pt idx="391">
                  <c:v>3.4559600000000001</c:v>
                </c:pt>
                <c:pt idx="392">
                  <c:v>3.7187899999999998</c:v>
                </c:pt>
                <c:pt idx="393">
                  <c:v>#N/A</c:v>
                </c:pt>
                <c:pt idx="394">
                  <c:v>2.2072699999999998</c:v>
                </c:pt>
                <c:pt idx="395">
                  <c:v>2.2930199999999998</c:v>
                </c:pt>
                <c:pt idx="396">
                  <c:v>2.50414</c:v>
                </c:pt>
                <c:pt idx="397">
                  <c:v>#N/A</c:v>
                </c:pt>
                <c:pt idx="398">
                  <c:v>2.7970799999999998</c:v>
                </c:pt>
                <c:pt idx="399">
                  <c:v>2.6423199999999998</c:v>
                </c:pt>
                <c:pt idx="400">
                  <c:v>3.1136599999999999</c:v>
                </c:pt>
                <c:pt idx="401">
                  <c:v>#N/A</c:v>
                </c:pt>
                <c:pt idx="402">
                  <c:v>2.7336399999999998</c:v>
                </c:pt>
                <c:pt idx="403">
                  <c:v>2.5058400000000001</c:v>
                </c:pt>
                <c:pt idx="404">
                  <c:v>2.7118199999999999</c:v>
                </c:pt>
                <c:pt idx="405">
                  <c:v>#N/A</c:v>
                </c:pt>
                <c:pt idx="406">
                  <c:v>2.5561199999999999</c:v>
                </c:pt>
                <c:pt idx="407">
                  <c:v>2.7747299999999999</c:v>
                </c:pt>
                <c:pt idx="408">
                  <c:v>2.7325599999999999</c:v>
                </c:pt>
                <c:pt idx="409">
                  <c:v>#N/A</c:v>
                </c:pt>
                <c:pt idx="410">
                  <c:v>3.8404500000000001</c:v>
                </c:pt>
                <c:pt idx="411">
                  <c:v>3.1154299999999999</c:v>
                </c:pt>
                <c:pt idx="412">
                  <c:v>3.1509399999999999</c:v>
                </c:pt>
                <c:pt idx="413">
                  <c:v>#N/A</c:v>
                </c:pt>
                <c:pt idx="414">
                  <c:v>2.9327899999999998</c:v>
                </c:pt>
                <c:pt idx="415">
                  <c:v>2.8064200000000001</c:v>
                </c:pt>
                <c:pt idx="416">
                  <c:v>3.03383</c:v>
                </c:pt>
                <c:pt idx="417">
                  <c:v>#N/A</c:v>
                </c:pt>
                <c:pt idx="418">
                  <c:v>3.1256900000000001</c:v>
                </c:pt>
                <c:pt idx="419">
                  <c:v>3.51573</c:v>
                </c:pt>
                <c:pt idx="420">
                  <c:v>#N/A</c:v>
                </c:pt>
                <c:pt idx="421">
                  <c:v>2.9252699999999998</c:v>
                </c:pt>
                <c:pt idx="422">
                  <c:v>2.4103400000000001</c:v>
                </c:pt>
                <c:pt idx="423">
                  <c:v>2.4432299999999998</c:v>
                </c:pt>
                <c:pt idx="424">
                  <c:v>#N/A</c:v>
                </c:pt>
                <c:pt idx="425">
                  <c:v>1.9235899999999999</c:v>
                </c:pt>
                <c:pt idx="426">
                  <c:v>2.6512500000000001</c:v>
                </c:pt>
                <c:pt idx="427">
                  <c:v>2.9455</c:v>
                </c:pt>
                <c:pt idx="428">
                  <c:v>#N/A</c:v>
                </c:pt>
                <c:pt idx="429">
                  <c:v>3.3782100000000002</c:v>
                </c:pt>
                <c:pt idx="430">
                  <c:v>3.5728800000000001</c:v>
                </c:pt>
                <c:pt idx="431">
                  <c:v>3.2658299999999998</c:v>
                </c:pt>
                <c:pt idx="432">
                  <c:v>#N/A</c:v>
                </c:pt>
                <c:pt idx="433">
                  <c:v>2.92564</c:v>
                </c:pt>
                <c:pt idx="434">
                  <c:v>1.90103</c:v>
                </c:pt>
                <c:pt idx="435">
                  <c:v>1.9613700000000001</c:v>
                </c:pt>
                <c:pt idx="436">
                  <c:v>#N/A</c:v>
                </c:pt>
                <c:pt idx="437">
                  <c:v>2.4702799999999998</c:v>
                </c:pt>
                <c:pt idx="438">
                  <c:v>2.5288300000000001</c:v>
                </c:pt>
                <c:pt idx="439">
                  <c:v>#N/A</c:v>
                </c:pt>
                <c:pt idx="440">
                  <c:v>3.3764099999999999</c:v>
                </c:pt>
                <c:pt idx="441">
                  <c:v>3.8487800000000001</c:v>
                </c:pt>
                <c:pt idx="442">
                  <c:v>3.26241</c:v>
                </c:pt>
                <c:pt idx="443">
                  <c:v>#N/A</c:v>
                </c:pt>
                <c:pt idx="444">
                  <c:v>3.16893</c:v>
                </c:pt>
                <c:pt idx="445">
                  <c:v>2.4701300000000002</c:v>
                </c:pt>
                <c:pt idx="446">
                  <c:v>1.87097</c:v>
                </c:pt>
                <c:pt idx="447">
                  <c:v>#N/A</c:v>
                </c:pt>
                <c:pt idx="448">
                  <c:v>2.1840899999999999</c:v>
                </c:pt>
                <c:pt idx="449">
                  <c:v>#N/A</c:v>
                </c:pt>
                <c:pt idx="450">
                  <c:v>3.14514</c:v>
                </c:pt>
                <c:pt idx="451">
                  <c:v>3.18567</c:v>
                </c:pt>
                <c:pt idx="452">
                  <c:v>#N/A</c:v>
                </c:pt>
                <c:pt idx="453">
                  <c:v>3.8125499999999999</c:v>
                </c:pt>
                <c:pt idx="454">
                  <c:v>3.7773300000000001</c:v>
                </c:pt>
                <c:pt idx="455">
                  <c:v>2.5777100000000002</c:v>
                </c:pt>
                <c:pt idx="456">
                  <c:v>#N/A</c:v>
                </c:pt>
                <c:pt idx="457">
                  <c:v>2.4866199999999998</c:v>
                </c:pt>
                <c:pt idx="458">
                  <c:v>2.3064800000000001</c:v>
                </c:pt>
                <c:pt idx="459">
                  <c:v>#N/A</c:v>
                </c:pt>
                <c:pt idx="460">
                  <c:v>1.9702900000000001</c:v>
                </c:pt>
                <c:pt idx="461">
                  <c:v>2.6381399999999999</c:v>
                </c:pt>
                <c:pt idx="462">
                  <c:v>2.9224899999999998</c:v>
                </c:pt>
                <c:pt idx="463">
                  <c:v>#N/A</c:v>
                </c:pt>
                <c:pt idx="464">
                  <c:v>3.14255</c:v>
                </c:pt>
                <c:pt idx="465">
                  <c:v>2.8463699999999998</c:v>
                </c:pt>
                <c:pt idx="466">
                  <c:v>3.0350199999999998</c:v>
                </c:pt>
                <c:pt idx="467">
                  <c:v>#N/A</c:v>
                </c:pt>
                <c:pt idx="468">
                  <c:v>2.7719900000000002</c:v>
                </c:pt>
                <c:pt idx="469">
                  <c:v>2.5840000000000001</c:v>
                </c:pt>
                <c:pt idx="470">
                  <c:v>2.7481300000000002</c:v>
                </c:pt>
                <c:pt idx="471">
                  <c:v>#N/A</c:v>
                </c:pt>
                <c:pt idx="472">
                  <c:v>3.0682800000000001</c:v>
                </c:pt>
                <c:pt idx="473">
                  <c:v>3.0771999999999999</c:v>
                </c:pt>
                <c:pt idx="474">
                  <c:v>3.25928</c:v>
                </c:pt>
                <c:pt idx="475">
                  <c:v>#N/A</c:v>
                </c:pt>
                <c:pt idx="476">
                  <c:v>2.8348399999999998</c:v>
                </c:pt>
                <c:pt idx="477">
                  <c:v>2.4497100000000001</c:v>
                </c:pt>
                <c:pt idx="478">
                  <c:v>2.82796</c:v>
                </c:pt>
                <c:pt idx="479">
                  <c:v>#N/A</c:v>
                </c:pt>
                <c:pt idx="480">
                  <c:v>2.9161999999999999</c:v>
                </c:pt>
                <c:pt idx="481">
                  <c:v>2.6599200000000001</c:v>
                </c:pt>
                <c:pt idx="482">
                  <c:v>2.6859299999999999</c:v>
                </c:pt>
                <c:pt idx="483">
                  <c:v>#N/A</c:v>
                </c:pt>
                <c:pt idx="484">
                  <c:v>3.1434700000000002</c:v>
                </c:pt>
                <c:pt idx="485">
                  <c:v>2.1984499999999998</c:v>
                </c:pt>
                <c:pt idx="486">
                  <c:v>1.23749</c:v>
                </c:pt>
                <c:pt idx="487">
                  <c:v>#N/A</c:v>
                </c:pt>
                <c:pt idx="488">
                  <c:v>1.7418800000000001</c:v>
                </c:pt>
                <c:pt idx="489">
                  <c:v>2.0636700000000001</c:v>
                </c:pt>
                <c:pt idx="490">
                  <c:v>#N/A</c:v>
                </c:pt>
                <c:pt idx="491">
                  <c:v>2.7167699999999999</c:v>
                </c:pt>
                <c:pt idx="492">
                  <c:v>3.4528699999999999</c:v>
                </c:pt>
                <c:pt idx="493">
                  <c:v>3.2885499999999999</c:v>
                </c:pt>
                <c:pt idx="494">
                  <c:v>#N/A</c:v>
                </c:pt>
                <c:pt idx="495">
                  <c:v>2.67319</c:v>
                </c:pt>
                <c:pt idx="496">
                  <c:v>2.5285099999999998</c:v>
                </c:pt>
                <c:pt idx="497">
                  <c:v>1.76674</c:v>
                </c:pt>
                <c:pt idx="498">
                  <c:v>#N/A</c:v>
                </c:pt>
                <c:pt idx="499">
                  <c:v>1.7437</c:v>
                </c:pt>
                <c:pt idx="500">
                  <c:v>2.3501099999999999</c:v>
                </c:pt>
                <c:pt idx="501">
                  <c:v>3.4380700000000002</c:v>
                </c:pt>
                <c:pt idx="502">
                  <c:v>#N/A</c:v>
                </c:pt>
                <c:pt idx="503">
                  <c:v>3.4205700000000001</c:v>
                </c:pt>
                <c:pt idx="504">
                  <c:v>3.2995800000000002</c:v>
                </c:pt>
                <c:pt idx="505">
                  <c:v>3.01796</c:v>
                </c:pt>
                <c:pt idx="506">
                  <c:v>#N/A</c:v>
                </c:pt>
                <c:pt idx="507">
                  <c:v>2.6329099999999999</c:v>
                </c:pt>
                <c:pt idx="508">
                  <c:v>2.4216099999999998</c:v>
                </c:pt>
                <c:pt idx="509">
                  <c:v>2.2617099999999999</c:v>
                </c:pt>
                <c:pt idx="510">
                  <c:v>#N/A</c:v>
                </c:pt>
                <c:pt idx="511">
                  <c:v>1.90144</c:v>
                </c:pt>
                <c:pt idx="512">
                  <c:v>2.6536499999999998</c:v>
                </c:pt>
                <c:pt idx="513">
                  <c:v>3.6488900000000002</c:v>
                </c:pt>
                <c:pt idx="514">
                  <c:v>#N/A</c:v>
                </c:pt>
                <c:pt idx="515">
                  <c:v>3.8829799999999999</c:v>
                </c:pt>
                <c:pt idx="516">
                  <c:v>3.42401</c:v>
                </c:pt>
                <c:pt idx="517">
                  <c:v>2.6940400000000002</c:v>
                </c:pt>
                <c:pt idx="518">
                  <c:v>#N/A</c:v>
                </c:pt>
                <c:pt idx="519">
                  <c:v>2.3530799999999998</c:v>
                </c:pt>
                <c:pt idx="520">
                  <c:v>1.99735</c:v>
                </c:pt>
                <c:pt idx="521">
                  <c:v>#N/A</c:v>
                </c:pt>
                <c:pt idx="522">
                  <c:v>2.4994800000000001</c:v>
                </c:pt>
                <c:pt idx="523">
                  <c:v>2.8467500000000001</c:v>
                </c:pt>
                <c:pt idx="524">
                  <c:v>#N/A</c:v>
                </c:pt>
                <c:pt idx="525">
                  <c:v>2.4845299999999999</c:v>
                </c:pt>
                <c:pt idx="526">
                  <c:v>3.1607799999999999</c:v>
                </c:pt>
                <c:pt idx="527">
                  <c:v>3.2605300000000002</c:v>
                </c:pt>
                <c:pt idx="528">
                  <c:v>#N/A</c:v>
                </c:pt>
                <c:pt idx="529">
                  <c:v>2.3100700000000001</c:v>
                </c:pt>
                <c:pt idx="530">
                  <c:v>2.6295700000000002</c:v>
                </c:pt>
                <c:pt idx="531">
                  <c:v>#N/A</c:v>
                </c:pt>
                <c:pt idx="532">
                  <c:v>2.3347600000000002</c:v>
                </c:pt>
                <c:pt idx="533">
                  <c:v>2.4810699999999999</c:v>
                </c:pt>
                <c:pt idx="534">
                  <c:v>3.1623700000000001</c:v>
                </c:pt>
                <c:pt idx="535">
                  <c:v>#N/A</c:v>
                </c:pt>
                <c:pt idx="536">
                  <c:v>3.3365499999999999</c:v>
                </c:pt>
                <c:pt idx="537">
                  <c:v>3.2206299999999999</c:v>
                </c:pt>
                <c:pt idx="538">
                  <c:v>3.30172</c:v>
                </c:pt>
                <c:pt idx="539">
                  <c:v>#N/A</c:v>
                </c:pt>
                <c:pt idx="540">
                  <c:v>2.93615</c:v>
                </c:pt>
                <c:pt idx="541">
                  <c:v>2.9480400000000002</c:v>
                </c:pt>
                <c:pt idx="542">
                  <c:v>3.6212200000000001</c:v>
                </c:pt>
                <c:pt idx="543">
                  <c:v>#N/A</c:v>
                </c:pt>
                <c:pt idx="544">
                  <c:v>3.8742999999999999</c:v>
                </c:pt>
                <c:pt idx="545">
                  <c:v>3.9484300000000001</c:v>
                </c:pt>
                <c:pt idx="546">
                  <c:v>4.0283600000000002</c:v>
                </c:pt>
                <c:pt idx="547">
                  <c:v>#N/A</c:v>
                </c:pt>
                <c:pt idx="548">
                  <c:v>3.8044199999999999</c:v>
                </c:pt>
                <c:pt idx="549">
                  <c:v>2.7567400000000002</c:v>
                </c:pt>
                <c:pt idx="550">
                  <c:v>#N/A</c:v>
                </c:pt>
                <c:pt idx="551">
                  <c:v>2.4497300000000002</c:v>
                </c:pt>
                <c:pt idx="552">
                  <c:v>2.2700200000000001</c:v>
                </c:pt>
                <c:pt idx="553">
                  <c:v>2.6256300000000001</c:v>
                </c:pt>
                <c:pt idx="554">
                  <c:v>#N/A</c:v>
                </c:pt>
                <c:pt idx="555">
                  <c:v>2.8315600000000001</c:v>
                </c:pt>
                <c:pt idx="556">
                  <c:v>3.17842</c:v>
                </c:pt>
                <c:pt idx="557">
                  <c:v>3.0720399999999999</c:v>
                </c:pt>
                <c:pt idx="558">
                  <c:v>#N/A</c:v>
                </c:pt>
                <c:pt idx="559">
                  <c:v>2.6096699999999999</c:v>
                </c:pt>
                <c:pt idx="560">
                  <c:v>1.51623</c:v>
                </c:pt>
                <c:pt idx="561">
                  <c:v>1.4911000000000001</c:v>
                </c:pt>
                <c:pt idx="562">
                  <c:v>#N/A</c:v>
                </c:pt>
                <c:pt idx="563">
                  <c:v>2.16113</c:v>
                </c:pt>
                <c:pt idx="564">
                  <c:v>2.6173999999999999</c:v>
                </c:pt>
                <c:pt idx="565">
                  <c:v>3.1413500000000001</c:v>
                </c:pt>
                <c:pt idx="566">
                  <c:v>#N/A</c:v>
                </c:pt>
                <c:pt idx="567">
                  <c:v>3.3001399999999999</c:v>
                </c:pt>
                <c:pt idx="568">
                  <c:v>2.8162799999999999</c:v>
                </c:pt>
                <c:pt idx="569">
                  <c:v>2.74891</c:v>
                </c:pt>
                <c:pt idx="570">
                  <c:v>#N/A</c:v>
                </c:pt>
                <c:pt idx="571">
                  <c:v>2.6541899999999998</c:v>
                </c:pt>
                <c:pt idx="572">
                  <c:v>2.6778200000000001</c:v>
                </c:pt>
                <c:pt idx="573">
                  <c:v>3.1176400000000002</c:v>
                </c:pt>
                <c:pt idx="574">
                  <c:v>#N/A</c:v>
                </c:pt>
                <c:pt idx="575">
                  <c:v>3.7168999999999999</c:v>
                </c:pt>
                <c:pt idx="576">
                  <c:v>3.9824299999999999</c:v>
                </c:pt>
                <c:pt idx="577">
                  <c:v>3.9318300000000002</c:v>
                </c:pt>
                <c:pt idx="578">
                  <c:v>#N/A</c:v>
                </c:pt>
                <c:pt idx="579">
                  <c:v>3.7006399999999999</c:v>
                </c:pt>
                <c:pt idx="580">
                  <c:v>3.35791</c:v>
                </c:pt>
                <c:pt idx="581">
                  <c:v>#N/A</c:v>
                </c:pt>
                <c:pt idx="582">
                  <c:v>2.3890699999999998</c:v>
                </c:pt>
                <c:pt idx="583">
                  <c:v>2.6180699999999999</c:v>
                </c:pt>
                <c:pt idx="584">
                  <c:v>2.5351599999999999</c:v>
                </c:pt>
                <c:pt idx="585">
                  <c:v>#N/A</c:v>
                </c:pt>
                <c:pt idx="586">
                  <c:v>2.8012199999999998</c:v>
                </c:pt>
                <c:pt idx="587">
                  <c:v>3.2313399999999999</c:v>
                </c:pt>
                <c:pt idx="588">
                  <c:v>3.4990299999999999</c:v>
                </c:pt>
                <c:pt idx="589">
                  <c:v>#N/A</c:v>
                </c:pt>
                <c:pt idx="590">
                  <c:v>2.9522599999999999</c:v>
                </c:pt>
                <c:pt idx="591">
                  <c:v>2.3762699999999999</c:v>
                </c:pt>
                <c:pt idx="592">
                  <c:v>2.27183</c:v>
                </c:pt>
                <c:pt idx="593">
                  <c:v>#N/A</c:v>
                </c:pt>
                <c:pt idx="594">
                  <c:v>2.4158200000000001</c:v>
                </c:pt>
                <c:pt idx="595">
                  <c:v>2.9650699999999999</c:v>
                </c:pt>
                <c:pt idx="596">
                  <c:v>3.5193599999999998</c:v>
                </c:pt>
                <c:pt idx="597">
                  <c:v>#N/A</c:v>
                </c:pt>
                <c:pt idx="598">
                  <c:v>#N/A</c:v>
                </c:pt>
                <c:pt idx="599">
                  <c:v>3.8583500000000002</c:v>
                </c:pt>
                <c:pt idx="600">
                  <c:v>3.5773700000000002</c:v>
                </c:pt>
                <c:pt idx="601">
                  <c:v>2.5348799999999998</c:v>
                </c:pt>
                <c:pt idx="602">
                  <c:v>#N/A</c:v>
                </c:pt>
                <c:pt idx="603">
                  <c:v>#N/A</c:v>
                </c:pt>
                <c:pt idx="604">
                  <c:v>2.9508200000000002</c:v>
                </c:pt>
                <c:pt idx="605">
                  <c:v>#N/A</c:v>
                </c:pt>
                <c:pt idx="606">
                  <c:v>2.9925799999999998</c:v>
                </c:pt>
                <c:pt idx="607">
                  <c:v>3.4635400000000001</c:v>
                </c:pt>
                <c:pt idx="608">
                  <c:v>3.6316700000000002</c:v>
                </c:pt>
                <c:pt idx="609">
                  <c:v>#N/A</c:v>
                </c:pt>
                <c:pt idx="610">
                  <c:v>3.8858000000000001</c:v>
                </c:pt>
                <c:pt idx="611">
                  <c:v>3.1724299999999999</c:v>
                </c:pt>
                <c:pt idx="612">
                  <c:v>2.9736799999999999</c:v>
                </c:pt>
                <c:pt idx="613">
                  <c:v>#N/A</c:v>
                </c:pt>
                <c:pt idx="614">
                  <c:v>2.8480300000000001</c:v>
                </c:pt>
                <c:pt idx="615">
                  <c:v>2.8646400000000001</c:v>
                </c:pt>
                <c:pt idx="616">
                  <c:v>3.2410199999999998</c:v>
                </c:pt>
                <c:pt idx="617">
                  <c:v>#N/A</c:v>
                </c:pt>
                <c:pt idx="618">
                  <c:v>4.0461600000000004</c:v>
                </c:pt>
                <c:pt idx="619">
                  <c:v>3.94068</c:v>
                </c:pt>
                <c:pt idx="620">
                  <c:v>4.1586699999999999</c:v>
                </c:pt>
                <c:pt idx="621">
                  <c:v>#N/A</c:v>
                </c:pt>
                <c:pt idx="622">
                  <c:v>4.1315299999999997</c:v>
                </c:pt>
                <c:pt idx="623">
                  <c:v>3.4874100000000001</c:v>
                </c:pt>
                <c:pt idx="624">
                  <c:v>2.9865400000000002</c:v>
                </c:pt>
                <c:pt idx="625">
                  <c:v>#N/A</c:v>
                </c:pt>
                <c:pt idx="626">
                  <c:v>2.7360899999999999</c:v>
                </c:pt>
                <c:pt idx="627">
                  <c:v>3.7932100000000002</c:v>
                </c:pt>
                <c:pt idx="628">
                  <c:v>#N/A</c:v>
                </c:pt>
                <c:pt idx="629">
                  <c:v>3.5279600000000002</c:v>
                </c:pt>
                <c:pt idx="630">
                  <c:v>3.1414900000000001</c:v>
                </c:pt>
                <c:pt idx="631">
                  <c:v>3.37371</c:v>
                </c:pt>
                <c:pt idx="632">
                  <c:v>#N/A</c:v>
                </c:pt>
                <c:pt idx="633">
                  <c:v>3.5530499999999998</c:v>
                </c:pt>
                <c:pt idx="634">
                  <c:v>3.0058799999999999</c:v>
                </c:pt>
                <c:pt idx="635">
                  <c:v>3.6024500000000002</c:v>
                </c:pt>
                <c:pt idx="636">
                  <c:v>#N/A</c:v>
                </c:pt>
                <c:pt idx="637">
                  <c:v>3.38747</c:v>
                </c:pt>
                <c:pt idx="638">
                  <c:v>3.58962</c:v>
                </c:pt>
                <c:pt idx="639">
                  <c:v>3.6282700000000001</c:v>
                </c:pt>
                <c:pt idx="640">
                  <c:v>#N/A</c:v>
                </c:pt>
                <c:pt idx="641">
                  <c:v>4.1123200000000004</c:v>
                </c:pt>
                <c:pt idx="642">
                  <c:v>3.5125000000000002</c:v>
                </c:pt>
                <c:pt idx="643">
                  <c:v>2.7036600000000002</c:v>
                </c:pt>
                <c:pt idx="644">
                  <c:v>#N/A</c:v>
                </c:pt>
                <c:pt idx="645">
                  <c:v>3.2038099999999998</c:v>
                </c:pt>
                <c:pt idx="646">
                  <c:v>3.2908499999999998</c:v>
                </c:pt>
                <c:pt idx="647">
                  <c:v>3.9590800000000002</c:v>
                </c:pt>
                <c:pt idx="648">
                  <c:v>#N/A</c:v>
                </c:pt>
                <c:pt idx="649">
                  <c:v>3.9295300000000002</c:v>
                </c:pt>
                <c:pt idx="650">
                  <c:v>3.7022400000000002</c:v>
                </c:pt>
                <c:pt idx="651">
                  <c:v>3.32287</c:v>
                </c:pt>
                <c:pt idx="652">
                  <c:v>#N/A</c:v>
                </c:pt>
                <c:pt idx="653">
                  <c:v>3.37236</c:v>
                </c:pt>
                <c:pt idx="654">
                  <c:v>2.5028000000000001</c:v>
                </c:pt>
                <c:pt idx="655">
                  <c:v>#N/A</c:v>
                </c:pt>
                <c:pt idx="656">
                  <c:v>2.3913700000000002</c:v>
                </c:pt>
                <c:pt idx="657">
                  <c:v>2.7475499999999999</c:v>
                </c:pt>
                <c:pt idx="658">
                  <c:v>3.5753499999999998</c:v>
                </c:pt>
                <c:pt idx="659">
                  <c:v>#N/A</c:v>
                </c:pt>
                <c:pt idx="660">
                  <c:v>4.8820100000000002</c:v>
                </c:pt>
                <c:pt idx="661">
                  <c:v>4.2544199999999996</c:v>
                </c:pt>
                <c:pt idx="662">
                  <c:v>3.9081899999999998</c:v>
                </c:pt>
                <c:pt idx="663">
                  <c:v>#N/A</c:v>
                </c:pt>
                <c:pt idx="664">
                  <c:v>3.00122</c:v>
                </c:pt>
                <c:pt idx="665">
                  <c:v>2.21245</c:v>
                </c:pt>
                <c:pt idx="666">
                  <c:v>2.4160300000000001</c:v>
                </c:pt>
                <c:pt idx="667">
                  <c:v>#N/A</c:v>
                </c:pt>
                <c:pt idx="668">
                  <c:v>2.7860200000000002</c:v>
                </c:pt>
                <c:pt idx="669">
                  <c:v>3.4089200000000002</c:v>
                </c:pt>
                <c:pt idx="670">
                  <c:v>3.86633</c:v>
                </c:pt>
                <c:pt idx="671">
                  <c:v>#N/A</c:v>
                </c:pt>
                <c:pt idx="672">
                  <c:v>3.8534899999999999</c:v>
                </c:pt>
                <c:pt idx="673">
                  <c:v>#N/A</c:v>
                </c:pt>
                <c:pt idx="674">
                  <c:v>3.4805999999999999</c:v>
                </c:pt>
                <c:pt idx="675">
                  <c:v>3.1825399999999999</c:v>
                </c:pt>
                <c:pt idx="676">
                  <c:v>#N/A</c:v>
                </c:pt>
                <c:pt idx="677">
                  <c:v>2.5844900000000002</c:v>
                </c:pt>
                <c:pt idx="678">
                  <c:v>2.7704</c:v>
                </c:pt>
                <c:pt idx="679">
                  <c:v>#N/A</c:v>
                </c:pt>
                <c:pt idx="680">
                  <c:v>2.9147799999999999</c:v>
                </c:pt>
                <c:pt idx="681">
                  <c:v>3.76431</c:v>
                </c:pt>
                <c:pt idx="682">
                  <c:v>3.8344800000000001</c:v>
                </c:pt>
                <c:pt idx="683">
                  <c:v>#N/A</c:v>
                </c:pt>
                <c:pt idx="684">
                  <c:v>3.8298399999999999</c:v>
                </c:pt>
                <c:pt idx="685">
                  <c:v>3.1274999999999999</c:v>
                </c:pt>
                <c:pt idx="686">
                  <c:v>3.3084099999999999</c:v>
                </c:pt>
                <c:pt idx="687">
                  <c:v>#N/A</c:v>
                </c:pt>
                <c:pt idx="688">
                  <c:v>3.0081699999999998</c:v>
                </c:pt>
                <c:pt idx="689">
                  <c:v>2.8210600000000001</c:v>
                </c:pt>
                <c:pt idx="690">
                  <c:v>#N/A</c:v>
                </c:pt>
                <c:pt idx="691">
                  <c:v>2.7261700000000002</c:v>
                </c:pt>
                <c:pt idx="692">
                  <c:v>2.82857</c:v>
                </c:pt>
                <c:pt idx="693">
                  <c:v>2.7448299999999999</c:v>
                </c:pt>
                <c:pt idx="694">
                  <c:v>#N/A</c:v>
                </c:pt>
                <c:pt idx="695">
                  <c:v>3.0977899999999998</c:v>
                </c:pt>
                <c:pt idx="696">
                  <c:v>3.23393</c:v>
                </c:pt>
                <c:pt idx="697">
                  <c:v>2.8143500000000001</c:v>
                </c:pt>
                <c:pt idx="698">
                  <c:v>#N/A</c:v>
                </c:pt>
                <c:pt idx="699">
                  <c:v>3.01993</c:v>
                </c:pt>
                <c:pt idx="700">
                  <c:v>3.6408200000000002</c:v>
                </c:pt>
                <c:pt idx="701">
                  <c:v>3.8620000000000001</c:v>
                </c:pt>
                <c:pt idx="702">
                  <c:v>#N/A</c:v>
                </c:pt>
                <c:pt idx="703">
                  <c:v>3.9313699999999998</c:v>
                </c:pt>
                <c:pt idx="704">
                  <c:v>3.5428799999999998</c:v>
                </c:pt>
                <c:pt idx="705">
                  <c:v>3.1970100000000001</c:v>
                </c:pt>
                <c:pt idx="706">
                  <c:v>#N/A</c:v>
                </c:pt>
                <c:pt idx="707">
                  <c:v>3.3080400000000001</c:v>
                </c:pt>
                <c:pt idx="708">
                  <c:v>3.0379499999999999</c:v>
                </c:pt>
                <c:pt idx="709">
                  <c:v>3.2336</c:v>
                </c:pt>
                <c:pt idx="710">
                  <c:v>#N/A</c:v>
                </c:pt>
                <c:pt idx="711">
                  <c:v>3.48773</c:v>
                </c:pt>
                <c:pt idx="712">
                  <c:v>3.99987</c:v>
                </c:pt>
                <c:pt idx="713">
                  <c:v>3.52752</c:v>
                </c:pt>
                <c:pt idx="714">
                  <c:v>#N/A</c:v>
                </c:pt>
                <c:pt idx="715">
                  <c:v>3.1526399999999999</c:v>
                </c:pt>
                <c:pt idx="716">
                  <c:v>2.2215400000000001</c:v>
                </c:pt>
                <c:pt idx="717">
                  <c:v>#N/A</c:v>
                </c:pt>
                <c:pt idx="718">
                  <c:v>2.8237999999999999</c:v>
                </c:pt>
                <c:pt idx="719">
                  <c:v>2.7089400000000001</c:v>
                </c:pt>
                <c:pt idx="720">
                  <c:v>3.3560099999999999</c:v>
                </c:pt>
                <c:pt idx="721">
                  <c:v>#N/A</c:v>
                </c:pt>
                <c:pt idx="722">
                  <c:v>3.9056000000000002</c:v>
                </c:pt>
                <c:pt idx="723">
                  <c:v>4.0201599999999997</c:v>
                </c:pt>
                <c:pt idx="724">
                  <c:v>4.1363099999999999</c:v>
                </c:pt>
                <c:pt idx="725">
                  <c:v>#N/A</c:v>
                </c:pt>
                <c:pt idx="726">
                  <c:v>4.4702000000000002</c:v>
                </c:pt>
                <c:pt idx="727">
                  <c:v>3.83982</c:v>
                </c:pt>
                <c:pt idx="728">
                  <c:v>#N/A</c:v>
                </c:pt>
                <c:pt idx="729">
                  <c:v>3.34721</c:v>
                </c:pt>
                <c:pt idx="730">
                  <c:v>3.2837200000000002</c:v>
                </c:pt>
                <c:pt idx="731">
                  <c:v>3.8914300000000002</c:v>
                </c:pt>
                <c:pt idx="732">
                  <c:v>#N/A</c:v>
                </c:pt>
                <c:pt idx="733">
                  <c:v>3.96618</c:v>
                </c:pt>
                <c:pt idx="734">
                  <c:v>3.7058</c:v>
                </c:pt>
                <c:pt idx="735">
                  <c:v>3.9944899999999999</c:v>
                </c:pt>
                <c:pt idx="736">
                  <c:v>#N/A</c:v>
                </c:pt>
                <c:pt idx="737">
                  <c:v>3.4227699999999999</c:v>
                </c:pt>
                <c:pt idx="738">
                  <c:v>3.05342</c:v>
                </c:pt>
                <c:pt idx="739">
                  <c:v>2.9526699999999999</c:v>
                </c:pt>
                <c:pt idx="740">
                  <c:v>#N/A</c:v>
                </c:pt>
                <c:pt idx="741">
                  <c:v>3.2159200000000001</c:v>
                </c:pt>
                <c:pt idx="742">
                  <c:v>3.6455600000000001</c:v>
                </c:pt>
                <c:pt idx="743">
                  <c:v>4.3958199999999996</c:v>
                </c:pt>
                <c:pt idx="744">
                  <c:v>#N/A</c:v>
                </c:pt>
                <c:pt idx="745">
                  <c:v>4.3703000000000003</c:v>
                </c:pt>
                <c:pt idx="746">
                  <c:v>3.8473099999999998</c:v>
                </c:pt>
                <c:pt idx="747">
                  <c:v>3.0577000000000001</c:v>
                </c:pt>
                <c:pt idx="748">
                  <c:v>#N/A</c:v>
                </c:pt>
                <c:pt idx="749">
                  <c:v>3.0884999999999998</c:v>
                </c:pt>
                <c:pt idx="750">
                  <c:v>#N/A</c:v>
                </c:pt>
                <c:pt idx="751">
                  <c:v>3.2510500000000002</c:v>
                </c:pt>
                <c:pt idx="752">
                  <c:v>3.6718199999999999</c:v>
                </c:pt>
                <c:pt idx="753">
                  <c:v>#N/A</c:v>
                </c:pt>
                <c:pt idx="754">
                  <c:v>3.73678</c:v>
                </c:pt>
                <c:pt idx="755">
                  <c:v>3.9668100000000002</c:v>
                </c:pt>
                <c:pt idx="756">
                  <c:v>4.3696000000000002</c:v>
                </c:pt>
                <c:pt idx="757">
                  <c:v>#N/A</c:v>
                </c:pt>
                <c:pt idx="758">
                  <c:v>4.3388400000000003</c:v>
                </c:pt>
                <c:pt idx="759">
                  <c:v>3.3314699999999999</c:v>
                </c:pt>
                <c:pt idx="760">
                  <c:v>#N/A</c:v>
                </c:pt>
                <c:pt idx="761">
                  <c:v>3.3588499999999999</c:v>
                </c:pt>
                <c:pt idx="762">
                  <c:v>3.1846000000000001</c:v>
                </c:pt>
                <c:pt idx="763">
                  <c:v>3.96882</c:v>
                </c:pt>
                <c:pt idx="764">
                  <c:v>#N/A</c:v>
                </c:pt>
                <c:pt idx="765">
                  <c:v>4.5041700000000002</c:v>
                </c:pt>
                <c:pt idx="766">
                  <c:v>4.64567</c:v>
                </c:pt>
                <c:pt idx="767">
                  <c:v>5.1151499999999999</c:v>
                </c:pt>
                <c:pt idx="768">
                  <c:v>#N/A</c:v>
                </c:pt>
                <c:pt idx="769">
                  <c:v>4.3219200000000004</c:v>
                </c:pt>
                <c:pt idx="770">
                  <c:v>4.0559599999999998</c:v>
                </c:pt>
                <c:pt idx="771">
                  <c:v>4.2868399999999998</c:v>
                </c:pt>
                <c:pt idx="772">
                  <c:v>#N/A</c:v>
                </c:pt>
                <c:pt idx="773">
                  <c:v>4.0808999999999997</c:v>
                </c:pt>
                <c:pt idx="774">
                  <c:v>4.3402599999999998</c:v>
                </c:pt>
                <c:pt idx="775">
                  <c:v>4.34924</c:v>
                </c:pt>
                <c:pt idx="776">
                  <c:v>#N/A</c:v>
                </c:pt>
                <c:pt idx="777">
                  <c:v>3.9586399999999999</c:v>
                </c:pt>
                <c:pt idx="778">
                  <c:v>3.9232300000000002</c:v>
                </c:pt>
                <c:pt idx="779">
                  <c:v>3.61293</c:v>
                </c:pt>
                <c:pt idx="780">
                  <c:v>#N/A</c:v>
                </c:pt>
                <c:pt idx="781">
                  <c:v>3.77142</c:v>
                </c:pt>
                <c:pt idx="782">
                  <c:v>3.7811699999999999</c:v>
                </c:pt>
                <c:pt idx="783">
                  <c:v>4.1619799999999998</c:v>
                </c:pt>
                <c:pt idx="784">
                  <c:v>#N/A</c:v>
                </c:pt>
                <c:pt idx="785">
                  <c:v>4.3683500000000004</c:v>
                </c:pt>
                <c:pt idx="786">
                  <c:v>4.5272100000000002</c:v>
                </c:pt>
                <c:pt idx="787">
                  <c:v>4.7845500000000003</c:v>
                </c:pt>
                <c:pt idx="788">
                  <c:v>#N/A</c:v>
                </c:pt>
                <c:pt idx="789">
                  <c:v>4.0780900000000004</c:v>
                </c:pt>
                <c:pt idx="790">
                  <c:v>3.66405</c:v>
                </c:pt>
                <c:pt idx="791">
                  <c:v>#N/A</c:v>
                </c:pt>
                <c:pt idx="792">
                  <c:v>4.33148</c:v>
                </c:pt>
                <c:pt idx="793">
                  <c:v>4.4552399999999999</c:v>
                </c:pt>
                <c:pt idx="794">
                  <c:v>4.8089199999999996</c:v>
                </c:pt>
                <c:pt idx="795">
                  <c:v>#N/A</c:v>
                </c:pt>
                <c:pt idx="796">
                  <c:v>5.0510900000000003</c:v>
                </c:pt>
                <c:pt idx="797">
                  <c:v>4.4958099999999996</c:v>
                </c:pt>
                <c:pt idx="798">
                  <c:v>4.1275899999999996</c:v>
                </c:pt>
                <c:pt idx="799">
                  <c:v>#N/A</c:v>
                </c:pt>
                <c:pt idx="800">
                  <c:v>3.4544299999999999</c:v>
                </c:pt>
                <c:pt idx="801">
                  <c:v>3.5638700000000001</c:v>
                </c:pt>
                <c:pt idx="802">
                  <c:v>3.00657</c:v>
                </c:pt>
                <c:pt idx="803">
                  <c:v>#N/A</c:v>
                </c:pt>
                <c:pt idx="804">
                  <c:v>3.4015499999999999</c:v>
                </c:pt>
                <c:pt idx="805">
                  <c:v>4.6260199999999996</c:v>
                </c:pt>
                <c:pt idx="806">
                  <c:v>4.4375600000000004</c:v>
                </c:pt>
                <c:pt idx="807">
                  <c:v>#N/A</c:v>
                </c:pt>
                <c:pt idx="808">
                  <c:v>4.5264800000000003</c:v>
                </c:pt>
                <c:pt idx="809">
                  <c:v>4.19726</c:v>
                </c:pt>
                <c:pt idx="810">
                  <c:v>3.0686599999999999</c:v>
                </c:pt>
                <c:pt idx="811">
                  <c:v>#N/A</c:v>
                </c:pt>
                <c:pt idx="812">
                  <c:v>2.9889399999999999</c:v>
                </c:pt>
                <c:pt idx="813">
                  <c:v>3.1453000000000002</c:v>
                </c:pt>
                <c:pt idx="814">
                  <c:v>2.6695799999999998</c:v>
                </c:pt>
                <c:pt idx="815">
                  <c:v>#N/A</c:v>
                </c:pt>
                <c:pt idx="816">
                  <c:v>3.54996</c:v>
                </c:pt>
                <c:pt idx="817">
                  <c:v>4.6041299999999996</c:v>
                </c:pt>
                <c:pt idx="818">
                  <c:v>#N/A</c:v>
                </c:pt>
                <c:pt idx="819">
                  <c:v>5.0604500000000003</c:v>
                </c:pt>
                <c:pt idx="820">
                  <c:v>4.5468799999999998</c:v>
                </c:pt>
                <c:pt idx="821">
                  <c:v>3.6176900000000001</c:v>
                </c:pt>
                <c:pt idx="822">
                  <c:v>#N/A</c:v>
                </c:pt>
                <c:pt idx="823">
                  <c:v>3.2641200000000001</c:v>
                </c:pt>
                <c:pt idx="824">
                  <c:v>3.2798500000000002</c:v>
                </c:pt>
                <c:pt idx="825">
                  <c:v>#N/A</c:v>
                </c:pt>
                <c:pt idx="826">
                  <c:v>4.0153699999999999</c:v>
                </c:pt>
                <c:pt idx="827">
                  <c:v>#N/A</c:v>
                </c:pt>
                <c:pt idx="828">
                  <c:v>4.2308300000000001</c:v>
                </c:pt>
                <c:pt idx="829">
                  <c:v>4.6027699999999996</c:v>
                </c:pt>
                <c:pt idx="830">
                  <c:v>4.3631900000000003</c:v>
                </c:pt>
                <c:pt idx="831">
                  <c:v>#N/A</c:v>
                </c:pt>
                <c:pt idx="832">
                  <c:v>4.0091000000000001</c:v>
                </c:pt>
                <c:pt idx="833">
                  <c:v>3.4789699999999999</c:v>
                </c:pt>
                <c:pt idx="834">
                  <c:v>3.34192</c:v>
                </c:pt>
                <c:pt idx="835">
                  <c:v>#N/A</c:v>
                </c:pt>
                <c:pt idx="836">
                  <c:v>3.2217199999999999</c:v>
                </c:pt>
                <c:pt idx="837">
                  <c:v>3.5896499999999998</c:v>
                </c:pt>
                <c:pt idx="838">
                  <c:v>3.6358899999999998</c:v>
                </c:pt>
                <c:pt idx="839">
                  <c:v>#N/A</c:v>
                </c:pt>
                <c:pt idx="840">
                  <c:v>3.9056899999999999</c:v>
                </c:pt>
                <c:pt idx="841">
                  <c:v>3.3009599999999999</c:v>
                </c:pt>
                <c:pt idx="842">
                  <c:v>3.1485500000000002</c:v>
                </c:pt>
                <c:pt idx="843">
                  <c:v>#N/A</c:v>
                </c:pt>
                <c:pt idx="844">
                  <c:v>3.3819300000000001</c:v>
                </c:pt>
                <c:pt idx="845">
                  <c:v>3.0492400000000002</c:v>
                </c:pt>
                <c:pt idx="846">
                  <c:v>3.66737</c:v>
                </c:pt>
                <c:pt idx="847">
                  <c:v>#N/A</c:v>
                </c:pt>
                <c:pt idx="848">
                  <c:v>4.3231099999999998</c:v>
                </c:pt>
                <c:pt idx="849">
                  <c:v>3.8745400000000001</c:v>
                </c:pt>
                <c:pt idx="850">
                  <c:v>#N/A</c:v>
                </c:pt>
                <c:pt idx="851">
                  <c:v>3.44611</c:v>
                </c:pt>
                <c:pt idx="852">
                  <c:v>3.1721599999999999</c:v>
                </c:pt>
                <c:pt idx="853">
                  <c:v>3.4430399999999999</c:v>
                </c:pt>
                <c:pt idx="854">
                  <c:v>#N/A</c:v>
                </c:pt>
                <c:pt idx="855">
                  <c:v>3.40171</c:v>
                </c:pt>
                <c:pt idx="856">
                  <c:v>3.5146899999999999</c:v>
                </c:pt>
                <c:pt idx="857">
                  <c:v>3.6572800000000001</c:v>
                </c:pt>
                <c:pt idx="858">
                  <c:v>#N/A</c:v>
                </c:pt>
                <c:pt idx="859">
                  <c:v>3.9380899999999999</c:v>
                </c:pt>
                <c:pt idx="860">
                  <c:v>3.1929099999999999</c:v>
                </c:pt>
                <c:pt idx="861">
                  <c:v>3.6651500000000001</c:v>
                </c:pt>
                <c:pt idx="862">
                  <c:v>#N/A</c:v>
                </c:pt>
                <c:pt idx="863">
                  <c:v>2.76335</c:v>
                </c:pt>
                <c:pt idx="864">
                  <c:v>2.4054899999999999</c:v>
                </c:pt>
                <c:pt idx="865">
                  <c:v>2.74146</c:v>
                </c:pt>
                <c:pt idx="866">
                  <c:v>#N/A</c:v>
                </c:pt>
                <c:pt idx="867">
                  <c:v>3.1042900000000002</c:v>
                </c:pt>
                <c:pt idx="868">
                  <c:v>3.9735900000000002</c:v>
                </c:pt>
                <c:pt idx="869">
                  <c:v>#N/A</c:v>
                </c:pt>
                <c:pt idx="870">
                  <c:v>3.3258200000000002</c:v>
                </c:pt>
                <c:pt idx="871">
                  <c:v>3.89133</c:v>
                </c:pt>
                <c:pt idx="872">
                  <c:v>3.09361</c:v>
                </c:pt>
                <c:pt idx="873">
                  <c:v>#N/A</c:v>
                </c:pt>
                <c:pt idx="874">
                  <c:v>2.3079100000000001</c:v>
                </c:pt>
                <c:pt idx="875">
                  <c:v>1.9312400000000001</c:v>
                </c:pt>
                <c:pt idx="876">
                  <c:v>2.19164</c:v>
                </c:pt>
                <c:pt idx="877">
                  <c:v>#N/A</c:v>
                </c:pt>
                <c:pt idx="878">
                  <c:v>3.1627800000000001</c:v>
                </c:pt>
                <c:pt idx="879">
                  <c:v>4.10975</c:v>
                </c:pt>
                <c:pt idx="880">
                  <c:v>3.9432499999999999</c:v>
                </c:pt>
                <c:pt idx="881">
                  <c:v>#N/A</c:v>
                </c:pt>
                <c:pt idx="882">
                  <c:v>2.99193</c:v>
                </c:pt>
                <c:pt idx="883">
                  <c:v>2.6145399999999999</c:v>
                </c:pt>
                <c:pt idx="884">
                  <c:v>1.77518</c:v>
                </c:pt>
                <c:pt idx="885">
                  <c:v>#N/A</c:v>
                </c:pt>
                <c:pt idx="886">
                  <c:v>1.5254300000000001</c:v>
                </c:pt>
                <c:pt idx="887">
                  <c:v>2.1217999999999999</c:v>
                </c:pt>
                <c:pt idx="888">
                  <c:v>#N/A</c:v>
                </c:pt>
                <c:pt idx="889">
                  <c:v>2.9937</c:v>
                </c:pt>
                <c:pt idx="890">
                  <c:v>3.8771599999999999</c:v>
                </c:pt>
                <c:pt idx="891">
                  <c:v>3.87175</c:v>
                </c:pt>
                <c:pt idx="892">
                  <c:v>#N/A</c:v>
                </c:pt>
                <c:pt idx="893">
                  <c:v>3.6099299999999999</c:v>
                </c:pt>
                <c:pt idx="894">
                  <c:v>3.4435899999999999</c:v>
                </c:pt>
                <c:pt idx="895">
                  <c:v>2.8615499999999998</c:v>
                </c:pt>
                <c:pt idx="896">
                  <c:v>#N/A</c:v>
                </c:pt>
                <c:pt idx="897">
                  <c:v>2.8395700000000001</c:v>
                </c:pt>
                <c:pt idx="898">
                  <c:v>2.9478599999999999</c:v>
                </c:pt>
                <c:pt idx="899">
                  <c:v>#N/A</c:v>
                </c:pt>
                <c:pt idx="900">
                  <c:v>2.8764400000000001</c:v>
                </c:pt>
                <c:pt idx="901">
                  <c:v>#N/A</c:v>
                </c:pt>
                <c:pt idx="902">
                  <c:v>3.57328</c:v>
                </c:pt>
                <c:pt idx="903">
                  <c:v>3.40632</c:v>
                </c:pt>
                <c:pt idx="904">
                  <c:v>#N/A</c:v>
                </c:pt>
                <c:pt idx="905">
                  <c:v>2.63327</c:v>
                </c:pt>
                <c:pt idx="906">
                  <c:v>2.6516299999999999</c:v>
                </c:pt>
                <c:pt idx="907">
                  <c:v>2.56216</c:v>
                </c:pt>
                <c:pt idx="908">
                  <c:v>#N/A</c:v>
                </c:pt>
                <c:pt idx="909">
                  <c:v>2.9733800000000001</c:v>
                </c:pt>
                <c:pt idx="910">
                  <c:v>2.7109999999999999</c:v>
                </c:pt>
                <c:pt idx="911">
                  <c:v>3.0717099999999999</c:v>
                </c:pt>
                <c:pt idx="912">
                  <c:v>#N/A</c:v>
                </c:pt>
                <c:pt idx="913">
                  <c:v>3.2829999999999999</c:v>
                </c:pt>
                <c:pt idx="914">
                  <c:v>3.0628500000000001</c:v>
                </c:pt>
                <c:pt idx="915">
                  <c:v>#N/A</c:v>
                </c:pt>
                <c:pt idx="916">
                  <c:v>3.2426599999999999</c:v>
                </c:pt>
                <c:pt idx="917">
                  <c:v>2.55708</c:v>
                </c:pt>
                <c:pt idx="918">
                  <c:v>2.54128</c:v>
                </c:pt>
                <c:pt idx="919">
                  <c:v>#N/A</c:v>
                </c:pt>
                <c:pt idx="920">
                  <c:v>3.4137400000000002</c:v>
                </c:pt>
                <c:pt idx="921">
                  <c:v>3.0162200000000001</c:v>
                </c:pt>
                <c:pt idx="922">
                  <c:v>3.2837499999999999</c:v>
                </c:pt>
                <c:pt idx="923">
                  <c:v>#N/A</c:v>
                </c:pt>
                <c:pt idx="924">
                  <c:v>2.5864099999999999</c:v>
                </c:pt>
                <c:pt idx="925">
                  <c:v>2.6398199999999998</c:v>
                </c:pt>
                <c:pt idx="926">
                  <c:v>1.8038700000000001</c:v>
                </c:pt>
                <c:pt idx="927">
                  <c:v>#N/A</c:v>
                </c:pt>
                <c:pt idx="928">
                  <c:v>2.2315800000000001</c:v>
                </c:pt>
                <c:pt idx="929">
                  <c:v>2.6730800000000001</c:v>
                </c:pt>
                <c:pt idx="930">
                  <c:v>2.9184100000000002</c:v>
                </c:pt>
                <c:pt idx="931">
                  <c:v>#N/A</c:v>
                </c:pt>
                <c:pt idx="932">
                  <c:v>3.29298</c:v>
                </c:pt>
                <c:pt idx="933">
                  <c:v>3.43513</c:v>
                </c:pt>
                <c:pt idx="934">
                  <c:v>2.9689199999999998</c:v>
                </c:pt>
                <c:pt idx="935">
                  <c:v>#N/A</c:v>
                </c:pt>
                <c:pt idx="936">
                  <c:v>2.5300099999999999</c:v>
                </c:pt>
                <c:pt idx="937">
                  <c:v>2.0822699999999998</c:v>
                </c:pt>
                <c:pt idx="938">
                  <c:v>2.3742899999999998</c:v>
                </c:pt>
                <c:pt idx="939">
                  <c:v>#N/A</c:v>
                </c:pt>
                <c:pt idx="940">
                  <c:v>2.6493500000000001</c:v>
                </c:pt>
                <c:pt idx="941">
                  <c:v>3.0293399999999999</c:v>
                </c:pt>
                <c:pt idx="942">
                  <c:v>#N/A</c:v>
                </c:pt>
                <c:pt idx="943">
                  <c:v>2.84964</c:v>
                </c:pt>
                <c:pt idx="944">
                  <c:v>3.5048300000000001</c:v>
                </c:pt>
                <c:pt idx="945">
                  <c:v>3.1414599999999999</c:v>
                </c:pt>
                <c:pt idx="946">
                  <c:v>#N/A</c:v>
                </c:pt>
                <c:pt idx="947">
                  <c:v>2.0373100000000002</c:v>
                </c:pt>
                <c:pt idx="948">
                  <c:v>2.13978</c:v>
                </c:pt>
                <c:pt idx="949">
                  <c:v>2.3386999999999998</c:v>
                </c:pt>
                <c:pt idx="950">
                  <c:v>#N/A</c:v>
                </c:pt>
                <c:pt idx="951">
                  <c:v>3.2576399999999999</c:v>
                </c:pt>
                <c:pt idx="952">
                  <c:v>3.5610599999999999</c:v>
                </c:pt>
                <c:pt idx="953">
                  <c:v>3.8367800000000001</c:v>
                </c:pt>
                <c:pt idx="954">
                  <c:v>#N/A</c:v>
                </c:pt>
                <c:pt idx="955">
                  <c:v>2.6807099999999999</c:v>
                </c:pt>
                <c:pt idx="956">
                  <c:v>2.7619400000000001</c:v>
                </c:pt>
                <c:pt idx="957">
                  <c:v>2.3666499999999999</c:v>
                </c:pt>
                <c:pt idx="958">
                  <c:v>#N/A</c:v>
                </c:pt>
                <c:pt idx="959">
                  <c:v>1.9301999999999999</c:v>
                </c:pt>
                <c:pt idx="960">
                  <c:v>2.2791100000000002</c:v>
                </c:pt>
                <c:pt idx="961">
                  <c:v>2.3626</c:v>
                </c:pt>
                <c:pt idx="962">
                  <c:v>#N/A</c:v>
                </c:pt>
                <c:pt idx="963">
                  <c:v>2.7023600000000001</c:v>
                </c:pt>
                <c:pt idx="964">
                  <c:v>2.7421899999999999</c:v>
                </c:pt>
                <c:pt idx="965">
                  <c:v>2.3156400000000001</c:v>
                </c:pt>
                <c:pt idx="966">
                  <c:v>#N/A</c:v>
                </c:pt>
                <c:pt idx="967">
                  <c:v>2.5263</c:v>
                </c:pt>
                <c:pt idx="968">
                  <c:v>1.3636299999999999</c:v>
                </c:pt>
                <c:pt idx="969">
                  <c:v>1.1913499999999999</c:v>
                </c:pt>
                <c:pt idx="970">
                  <c:v>#N/A</c:v>
                </c:pt>
                <c:pt idx="971">
                  <c:v>1.38914</c:v>
                </c:pt>
                <c:pt idx="972">
                  <c:v>2.7233100000000001</c:v>
                </c:pt>
                <c:pt idx="973">
                  <c:v>#N/A</c:v>
                </c:pt>
                <c:pt idx="974">
                  <c:v>3.2963399999999998</c:v>
                </c:pt>
                <c:pt idx="975">
                  <c:v>#N/A</c:v>
                </c:pt>
                <c:pt idx="976">
                  <c:v>3.4655200000000002</c:v>
                </c:pt>
                <c:pt idx="977">
                  <c:v>#N/A</c:v>
                </c:pt>
                <c:pt idx="978">
                  <c:v>2.7502499999999999</c:v>
                </c:pt>
                <c:pt idx="979">
                  <c:v>2.4408099999999999</c:v>
                </c:pt>
                <c:pt idx="980">
                  <c:v>2.6456200000000001</c:v>
                </c:pt>
                <c:pt idx="981">
                  <c:v>#N/A</c:v>
                </c:pt>
                <c:pt idx="982">
                  <c:v>2.31582</c:v>
                </c:pt>
                <c:pt idx="983">
                  <c:v>2.7596400000000001</c:v>
                </c:pt>
                <c:pt idx="984">
                  <c:v>2.7937699999999999</c:v>
                </c:pt>
                <c:pt idx="985">
                  <c:v>#N/A</c:v>
                </c:pt>
                <c:pt idx="986">
                  <c:v>3.1482299999999999</c:v>
                </c:pt>
                <c:pt idx="987">
                  <c:v>2.5864500000000001</c:v>
                </c:pt>
                <c:pt idx="988">
                  <c:v>2.2435299999999998</c:v>
                </c:pt>
                <c:pt idx="989">
                  <c:v>#N/A</c:v>
                </c:pt>
                <c:pt idx="990">
                  <c:v>1.7051400000000001</c:v>
                </c:pt>
                <c:pt idx="991">
                  <c:v>1.6094200000000001</c:v>
                </c:pt>
                <c:pt idx="992">
                  <c:v>1.8740399999999999</c:v>
                </c:pt>
                <c:pt idx="993">
                  <c:v>#N/A</c:v>
                </c:pt>
                <c:pt idx="994">
                  <c:v>1.9297200000000001</c:v>
                </c:pt>
                <c:pt idx="995">
                  <c:v>2.3281100000000001</c:v>
                </c:pt>
                <c:pt idx="996">
                  <c:v>#N/A</c:v>
                </c:pt>
                <c:pt idx="997">
                  <c:v>1.9130499999999999</c:v>
                </c:pt>
                <c:pt idx="998">
                  <c:v>2.6010300000000002</c:v>
                </c:pt>
                <c:pt idx="999">
                  <c:v>2.65184</c:v>
                </c:pt>
                <c:pt idx="1000">
                  <c:v>#N/A</c:v>
                </c:pt>
                <c:pt idx="1001">
                  <c:v>2.4571999999999998</c:v>
                </c:pt>
                <c:pt idx="1002">
                  <c:v>2.5760999999999998</c:v>
                </c:pt>
                <c:pt idx="1003">
                  <c:v>2.8125499999999999</c:v>
                </c:pt>
                <c:pt idx="1004">
                  <c:v>#N/A</c:v>
                </c:pt>
                <c:pt idx="1005">
                  <c:v>2.77596</c:v>
                </c:pt>
                <c:pt idx="1006">
                  <c:v>2.742</c:v>
                </c:pt>
                <c:pt idx="1007">
                  <c:v>2.2719900000000002</c:v>
                </c:pt>
                <c:pt idx="1008">
                  <c:v>#N/A</c:v>
                </c:pt>
                <c:pt idx="1009">
                  <c:v>1.46227</c:v>
                </c:pt>
                <c:pt idx="1010">
                  <c:v>1.83927</c:v>
                </c:pt>
                <c:pt idx="1011">
                  <c:v>2.53009</c:v>
                </c:pt>
                <c:pt idx="1012">
                  <c:v>#N/A</c:v>
                </c:pt>
                <c:pt idx="1013">
                  <c:v>2.4429599999999998</c:v>
                </c:pt>
                <c:pt idx="1014">
                  <c:v>2.7999900000000002</c:v>
                </c:pt>
                <c:pt idx="1015">
                  <c:v>3.2279800000000001</c:v>
                </c:pt>
                <c:pt idx="1016">
                  <c:v>#N/A</c:v>
                </c:pt>
                <c:pt idx="1017">
                  <c:v>3.01884</c:v>
                </c:pt>
                <c:pt idx="1018">
                  <c:v>2.6589700000000001</c:v>
                </c:pt>
                <c:pt idx="1019">
                  <c:v>#N/A</c:v>
                </c:pt>
                <c:pt idx="1020">
                  <c:v>1.9839</c:v>
                </c:pt>
                <c:pt idx="1021">
                  <c:v>1.55118</c:v>
                </c:pt>
                <c:pt idx="1022">
                  <c:v>1.87961</c:v>
                </c:pt>
                <c:pt idx="1023">
                  <c:v>#N/A</c:v>
                </c:pt>
                <c:pt idx="1024">
                  <c:v>2.0338699999999998</c:v>
                </c:pt>
                <c:pt idx="1025">
                  <c:v>2.9512100000000001</c:v>
                </c:pt>
                <c:pt idx="1026">
                  <c:v>2.4453999999999998</c:v>
                </c:pt>
                <c:pt idx="1027">
                  <c:v>#N/A</c:v>
                </c:pt>
                <c:pt idx="1028">
                  <c:v>2.7550699999999999</c:v>
                </c:pt>
                <c:pt idx="1029">
                  <c:v>2.36836</c:v>
                </c:pt>
                <c:pt idx="1030">
                  <c:v>2.0311499999999998</c:v>
                </c:pt>
                <c:pt idx="1031">
                  <c:v>#N/A</c:v>
                </c:pt>
                <c:pt idx="1032">
                  <c:v>1.3168500000000001</c:v>
                </c:pt>
                <c:pt idx="1033">
                  <c:v>1.2146699999999999</c:v>
                </c:pt>
                <c:pt idx="1034">
                  <c:v>2.05084</c:v>
                </c:pt>
                <c:pt idx="1035">
                  <c:v>#N/A</c:v>
                </c:pt>
                <c:pt idx="1036">
                  <c:v>3.2067299999999999</c:v>
                </c:pt>
                <c:pt idx="1037">
                  <c:v>3.7000600000000001</c:v>
                </c:pt>
                <c:pt idx="1038">
                  <c:v>3.3609300000000002</c:v>
                </c:pt>
                <c:pt idx="1039">
                  <c:v>#N/A</c:v>
                </c:pt>
                <c:pt idx="1040">
                  <c:v>3.0076100000000001</c:v>
                </c:pt>
                <c:pt idx="1041">
                  <c:v>2.3701099999999999</c:v>
                </c:pt>
                <c:pt idx="1042">
                  <c:v>#N/A</c:v>
                </c:pt>
                <c:pt idx="1043">
                  <c:v>1.9334800000000001</c:v>
                </c:pt>
                <c:pt idx="1044">
                  <c:v>2.0763799999999999</c:v>
                </c:pt>
                <c:pt idx="1045">
                  <c:v>2.1535099999999998</c:v>
                </c:pt>
                <c:pt idx="1046">
                  <c:v>#N/A</c:v>
                </c:pt>
                <c:pt idx="1047">
                  <c:v>2.8796400000000002</c:v>
                </c:pt>
                <c:pt idx="1048">
                  <c:v>3.1217100000000002</c:v>
                </c:pt>
                <c:pt idx="1049">
                  <c:v>#N/A</c:v>
                </c:pt>
                <c:pt idx="1050">
                  <c:v>2.36435</c:v>
                </c:pt>
                <c:pt idx="1051">
                  <c:v>#N/A</c:v>
                </c:pt>
                <c:pt idx="1052">
                  <c:v>1.51007</c:v>
                </c:pt>
                <c:pt idx="1053">
                  <c:v>1.5859700000000001</c:v>
                </c:pt>
                <c:pt idx="1054">
                  <c:v>1.3959999999999999</c:v>
                </c:pt>
                <c:pt idx="1055">
                  <c:v>#N/A</c:v>
                </c:pt>
                <c:pt idx="1056">
                  <c:v>1.6607099999999999</c:v>
                </c:pt>
                <c:pt idx="1057">
                  <c:v>2.4235199999999999</c:v>
                </c:pt>
                <c:pt idx="1058">
                  <c:v>2.9517799999999998</c:v>
                </c:pt>
                <c:pt idx="1059">
                  <c:v>#N/A</c:v>
                </c:pt>
                <c:pt idx="1060">
                  <c:v>2.68893</c:v>
                </c:pt>
                <c:pt idx="1061">
                  <c:v>2.38937</c:v>
                </c:pt>
                <c:pt idx="1062">
                  <c:v>#N/A</c:v>
                </c:pt>
                <c:pt idx="1063">
                  <c:v>2.16106</c:v>
                </c:pt>
                <c:pt idx="1064">
                  <c:v>2.0444800000000001</c:v>
                </c:pt>
                <c:pt idx="1065">
                  <c:v>2.5030800000000002</c:v>
                </c:pt>
                <c:pt idx="1066">
                  <c:v>#N/A</c:v>
                </c:pt>
                <c:pt idx="1067">
                  <c:v>2.39019</c:v>
                </c:pt>
                <c:pt idx="1068">
                  <c:v>2.3039700000000001</c:v>
                </c:pt>
                <c:pt idx="1069">
                  <c:v>2.1627200000000002</c:v>
                </c:pt>
                <c:pt idx="1070">
                  <c:v>#N/A</c:v>
                </c:pt>
                <c:pt idx="1071">
                  <c:v>2.3176000000000001</c:v>
                </c:pt>
                <c:pt idx="1072">
                  <c:v>2.61117</c:v>
                </c:pt>
                <c:pt idx="1073">
                  <c:v>#N/A</c:v>
                </c:pt>
                <c:pt idx="1074">
                  <c:v>2.3787600000000002</c:v>
                </c:pt>
                <c:pt idx="1075">
                  <c:v>2.03878</c:v>
                </c:pt>
                <c:pt idx="1076">
                  <c:v>2.7282000000000002</c:v>
                </c:pt>
                <c:pt idx="1077">
                  <c:v>#N/A</c:v>
                </c:pt>
                <c:pt idx="1078">
                  <c:v>2.6582300000000001</c:v>
                </c:pt>
                <c:pt idx="1079">
                  <c:v>2.4357199999999999</c:v>
                </c:pt>
                <c:pt idx="1080">
                  <c:v>1.7520899999999999</c:v>
                </c:pt>
                <c:pt idx="1081">
                  <c:v>#N/A</c:v>
                </c:pt>
                <c:pt idx="1082">
                  <c:v>2.0710999999999999</c:v>
                </c:pt>
                <c:pt idx="1083">
                  <c:v>1.95082</c:v>
                </c:pt>
                <c:pt idx="1084">
                  <c:v>#N/A</c:v>
                </c:pt>
                <c:pt idx="1085">
                  <c:v>2.0555099999999999</c:v>
                </c:pt>
                <c:pt idx="1086">
                  <c:v>2.64696</c:v>
                </c:pt>
                <c:pt idx="1087">
                  <c:v>2.1261000000000001</c:v>
                </c:pt>
                <c:pt idx="1088">
                  <c:v>#N/A</c:v>
                </c:pt>
                <c:pt idx="1089">
                  <c:v>2.3756400000000002</c:v>
                </c:pt>
                <c:pt idx="1090">
                  <c:v>2.5299299999999998</c:v>
                </c:pt>
                <c:pt idx="1091">
                  <c:v>#N/A</c:v>
                </c:pt>
                <c:pt idx="1092">
                  <c:v>2.1285699999999999</c:v>
                </c:pt>
                <c:pt idx="1093">
                  <c:v>1.62473</c:v>
                </c:pt>
                <c:pt idx="1094">
                  <c:v>1.8727199999999999</c:v>
                </c:pt>
                <c:pt idx="1095">
                  <c:v>#N/A</c:v>
                </c:pt>
                <c:pt idx="1096">
                  <c:v>2.1474799999999998</c:v>
                </c:pt>
                <c:pt idx="1097">
                  <c:v>2.8568899999999999</c:v>
                </c:pt>
                <c:pt idx="1098">
                  <c:v>3.5428199999999999</c:v>
                </c:pt>
                <c:pt idx="1099">
                  <c:v>#N/A</c:v>
                </c:pt>
                <c:pt idx="1100">
                  <c:v>3.6258300000000001</c:v>
                </c:pt>
                <c:pt idx="1101">
                  <c:v>3.0827300000000002</c:v>
                </c:pt>
                <c:pt idx="1102">
                  <c:v>2.4313799999999999</c:v>
                </c:pt>
                <c:pt idx="1103">
                  <c:v>#N/A</c:v>
                </c:pt>
                <c:pt idx="1104">
                  <c:v>1.9500200000000001</c:v>
                </c:pt>
                <c:pt idx="1105">
                  <c:v>1.48556</c:v>
                </c:pt>
                <c:pt idx="1106">
                  <c:v>1.62791</c:v>
                </c:pt>
                <c:pt idx="1107">
                  <c:v>#N/A</c:v>
                </c:pt>
                <c:pt idx="1108">
                  <c:v>2.3149000000000002</c:v>
                </c:pt>
                <c:pt idx="1109">
                  <c:v>3.09815</c:v>
                </c:pt>
                <c:pt idx="1110">
                  <c:v>#N/A</c:v>
                </c:pt>
                <c:pt idx="1111">
                  <c:v>2.79576</c:v>
                </c:pt>
                <c:pt idx="1112">
                  <c:v>2.75929</c:v>
                </c:pt>
                <c:pt idx="1113">
                  <c:v>1.69496</c:v>
                </c:pt>
                <c:pt idx="1114">
                  <c:v>#N/A</c:v>
                </c:pt>
                <c:pt idx="1115">
                  <c:v>1.0563899999999999</c:v>
                </c:pt>
                <c:pt idx="1116">
                  <c:v>0.99321700000000002</c:v>
                </c:pt>
                <c:pt idx="1117">
                  <c:v>0.98323400000000005</c:v>
                </c:pt>
                <c:pt idx="1118">
                  <c:v>#N/A</c:v>
                </c:pt>
                <c:pt idx="1119">
                  <c:v>1.84304</c:v>
                </c:pt>
                <c:pt idx="1120">
                  <c:v>2.5474999999999999</c:v>
                </c:pt>
                <c:pt idx="1121">
                  <c:v>2.8050899999999999</c:v>
                </c:pt>
                <c:pt idx="1122">
                  <c:v>#N/A</c:v>
                </c:pt>
                <c:pt idx="1123">
                  <c:v>2.6072500000000001</c:v>
                </c:pt>
                <c:pt idx="1124">
                  <c:v>#N/A</c:v>
                </c:pt>
                <c:pt idx="1125">
                  <c:v>2.1301399999999999</c:v>
                </c:pt>
                <c:pt idx="1126">
                  <c:v>1.73688</c:v>
                </c:pt>
                <c:pt idx="1127">
                  <c:v>1.71577</c:v>
                </c:pt>
                <c:pt idx="1128">
                  <c:v>#N/A</c:v>
                </c:pt>
                <c:pt idx="1129">
                  <c:v>1.8017799999999999</c:v>
                </c:pt>
                <c:pt idx="1130">
                  <c:v>2.5523400000000001</c:v>
                </c:pt>
                <c:pt idx="1131">
                  <c:v>2.8103500000000001</c:v>
                </c:pt>
                <c:pt idx="1132">
                  <c:v>#N/A</c:v>
                </c:pt>
                <c:pt idx="1133">
                  <c:v>2.3058299999999998</c:v>
                </c:pt>
                <c:pt idx="1134">
                  <c:v>2.2643800000000001</c:v>
                </c:pt>
                <c:pt idx="1135">
                  <c:v>1.83575</c:v>
                </c:pt>
                <c:pt idx="1136">
                  <c:v>#N/A</c:v>
                </c:pt>
                <c:pt idx="1137">
                  <c:v>2.08013</c:v>
                </c:pt>
                <c:pt idx="1138">
                  <c:v>2.24112</c:v>
                </c:pt>
                <c:pt idx="1139">
                  <c:v>#N/A</c:v>
                </c:pt>
                <c:pt idx="1140">
                  <c:v>2.3799800000000002</c:v>
                </c:pt>
                <c:pt idx="1141">
                  <c:v>1.9905900000000001</c:v>
                </c:pt>
                <c:pt idx="1142">
                  <c:v>2.1834899999999999</c:v>
                </c:pt>
                <c:pt idx="1143">
                  <c:v>#N/A</c:v>
                </c:pt>
                <c:pt idx="1144">
                  <c:v>2.3183699999999998</c:v>
                </c:pt>
                <c:pt idx="1145">
                  <c:v>2.34294</c:v>
                </c:pt>
                <c:pt idx="1146">
                  <c:v>2.3643800000000001</c:v>
                </c:pt>
                <c:pt idx="1147">
                  <c:v>#N/A</c:v>
                </c:pt>
                <c:pt idx="1148">
                  <c:v>2.3499400000000001</c:v>
                </c:pt>
                <c:pt idx="1149">
                  <c:v>2.0967099999999999</c:v>
                </c:pt>
                <c:pt idx="1150">
                  <c:v>2.1259800000000002</c:v>
                </c:pt>
                <c:pt idx="1151">
                  <c:v>#N/A</c:v>
                </c:pt>
                <c:pt idx="1152">
                  <c:v>2.4563799999999998</c:v>
                </c:pt>
                <c:pt idx="1153">
                  <c:v>3.02502</c:v>
                </c:pt>
                <c:pt idx="1154">
                  <c:v>3.1281400000000001</c:v>
                </c:pt>
                <c:pt idx="1155">
                  <c:v>#N/A</c:v>
                </c:pt>
                <c:pt idx="1156">
                  <c:v>2.61233</c:v>
                </c:pt>
                <c:pt idx="1157">
                  <c:v>2.5998000000000001</c:v>
                </c:pt>
                <c:pt idx="1158">
                  <c:v>2.16547</c:v>
                </c:pt>
                <c:pt idx="1159">
                  <c:v>#N/A</c:v>
                </c:pt>
                <c:pt idx="1160">
                  <c:v>2.7359599999999999</c:v>
                </c:pt>
                <c:pt idx="1161">
                  <c:v>2.4554</c:v>
                </c:pt>
                <c:pt idx="1162">
                  <c:v>3.0392600000000001</c:v>
                </c:pt>
                <c:pt idx="1163">
                  <c:v>#N/A</c:v>
                </c:pt>
                <c:pt idx="1164">
                  <c:v>2.3435100000000002</c:v>
                </c:pt>
                <c:pt idx="1165">
                  <c:v>2.1251799999999998</c:v>
                </c:pt>
                <c:pt idx="1166">
                  <c:v>1.2999700000000001</c:v>
                </c:pt>
                <c:pt idx="1167">
                  <c:v>#N/A</c:v>
                </c:pt>
                <c:pt idx="1168">
                  <c:v>1.0222</c:v>
                </c:pt>
                <c:pt idx="1169">
                  <c:v>1.2442599999999999</c:v>
                </c:pt>
                <c:pt idx="1170">
                  <c:v>1.7249099999999999</c:v>
                </c:pt>
                <c:pt idx="1171">
                  <c:v>#N/A</c:v>
                </c:pt>
                <c:pt idx="1172">
                  <c:v>1.8112600000000001</c:v>
                </c:pt>
                <c:pt idx="1173">
                  <c:v>1.85175</c:v>
                </c:pt>
                <c:pt idx="1174">
                  <c:v>1.89585</c:v>
                </c:pt>
                <c:pt idx="1175">
                  <c:v>#N/A</c:v>
                </c:pt>
                <c:pt idx="1176">
                  <c:v>2.2071200000000002</c:v>
                </c:pt>
                <c:pt idx="1177">
                  <c:v>1.96499</c:v>
                </c:pt>
                <c:pt idx="1178">
                  <c:v>1.8188800000000001</c:v>
                </c:pt>
                <c:pt idx="1179">
                  <c:v>#N/A</c:v>
                </c:pt>
                <c:pt idx="1180">
                  <c:v>2.28613</c:v>
                </c:pt>
                <c:pt idx="1181">
                  <c:v>3.0341999999999998</c:v>
                </c:pt>
                <c:pt idx="1182">
                  <c:v>#N/A</c:v>
                </c:pt>
                <c:pt idx="1183">
                  <c:v>4.1831300000000002</c:v>
                </c:pt>
                <c:pt idx="1184">
                  <c:v>3.22973</c:v>
                </c:pt>
                <c:pt idx="1185">
                  <c:v>3.07395</c:v>
                </c:pt>
                <c:pt idx="1186">
                  <c:v>#N/A</c:v>
                </c:pt>
                <c:pt idx="1187">
                  <c:v>1.9937</c:v>
                </c:pt>
                <c:pt idx="1188">
                  <c:v>1.9152800000000001</c:v>
                </c:pt>
                <c:pt idx="1189">
                  <c:v>2.1364299999999998</c:v>
                </c:pt>
                <c:pt idx="1190">
                  <c:v>#N/A</c:v>
                </c:pt>
                <c:pt idx="1191">
                  <c:v>1.8555600000000001</c:v>
                </c:pt>
                <c:pt idx="1192">
                  <c:v>2.2576200000000002</c:v>
                </c:pt>
                <c:pt idx="1193">
                  <c:v>2.3583699999999999</c:v>
                </c:pt>
                <c:pt idx="1194">
                  <c:v>#N/A</c:v>
                </c:pt>
                <c:pt idx="1195">
                  <c:v>2.7446600000000001</c:v>
                </c:pt>
                <c:pt idx="1196">
                  <c:v>2.3376100000000002</c:v>
                </c:pt>
                <c:pt idx="1197">
                  <c:v>#N/A</c:v>
                </c:pt>
                <c:pt idx="1198">
                  <c:v>1.4271199999999999</c:v>
                </c:pt>
                <c:pt idx="1199">
                  <c:v>#N/A</c:v>
                </c:pt>
                <c:pt idx="1200">
                  <c:v>1.18092</c:v>
                </c:pt>
                <c:pt idx="1201">
                  <c:v>1.9617800000000001</c:v>
                </c:pt>
                <c:pt idx="1202">
                  <c:v>#N/A</c:v>
                </c:pt>
                <c:pt idx="1203">
                  <c:v>3.0496799999999999</c:v>
                </c:pt>
                <c:pt idx="1204">
                  <c:v>#N/A</c:v>
                </c:pt>
                <c:pt idx="1205">
                  <c:v>2.94774</c:v>
                </c:pt>
                <c:pt idx="1206">
                  <c:v>2.9637699999999998</c:v>
                </c:pt>
                <c:pt idx="1207">
                  <c:v>2.4193600000000002</c:v>
                </c:pt>
                <c:pt idx="1208">
                  <c:v>#N/A</c:v>
                </c:pt>
                <c:pt idx="1209">
                  <c:v>2.5307499999999998</c:v>
                </c:pt>
                <c:pt idx="1210">
                  <c:v>2.3835999999999999</c:v>
                </c:pt>
                <c:pt idx="1211">
                  <c:v>2.4313099999999999</c:v>
                </c:pt>
                <c:pt idx="1212">
                  <c:v>#N/A</c:v>
                </c:pt>
                <c:pt idx="1213">
                  <c:v>2.3552200000000001</c:v>
                </c:pt>
                <c:pt idx="1214">
                  <c:v>2.7906200000000001</c:v>
                </c:pt>
                <c:pt idx="1215">
                  <c:v>#N/A</c:v>
                </c:pt>
                <c:pt idx="1216">
                  <c:v>2.8173400000000002</c:v>
                </c:pt>
                <c:pt idx="1217">
                  <c:v>2.56603</c:v>
                </c:pt>
                <c:pt idx="1218">
                  <c:v>2.3477700000000001</c:v>
                </c:pt>
                <c:pt idx="1219">
                  <c:v>#N/A</c:v>
                </c:pt>
                <c:pt idx="1220">
                  <c:v>2.4125299999999998</c:v>
                </c:pt>
                <c:pt idx="1221">
                  <c:v>1.9691099999999999</c:v>
                </c:pt>
                <c:pt idx="1222">
                  <c:v>1.7416</c:v>
                </c:pt>
                <c:pt idx="1223">
                  <c:v>#N/A</c:v>
                </c:pt>
                <c:pt idx="1224">
                  <c:v>1.92547</c:v>
                </c:pt>
                <c:pt idx="1225">
                  <c:v>1.9484300000000001</c:v>
                </c:pt>
                <c:pt idx="1226">
                  <c:v>2.1907299999999998</c:v>
                </c:pt>
                <c:pt idx="1227">
                  <c:v>#N/A</c:v>
                </c:pt>
                <c:pt idx="1228">
                  <c:v>2.0418799999999999</c:v>
                </c:pt>
                <c:pt idx="1229">
                  <c:v>1.2767299999999999</c:v>
                </c:pt>
                <c:pt idx="1230">
                  <c:v>1.90964</c:v>
                </c:pt>
                <c:pt idx="1231">
                  <c:v>#N/A</c:v>
                </c:pt>
                <c:pt idx="1232">
                  <c:v>2.53498</c:v>
                </c:pt>
                <c:pt idx="1233">
                  <c:v>3.0051800000000002</c:v>
                </c:pt>
                <c:pt idx="1234">
                  <c:v>#N/A</c:v>
                </c:pt>
                <c:pt idx="1235">
                  <c:v>3.0236800000000001</c:v>
                </c:pt>
                <c:pt idx="1236">
                  <c:v>2.6172499999999999</c:v>
                </c:pt>
                <c:pt idx="1237">
                  <c:v>2.61273</c:v>
                </c:pt>
                <c:pt idx="1238">
                  <c:v>#N/A</c:v>
                </c:pt>
                <c:pt idx="1239">
                  <c:v>1.76305</c:v>
                </c:pt>
                <c:pt idx="1240">
                  <c:v>1.80522</c:v>
                </c:pt>
                <c:pt idx="1241">
                  <c:v>2.0857700000000001</c:v>
                </c:pt>
                <c:pt idx="1242">
                  <c:v>#N/A</c:v>
                </c:pt>
                <c:pt idx="1243">
                  <c:v>2.97872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2.19496</c:v>
                </c:pt>
                <c:pt idx="1322">
                  <c:v>2.2526000000000002</c:v>
                </c:pt>
                <c:pt idx="1323">
                  <c:v>#N/A</c:v>
                </c:pt>
                <c:pt idx="1324">
                  <c:v>1.7983199999999999</c:v>
                </c:pt>
                <c:pt idx="1325">
                  <c:v>2.5021800000000001</c:v>
                </c:pt>
                <c:pt idx="1326">
                  <c:v>2.5406900000000001</c:v>
                </c:pt>
                <c:pt idx="1327">
                  <c:v>#N/A</c:v>
                </c:pt>
                <c:pt idx="1328">
                  <c:v>3.2267999999999999</c:v>
                </c:pt>
                <c:pt idx="1329">
                  <c:v>3.7684199999999999</c:v>
                </c:pt>
                <c:pt idx="1330">
                  <c:v>2.9241000000000001</c:v>
                </c:pt>
                <c:pt idx="1331">
                  <c:v>#N/A</c:v>
                </c:pt>
                <c:pt idx="1332">
                  <c:v>2.94923</c:v>
                </c:pt>
                <c:pt idx="1333">
                  <c:v>2.0215000000000001</c:v>
                </c:pt>
                <c:pt idx="1334">
                  <c:v>#N/A</c:v>
                </c:pt>
                <c:pt idx="1335">
                  <c:v>2.1855099999999998</c:v>
                </c:pt>
                <c:pt idx="1336">
                  <c:v>2.0602499999999999</c:v>
                </c:pt>
                <c:pt idx="1337">
                  <c:v>2.7176</c:v>
                </c:pt>
                <c:pt idx="1338">
                  <c:v>#N/A</c:v>
                </c:pt>
                <c:pt idx="1339">
                  <c:v>2.62195</c:v>
                </c:pt>
                <c:pt idx="1340">
                  <c:v>2.9938199999999999</c:v>
                </c:pt>
                <c:pt idx="1341">
                  <c:v>3.5761699999999998</c:v>
                </c:pt>
                <c:pt idx="1342">
                  <c:v>#N/A</c:v>
                </c:pt>
                <c:pt idx="1343">
                  <c:v>2.3405399999999998</c:v>
                </c:pt>
                <c:pt idx="1344">
                  <c:v>2.2107700000000001</c:v>
                </c:pt>
                <c:pt idx="1345">
                  <c:v>1.72281</c:v>
                </c:pt>
                <c:pt idx="1346">
                  <c:v>#N/A</c:v>
                </c:pt>
                <c:pt idx="1347">
                  <c:v>1.83921</c:v>
                </c:pt>
                <c:pt idx="1348">
                  <c:v>2.6043500000000002</c:v>
                </c:pt>
                <c:pt idx="1349">
                  <c:v>#N/A</c:v>
                </c:pt>
                <c:pt idx="1350">
                  <c:v>3.1329199999999999</c:v>
                </c:pt>
                <c:pt idx="1351">
                  <c:v>3.3302800000000001</c:v>
                </c:pt>
                <c:pt idx="1352">
                  <c:v>3.5799300000000001</c:v>
                </c:pt>
                <c:pt idx="1353">
                  <c:v>#N/A</c:v>
                </c:pt>
                <c:pt idx="1354">
                  <c:v>3.4600900000000001</c:v>
                </c:pt>
                <c:pt idx="1355">
                  <c:v>2.24404</c:v>
                </c:pt>
                <c:pt idx="1356">
                  <c:v>2.0319600000000002</c:v>
                </c:pt>
                <c:pt idx="1357">
                  <c:v>#N/A</c:v>
                </c:pt>
                <c:pt idx="1358">
                  <c:v>1.71532</c:v>
                </c:pt>
                <c:pt idx="1359">
                  <c:v>3.0369700000000002</c:v>
                </c:pt>
                <c:pt idx="1360">
                  <c:v>#N/A</c:v>
                </c:pt>
                <c:pt idx="1361">
                  <c:v>3.0057800000000001</c:v>
                </c:pt>
                <c:pt idx="1362">
                  <c:v>3.0353300000000001</c:v>
                </c:pt>
                <c:pt idx="1363">
                  <c:v>2.51369</c:v>
                </c:pt>
                <c:pt idx="1364">
                  <c:v>#N/A</c:v>
                </c:pt>
                <c:pt idx="1365">
                  <c:v>2.8261799999999999</c:v>
                </c:pt>
                <c:pt idx="1366">
                  <c:v>2.08975</c:v>
                </c:pt>
                <c:pt idx="1367">
                  <c:v>#N/A</c:v>
                </c:pt>
                <c:pt idx="1368">
                  <c:v>1.6100099999999999</c:v>
                </c:pt>
                <c:pt idx="1369">
                  <c:v>2.12493</c:v>
                </c:pt>
                <c:pt idx="1370">
                  <c:v>2.7704300000000002</c:v>
                </c:pt>
                <c:pt idx="1371">
                  <c:v>#N/A</c:v>
                </c:pt>
                <c:pt idx="1372">
                  <c:v>3.5106600000000001</c:v>
                </c:pt>
                <c:pt idx="1373">
                  <c:v>2.8605499999999999</c:v>
                </c:pt>
                <c:pt idx="1374">
                  <c:v>2.9981599999999999</c:v>
                </c:pt>
                <c:pt idx="1375">
                  <c:v>#N/A</c:v>
                </c:pt>
                <c:pt idx="1376">
                  <c:v>2.5564</c:v>
                </c:pt>
                <c:pt idx="1377">
                  <c:v>2.8870100000000001</c:v>
                </c:pt>
                <c:pt idx="1378">
                  <c:v>2.53118</c:v>
                </c:pt>
                <c:pt idx="1379">
                  <c:v>#N/A</c:v>
                </c:pt>
                <c:pt idx="1380">
                  <c:v>2.5127100000000002</c:v>
                </c:pt>
                <c:pt idx="1381">
                  <c:v>2.7875100000000002</c:v>
                </c:pt>
                <c:pt idx="1382">
                  <c:v>3.0819100000000001</c:v>
                </c:pt>
                <c:pt idx="1383">
                  <c:v>#N/A</c:v>
                </c:pt>
                <c:pt idx="1384">
                  <c:v>2.6964000000000001</c:v>
                </c:pt>
                <c:pt idx="1385">
                  <c:v>2.9484599999999999</c:v>
                </c:pt>
                <c:pt idx="1386">
                  <c:v>2.2437200000000002</c:v>
                </c:pt>
                <c:pt idx="1387">
                  <c:v>#N/A</c:v>
                </c:pt>
                <c:pt idx="1388">
                  <c:v>2.4089200000000002</c:v>
                </c:pt>
                <c:pt idx="1389">
                  <c:v>2.54142</c:v>
                </c:pt>
                <c:pt idx="1390">
                  <c:v>2.8725999999999998</c:v>
                </c:pt>
                <c:pt idx="1391">
                  <c:v>#N/A</c:v>
                </c:pt>
                <c:pt idx="1392">
                  <c:v>2.8521399999999999</c:v>
                </c:pt>
                <c:pt idx="1393">
                  <c:v>2.6918099999999998</c:v>
                </c:pt>
                <c:pt idx="1394">
                  <c:v>2.4484499999999998</c:v>
                </c:pt>
                <c:pt idx="1395">
                  <c:v>#N/A</c:v>
                </c:pt>
                <c:pt idx="1396">
                  <c:v>2.0848900000000001</c:v>
                </c:pt>
                <c:pt idx="1397">
                  <c:v>1.45624</c:v>
                </c:pt>
                <c:pt idx="1398">
                  <c:v>#N/A</c:v>
                </c:pt>
                <c:pt idx="1399">
                  <c:v>2.3534299999999999</c:v>
                </c:pt>
                <c:pt idx="1400">
                  <c:v>2.3670100000000001</c:v>
                </c:pt>
                <c:pt idx="1401">
                  <c:v>3.1240399999999999</c:v>
                </c:pt>
                <c:pt idx="1402">
                  <c:v>#N/A</c:v>
                </c:pt>
                <c:pt idx="1403">
                  <c:v>3.11293</c:v>
                </c:pt>
                <c:pt idx="1404">
                  <c:v>2.0223300000000002</c:v>
                </c:pt>
                <c:pt idx="1405">
                  <c:v>1.89672</c:v>
                </c:pt>
                <c:pt idx="1406">
                  <c:v>#N/A</c:v>
                </c:pt>
                <c:pt idx="1407">
                  <c:v>1.5100899999999999</c:v>
                </c:pt>
                <c:pt idx="1408">
                  <c:v>1.5812600000000001</c:v>
                </c:pt>
                <c:pt idx="1409">
                  <c:v>1.31186</c:v>
                </c:pt>
                <c:pt idx="1410">
                  <c:v>#N/A</c:v>
                </c:pt>
                <c:pt idx="1411">
                  <c:v>2.1577000000000002</c:v>
                </c:pt>
                <c:pt idx="1412">
                  <c:v>2.6290100000000001</c:v>
                </c:pt>
                <c:pt idx="1413">
                  <c:v>3.3502200000000002</c:v>
                </c:pt>
                <c:pt idx="1414">
                  <c:v>#N/A</c:v>
                </c:pt>
                <c:pt idx="1415">
                  <c:v>2.9314</c:v>
                </c:pt>
                <c:pt idx="1416">
                  <c:v>2.5881699999999999</c:v>
                </c:pt>
                <c:pt idx="1417">
                  <c:v>1.9567600000000001</c:v>
                </c:pt>
                <c:pt idx="1418">
                  <c:v>#N/A</c:v>
                </c:pt>
                <c:pt idx="1419">
                  <c:v>1.175</c:v>
                </c:pt>
                <c:pt idx="1420">
                  <c:v>2.2630400000000002</c:v>
                </c:pt>
                <c:pt idx="1421">
                  <c:v>2.1186400000000001</c:v>
                </c:pt>
                <c:pt idx="1422">
                  <c:v>#N/A</c:v>
                </c:pt>
                <c:pt idx="1423">
                  <c:v>2.9851100000000002</c:v>
                </c:pt>
                <c:pt idx="1424">
                  <c:v>#N/A</c:v>
                </c:pt>
                <c:pt idx="1425">
                  <c:v>2.84334</c:v>
                </c:pt>
                <c:pt idx="1426">
                  <c:v>3.1763300000000001</c:v>
                </c:pt>
                <c:pt idx="1427">
                  <c:v>#N/A</c:v>
                </c:pt>
                <c:pt idx="1428">
                  <c:v>1.7847900000000001</c:v>
                </c:pt>
                <c:pt idx="1429">
                  <c:v>1.4590099999999999</c:v>
                </c:pt>
                <c:pt idx="1430">
                  <c:v>#N/A</c:v>
                </c:pt>
                <c:pt idx="1431">
                  <c:v>1.0469200000000001</c:v>
                </c:pt>
                <c:pt idx="1432">
                  <c:v>2.1914199999999999</c:v>
                </c:pt>
                <c:pt idx="1433">
                  <c:v>#N/A</c:v>
                </c:pt>
                <c:pt idx="1434">
                  <c:v>2.6814</c:v>
                </c:pt>
                <c:pt idx="1435">
                  <c:v>2.4384600000000001</c:v>
                </c:pt>
                <c:pt idx="1436">
                  <c:v>3.0273500000000002</c:v>
                </c:pt>
                <c:pt idx="1437">
                  <c:v>#N/A</c:v>
                </c:pt>
                <c:pt idx="1438">
                  <c:v>3.45024</c:v>
                </c:pt>
                <c:pt idx="1439">
                  <c:v>2.5615100000000002</c:v>
                </c:pt>
                <c:pt idx="1440">
                  <c:v>2.66811</c:v>
                </c:pt>
                <c:pt idx="1441">
                  <c:v>#N/A</c:v>
                </c:pt>
                <c:pt idx="1442">
                  <c:v>2.3754400000000002</c:v>
                </c:pt>
                <c:pt idx="1443">
                  <c:v>2.5545200000000001</c:v>
                </c:pt>
                <c:pt idx="1444">
                  <c:v>2.5056099999999999</c:v>
                </c:pt>
                <c:pt idx="1445">
                  <c:v>#N/A</c:v>
                </c:pt>
                <c:pt idx="1446">
                  <c:v>2.44272</c:v>
                </c:pt>
                <c:pt idx="1447">
                  <c:v>2.4237899999999999</c:v>
                </c:pt>
                <c:pt idx="1448">
                  <c:v>#N/A</c:v>
                </c:pt>
                <c:pt idx="1449">
                  <c:v>2.8221599999999998</c:v>
                </c:pt>
                <c:pt idx="1450">
                  <c:v>2.6511</c:v>
                </c:pt>
                <c:pt idx="1451">
                  <c:v>2.3603700000000001</c:v>
                </c:pt>
                <c:pt idx="1452">
                  <c:v>#N/A</c:v>
                </c:pt>
                <c:pt idx="1453">
                  <c:v>2.1818499999999998</c:v>
                </c:pt>
                <c:pt idx="1454">
                  <c:v>2.2253599999999998</c:v>
                </c:pt>
                <c:pt idx="1455">
                  <c:v>2.2968600000000001</c:v>
                </c:pt>
                <c:pt idx="1456">
                  <c:v>#N/A</c:v>
                </c:pt>
                <c:pt idx="1457">
                  <c:v>2.2003499999999998</c:v>
                </c:pt>
                <c:pt idx="1458">
                  <c:v>2.3513600000000001</c:v>
                </c:pt>
                <c:pt idx="1459">
                  <c:v>2.1596299999999999</c:v>
                </c:pt>
                <c:pt idx="1460">
                  <c:v>#N/A</c:v>
                </c:pt>
                <c:pt idx="1461">
                  <c:v>1.3576900000000001</c:v>
                </c:pt>
                <c:pt idx="1462">
                  <c:v>1.8095699999999999</c:v>
                </c:pt>
                <c:pt idx="1463">
                  <c:v>2.1055000000000001</c:v>
                </c:pt>
                <c:pt idx="1464">
                  <c:v>#N/A</c:v>
                </c:pt>
                <c:pt idx="1465">
                  <c:v>2.7786200000000001</c:v>
                </c:pt>
                <c:pt idx="1466">
                  <c:v>1.9403900000000001</c:v>
                </c:pt>
                <c:pt idx="1467">
                  <c:v>2.2805900000000001</c:v>
                </c:pt>
                <c:pt idx="1468">
                  <c:v>#N/A</c:v>
                </c:pt>
                <c:pt idx="1469">
                  <c:v>1.86493</c:v>
                </c:pt>
                <c:pt idx="1470">
                  <c:v>0.955233</c:v>
                </c:pt>
                <c:pt idx="1471">
                  <c:v>1.7815399999999999</c:v>
                </c:pt>
                <c:pt idx="1472">
                  <c:v>#N/A</c:v>
                </c:pt>
                <c:pt idx="1473">
                  <c:v>2.1815000000000002</c:v>
                </c:pt>
                <c:pt idx="1474">
                  <c:v>2.9778600000000002</c:v>
                </c:pt>
                <c:pt idx="1475">
                  <c:v>3.2172000000000001</c:v>
                </c:pt>
                <c:pt idx="1476">
                  <c:v>#N/A</c:v>
                </c:pt>
                <c:pt idx="1477">
                  <c:v>2.8131200000000001</c:v>
                </c:pt>
                <c:pt idx="1478">
                  <c:v>2.6194500000000001</c:v>
                </c:pt>
                <c:pt idx="1479">
                  <c:v>#N/A</c:v>
                </c:pt>
                <c:pt idx="1480">
                  <c:v>1.8284100000000001</c:v>
                </c:pt>
                <c:pt idx="1481">
                  <c:v>2.12079</c:v>
                </c:pt>
                <c:pt idx="1482">
                  <c:v>1.4219299999999999</c:v>
                </c:pt>
                <c:pt idx="1483">
                  <c:v>#N/A</c:v>
                </c:pt>
                <c:pt idx="1484">
                  <c:v>1.70705</c:v>
                </c:pt>
                <c:pt idx="1485">
                  <c:v>2.52786</c:v>
                </c:pt>
                <c:pt idx="1486">
                  <c:v>2.9558200000000001</c:v>
                </c:pt>
                <c:pt idx="1487">
                  <c:v>#N/A</c:v>
                </c:pt>
                <c:pt idx="1488">
                  <c:v>2.4617100000000001</c:v>
                </c:pt>
                <c:pt idx="1489">
                  <c:v>1.79176</c:v>
                </c:pt>
                <c:pt idx="1490">
                  <c:v>1.1777899999999999</c:v>
                </c:pt>
                <c:pt idx="1491">
                  <c:v>#N/A</c:v>
                </c:pt>
                <c:pt idx="1492">
                  <c:v>0.97459700000000005</c:v>
                </c:pt>
                <c:pt idx="1493">
                  <c:v>1.8585</c:v>
                </c:pt>
                <c:pt idx="1494">
                  <c:v>1.6067100000000001</c:v>
                </c:pt>
                <c:pt idx="1495">
                  <c:v>#N/A</c:v>
                </c:pt>
                <c:pt idx="1496">
                  <c:v>2.56792</c:v>
                </c:pt>
                <c:pt idx="1497">
                  <c:v>3.12663</c:v>
                </c:pt>
                <c:pt idx="1498">
                  <c:v>#N/A</c:v>
                </c:pt>
                <c:pt idx="1499">
                  <c:v>3.3334299999999999</c:v>
                </c:pt>
                <c:pt idx="1500">
                  <c:v>1.8991100000000001</c:v>
                </c:pt>
                <c:pt idx="1501">
                  <c:v>#N/A</c:v>
                </c:pt>
                <c:pt idx="1502">
                  <c:v>1.5631200000000001</c:v>
                </c:pt>
                <c:pt idx="1503">
                  <c:v>#N/A</c:v>
                </c:pt>
                <c:pt idx="1504">
                  <c:v>1.5706800000000001</c:v>
                </c:pt>
                <c:pt idx="1505">
                  <c:v>2.3311000000000002</c:v>
                </c:pt>
                <c:pt idx="1506">
                  <c:v>2.536</c:v>
                </c:pt>
                <c:pt idx="1507">
                  <c:v>#N/A</c:v>
                </c:pt>
                <c:pt idx="1508">
                  <c:v>2.6164999999999998</c:v>
                </c:pt>
                <c:pt idx="1509">
                  <c:v>2.6612399999999998</c:v>
                </c:pt>
                <c:pt idx="1510">
                  <c:v>#N/A</c:v>
                </c:pt>
                <c:pt idx="1511">
                  <c:v>3.1063200000000002</c:v>
                </c:pt>
                <c:pt idx="1512">
                  <c:v>2.0796999999999999</c:v>
                </c:pt>
                <c:pt idx="1513">
                  <c:v>2.0714299999999999</c:v>
                </c:pt>
                <c:pt idx="1514">
                  <c:v>#N/A</c:v>
                </c:pt>
                <c:pt idx="1515">
                  <c:v>2.1121699999999999</c:v>
                </c:pt>
                <c:pt idx="1516">
                  <c:v>2.5361500000000001</c:v>
                </c:pt>
                <c:pt idx="1517">
                  <c:v>3.0213800000000002</c:v>
                </c:pt>
                <c:pt idx="1518">
                  <c:v>#N/A</c:v>
                </c:pt>
                <c:pt idx="1519">
                  <c:v>2.7841999999999998</c:v>
                </c:pt>
                <c:pt idx="1520">
                  <c:v>2.8557299999999999</c:v>
                </c:pt>
                <c:pt idx="1521">
                  <c:v>1.6114900000000001</c:v>
                </c:pt>
                <c:pt idx="1522">
                  <c:v>#N/A</c:v>
                </c:pt>
                <c:pt idx="1523">
                  <c:v>2.2458399999999998</c:v>
                </c:pt>
                <c:pt idx="1524">
                  <c:v>1.9720299999999999</c:v>
                </c:pt>
                <c:pt idx="1525">
                  <c:v>2.4363199999999998</c:v>
                </c:pt>
                <c:pt idx="1526">
                  <c:v>#N/A</c:v>
                </c:pt>
                <c:pt idx="1527">
                  <c:v>1.86053</c:v>
                </c:pt>
                <c:pt idx="1528">
                  <c:v>2.08134</c:v>
                </c:pt>
                <c:pt idx="1529">
                  <c:v>2.0451199999999998</c:v>
                </c:pt>
                <c:pt idx="1530">
                  <c:v>#N/A</c:v>
                </c:pt>
                <c:pt idx="1531">
                  <c:v>1.7701100000000001</c:v>
                </c:pt>
                <c:pt idx="1532">
                  <c:v>1.4311799999999999</c:v>
                </c:pt>
                <c:pt idx="1533">
                  <c:v>#N/A</c:v>
                </c:pt>
                <c:pt idx="1534">
                  <c:v>1.8372299999999999</c:v>
                </c:pt>
                <c:pt idx="1535">
                  <c:v>2.9545400000000002</c:v>
                </c:pt>
                <c:pt idx="1536">
                  <c:v>2.79941</c:v>
                </c:pt>
                <c:pt idx="1537">
                  <c:v>#N/A</c:v>
                </c:pt>
                <c:pt idx="1538">
                  <c:v>3.5261300000000002</c:v>
                </c:pt>
                <c:pt idx="1539">
                  <c:v>3.6034999999999999</c:v>
                </c:pt>
                <c:pt idx="1540">
                  <c:v>#N/A</c:v>
                </c:pt>
                <c:pt idx="1541">
                  <c:v>2.85806</c:v>
                </c:pt>
                <c:pt idx="1542">
                  <c:v>3.0494599999999998</c:v>
                </c:pt>
                <c:pt idx="1543">
                  <c:v>1.8177300000000001</c:v>
                </c:pt>
                <c:pt idx="1544">
                  <c:v>#N/A</c:v>
                </c:pt>
                <c:pt idx="1545">
                  <c:v>1.7747200000000001</c:v>
                </c:pt>
                <c:pt idx="1546">
                  <c:v>2.0432399999999999</c:v>
                </c:pt>
                <c:pt idx="1547">
                  <c:v>3.01363</c:v>
                </c:pt>
                <c:pt idx="1548">
                  <c:v>#N/A</c:v>
                </c:pt>
                <c:pt idx="1549">
                  <c:v>3.26993</c:v>
                </c:pt>
                <c:pt idx="1550">
                  <c:v>3.1717900000000001</c:v>
                </c:pt>
                <c:pt idx="1551">
                  <c:v>2.75284</c:v>
                </c:pt>
                <c:pt idx="1552">
                  <c:v>#N/A</c:v>
                </c:pt>
                <c:pt idx="1553">
                  <c:v>2.0174500000000002</c:v>
                </c:pt>
                <c:pt idx="1554">
                  <c:v>1.5302899999999999</c:v>
                </c:pt>
                <c:pt idx="1555">
                  <c:v>1.13951</c:v>
                </c:pt>
                <c:pt idx="1556">
                  <c:v>#N/A</c:v>
                </c:pt>
                <c:pt idx="1557">
                  <c:v>1.08873</c:v>
                </c:pt>
                <c:pt idx="1558">
                  <c:v>2.00387</c:v>
                </c:pt>
                <c:pt idx="1559">
                  <c:v>3.1629299999999998</c:v>
                </c:pt>
                <c:pt idx="1560">
                  <c:v>#N/A</c:v>
                </c:pt>
                <c:pt idx="1561">
                  <c:v>3.1975600000000002</c:v>
                </c:pt>
                <c:pt idx="1562">
                  <c:v>3.1044800000000001</c:v>
                </c:pt>
                <c:pt idx="1563">
                  <c:v>2.2044800000000002</c:v>
                </c:pt>
                <c:pt idx="1564">
                  <c:v>#N/A</c:v>
                </c:pt>
                <c:pt idx="1565">
                  <c:v>1.87805</c:v>
                </c:pt>
                <c:pt idx="1566">
                  <c:v>1.504</c:v>
                </c:pt>
                <c:pt idx="1567">
                  <c:v>2.2413099999999999</c:v>
                </c:pt>
                <c:pt idx="1568">
                  <c:v>#N/A</c:v>
                </c:pt>
                <c:pt idx="1569">
                  <c:v>2.4911500000000002</c:v>
                </c:pt>
                <c:pt idx="1570">
                  <c:v>3.3323999999999998</c:v>
                </c:pt>
                <c:pt idx="1571">
                  <c:v>#N/A</c:v>
                </c:pt>
                <c:pt idx="1572">
                  <c:v>3.1501800000000002</c:v>
                </c:pt>
                <c:pt idx="1573">
                  <c:v>1.8022899999999999</c:v>
                </c:pt>
                <c:pt idx="1574">
                  <c:v>#N/A</c:v>
                </c:pt>
                <c:pt idx="1575">
                  <c:v>1.57952</c:v>
                </c:pt>
                <c:pt idx="1576">
                  <c:v>1.7234</c:v>
                </c:pt>
                <c:pt idx="1577">
                  <c:v>#N/A</c:v>
                </c:pt>
                <c:pt idx="1578">
                  <c:v>1.7719400000000001</c:v>
                </c:pt>
                <c:pt idx="1579">
                  <c:v>2.2909700000000002</c:v>
                </c:pt>
                <c:pt idx="1580">
                  <c:v>2.6347900000000002</c:v>
                </c:pt>
                <c:pt idx="1581">
                  <c:v>#N/A</c:v>
                </c:pt>
                <c:pt idx="1582">
                  <c:v>2.4459499999999998</c:v>
                </c:pt>
                <c:pt idx="1583">
                  <c:v>2.5935199999999998</c:v>
                </c:pt>
                <c:pt idx="1584">
                  <c:v>#N/A</c:v>
                </c:pt>
                <c:pt idx="1585">
                  <c:v>2.5021599999999999</c:v>
                </c:pt>
                <c:pt idx="1586">
                  <c:v>1.6913899999999999</c:v>
                </c:pt>
                <c:pt idx="1587">
                  <c:v>1.6556500000000001</c:v>
                </c:pt>
                <c:pt idx="1588">
                  <c:v>#N/A</c:v>
                </c:pt>
                <c:pt idx="1589">
                  <c:v>2.12262</c:v>
                </c:pt>
                <c:pt idx="1590">
                  <c:v>1.8991400000000001</c:v>
                </c:pt>
                <c:pt idx="1591">
                  <c:v>2.08541</c:v>
                </c:pt>
                <c:pt idx="1592">
                  <c:v>#N/A</c:v>
                </c:pt>
                <c:pt idx="1593">
                  <c:v>2.2048399999999999</c:v>
                </c:pt>
                <c:pt idx="1594">
                  <c:v>1.9329700000000001</c:v>
                </c:pt>
                <c:pt idx="1595">
                  <c:v>1.9959</c:v>
                </c:pt>
                <c:pt idx="1596">
                  <c:v>#N/A</c:v>
                </c:pt>
                <c:pt idx="1597">
                  <c:v>2.5781900000000002</c:v>
                </c:pt>
                <c:pt idx="1598">
                  <c:v>2.5413700000000001</c:v>
                </c:pt>
                <c:pt idx="1599">
                  <c:v>#N/A</c:v>
                </c:pt>
                <c:pt idx="1600">
                  <c:v>2.4077799999999998</c:v>
                </c:pt>
                <c:pt idx="1601">
                  <c:v>2.2697600000000002</c:v>
                </c:pt>
                <c:pt idx="1602">
                  <c:v>2.8525499999999999</c:v>
                </c:pt>
                <c:pt idx="1603">
                  <c:v>#N/A</c:v>
                </c:pt>
                <c:pt idx="1604">
                  <c:v>2.57091</c:v>
                </c:pt>
                <c:pt idx="1605">
                  <c:v>1.9200299999999999</c:v>
                </c:pt>
                <c:pt idx="1606">
                  <c:v>1.76071</c:v>
                </c:pt>
                <c:pt idx="1607">
                  <c:v>#N/A</c:v>
                </c:pt>
                <c:pt idx="1608">
                  <c:v>2.3885900000000002</c:v>
                </c:pt>
                <c:pt idx="1609">
                  <c:v>2.6047400000000001</c:v>
                </c:pt>
                <c:pt idx="1610">
                  <c:v>2.5855600000000001</c:v>
                </c:pt>
                <c:pt idx="1611">
                  <c:v>#N/A</c:v>
                </c:pt>
                <c:pt idx="1612">
                  <c:v>2.00909</c:v>
                </c:pt>
                <c:pt idx="1613">
                  <c:v>2.0409799999999998</c:v>
                </c:pt>
                <c:pt idx="1614">
                  <c:v>#N/A</c:v>
                </c:pt>
                <c:pt idx="1615">
                  <c:v>2.61117</c:v>
                </c:pt>
                <c:pt idx="1616">
                  <c:v>1.5843400000000001</c:v>
                </c:pt>
                <c:pt idx="1617">
                  <c:v>1.2815300000000001</c:v>
                </c:pt>
                <c:pt idx="1618">
                  <c:v>#N/A</c:v>
                </c:pt>
                <c:pt idx="1619">
                  <c:v>1.9395500000000001</c:v>
                </c:pt>
                <c:pt idx="1620">
                  <c:v>2.6946099999999999</c:v>
                </c:pt>
                <c:pt idx="1621">
                  <c:v>3.2828499999999998</c:v>
                </c:pt>
                <c:pt idx="1622">
                  <c:v>#N/A</c:v>
                </c:pt>
                <c:pt idx="1623">
                  <c:v>3.0754899999999998</c:v>
                </c:pt>
                <c:pt idx="1624">
                  <c:v>2.0870000000000002</c:v>
                </c:pt>
                <c:pt idx="1625">
                  <c:v>1.9505600000000001</c:v>
                </c:pt>
                <c:pt idx="1626">
                  <c:v>#N/A</c:v>
                </c:pt>
                <c:pt idx="1627">
                  <c:v>1.4604900000000001</c:v>
                </c:pt>
                <c:pt idx="1628">
                  <c:v>1.59659</c:v>
                </c:pt>
                <c:pt idx="1629">
                  <c:v>2.0141399999999998</c:v>
                </c:pt>
                <c:pt idx="1630">
                  <c:v>#N/A</c:v>
                </c:pt>
                <c:pt idx="1631">
                  <c:v>2.5230899999999998</c:v>
                </c:pt>
                <c:pt idx="1632">
                  <c:v>3.0968599999999999</c:v>
                </c:pt>
                <c:pt idx="1633">
                  <c:v>#N/A</c:v>
                </c:pt>
                <c:pt idx="1634">
                  <c:v>3.1340599999999998</c:v>
                </c:pt>
                <c:pt idx="1635">
                  <c:v>2.42767</c:v>
                </c:pt>
                <c:pt idx="1636">
                  <c:v>1.77841</c:v>
                </c:pt>
                <c:pt idx="1637">
                  <c:v>#N/A</c:v>
                </c:pt>
                <c:pt idx="1638">
                  <c:v>1.2442500000000001</c:v>
                </c:pt>
                <c:pt idx="1639">
                  <c:v>1.47848</c:v>
                </c:pt>
                <c:pt idx="1640">
                  <c:v>#N/A</c:v>
                </c:pt>
                <c:pt idx="1641">
                  <c:v>1.7364200000000001</c:v>
                </c:pt>
                <c:pt idx="1642">
                  <c:v>2.7319399999999998</c:v>
                </c:pt>
                <c:pt idx="1643">
                  <c:v>3.00299</c:v>
                </c:pt>
                <c:pt idx="1644">
                  <c:v>#N/A</c:v>
                </c:pt>
                <c:pt idx="1645">
                  <c:v>3.9595699999999998</c:v>
                </c:pt>
                <c:pt idx="1646">
                  <c:v>3.0284900000000001</c:v>
                </c:pt>
                <c:pt idx="1647">
                  <c:v>1.79572</c:v>
                </c:pt>
                <c:pt idx="1648">
                  <c:v>#N/A</c:v>
                </c:pt>
                <c:pt idx="1649">
                  <c:v>#N/A</c:v>
                </c:pt>
                <c:pt idx="1650">
                  <c:v>1.30748</c:v>
                </c:pt>
                <c:pt idx="1651">
                  <c:v>1.9923200000000001</c:v>
                </c:pt>
                <c:pt idx="1652">
                  <c:v>#N/A</c:v>
                </c:pt>
                <c:pt idx="1653">
                  <c:v>2.4499900000000001</c:v>
                </c:pt>
                <c:pt idx="1654">
                  <c:v>2.21068</c:v>
                </c:pt>
                <c:pt idx="1655">
                  <c:v>2.4815999999999998</c:v>
                </c:pt>
                <c:pt idx="1656">
                  <c:v>#N/A</c:v>
                </c:pt>
                <c:pt idx="1657">
                  <c:v>2.9614600000000002</c:v>
                </c:pt>
                <c:pt idx="1658">
                  <c:v>2.7132000000000001</c:v>
                </c:pt>
                <c:pt idx="1659">
                  <c:v>2.41527</c:v>
                </c:pt>
                <c:pt idx="1660">
                  <c:v>#N/A</c:v>
                </c:pt>
                <c:pt idx="1661">
                  <c:v>1.9920199999999999</c:v>
                </c:pt>
                <c:pt idx="1662">
                  <c:v>1.81925</c:v>
                </c:pt>
                <c:pt idx="1663">
                  <c:v>2.4248699999999999</c:v>
                </c:pt>
                <c:pt idx="1664">
                  <c:v>#N/A</c:v>
                </c:pt>
                <c:pt idx="1665">
                  <c:v>2.6789900000000002</c:v>
                </c:pt>
                <c:pt idx="1666">
                  <c:v>2.9321000000000002</c:v>
                </c:pt>
                <c:pt idx="1667">
                  <c:v>2.8142</c:v>
                </c:pt>
                <c:pt idx="1668">
                  <c:v>#N/A</c:v>
                </c:pt>
                <c:pt idx="1669">
                  <c:v>2.4963899999999999</c:v>
                </c:pt>
                <c:pt idx="1670">
                  <c:v>2.43987</c:v>
                </c:pt>
                <c:pt idx="1671">
                  <c:v>#N/A</c:v>
                </c:pt>
                <c:pt idx="1672">
                  <c:v>2.1794699999999998</c:v>
                </c:pt>
                <c:pt idx="1673">
                  <c:v>2.1811500000000001</c:v>
                </c:pt>
                <c:pt idx="1674">
                  <c:v>2.20444</c:v>
                </c:pt>
                <c:pt idx="1675">
                  <c:v>#N/A</c:v>
                </c:pt>
                <c:pt idx="1676">
                  <c:v>2.57544</c:v>
                </c:pt>
                <c:pt idx="1677">
                  <c:v>1.87558</c:v>
                </c:pt>
                <c:pt idx="1678">
                  <c:v>#N/A</c:v>
                </c:pt>
                <c:pt idx="1679">
                  <c:v>1.2040299999999999</c:v>
                </c:pt>
                <c:pt idx="1680">
                  <c:v>1.11355</c:v>
                </c:pt>
                <c:pt idx="1681">
                  <c:v>1.98898</c:v>
                </c:pt>
                <c:pt idx="1682">
                  <c:v>#N/A</c:v>
                </c:pt>
                <c:pt idx="1683">
                  <c:v>2.5670799999999998</c:v>
                </c:pt>
                <c:pt idx="1684">
                  <c:v>3.2606899999999999</c:v>
                </c:pt>
                <c:pt idx="1685">
                  <c:v>3.3358599999999998</c:v>
                </c:pt>
                <c:pt idx="1686">
                  <c:v>#N/A</c:v>
                </c:pt>
                <c:pt idx="1687">
                  <c:v>2.9382899999999998</c:v>
                </c:pt>
                <c:pt idx="1688">
                  <c:v>2.8722699999999999</c:v>
                </c:pt>
                <c:pt idx="1689">
                  <c:v>2.4960599999999999</c:v>
                </c:pt>
                <c:pt idx="1690">
                  <c:v>#N/A</c:v>
                </c:pt>
                <c:pt idx="1691">
                  <c:v>2.2154199999999999</c:v>
                </c:pt>
                <c:pt idx="1692">
                  <c:v>2.3200799999999999</c:v>
                </c:pt>
                <c:pt idx="1693">
                  <c:v>3.1597200000000001</c:v>
                </c:pt>
                <c:pt idx="1694">
                  <c:v>#N/A</c:v>
                </c:pt>
                <c:pt idx="1695">
                  <c:v>2.8971</c:v>
                </c:pt>
                <c:pt idx="1696">
                  <c:v>2.6972200000000002</c:v>
                </c:pt>
                <c:pt idx="1697">
                  <c:v>2.2979799999999999</c:v>
                </c:pt>
                <c:pt idx="1698">
                  <c:v>#N/A</c:v>
                </c:pt>
                <c:pt idx="1699">
                  <c:v>2.1476199999999999</c:v>
                </c:pt>
                <c:pt idx="1700">
                  <c:v>1.91255</c:v>
                </c:pt>
                <c:pt idx="1701">
                  <c:v>1.7921199999999999</c:v>
                </c:pt>
                <c:pt idx="1702">
                  <c:v>#N/A</c:v>
                </c:pt>
                <c:pt idx="1703">
                  <c:v>1.64131</c:v>
                </c:pt>
                <c:pt idx="1704">
                  <c:v>2.2611400000000001</c:v>
                </c:pt>
                <c:pt idx="1705">
                  <c:v>2.4546899999999998</c:v>
                </c:pt>
                <c:pt idx="1706">
                  <c:v>#N/A</c:v>
                </c:pt>
                <c:pt idx="1707">
                  <c:v>2.9511799999999999</c:v>
                </c:pt>
                <c:pt idx="1708">
                  <c:v>2.7709700000000002</c:v>
                </c:pt>
                <c:pt idx="1709">
                  <c:v>#N/A</c:v>
                </c:pt>
                <c:pt idx="1710">
                  <c:v>2.3836599999999999</c:v>
                </c:pt>
                <c:pt idx="1711">
                  <c:v>2.26505</c:v>
                </c:pt>
                <c:pt idx="1712">
                  <c:v>1.7172700000000001</c:v>
                </c:pt>
                <c:pt idx="1713">
                  <c:v>#N/A</c:v>
                </c:pt>
                <c:pt idx="1714">
                  <c:v>2.25718</c:v>
                </c:pt>
                <c:pt idx="1715">
                  <c:v>2.5828600000000002</c:v>
                </c:pt>
                <c:pt idx="1716">
                  <c:v>2.8477199999999998</c:v>
                </c:pt>
                <c:pt idx="1717">
                  <c:v>#N/A</c:v>
                </c:pt>
                <c:pt idx="1718">
                  <c:v>3.6161400000000001</c:v>
                </c:pt>
                <c:pt idx="1719">
                  <c:v>2.88347</c:v>
                </c:pt>
                <c:pt idx="1720">
                  <c:v>2.0921099999999999</c:v>
                </c:pt>
                <c:pt idx="1721">
                  <c:v>#N/A</c:v>
                </c:pt>
                <c:pt idx="1722">
                  <c:v>2.1537799999999998</c:v>
                </c:pt>
                <c:pt idx="1723">
                  <c:v>1.7166300000000001</c:v>
                </c:pt>
                <c:pt idx="1724">
                  <c:v>#N/A</c:v>
                </c:pt>
                <c:pt idx="1725">
                  <c:v>2.2220200000000001</c:v>
                </c:pt>
                <c:pt idx="1726">
                  <c:v>3.07056</c:v>
                </c:pt>
                <c:pt idx="1727">
                  <c:v>#N/A</c:v>
                </c:pt>
                <c:pt idx="1728">
                  <c:v>3.3713099999999998</c:v>
                </c:pt>
                <c:pt idx="1729">
                  <c:v>2.8312499999999998</c:v>
                </c:pt>
                <c:pt idx="1730">
                  <c:v>#N/A</c:v>
                </c:pt>
                <c:pt idx="1731">
                  <c:v>2.39296</c:v>
                </c:pt>
                <c:pt idx="1732">
                  <c:v>1.96875</c:v>
                </c:pt>
                <c:pt idx="1733">
                  <c:v>1.5233699999999999</c:v>
                </c:pt>
                <c:pt idx="1734">
                  <c:v>#N/A</c:v>
                </c:pt>
                <c:pt idx="1735">
                  <c:v>1.9130799999999999</c:v>
                </c:pt>
                <c:pt idx="1736">
                  <c:v>1.9152100000000001</c:v>
                </c:pt>
                <c:pt idx="1737">
                  <c:v>2.4208500000000002</c:v>
                </c:pt>
                <c:pt idx="1738">
                  <c:v>#N/A</c:v>
                </c:pt>
                <c:pt idx="1739">
                  <c:v>2.8946299999999998</c:v>
                </c:pt>
                <c:pt idx="1740">
                  <c:v>2.5141300000000002</c:v>
                </c:pt>
                <c:pt idx="1741">
                  <c:v>#N/A</c:v>
                </c:pt>
                <c:pt idx="1742">
                  <c:v>2.2922899999999999</c:v>
                </c:pt>
                <c:pt idx="1743">
                  <c:v>2.2072699999999998</c:v>
                </c:pt>
                <c:pt idx="1744">
                  <c:v>2.39086</c:v>
                </c:pt>
                <c:pt idx="1745">
                  <c:v>#N/A</c:v>
                </c:pt>
                <c:pt idx="1746">
                  <c:v>2.5299700000000001</c:v>
                </c:pt>
                <c:pt idx="1747">
                  <c:v>3.3035999999999999</c:v>
                </c:pt>
                <c:pt idx="1748">
                  <c:v>3.4731399999999999</c:v>
                </c:pt>
                <c:pt idx="1749">
                  <c:v>#N/A</c:v>
                </c:pt>
                <c:pt idx="1750">
                  <c:v>2.5013299999999998</c:v>
                </c:pt>
                <c:pt idx="1751">
                  <c:v>2.7808999999999999</c:v>
                </c:pt>
                <c:pt idx="1752">
                  <c:v>2.4065599999999998</c:v>
                </c:pt>
                <c:pt idx="1753">
                  <c:v>#N/A</c:v>
                </c:pt>
                <c:pt idx="1754">
                  <c:v>2.8543799999999999</c:v>
                </c:pt>
                <c:pt idx="1755">
                  <c:v>3.2099799999999998</c:v>
                </c:pt>
                <c:pt idx="1756">
                  <c:v>3.7390599999999998</c:v>
                </c:pt>
                <c:pt idx="1757">
                  <c:v>#N/A</c:v>
                </c:pt>
                <c:pt idx="1758">
                  <c:v>3.7132299999999998</c:v>
                </c:pt>
                <c:pt idx="1759">
                  <c:v>3.5373800000000002</c:v>
                </c:pt>
                <c:pt idx="1760">
                  <c:v>3.1353300000000002</c:v>
                </c:pt>
                <c:pt idx="1761">
                  <c:v>#N/A</c:v>
                </c:pt>
                <c:pt idx="1762">
                  <c:v>2.9285100000000002</c:v>
                </c:pt>
                <c:pt idx="1763">
                  <c:v>2.6150699999999998</c:v>
                </c:pt>
                <c:pt idx="1764">
                  <c:v>2.6874899999999999</c:v>
                </c:pt>
                <c:pt idx="1765">
                  <c:v>#N/A</c:v>
                </c:pt>
                <c:pt idx="1766">
                  <c:v>2.4421300000000001</c:v>
                </c:pt>
                <c:pt idx="1767">
                  <c:v>2.4343699999999999</c:v>
                </c:pt>
                <c:pt idx="1768">
                  <c:v>#N/A</c:v>
                </c:pt>
                <c:pt idx="1769">
                  <c:v>3.1701199999999998</c:v>
                </c:pt>
                <c:pt idx="1770">
                  <c:v>3.1388600000000002</c:v>
                </c:pt>
                <c:pt idx="1771">
                  <c:v>3.0503100000000001</c:v>
                </c:pt>
                <c:pt idx="1772">
                  <c:v>#N/A</c:v>
                </c:pt>
                <c:pt idx="1773">
                  <c:v>2.1069599999999999</c:v>
                </c:pt>
                <c:pt idx="1774">
                  <c:v>1.6166700000000001</c:v>
                </c:pt>
                <c:pt idx="1775">
                  <c:v>1.5907</c:v>
                </c:pt>
                <c:pt idx="1776">
                  <c:v>#N/A</c:v>
                </c:pt>
                <c:pt idx="1777">
                  <c:v>2.2046399999999999</c:v>
                </c:pt>
                <c:pt idx="1778">
                  <c:v>2.4157600000000001</c:v>
                </c:pt>
                <c:pt idx="1779">
                  <c:v>3.08792</c:v>
                </c:pt>
                <c:pt idx="1780">
                  <c:v>#N/A</c:v>
                </c:pt>
                <c:pt idx="1781">
                  <c:v>2.8702899999999998</c:v>
                </c:pt>
                <c:pt idx="1782">
                  <c:v>3.04027</c:v>
                </c:pt>
                <c:pt idx="1783">
                  <c:v>2.67814</c:v>
                </c:pt>
                <c:pt idx="1784">
                  <c:v>#N/A</c:v>
                </c:pt>
                <c:pt idx="1785">
                  <c:v>2.14195</c:v>
                </c:pt>
                <c:pt idx="1786">
                  <c:v>1.87754</c:v>
                </c:pt>
                <c:pt idx="1787">
                  <c:v>#N/A</c:v>
                </c:pt>
                <c:pt idx="1788">
                  <c:v>2.4329499999999999</c:v>
                </c:pt>
                <c:pt idx="1789">
                  <c:v>3.01403</c:v>
                </c:pt>
                <c:pt idx="1790">
                  <c:v>3.3103600000000002</c:v>
                </c:pt>
                <c:pt idx="1791">
                  <c:v>#N/A</c:v>
                </c:pt>
                <c:pt idx="1792">
                  <c:v>3.2724099999999998</c:v>
                </c:pt>
                <c:pt idx="1793">
                  <c:v>3.0998000000000001</c:v>
                </c:pt>
                <c:pt idx="1794">
                  <c:v>2.3437100000000002</c:v>
                </c:pt>
                <c:pt idx="1795">
                  <c:v>#N/A</c:v>
                </c:pt>
                <c:pt idx="1796">
                  <c:v>2.4681099999999998</c:v>
                </c:pt>
                <c:pt idx="1797">
                  <c:v>2.3379099999999999</c:v>
                </c:pt>
                <c:pt idx="1798">
                  <c:v>#N/A</c:v>
                </c:pt>
                <c:pt idx="1799">
                  <c:v>2.4019900000000001</c:v>
                </c:pt>
                <c:pt idx="1800">
                  <c:v>2.6313900000000001</c:v>
                </c:pt>
                <c:pt idx="1801">
                  <c:v>#N/A</c:v>
                </c:pt>
                <c:pt idx="1802">
                  <c:v>2.5109499999999998</c:v>
                </c:pt>
                <c:pt idx="1803">
                  <c:v>1.8537600000000001</c:v>
                </c:pt>
                <c:pt idx="1804">
                  <c:v>#N/A</c:v>
                </c:pt>
                <c:pt idx="1805">
                  <c:v>1.9510099999999999</c:v>
                </c:pt>
                <c:pt idx="1806">
                  <c:v>2.3731100000000001</c:v>
                </c:pt>
                <c:pt idx="1807">
                  <c:v>2.3454700000000002</c:v>
                </c:pt>
                <c:pt idx="1808">
                  <c:v>#N/A</c:v>
                </c:pt>
                <c:pt idx="1809">
                  <c:v>3.25061</c:v>
                </c:pt>
                <c:pt idx="1810">
                  <c:v>2.68513</c:v>
                </c:pt>
                <c:pt idx="1811">
                  <c:v>#N/A</c:v>
                </c:pt>
                <c:pt idx="1812">
                  <c:v>3.2963200000000001</c:v>
                </c:pt>
                <c:pt idx="1813">
                  <c:v>2.84375</c:v>
                </c:pt>
                <c:pt idx="1814">
                  <c:v>2.9393199999999999</c:v>
                </c:pt>
                <c:pt idx="1815">
                  <c:v>#N/A</c:v>
                </c:pt>
                <c:pt idx="1816">
                  <c:v>2.56942</c:v>
                </c:pt>
                <c:pt idx="1817">
                  <c:v>2.5112700000000001</c:v>
                </c:pt>
                <c:pt idx="1818">
                  <c:v>2.5453700000000001</c:v>
                </c:pt>
                <c:pt idx="1819">
                  <c:v>#N/A</c:v>
                </c:pt>
                <c:pt idx="1820">
                  <c:v>2.8410299999999999</c:v>
                </c:pt>
                <c:pt idx="1821">
                  <c:v>2.6820900000000001</c:v>
                </c:pt>
                <c:pt idx="1822">
                  <c:v>2.8575499999999998</c:v>
                </c:pt>
                <c:pt idx="1823">
                  <c:v>#N/A</c:v>
                </c:pt>
                <c:pt idx="1824">
                  <c:v>2.4530699999999999</c:v>
                </c:pt>
                <c:pt idx="1825">
                  <c:v>1.75522</c:v>
                </c:pt>
                <c:pt idx="1826">
                  <c:v>1.7174799999999999</c:v>
                </c:pt>
                <c:pt idx="1827">
                  <c:v>#N/A</c:v>
                </c:pt>
                <c:pt idx="1828">
                  <c:v>1.75366</c:v>
                </c:pt>
                <c:pt idx="1829">
                  <c:v>2.4511799999999999</c:v>
                </c:pt>
                <c:pt idx="1830">
                  <c:v>2.92767</c:v>
                </c:pt>
                <c:pt idx="1831">
                  <c:v>#N/A</c:v>
                </c:pt>
                <c:pt idx="1832">
                  <c:v>2.9629599999999998</c:v>
                </c:pt>
                <c:pt idx="1833">
                  <c:v>2.5706000000000002</c:v>
                </c:pt>
                <c:pt idx="1834">
                  <c:v>#N/A</c:v>
                </c:pt>
                <c:pt idx="1835">
                  <c:v>2.4066700000000001</c:v>
                </c:pt>
                <c:pt idx="1836">
                  <c:v>1.6441399999999999</c:v>
                </c:pt>
                <c:pt idx="1837">
                  <c:v>1.9825600000000001</c:v>
                </c:pt>
                <c:pt idx="1838">
                  <c:v>#N/A</c:v>
                </c:pt>
                <c:pt idx="1839">
                  <c:v>2.2724099999999998</c:v>
                </c:pt>
                <c:pt idx="1840">
                  <c:v>2.46637</c:v>
                </c:pt>
                <c:pt idx="1841">
                  <c:v>2.98163</c:v>
                </c:pt>
                <c:pt idx="1842">
                  <c:v>#N/A</c:v>
                </c:pt>
                <c:pt idx="1843">
                  <c:v>3.1466099999999999</c:v>
                </c:pt>
                <c:pt idx="1844">
                  <c:v>3.1247600000000002</c:v>
                </c:pt>
                <c:pt idx="1845">
                  <c:v>3.0544600000000002</c:v>
                </c:pt>
                <c:pt idx="1846">
                  <c:v>#N/A</c:v>
                </c:pt>
                <c:pt idx="1847">
                  <c:v>1.6345000000000001</c:v>
                </c:pt>
                <c:pt idx="1848">
                  <c:v>1.92553</c:v>
                </c:pt>
                <c:pt idx="1849">
                  <c:v>1.9061399999999999</c:v>
                </c:pt>
                <c:pt idx="1850">
                  <c:v>#N/A</c:v>
                </c:pt>
                <c:pt idx="1851">
                  <c:v>2.9590100000000001</c:v>
                </c:pt>
                <c:pt idx="1852">
                  <c:v>3.2986800000000001</c:v>
                </c:pt>
                <c:pt idx="1853">
                  <c:v>3.22864</c:v>
                </c:pt>
                <c:pt idx="1854">
                  <c:v>#N/A</c:v>
                </c:pt>
                <c:pt idx="1855">
                  <c:v>2.77197</c:v>
                </c:pt>
                <c:pt idx="1856">
                  <c:v>2.6261299999999999</c:v>
                </c:pt>
                <c:pt idx="1857">
                  <c:v>1.8801399999999999</c:v>
                </c:pt>
                <c:pt idx="1858">
                  <c:v>#N/A</c:v>
                </c:pt>
                <c:pt idx="1859">
                  <c:v>1.75901</c:v>
                </c:pt>
                <c:pt idx="1860">
                  <c:v>2.3112699999999999</c:v>
                </c:pt>
                <c:pt idx="1861">
                  <c:v>#N/A</c:v>
                </c:pt>
                <c:pt idx="1862">
                  <c:v>2.5586099999999998</c:v>
                </c:pt>
                <c:pt idx="1863">
                  <c:v>2.8244500000000001</c:v>
                </c:pt>
                <c:pt idx="1864">
                  <c:v>2.5879699999999999</c:v>
                </c:pt>
                <c:pt idx="1865">
                  <c:v>#N/A</c:v>
                </c:pt>
                <c:pt idx="1866">
                  <c:v>2.41689</c:v>
                </c:pt>
                <c:pt idx="1867">
                  <c:v>2.3058000000000001</c:v>
                </c:pt>
                <c:pt idx="1868">
                  <c:v>2.3718499999999998</c:v>
                </c:pt>
                <c:pt idx="1869">
                  <c:v>#N/A</c:v>
                </c:pt>
                <c:pt idx="1870">
                  <c:v>3.1293099999999998</c:v>
                </c:pt>
                <c:pt idx="1871">
                  <c:v>2.88524</c:v>
                </c:pt>
                <c:pt idx="1872">
                  <c:v>2.9436399999999998</c:v>
                </c:pt>
                <c:pt idx="1873">
                  <c:v>#N/A</c:v>
                </c:pt>
                <c:pt idx="1874">
                  <c:v>3.19956</c:v>
                </c:pt>
                <c:pt idx="1875">
                  <c:v>#N/A</c:v>
                </c:pt>
                <c:pt idx="1876">
                  <c:v>3.29786</c:v>
                </c:pt>
                <c:pt idx="1877">
                  <c:v>2.6120399999999999</c:v>
                </c:pt>
                <c:pt idx="1878">
                  <c:v>2.2825299999999999</c:v>
                </c:pt>
                <c:pt idx="1879">
                  <c:v>#N/A</c:v>
                </c:pt>
                <c:pt idx="1880">
                  <c:v>2.49648</c:v>
                </c:pt>
                <c:pt idx="1881">
                  <c:v>2.7054900000000002</c:v>
                </c:pt>
                <c:pt idx="1882">
                  <c:v>#N/A</c:v>
                </c:pt>
                <c:pt idx="1883">
                  <c:v>2.9071799999999999</c:v>
                </c:pt>
                <c:pt idx="1884">
                  <c:v>2.9761700000000002</c:v>
                </c:pt>
                <c:pt idx="1885">
                  <c:v>2.5020600000000002</c:v>
                </c:pt>
                <c:pt idx="1886">
                  <c:v>#N/A</c:v>
                </c:pt>
                <c:pt idx="1887">
                  <c:v>2.0897000000000001</c:v>
                </c:pt>
                <c:pt idx="1888">
                  <c:v>2.3455599999999999</c:v>
                </c:pt>
                <c:pt idx="1889">
                  <c:v>1.64893</c:v>
                </c:pt>
                <c:pt idx="1890">
                  <c:v>#N/A</c:v>
                </c:pt>
                <c:pt idx="1891">
                  <c:v>2.3082099999999999</c:v>
                </c:pt>
                <c:pt idx="1892">
                  <c:v>2.5012799999999999</c:v>
                </c:pt>
                <c:pt idx="1893">
                  <c:v>#N/A</c:v>
                </c:pt>
                <c:pt idx="1894">
                  <c:v>3.2205300000000001</c:v>
                </c:pt>
                <c:pt idx="1895">
                  <c:v>3.1777099999999998</c:v>
                </c:pt>
                <c:pt idx="1896">
                  <c:v>2.9093399999999998</c:v>
                </c:pt>
                <c:pt idx="1897">
                  <c:v>#N/A</c:v>
                </c:pt>
                <c:pt idx="1898">
                  <c:v>2.7645499999999998</c:v>
                </c:pt>
                <c:pt idx="1899">
                  <c:v>2.2037300000000002</c:v>
                </c:pt>
                <c:pt idx="1900">
                  <c:v>2.4380000000000002</c:v>
                </c:pt>
                <c:pt idx="1901">
                  <c:v>#N/A</c:v>
                </c:pt>
                <c:pt idx="1902">
                  <c:v>2.2251300000000001</c:v>
                </c:pt>
                <c:pt idx="1903">
                  <c:v>2.6352099999999998</c:v>
                </c:pt>
                <c:pt idx="1904">
                  <c:v>2.86808</c:v>
                </c:pt>
                <c:pt idx="1905">
                  <c:v>#N/A</c:v>
                </c:pt>
                <c:pt idx="1906">
                  <c:v>2.9643199999999998</c:v>
                </c:pt>
                <c:pt idx="1907">
                  <c:v>2.5667800000000001</c:v>
                </c:pt>
                <c:pt idx="1908">
                  <c:v>1.7761</c:v>
                </c:pt>
                <c:pt idx="1909">
                  <c:v>#N/A</c:v>
                </c:pt>
                <c:pt idx="1910">
                  <c:v>1.39839</c:v>
                </c:pt>
                <c:pt idx="1911">
                  <c:v>1.9135500000000001</c:v>
                </c:pt>
                <c:pt idx="1912">
                  <c:v>2.4202900000000001</c:v>
                </c:pt>
                <c:pt idx="1913">
                  <c:v>#N/A</c:v>
                </c:pt>
                <c:pt idx="1914">
                  <c:v>2.84727</c:v>
                </c:pt>
                <c:pt idx="1915">
                  <c:v>3.0382400000000001</c:v>
                </c:pt>
                <c:pt idx="1916">
                  <c:v>2.8858899999999998</c:v>
                </c:pt>
                <c:pt idx="1917">
                  <c:v>#N/A</c:v>
                </c:pt>
                <c:pt idx="1918">
                  <c:v>2.58432</c:v>
                </c:pt>
                <c:pt idx="1919">
                  <c:v>2.3326199999999999</c:v>
                </c:pt>
                <c:pt idx="1920">
                  <c:v>#N/A</c:v>
                </c:pt>
                <c:pt idx="1921">
                  <c:v>1.8320099999999999</c:v>
                </c:pt>
                <c:pt idx="1922">
                  <c:v>1.5471999999999999</c:v>
                </c:pt>
                <c:pt idx="1923">
                  <c:v>2.29928</c:v>
                </c:pt>
                <c:pt idx="1924">
                  <c:v>#N/A</c:v>
                </c:pt>
                <c:pt idx="1925">
                  <c:v>2.62269</c:v>
                </c:pt>
                <c:pt idx="1926">
                  <c:v>3.0635599999999998</c:v>
                </c:pt>
                <c:pt idx="1927">
                  <c:v>2.54901</c:v>
                </c:pt>
                <c:pt idx="1928">
                  <c:v>#N/A</c:v>
                </c:pt>
                <c:pt idx="1929">
                  <c:v>2.4707400000000002</c:v>
                </c:pt>
                <c:pt idx="1930">
                  <c:v>2.0152199999999998</c:v>
                </c:pt>
                <c:pt idx="1931">
                  <c:v>2.0432800000000002</c:v>
                </c:pt>
                <c:pt idx="1932">
                  <c:v>#N/A</c:v>
                </c:pt>
                <c:pt idx="1933">
                  <c:v>1.82613</c:v>
                </c:pt>
                <c:pt idx="1934">
                  <c:v>2.7391399999999999</c:v>
                </c:pt>
                <c:pt idx="1935">
                  <c:v>3.4601299999999999</c:v>
                </c:pt>
                <c:pt idx="1936">
                  <c:v>#N/A</c:v>
                </c:pt>
                <c:pt idx="1937">
                  <c:v>3.12663</c:v>
                </c:pt>
                <c:pt idx="1938">
                  <c:v>3.0936900000000001</c:v>
                </c:pt>
                <c:pt idx="1939">
                  <c:v>2.371</c:v>
                </c:pt>
                <c:pt idx="1940">
                  <c:v>#N/A</c:v>
                </c:pt>
                <c:pt idx="1941">
                  <c:v>2.1229499999999999</c:v>
                </c:pt>
                <c:pt idx="1942">
                  <c:v>2.0720999999999998</c:v>
                </c:pt>
                <c:pt idx="1943">
                  <c:v>2.46611</c:v>
                </c:pt>
                <c:pt idx="1944">
                  <c:v>#N/A</c:v>
                </c:pt>
                <c:pt idx="1945">
                  <c:v>2.2971900000000001</c:v>
                </c:pt>
                <c:pt idx="1946">
                  <c:v>2.9380700000000002</c:v>
                </c:pt>
                <c:pt idx="1947">
                  <c:v>2.8614199999999999</c:v>
                </c:pt>
                <c:pt idx="1948">
                  <c:v>#N/A</c:v>
                </c:pt>
                <c:pt idx="1949">
                  <c:v>2.6090100000000001</c:v>
                </c:pt>
                <c:pt idx="1950">
                  <c:v>#N/A</c:v>
                </c:pt>
                <c:pt idx="1951">
                  <c:v>1.7394099999999999</c:v>
                </c:pt>
                <c:pt idx="1952">
                  <c:v>2.00501</c:v>
                </c:pt>
                <c:pt idx="1953">
                  <c:v>#N/A</c:v>
                </c:pt>
                <c:pt idx="1954">
                  <c:v>1.7270399999999999</c:v>
                </c:pt>
                <c:pt idx="1955">
                  <c:v>2.6097199999999998</c:v>
                </c:pt>
                <c:pt idx="1956">
                  <c:v>3.0908199999999999</c:v>
                </c:pt>
                <c:pt idx="1957">
                  <c:v>#N/A</c:v>
                </c:pt>
                <c:pt idx="1958">
                  <c:v>3.1246100000000001</c:v>
                </c:pt>
                <c:pt idx="1959">
                  <c:v>2.6335799999999998</c:v>
                </c:pt>
                <c:pt idx="1960">
                  <c:v>#N/A</c:v>
                </c:pt>
                <c:pt idx="1961">
                  <c:v>2.2711899999999998</c:v>
                </c:pt>
                <c:pt idx="1962">
                  <c:v>2.0506000000000002</c:v>
                </c:pt>
                <c:pt idx="1963">
                  <c:v>2.1462699999999999</c:v>
                </c:pt>
                <c:pt idx="1964">
                  <c:v>#N/A</c:v>
                </c:pt>
                <c:pt idx="1965">
                  <c:v>2.5946699999999998</c:v>
                </c:pt>
                <c:pt idx="1966">
                  <c:v>2.9204699999999999</c:v>
                </c:pt>
                <c:pt idx="1967">
                  <c:v>2.8694999999999999</c:v>
                </c:pt>
                <c:pt idx="1968">
                  <c:v>#N/A</c:v>
                </c:pt>
                <c:pt idx="1969">
                  <c:v>2.53037</c:v>
                </c:pt>
                <c:pt idx="1970">
                  <c:v>2.4180600000000001</c:v>
                </c:pt>
                <c:pt idx="1971">
                  <c:v>2.0266700000000002</c:v>
                </c:pt>
                <c:pt idx="1972">
                  <c:v>#N/A</c:v>
                </c:pt>
                <c:pt idx="1973">
                  <c:v>2.4620000000000002</c:v>
                </c:pt>
                <c:pt idx="1974">
                  <c:v>2.7571599999999998</c:v>
                </c:pt>
                <c:pt idx="1975">
                  <c:v>#N/A</c:v>
                </c:pt>
                <c:pt idx="1976">
                  <c:v>2.8879800000000002</c:v>
                </c:pt>
                <c:pt idx="1977">
                  <c:v>3.1481599999999998</c:v>
                </c:pt>
                <c:pt idx="1978">
                  <c:v>3.3600500000000002</c:v>
                </c:pt>
                <c:pt idx="1979">
                  <c:v>#N/A</c:v>
                </c:pt>
                <c:pt idx="1980">
                  <c:v>2.58846</c:v>
                </c:pt>
                <c:pt idx="1981">
                  <c:v>2.3953600000000002</c:v>
                </c:pt>
                <c:pt idx="1982">
                  <c:v>2.1812299999999998</c:v>
                </c:pt>
                <c:pt idx="1983">
                  <c:v>#N/A</c:v>
                </c:pt>
                <c:pt idx="1984">
                  <c:v>2.6141999999999999</c:v>
                </c:pt>
                <c:pt idx="1985">
                  <c:v>2.5986699999999998</c:v>
                </c:pt>
                <c:pt idx="1986">
                  <c:v>3.17299</c:v>
                </c:pt>
                <c:pt idx="1987">
                  <c:v>#N/A</c:v>
                </c:pt>
                <c:pt idx="1988">
                  <c:v>3.10711</c:v>
                </c:pt>
                <c:pt idx="1989">
                  <c:v>3.12005</c:v>
                </c:pt>
                <c:pt idx="1990">
                  <c:v>2.8682500000000002</c:v>
                </c:pt>
                <c:pt idx="1991">
                  <c:v>#N/A</c:v>
                </c:pt>
                <c:pt idx="1992">
                  <c:v>2.38646</c:v>
                </c:pt>
                <c:pt idx="1993">
                  <c:v>2.1238999999999999</c:v>
                </c:pt>
                <c:pt idx="1994">
                  <c:v>2.2395399999999999</c:v>
                </c:pt>
                <c:pt idx="1995">
                  <c:v>#N/A</c:v>
                </c:pt>
                <c:pt idx="1996">
                  <c:v>2.60839</c:v>
                </c:pt>
                <c:pt idx="1997">
                  <c:v>2.9845999999999999</c:v>
                </c:pt>
                <c:pt idx="1998">
                  <c:v>3.4187400000000001</c:v>
                </c:pt>
                <c:pt idx="1999">
                  <c:v>#N/A</c:v>
                </c:pt>
                <c:pt idx="2000">
                  <c:v>3.5970499999999999</c:v>
                </c:pt>
                <c:pt idx="2001">
                  <c:v>3.1741299999999999</c:v>
                </c:pt>
                <c:pt idx="2002">
                  <c:v>2.53708</c:v>
                </c:pt>
                <c:pt idx="2003">
                  <c:v>#N/A</c:v>
                </c:pt>
                <c:pt idx="2004">
                  <c:v>2.3847499999999999</c:v>
                </c:pt>
                <c:pt idx="2005">
                  <c:v>2.2389600000000001</c:v>
                </c:pt>
                <c:pt idx="2006">
                  <c:v>#N/A</c:v>
                </c:pt>
                <c:pt idx="2007">
                  <c:v>2.2815799999999999</c:v>
                </c:pt>
                <c:pt idx="2008">
                  <c:v>2.44157</c:v>
                </c:pt>
                <c:pt idx="2009">
                  <c:v>2.76125</c:v>
                </c:pt>
                <c:pt idx="2010">
                  <c:v>#N/A</c:v>
                </c:pt>
                <c:pt idx="2011">
                  <c:v>2.6433599999999999</c:v>
                </c:pt>
                <c:pt idx="2012">
                  <c:v>2.8755500000000001</c:v>
                </c:pt>
                <c:pt idx="2013">
                  <c:v>2.2080199999999999</c:v>
                </c:pt>
                <c:pt idx="2014">
                  <c:v>#N/A</c:v>
                </c:pt>
                <c:pt idx="2015">
                  <c:v>1.4872399999999999</c:v>
                </c:pt>
                <c:pt idx="2016">
                  <c:v>1.6629</c:v>
                </c:pt>
                <c:pt idx="2017">
                  <c:v>2.1723599999999998</c:v>
                </c:pt>
                <c:pt idx="2018">
                  <c:v>#N/A</c:v>
                </c:pt>
                <c:pt idx="2019">
                  <c:v>2.7798400000000001</c:v>
                </c:pt>
                <c:pt idx="2020">
                  <c:v>2.7921200000000002</c:v>
                </c:pt>
                <c:pt idx="2021">
                  <c:v>2.8928199999999999</c:v>
                </c:pt>
                <c:pt idx="2022">
                  <c:v>#N/A</c:v>
                </c:pt>
                <c:pt idx="2023">
                  <c:v>2.7306599999999999</c:v>
                </c:pt>
                <c:pt idx="2024">
                  <c:v>2.2646999999999999</c:v>
                </c:pt>
                <c:pt idx="2025">
                  <c:v>#N/A</c:v>
                </c:pt>
                <c:pt idx="2026">
                  <c:v>2.69346</c:v>
                </c:pt>
                <c:pt idx="2027">
                  <c:v>2.15124</c:v>
                </c:pt>
                <c:pt idx="2028">
                  <c:v>#N/A</c:v>
                </c:pt>
                <c:pt idx="2029">
                  <c:v>2.6666400000000001</c:v>
                </c:pt>
                <c:pt idx="2030">
                  <c:v>2.6716000000000002</c:v>
                </c:pt>
                <c:pt idx="2031">
                  <c:v>2.67876</c:v>
                </c:pt>
                <c:pt idx="2032">
                  <c:v>#N/A</c:v>
                </c:pt>
                <c:pt idx="2033">
                  <c:v>2.2767400000000002</c:v>
                </c:pt>
                <c:pt idx="2034">
                  <c:v>2.3596499999999998</c:v>
                </c:pt>
                <c:pt idx="2035">
                  <c:v>#N/A</c:v>
                </c:pt>
                <c:pt idx="2036">
                  <c:v>1.69638</c:v>
                </c:pt>
                <c:pt idx="2037">
                  <c:v>1.9023600000000001</c:v>
                </c:pt>
                <c:pt idx="2038">
                  <c:v>2.6499100000000002</c:v>
                </c:pt>
                <c:pt idx="2039">
                  <c:v>#N/A</c:v>
                </c:pt>
                <c:pt idx="2040">
                  <c:v>3.14716</c:v>
                </c:pt>
                <c:pt idx="2041">
                  <c:v>3.3898000000000001</c:v>
                </c:pt>
                <c:pt idx="2042">
                  <c:v>2.2837399999999999</c:v>
                </c:pt>
                <c:pt idx="2043">
                  <c:v>#N/A</c:v>
                </c:pt>
                <c:pt idx="2044">
                  <c:v>2.25617</c:v>
                </c:pt>
                <c:pt idx="2045">
                  <c:v>2.1331199999999999</c:v>
                </c:pt>
                <c:pt idx="2046">
                  <c:v>2.27522</c:v>
                </c:pt>
                <c:pt idx="2047">
                  <c:v>#N/A</c:v>
                </c:pt>
                <c:pt idx="2048">
                  <c:v>2.6713399999999998</c:v>
                </c:pt>
                <c:pt idx="2049">
                  <c:v>2.5625900000000001</c:v>
                </c:pt>
                <c:pt idx="2050">
                  <c:v>3.0329000000000002</c:v>
                </c:pt>
                <c:pt idx="2051">
                  <c:v>#N/A</c:v>
                </c:pt>
                <c:pt idx="2052">
                  <c:v>3.3014299999999999</c:v>
                </c:pt>
                <c:pt idx="2053">
                  <c:v>2.7125400000000002</c:v>
                </c:pt>
                <c:pt idx="2054">
                  <c:v>2.34267</c:v>
                </c:pt>
                <c:pt idx="2055">
                  <c:v>#N/A</c:v>
                </c:pt>
                <c:pt idx="2056">
                  <c:v>1.8199700000000001</c:v>
                </c:pt>
                <c:pt idx="2057">
                  <c:v>2.5642999999999998</c:v>
                </c:pt>
                <c:pt idx="2058">
                  <c:v>#N/A</c:v>
                </c:pt>
                <c:pt idx="2059">
                  <c:v>2.4285999999999999</c:v>
                </c:pt>
                <c:pt idx="2060">
                  <c:v>2.79271</c:v>
                </c:pt>
                <c:pt idx="2061">
                  <c:v>2.8541799999999999</c:v>
                </c:pt>
                <c:pt idx="2062">
                  <c:v>#N/A</c:v>
                </c:pt>
                <c:pt idx="2063">
                  <c:v>3.1495299999999999</c:v>
                </c:pt>
                <c:pt idx="2064">
                  <c:v>2.3140299999999998</c:v>
                </c:pt>
                <c:pt idx="2065">
                  <c:v>2.0503900000000002</c:v>
                </c:pt>
                <c:pt idx="2066">
                  <c:v>#N/A</c:v>
                </c:pt>
                <c:pt idx="2067">
                  <c:v>1.6712400000000001</c:v>
                </c:pt>
                <c:pt idx="2068">
                  <c:v>1.7346299999999999</c:v>
                </c:pt>
                <c:pt idx="2069">
                  <c:v>2.6132399999999998</c:v>
                </c:pt>
                <c:pt idx="2070">
                  <c:v>#N/A</c:v>
                </c:pt>
                <c:pt idx="2071">
                  <c:v>2.77501</c:v>
                </c:pt>
                <c:pt idx="2072">
                  <c:v>2.51953</c:v>
                </c:pt>
                <c:pt idx="2073">
                  <c:v>#N/A</c:v>
                </c:pt>
                <c:pt idx="2074">
                  <c:v>2.3527999999999998</c:v>
                </c:pt>
                <c:pt idx="2075">
                  <c:v>2.5239799999999999</c:v>
                </c:pt>
                <c:pt idx="2076">
                  <c:v>1.91886</c:v>
                </c:pt>
                <c:pt idx="2077">
                  <c:v>#N/A</c:v>
                </c:pt>
                <c:pt idx="2078">
                  <c:v>1.76173</c:v>
                </c:pt>
                <c:pt idx="2079">
                  <c:v>1.7844899999999999</c:v>
                </c:pt>
                <c:pt idx="2080">
                  <c:v>2.5314700000000001</c:v>
                </c:pt>
                <c:pt idx="2081">
                  <c:v>#N/A</c:v>
                </c:pt>
                <c:pt idx="2082">
                  <c:v>3.3691800000000001</c:v>
                </c:pt>
                <c:pt idx="2083">
                  <c:v>3.2672099999999999</c:v>
                </c:pt>
                <c:pt idx="2084">
                  <c:v>3.0767899999999999</c:v>
                </c:pt>
                <c:pt idx="2085">
                  <c:v>#N/A</c:v>
                </c:pt>
                <c:pt idx="2086">
                  <c:v>2.5854400000000002</c:v>
                </c:pt>
                <c:pt idx="2087">
                  <c:v>2.4337499999999999</c:v>
                </c:pt>
                <c:pt idx="2088">
                  <c:v>2.46048</c:v>
                </c:pt>
                <c:pt idx="2089">
                  <c:v>#N/A</c:v>
                </c:pt>
                <c:pt idx="2090">
                  <c:v>2.18147</c:v>
                </c:pt>
                <c:pt idx="2091">
                  <c:v>2.2627600000000001</c:v>
                </c:pt>
                <c:pt idx="2092">
                  <c:v>2.3448600000000002</c:v>
                </c:pt>
                <c:pt idx="2093">
                  <c:v>#N/A</c:v>
                </c:pt>
                <c:pt idx="2094">
                  <c:v>3.1329400000000001</c:v>
                </c:pt>
                <c:pt idx="2095">
                  <c:v>#N/A</c:v>
                </c:pt>
                <c:pt idx="2096">
                  <c:v>2.1266500000000002</c:v>
                </c:pt>
                <c:pt idx="2097">
                  <c:v>#N/A</c:v>
                </c:pt>
                <c:pt idx="2098">
                  <c:v>1.87229</c:v>
                </c:pt>
                <c:pt idx="2099">
                  <c:v>2.23577</c:v>
                </c:pt>
                <c:pt idx="2100">
                  <c:v>#N/A</c:v>
                </c:pt>
                <c:pt idx="2101">
                  <c:v>2.7070799999999999</c:v>
                </c:pt>
                <c:pt idx="2102">
                  <c:v>#N/A</c:v>
                </c:pt>
                <c:pt idx="2103">
                  <c:v>2.6861100000000002</c:v>
                </c:pt>
                <c:pt idx="2104">
                  <c:v>2.95547</c:v>
                </c:pt>
                <c:pt idx="2105">
                  <c:v>2.99437</c:v>
                </c:pt>
                <c:pt idx="2106">
                  <c:v>#N/A</c:v>
                </c:pt>
                <c:pt idx="2107">
                  <c:v>3.32864</c:v>
                </c:pt>
                <c:pt idx="2108">
                  <c:v>2.8307899999999999</c:v>
                </c:pt>
                <c:pt idx="2109">
                  <c:v>2.9265400000000001</c:v>
                </c:pt>
                <c:pt idx="2110">
                  <c:v>#N/A</c:v>
                </c:pt>
                <c:pt idx="2111">
                  <c:v>3.0886999999999998</c:v>
                </c:pt>
                <c:pt idx="2112">
                  <c:v>3.1154000000000002</c:v>
                </c:pt>
                <c:pt idx="2113">
                  <c:v>#N/A</c:v>
                </c:pt>
                <c:pt idx="2114">
                  <c:v>2.8540700000000001</c:v>
                </c:pt>
                <c:pt idx="2115">
                  <c:v>3.2082799999999998</c:v>
                </c:pt>
                <c:pt idx="2116">
                  <c:v>2.8501599999999998</c:v>
                </c:pt>
                <c:pt idx="2117">
                  <c:v>#N/A</c:v>
                </c:pt>
                <c:pt idx="2118">
                  <c:v>1.89161</c:v>
                </c:pt>
                <c:pt idx="2119">
                  <c:v>2.15449</c:v>
                </c:pt>
                <c:pt idx="2120">
                  <c:v>2.0643099999999999</c:v>
                </c:pt>
                <c:pt idx="2121">
                  <c:v>#N/A</c:v>
                </c:pt>
                <c:pt idx="2122">
                  <c:v>2.3666</c:v>
                </c:pt>
                <c:pt idx="2123">
                  <c:v>2.7389299999999999</c:v>
                </c:pt>
                <c:pt idx="2124">
                  <c:v>2.98055</c:v>
                </c:pt>
                <c:pt idx="2125">
                  <c:v>#N/A</c:v>
                </c:pt>
                <c:pt idx="2126">
                  <c:v>2.8763399999999999</c:v>
                </c:pt>
                <c:pt idx="2127">
                  <c:v>2.1406000000000001</c:v>
                </c:pt>
                <c:pt idx="2128">
                  <c:v>1.8171299999999999</c:v>
                </c:pt>
                <c:pt idx="2129">
                  <c:v>#N/A</c:v>
                </c:pt>
                <c:pt idx="2130">
                  <c:v>1.7151000000000001</c:v>
                </c:pt>
                <c:pt idx="2131">
                  <c:v>2.0360100000000001</c:v>
                </c:pt>
                <c:pt idx="2132">
                  <c:v>2.6419700000000002</c:v>
                </c:pt>
                <c:pt idx="2133">
                  <c:v>#N/A</c:v>
                </c:pt>
                <c:pt idx="2134">
                  <c:v>2.5600700000000001</c:v>
                </c:pt>
                <c:pt idx="2135">
                  <c:v>2.4873099999999999</c:v>
                </c:pt>
                <c:pt idx="2136">
                  <c:v>2.32131</c:v>
                </c:pt>
                <c:pt idx="2137">
                  <c:v>#N/A</c:v>
                </c:pt>
                <c:pt idx="2138">
                  <c:v>2.2007699999999999</c:v>
                </c:pt>
                <c:pt idx="2139">
                  <c:v>1.5139400000000001</c:v>
                </c:pt>
                <c:pt idx="2140">
                  <c:v>#N/A</c:v>
                </c:pt>
                <c:pt idx="2141">
                  <c:v>1.85897</c:v>
                </c:pt>
                <c:pt idx="2142">
                  <c:v>2.2730600000000001</c:v>
                </c:pt>
                <c:pt idx="2143">
                  <c:v>3.19272</c:v>
                </c:pt>
                <c:pt idx="2144">
                  <c:v>#N/A</c:v>
                </c:pt>
                <c:pt idx="2145">
                  <c:v>3.3250000000000002</c:v>
                </c:pt>
                <c:pt idx="2146">
                  <c:v>2.6783999999999999</c:v>
                </c:pt>
                <c:pt idx="2147">
                  <c:v>2.9788600000000001</c:v>
                </c:pt>
                <c:pt idx="2148">
                  <c:v>#N/A</c:v>
                </c:pt>
                <c:pt idx="2149">
                  <c:v>2.2263899999999999</c:v>
                </c:pt>
                <c:pt idx="2150">
                  <c:v>2.2615699999999999</c:v>
                </c:pt>
                <c:pt idx="2151">
                  <c:v>2.17476</c:v>
                </c:pt>
                <c:pt idx="2152">
                  <c:v>#N/A</c:v>
                </c:pt>
                <c:pt idx="2153">
                  <c:v>2.1793</c:v>
                </c:pt>
                <c:pt idx="2154">
                  <c:v>2.2614399999999999</c:v>
                </c:pt>
                <c:pt idx="2155">
                  <c:v>3.3086899999999999</c:v>
                </c:pt>
                <c:pt idx="2156">
                  <c:v>#N/A</c:v>
                </c:pt>
                <c:pt idx="2157">
                  <c:v>2.24742</c:v>
                </c:pt>
                <c:pt idx="2158">
                  <c:v>2.4233699999999998</c:v>
                </c:pt>
                <c:pt idx="2159">
                  <c:v>2.0679799999999999</c:v>
                </c:pt>
                <c:pt idx="2160">
                  <c:v>#N/A</c:v>
                </c:pt>
                <c:pt idx="2161">
                  <c:v>1.82819</c:v>
                </c:pt>
                <c:pt idx="2162">
                  <c:v>1.7709699999999999</c:v>
                </c:pt>
                <c:pt idx="2163">
                  <c:v>2.0605099999999998</c:v>
                </c:pt>
                <c:pt idx="2164">
                  <c:v>#N/A</c:v>
                </c:pt>
                <c:pt idx="2165">
                  <c:v>2.70479</c:v>
                </c:pt>
                <c:pt idx="2166">
                  <c:v>2.2818200000000002</c:v>
                </c:pt>
                <c:pt idx="2167">
                  <c:v>3.4801199999999999</c:v>
                </c:pt>
                <c:pt idx="2168">
                  <c:v>#N/A</c:v>
                </c:pt>
                <c:pt idx="2169">
                  <c:v>2.28227</c:v>
                </c:pt>
                <c:pt idx="2170">
                  <c:v>2.31969</c:v>
                </c:pt>
                <c:pt idx="2171">
                  <c:v>#N/A</c:v>
                </c:pt>
                <c:pt idx="2172">
                  <c:v>1.61781</c:v>
                </c:pt>
                <c:pt idx="2173">
                  <c:v>2.2171500000000002</c:v>
                </c:pt>
                <c:pt idx="2174">
                  <c:v>2.1906099999999999</c:v>
                </c:pt>
                <c:pt idx="2175">
                  <c:v>#N/A</c:v>
                </c:pt>
                <c:pt idx="2176">
                  <c:v>2.6905600000000001</c:v>
                </c:pt>
                <c:pt idx="2177">
                  <c:v>#N/A</c:v>
                </c:pt>
                <c:pt idx="2178">
                  <c:v>2.5741999999999998</c:v>
                </c:pt>
                <c:pt idx="2179">
                  <c:v>2.8327100000000001</c:v>
                </c:pt>
                <c:pt idx="2180">
                  <c:v>#N/A</c:v>
                </c:pt>
                <c:pt idx="2181">
                  <c:v>2.6207699999999998</c:v>
                </c:pt>
                <c:pt idx="2182">
                  <c:v>2.0689600000000001</c:v>
                </c:pt>
                <c:pt idx="2183">
                  <c:v>1.56471</c:v>
                </c:pt>
                <c:pt idx="2184">
                  <c:v>#N/A</c:v>
                </c:pt>
                <c:pt idx="2185">
                  <c:v>2.37717</c:v>
                </c:pt>
                <c:pt idx="2186">
                  <c:v>2.4218700000000002</c:v>
                </c:pt>
                <c:pt idx="2187">
                  <c:v>2.4890400000000001</c:v>
                </c:pt>
                <c:pt idx="2188">
                  <c:v>#N/A</c:v>
                </c:pt>
                <c:pt idx="2189">
                  <c:v>1.9238599999999999</c:v>
                </c:pt>
                <c:pt idx="2190">
                  <c:v>2.1535299999999999</c:v>
                </c:pt>
                <c:pt idx="2191">
                  <c:v>2.3659599999999998</c:v>
                </c:pt>
                <c:pt idx="2192">
                  <c:v>#N/A</c:v>
                </c:pt>
                <c:pt idx="2193">
                  <c:v>2.04758</c:v>
                </c:pt>
                <c:pt idx="2194">
                  <c:v>2.1405500000000002</c:v>
                </c:pt>
                <c:pt idx="2195">
                  <c:v>2.3963399999999999</c:v>
                </c:pt>
                <c:pt idx="2196">
                  <c:v>#N/A</c:v>
                </c:pt>
                <c:pt idx="2197">
                  <c:v>2.49465</c:v>
                </c:pt>
                <c:pt idx="2198">
                  <c:v>2.4681099999999998</c:v>
                </c:pt>
                <c:pt idx="2199">
                  <c:v>2.10731</c:v>
                </c:pt>
                <c:pt idx="2200">
                  <c:v>#N/A</c:v>
                </c:pt>
                <c:pt idx="2201">
                  <c:v>1.5511299999999999</c:v>
                </c:pt>
                <c:pt idx="2202">
                  <c:v>1.74553</c:v>
                </c:pt>
                <c:pt idx="2203">
                  <c:v>#N/A</c:v>
                </c:pt>
                <c:pt idx="2204">
                  <c:v>2.3019400000000001</c:v>
                </c:pt>
                <c:pt idx="2205">
                  <c:v>2.6412399999999998</c:v>
                </c:pt>
                <c:pt idx="2206">
                  <c:v>2.9062000000000001</c:v>
                </c:pt>
                <c:pt idx="2207">
                  <c:v>#N/A</c:v>
                </c:pt>
                <c:pt idx="2208">
                  <c:v>3.0747599999999999</c:v>
                </c:pt>
                <c:pt idx="2209">
                  <c:v>2.1562999999999999</c:v>
                </c:pt>
                <c:pt idx="2210">
                  <c:v>2.5021300000000002</c:v>
                </c:pt>
                <c:pt idx="2211">
                  <c:v>#N/A</c:v>
                </c:pt>
                <c:pt idx="2212">
                  <c:v>1.5290299999999999</c:v>
                </c:pt>
                <c:pt idx="2213">
                  <c:v>1.46035</c:v>
                </c:pt>
                <c:pt idx="2214">
                  <c:v>#N/A</c:v>
                </c:pt>
                <c:pt idx="2215">
                  <c:v>1.8873500000000001</c:v>
                </c:pt>
                <c:pt idx="2216">
                  <c:v>2.51417</c:v>
                </c:pt>
                <c:pt idx="2217">
                  <c:v>3.0024799999999998</c:v>
                </c:pt>
                <c:pt idx="2218">
                  <c:v>#N/A</c:v>
                </c:pt>
                <c:pt idx="2219">
                  <c:v>2.4525600000000001</c:v>
                </c:pt>
                <c:pt idx="2220">
                  <c:v>2.2280199999999999</c:v>
                </c:pt>
                <c:pt idx="2221">
                  <c:v>1.9010800000000001</c:v>
                </c:pt>
                <c:pt idx="2222">
                  <c:v>#N/A</c:v>
                </c:pt>
                <c:pt idx="2223">
                  <c:v>1.80227</c:v>
                </c:pt>
                <c:pt idx="2224">
                  <c:v>1.92211</c:v>
                </c:pt>
                <c:pt idx="2225">
                  <c:v>2.3628800000000001</c:v>
                </c:pt>
                <c:pt idx="2226">
                  <c:v>#N/A</c:v>
                </c:pt>
                <c:pt idx="2227">
                  <c:v>2.84856</c:v>
                </c:pt>
                <c:pt idx="2228">
                  <c:v>2.89506</c:v>
                </c:pt>
                <c:pt idx="2229">
                  <c:v>3.4790100000000002</c:v>
                </c:pt>
                <c:pt idx="2230">
                  <c:v>#N/A</c:v>
                </c:pt>
                <c:pt idx="2231">
                  <c:v>2.8260299999999998</c:v>
                </c:pt>
                <c:pt idx="2232">
                  <c:v>2.4371299999999998</c:v>
                </c:pt>
                <c:pt idx="2233">
                  <c:v>2.2871600000000001</c:v>
                </c:pt>
                <c:pt idx="2234">
                  <c:v>#N/A</c:v>
                </c:pt>
                <c:pt idx="2235">
                  <c:v>2.1713499999999999</c:v>
                </c:pt>
                <c:pt idx="2236">
                  <c:v>1.9597199999999999</c:v>
                </c:pt>
                <c:pt idx="2237">
                  <c:v>2.2934299999999999</c:v>
                </c:pt>
                <c:pt idx="2238">
                  <c:v>#N/A</c:v>
                </c:pt>
                <c:pt idx="2239">
                  <c:v>3.0929700000000002</c:v>
                </c:pt>
                <c:pt idx="2240">
                  <c:v>2.3595199999999998</c:v>
                </c:pt>
                <c:pt idx="2241">
                  <c:v>2.4425400000000002</c:v>
                </c:pt>
                <c:pt idx="2242">
                  <c:v>#N/A</c:v>
                </c:pt>
                <c:pt idx="2243">
                  <c:v>1.7118500000000001</c:v>
                </c:pt>
                <c:pt idx="2244">
                  <c:v>1.75118</c:v>
                </c:pt>
                <c:pt idx="2245">
                  <c:v>2.3502100000000001</c:v>
                </c:pt>
                <c:pt idx="2246">
                  <c:v>#N/A</c:v>
                </c:pt>
                <c:pt idx="2247">
                  <c:v>1.9339299999999999</c:v>
                </c:pt>
                <c:pt idx="2248">
                  <c:v>2.5268199999999998</c:v>
                </c:pt>
                <c:pt idx="2249">
                  <c:v>#N/A</c:v>
                </c:pt>
                <c:pt idx="2250">
                  <c:v>2.9763500000000001</c:v>
                </c:pt>
                <c:pt idx="2251">
                  <c:v>#N/A</c:v>
                </c:pt>
                <c:pt idx="2252">
                  <c:v>3.35012</c:v>
                </c:pt>
                <c:pt idx="2253">
                  <c:v>2.60521</c:v>
                </c:pt>
                <c:pt idx="2254">
                  <c:v>2.12323</c:v>
                </c:pt>
                <c:pt idx="2255">
                  <c:v>#N/A</c:v>
                </c:pt>
                <c:pt idx="2256">
                  <c:v>1.8582099999999999</c:v>
                </c:pt>
                <c:pt idx="2257">
                  <c:v>1.81945</c:v>
                </c:pt>
                <c:pt idx="2258">
                  <c:v>2.0699999999999998</c:v>
                </c:pt>
                <c:pt idx="2259">
                  <c:v>#N/A</c:v>
                </c:pt>
                <c:pt idx="2260">
                  <c:v>2.53905</c:v>
                </c:pt>
                <c:pt idx="2261">
                  <c:v>2.5125899999999999</c:v>
                </c:pt>
                <c:pt idx="2262">
                  <c:v>#N/A</c:v>
                </c:pt>
                <c:pt idx="2263">
                  <c:v>2.7757999999999998</c:v>
                </c:pt>
                <c:pt idx="2264">
                  <c:v>2.2392799999999999</c:v>
                </c:pt>
                <c:pt idx="2265">
                  <c:v>2.5275599999999998</c:v>
                </c:pt>
                <c:pt idx="2266">
                  <c:v>#N/A</c:v>
                </c:pt>
                <c:pt idx="2267">
                  <c:v>2.4045100000000001</c:v>
                </c:pt>
                <c:pt idx="2268">
                  <c:v>2.0599400000000001</c:v>
                </c:pt>
                <c:pt idx="2269">
                  <c:v>2.74383</c:v>
                </c:pt>
                <c:pt idx="2270">
                  <c:v>#N/A</c:v>
                </c:pt>
                <c:pt idx="2271">
                  <c:v>2.7841200000000002</c:v>
                </c:pt>
                <c:pt idx="2272">
                  <c:v>2.7452800000000002</c:v>
                </c:pt>
                <c:pt idx="2273">
                  <c:v>2.6500900000000001</c:v>
                </c:pt>
                <c:pt idx="2274">
                  <c:v>#N/A</c:v>
                </c:pt>
                <c:pt idx="2275">
                  <c:v>2.5416300000000001</c:v>
                </c:pt>
                <c:pt idx="2276">
                  <c:v>2.1591499999999999</c:v>
                </c:pt>
                <c:pt idx="2277">
                  <c:v>#N/A</c:v>
                </c:pt>
                <c:pt idx="2278">
                  <c:v>2.95309</c:v>
                </c:pt>
                <c:pt idx="2279">
                  <c:v>2.5123799999999998</c:v>
                </c:pt>
                <c:pt idx="2280">
                  <c:v>2.7336200000000002</c:v>
                </c:pt>
                <c:pt idx="2281">
                  <c:v>#N/A</c:v>
                </c:pt>
                <c:pt idx="2282">
                  <c:v>2.5474199999999998</c:v>
                </c:pt>
                <c:pt idx="2283">
                  <c:v>2.7616800000000001</c:v>
                </c:pt>
                <c:pt idx="2284">
                  <c:v>2.7815300000000001</c:v>
                </c:pt>
                <c:pt idx="2285">
                  <c:v>#N/A</c:v>
                </c:pt>
                <c:pt idx="2286">
                  <c:v>1.89937</c:v>
                </c:pt>
                <c:pt idx="2287">
                  <c:v>2.0880000000000001</c:v>
                </c:pt>
                <c:pt idx="2288">
                  <c:v>2.7161300000000002</c:v>
                </c:pt>
                <c:pt idx="2289">
                  <c:v>#N/A</c:v>
                </c:pt>
                <c:pt idx="2290">
                  <c:v>3.3115399999999999</c:v>
                </c:pt>
                <c:pt idx="2291">
                  <c:v>3.5216799999999999</c:v>
                </c:pt>
                <c:pt idx="2292">
                  <c:v>3.0277799999999999</c:v>
                </c:pt>
                <c:pt idx="2293">
                  <c:v>#N/A</c:v>
                </c:pt>
                <c:pt idx="2294">
                  <c:v>3.0201799999999999</c:v>
                </c:pt>
                <c:pt idx="2295">
                  <c:v>2.2035999999999998</c:v>
                </c:pt>
                <c:pt idx="2296">
                  <c:v>2.23115</c:v>
                </c:pt>
                <c:pt idx="2297">
                  <c:v>#N/A</c:v>
                </c:pt>
                <c:pt idx="2298">
                  <c:v>2.25664</c:v>
                </c:pt>
                <c:pt idx="2299">
                  <c:v>2.67536</c:v>
                </c:pt>
                <c:pt idx="2300">
                  <c:v>#N/A</c:v>
                </c:pt>
                <c:pt idx="2301">
                  <c:v>2.7686799999999998</c:v>
                </c:pt>
                <c:pt idx="2302">
                  <c:v>3.1818900000000001</c:v>
                </c:pt>
                <c:pt idx="2303">
                  <c:v>3.2149700000000001</c:v>
                </c:pt>
                <c:pt idx="2304">
                  <c:v>#N/A</c:v>
                </c:pt>
                <c:pt idx="2305">
                  <c:v>2.7797200000000002</c:v>
                </c:pt>
                <c:pt idx="2306">
                  <c:v>2.4363600000000001</c:v>
                </c:pt>
                <c:pt idx="2307">
                  <c:v>2.3724699999999999</c:v>
                </c:pt>
                <c:pt idx="2308">
                  <c:v>#N/A</c:v>
                </c:pt>
                <c:pt idx="2309">
                  <c:v>2.8706800000000001</c:v>
                </c:pt>
                <c:pt idx="2310">
                  <c:v>2.6229300000000002</c:v>
                </c:pt>
                <c:pt idx="2311">
                  <c:v>3.1783100000000002</c:v>
                </c:pt>
                <c:pt idx="2312">
                  <c:v>#N/A</c:v>
                </c:pt>
                <c:pt idx="2313">
                  <c:v>3.6493199999999999</c:v>
                </c:pt>
                <c:pt idx="2314">
                  <c:v>3.70655</c:v>
                </c:pt>
                <c:pt idx="2315">
                  <c:v>3.4601299999999999</c:v>
                </c:pt>
                <c:pt idx="2316">
                  <c:v>#N/A</c:v>
                </c:pt>
                <c:pt idx="2317">
                  <c:v>2.63205</c:v>
                </c:pt>
                <c:pt idx="2318">
                  <c:v>2.4352</c:v>
                </c:pt>
                <c:pt idx="2319">
                  <c:v>2.1031</c:v>
                </c:pt>
                <c:pt idx="2320">
                  <c:v>#N/A</c:v>
                </c:pt>
                <c:pt idx="2321">
                  <c:v>2.8266200000000001</c:v>
                </c:pt>
                <c:pt idx="2322">
                  <c:v>3.39046</c:v>
                </c:pt>
                <c:pt idx="2323">
                  <c:v>3.2533400000000001</c:v>
                </c:pt>
                <c:pt idx="2324">
                  <c:v>#N/A</c:v>
                </c:pt>
                <c:pt idx="2325">
                  <c:v>3.0152299999999999</c:v>
                </c:pt>
                <c:pt idx="2326">
                  <c:v>#N/A</c:v>
                </c:pt>
                <c:pt idx="2327">
                  <c:v>2.8710499999999999</c:v>
                </c:pt>
                <c:pt idx="2328">
                  <c:v>#N/A</c:v>
                </c:pt>
                <c:pt idx="2329">
                  <c:v>2.4681899999999999</c:v>
                </c:pt>
                <c:pt idx="2330">
                  <c:v>2.7247699999999999</c:v>
                </c:pt>
                <c:pt idx="2331">
                  <c:v>3.1284299999999998</c:v>
                </c:pt>
                <c:pt idx="2332">
                  <c:v>#N/A</c:v>
                </c:pt>
                <c:pt idx="2333">
                  <c:v>3.72099</c:v>
                </c:pt>
                <c:pt idx="2334">
                  <c:v>3.5134699999999999</c:v>
                </c:pt>
                <c:pt idx="2335">
                  <c:v>2.98827</c:v>
                </c:pt>
                <c:pt idx="2336">
                  <c:v>#N/A</c:v>
                </c:pt>
                <c:pt idx="2337">
                  <c:v>3.04358</c:v>
                </c:pt>
                <c:pt idx="2338">
                  <c:v>2.6947399999999999</c:v>
                </c:pt>
                <c:pt idx="2339">
                  <c:v>2.4121700000000001</c:v>
                </c:pt>
                <c:pt idx="2340">
                  <c:v>#N/A</c:v>
                </c:pt>
                <c:pt idx="2341">
                  <c:v>2.90062</c:v>
                </c:pt>
                <c:pt idx="2342">
                  <c:v>2.76139</c:v>
                </c:pt>
                <c:pt idx="2343">
                  <c:v>#N/A</c:v>
                </c:pt>
                <c:pt idx="2344">
                  <c:v>3.21848</c:v>
                </c:pt>
                <c:pt idx="2345">
                  <c:v>3.2852299999999999</c:v>
                </c:pt>
                <c:pt idx="2346">
                  <c:v>2.3673500000000001</c:v>
                </c:pt>
                <c:pt idx="2347">
                  <c:v>#N/A</c:v>
                </c:pt>
                <c:pt idx="2348">
                  <c:v>2.1059700000000001</c:v>
                </c:pt>
                <c:pt idx="2349">
                  <c:v>2.1092900000000001</c:v>
                </c:pt>
                <c:pt idx="2350">
                  <c:v>#N/A</c:v>
                </c:pt>
                <c:pt idx="2351">
                  <c:v>2.4720300000000002</c:v>
                </c:pt>
                <c:pt idx="2352">
                  <c:v>3.2076799999999999</c:v>
                </c:pt>
                <c:pt idx="2353">
                  <c:v>3.3795099999999998</c:v>
                </c:pt>
                <c:pt idx="2354">
                  <c:v>#N/A</c:v>
                </c:pt>
                <c:pt idx="2355">
                  <c:v>3.8205900000000002</c:v>
                </c:pt>
                <c:pt idx="2356">
                  <c:v>3.0477099999999999</c:v>
                </c:pt>
                <c:pt idx="2357">
                  <c:v>2.8520699999999999</c:v>
                </c:pt>
                <c:pt idx="2358">
                  <c:v>#N/A</c:v>
                </c:pt>
                <c:pt idx="2359">
                  <c:v>2.4196200000000001</c:v>
                </c:pt>
                <c:pt idx="2360">
                  <c:v>2.5109599999999999</c:v>
                </c:pt>
                <c:pt idx="2361">
                  <c:v>2.42788</c:v>
                </c:pt>
                <c:pt idx="2362">
                  <c:v>#N/A</c:v>
                </c:pt>
                <c:pt idx="2363">
                  <c:v>3.0780500000000002</c:v>
                </c:pt>
                <c:pt idx="2364">
                  <c:v>3.1846999999999999</c:v>
                </c:pt>
                <c:pt idx="2365">
                  <c:v>2.76892</c:v>
                </c:pt>
                <c:pt idx="2366">
                  <c:v>#N/A</c:v>
                </c:pt>
                <c:pt idx="2367">
                  <c:v>3.0985100000000001</c:v>
                </c:pt>
                <c:pt idx="2368">
                  <c:v>2.38462</c:v>
                </c:pt>
                <c:pt idx="2369">
                  <c:v>#N/A</c:v>
                </c:pt>
                <c:pt idx="2370">
                  <c:v>2.49125</c:v>
                </c:pt>
                <c:pt idx="2371">
                  <c:v>2.5759099999999999</c:v>
                </c:pt>
                <c:pt idx="2372">
                  <c:v>2.8016899999999998</c:v>
                </c:pt>
                <c:pt idx="2373">
                  <c:v>#N/A</c:v>
                </c:pt>
                <c:pt idx="2374">
                  <c:v>3.1328299999999998</c:v>
                </c:pt>
                <c:pt idx="2375">
                  <c:v>3.2687400000000002</c:v>
                </c:pt>
                <c:pt idx="2376">
                  <c:v>3.2475299999999998</c:v>
                </c:pt>
                <c:pt idx="2377">
                  <c:v>#N/A</c:v>
                </c:pt>
                <c:pt idx="2378">
                  <c:v>2.96238</c:v>
                </c:pt>
                <c:pt idx="2379">
                  <c:v>2.6487699999999998</c:v>
                </c:pt>
                <c:pt idx="2380">
                  <c:v>2.1979099999999998</c:v>
                </c:pt>
                <c:pt idx="2381">
                  <c:v>#N/A</c:v>
                </c:pt>
                <c:pt idx="2382">
                  <c:v>2.3404500000000001</c:v>
                </c:pt>
                <c:pt idx="2383">
                  <c:v>2.2597100000000001</c:v>
                </c:pt>
                <c:pt idx="2384">
                  <c:v>3.05335</c:v>
                </c:pt>
                <c:pt idx="2385">
                  <c:v>#N/A</c:v>
                </c:pt>
                <c:pt idx="2386">
                  <c:v>2.92591</c:v>
                </c:pt>
                <c:pt idx="2387">
                  <c:v>2.77197</c:v>
                </c:pt>
                <c:pt idx="2388">
                  <c:v>2.8530500000000001</c:v>
                </c:pt>
                <c:pt idx="2389">
                  <c:v>#N/A</c:v>
                </c:pt>
                <c:pt idx="2390">
                  <c:v>1.9013899999999999</c:v>
                </c:pt>
                <c:pt idx="2391">
                  <c:v>1.9292800000000001</c:v>
                </c:pt>
                <c:pt idx="2392">
                  <c:v>2.2636400000000001</c:v>
                </c:pt>
                <c:pt idx="2393">
                  <c:v>#N/A</c:v>
                </c:pt>
                <c:pt idx="2394">
                  <c:v>3.0418400000000001</c:v>
                </c:pt>
                <c:pt idx="2395">
                  <c:v>3.2521</c:v>
                </c:pt>
                <c:pt idx="2396">
                  <c:v>#N/A</c:v>
                </c:pt>
                <c:pt idx="2397">
                  <c:v>3.84131</c:v>
                </c:pt>
                <c:pt idx="2398">
                  <c:v>3.7987299999999999</c:v>
                </c:pt>
                <c:pt idx="2399">
                  <c:v>2.9779300000000002</c:v>
                </c:pt>
                <c:pt idx="2400">
                  <c:v>#N/A</c:v>
                </c:pt>
                <c:pt idx="2401">
                  <c:v>2.9292099999999999</c:v>
                </c:pt>
                <c:pt idx="2402">
                  <c:v>#N/A</c:v>
                </c:pt>
                <c:pt idx="2403">
                  <c:v>2.8373900000000001</c:v>
                </c:pt>
                <c:pt idx="2404">
                  <c:v>#N/A</c:v>
                </c:pt>
                <c:pt idx="2405">
                  <c:v>3.2507700000000002</c:v>
                </c:pt>
                <c:pt idx="2406">
                  <c:v>3.6132599999999999</c:v>
                </c:pt>
                <c:pt idx="2407">
                  <c:v>3.1607500000000002</c:v>
                </c:pt>
                <c:pt idx="2408">
                  <c:v>#N/A</c:v>
                </c:pt>
                <c:pt idx="2409">
                  <c:v>2.83535</c:v>
                </c:pt>
                <c:pt idx="2410">
                  <c:v>3.0503800000000001</c:v>
                </c:pt>
                <c:pt idx="2411">
                  <c:v>3.15089</c:v>
                </c:pt>
                <c:pt idx="2412">
                  <c:v>#N/A</c:v>
                </c:pt>
                <c:pt idx="2413">
                  <c:v>2.97858</c:v>
                </c:pt>
                <c:pt idx="2414">
                  <c:v>2.94706</c:v>
                </c:pt>
                <c:pt idx="2415">
                  <c:v>3.3475100000000002</c:v>
                </c:pt>
                <c:pt idx="2416">
                  <c:v>#N/A</c:v>
                </c:pt>
                <c:pt idx="2417">
                  <c:v>3.9496500000000001</c:v>
                </c:pt>
                <c:pt idx="2418">
                  <c:v>3.7858100000000001</c:v>
                </c:pt>
                <c:pt idx="2419">
                  <c:v>4.2463699999999998</c:v>
                </c:pt>
                <c:pt idx="2420">
                  <c:v>#N/A</c:v>
                </c:pt>
                <c:pt idx="2421">
                  <c:v>2.9393500000000001</c:v>
                </c:pt>
                <c:pt idx="2422">
                  <c:v>2.8914300000000002</c:v>
                </c:pt>
                <c:pt idx="2423">
                  <c:v>3.5463800000000001</c:v>
                </c:pt>
                <c:pt idx="2424">
                  <c:v>#N/A</c:v>
                </c:pt>
                <c:pt idx="2425">
                  <c:v>3.7760400000000001</c:v>
                </c:pt>
                <c:pt idx="2426">
                  <c:v>3.5935199999999998</c:v>
                </c:pt>
                <c:pt idx="2427">
                  <c:v>3.3199700000000001</c:v>
                </c:pt>
                <c:pt idx="2428">
                  <c:v>#N/A</c:v>
                </c:pt>
                <c:pt idx="2429">
                  <c:v>3.41046</c:v>
                </c:pt>
                <c:pt idx="2430">
                  <c:v>3.1491500000000001</c:v>
                </c:pt>
                <c:pt idx="2431">
                  <c:v>#N/A</c:v>
                </c:pt>
                <c:pt idx="2432">
                  <c:v>3.0006300000000001</c:v>
                </c:pt>
                <c:pt idx="2433">
                  <c:v>2.86795</c:v>
                </c:pt>
                <c:pt idx="2434">
                  <c:v>3.1062599999999998</c:v>
                </c:pt>
                <c:pt idx="2435">
                  <c:v>#N/A</c:v>
                </c:pt>
                <c:pt idx="2436">
                  <c:v>3.5620400000000001</c:v>
                </c:pt>
                <c:pt idx="2437">
                  <c:v>4.01295</c:v>
                </c:pt>
                <c:pt idx="2438">
                  <c:v>3.5326200000000001</c:v>
                </c:pt>
                <c:pt idx="2439">
                  <c:v>#N/A</c:v>
                </c:pt>
                <c:pt idx="2440">
                  <c:v>3.48306</c:v>
                </c:pt>
                <c:pt idx="2441">
                  <c:v>3.68059</c:v>
                </c:pt>
                <c:pt idx="2442">
                  <c:v>2.9771800000000002</c:v>
                </c:pt>
                <c:pt idx="2443">
                  <c:v>#N/A</c:v>
                </c:pt>
                <c:pt idx="2444">
                  <c:v>2.7441</c:v>
                </c:pt>
                <c:pt idx="2445">
                  <c:v>3.2795100000000001</c:v>
                </c:pt>
                <c:pt idx="2446">
                  <c:v>3.8961999999999999</c:v>
                </c:pt>
                <c:pt idx="2447">
                  <c:v>#N/A</c:v>
                </c:pt>
                <c:pt idx="2448">
                  <c:v>4.2751200000000003</c:v>
                </c:pt>
                <c:pt idx="2449">
                  <c:v>3.4225699999999999</c:v>
                </c:pt>
                <c:pt idx="2450">
                  <c:v>3.3625500000000001</c:v>
                </c:pt>
                <c:pt idx="2451">
                  <c:v>#N/A</c:v>
                </c:pt>
                <c:pt idx="2452">
                  <c:v>2.3026300000000002</c:v>
                </c:pt>
                <c:pt idx="2453">
                  <c:v>2.40754</c:v>
                </c:pt>
                <c:pt idx="2454">
                  <c:v>3.1507499999999999</c:v>
                </c:pt>
                <c:pt idx="2455">
                  <c:v>#N/A</c:v>
                </c:pt>
                <c:pt idx="2456">
                  <c:v>2.8532899999999999</c:v>
                </c:pt>
                <c:pt idx="2457">
                  <c:v>3.3889399999999998</c:v>
                </c:pt>
                <c:pt idx="2458">
                  <c:v>#N/A</c:v>
                </c:pt>
                <c:pt idx="2459">
                  <c:v>3.8021400000000001</c:v>
                </c:pt>
                <c:pt idx="2460">
                  <c:v>4.0058100000000003</c:v>
                </c:pt>
                <c:pt idx="2461">
                  <c:v>3.6408</c:v>
                </c:pt>
                <c:pt idx="2462">
                  <c:v>#N/A</c:v>
                </c:pt>
                <c:pt idx="2463">
                  <c:v>3.1255799999999998</c:v>
                </c:pt>
                <c:pt idx="2464">
                  <c:v>2.7951800000000002</c:v>
                </c:pt>
                <c:pt idx="2465">
                  <c:v>2.76084</c:v>
                </c:pt>
                <c:pt idx="2466">
                  <c:v>#N/A</c:v>
                </c:pt>
                <c:pt idx="2467">
                  <c:v>3.3799199999999998</c:v>
                </c:pt>
                <c:pt idx="2468">
                  <c:v>3.4285600000000001</c:v>
                </c:pt>
                <c:pt idx="2469">
                  <c:v>3.0014599999999998</c:v>
                </c:pt>
                <c:pt idx="2470">
                  <c:v>#N/A</c:v>
                </c:pt>
                <c:pt idx="2471">
                  <c:v>3.5228700000000002</c:v>
                </c:pt>
                <c:pt idx="2472">
                  <c:v>3.1356600000000001</c:v>
                </c:pt>
                <c:pt idx="2473">
                  <c:v>2.6608999999999998</c:v>
                </c:pt>
                <c:pt idx="2474">
                  <c:v>#N/A</c:v>
                </c:pt>
                <c:pt idx="2475">
                  <c:v>2.5775199999999998</c:v>
                </c:pt>
                <c:pt idx="2476">
                  <c:v>#N/A</c:v>
                </c:pt>
                <c:pt idx="2477">
                  <c:v>2.6457199999999998</c:v>
                </c:pt>
                <c:pt idx="2478">
                  <c:v>3.3970699999999998</c:v>
                </c:pt>
                <c:pt idx="2479">
                  <c:v>#N/A</c:v>
                </c:pt>
                <c:pt idx="2480">
                  <c:v>3.1692100000000001</c:v>
                </c:pt>
                <c:pt idx="2481">
                  <c:v>3.9233899999999999</c:v>
                </c:pt>
                <c:pt idx="2482">
                  <c:v>3.60412</c:v>
                </c:pt>
                <c:pt idx="2483">
                  <c:v>#N/A</c:v>
                </c:pt>
                <c:pt idx="2484">
                  <c:v>3.3550200000000001</c:v>
                </c:pt>
                <c:pt idx="2485">
                  <c:v>2.9238400000000002</c:v>
                </c:pt>
                <c:pt idx="2486">
                  <c:v>#N/A</c:v>
                </c:pt>
                <c:pt idx="2487">
                  <c:v>2.3435000000000001</c:v>
                </c:pt>
                <c:pt idx="2488">
                  <c:v>2.9902299999999999</c:v>
                </c:pt>
                <c:pt idx="2489">
                  <c:v>2.5713499999999998</c:v>
                </c:pt>
                <c:pt idx="2490">
                  <c:v>#N/A</c:v>
                </c:pt>
                <c:pt idx="2491">
                  <c:v>3.3233299999999999</c:v>
                </c:pt>
                <c:pt idx="2492">
                  <c:v>3.4200900000000001</c:v>
                </c:pt>
                <c:pt idx="2493">
                  <c:v>3.5548799999999998</c:v>
                </c:pt>
                <c:pt idx="2494">
                  <c:v>#N/A</c:v>
                </c:pt>
                <c:pt idx="2495">
                  <c:v>2.7130100000000001</c:v>
                </c:pt>
                <c:pt idx="2496">
                  <c:v>2.63856</c:v>
                </c:pt>
                <c:pt idx="2497">
                  <c:v>2.8978700000000002</c:v>
                </c:pt>
                <c:pt idx="2498">
                  <c:v>#N/A</c:v>
                </c:pt>
                <c:pt idx="2499">
                  <c:v>3.4603999999999999</c:v>
                </c:pt>
                <c:pt idx="2500">
                  <c:v>3.4784700000000002</c:v>
                </c:pt>
                <c:pt idx="2501">
                  <c:v>3.8058000000000001</c:v>
                </c:pt>
                <c:pt idx="2502">
                  <c:v>#N/A</c:v>
                </c:pt>
                <c:pt idx="2503">
                  <c:v>3.8415699999999999</c:v>
                </c:pt>
                <c:pt idx="2504">
                  <c:v>2.8273799999999998</c:v>
                </c:pt>
                <c:pt idx="2505">
                  <c:v>3.0464199999999999</c:v>
                </c:pt>
                <c:pt idx="2506">
                  <c:v>#N/A</c:v>
                </c:pt>
                <c:pt idx="2507">
                  <c:v>3.1426599999999998</c:v>
                </c:pt>
                <c:pt idx="2508">
                  <c:v>3.6254499999999998</c:v>
                </c:pt>
                <c:pt idx="2509">
                  <c:v>3.5845500000000001</c:v>
                </c:pt>
                <c:pt idx="2510">
                  <c:v>#N/A</c:v>
                </c:pt>
                <c:pt idx="2511">
                  <c:v>3.5294300000000001</c:v>
                </c:pt>
                <c:pt idx="2512">
                  <c:v>3.51932</c:v>
                </c:pt>
                <c:pt idx="2513">
                  <c:v>2.7002100000000002</c:v>
                </c:pt>
                <c:pt idx="2514">
                  <c:v>#N/A</c:v>
                </c:pt>
                <c:pt idx="2515">
                  <c:v>2.19523</c:v>
                </c:pt>
                <c:pt idx="2516">
                  <c:v>2.6365699999999999</c:v>
                </c:pt>
                <c:pt idx="2517">
                  <c:v>2.7480899999999999</c:v>
                </c:pt>
                <c:pt idx="2518">
                  <c:v>#N/A</c:v>
                </c:pt>
                <c:pt idx="2519">
                  <c:v>3.07403</c:v>
                </c:pt>
                <c:pt idx="2520">
                  <c:v>4.4176299999999999</c:v>
                </c:pt>
                <c:pt idx="2521">
                  <c:v>#N/A</c:v>
                </c:pt>
                <c:pt idx="2522">
                  <c:v>4.3067799999999998</c:v>
                </c:pt>
                <c:pt idx="2523">
                  <c:v>3.7090100000000001</c:v>
                </c:pt>
                <c:pt idx="2524">
                  <c:v>3.5890499999999999</c:v>
                </c:pt>
                <c:pt idx="2525">
                  <c:v>#N/A</c:v>
                </c:pt>
                <c:pt idx="2526">
                  <c:v>3.6429</c:v>
                </c:pt>
                <c:pt idx="2527">
                  <c:v>3.2009099999999999</c:v>
                </c:pt>
                <c:pt idx="2528">
                  <c:v>2.96001</c:v>
                </c:pt>
                <c:pt idx="2529">
                  <c:v>#N/A</c:v>
                </c:pt>
                <c:pt idx="2530">
                  <c:v>4.1935099999999998</c:v>
                </c:pt>
                <c:pt idx="2531">
                  <c:v>4.9647100000000002</c:v>
                </c:pt>
                <c:pt idx="2532">
                  <c:v>4.4903300000000002</c:v>
                </c:pt>
                <c:pt idx="2533">
                  <c:v>#N/A</c:v>
                </c:pt>
                <c:pt idx="2534">
                  <c:v>4.45939</c:v>
                </c:pt>
                <c:pt idx="2535">
                  <c:v>3.8698899999999998</c:v>
                </c:pt>
                <c:pt idx="2536">
                  <c:v>3.2048000000000001</c:v>
                </c:pt>
                <c:pt idx="2537">
                  <c:v>#N/A</c:v>
                </c:pt>
                <c:pt idx="2538">
                  <c:v>2.6994099999999999</c:v>
                </c:pt>
                <c:pt idx="2539">
                  <c:v>3.3468300000000002</c:v>
                </c:pt>
                <c:pt idx="2540">
                  <c:v>3.8357999999999999</c:v>
                </c:pt>
                <c:pt idx="2541">
                  <c:v>#N/A</c:v>
                </c:pt>
                <c:pt idx="2542">
                  <c:v>4.2497400000000001</c:v>
                </c:pt>
                <c:pt idx="2543">
                  <c:v>4.4042700000000004</c:v>
                </c:pt>
                <c:pt idx="2544">
                  <c:v>#N/A</c:v>
                </c:pt>
                <c:pt idx="2545">
                  <c:v>4.4119999999999999</c:v>
                </c:pt>
                <c:pt idx="2546">
                  <c:v>3.3887200000000002</c:v>
                </c:pt>
                <c:pt idx="2547">
                  <c:v>3.4165000000000001</c:v>
                </c:pt>
                <c:pt idx="2548">
                  <c:v>#N/A</c:v>
                </c:pt>
                <c:pt idx="2549">
                  <c:v>3.3932199999999999</c:v>
                </c:pt>
                <c:pt idx="2550">
                  <c:v>3.08033</c:v>
                </c:pt>
                <c:pt idx="2551">
                  <c:v>3.6741000000000001</c:v>
                </c:pt>
                <c:pt idx="2552">
                  <c:v>#N/A</c:v>
                </c:pt>
                <c:pt idx="2553">
                  <c:v>4.1435300000000002</c:v>
                </c:pt>
                <c:pt idx="2554">
                  <c:v>4.1131900000000003</c:v>
                </c:pt>
                <c:pt idx="2555">
                  <c:v>3.9931800000000002</c:v>
                </c:pt>
                <c:pt idx="2556">
                  <c:v>#N/A</c:v>
                </c:pt>
                <c:pt idx="2557">
                  <c:v>3.1247199999999999</c:v>
                </c:pt>
                <c:pt idx="2558">
                  <c:v>3.1411600000000002</c:v>
                </c:pt>
                <c:pt idx="2559">
                  <c:v>3.2405400000000002</c:v>
                </c:pt>
                <c:pt idx="2560">
                  <c:v>#N/A</c:v>
                </c:pt>
                <c:pt idx="2561">
                  <c:v>3.9053599999999999</c:v>
                </c:pt>
                <c:pt idx="2562">
                  <c:v>3.9824600000000001</c:v>
                </c:pt>
                <c:pt idx="2563">
                  <c:v>#N/A</c:v>
                </c:pt>
                <c:pt idx="2564">
                  <c:v>4.3574000000000002</c:v>
                </c:pt>
                <c:pt idx="2565">
                  <c:v>3.6663800000000002</c:v>
                </c:pt>
                <c:pt idx="2566">
                  <c:v>4.1292</c:v>
                </c:pt>
                <c:pt idx="2567">
                  <c:v>#N/A</c:v>
                </c:pt>
                <c:pt idx="2568">
                  <c:v>3.1023000000000001</c:v>
                </c:pt>
                <c:pt idx="2569">
                  <c:v>3.4074900000000001</c:v>
                </c:pt>
                <c:pt idx="2570">
                  <c:v>3.1116100000000002</c:v>
                </c:pt>
                <c:pt idx="2571">
                  <c:v>#N/A</c:v>
                </c:pt>
                <c:pt idx="2572">
                  <c:v>2.9195000000000002</c:v>
                </c:pt>
                <c:pt idx="2573">
                  <c:v>3.88653</c:v>
                </c:pt>
                <c:pt idx="2574">
                  <c:v>3.3989199999999999</c:v>
                </c:pt>
                <c:pt idx="2575">
                  <c:v>#N/A</c:v>
                </c:pt>
                <c:pt idx="2576">
                  <c:v>3.2549899999999998</c:v>
                </c:pt>
                <c:pt idx="2577">
                  <c:v>2.66086</c:v>
                </c:pt>
                <c:pt idx="2578">
                  <c:v>3.1525500000000002</c:v>
                </c:pt>
                <c:pt idx="2579">
                  <c:v>#N/A</c:v>
                </c:pt>
                <c:pt idx="2580">
                  <c:v>3.3445200000000002</c:v>
                </c:pt>
                <c:pt idx="2581">
                  <c:v>3.5715400000000002</c:v>
                </c:pt>
                <c:pt idx="2582">
                  <c:v>3.5840700000000001</c:v>
                </c:pt>
                <c:pt idx="2583">
                  <c:v>#N/A</c:v>
                </c:pt>
                <c:pt idx="2584">
                  <c:v>3.8149000000000002</c:v>
                </c:pt>
                <c:pt idx="2585">
                  <c:v>3.79853</c:v>
                </c:pt>
                <c:pt idx="2586">
                  <c:v>3.4094000000000002</c:v>
                </c:pt>
                <c:pt idx="2587">
                  <c:v>#N/A</c:v>
                </c:pt>
                <c:pt idx="2588">
                  <c:v>3.5101200000000001</c:v>
                </c:pt>
                <c:pt idx="2589">
                  <c:v>2.9925299999999999</c:v>
                </c:pt>
                <c:pt idx="2590">
                  <c:v>#N/A</c:v>
                </c:pt>
                <c:pt idx="2591">
                  <c:v>2.9765100000000002</c:v>
                </c:pt>
                <c:pt idx="2592">
                  <c:v>3.5186000000000002</c:v>
                </c:pt>
                <c:pt idx="2593">
                  <c:v>3.8651599999999999</c:v>
                </c:pt>
                <c:pt idx="2594">
                  <c:v>#N/A</c:v>
                </c:pt>
                <c:pt idx="2595">
                  <c:v>4.1387</c:v>
                </c:pt>
                <c:pt idx="2596">
                  <c:v>3.5058400000000001</c:v>
                </c:pt>
                <c:pt idx="2597">
                  <c:v>#N/A</c:v>
                </c:pt>
                <c:pt idx="2598">
                  <c:v>3.1947199999999998</c:v>
                </c:pt>
                <c:pt idx="2599">
                  <c:v>2.39541</c:v>
                </c:pt>
                <c:pt idx="2600">
                  <c:v>2.6749900000000002</c:v>
                </c:pt>
                <c:pt idx="2601">
                  <c:v>#N/A</c:v>
                </c:pt>
                <c:pt idx="2602">
                  <c:v>2.60521</c:v>
                </c:pt>
                <c:pt idx="2603">
                  <c:v>3.7635999999999998</c:v>
                </c:pt>
                <c:pt idx="2604">
                  <c:v>4.8117400000000004</c:v>
                </c:pt>
                <c:pt idx="2605">
                  <c:v>#N/A</c:v>
                </c:pt>
                <c:pt idx="2606">
                  <c:v>4.7233400000000003</c:v>
                </c:pt>
                <c:pt idx="2607">
                  <c:v>4.3728999999999996</c:v>
                </c:pt>
                <c:pt idx="2608">
                  <c:v>3.4517699999999998</c:v>
                </c:pt>
                <c:pt idx="2609">
                  <c:v>#N/A</c:v>
                </c:pt>
                <c:pt idx="2610">
                  <c:v>3.2145899999999998</c:v>
                </c:pt>
                <c:pt idx="2611">
                  <c:v>3.1950699999999999</c:v>
                </c:pt>
                <c:pt idx="2612">
                  <c:v>3.4276499999999999</c:v>
                </c:pt>
                <c:pt idx="2613">
                  <c:v>#N/A</c:v>
                </c:pt>
                <c:pt idx="2614">
                  <c:v>3.5781100000000001</c:v>
                </c:pt>
                <c:pt idx="2615">
                  <c:v>4.2423700000000002</c:v>
                </c:pt>
                <c:pt idx="2616">
                  <c:v>4.3395799999999998</c:v>
                </c:pt>
                <c:pt idx="2617">
                  <c:v>#N/A</c:v>
                </c:pt>
                <c:pt idx="2618">
                  <c:v>3.99451</c:v>
                </c:pt>
                <c:pt idx="2619">
                  <c:v>3.1400899999999998</c:v>
                </c:pt>
                <c:pt idx="2620">
                  <c:v>2.9695100000000001</c:v>
                </c:pt>
                <c:pt idx="2621">
                  <c:v>#N/A</c:v>
                </c:pt>
                <c:pt idx="2622">
                  <c:v>2.8502800000000001</c:v>
                </c:pt>
                <c:pt idx="2623">
                  <c:v>2.5515599999999998</c:v>
                </c:pt>
                <c:pt idx="2624">
                  <c:v>3.7682000000000002</c:v>
                </c:pt>
                <c:pt idx="2625">
                  <c:v>#N/A</c:v>
                </c:pt>
                <c:pt idx="2626">
                  <c:v>4.0186400000000004</c:v>
                </c:pt>
                <c:pt idx="2627">
                  <c:v>#N/A</c:v>
                </c:pt>
                <c:pt idx="2628">
                  <c:v>3.9824600000000001</c:v>
                </c:pt>
                <c:pt idx="2629">
                  <c:v>3.8600099999999999</c:v>
                </c:pt>
                <c:pt idx="2630">
                  <c:v>4.0541400000000003</c:v>
                </c:pt>
                <c:pt idx="2631">
                  <c:v>#N/A</c:v>
                </c:pt>
                <c:pt idx="2632">
                  <c:v>3.58263</c:v>
                </c:pt>
                <c:pt idx="2633">
                  <c:v>3.5511300000000001</c:v>
                </c:pt>
                <c:pt idx="2634">
                  <c:v>3.7172800000000001</c:v>
                </c:pt>
                <c:pt idx="2635">
                  <c:v>#N/A</c:v>
                </c:pt>
                <c:pt idx="2636">
                  <c:v>3.9062100000000002</c:v>
                </c:pt>
                <c:pt idx="2637">
                  <c:v>4.3154199999999996</c:v>
                </c:pt>
                <c:pt idx="2638">
                  <c:v>3.8181500000000002</c:v>
                </c:pt>
                <c:pt idx="2639">
                  <c:v>#N/A</c:v>
                </c:pt>
                <c:pt idx="2640">
                  <c:v>3.7732999999999999</c:v>
                </c:pt>
                <c:pt idx="2641">
                  <c:v>3.4233699999999998</c:v>
                </c:pt>
                <c:pt idx="2642">
                  <c:v>#N/A</c:v>
                </c:pt>
                <c:pt idx="2643">
                  <c:v>3.59579</c:v>
                </c:pt>
                <c:pt idx="2644">
                  <c:v>3.8011599999999999</c:v>
                </c:pt>
                <c:pt idx="2645">
                  <c:v>3.8492299999999999</c:v>
                </c:pt>
                <c:pt idx="2646">
                  <c:v>#N/A</c:v>
                </c:pt>
                <c:pt idx="2647">
                  <c:v>4.2909300000000004</c:v>
                </c:pt>
                <c:pt idx="2648">
                  <c:v>4.51844</c:v>
                </c:pt>
                <c:pt idx="2649">
                  <c:v>3.8022300000000002</c:v>
                </c:pt>
                <c:pt idx="2650">
                  <c:v>#N/A</c:v>
                </c:pt>
                <c:pt idx="2651">
                  <c:v>3.4495499999999999</c:v>
                </c:pt>
                <c:pt idx="2652">
                  <c:v>3.2492899999999998</c:v>
                </c:pt>
                <c:pt idx="2653">
                  <c:v>3.4842900000000001</c:v>
                </c:pt>
                <c:pt idx="2654">
                  <c:v>#N/A</c:v>
                </c:pt>
                <c:pt idx="2655">
                  <c:v>3.5628000000000002</c:v>
                </c:pt>
                <c:pt idx="2656">
                  <c:v>3.7641300000000002</c:v>
                </c:pt>
                <c:pt idx="2657">
                  <c:v>4.0453299999999999</c:v>
                </c:pt>
                <c:pt idx="2658">
                  <c:v>#N/A</c:v>
                </c:pt>
                <c:pt idx="2659">
                  <c:v>3.6935899999999999</c:v>
                </c:pt>
                <c:pt idx="2660">
                  <c:v>3.1735799999999998</c:v>
                </c:pt>
                <c:pt idx="2661">
                  <c:v>2.6810999999999998</c:v>
                </c:pt>
                <c:pt idx="2662">
                  <c:v>#N/A</c:v>
                </c:pt>
                <c:pt idx="2663">
                  <c:v>2.6745999999999999</c:v>
                </c:pt>
                <c:pt idx="2664">
                  <c:v>3.1051899999999999</c:v>
                </c:pt>
                <c:pt idx="2665">
                  <c:v>3.7437800000000001</c:v>
                </c:pt>
                <c:pt idx="2666">
                  <c:v>#N/A</c:v>
                </c:pt>
                <c:pt idx="2667">
                  <c:v>4.7945599999999997</c:v>
                </c:pt>
                <c:pt idx="2668">
                  <c:v>4.4092099999999999</c:v>
                </c:pt>
                <c:pt idx="2669">
                  <c:v>3.8258899999999998</c:v>
                </c:pt>
                <c:pt idx="2670">
                  <c:v>#N/A</c:v>
                </c:pt>
                <c:pt idx="2671">
                  <c:v>3.61694</c:v>
                </c:pt>
                <c:pt idx="2672">
                  <c:v>2.8947099999999999</c:v>
                </c:pt>
                <c:pt idx="2673">
                  <c:v>#N/A</c:v>
                </c:pt>
                <c:pt idx="2674">
                  <c:v>2.4201800000000002</c:v>
                </c:pt>
                <c:pt idx="2675">
                  <c:v>2.86958</c:v>
                </c:pt>
                <c:pt idx="2676">
                  <c:v>3.34646</c:v>
                </c:pt>
                <c:pt idx="2677">
                  <c:v>#N/A</c:v>
                </c:pt>
                <c:pt idx="2678">
                  <c:v>3.9293900000000002</c:v>
                </c:pt>
                <c:pt idx="2679">
                  <c:v>3.66005</c:v>
                </c:pt>
                <c:pt idx="2680">
                  <c:v>2.7019700000000002</c:v>
                </c:pt>
                <c:pt idx="2681">
                  <c:v>#N/A</c:v>
                </c:pt>
                <c:pt idx="2682">
                  <c:v>1.7234799999999999</c:v>
                </c:pt>
                <c:pt idx="2683">
                  <c:v>1.89594</c:v>
                </c:pt>
                <c:pt idx="2684">
                  <c:v>1.7012</c:v>
                </c:pt>
                <c:pt idx="2685">
                  <c:v>#N/A</c:v>
                </c:pt>
                <c:pt idx="2686">
                  <c:v>1.75837</c:v>
                </c:pt>
                <c:pt idx="2687">
                  <c:v>3.5043000000000002</c:v>
                </c:pt>
                <c:pt idx="2688">
                  <c:v>#N/A</c:v>
                </c:pt>
                <c:pt idx="2689">
                  <c:v>3.6651799999999999</c:v>
                </c:pt>
                <c:pt idx="2690">
                  <c:v>3.5592800000000002</c:v>
                </c:pt>
                <c:pt idx="2691">
                  <c:v>2.7690899999999998</c:v>
                </c:pt>
                <c:pt idx="2692">
                  <c:v>#N/A</c:v>
                </c:pt>
                <c:pt idx="2693">
                  <c:v>2.56839</c:v>
                </c:pt>
                <c:pt idx="2694">
                  <c:v>1.80003</c:v>
                </c:pt>
                <c:pt idx="2695">
                  <c:v>1.3905000000000001</c:v>
                </c:pt>
                <c:pt idx="2696">
                  <c:v>#N/A</c:v>
                </c:pt>
                <c:pt idx="2697">
                  <c:v>2.02935</c:v>
                </c:pt>
                <c:pt idx="2698">
                  <c:v>2.2989299999999999</c:v>
                </c:pt>
                <c:pt idx="2699">
                  <c:v>2.5841500000000002</c:v>
                </c:pt>
                <c:pt idx="2700">
                  <c:v>#N/A</c:v>
                </c:pt>
                <c:pt idx="2701">
                  <c:v>2.3671000000000002</c:v>
                </c:pt>
                <c:pt idx="2702">
                  <c:v>#N/A</c:v>
                </c:pt>
                <c:pt idx="2703">
                  <c:v>2.0900300000000001</c:v>
                </c:pt>
                <c:pt idx="2704">
                  <c:v>1.86009</c:v>
                </c:pt>
                <c:pt idx="2705">
                  <c:v>#N/A</c:v>
                </c:pt>
                <c:pt idx="2706">
                  <c:v>2.1072000000000002</c:v>
                </c:pt>
                <c:pt idx="2707">
                  <c:v>2.5555500000000002</c:v>
                </c:pt>
                <c:pt idx="2708">
                  <c:v>2.8261799999999999</c:v>
                </c:pt>
                <c:pt idx="2709">
                  <c:v>#N/A</c:v>
                </c:pt>
                <c:pt idx="2710">
                  <c:v>2.7305299999999999</c:v>
                </c:pt>
                <c:pt idx="2711">
                  <c:v>2.6507399999999999</c:v>
                </c:pt>
                <c:pt idx="2712">
                  <c:v>2.5031699999999999</c:v>
                </c:pt>
                <c:pt idx="2713">
                  <c:v>#N/A</c:v>
                </c:pt>
                <c:pt idx="2714">
                  <c:v>2.95675</c:v>
                </c:pt>
                <c:pt idx="2715">
                  <c:v>2.5263100000000001</c:v>
                </c:pt>
                <c:pt idx="2716">
                  <c:v>2.4732500000000002</c:v>
                </c:pt>
                <c:pt idx="2717">
                  <c:v>#N/A</c:v>
                </c:pt>
                <c:pt idx="2718">
                  <c:v>2.8703599999999998</c:v>
                </c:pt>
                <c:pt idx="2719">
                  <c:v>2.94678</c:v>
                </c:pt>
                <c:pt idx="2720">
                  <c:v>2.2353700000000001</c:v>
                </c:pt>
                <c:pt idx="2721">
                  <c:v>#N/A</c:v>
                </c:pt>
                <c:pt idx="2722">
                  <c:v>2.0373199999999998</c:v>
                </c:pt>
                <c:pt idx="2723">
                  <c:v>1.35836</c:v>
                </c:pt>
                <c:pt idx="2724">
                  <c:v>1.36192</c:v>
                </c:pt>
                <c:pt idx="2725">
                  <c:v>#N/A</c:v>
                </c:pt>
                <c:pt idx="2726">
                  <c:v>1.8432599999999999</c:v>
                </c:pt>
                <c:pt idx="2727">
                  <c:v>2.12486</c:v>
                </c:pt>
                <c:pt idx="2728">
                  <c:v>#N/A</c:v>
                </c:pt>
                <c:pt idx="2729">
                  <c:v>3.0523400000000001</c:v>
                </c:pt>
                <c:pt idx="2730">
                  <c:v>3.40591</c:v>
                </c:pt>
                <c:pt idx="2731">
                  <c:v>3.0427399999999998</c:v>
                </c:pt>
                <c:pt idx="2732">
                  <c:v>#N/A</c:v>
                </c:pt>
                <c:pt idx="2733">
                  <c:v>2.0924299999999998</c:v>
                </c:pt>
                <c:pt idx="2734">
                  <c:v>1.48811</c:v>
                </c:pt>
                <c:pt idx="2735">
                  <c:v>1.80284</c:v>
                </c:pt>
                <c:pt idx="2736">
                  <c:v>#N/A</c:v>
                </c:pt>
                <c:pt idx="2737">
                  <c:v>2.3672200000000001</c:v>
                </c:pt>
                <c:pt idx="2738">
                  <c:v>2.45608</c:v>
                </c:pt>
                <c:pt idx="2739">
                  <c:v>3.1426500000000002</c:v>
                </c:pt>
                <c:pt idx="2740">
                  <c:v>#N/A</c:v>
                </c:pt>
                <c:pt idx="2741">
                  <c:v>2.92204</c:v>
                </c:pt>
                <c:pt idx="2742">
                  <c:v>3.2712500000000002</c:v>
                </c:pt>
                <c:pt idx="2743">
                  <c:v>2.67258</c:v>
                </c:pt>
                <c:pt idx="2744">
                  <c:v>#N/A</c:v>
                </c:pt>
                <c:pt idx="2745">
                  <c:v>1.8764000000000001</c:v>
                </c:pt>
                <c:pt idx="2746">
                  <c:v>1.6820299999999999</c:v>
                </c:pt>
                <c:pt idx="2747">
                  <c:v>1.31213</c:v>
                </c:pt>
                <c:pt idx="2748">
                  <c:v>#N/A</c:v>
                </c:pt>
                <c:pt idx="2749">
                  <c:v>2.1982900000000001</c:v>
                </c:pt>
                <c:pt idx="2750">
                  <c:v>3.1547100000000001</c:v>
                </c:pt>
                <c:pt idx="2751">
                  <c:v>3.6216699999999999</c:v>
                </c:pt>
                <c:pt idx="2752">
                  <c:v>#N/A</c:v>
                </c:pt>
                <c:pt idx="2753">
                  <c:v>3.0326399999999998</c:v>
                </c:pt>
                <c:pt idx="2754">
                  <c:v>2.7753700000000001</c:v>
                </c:pt>
                <c:pt idx="2755">
                  <c:v>2.2181899999999999</c:v>
                </c:pt>
                <c:pt idx="2756">
                  <c:v>#N/A</c:v>
                </c:pt>
                <c:pt idx="2757">
                  <c:v>1.46729</c:v>
                </c:pt>
                <c:pt idx="2758">
                  <c:v>1.4522200000000001</c:v>
                </c:pt>
                <c:pt idx="2759">
                  <c:v>#N/A</c:v>
                </c:pt>
                <c:pt idx="2760">
                  <c:v>1.82226</c:v>
                </c:pt>
                <c:pt idx="2761">
                  <c:v>2.38781</c:v>
                </c:pt>
                <c:pt idx="2762">
                  <c:v>2.6872799999999999</c:v>
                </c:pt>
                <c:pt idx="2763">
                  <c:v>#N/A</c:v>
                </c:pt>
                <c:pt idx="2764">
                  <c:v>2.83134</c:v>
                </c:pt>
                <c:pt idx="2765">
                  <c:v>2.4217300000000002</c:v>
                </c:pt>
                <c:pt idx="2766">
                  <c:v>2.0325600000000001</c:v>
                </c:pt>
                <c:pt idx="2767">
                  <c:v>#N/A</c:v>
                </c:pt>
                <c:pt idx="2768">
                  <c:v>1.6396200000000001</c:v>
                </c:pt>
                <c:pt idx="2769">
                  <c:v>1.93743</c:v>
                </c:pt>
                <c:pt idx="2770">
                  <c:v>2.7086600000000001</c:v>
                </c:pt>
                <c:pt idx="2771">
                  <c:v>#N/A</c:v>
                </c:pt>
                <c:pt idx="2772">
                  <c:v>3.0309300000000001</c:v>
                </c:pt>
                <c:pt idx="2773">
                  <c:v>3.3093900000000001</c:v>
                </c:pt>
                <c:pt idx="2774">
                  <c:v>#N/A</c:v>
                </c:pt>
                <c:pt idx="2775">
                  <c:v>3.4996900000000002</c:v>
                </c:pt>
                <c:pt idx="2776">
                  <c:v>2.3249</c:v>
                </c:pt>
                <c:pt idx="2777">
                  <c:v>#N/A</c:v>
                </c:pt>
                <c:pt idx="2778">
                  <c:v>2.37093</c:v>
                </c:pt>
                <c:pt idx="2779">
                  <c:v>#N/A</c:v>
                </c:pt>
                <c:pt idx="2780">
                  <c:v>2.1916600000000002</c:v>
                </c:pt>
                <c:pt idx="2781">
                  <c:v>2.3942199999999998</c:v>
                </c:pt>
                <c:pt idx="2782">
                  <c:v>3.35025</c:v>
                </c:pt>
                <c:pt idx="2783">
                  <c:v>#N/A</c:v>
                </c:pt>
                <c:pt idx="2784">
                  <c:v>2.5124499999999999</c:v>
                </c:pt>
                <c:pt idx="2785">
                  <c:v>2.5617100000000002</c:v>
                </c:pt>
                <c:pt idx="2786">
                  <c:v>2.14459</c:v>
                </c:pt>
                <c:pt idx="2787">
                  <c:v>#N/A</c:v>
                </c:pt>
                <c:pt idx="2788">
                  <c:v>2.12459</c:v>
                </c:pt>
                <c:pt idx="2789">
                  <c:v>2.3148499999999999</c:v>
                </c:pt>
                <c:pt idx="2790">
                  <c:v>2.5973099999999998</c:v>
                </c:pt>
                <c:pt idx="2791">
                  <c:v>#N/A</c:v>
                </c:pt>
                <c:pt idx="2792">
                  <c:v>2.8949099999999999</c:v>
                </c:pt>
                <c:pt idx="2793">
                  <c:v>2.9256700000000002</c:v>
                </c:pt>
                <c:pt idx="2794">
                  <c:v>3.02833</c:v>
                </c:pt>
                <c:pt idx="2795">
                  <c:v>#N/A</c:v>
                </c:pt>
                <c:pt idx="2796">
                  <c:v>2.5823100000000001</c:v>
                </c:pt>
                <c:pt idx="2797">
                  <c:v>2.4601899999999999</c:v>
                </c:pt>
                <c:pt idx="2798">
                  <c:v>2.4397099999999998</c:v>
                </c:pt>
                <c:pt idx="2799">
                  <c:v>#N/A</c:v>
                </c:pt>
                <c:pt idx="2800">
                  <c:v>2.7176100000000001</c:v>
                </c:pt>
                <c:pt idx="2801">
                  <c:v>2.7659600000000002</c:v>
                </c:pt>
                <c:pt idx="2802">
                  <c:v>2.7637100000000001</c:v>
                </c:pt>
                <c:pt idx="2803">
                  <c:v>#N/A</c:v>
                </c:pt>
                <c:pt idx="2804">
                  <c:v>2.47227</c:v>
                </c:pt>
                <c:pt idx="2805">
                  <c:v>2.4256099999999998</c:v>
                </c:pt>
                <c:pt idx="2806">
                  <c:v>1.8915900000000001</c:v>
                </c:pt>
                <c:pt idx="2807">
                  <c:v>#N/A</c:v>
                </c:pt>
                <c:pt idx="2808">
                  <c:v>1.60684</c:v>
                </c:pt>
                <c:pt idx="2809">
                  <c:v>1.99335</c:v>
                </c:pt>
                <c:pt idx="2810">
                  <c:v>2.2511199999999998</c:v>
                </c:pt>
                <c:pt idx="2811">
                  <c:v>#N/A</c:v>
                </c:pt>
                <c:pt idx="2812">
                  <c:v>2.5996899999999998</c:v>
                </c:pt>
                <c:pt idx="2813">
                  <c:v>3.0584600000000002</c:v>
                </c:pt>
                <c:pt idx="2814">
                  <c:v>3.0725600000000002</c:v>
                </c:pt>
                <c:pt idx="2815">
                  <c:v>#N/A</c:v>
                </c:pt>
                <c:pt idx="2816">
                  <c:v>1.98827</c:v>
                </c:pt>
                <c:pt idx="2817">
                  <c:v>1.8975500000000001</c:v>
                </c:pt>
                <c:pt idx="2818">
                  <c:v>#N/A</c:v>
                </c:pt>
                <c:pt idx="2819">
                  <c:v>1.78654</c:v>
                </c:pt>
                <c:pt idx="2820">
                  <c:v>1.79193</c:v>
                </c:pt>
                <c:pt idx="2821">
                  <c:v>2.3113000000000001</c:v>
                </c:pt>
                <c:pt idx="2822">
                  <c:v>#N/A</c:v>
                </c:pt>
                <c:pt idx="2823">
                  <c:v>2.2214499999999999</c:v>
                </c:pt>
                <c:pt idx="2824">
                  <c:v>2.68567</c:v>
                </c:pt>
                <c:pt idx="2825">
                  <c:v>2.9159600000000001</c:v>
                </c:pt>
                <c:pt idx="2826">
                  <c:v>#N/A</c:v>
                </c:pt>
                <c:pt idx="2827">
                  <c:v>2.6021299999999998</c:v>
                </c:pt>
                <c:pt idx="2828">
                  <c:v>2.0117400000000001</c:v>
                </c:pt>
                <c:pt idx="2829">
                  <c:v>1.56993</c:v>
                </c:pt>
                <c:pt idx="2830">
                  <c:v>#N/A</c:v>
                </c:pt>
                <c:pt idx="2831">
                  <c:v>2.0644800000000001</c:v>
                </c:pt>
                <c:pt idx="2832">
                  <c:v>1.5551900000000001</c:v>
                </c:pt>
                <c:pt idx="2833">
                  <c:v>1.9774400000000001</c:v>
                </c:pt>
                <c:pt idx="2834">
                  <c:v>#N/A</c:v>
                </c:pt>
                <c:pt idx="2835">
                  <c:v>3.1139800000000002</c:v>
                </c:pt>
                <c:pt idx="2836">
                  <c:v>3.4627599999999998</c:v>
                </c:pt>
                <c:pt idx="2837">
                  <c:v>#N/A</c:v>
                </c:pt>
                <c:pt idx="2838">
                  <c:v>2.9582199999999998</c:v>
                </c:pt>
                <c:pt idx="2839">
                  <c:v>1.96837</c:v>
                </c:pt>
                <c:pt idx="2840">
                  <c:v>1.4723999999999999</c:v>
                </c:pt>
                <c:pt idx="2841">
                  <c:v>#N/A</c:v>
                </c:pt>
                <c:pt idx="2842">
                  <c:v>#N/A</c:v>
                </c:pt>
                <c:pt idx="2843">
                  <c:v>2.5204300000000002</c:v>
                </c:pt>
                <c:pt idx="2844">
                  <c:v>#N/A</c:v>
                </c:pt>
                <c:pt idx="2845">
                  <c:v>2.4304000000000001</c:v>
                </c:pt>
                <c:pt idx="2846">
                  <c:v>2.42456</c:v>
                </c:pt>
                <c:pt idx="2847">
                  <c:v>2.61633</c:v>
                </c:pt>
                <c:pt idx="2848">
                  <c:v>#N/A</c:v>
                </c:pt>
                <c:pt idx="2849">
                  <c:v>2.7270699999999999</c:v>
                </c:pt>
                <c:pt idx="2850">
                  <c:v>#N/A</c:v>
                </c:pt>
                <c:pt idx="2851">
                  <c:v>2.0388899999999999</c:v>
                </c:pt>
                <c:pt idx="2852">
                  <c:v>1.9073500000000001</c:v>
                </c:pt>
                <c:pt idx="2853">
                  <c:v>#N/A</c:v>
                </c:pt>
                <c:pt idx="2854">
                  <c:v>1.8997599999999999</c:v>
                </c:pt>
                <c:pt idx="2855">
                  <c:v>#N/A</c:v>
                </c:pt>
                <c:pt idx="2856">
                  <c:v>2.8266900000000001</c:v>
                </c:pt>
                <c:pt idx="2857">
                  <c:v>3.15401</c:v>
                </c:pt>
                <c:pt idx="2858">
                  <c:v>2.9465599999999998</c:v>
                </c:pt>
                <c:pt idx="2859">
                  <c:v>#N/A</c:v>
                </c:pt>
                <c:pt idx="2860">
                  <c:v>2.6074299999999999</c:v>
                </c:pt>
                <c:pt idx="2861">
                  <c:v>2.4093300000000002</c:v>
                </c:pt>
                <c:pt idx="2862">
                  <c:v>1.9395800000000001</c:v>
                </c:pt>
                <c:pt idx="2863">
                  <c:v>#N/A</c:v>
                </c:pt>
                <c:pt idx="2864">
                  <c:v>2.4256799999999998</c:v>
                </c:pt>
                <c:pt idx="2865">
                  <c:v>2.7054200000000002</c:v>
                </c:pt>
                <c:pt idx="2866">
                  <c:v>2.1611899999999999</c:v>
                </c:pt>
                <c:pt idx="2867">
                  <c:v>#N/A</c:v>
                </c:pt>
                <c:pt idx="2868">
                  <c:v>2.2959000000000001</c:v>
                </c:pt>
                <c:pt idx="2869">
                  <c:v>1.9462900000000001</c:v>
                </c:pt>
                <c:pt idx="2870">
                  <c:v>#N/A</c:v>
                </c:pt>
                <c:pt idx="2871">
                  <c:v>2.2400000000000002</c:v>
                </c:pt>
                <c:pt idx="2872">
                  <c:v>1.5589200000000001</c:v>
                </c:pt>
                <c:pt idx="2873">
                  <c:v>2.07029</c:v>
                </c:pt>
                <c:pt idx="2874">
                  <c:v>#N/A</c:v>
                </c:pt>
                <c:pt idx="2875">
                  <c:v>2.51586</c:v>
                </c:pt>
                <c:pt idx="2876">
                  <c:v>2.6343999999999999</c:v>
                </c:pt>
                <c:pt idx="2877">
                  <c:v>2.4706800000000002</c:v>
                </c:pt>
                <c:pt idx="2878">
                  <c:v>#N/A</c:v>
                </c:pt>
                <c:pt idx="2879">
                  <c:v>1.5767199999999999</c:v>
                </c:pt>
                <c:pt idx="2880">
                  <c:v>1.99817</c:v>
                </c:pt>
                <c:pt idx="2881">
                  <c:v>1.37504</c:v>
                </c:pt>
                <c:pt idx="2882">
                  <c:v>#N/A</c:v>
                </c:pt>
                <c:pt idx="2883">
                  <c:v>1.9267000000000001</c:v>
                </c:pt>
                <c:pt idx="2884">
                  <c:v>2.0189900000000001</c:v>
                </c:pt>
                <c:pt idx="2885">
                  <c:v>2.7693400000000001</c:v>
                </c:pt>
                <c:pt idx="2886">
                  <c:v>#N/A</c:v>
                </c:pt>
                <c:pt idx="2887">
                  <c:v>3.1563599999999998</c:v>
                </c:pt>
                <c:pt idx="2888">
                  <c:v>2.80836</c:v>
                </c:pt>
                <c:pt idx="2889">
                  <c:v>1.26291</c:v>
                </c:pt>
                <c:pt idx="2890">
                  <c:v>#N/A</c:v>
                </c:pt>
                <c:pt idx="2891">
                  <c:v>1.7633099999999999</c:v>
                </c:pt>
                <c:pt idx="2892">
                  <c:v>2.2389899999999998</c:v>
                </c:pt>
                <c:pt idx="2893">
                  <c:v>2.3271600000000001</c:v>
                </c:pt>
                <c:pt idx="2894">
                  <c:v>#N/A</c:v>
                </c:pt>
                <c:pt idx="2895">
                  <c:v>2.1896399999999998</c:v>
                </c:pt>
                <c:pt idx="2896">
                  <c:v>3.2155900000000002</c:v>
                </c:pt>
                <c:pt idx="2897">
                  <c:v>3.5182500000000001</c:v>
                </c:pt>
                <c:pt idx="2898">
                  <c:v>#N/A</c:v>
                </c:pt>
                <c:pt idx="2899">
                  <c:v>3.2245699999999999</c:v>
                </c:pt>
                <c:pt idx="2900">
                  <c:v>2.2404999999999999</c:v>
                </c:pt>
                <c:pt idx="2901">
                  <c:v>#N/A</c:v>
                </c:pt>
                <c:pt idx="2902">
                  <c:v>2.3784200000000002</c:v>
                </c:pt>
                <c:pt idx="2903">
                  <c:v>1.82039</c:v>
                </c:pt>
                <c:pt idx="2904">
                  <c:v>1.7617799999999999</c:v>
                </c:pt>
                <c:pt idx="2905">
                  <c:v>#N/A</c:v>
                </c:pt>
                <c:pt idx="2906">
                  <c:v>2.8204600000000002</c:v>
                </c:pt>
                <c:pt idx="2907">
                  <c:v>2.6639200000000001</c:v>
                </c:pt>
                <c:pt idx="2908">
                  <c:v>2.7257699999999998</c:v>
                </c:pt>
                <c:pt idx="2909">
                  <c:v>#N/A</c:v>
                </c:pt>
                <c:pt idx="2910">
                  <c:v>3.5783299999999998</c:v>
                </c:pt>
                <c:pt idx="2911">
                  <c:v>2.5269200000000001</c:v>
                </c:pt>
                <c:pt idx="2912">
                  <c:v>1.42991</c:v>
                </c:pt>
                <c:pt idx="2913">
                  <c:v>#N/A</c:v>
                </c:pt>
                <c:pt idx="2914">
                  <c:v>1.5770599999999999</c:v>
                </c:pt>
                <c:pt idx="2915">
                  <c:v>1.6975800000000001</c:v>
                </c:pt>
                <c:pt idx="2916">
                  <c:v>1.77962</c:v>
                </c:pt>
                <c:pt idx="2917">
                  <c:v>#N/A</c:v>
                </c:pt>
                <c:pt idx="2918">
                  <c:v>2.8908100000000001</c:v>
                </c:pt>
                <c:pt idx="2919">
                  <c:v>3.1038600000000001</c:v>
                </c:pt>
                <c:pt idx="2920">
                  <c:v>2.9885100000000002</c:v>
                </c:pt>
                <c:pt idx="2921">
                  <c:v>#N/A</c:v>
                </c:pt>
                <c:pt idx="2922">
                  <c:v>2.95566</c:v>
                </c:pt>
                <c:pt idx="2923">
                  <c:v>2.2751800000000002</c:v>
                </c:pt>
                <c:pt idx="2924">
                  <c:v>2.3088600000000001</c:v>
                </c:pt>
                <c:pt idx="2925">
                  <c:v>#N/A</c:v>
                </c:pt>
                <c:pt idx="2926">
                  <c:v>2.3540899999999998</c:v>
                </c:pt>
                <c:pt idx="2927">
                  <c:v>#N/A</c:v>
                </c:pt>
                <c:pt idx="2928">
                  <c:v>2.18974</c:v>
                </c:pt>
                <c:pt idx="2929">
                  <c:v>#N/A</c:v>
                </c:pt>
                <c:pt idx="2930">
                  <c:v>2.1433200000000001</c:v>
                </c:pt>
                <c:pt idx="2931">
                  <c:v>2.7746200000000001</c:v>
                </c:pt>
                <c:pt idx="2932">
                  <c:v>#N/A</c:v>
                </c:pt>
                <c:pt idx="2933">
                  <c:v>2.50041</c:v>
                </c:pt>
                <c:pt idx="2934">
                  <c:v>1.9275500000000001</c:v>
                </c:pt>
                <c:pt idx="2935">
                  <c:v>2.0210499999999998</c:v>
                </c:pt>
                <c:pt idx="2936">
                  <c:v>#N/A</c:v>
                </c:pt>
                <c:pt idx="2937">
                  <c:v>1.7890699999999999</c:v>
                </c:pt>
                <c:pt idx="2938">
                  <c:v>1.8116000000000001</c:v>
                </c:pt>
                <c:pt idx="2939">
                  <c:v>2.55226</c:v>
                </c:pt>
                <c:pt idx="2940">
                  <c:v>#N/A</c:v>
                </c:pt>
                <c:pt idx="2941">
                  <c:v>2.7761300000000002</c:v>
                </c:pt>
                <c:pt idx="2942">
                  <c:v>2.1739600000000001</c:v>
                </c:pt>
                <c:pt idx="2943">
                  <c:v>1.3640000000000001</c:v>
                </c:pt>
                <c:pt idx="2944">
                  <c:v>#N/A</c:v>
                </c:pt>
                <c:pt idx="2945">
                  <c:v>2.0054099999999999</c:v>
                </c:pt>
                <c:pt idx="2946">
                  <c:v>2.26431</c:v>
                </c:pt>
                <c:pt idx="2947">
                  <c:v>2.5875400000000002</c:v>
                </c:pt>
                <c:pt idx="2948">
                  <c:v>#N/A</c:v>
                </c:pt>
                <c:pt idx="2949">
                  <c:v>2.6420300000000001</c:v>
                </c:pt>
                <c:pt idx="2950">
                  <c:v>2.5534500000000002</c:v>
                </c:pt>
                <c:pt idx="2951">
                  <c:v>2.55558</c:v>
                </c:pt>
                <c:pt idx="2952">
                  <c:v>#N/A</c:v>
                </c:pt>
                <c:pt idx="2953">
                  <c:v>2.5140199999999999</c:v>
                </c:pt>
                <c:pt idx="2954">
                  <c:v>1.9256599999999999</c:v>
                </c:pt>
                <c:pt idx="2955">
                  <c:v>2.0491100000000002</c:v>
                </c:pt>
                <c:pt idx="2956">
                  <c:v>#N/A</c:v>
                </c:pt>
                <c:pt idx="2957">
                  <c:v>1.8561099999999999</c:v>
                </c:pt>
                <c:pt idx="2958">
                  <c:v>2.69678</c:v>
                </c:pt>
                <c:pt idx="2959">
                  <c:v>#N/A</c:v>
                </c:pt>
                <c:pt idx="2960">
                  <c:v>3.41472</c:v>
                </c:pt>
                <c:pt idx="2961">
                  <c:v>3.0181800000000001</c:v>
                </c:pt>
                <c:pt idx="2962">
                  <c:v>2.8289300000000002</c:v>
                </c:pt>
                <c:pt idx="2963">
                  <c:v>#N/A</c:v>
                </c:pt>
                <c:pt idx="2964">
                  <c:v>2.8198099999999999</c:v>
                </c:pt>
                <c:pt idx="2965">
                  <c:v>2.3664499999999999</c:v>
                </c:pt>
                <c:pt idx="2966">
                  <c:v>#N/A</c:v>
                </c:pt>
                <c:pt idx="2967">
                  <c:v>2.06507</c:v>
                </c:pt>
                <c:pt idx="2968">
                  <c:v>1.80755</c:v>
                </c:pt>
                <c:pt idx="2969">
                  <c:v>2.8638599999999999</c:v>
                </c:pt>
                <c:pt idx="2970">
                  <c:v>#N/A</c:v>
                </c:pt>
                <c:pt idx="2971">
                  <c:v>3.3783400000000001</c:v>
                </c:pt>
                <c:pt idx="2972">
                  <c:v>3.3399700000000001</c:v>
                </c:pt>
                <c:pt idx="2973">
                  <c:v>3.0560299999999998</c:v>
                </c:pt>
                <c:pt idx="2974">
                  <c:v>#N/A</c:v>
                </c:pt>
                <c:pt idx="2975">
                  <c:v>2.1466699999999999</c:v>
                </c:pt>
                <c:pt idx="2976">
                  <c:v>2.4874200000000002</c:v>
                </c:pt>
                <c:pt idx="2977">
                  <c:v>2.41398</c:v>
                </c:pt>
                <c:pt idx="2978">
                  <c:v>#N/A</c:v>
                </c:pt>
                <c:pt idx="2979">
                  <c:v>2.6675</c:v>
                </c:pt>
                <c:pt idx="2980">
                  <c:v>3.1893899999999999</c:v>
                </c:pt>
                <c:pt idx="2981">
                  <c:v>3.6102599999999998</c:v>
                </c:pt>
                <c:pt idx="2982">
                  <c:v>#N/A</c:v>
                </c:pt>
                <c:pt idx="2983">
                  <c:v>3.1193499999999998</c:v>
                </c:pt>
                <c:pt idx="2984">
                  <c:v>2.68432</c:v>
                </c:pt>
                <c:pt idx="2985">
                  <c:v>2.1547100000000001</c:v>
                </c:pt>
                <c:pt idx="2986">
                  <c:v>#N/A</c:v>
                </c:pt>
                <c:pt idx="2987">
                  <c:v>1.89957</c:v>
                </c:pt>
                <c:pt idx="2988">
                  <c:v>2.0225200000000001</c:v>
                </c:pt>
                <c:pt idx="2989">
                  <c:v>#N/A</c:v>
                </c:pt>
                <c:pt idx="2990">
                  <c:v>2.47363</c:v>
                </c:pt>
                <c:pt idx="2991">
                  <c:v>2.64662</c:v>
                </c:pt>
                <c:pt idx="2992">
                  <c:v>2.4865499999999998</c:v>
                </c:pt>
                <c:pt idx="2993">
                  <c:v>#N/A</c:v>
                </c:pt>
                <c:pt idx="2994">
                  <c:v>2.10073</c:v>
                </c:pt>
                <c:pt idx="2995">
                  <c:v>2.6075599999999999</c:v>
                </c:pt>
                <c:pt idx="2996">
                  <c:v>2.3294700000000002</c:v>
                </c:pt>
                <c:pt idx="2997">
                  <c:v>#N/A</c:v>
                </c:pt>
                <c:pt idx="2998">
                  <c:v>2.4274900000000001</c:v>
                </c:pt>
                <c:pt idx="2999">
                  <c:v>2.3026300000000002</c:v>
                </c:pt>
                <c:pt idx="3000">
                  <c:v>2.86938</c:v>
                </c:pt>
                <c:pt idx="3001">
                  <c:v>#N/A</c:v>
                </c:pt>
                <c:pt idx="3002">
                  <c:v>2.26376</c:v>
                </c:pt>
                <c:pt idx="3003">
                  <c:v>3.1284700000000001</c:v>
                </c:pt>
                <c:pt idx="3004">
                  <c:v>3.2526000000000002</c:v>
                </c:pt>
                <c:pt idx="3005">
                  <c:v>#N/A</c:v>
                </c:pt>
                <c:pt idx="3006">
                  <c:v>2.8542900000000002</c:v>
                </c:pt>
                <c:pt idx="3007">
                  <c:v>2.66703</c:v>
                </c:pt>
                <c:pt idx="3008">
                  <c:v>#N/A</c:v>
                </c:pt>
                <c:pt idx="3009">
                  <c:v>2.4432200000000002</c:v>
                </c:pt>
                <c:pt idx="3010">
                  <c:v>2.5484900000000001</c:v>
                </c:pt>
                <c:pt idx="3011">
                  <c:v>2.49064</c:v>
                </c:pt>
                <c:pt idx="3012">
                  <c:v>#N/A</c:v>
                </c:pt>
                <c:pt idx="3013">
                  <c:v>2.7624499999999999</c:v>
                </c:pt>
                <c:pt idx="3014">
                  <c:v>2.4866899999999998</c:v>
                </c:pt>
                <c:pt idx="3015">
                  <c:v>2.2591000000000001</c:v>
                </c:pt>
                <c:pt idx="3016">
                  <c:v>#N/A</c:v>
                </c:pt>
                <c:pt idx="3017">
                  <c:v>1.28894</c:v>
                </c:pt>
                <c:pt idx="3018">
                  <c:v>2.0829599999999999</c:v>
                </c:pt>
                <c:pt idx="3019">
                  <c:v>1.7286600000000001</c:v>
                </c:pt>
                <c:pt idx="3020">
                  <c:v>#N/A</c:v>
                </c:pt>
                <c:pt idx="3021">
                  <c:v>2.4252699999999998</c:v>
                </c:pt>
                <c:pt idx="3022">
                  <c:v>2.7352300000000001</c:v>
                </c:pt>
                <c:pt idx="3023">
                  <c:v>2.55789</c:v>
                </c:pt>
                <c:pt idx="3024">
                  <c:v>#N/A</c:v>
                </c:pt>
                <c:pt idx="3025">
                  <c:v>3.01274</c:v>
                </c:pt>
                <c:pt idx="3026">
                  <c:v>2.3989099999999999</c:v>
                </c:pt>
                <c:pt idx="3027">
                  <c:v>2.6993800000000001</c:v>
                </c:pt>
                <c:pt idx="3028">
                  <c:v>#N/A</c:v>
                </c:pt>
                <c:pt idx="3029">
                  <c:v>1.97048</c:v>
                </c:pt>
                <c:pt idx="3030">
                  <c:v>2.4297499999999999</c:v>
                </c:pt>
                <c:pt idx="3031">
                  <c:v>2.7014100000000001</c:v>
                </c:pt>
                <c:pt idx="3032">
                  <c:v>#N/A</c:v>
                </c:pt>
                <c:pt idx="3033">
                  <c:v>2.7323499999999998</c:v>
                </c:pt>
                <c:pt idx="3034">
                  <c:v>2.6175899999999999</c:v>
                </c:pt>
                <c:pt idx="3035">
                  <c:v>2.4487700000000001</c:v>
                </c:pt>
                <c:pt idx="3036">
                  <c:v>#N/A</c:v>
                </c:pt>
                <c:pt idx="3037">
                  <c:v>1.9188700000000001</c:v>
                </c:pt>
                <c:pt idx="3038">
                  <c:v>2.0532300000000001</c:v>
                </c:pt>
                <c:pt idx="3039">
                  <c:v>#N/A</c:v>
                </c:pt>
                <c:pt idx="3040">
                  <c:v>1.6007</c:v>
                </c:pt>
                <c:pt idx="3041">
                  <c:v>1.6993400000000001</c:v>
                </c:pt>
                <c:pt idx="3042">
                  <c:v>2.40293</c:v>
                </c:pt>
                <c:pt idx="3043">
                  <c:v>#N/A</c:v>
                </c:pt>
                <c:pt idx="3044">
                  <c:v>3.7801399999999998</c:v>
                </c:pt>
                <c:pt idx="3045">
                  <c:v>2.8525299999999998</c:v>
                </c:pt>
                <c:pt idx="3046">
                  <c:v>2.09877</c:v>
                </c:pt>
                <c:pt idx="3047">
                  <c:v>#N/A</c:v>
                </c:pt>
                <c:pt idx="3048">
                  <c:v>1.7926800000000001</c:v>
                </c:pt>
                <c:pt idx="3049">
                  <c:v>1.60355</c:v>
                </c:pt>
                <c:pt idx="3050">
                  <c:v>1.4680899999999999</c:v>
                </c:pt>
                <c:pt idx="3051">
                  <c:v>#N/A</c:v>
                </c:pt>
                <c:pt idx="3052">
                  <c:v>1.3321400000000001</c:v>
                </c:pt>
                <c:pt idx="3053">
                  <c:v>1.8844000000000001</c:v>
                </c:pt>
                <c:pt idx="3054">
                  <c:v>2.36341</c:v>
                </c:pt>
                <c:pt idx="3055">
                  <c:v>#N/A</c:v>
                </c:pt>
                <c:pt idx="3056">
                  <c:v>2.81718</c:v>
                </c:pt>
                <c:pt idx="3057">
                  <c:v>2.2902999999999998</c:v>
                </c:pt>
                <c:pt idx="3058">
                  <c:v>1.5747100000000001</c:v>
                </c:pt>
                <c:pt idx="3059">
                  <c:v>#N/A</c:v>
                </c:pt>
                <c:pt idx="3060">
                  <c:v>1.2519899999999999</c:v>
                </c:pt>
                <c:pt idx="3061">
                  <c:v>1.46346</c:v>
                </c:pt>
                <c:pt idx="3062">
                  <c:v>1.86188</c:v>
                </c:pt>
                <c:pt idx="3063">
                  <c:v>#N/A</c:v>
                </c:pt>
                <c:pt idx="3064">
                  <c:v>2.6423899999999998</c:v>
                </c:pt>
                <c:pt idx="3065">
                  <c:v>2.7851900000000001</c:v>
                </c:pt>
                <c:pt idx="3066">
                  <c:v>2.9609800000000002</c:v>
                </c:pt>
                <c:pt idx="3067">
                  <c:v>#N/A</c:v>
                </c:pt>
                <c:pt idx="3068">
                  <c:v>2.90333</c:v>
                </c:pt>
                <c:pt idx="3069">
                  <c:v>2.0929899999999999</c:v>
                </c:pt>
                <c:pt idx="3070">
                  <c:v>#N/A</c:v>
                </c:pt>
                <c:pt idx="3071">
                  <c:v>1.7149799999999999</c:v>
                </c:pt>
                <c:pt idx="3072">
                  <c:v>1.5672200000000001</c:v>
                </c:pt>
                <c:pt idx="3073">
                  <c:v>2.4260000000000002</c:v>
                </c:pt>
                <c:pt idx="3074">
                  <c:v>#N/A</c:v>
                </c:pt>
                <c:pt idx="3075">
                  <c:v>2.7323900000000001</c:v>
                </c:pt>
                <c:pt idx="3076">
                  <c:v>2.2591800000000002</c:v>
                </c:pt>
                <c:pt idx="3077">
                  <c:v>#N/A</c:v>
                </c:pt>
                <c:pt idx="3078">
                  <c:v>2.1177100000000002</c:v>
                </c:pt>
                <c:pt idx="3079">
                  <c:v>#N/A</c:v>
                </c:pt>
                <c:pt idx="3080">
                  <c:v>1.88496</c:v>
                </c:pt>
                <c:pt idx="3081">
                  <c:v>1.6287100000000001</c:v>
                </c:pt>
                <c:pt idx="3082">
                  <c:v>1.9365600000000001</c:v>
                </c:pt>
                <c:pt idx="3083">
                  <c:v>#N/A</c:v>
                </c:pt>
                <c:pt idx="3084">
                  <c:v>2.3487100000000001</c:v>
                </c:pt>
                <c:pt idx="3085">
                  <c:v>3.0420600000000002</c:v>
                </c:pt>
                <c:pt idx="3086">
                  <c:v>3.3610000000000002</c:v>
                </c:pt>
                <c:pt idx="3087">
                  <c:v>#N/A</c:v>
                </c:pt>
                <c:pt idx="3088">
                  <c:v>3.0766399999999998</c:v>
                </c:pt>
                <c:pt idx="3089">
                  <c:v>2.6953399999999998</c:v>
                </c:pt>
                <c:pt idx="3090">
                  <c:v>2.1812200000000002</c:v>
                </c:pt>
                <c:pt idx="3091">
                  <c:v>#N/A</c:v>
                </c:pt>
                <c:pt idx="3092">
                  <c:v>2.0242200000000001</c:v>
                </c:pt>
                <c:pt idx="3093">
                  <c:v>2.4041199999999998</c:v>
                </c:pt>
                <c:pt idx="3094">
                  <c:v>#N/A</c:v>
                </c:pt>
                <c:pt idx="3095">
                  <c:v>2.1270600000000002</c:v>
                </c:pt>
                <c:pt idx="3096">
                  <c:v>2.87669</c:v>
                </c:pt>
                <c:pt idx="3097">
                  <c:v>2.6581199999999998</c:v>
                </c:pt>
                <c:pt idx="3098">
                  <c:v>#N/A</c:v>
                </c:pt>
                <c:pt idx="3099">
                  <c:v>1.83619</c:v>
                </c:pt>
                <c:pt idx="3100">
                  <c:v>1.2027399999999999</c:v>
                </c:pt>
                <c:pt idx="3101">
                  <c:v>1.4530400000000001</c:v>
                </c:pt>
                <c:pt idx="3102">
                  <c:v>#N/A</c:v>
                </c:pt>
                <c:pt idx="3103">
                  <c:v>1.60304</c:v>
                </c:pt>
                <c:pt idx="3104">
                  <c:v>2.24776</c:v>
                </c:pt>
                <c:pt idx="3105">
                  <c:v>2.3841100000000002</c:v>
                </c:pt>
                <c:pt idx="3106">
                  <c:v>#N/A</c:v>
                </c:pt>
                <c:pt idx="3107">
                  <c:v>2.53966</c:v>
                </c:pt>
                <c:pt idx="3108">
                  <c:v>2.5612300000000001</c:v>
                </c:pt>
                <c:pt idx="3109">
                  <c:v>2.2724799999999998</c:v>
                </c:pt>
                <c:pt idx="3110">
                  <c:v>#N/A</c:v>
                </c:pt>
                <c:pt idx="3111">
                  <c:v>2.3144200000000001</c:v>
                </c:pt>
                <c:pt idx="3112">
                  <c:v>1.97797</c:v>
                </c:pt>
                <c:pt idx="3113">
                  <c:v>2.1480800000000002</c:v>
                </c:pt>
                <c:pt idx="3114">
                  <c:v>#N/A</c:v>
                </c:pt>
                <c:pt idx="3115">
                  <c:v>2.1741999999999999</c:v>
                </c:pt>
                <c:pt idx="3116">
                  <c:v>2.8788200000000002</c:v>
                </c:pt>
                <c:pt idx="3117">
                  <c:v>2.8333599999999999</c:v>
                </c:pt>
                <c:pt idx="3118">
                  <c:v>#N/A</c:v>
                </c:pt>
                <c:pt idx="3119">
                  <c:v>2.8385500000000001</c:v>
                </c:pt>
                <c:pt idx="3120">
                  <c:v>2.11145</c:v>
                </c:pt>
                <c:pt idx="3121">
                  <c:v>1.7966500000000001</c:v>
                </c:pt>
                <c:pt idx="3122">
                  <c:v>#N/A</c:v>
                </c:pt>
                <c:pt idx="3123">
                  <c:v>1.78904</c:v>
                </c:pt>
                <c:pt idx="3124">
                  <c:v>1.7922400000000001</c:v>
                </c:pt>
                <c:pt idx="3125">
                  <c:v>#N/A</c:v>
                </c:pt>
                <c:pt idx="3126">
                  <c:v>2.1785899999999998</c:v>
                </c:pt>
                <c:pt idx="3127">
                  <c:v>2.9561700000000002</c:v>
                </c:pt>
                <c:pt idx="3128">
                  <c:v>2.7795399999999999</c:v>
                </c:pt>
                <c:pt idx="3129">
                  <c:v>#N/A</c:v>
                </c:pt>
                <c:pt idx="3130">
                  <c:v>2.5078900000000002</c:v>
                </c:pt>
                <c:pt idx="3131">
                  <c:v>1.8700600000000001</c:v>
                </c:pt>
                <c:pt idx="3132">
                  <c:v>#N/A</c:v>
                </c:pt>
                <c:pt idx="3133">
                  <c:v>1.70733</c:v>
                </c:pt>
                <c:pt idx="3134">
                  <c:v>1.54522</c:v>
                </c:pt>
                <c:pt idx="3135">
                  <c:v>1.8368100000000001</c:v>
                </c:pt>
                <c:pt idx="3136">
                  <c:v>#N/A</c:v>
                </c:pt>
                <c:pt idx="3137">
                  <c:v>1.92869</c:v>
                </c:pt>
                <c:pt idx="3138">
                  <c:v>2.4138700000000002</c:v>
                </c:pt>
                <c:pt idx="3139">
                  <c:v>2.8411900000000001</c:v>
                </c:pt>
                <c:pt idx="3140">
                  <c:v>#N/A</c:v>
                </c:pt>
                <c:pt idx="3141">
                  <c:v>2.6899199999999999</c:v>
                </c:pt>
                <c:pt idx="3142">
                  <c:v>2.0282900000000001</c:v>
                </c:pt>
                <c:pt idx="3143">
                  <c:v>2.1403599999999998</c:v>
                </c:pt>
                <c:pt idx="3144">
                  <c:v>#N/A</c:v>
                </c:pt>
                <c:pt idx="3145">
                  <c:v>2.5940799999999999</c:v>
                </c:pt>
                <c:pt idx="3146">
                  <c:v>1.74251</c:v>
                </c:pt>
                <c:pt idx="3147">
                  <c:v>2.5205299999999999</c:v>
                </c:pt>
                <c:pt idx="3148">
                  <c:v>#N/A</c:v>
                </c:pt>
                <c:pt idx="3149">
                  <c:v>2.6508799999999999</c:v>
                </c:pt>
                <c:pt idx="3150">
                  <c:v>2.95777</c:v>
                </c:pt>
                <c:pt idx="3151">
                  <c:v>#N/A</c:v>
                </c:pt>
                <c:pt idx="3152">
                  <c:v>2.5597799999999999</c:v>
                </c:pt>
                <c:pt idx="3153">
                  <c:v>1.88124</c:v>
                </c:pt>
                <c:pt idx="3154">
                  <c:v>#N/A</c:v>
                </c:pt>
                <c:pt idx="3155">
                  <c:v>2.1990099999999999</c:v>
                </c:pt>
                <c:pt idx="3156">
                  <c:v>2.3528799999999999</c:v>
                </c:pt>
                <c:pt idx="3157">
                  <c:v>2.52033</c:v>
                </c:pt>
                <c:pt idx="3158">
                  <c:v>#N/A</c:v>
                </c:pt>
                <c:pt idx="3159">
                  <c:v>2.2848999999999999</c:v>
                </c:pt>
                <c:pt idx="3160">
                  <c:v>2.0789200000000001</c:v>
                </c:pt>
                <c:pt idx="3161">
                  <c:v>#N/A</c:v>
                </c:pt>
                <c:pt idx="3162">
                  <c:v>1.63079</c:v>
                </c:pt>
                <c:pt idx="3163">
                  <c:v>1.0684800000000001</c:v>
                </c:pt>
                <c:pt idx="3164">
                  <c:v>1.78772</c:v>
                </c:pt>
                <c:pt idx="3165">
                  <c:v>#N/A</c:v>
                </c:pt>
                <c:pt idx="3166">
                  <c:v>1.8128899999999999</c:v>
                </c:pt>
                <c:pt idx="3167">
                  <c:v>2.1612</c:v>
                </c:pt>
                <c:pt idx="3168">
                  <c:v>2.4236499999999999</c:v>
                </c:pt>
                <c:pt idx="3169">
                  <c:v>#N/A</c:v>
                </c:pt>
                <c:pt idx="3170">
                  <c:v>2.7406799999999998</c:v>
                </c:pt>
                <c:pt idx="3171">
                  <c:v>2.4746800000000002</c:v>
                </c:pt>
                <c:pt idx="3172">
                  <c:v>2.2987799999999998</c:v>
                </c:pt>
                <c:pt idx="3173">
                  <c:v>#N/A</c:v>
                </c:pt>
                <c:pt idx="3174">
                  <c:v>1.4751399999999999</c:v>
                </c:pt>
                <c:pt idx="3175">
                  <c:v>1.30003</c:v>
                </c:pt>
                <c:pt idx="3176">
                  <c:v>1.67797</c:v>
                </c:pt>
                <c:pt idx="3177">
                  <c:v>#N/A</c:v>
                </c:pt>
                <c:pt idx="3178">
                  <c:v>2.6912199999999999</c:v>
                </c:pt>
                <c:pt idx="3179">
                  <c:v>3.1810299999999998</c:v>
                </c:pt>
                <c:pt idx="3180">
                  <c:v>#N/A</c:v>
                </c:pt>
                <c:pt idx="3181">
                  <c:v>2.8744399999999999</c:v>
                </c:pt>
                <c:pt idx="3182">
                  <c:v>2.2696000000000001</c:v>
                </c:pt>
                <c:pt idx="3183">
                  <c:v>1.65219</c:v>
                </c:pt>
                <c:pt idx="3184">
                  <c:v>#N/A</c:v>
                </c:pt>
                <c:pt idx="3185">
                  <c:v>1.20139</c:v>
                </c:pt>
                <c:pt idx="3186">
                  <c:v>1.19496</c:v>
                </c:pt>
                <c:pt idx="3187">
                  <c:v>1.60165</c:v>
                </c:pt>
                <c:pt idx="3188">
                  <c:v>#N/A</c:v>
                </c:pt>
                <c:pt idx="3189">
                  <c:v>2.45228</c:v>
                </c:pt>
                <c:pt idx="3190">
                  <c:v>3.1265399999999999</c:v>
                </c:pt>
                <c:pt idx="3191">
                  <c:v>#N/A</c:v>
                </c:pt>
                <c:pt idx="3192">
                  <c:v>3.11741</c:v>
                </c:pt>
                <c:pt idx="3193">
                  <c:v>2.7217099999999999</c:v>
                </c:pt>
                <c:pt idx="3194">
                  <c:v>1.8718900000000001</c:v>
                </c:pt>
                <c:pt idx="3195">
                  <c:v>#N/A</c:v>
                </c:pt>
                <c:pt idx="3196">
                  <c:v>1.88262</c:v>
                </c:pt>
                <c:pt idx="3197">
                  <c:v>1.7223999999999999</c:v>
                </c:pt>
                <c:pt idx="3198">
                  <c:v>2.2886899999999999</c:v>
                </c:pt>
                <c:pt idx="3199">
                  <c:v>#N/A</c:v>
                </c:pt>
                <c:pt idx="3200">
                  <c:v>2.0511499999999998</c:v>
                </c:pt>
                <c:pt idx="3201">
                  <c:v>2.5216599999999998</c:v>
                </c:pt>
                <c:pt idx="3202">
                  <c:v>3.2757800000000001</c:v>
                </c:pt>
                <c:pt idx="3203">
                  <c:v>#N/A</c:v>
                </c:pt>
                <c:pt idx="3204">
                  <c:v>2.0436299999999998</c:v>
                </c:pt>
                <c:pt idx="3205">
                  <c:v>1.6912199999999999</c:v>
                </c:pt>
                <c:pt idx="3206">
                  <c:v>1.0069600000000001</c:v>
                </c:pt>
                <c:pt idx="3207">
                  <c:v>#N/A</c:v>
                </c:pt>
                <c:pt idx="3208">
                  <c:v>1.3040700000000001</c:v>
                </c:pt>
                <c:pt idx="3209">
                  <c:v>2.1348699999999998</c:v>
                </c:pt>
                <c:pt idx="3210">
                  <c:v>2.2927300000000002</c:v>
                </c:pt>
                <c:pt idx="3211">
                  <c:v>#N/A</c:v>
                </c:pt>
                <c:pt idx="3212">
                  <c:v>3.57254</c:v>
                </c:pt>
                <c:pt idx="3213">
                  <c:v>3.0336599999999998</c:v>
                </c:pt>
                <c:pt idx="3214">
                  <c:v>2.9681899999999999</c:v>
                </c:pt>
                <c:pt idx="3215">
                  <c:v>#N/A</c:v>
                </c:pt>
                <c:pt idx="3216">
                  <c:v>2.2123400000000002</c:v>
                </c:pt>
                <c:pt idx="3217">
                  <c:v>1.80152</c:v>
                </c:pt>
                <c:pt idx="3218">
                  <c:v>1.6409199999999999</c:v>
                </c:pt>
                <c:pt idx="3219">
                  <c:v>#N/A</c:v>
                </c:pt>
                <c:pt idx="3220">
                  <c:v>2.6037499999999998</c:v>
                </c:pt>
                <c:pt idx="3221">
                  <c:v>2.3690000000000002</c:v>
                </c:pt>
                <c:pt idx="3222">
                  <c:v>#N/A</c:v>
                </c:pt>
                <c:pt idx="3223">
                  <c:v>2.9569200000000002</c:v>
                </c:pt>
                <c:pt idx="3224">
                  <c:v>2.3219699999999999</c:v>
                </c:pt>
                <c:pt idx="3225">
                  <c:v>2.1577600000000001</c:v>
                </c:pt>
                <c:pt idx="3226">
                  <c:v>#N/A</c:v>
                </c:pt>
                <c:pt idx="3227">
                  <c:v>1.6131500000000001</c:v>
                </c:pt>
                <c:pt idx="3228">
                  <c:v>#N/A</c:v>
                </c:pt>
                <c:pt idx="3229">
                  <c:v>1.70946</c:v>
                </c:pt>
                <c:pt idx="3230">
                  <c:v>#N/A</c:v>
                </c:pt>
                <c:pt idx="3231">
                  <c:v>2.36809</c:v>
                </c:pt>
                <c:pt idx="3232">
                  <c:v>2.0778300000000001</c:v>
                </c:pt>
                <c:pt idx="3233">
                  <c:v>1.93398</c:v>
                </c:pt>
                <c:pt idx="3234">
                  <c:v>#N/A</c:v>
                </c:pt>
                <c:pt idx="3235">
                  <c:v>2.0070800000000002</c:v>
                </c:pt>
                <c:pt idx="3236">
                  <c:v>1.5113300000000001</c:v>
                </c:pt>
                <c:pt idx="3237">
                  <c:v>1.80321</c:v>
                </c:pt>
                <c:pt idx="3238">
                  <c:v>#N/A</c:v>
                </c:pt>
                <c:pt idx="3239">
                  <c:v>1.89103</c:v>
                </c:pt>
                <c:pt idx="3240">
                  <c:v>2.3452099999999998</c:v>
                </c:pt>
                <c:pt idx="3241">
                  <c:v>2.4877699999999998</c:v>
                </c:pt>
                <c:pt idx="3242">
                  <c:v>#N/A</c:v>
                </c:pt>
                <c:pt idx="3243">
                  <c:v>2.5625200000000001</c:v>
                </c:pt>
                <c:pt idx="3244">
                  <c:v>2.2015600000000002</c:v>
                </c:pt>
                <c:pt idx="3245">
                  <c:v>1.5621700000000001</c:v>
                </c:pt>
                <c:pt idx="3246">
                  <c:v>#N/A</c:v>
                </c:pt>
                <c:pt idx="3247">
                  <c:v>1.47689</c:v>
                </c:pt>
                <c:pt idx="3248">
                  <c:v>1.2261500000000001</c:v>
                </c:pt>
                <c:pt idx="3249">
                  <c:v>2.3570099999999998</c:v>
                </c:pt>
                <c:pt idx="3250">
                  <c:v>#N/A</c:v>
                </c:pt>
                <c:pt idx="3251">
                  <c:v>3.0910500000000001</c:v>
                </c:pt>
                <c:pt idx="3252">
                  <c:v>3.50373</c:v>
                </c:pt>
                <c:pt idx="3253">
                  <c:v>#N/A</c:v>
                </c:pt>
                <c:pt idx="3254">
                  <c:v>3.0656400000000001</c:v>
                </c:pt>
                <c:pt idx="3255">
                  <c:v>2.1217800000000002</c:v>
                </c:pt>
                <c:pt idx="3256">
                  <c:v>2.00231</c:v>
                </c:pt>
                <c:pt idx="3257">
                  <c:v>#N/A</c:v>
                </c:pt>
                <c:pt idx="3258">
                  <c:v>1.4026700000000001</c:v>
                </c:pt>
                <c:pt idx="3259">
                  <c:v>1.3414299999999999</c:v>
                </c:pt>
                <c:pt idx="3260">
                  <c:v>#N/A</c:v>
                </c:pt>
                <c:pt idx="3261">
                  <c:v>1.77329</c:v>
                </c:pt>
                <c:pt idx="3262">
                  <c:v>2.40951</c:v>
                </c:pt>
                <c:pt idx="3263">
                  <c:v>2.9583900000000001</c:v>
                </c:pt>
                <c:pt idx="3264">
                  <c:v>#N/A</c:v>
                </c:pt>
                <c:pt idx="3265">
                  <c:v>2.7084700000000002</c:v>
                </c:pt>
                <c:pt idx="3266">
                  <c:v>2.2888799999999998</c:v>
                </c:pt>
                <c:pt idx="3267">
                  <c:v>1.9966600000000001</c:v>
                </c:pt>
                <c:pt idx="3268">
                  <c:v>#N/A</c:v>
                </c:pt>
                <c:pt idx="3269">
                  <c:v>1.5620499999999999</c:v>
                </c:pt>
                <c:pt idx="3270">
                  <c:v>1.4639</c:v>
                </c:pt>
                <c:pt idx="3271">
                  <c:v>1.6923900000000001</c:v>
                </c:pt>
                <c:pt idx="3272">
                  <c:v>#N/A</c:v>
                </c:pt>
                <c:pt idx="3273">
                  <c:v>2.7201300000000002</c:v>
                </c:pt>
                <c:pt idx="3274">
                  <c:v>3.5459900000000002</c:v>
                </c:pt>
                <c:pt idx="3275">
                  <c:v>3.21306</c:v>
                </c:pt>
                <c:pt idx="3276">
                  <c:v>#N/A</c:v>
                </c:pt>
                <c:pt idx="3277">
                  <c:v>2.4297200000000001</c:v>
                </c:pt>
                <c:pt idx="3278">
                  <c:v>1.7975000000000001</c:v>
                </c:pt>
                <c:pt idx="3279">
                  <c:v>1.6510199999999999</c:v>
                </c:pt>
                <c:pt idx="3280">
                  <c:v>#N/A</c:v>
                </c:pt>
                <c:pt idx="3281">
                  <c:v>1.4070499999999999</c:v>
                </c:pt>
                <c:pt idx="3282">
                  <c:v>1.4191</c:v>
                </c:pt>
                <c:pt idx="3283">
                  <c:v>1.8309200000000001</c:v>
                </c:pt>
                <c:pt idx="3284">
                  <c:v>#N/A</c:v>
                </c:pt>
                <c:pt idx="3285">
                  <c:v>1.71465</c:v>
                </c:pt>
                <c:pt idx="3286">
                  <c:v>2.2517200000000002</c:v>
                </c:pt>
                <c:pt idx="3287">
                  <c:v>2.13036</c:v>
                </c:pt>
                <c:pt idx="3288">
                  <c:v>#N/A</c:v>
                </c:pt>
                <c:pt idx="3289">
                  <c:v>1.89757</c:v>
                </c:pt>
                <c:pt idx="3290">
                  <c:v>1.79606</c:v>
                </c:pt>
                <c:pt idx="3291">
                  <c:v>1.45296</c:v>
                </c:pt>
                <c:pt idx="3292">
                  <c:v>#N/A</c:v>
                </c:pt>
                <c:pt idx="3293">
                  <c:v>1.85934</c:v>
                </c:pt>
                <c:pt idx="3294">
                  <c:v>2.3011699999999999</c:v>
                </c:pt>
                <c:pt idx="3295">
                  <c:v>#N/A</c:v>
                </c:pt>
                <c:pt idx="3296">
                  <c:v>2.9689899999999998</c:v>
                </c:pt>
                <c:pt idx="3297">
                  <c:v>2.7299799999999999</c:v>
                </c:pt>
                <c:pt idx="3298">
                  <c:v>3.2110400000000001</c:v>
                </c:pt>
                <c:pt idx="3299">
                  <c:v>#N/A</c:v>
                </c:pt>
                <c:pt idx="3300">
                  <c:v>2.7832599999999998</c:v>
                </c:pt>
                <c:pt idx="3301">
                  <c:v>1.85971</c:v>
                </c:pt>
                <c:pt idx="3302">
                  <c:v>2.2645</c:v>
                </c:pt>
                <c:pt idx="3303">
                  <c:v>#N/A</c:v>
                </c:pt>
                <c:pt idx="3304">
                  <c:v>2.0596999999999999</c:v>
                </c:pt>
                <c:pt idx="3305">
                  <c:v>2.8851100000000001</c:v>
                </c:pt>
                <c:pt idx="3306">
                  <c:v>2.5072100000000002</c:v>
                </c:pt>
                <c:pt idx="3307">
                  <c:v>#N/A</c:v>
                </c:pt>
                <c:pt idx="3308">
                  <c:v>2.4180799999999998</c:v>
                </c:pt>
                <c:pt idx="3309">
                  <c:v>1.50386</c:v>
                </c:pt>
                <c:pt idx="3310">
                  <c:v>1.44608</c:v>
                </c:pt>
                <c:pt idx="3311">
                  <c:v>#N/A</c:v>
                </c:pt>
                <c:pt idx="3312">
                  <c:v>1.4579599999999999</c:v>
                </c:pt>
                <c:pt idx="3313">
                  <c:v>2.0834899999999998</c:v>
                </c:pt>
                <c:pt idx="3314">
                  <c:v>2.1385800000000001</c:v>
                </c:pt>
                <c:pt idx="3315">
                  <c:v>#N/A</c:v>
                </c:pt>
                <c:pt idx="3316">
                  <c:v>2.7949700000000002</c:v>
                </c:pt>
                <c:pt idx="3317">
                  <c:v>3.1955399999999998</c:v>
                </c:pt>
                <c:pt idx="3318">
                  <c:v>2.2852399999999999</c:v>
                </c:pt>
                <c:pt idx="3319">
                  <c:v>#N/A</c:v>
                </c:pt>
                <c:pt idx="3320">
                  <c:v>1.8915900000000001</c:v>
                </c:pt>
                <c:pt idx="3321">
                  <c:v>1.83558</c:v>
                </c:pt>
                <c:pt idx="3322">
                  <c:v>#N/A</c:v>
                </c:pt>
                <c:pt idx="3323">
                  <c:v>1.92319</c:v>
                </c:pt>
                <c:pt idx="3324">
                  <c:v>3.02332</c:v>
                </c:pt>
                <c:pt idx="3325">
                  <c:v>3.0907900000000001</c:v>
                </c:pt>
                <c:pt idx="3326">
                  <c:v>#N/A</c:v>
                </c:pt>
                <c:pt idx="3327">
                  <c:v>2.7976100000000002</c:v>
                </c:pt>
                <c:pt idx="3328">
                  <c:v>2.9628100000000002</c:v>
                </c:pt>
                <c:pt idx="3329">
                  <c:v>2.5910500000000001</c:v>
                </c:pt>
                <c:pt idx="3330">
                  <c:v>#N/A</c:v>
                </c:pt>
                <c:pt idx="3331">
                  <c:v>1.8923000000000001</c:v>
                </c:pt>
                <c:pt idx="3332">
                  <c:v>1.51861</c:v>
                </c:pt>
                <c:pt idx="3333">
                  <c:v>1.6328499999999999</c:v>
                </c:pt>
                <c:pt idx="3334">
                  <c:v>#N/A</c:v>
                </c:pt>
                <c:pt idx="3335">
                  <c:v>2.97262</c:v>
                </c:pt>
                <c:pt idx="3336">
                  <c:v>3.1345200000000002</c:v>
                </c:pt>
                <c:pt idx="3337">
                  <c:v>3.13991</c:v>
                </c:pt>
                <c:pt idx="3338">
                  <c:v>#N/A</c:v>
                </c:pt>
                <c:pt idx="3339">
                  <c:v>2.3409499999999999</c:v>
                </c:pt>
                <c:pt idx="3340">
                  <c:v>1.5747899999999999</c:v>
                </c:pt>
                <c:pt idx="3341">
                  <c:v>#N/A</c:v>
                </c:pt>
                <c:pt idx="3342">
                  <c:v>1.95374</c:v>
                </c:pt>
                <c:pt idx="3343">
                  <c:v>1.31362</c:v>
                </c:pt>
                <c:pt idx="3344">
                  <c:v>1.9215500000000001</c:v>
                </c:pt>
                <c:pt idx="3345">
                  <c:v>#N/A</c:v>
                </c:pt>
                <c:pt idx="3346">
                  <c:v>2.02555</c:v>
                </c:pt>
                <c:pt idx="3347">
                  <c:v>2.7143199999999998</c:v>
                </c:pt>
                <c:pt idx="3348">
                  <c:v>2.5761699999999998</c:v>
                </c:pt>
                <c:pt idx="3349">
                  <c:v>#N/A</c:v>
                </c:pt>
                <c:pt idx="3350">
                  <c:v>2.44177</c:v>
                </c:pt>
                <c:pt idx="3351">
                  <c:v>1.1972799999999999</c:v>
                </c:pt>
                <c:pt idx="3352">
                  <c:v>1.32575</c:v>
                </c:pt>
                <c:pt idx="3353">
                  <c:v>#N/A</c:v>
                </c:pt>
                <c:pt idx="3354">
                  <c:v>1.84409</c:v>
                </c:pt>
                <c:pt idx="3355">
                  <c:v>1.55504</c:v>
                </c:pt>
                <c:pt idx="3356">
                  <c:v>2.3527499999999999</c:v>
                </c:pt>
                <c:pt idx="3357">
                  <c:v>#N/A</c:v>
                </c:pt>
                <c:pt idx="3358">
                  <c:v>2.77251</c:v>
                </c:pt>
                <c:pt idx="3359">
                  <c:v>3.47797</c:v>
                </c:pt>
                <c:pt idx="3360">
                  <c:v>3.3479399999999999</c:v>
                </c:pt>
                <c:pt idx="3361">
                  <c:v>#N/A</c:v>
                </c:pt>
                <c:pt idx="3362">
                  <c:v>2.1391100000000001</c:v>
                </c:pt>
                <c:pt idx="3363">
                  <c:v>2.0842900000000002</c:v>
                </c:pt>
                <c:pt idx="3364">
                  <c:v>#N/A</c:v>
                </c:pt>
                <c:pt idx="3365">
                  <c:v>1.8194900000000001</c:v>
                </c:pt>
                <c:pt idx="3366">
                  <c:v>1.91167</c:v>
                </c:pt>
                <c:pt idx="3367">
                  <c:v>2.1315900000000001</c:v>
                </c:pt>
                <c:pt idx="3368">
                  <c:v>#N/A</c:v>
                </c:pt>
                <c:pt idx="3369">
                  <c:v>1.9723999999999999</c:v>
                </c:pt>
                <c:pt idx="3370">
                  <c:v>2.1453799999999998</c:v>
                </c:pt>
                <c:pt idx="3371">
                  <c:v>#N/A</c:v>
                </c:pt>
                <c:pt idx="3372">
                  <c:v>2.6239699999999999</c:v>
                </c:pt>
                <c:pt idx="3373">
                  <c:v>1.8486400000000001</c:v>
                </c:pt>
                <c:pt idx="3374">
                  <c:v>1.8508899999999999</c:v>
                </c:pt>
                <c:pt idx="3375">
                  <c:v>#N/A</c:v>
                </c:pt>
                <c:pt idx="3376">
                  <c:v>1.21336</c:v>
                </c:pt>
                <c:pt idx="3377">
                  <c:v>#N/A</c:v>
                </c:pt>
                <c:pt idx="3378">
                  <c:v>2.17923</c:v>
                </c:pt>
                <c:pt idx="3379">
                  <c:v>2.2932899999999998</c:v>
                </c:pt>
                <c:pt idx="3380">
                  <c:v>2.6248800000000001</c:v>
                </c:pt>
                <c:pt idx="3381">
                  <c:v>#N/A</c:v>
                </c:pt>
                <c:pt idx="3382">
                  <c:v>2.4966900000000001</c:v>
                </c:pt>
                <c:pt idx="3383">
                  <c:v>2.3125499999999999</c:v>
                </c:pt>
                <c:pt idx="3384">
                  <c:v>2.4486500000000002</c:v>
                </c:pt>
                <c:pt idx="3385">
                  <c:v>#N/A</c:v>
                </c:pt>
                <c:pt idx="3386">
                  <c:v>2.5913900000000001</c:v>
                </c:pt>
                <c:pt idx="3387">
                  <c:v>2.21685</c:v>
                </c:pt>
                <c:pt idx="3388">
                  <c:v>#N/A</c:v>
                </c:pt>
                <c:pt idx="3389">
                  <c:v>2.1683699999999999</c:v>
                </c:pt>
                <c:pt idx="3390">
                  <c:v>1.8229299999999999</c:v>
                </c:pt>
                <c:pt idx="3391">
                  <c:v>1.98488</c:v>
                </c:pt>
                <c:pt idx="3392">
                  <c:v>#N/A</c:v>
                </c:pt>
                <c:pt idx="3393">
                  <c:v>1.91682</c:v>
                </c:pt>
                <c:pt idx="3394">
                  <c:v>1.81169</c:v>
                </c:pt>
                <c:pt idx="3395">
                  <c:v>1.7561100000000001</c:v>
                </c:pt>
                <c:pt idx="3396">
                  <c:v>#N/A</c:v>
                </c:pt>
                <c:pt idx="3397">
                  <c:v>1.9339500000000001</c:v>
                </c:pt>
                <c:pt idx="3398">
                  <c:v>2.6340699999999999</c:v>
                </c:pt>
                <c:pt idx="3399">
                  <c:v>2.6863100000000002</c:v>
                </c:pt>
                <c:pt idx="3400">
                  <c:v>#N/A</c:v>
                </c:pt>
                <c:pt idx="3401">
                  <c:v>2.8526400000000001</c:v>
                </c:pt>
                <c:pt idx="3402">
                  <c:v>2.1573699999999998</c:v>
                </c:pt>
                <c:pt idx="3403">
                  <c:v>1.8211999999999999</c:v>
                </c:pt>
                <c:pt idx="3404">
                  <c:v>#N/A</c:v>
                </c:pt>
                <c:pt idx="3405">
                  <c:v>1.5121199999999999</c:v>
                </c:pt>
                <c:pt idx="3406">
                  <c:v>2.40686</c:v>
                </c:pt>
                <c:pt idx="3407">
                  <c:v>1.9491000000000001</c:v>
                </c:pt>
                <c:pt idx="3408">
                  <c:v>#N/A</c:v>
                </c:pt>
                <c:pt idx="3409">
                  <c:v>3.2398199999999999</c:v>
                </c:pt>
                <c:pt idx="3410">
                  <c:v>2.8662700000000001</c:v>
                </c:pt>
                <c:pt idx="3411">
                  <c:v>3.0204499999999999</c:v>
                </c:pt>
                <c:pt idx="3412">
                  <c:v>#N/A</c:v>
                </c:pt>
                <c:pt idx="3413">
                  <c:v>2.0831499999999998</c:v>
                </c:pt>
                <c:pt idx="3414">
                  <c:v>1.2475799999999999</c:v>
                </c:pt>
                <c:pt idx="3415">
                  <c:v>1.4301299999999999</c:v>
                </c:pt>
                <c:pt idx="3416">
                  <c:v>#N/A</c:v>
                </c:pt>
                <c:pt idx="3417">
                  <c:v>1.3812599999999999</c:v>
                </c:pt>
                <c:pt idx="3418">
                  <c:v>2.1442100000000002</c:v>
                </c:pt>
                <c:pt idx="3419">
                  <c:v>2.44042</c:v>
                </c:pt>
                <c:pt idx="3420">
                  <c:v>#N/A</c:v>
                </c:pt>
                <c:pt idx="3421">
                  <c:v>3.6267399999999999</c:v>
                </c:pt>
                <c:pt idx="3422">
                  <c:v>3.4133399999999998</c:v>
                </c:pt>
                <c:pt idx="3423">
                  <c:v>#N/A</c:v>
                </c:pt>
                <c:pt idx="3424">
                  <c:v>2.3253300000000001</c:v>
                </c:pt>
                <c:pt idx="3425">
                  <c:v>1.4367799999999999</c:v>
                </c:pt>
                <c:pt idx="3426">
                  <c:v>1.8546</c:v>
                </c:pt>
                <c:pt idx="3427">
                  <c:v>#N/A</c:v>
                </c:pt>
                <c:pt idx="3428">
                  <c:v>1.70363</c:v>
                </c:pt>
                <c:pt idx="3429">
                  <c:v>2.42198</c:v>
                </c:pt>
                <c:pt idx="3430">
                  <c:v>2.6393399999999998</c:v>
                </c:pt>
                <c:pt idx="3431">
                  <c:v>#N/A</c:v>
                </c:pt>
                <c:pt idx="3432">
                  <c:v>2.7494999999999998</c:v>
                </c:pt>
                <c:pt idx="3433">
                  <c:v>2.66832</c:v>
                </c:pt>
                <c:pt idx="3434">
                  <c:v>2.5099300000000002</c:v>
                </c:pt>
                <c:pt idx="3435">
                  <c:v>#N/A</c:v>
                </c:pt>
                <c:pt idx="3436">
                  <c:v>2.3574799999999998</c:v>
                </c:pt>
                <c:pt idx="3437">
                  <c:v>1.55871</c:v>
                </c:pt>
                <c:pt idx="3438">
                  <c:v>2.0985499999999999</c:v>
                </c:pt>
                <c:pt idx="3439">
                  <c:v>#N/A</c:v>
                </c:pt>
                <c:pt idx="3440">
                  <c:v>1.9333100000000001</c:v>
                </c:pt>
                <c:pt idx="3441">
                  <c:v>2.9894599999999998</c:v>
                </c:pt>
                <c:pt idx="3442">
                  <c:v>3.2166999999999999</c:v>
                </c:pt>
                <c:pt idx="3443">
                  <c:v>#N/A</c:v>
                </c:pt>
                <c:pt idx="3444">
                  <c:v>2.8219799999999999</c:v>
                </c:pt>
                <c:pt idx="3445">
                  <c:v>2.8639100000000002</c:v>
                </c:pt>
                <c:pt idx="3446">
                  <c:v>#N/A</c:v>
                </c:pt>
                <c:pt idx="3447">
                  <c:v>2.22296</c:v>
                </c:pt>
                <c:pt idx="3448">
                  <c:v>2.1303399999999999</c:v>
                </c:pt>
                <c:pt idx="3449">
                  <c:v>2.1762999999999999</c:v>
                </c:pt>
                <c:pt idx="3450">
                  <c:v>#N/A</c:v>
                </c:pt>
                <c:pt idx="3451">
                  <c:v>2.67347</c:v>
                </c:pt>
                <c:pt idx="3452">
                  <c:v>#N/A</c:v>
                </c:pt>
                <c:pt idx="3453">
                  <c:v>2.64717</c:v>
                </c:pt>
                <c:pt idx="3454">
                  <c:v>2.2344499999999998</c:v>
                </c:pt>
                <c:pt idx="3455">
                  <c:v>#N/A</c:v>
                </c:pt>
                <c:pt idx="3456">
                  <c:v>1.8001499999999999</c:v>
                </c:pt>
                <c:pt idx="3457">
                  <c:v>1.8702099999999999</c:v>
                </c:pt>
                <c:pt idx="3458">
                  <c:v>1.96306</c:v>
                </c:pt>
                <c:pt idx="3459">
                  <c:v>#N/A</c:v>
                </c:pt>
                <c:pt idx="3460">
                  <c:v>1.8324499999999999</c:v>
                </c:pt>
                <c:pt idx="3461">
                  <c:v>2.30084</c:v>
                </c:pt>
                <c:pt idx="3462">
                  <c:v>2.3747199999999999</c:v>
                </c:pt>
                <c:pt idx="3463">
                  <c:v>#N/A</c:v>
                </c:pt>
                <c:pt idx="3464">
                  <c:v>2.9582600000000001</c:v>
                </c:pt>
                <c:pt idx="3465">
                  <c:v>2.3526799999999999</c:v>
                </c:pt>
                <c:pt idx="3466">
                  <c:v>2.2969900000000001</c:v>
                </c:pt>
                <c:pt idx="3467">
                  <c:v>#N/A</c:v>
                </c:pt>
                <c:pt idx="3468">
                  <c:v>1.83216</c:v>
                </c:pt>
                <c:pt idx="3469">
                  <c:v>2.0113099999999999</c:v>
                </c:pt>
                <c:pt idx="3470">
                  <c:v>2.4027099999999999</c:v>
                </c:pt>
                <c:pt idx="3471">
                  <c:v>#N/A</c:v>
                </c:pt>
                <c:pt idx="3472">
                  <c:v>2.30063</c:v>
                </c:pt>
                <c:pt idx="3473">
                  <c:v>2.09354</c:v>
                </c:pt>
                <c:pt idx="3474">
                  <c:v>2.30179</c:v>
                </c:pt>
                <c:pt idx="3475">
                  <c:v>#N/A</c:v>
                </c:pt>
                <c:pt idx="3476">
                  <c:v>2.3077200000000002</c:v>
                </c:pt>
                <c:pt idx="3477">
                  <c:v>1.4098900000000001</c:v>
                </c:pt>
                <c:pt idx="3478">
                  <c:v>1.68937</c:v>
                </c:pt>
                <c:pt idx="3479">
                  <c:v>#N/A</c:v>
                </c:pt>
                <c:pt idx="3480">
                  <c:v>1.7131700000000001</c:v>
                </c:pt>
                <c:pt idx="3481">
                  <c:v>2.7547199999999998</c:v>
                </c:pt>
                <c:pt idx="3482">
                  <c:v>#N/A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#N/A</c:v>
                </c:pt>
                <c:pt idx="3492">
                  <c:v>#N/A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#N/A</c:v>
                </c:pt>
                <c:pt idx="3499">
                  <c:v>#N/A</c:v>
                </c:pt>
                <c:pt idx="3500">
                  <c:v>#N/A</c:v>
                </c:pt>
                <c:pt idx="3501">
                  <c:v>#N/A</c:v>
                </c:pt>
                <c:pt idx="3502">
                  <c:v>#N/A</c:v>
                </c:pt>
                <c:pt idx="3503">
                  <c:v>#N/A</c:v>
                </c:pt>
                <c:pt idx="3504">
                  <c:v>#N/A</c:v>
                </c:pt>
                <c:pt idx="3505">
                  <c:v>2.7277300000000002</c:v>
                </c:pt>
                <c:pt idx="3506">
                  <c:v>2.9614600000000002</c:v>
                </c:pt>
                <c:pt idx="3507">
                  <c:v>#N/A</c:v>
                </c:pt>
                <c:pt idx="3508">
                  <c:v>2.1435599999999999</c:v>
                </c:pt>
                <c:pt idx="3509">
                  <c:v>1.9483600000000001</c:v>
                </c:pt>
                <c:pt idx="3510">
                  <c:v>#N/A</c:v>
                </c:pt>
                <c:pt idx="3511">
                  <c:v>1.8965700000000001</c:v>
                </c:pt>
                <c:pt idx="3512">
                  <c:v>2.47119</c:v>
                </c:pt>
                <c:pt idx="3513">
                  <c:v>2.6516799999999998</c:v>
                </c:pt>
                <c:pt idx="3514">
                  <c:v>#N/A</c:v>
                </c:pt>
                <c:pt idx="3515">
                  <c:v>2.8808400000000001</c:v>
                </c:pt>
                <c:pt idx="3516">
                  <c:v>3.0794000000000001</c:v>
                </c:pt>
                <c:pt idx="3517">
                  <c:v>2.6737700000000002</c:v>
                </c:pt>
                <c:pt idx="3518">
                  <c:v>#N/A</c:v>
                </c:pt>
                <c:pt idx="3519">
                  <c:v>2.4718300000000002</c:v>
                </c:pt>
                <c:pt idx="3520">
                  <c:v>1.98706</c:v>
                </c:pt>
                <c:pt idx="3521">
                  <c:v>#N/A</c:v>
                </c:pt>
                <c:pt idx="3522">
                  <c:v>2.0938500000000002</c:v>
                </c:pt>
                <c:pt idx="3523">
                  <c:v>2.0487199999999999</c:v>
                </c:pt>
                <c:pt idx="3524">
                  <c:v>2.8479399999999999</c:v>
                </c:pt>
                <c:pt idx="3525">
                  <c:v>#N/A</c:v>
                </c:pt>
                <c:pt idx="3526">
                  <c:v>2.3172600000000001</c:v>
                </c:pt>
                <c:pt idx="3527">
                  <c:v>2.5974400000000002</c:v>
                </c:pt>
                <c:pt idx="3528">
                  <c:v>2.7482799999999998</c:v>
                </c:pt>
                <c:pt idx="3529">
                  <c:v>#N/A</c:v>
                </c:pt>
                <c:pt idx="3530">
                  <c:v>2.2075</c:v>
                </c:pt>
                <c:pt idx="3531">
                  <c:v>2.33704</c:v>
                </c:pt>
                <c:pt idx="3532">
                  <c:v>#N/A</c:v>
                </c:pt>
                <c:pt idx="3533">
                  <c:v>2.1345200000000002</c:v>
                </c:pt>
                <c:pt idx="3534">
                  <c:v>2.1340599999999998</c:v>
                </c:pt>
                <c:pt idx="3535">
                  <c:v>2.3755799999999998</c:v>
                </c:pt>
                <c:pt idx="3536">
                  <c:v>#N/A</c:v>
                </c:pt>
                <c:pt idx="3537">
                  <c:v>2.5241600000000002</c:v>
                </c:pt>
                <c:pt idx="3538">
                  <c:v>1.87104</c:v>
                </c:pt>
                <c:pt idx="3539">
                  <c:v>1.45627</c:v>
                </c:pt>
                <c:pt idx="3540">
                  <c:v>#N/A</c:v>
                </c:pt>
                <c:pt idx="3541">
                  <c:v>1.78888</c:v>
                </c:pt>
                <c:pt idx="3542">
                  <c:v>2.4164099999999999</c:v>
                </c:pt>
                <c:pt idx="3543">
                  <c:v>2.9676399999999998</c:v>
                </c:pt>
                <c:pt idx="3544">
                  <c:v>#N/A</c:v>
                </c:pt>
                <c:pt idx="3545">
                  <c:v>2.8886400000000001</c:v>
                </c:pt>
                <c:pt idx="3546">
                  <c:v>2.7172200000000002</c:v>
                </c:pt>
                <c:pt idx="3547">
                  <c:v>#N/A</c:v>
                </c:pt>
                <c:pt idx="3548">
                  <c:v>2.5473599999999998</c:v>
                </c:pt>
                <c:pt idx="3549">
                  <c:v>2.9214099999999998</c:v>
                </c:pt>
                <c:pt idx="3550">
                  <c:v>2.5181100000000001</c:v>
                </c:pt>
                <c:pt idx="3551">
                  <c:v>#N/A</c:v>
                </c:pt>
                <c:pt idx="3552">
                  <c:v>2.1786599999999998</c:v>
                </c:pt>
                <c:pt idx="3553">
                  <c:v>2.1740900000000001</c:v>
                </c:pt>
                <c:pt idx="3554">
                  <c:v>2.9766599999999999</c:v>
                </c:pt>
                <c:pt idx="3555">
                  <c:v>#N/A</c:v>
                </c:pt>
                <c:pt idx="3556">
                  <c:v>3.3010000000000002</c:v>
                </c:pt>
                <c:pt idx="3557">
                  <c:v>2.5723799999999999</c:v>
                </c:pt>
                <c:pt idx="3558">
                  <c:v>1.6798200000000001</c:v>
                </c:pt>
                <c:pt idx="3559">
                  <c:v>#N/A</c:v>
                </c:pt>
                <c:pt idx="3560">
                  <c:v>1.87049</c:v>
                </c:pt>
                <c:pt idx="3561">
                  <c:v>1.7385900000000001</c:v>
                </c:pt>
                <c:pt idx="3562">
                  <c:v>1.2123200000000001</c:v>
                </c:pt>
                <c:pt idx="3563">
                  <c:v>#N/A</c:v>
                </c:pt>
                <c:pt idx="3564">
                  <c:v>2.0131199999999998</c:v>
                </c:pt>
                <c:pt idx="3565">
                  <c:v>2.74214</c:v>
                </c:pt>
                <c:pt idx="3566">
                  <c:v>3.7522099999999998</c:v>
                </c:pt>
                <c:pt idx="3567">
                  <c:v>#N/A</c:v>
                </c:pt>
                <c:pt idx="3568">
                  <c:v>3.8151099999999998</c:v>
                </c:pt>
                <c:pt idx="3569">
                  <c:v>2.5428799999999998</c:v>
                </c:pt>
                <c:pt idx="3570">
                  <c:v>2.0236800000000001</c:v>
                </c:pt>
                <c:pt idx="3571">
                  <c:v>#N/A</c:v>
                </c:pt>
                <c:pt idx="3572">
                  <c:v>1.76485</c:v>
                </c:pt>
                <c:pt idx="3573">
                  <c:v>2.2610899999999998</c:v>
                </c:pt>
                <c:pt idx="3574">
                  <c:v>#N/A</c:v>
                </c:pt>
                <c:pt idx="3575">
                  <c:v>2.3052700000000002</c:v>
                </c:pt>
                <c:pt idx="3576">
                  <c:v>2.70411</c:v>
                </c:pt>
                <c:pt idx="3577">
                  <c:v>3.3764599999999998</c:v>
                </c:pt>
                <c:pt idx="3578">
                  <c:v>#N/A</c:v>
                </c:pt>
                <c:pt idx="3579">
                  <c:v>2.9909400000000002</c:v>
                </c:pt>
                <c:pt idx="3580">
                  <c:v>2.7302200000000001</c:v>
                </c:pt>
                <c:pt idx="3581">
                  <c:v>1.976</c:v>
                </c:pt>
                <c:pt idx="3582">
                  <c:v>#N/A</c:v>
                </c:pt>
                <c:pt idx="3583">
                  <c:v>2.04203</c:v>
                </c:pt>
                <c:pt idx="3584">
                  <c:v>1.4398</c:v>
                </c:pt>
                <c:pt idx="3585">
                  <c:v>2.57165</c:v>
                </c:pt>
                <c:pt idx="3586">
                  <c:v>#N/A</c:v>
                </c:pt>
                <c:pt idx="3587">
                  <c:v>2.3493200000000001</c:v>
                </c:pt>
                <c:pt idx="3588">
                  <c:v>2.43872</c:v>
                </c:pt>
                <c:pt idx="3589">
                  <c:v>#N/A</c:v>
                </c:pt>
                <c:pt idx="3590">
                  <c:v>2.5696599999999998</c:v>
                </c:pt>
                <c:pt idx="3591">
                  <c:v>2.85331</c:v>
                </c:pt>
                <c:pt idx="3592">
                  <c:v>2.7668900000000001</c:v>
                </c:pt>
                <c:pt idx="3593">
                  <c:v>#N/A</c:v>
                </c:pt>
                <c:pt idx="3594">
                  <c:v>1.91086</c:v>
                </c:pt>
                <c:pt idx="3595">
                  <c:v>1.6822600000000001</c:v>
                </c:pt>
                <c:pt idx="3596">
                  <c:v>2.4065500000000002</c:v>
                </c:pt>
                <c:pt idx="3597">
                  <c:v>#N/A</c:v>
                </c:pt>
                <c:pt idx="3598">
                  <c:v>2.56134</c:v>
                </c:pt>
                <c:pt idx="3599">
                  <c:v>3.01268</c:v>
                </c:pt>
                <c:pt idx="3600">
                  <c:v>#N/A</c:v>
                </c:pt>
                <c:pt idx="3601">
                  <c:v>2.45499</c:v>
                </c:pt>
                <c:pt idx="3602">
                  <c:v>2.5497200000000002</c:v>
                </c:pt>
                <c:pt idx="3603">
                  <c:v>#N/A</c:v>
                </c:pt>
                <c:pt idx="3604">
                  <c:v>1.9864200000000001</c:v>
                </c:pt>
                <c:pt idx="3605">
                  <c:v>2.1043799999999999</c:v>
                </c:pt>
                <c:pt idx="3606">
                  <c:v>#N/A</c:v>
                </c:pt>
                <c:pt idx="3607">
                  <c:v>2.37791</c:v>
                </c:pt>
                <c:pt idx="3608">
                  <c:v>2.9353600000000002</c:v>
                </c:pt>
                <c:pt idx="3609">
                  <c:v>#N/A</c:v>
                </c:pt>
                <c:pt idx="3610">
                  <c:v>3.0068899999999998</c:v>
                </c:pt>
                <c:pt idx="3611">
                  <c:v>2.6936200000000001</c:v>
                </c:pt>
                <c:pt idx="3612">
                  <c:v>2.3554200000000001</c:v>
                </c:pt>
                <c:pt idx="3613">
                  <c:v>#N/A</c:v>
                </c:pt>
                <c:pt idx="3614">
                  <c:v>2.1185900000000002</c:v>
                </c:pt>
                <c:pt idx="3615">
                  <c:v>2.4900600000000002</c:v>
                </c:pt>
                <c:pt idx="3616">
                  <c:v>2.4561899999999999</c:v>
                </c:pt>
                <c:pt idx="3617">
                  <c:v>#N/A</c:v>
                </c:pt>
                <c:pt idx="3618">
                  <c:v>2.6469299999999998</c:v>
                </c:pt>
                <c:pt idx="3619">
                  <c:v>2.6697700000000002</c:v>
                </c:pt>
                <c:pt idx="3620">
                  <c:v>#N/A</c:v>
                </c:pt>
                <c:pt idx="3621">
                  <c:v>2.8473799999999998</c:v>
                </c:pt>
                <c:pt idx="3622">
                  <c:v>2.0889199999999999</c:v>
                </c:pt>
                <c:pt idx="3623">
                  <c:v>1.71628</c:v>
                </c:pt>
                <c:pt idx="3624">
                  <c:v>#N/A</c:v>
                </c:pt>
                <c:pt idx="3625">
                  <c:v>1.6536500000000001</c:v>
                </c:pt>
                <c:pt idx="3626">
                  <c:v>1.9774799999999999</c:v>
                </c:pt>
                <c:pt idx="3627">
                  <c:v>3.0579399999999999</c:v>
                </c:pt>
                <c:pt idx="3628">
                  <c:v>#N/A</c:v>
                </c:pt>
                <c:pt idx="3629">
                  <c:v>3.5203000000000002</c:v>
                </c:pt>
                <c:pt idx="3630">
                  <c:v>3.49153</c:v>
                </c:pt>
                <c:pt idx="3631">
                  <c:v>3.0655999999999999</c:v>
                </c:pt>
                <c:pt idx="3632">
                  <c:v>#N/A</c:v>
                </c:pt>
                <c:pt idx="3633">
                  <c:v>2.9016899999999999</c:v>
                </c:pt>
                <c:pt idx="3634">
                  <c:v>2.4758900000000001</c:v>
                </c:pt>
                <c:pt idx="3635">
                  <c:v>1.9175500000000001</c:v>
                </c:pt>
                <c:pt idx="3636">
                  <c:v>#N/A</c:v>
                </c:pt>
                <c:pt idx="3637">
                  <c:v>2.16805</c:v>
                </c:pt>
                <c:pt idx="3638">
                  <c:v>2.9192300000000002</c:v>
                </c:pt>
                <c:pt idx="3639">
                  <c:v>#N/A</c:v>
                </c:pt>
                <c:pt idx="3640">
                  <c:v>3.6406499999999999</c:v>
                </c:pt>
                <c:pt idx="3641">
                  <c:v>3.0354100000000002</c:v>
                </c:pt>
                <c:pt idx="3642">
                  <c:v>2.6536499999999998</c:v>
                </c:pt>
                <c:pt idx="3643">
                  <c:v>#N/A</c:v>
                </c:pt>
                <c:pt idx="3644">
                  <c:v>2.0300600000000002</c:v>
                </c:pt>
                <c:pt idx="3645">
                  <c:v>1.5028900000000001</c:v>
                </c:pt>
                <c:pt idx="3646">
                  <c:v>2.0098699999999998</c:v>
                </c:pt>
                <c:pt idx="3647">
                  <c:v>#N/A</c:v>
                </c:pt>
                <c:pt idx="3648">
                  <c:v>2.01844</c:v>
                </c:pt>
                <c:pt idx="3649">
                  <c:v>2.7882899999999999</c:v>
                </c:pt>
                <c:pt idx="3650">
                  <c:v>3.2074600000000002</c:v>
                </c:pt>
                <c:pt idx="3651">
                  <c:v>#N/A</c:v>
                </c:pt>
                <c:pt idx="3652">
                  <c:v>3.7145700000000001</c:v>
                </c:pt>
                <c:pt idx="3653">
                  <c:v>2.9009299999999998</c:v>
                </c:pt>
                <c:pt idx="3654">
                  <c:v>2.45844</c:v>
                </c:pt>
                <c:pt idx="3655">
                  <c:v>#N/A</c:v>
                </c:pt>
                <c:pt idx="3656">
                  <c:v>2.2051500000000002</c:v>
                </c:pt>
                <c:pt idx="3657">
                  <c:v>2.0152199999999998</c:v>
                </c:pt>
                <c:pt idx="3658">
                  <c:v>2.0421800000000001</c:v>
                </c:pt>
                <c:pt idx="3659">
                  <c:v>#N/A</c:v>
                </c:pt>
                <c:pt idx="3660">
                  <c:v>2.6777500000000001</c:v>
                </c:pt>
                <c:pt idx="3661">
                  <c:v>2.7460800000000001</c:v>
                </c:pt>
                <c:pt idx="3662">
                  <c:v>#N/A</c:v>
                </c:pt>
                <c:pt idx="3663">
                  <c:v>3.0662500000000001</c:v>
                </c:pt>
                <c:pt idx="3664">
                  <c:v>3.1463299999999998</c:v>
                </c:pt>
                <c:pt idx="3665">
                  <c:v>2.5942500000000002</c:v>
                </c:pt>
                <c:pt idx="3666">
                  <c:v>#N/A</c:v>
                </c:pt>
                <c:pt idx="3667">
                  <c:v>2.0209600000000001</c:v>
                </c:pt>
                <c:pt idx="3668">
                  <c:v>2.12921</c:v>
                </c:pt>
                <c:pt idx="3669">
                  <c:v>2.8349299999999999</c:v>
                </c:pt>
                <c:pt idx="3670">
                  <c:v>#N/A</c:v>
                </c:pt>
                <c:pt idx="3671">
                  <c:v>3.4535</c:v>
                </c:pt>
                <c:pt idx="3672">
                  <c:v>3.80071</c:v>
                </c:pt>
                <c:pt idx="3673">
                  <c:v>3.14161</c:v>
                </c:pt>
                <c:pt idx="3674">
                  <c:v>#N/A</c:v>
                </c:pt>
                <c:pt idx="3675">
                  <c:v>#N/A</c:v>
                </c:pt>
                <c:pt idx="3676">
                  <c:v>2.8367900000000001</c:v>
                </c:pt>
                <c:pt idx="3677">
                  <c:v>2.4588199999999998</c:v>
                </c:pt>
                <c:pt idx="3678">
                  <c:v>2.7069399999999999</c:v>
                </c:pt>
                <c:pt idx="3679">
                  <c:v>#N/A</c:v>
                </c:pt>
                <c:pt idx="3680">
                  <c:v>2.7936700000000001</c:v>
                </c:pt>
                <c:pt idx="3681">
                  <c:v>2.8004500000000001</c:v>
                </c:pt>
                <c:pt idx="3682">
                  <c:v>2.8357299999999999</c:v>
                </c:pt>
                <c:pt idx="3683">
                  <c:v>#N/A</c:v>
                </c:pt>
                <c:pt idx="3684">
                  <c:v>2.5618400000000001</c:v>
                </c:pt>
                <c:pt idx="3685">
                  <c:v>2.5124300000000002</c:v>
                </c:pt>
                <c:pt idx="3686">
                  <c:v>2.0253299999999999</c:v>
                </c:pt>
                <c:pt idx="3687">
                  <c:v>#N/A</c:v>
                </c:pt>
                <c:pt idx="3688">
                  <c:v>2.0922000000000001</c:v>
                </c:pt>
                <c:pt idx="3689">
                  <c:v>2.0290499999999998</c:v>
                </c:pt>
                <c:pt idx="3690">
                  <c:v>2.7185800000000002</c:v>
                </c:pt>
                <c:pt idx="3691">
                  <c:v>#N/A</c:v>
                </c:pt>
                <c:pt idx="3692">
                  <c:v>3.7062300000000001</c:v>
                </c:pt>
                <c:pt idx="3693">
                  <c:v>3.5678999999999998</c:v>
                </c:pt>
                <c:pt idx="3694">
                  <c:v>2.9632800000000001</c:v>
                </c:pt>
                <c:pt idx="3695">
                  <c:v>#N/A</c:v>
                </c:pt>
                <c:pt idx="3696">
                  <c:v>2.6157699999999999</c:v>
                </c:pt>
                <c:pt idx="3697">
                  <c:v>2.1319400000000002</c:v>
                </c:pt>
                <c:pt idx="3698">
                  <c:v>#N/A</c:v>
                </c:pt>
                <c:pt idx="3699">
                  <c:v>2.4866199999999998</c:v>
                </c:pt>
                <c:pt idx="3700">
                  <c:v>2.8217599999999998</c:v>
                </c:pt>
                <c:pt idx="3701">
                  <c:v>2.93757</c:v>
                </c:pt>
                <c:pt idx="3702">
                  <c:v>#N/A</c:v>
                </c:pt>
                <c:pt idx="3703">
                  <c:v>3.2825899999999999</c:v>
                </c:pt>
                <c:pt idx="3704">
                  <c:v>3.0146600000000001</c:v>
                </c:pt>
                <c:pt idx="3705">
                  <c:v>2.6742499999999998</c:v>
                </c:pt>
                <c:pt idx="3706">
                  <c:v>#N/A</c:v>
                </c:pt>
                <c:pt idx="3707">
                  <c:v>2.2160199999999999</c:v>
                </c:pt>
                <c:pt idx="3708">
                  <c:v>1.7470399999999999</c:v>
                </c:pt>
                <c:pt idx="3709">
                  <c:v>2.3553600000000001</c:v>
                </c:pt>
                <c:pt idx="3710">
                  <c:v>#N/A</c:v>
                </c:pt>
                <c:pt idx="3711">
                  <c:v>2.77826</c:v>
                </c:pt>
                <c:pt idx="3712">
                  <c:v>2.96218</c:v>
                </c:pt>
                <c:pt idx="3713">
                  <c:v>3.2852800000000002</c:v>
                </c:pt>
                <c:pt idx="3714">
                  <c:v>#N/A</c:v>
                </c:pt>
                <c:pt idx="3715">
                  <c:v>3.34964</c:v>
                </c:pt>
                <c:pt idx="3716">
                  <c:v>2.7804500000000001</c:v>
                </c:pt>
                <c:pt idx="3717">
                  <c:v>2.3410600000000001</c:v>
                </c:pt>
                <c:pt idx="3718">
                  <c:v>#N/A</c:v>
                </c:pt>
                <c:pt idx="3719">
                  <c:v>1.83826</c:v>
                </c:pt>
                <c:pt idx="3720">
                  <c:v>2.0902799999999999</c:v>
                </c:pt>
                <c:pt idx="3721">
                  <c:v>#N/A</c:v>
                </c:pt>
                <c:pt idx="3722">
                  <c:v>2.5422899999999999</c:v>
                </c:pt>
                <c:pt idx="3723">
                  <c:v>3.2649300000000001</c:v>
                </c:pt>
                <c:pt idx="3724">
                  <c:v>3.1411899999999999</c:v>
                </c:pt>
                <c:pt idx="3725">
                  <c:v>#N/A</c:v>
                </c:pt>
                <c:pt idx="3726">
                  <c:v>2.9378099999999998</c:v>
                </c:pt>
                <c:pt idx="3727">
                  <c:v>2.2288899999999998</c:v>
                </c:pt>
                <c:pt idx="3728">
                  <c:v>2.2126700000000001</c:v>
                </c:pt>
                <c:pt idx="3729">
                  <c:v>#N/A</c:v>
                </c:pt>
                <c:pt idx="3730">
                  <c:v>1.73546</c:v>
                </c:pt>
                <c:pt idx="3731">
                  <c:v>2.3366699999999998</c:v>
                </c:pt>
                <c:pt idx="3732">
                  <c:v>2.9015</c:v>
                </c:pt>
                <c:pt idx="3733">
                  <c:v>#N/A</c:v>
                </c:pt>
                <c:pt idx="3734">
                  <c:v>3.1477599999999999</c:v>
                </c:pt>
                <c:pt idx="3735">
                  <c:v>3.35311</c:v>
                </c:pt>
                <c:pt idx="3736">
                  <c:v>#N/A</c:v>
                </c:pt>
                <c:pt idx="3737">
                  <c:v>3.2208899999999998</c:v>
                </c:pt>
                <c:pt idx="3738">
                  <c:v>2.5758200000000002</c:v>
                </c:pt>
                <c:pt idx="3739">
                  <c:v>2.3732000000000002</c:v>
                </c:pt>
                <c:pt idx="3740">
                  <c:v>#N/A</c:v>
                </c:pt>
                <c:pt idx="3741">
                  <c:v>3.0142600000000002</c:v>
                </c:pt>
                <c:pt idx="3742">
                  <c:v>2.5643699999999998</c:v>
                </c:pt>
                <c:pt idx="3743">
                  <c:v>3.0364599999999999</c:v>
                </c:pt>
                <c:pt idx="3744">
                  <c:v>#N/A</c:v>
                </c:pt>
                <c:pt idx="3745">
                  <c:v>2.4386199999999998</c:v>
                </c:pt>
                <c:pt idx="3746">
                  <c:v>3.2164100000000002</c:v>
                </c:pt>
                <c:pt idx="3747">
                  <c:v>2.7626400000000002</c:v>
                </c:pt>
                <c:pt idx="3748">
                  <c:v>#N/A</c:v>
                </c:pt>
                <c:pt idx="3749">
                  <c:v>2.9876999999999998</c:v>
                </c:pt>
                <c:pt idx="3750">
                  <c:v>2.4356900000000001</c:v>
                </c:pt>
                <c:pt idx="3751">
                  <c:v>2.4079199999999998</c:v>
                </c:pt>
                <c:pt idx="3752">
                  <c:v>#N/A</c:v>
                </c:pt>
                <c:pt idx="3753">
                  <c:v>2.7910499999999998</c:v>
                </c:pt>
                <c:pt idx="3754">
                  <c:v>3.0477400000000001</c:v>
                </c:pt>
                <c:pt idx="3755">
                  <c:v>3.4401099999999998</c:v>
                </c:pt>
                <c:pt idx="3756">
                  <c:v>#N/A</c:v>
                </c:pt>
                <c:pt idx="3757">
                  <c:v>3.2221199999999999</c:v>
                </c:pt>
                <c:pt idx="3758">
                  <c:v>2.85433</c:v>
                </c:pt>
                <c:pt idx="3759">
                  <c:v>2.54067</c:v>
                </c:pt>
                <c:pt idx="3760">
                  <c:v>#N/A</c:v>
                </c:pt>
                <c:pt idx="3761">
                  <c:v>2.7734399999999999</c:v>
                </c:pt>
                <c:pt idx="3762">
                  <c:v>2.7873000000000001</c:v>
                </c:pt>
                <c:pt idx="3763">
                  <c:v>3.2795800000000002</c:v>
                </c:pt>
                <c:pt idx="3764">
                  <c:v>#N/A</c:v>
                </c:pt>
                <c:pt idx="3765">
                  <c:v>2.8577900000000001</c:v>
                </c:pt>
                <c:pt idx="3766">
                  <c:v>2.9892599999999998</c:v>
                </c:pt>
                <c:pt idx="3767">
                  <c:v>#N/A</c:v>
                </c:pt>
                <c:pt idx="3768">
                  <c:v>2.5711900000000001</c:v>
                </c:pt>
                <c:pt idx="3769">
                  <c:v>2.3268300000000002</c:v>
                </c:pt>
                <c:pt idx="3770">
                  <c:v>2.18838</c:v>
                </c:pt>
                <c:pt idx="3771">
                  <c:v>#N/A</c:v>
                </c:pt>
                <c:pt idx="3772">
                  <c:v>2.25807</c:v>
                </c:pt>
                <c:pt idx="3773">
                  <c:v>2.3068499999999998</c:v>
                </c:pt>
                <c:pt idx="3774">
                  <c:v>3.0702799999999999</c:v>
                </c:pt>
                <c:pt idx="3775">
                  <c:v>#N/A</c:v>
                </c:pt>
                <c:pt idx="3776">
                  <c:v>3.5234700000000001</c:v>
                </c:pt>
                <c:pt idx="3777">
                  <c:v>3.7136999999999998</c:v>
                </c:pt>
                <c:pt idx="3778">
                  <c:v>2.9910399999999999</c:v>
                </c:pt>
                <c:pt idx="3779">
                  <c:v>#N/A</c:v>
                </c:pt>
                <c:pt idx="3780">
                  <c:v>2.5191400000000002</c:v>
                </c:pt>
                <c:pt idx="3781">
                  <c:v>2.1636799999999998</c:v>
                </c:pt>
                <c:pt idx="3782">
                  <c:v>#N/A</c:v>
                </c:pt>
                <c:pt idx="3783">
                  <c:v>2.32551</c:v>
                </c:pt>
                <c:pt idx="3784">
                  <c:v>2.7437299999999998</c:v>
                </c:pt>
                <c:pt idx="3785">
                  <c:v>2.9709099999999999</c:v>
                </c:pt>
                <c:pt idx="3786">
                  <c:v>#N/A</c:v>
                </c:pt>
                <c:pt idx="3787">
                  <c:v>3.5355799999999999</c:v>
                </c:pt>
                <c:pt idx="3788">
                  <c:v>3.6465999999999998</c:v>
                </c:pt>
                <c:pt idx="3789">
                  <c:v>3.3950399999999998</c:v>
                </c:pt>
                <c:pt idx="3790">
                  <c:v>#N/A</c:v>
                </c:pt>
                <c:pt idx="3791">
                  <c:v>1.9899500000000001</c:v>
                </c:pt>
                <c:pt idx="3792">
                  <c:v>1.6980299999999999</c:v>
                </c:pt>
                <c:pt idx="3793">
                  <c:v>1.9994700000000001</c:v>
                </c:pt>
                <c:pt idx="3794">
                  <c:v>#N/A</c:v>
                </c:pt>
                <c:pt idx="3795">
                  <c:v>2.6705899999999998</c:v>
                </c:pt>
                <c:pt idx="3796">
                  <c:v>3.26362</c:v>
                </c:pt>
                <c:pt idx="3797">
                  <c:v>3.4852400000000001</c:v>
                </c:pt>
                <c:pt idx="3798">
                  <c:v>#N/A</c:v>
                </c:pt>
                <c:pt idx="3799">
                  <c:v>2.9068200000000002</c:v>
                </c:pt>
                <c:pt idx="3800">
                  <c:v>2.3991199999999999</c:v>
                </c:pt>
                <c:pt idx="3801">
                  <c:v>2.5142899999999999</c:v>
                </c:pt>
                <c:pt idx="3802">
                  <c:v>#N/A</c:v>
                </c:pt>
                <c:pt idx="3803">
                  <c:v>2.2460399999999998</c:v>
                </c:pt>
                <c:pt idx="3804">
                  <c:v>2.5321400000000001</c:v>
                </c:pt>
                <c:pt idx="3805">
                  <c:v>2.7145700000000001</c:v>
                </c:pt>
                <c:pt idx="3806">
                  <c:v>#N/A</c:v>
                </c:pt>
                <c:pt idx="3807">
                  <c:v>3.1705299999999998</c:v>
                </c:pt>
                <c:pt idx="3808">
                  <c:v>3.1387399999999999</c:v>
                </c:pt>
                <c:pt idx="3809">
                  <c:v>3.1743600000000001</c:v>
                </c:pt>
                <c:pt idx="3810">
                  <c:v>#N/A</c:v>
                </c:pt>
                <c:pt idx="3811">
                  <c:v>2.7627600000000001</c:v>
                </c:pt>
                <c:pt idx="3812">
                  <c:v>2.6193</c:v>
                </c:pt>
                <c:pt idx="3813">
                  <c:v>#N/A</c:v>
                </c:pt>
                <c:pt idx="3814">
                  <c:v>2.0198100000000001</c:v>
                </c:pt>
                <c:pt idx="3815">
                  <c:v>2.2358600000000002</c:v>
                </c:pt>
                <c:pt idx="3816">
                  <c:v>2.94136</c:v>
                </c:pt>
                <c:pt idx="3817">
                  <c:v>#N/A</c:v>
                </c:pt>
                <c:pt idx="3818">
                  <c:v>3.3890699999999998</c:v>
                </c:pt>
                <c:pt idx="3819">
                  <c:v>2.8237700000000001</c:v>
                </c:pt>
                <c:pt idx="3820">
                  <c:v>3.2642699999999998</c:v>
                </c:pt>
                <c:pt idx="3821">
                  <c:v>#N/A</c:v>
                </c:pt>
                <c:pt idx="3822">
                  <c:v>2.8828499999999999</c:v>
                </c:pt>
                <c:pt idx="3823">
                  <c:v>2.9319299999999999</c:v>
                </c:pt>
                <c:pt idx="3824">
                  <c:v>#N/A</c:v>
                </c:pt>
                <c:pt idx="3825">
                  <c:v>2.8273100000000002</c:v>
                </c:pt>
                <c:pt idx="3826">
                  <c:v>#N/A</c:v>
                </c:pt>
                <c:pt idx="3827">
                  <c:v>2.79915</c:v>
                </c:pt>
                <c:pt idx="3828">
                  <c:v>2.8693399999999998</c:v>
                </c:pt>
                <c:pt idx="3829">
                  <c:v>#N/A</c:v>
                </c:pt>
                <c:pt idx="3830">
                  <c:v>2.98976</c:v>
                </c:pt>
                <c:pt idx="3831">
                  <c:v>2.48746</c:v>
                </c:pt>
                <c:pt idx="3832">
                  <c:v>2.51423</c:v>
                </c:pt>
                <c:pt idx="3833">
                  <c:v>#N/A</c:v>
                </c:pt>
                <c:pt idx="3834">
                  <c:v>2.2277300000000002</c:v>
                </c:pt>
                <c:pt idx="3835">
                  <c:v>1.9224300000000001</c:v>
                </c:pt>
                <c:pt idx="3836">
                  <c:v>2.4403800000000002</c:v>
                </c:pt>
                <c:pt idx="3837">
                  <c:v>#N/A</c:v>
                </c:pt>
                <c:pt idx="3838">
                  <c:v>3.0746099999999998</c:v>
                </c:pt>
                <c:pt idx="3839">
                  <c:v>3.03403</c:v>
                </c:pt>
                <c:pt idx="3840">
                  <c:v>#N/A</c:v>
                </c:pt>
                <c:pt idx="3841">
                  <c:v>2.7787299999999999</c:v>
                </c:pt>
                <c:pt idx="3842">
                  <c:v>2.5125700000000002</c:v>
                </c:pt>
                <c:pt idx="3843">
                  <c:v>1.70404</c:v>
                </c:pt>
                <c:pt idx="3844">
                  <c:v>#N/A</c:v>
                </c:pt>
                <c:pt idx="3845">
                  <c:v>2.0668099999999998</c:v>
                </c:pt>
                <c:pt idx="3846">
                  <c:v>2.5245700000000002</c:v>
                </c:pt>
                <c:pt idx="3847">
                  <c:v>3.32518</c:v>
                </c:pt>
                <c:pt idx="3848">
                  <c:v>#N/A</c:v>
                </c:pt>
                <c:pt idx="3849">
                  <c:v>3.8087599999999999</c:v>
                </c:pt>
                <c:pt idx="3850">
                  <c:v>3.8174299999999999</c:v>
                </c:pt>
                <c:pt idx="3851">
                  <c:v>#N/A</c:v>
                </c:pt>
                <c:pt idx="3852">
                  <c:v>2.9248599999999998</c:v>
                </c:pt>
                <c:pt idx="3853">
                  <c:v>2.51024</c:v>
                </c:pt>
                <c:pt idx="3854">
                  <c:v>1.9962599999999999</c:v>
                </c:pt>
                <c:pt idx="3855">
                  <c:v>#N/A</c:v>
                </c:pt>
                <c:pt idx="3856">
                  <c:v>2.4067699999999999</c:v>
                </c:pt>
                <c:pt idx="3857">
                  <c:v>2.8729499999999999</c:v>
                </c:pt>
                <c:pt idx="3858">
                  <c:v>3.74383</c:v>
                </c:pt>
                <c:pt idx="3859">
                  <c:v>#N/A</c:v>
                </c:pt>
                <c:pt idx="3860">
                  <c:v>4.0984299999999996</c:v>
                </c:pt>
                <c:pt idx="3861">
                  <c:v>3.7799399999999999</c:v>
                </c:pt>
                <c:pt idx="3862">
                  <c:v>3.0017299999999998</c:v>
                </c:pt>
                <c:pt idx="3863">
                  <c:v>#N/A</c:v>
                </c:pt>
                <c:pt idx="3864">
                  <c:v>2.6950099999999999</c:v>
                </c:pt>
                <c:pt idx="3865">
                  <c:v>2.37845</c:v>
                </c:pt>
                <c:pt idx="3866">
                  <c:v>1.79376</c:v>
                </c:pt>
                <c:pt idx="3867">
                  <c:v>#N/A</c:v>
                </c:pt>
                <c:pt idx="3868">
                  <c:v>2.03782</c:v>
                </c:pt>
                <c:pt idx="3869">
                  <c:v>2.9719899999999999</c:v>
                </c:pt>
                <c:pt idx="3870">
                  <c:v>3.6569799999999999</c:v>
                </c:pt>
                <c:pt idx="3871">
                  <c:v>#N/A</c:v>
                </c:pt>
                <c:pt idx="3872">
                  <c:v>3.5647799999999998</c:v>
                </c:pt>
                <c:pt idx="3873">
                  <c:v>2.81331</c:v>
                </c:pt>
                <c:pt idx="3874">
                  <c:v>2.4156599999999999</c:v>
                </c:pt>
                <c:pt idx="3875">
                  <c:v>#N/A</c:v>
                </c:pt>
                <c:pt idx="3876">
                  <c:v>2.1077499999999998</c:v>
                </c:pt>
                <c:pt idx="3877">
                  <c:v>2.5112899999999998</c:v>
                </c:pt>
                <c:pt idx="3878">
                  <c:v>3.1552799999999999</c:v>
                </c:pt>
                <c:pt idx="3879">
                  <c:v>#N/A</c:v>
                </c:pt>
                <c:pt idx="3880">
                  <c:v>3.6452599999999999</c:v>
                </c:pt>
                <c:pt idx="3881">
                  <c:v>4.0091299999999999</c:v>
                </c:pt>
                <c:pt idx="3882">
                  <c:v>#N/A</c:v>
                </c:pt>
                <c:pt idx="3883">
                  <c:v>3.6375199999999999</c:v>
                </c:pt>
                <c:pt idx="3884">
                  <c:v>3.0910199999999999</c:v>
                </c:pt>
                <c:pt idx="3885">
                  <c:v>2.6379899999999998</c:v>
                </c:pt>
                <c:pt idx="3886">
                  <c:v>#N/A</c:v>
                </c:pt>
                <c:pt idx="3887">
                  <c:v>2.5761500000000002</c:v>
                </c:pt>
                <c:pt idx="3888">
                  <c:v>2.39371</c:v>
                </c:pt>
                <c:pt idx="3889">
                  <c:v>2.8672900000000001</c:v>
                </c:pt>
                <c:pt idx="3890">
                  <c:v>#N/A</c:v>
                </c:pt>
                <c:pt idx="3891">
                  <c:v>3.1966800000000002</c:v>
                </c:pt>
                <c:pt idx="3892">
                  <c:v>2.9851899999999998</c:v>
                </c:pt>
                <c:pt idx="3893">
                  <c:v>2.9167200000000002</c:v>
                </c:pt>
                <c:pt idx="3894">
                  <c:v>#N/A</c:v>
                </c:pt>
                <c:pt idx="3895">
                  <c:v>3.1715499999999999</c:v>
                </c:pt>
                <c:pt idx="3896">
                  <c:v>2.3768199999999999</c:v>
                </c:pt>
                <c:pt idx="3897">
                  <c:v>2.56297</c:v>
                </c:pt>
                <c:pt idx="3898">
                  <c:v>#N/A</c:v>
                </c:pt>
                <c:pt idx="3899">
                  <c:v>2.7390099999999999</c:v>
                </c:pt>
                <c:pt idx="3900">
                  <c:v>2.8227099999999998</c:v>
                </c:pt>
                <c:pt idx="3901">
                  <c:v>3.1683500000000002</c:v>
                </c:pt>
                <c:pt idx="3902">
                  <c:v>#N/A</c:v>
                </c:pt>
                <c:pt idx="3903">
                  <c:v>2.7007099999999999</c:v>
                </c:pt>
                <c:pt idx="3904">
                  <c:v>2.6923300000000001</c:v>
                </c:pt>
                <c:pt idx="3905">
                  <c:v>2.6158399999999999</c:v>
                </c:pt>
                <c:pt idx="3906">
                  <c:v>#N/A</c:v>
                </c:pt>
                <c:pt idx="3907">
                  <c:v>3.11307</c:v>
                </c:pt>
                <c:pt idx="3908">
                  <c:v>3.1952199999999999</c:v>
                </c:pt>
                <c:pt idx="3909">
                  <c:v>#N/A</c:v>
                </c:pt>
                <c:pt idx="3910">
                  <c:v>3.08121</c:v>
                </c:pt>
                <c:pt idx="3911">
                  <c:v>2.9685800000000002</c:v>
                </c:pt>
                <c:pt idx="3912">
                  <c:v>2.5834899999999998</c:v>
                </c:pt>
                <c:pt idx="3913">
                  <c:v>#N/A</c:v>
                </c:pt>
                <c:pt idx="3914">
                  <c:v>3.3721399999999999</c:v>
                </c:pt>
                <c:pt idx="3915">
                  <c:v>2.33182</c:v>
                </c:pt>
                <c:pt idx="3916">
                  <c:v>2.4742999999999999</c:v>
                </c:pt>
                <c:pt idx="3917">
                  <c:v>#N/A</c:v>
                </c:pt>
                <c:pt idx="3918">
                  <c:v>2.59612</c:v>
                </c:pt>
                <c:pt idx="3919">
                  <c:v>2.56914</c:v>
                </c:pt>
                <c:pt idx="3920">
                  <c:v>2.9821</c:v>
                </c:pt>
                <c:pt idx="3921">
                  <c:v>#N/A</c:v>
                </c:pt>
                <c:pt idx="3922">
                  <c:v>3.2437499999999999</c:v>
                </c:pt>
                <c:pt idx="3923">
                  <c:v>3.0150600000000001</c:v>
                </c:pt>
                <c:pt idx="3924">
                  <c:v>2.4880300000000002</c:v>
                </c:pt>
                <c:pt idx="3925">
                  <c:v>#N/A</c:v>
                </c:pt>
                <c:pt idx="3926">
                  <c:v>2.8997099999999998</c:v>
                </c:pt>
                <c:pt idx="3927">
                  <c:v>2.2034699999999998</c:v>
                </c:pt>
                <c:pt idx="3928">
                  <c:v>2.3980700000000001</c:v>
                </c:pt>
                <c:pt idx="3929">
                  <c:v>#N/A</c:v>
                </c:pt>
                <c:pt idx="3930">
                  <c:v>2.46292</c:v>
                </c:pt>
                <c:pt idx="3931">
                  <c:v>3.0828500000000001</c:v>
                </c:pt>
                <c:pt idx="3932">
                  <c:v>3.2345000000000002</c:v>
                </c:pt>
                <c:pt idx="3933">
                  <c:v>#N/A</c:v>
                </c:pt>
                <c:pt idx="3934">
                  <c:v>2.94556</c:v>
                </c:pt>
                <c:pt idx="3935">
                  <c:v>3.0396200000000002</c:v>
                </c:pt>
                <c:pt idx="3936">
                  <c:v>2.5844399999999998</c:v>
                </c:pt>
                <c:pt idx="3937">
                  <c:v>#N/A</c:v>
                </c:pt>
                <c:pt idx="3938">
                  <c:v>2.5218600000000002</c:v>
                </c:pt>
                <c:pt idx="3939">
                  <c:v>2.1899500000000001</c:v>
                </c:pt>
                <c:pt idx="3940">
                  <c:v>2.2189100000000002</c:v>
                </c:pt>
                <c:pt idx="3941">
                  <c:v>#N/A</c:v>
                </c:pt>
                <c:pt idx="3942">
                  <c:v>2.9279199999999999</c:v>
                </c:pt>
                <c:pt idx="3943">
                  <c:v>3.62344</c:v>
                </c:pt>
                <c:pt idx="3944">
                  <c:v>#N/A</c:v>
                </c:pt>
                <c:pt idx="3945">
                  <c:v>3.6625700000000001</c:v>
                </c:pt>
                <c:pt idx="3946">
                  <c:v>3.48997</c:v>
                </c:pt>
                <c:pt idx="3947">
                  <c:v>2.5327099999999998</c:v>
                </c:pt>
                <c:pt idx="3948">
                  <c:v>#N/A</c:v>
                </c:pt>
                <c:pt idx="3949">
                  <c:v>1.9195599999999999</c:v>
                </c:pt>
                <c:pt idx="3950">
                  <c:v>1.8447800000000001</c:v>
                </c:pt>
                <c:pt idx="3951">
                  <c:v>2.0490400000000002</c:v>
                </c:pt>
                <c:pt idx="3952">
                  <c:v>#N/A</c:v>
                </c:pt>
                <c:pt idx="3953">
                  <c:v>2.8158799999999999</c:v>
                </c:pt>
                <c:pt idx="3954">
                  <c:v>2.6761400000000002</c:v>
                </c:pt>
                <c:pt idx="3955">
                  <c:v>3.2852299999999999</c:v>
                </c:pt>
                <c:pt idx="3956">
                  <c:v>#N/A</c:v>
                </c:pt>
                <c:pt idx="3957">
                  <c:v>2.75983</c:v>
                </c:pt>
                <c:pt idx="3958">
                  <c:v>2.0010699999999999</c:v>
                </c:pt>
                <c:pt idx="3959">
                  <c:v>1.7926299999999999</c:v>
                </c:pt>
                <c:pt idx="3960">
                  <c:v>#N/A</c:v>
                </c:pt>
                <c:pt idx="3961">
                  <c:v>2.3125300000000002</c:v>
                </c:pt>
                <c:pt idx="3962">
                  <c:v>2.4300600000000001</c:v>
                </c:pt>
                <c:pt idx="3963">
                  <c:v>2.88089</c:v>
                </c:pt>
                <c:pt idx="3964">
                  <c:v>#N/A</c:v>
                </c:pt>
                <c:pt idx="3965">
                  <c:v>3.5207600000000001</c:v>
                </c:pt>
                <c:pt idx="3966">
                  <c:v>3.1645599999999998</c:v>
                </c:pt>
                <c:pt idx="3967">
                  <c:v>3.76763</c:v>
                </c:pt>
                <c:pt idx="3968">
                  <c:v>#N/A</c:v>
                </c:pt>
                <c:pt idx="3969">
                  <c:v>3.0269499999999998</c:v>
                </c:pt>
                <c:pt idx="3970">
                  <c:v>2.6288800000000001</c:v>
                </c:pt>
                <c:pt idx="3971">
                  <c:v>2.3586999999999998</c:v>
                </c:pt>
                <c:pt idx="3972">
                  <c:v>#N/A</c:v>
                </c:pt>
                <c:pt idx="3973">
                  <c:v>3.0687899999999999</c:v>
                </c:pt>
                <c:pt idx="3974">
                  <c:v>#N/A</c:v>
                </c:pt>
                <c:pt idx="3975">
                  <c:v>2.5623100000000001</c:v>
                </c:pt>
                <c:pt idx="3976">
                  <c:v>#N/A</c:v>
                </c:pt>
                <c:pt idx="3977">
                  <c:v>2.1765300000000001</c:v>
                </c:pt>
                <c:pt idx="3978">
                  <c:v>1.7570600000000001</c:v>
                </c:pt>
                <c:pt idx="3979">
                  <c:v>#N/A</c:v>
                </c:pt>
                <c:pt idx="3980">
                  <c:v>2.34571</c:v>
                </c:pt>
                <c:pt idx="3981">
                  <c:v>2.03213</c:v>
                </c:pt>
                <c:pt idx="3982">
                  <c:v>#N/A</c:v>
                </c:pt>
                <c:pt idx="3983">
                  <c:v>2.6152099999999998</c:v>
                </c:pt>
                <c:pt idx="3984">
                  <c:v>3.0049299999999999</c:v>
                </c:pt>
                <c:pt idx="3985">
                  <c:v>2.9881199999999999</c:v>
                </c:pt>
                <c:pt idx="3986">
                  <c:v>#N/A</c:v>
                </c:pt>
                <c:pt idx="3987">
                  <c:v>3.3638499999999998</c:v>
                </c:pt>
                <c:pt idx="3988">
                  <c:v>2.9799199999999999</c:v>
                </c:pt>
                <c:pt idx="3989">
                  <c:v>2.5603199999999999</c:v>
                </c:pt>
                <c:pt idx="3990">
                  <c:v>#N/A</c:v>
                </c:pt>
                <c:pt idx="3991">
                  <c:v>2.3626200000000002</c:v>
                </c:pt>
                <c:pt idx="3992">
                  <c:v>2.8057099999999999</c:v>
                </c:pt>
                <c:pt idx="3993">
                  <c:v>3.2028400000000001</c:v>
                </c:pt>
                <c:pt idx="3994">
                  <c:v>#N/A</c:v>
                </c:pt>
                <c:pt idx="3995">
                  <c:v>2.89534</c:v>
                </c:pt>
                <c:pt idx="3996">
                  <c:v>3.07273</c:v>
                </c:pt>
                <c:pt idx="3997">
                  <c:v>2.9944799999999998</c:v>
                </c:pt>
                <c:pt idx="3998">
                  <c:v>#N/A</c:v>
                </c:pt>
                <c:pt idx="3999">
                  <c:v>2.97072</c:v>
                </c:pt>
                <c:pt idx="4000">
                  <c:v>2.0386799999999998</c:v>
                </c:pt>
                <c:pt idx="4001">
                  <c:v>2.0260799999999999</c:v>
                </c:pt>
                <c:pt idx="4002">
                  <c:v>#N/A</c:v>
                </c:pt>
                <c:pt idx="4003">
                  <c:v>2.8447300000000002</c:v>
                </c:pt>
                <c:pt idx="4004">
                  <c:v>3.4618000000000002</c:v>
                </c:pt>
                <c:pt idx="4005">
                  <c:v>3.5215800000000002</c:v>
                </c:pt>
                <c:pt idx="4006">
                  <c:v>#N/A</c:v>
                </c:pt>
                <c:pt idx="4007">
                  <c:v>3.2913700000000001</c:v>
                </c:pt>
                <c:pt idx="4008">
                  <c:v>2.9899</c:v>
                </c:pt>
                <c:pt idx="4009">
                  <c:v>2.04745</c:v>
                </c:pt>
                <c:pt idx="4010">
                  <c:v>#N/A</c:v>
                </c:pt>
                <c:pt idx="4011">
                  <c:v>2.1466099999999999</c:v>
                </c:pt>
                <c:pt idx="4012">
                  <c:v>1.9796800000000001</c:v>
                </c:pt>
                <c:pt idx="4013">
                  <c:v>#N/A</c:v>
                </c:pt>
                <c:pt idx="4014">
                  <c:v>2.1810700000000001</c:v>
                </c:pt>
                <c:pt idx="4015">
                  <c:v>2.5360499999999999</c:v>
                </c:pt>
                <c:pt idx="4016">
                  <c:v>3.3774999999999999</c:v>
                </c:pt>
                <c:pt idx="4017">
                  <c:v>#N/A</c:v>
                </c:pt>
                <c:pt idx="4018">
                  <c:v>2.95546</c:v>
                </c:pt>
                <c:pt idx="4019">
                  <c:v>2.6081400000000001</c:v>
                </c:pt>
                <c:pt idx="4020">
                  <c:v>1.79261</c:v>
                </c:pt>
                <c:pt idx="4021">
                  <c:v>#N/A</c:v>
                </c:pt>
                <c:pt idx="4022">
                  <c:v>1.7668200000000001</c:v>
                </c:pt>
                <c:pt idx="4023">
                  <c:v>2.04834</c:v>
                </c:pt>
                <c:pt idx="4024">
                  <c:v>2.0286</c:v>
                </c:pt>
                <c:pt idx="4025">
                  <c:v>#N/A</c:v>
                </c:pt>
                <c:pt idx="4026">
                  <c:v>2.8162799999999999</c:v>
                </c:pt>
                <c:pt idx="4027">
                  <c:v>3.1698400000000002</c:v>
                </c:pt>
                <c:pt idx="4028">
                  <c:v>3.68818</c:v>
                </c:pt>
                <c:pt idx="4029">
                  <c:v>#N/A</c:v>
                </c:pt>
                <c:pt idx="4030">
                  <c:v>3.4123399999999999</c:v>
                </c:pt>
                <c:pt idx="4031">
                  <c:v>2.5888599999999999</c:v>
                </c:pt>
                <c:pt idx="4032">
                  <c:v>2.13443</c:v>
                </c:pt>
                <c:pt idx="4033">
                  <c:v>#N/A</c:v>
                </c:pt>
                <c:pt idx="4034">
                  <c:v>2.21299</c:v>
                </c:pt>
                <c:pt idx="4035">
                  <c:v>2.5250300000000001</c:v>
                </c:pt>
                <c:pt idx="4036">
                  <c:v>2.53342</c:v>
                </c:pt>
                <c:pt idx="4037">
                  <c:v>#N/A</c:v>
                </c:pt>
                <c:pt idx="4038">
                  <c:v>2.31894</c:v>
                </c:pt>
                <c:pt idx="4039">
                  <c:v>2.4567600000000001</c:v>
                </c:pt>
                <c:pt idx="4040">
                  <c:v>2.4841299999999999</c:v>
                </c:pt>
                <c:pt idx="4041">
                  <c:v>#N/A</c:v>
                </c:pt>
                <c:pt idx="4042">
                  <c:v>1.95807</c:v>
                </c:pt>
                <c:pt idx="4043">
                  <c:v>1.76475</c:v>
                </c:pt>
                <c:pt idx="4044">
                  <c:v>#N/A</c:v>
                </c:pt>
                <c:pt idx="4045">
                  <c:v>1.6728499999999999</c:v>
                </c:pt>
                <c:pt idx="4046">
                  <c:v>2.0504199999999999</c:v>
                </c:pt>
                <c:pt idx="4047">
                  <c:v>3.5279799999999999</c:v>
                </c:pt>
                <c:pt idx="4048">
                  <c:v>#N/A</c:v>
                </c:pt>
                <c:pt idx="4049">
                  <c:v>2.3697300000000001</c:v>
                </c:pt>
                <c:pt idx="4050">
                  <c:v>2.7049300000000001</c:v>
                </c:pt>
                <c:pt idx="4051">
                  <c:v>#N/A</c:v>
                </c:pt>
                <c:pt idx="4052">
                  <c:v>2.63463</c:v>
                </c:pt>
                <c:pt idx="4053">
                  <c:v>2.3141099999999999</c:v>
                </c:pt>
                <c:pt idx="4054">
                  <c:v>#N/A</c:v>
                </c:pt>
                <c:pt idx="4055">
                  <c:v>2.3551799999999998</c:v>
                </c:pt>
                <c:pt idx="4056">
                  <c:v>2.8468599999999999</c:v>
                </c:pt>
                <c:pt idx="4057">
                  <c:v>3.0446200000000001</c:v>
                </c:pt>
                <c:pt idx="4058">
                  <c:v>#N/A</c:v>
                </c:pt>
                <c:pt idx="4059">
                  <c:v>2.9176500000000001</c:v>
                </c:pt>
                <c:pt idx="4060">
                  <c:v>2.2563499999999999</c:v>
                </c:pt>
                <c:pt idx="4061">
                  <c:v>#N/A</c:v>
                </c:pt>
                <c:pt idx="4062">
                  <c:v>1.3985700000000001</c:v>
                </c:pt>
                <c:pt idx="4063">
                  <c:v>1.5228600000000001</c:v>
                </c:pt>
                <c:pt idx="4064">
                  <c:v>1.9673400000000001</c:v>
                </c:pt>
                <c:pt idx="4065">
                  <c:v>#N/A</c:v>
                </c:pt>
                <c:pt idx="4066">
                  <c:v>2.3323</c:v>
                </c:pt>
                <c:pt idx="4067">
                  <c:v>3.1275300000000001</c:v>
                </c:pt>
                <c:pt idx="4068">
                  <c:v>3.6296200000000001</c:v>
                </c:pt>
                <c:pt idx="4069">
                  <c:v>#N/A</c:v>
                </c:pt>
                <c:pt idx="4070">
                  <c:v>3.0555099999999999</c:v>
                </c:pt>
                <c:pt idx="4071">
                  <c:v>2.8077399999999999</c:v>
                </c:pt>
                <c:pt idx="4072">
                  <c:v>#N/A</c:v>
                </c:pt>
                <c:pt idx="4073">
                  <c:v>2.0101499999999999</c:v>
                </c:pt>
                <c:pt idx="4074">
                  <c:v>2.14785</c:v>
                </c:pt>
                <c:pt idx="4075">
                  <c:v>2.09063</c:v>
                </c:pt>
                <c:pt idx="4076">
                  <c:v>#N/A</c:v>
                </c:pt>
                <c:pt idx="4077">
                  <c:v>2.8644599999999998</c:v>
                </c:pt>
                <c:pt idx="4078">
                  <c:v>3.2484899999999999</c:v>
                </c:pt>
                <c:pt idx="4079">
                  <c:v>2.8367800000000001</c:v>
                </c:pt>
                <c:pt idx="4080">
                  <c:v>#N/A</c:v>
                </c:pt>
                <c:pt idx="4081">
                  <c:v>3.0076299999999998</c:v>
                </c:pt>
                <c:pt idx="4082">
                  <c:v>2.2180300000000002</c:v>
                </c:pt>
                <c:pt idx="4083">
                  <c:v>2.0769099999999998</c:v>
                </c:pt>
                <c:pt idx="4084">
                  <c:v>#N/A</c:v>
                </c:pt>
                <c:pt idx="4085">
                  <c:v>1.4321600000000001</c:v>
                </c:pt>
                <c:pt idx="4086">
                  <c:v>1.6531199999999999</c:v>
                </c:pt>
                <c:pt idx="4087">
                  <c:v>2.8623599999999998</c:v>
                </c:pt>
                <c:pt idx="4088">
                  <c:v>#N/A</c:v>
                </c:pt>
                <c:pt idx="4089">
                  <c:v>3.1611099999999999</c:v>
                </c:pt>
                <c:pt idx="4090">
                  <c:v>3.9398499999999999</c:v>
                </c:pt>
                <c:pt idx="4091">
                  <c:v>3.2123400000000002</c:v>
                </c:pt>
                <c:pt idx="4092">
                  <c:v>#N/A</c:v>
                </c:pt>
                <c:pt idx="4093">
                  <c:v>2.5892499999999998</c:v>
                </c:pt>
                <c:pt idx="4094">
                  <c:v>2.3410500000000001</c:v>
                </c:pt>
                <c:pt idx="4095">
                  <c:v>2.4106800000000002</c:v>
                </c:pt>
                <c:pt idx="4096">
                  <c:v>#N/A</c:v>
                </c:pt>
                <c:pt idx="4097">
                  <c:v>2.34</c:v>
                </c:pt>
                <c:pt idx="4098">
                  <c:v>2.4322499999999998</c:v>
                </c:pt>
                <c:pt idx="4099">
                  <c:v>#N/A</c:v>
                </c:pt>
                <c:pt idx="4100">
                  <c:v>3.0403199999999999</c:v>
                </c:pt>
                <c:pt idx="4101">
                  <c:v>2.9439199999999999</c:v>
                </c:pt>
                <c:pt idx="4102">
                  <c:v>2.8422399999999999</c:v>
                </c:pt>
                <c:pt idx="4103">
                  <c:v>#N/A</c:v>
                </c:pt>
                <c:pt idx="4104">
                  <c:v>1.73197</c:v>
                </c:pt>
                <c:pt idx="4105">
                  <c:v>1.85839</c:v>
                </c:pt>
                <c:pt idx="4106">
                  <c:v>1.9003000000000001</c:v>
                </c:pt>
                <c:pt idx="4107">
                  <c:v>#N/A</c:v>
                </c:pt>
                <c:pt idx="4108">
                  <c:v>2.4287700000000001</c:v>
                </c:pt>
                <c:pt idx="4109">
                  <c:v>2.90571</c:v>
                </c:pt>
                <c:pt idx="4110">
                  <c:v>2.8732099999999998</c:v>
                </c:pt>
                <c:pt idx="4111">
                  <c:v>#N/A</c:v>
                </c:pt>
                <c:pt idx="4112">
                  <c:v>3.1785999999999999</c:v>
                </c:pt>
                <c:pt idx="4113">
                  <c:v>3.4129399999999999</c:v>
                </c:pt>
                <c:pt idx="4114">
                  <c:v>3.0122300000000002</c:v>
                </c:pt>
                <c:pt idx="4115">
                  <c:v>#N/A</c:v>
                </c:pt>
                <c:pt idx="4116">
                  <c:v>2.3863599999999998</c:v>
                </c:pt>
                <c:pt idx="4117">
                  <c:v>2.8350499999999998</c:v>
                </c:pt>
                <c:pt idx="4118">
                  <c:v>2.2912699999999999</c:v>
                </c:pt>
                <c:pt idx="4119">
                  <c:v>#N/A</c:v>
                </c:pt>
                <c:pt idx="4120">
                  <c:v>3.3048299999999999</c:v>
                </c:pt>
                <c:pt idx="4121">
                  <c:v>2.6011500000000001</c:v>
                </c:pt>
                <c:pt idx="4122">
                  <c:v>#N/A</c:v>
                </c:pt>
                <c:pt idx="4123">
                  <c:v>3.15862</c:v>
                </c:pt>
                <c:pt idx="4124">
                  <c:v>2.8387099999999998</c:v>
                </c:pt>
                <c:pt idx="4125">
                  <c:v>#N/A</c:v>
                </c:pt>
                <c:pt idx="4126">
                  <c:v>2.9472999999999998</c:v>
                </c:pt>
                <c:pt idx="4127">
                  <c:v>2.2712400000000001</c:v>
                </c:pt>
                <c:pt idx="4128">
                  <c:v>#N/A</c:v>
                </c:pt>
                <c:pt idx="4129">
                  <c:v>2.7927900000000001</c:v>
                </c:pt>
                <c:pt idx="4130">
                  <c:v>2.7422599999999999</c:v>
                </c:pt>
                <c:pt idx="4131">
                  <c:v>#N/A</c:v>
                </c:pt>
                <c:pt idx="4132">
                  <c:v>2.5731899999999999</c:v>
                </c:pt>
                <c:pt idx="4133">
                  <c:v>2.5773899999999998</c:v>
                </c:pt>
                <c:pt idx="4134">
                  <c:v>2.7645599999999999</c:v>
                </c:pt>
                <c:pt idx="4135">
                  <c:v>#N/A</c:v>
                </c:pt>
                <c:pt idx="4136">
                  <c:v>2.4666100000000002</c:v>
                </c:pt>
                <c:pt idx="4137">
                  <c:v>2.3925200000000002</c:v>
                </c:pt>
                <c:pt idx="4138">
                  <c:v>2.67821</c:v>
                </c:pt>
                <c:pt idx="4139">
                  <c:v>#N/A</c:v>
                </c:pt>
                <c:pt idx="4140">
                  <c:v>2.7949000000000002</c:v>
                </c:pt>
                <c:pt idx="4141">
                  <c:v>2.8528199999999999</c:v>
                </c:pt>
                <c:pt idx="4142">
                  <c:v>#N/A</c:v>
                </c:pt>
                <c:pt idx="4143">
                  <c:v>2.7487699999999999</c:v>
                </c:pt>
                <c:pt idx="4144">
                  <c:v>2.4961899999999999</c:v>
                </c:pt>
                <c:pt idx="4145">
                  <c:v>2.28782</c:v>
                </c:pt>
                <c:pt idx="4146">
                  <c:v>#N/A</c:v>
                </c:pt>
                <c:pt idx="4147">
                  <c:v>1.9989399999999999</c:v>
                </c:pt>
                <c:pt idx="4148">
                  <c:v>1.9513100000000001</c:v>
                </c:pt>
                <c:pt idx="4149">
                  <c:v>2.8571300000000002</c:v>
                </c:pt>
                <c:pt idx="4150">
                  <c:v>#N/A</c:v>
                </c:pt>
                <c:pt idx="4151">
                  <c:v>3.5568499999999998</c:v>
                </c:pt>
                <c:pt idx="4152">
                  <c:v>3.7000299999999999</c:v>
                </c:pt>
                <c:pt idx="4153">
                  <c:v>3.4923000000000002</c:v>
                </c:pt>
                <c:pt idx="4154">
                  <c:v>#N/A</c:v>
                </c:pt>
                <c:pt idx="4155">
                  <c:v>3.3131499999999998</c:v>
                </c:pt>
                <c:pt idx="4156">
                  <c:v>2.2652800000000002</c:v>
                </c:pt>
                <c:pt idx="4157">
                  <c:v>2.2374499999999999</c:v>
                </c:pt>
                <c:pt idx="4158">
                  <c:v>#N/A</c:v>
                </c:pt>
                <c:pt idx="4159">
                  <c:v>2.3628399999999998</c:v>
                </c:pt>
                <c:pt idx="4160">
                  <c:v>2.4617900000000001</c:v>
                </c:pt>
                <c:pt idx="4161">
                  <c:v>3.1128999999999998</c:v>
                </c:pt>
                <c:pt idx="4162">
                  <c:v>#N/A</c:v>
                </c:pt>
                <c:pt idx="4163">
                  <c:v>3.1914600000000002</c:v>
                </c:pt>
                <c:pt idx="4164">
                  <c:v>2.95838</c:v>
                </c:pt>
                <c:pt idx="4165">
                  <c:v>2.37304</c:v>
                </c:pt>
                <c:pt idx="4166">
                  <c:v>#N/A</c:v>
                </c:pt>
                <c:pt idx="4167">
                  <c:v>2.1832099999999999</c:v>
                </c:pt>
                <c:pt idx="4168">
                  <c:v>1.7134499999999999</c:v>
                </c:pt>
                <c:pt idx="4169">
                  <c:v>#N/A</c:v>
                </c:pt>
                <c:pt idx="4170">
                  <c:v>2.0793300000000001</c:v>
                </c:pt>
                <c:pt idx="4171">
                  <c:v>2.32315</c:v>
                </c:pt>
                <c:pt idx="4172">
                  <c:v>3.0169600000000001</c:v>
                </c:pt>
                <c:pt idx="4173">
                  <c:v>#N/A</c:v>
                </c:pt>
                <c:pt idx="4174">
                  <c:v>3.3437199999999998</c:v>
                </c:pt>
                <c:pt idx="4175">
                  <c:v>3.64838</c:v>
                </c:pt>
                <c:pt idx="4176">
                  <c:v>3.3862299999999999</c:v>
                </c:pt>
                <c:pt idx="4177">
                  <c:v>#N/A</c:v>
                </c:pt>
                <c:pt idx="4178">
                  <c:v>2.5330499999999998</c:v>
                </c:pt>
                <c:pt idx="4179">
                  <c:v>2.28078</c:v>
                </c:pt>
                <c:pt idx="4180">
                  <c:v>2.63836</c:v>
                </c:pt>
                <c:pt idx="4181">
                  <c:v>#N/A</c:v>
                </c:pt>
                <c:pt idx="4182">
                  <c:v>3.35778</c:v>
                </c:pt>
                <c:pt idx="4183">
                  <c:v>3.66669</c:v>
                </c:pt>
                <c:pt idx="4184">
                  <c:v>3.1625100000000002</c:v>
                </c:pt>
                <c:pt idx="4185">
                  <c:v>#N/A</c:v>
                </c:pt>
                <c:pt idx="4186">
                  <c:v>3.0497100000000001</c:v>
                </c:pt>
                <c:pt idx="4187">
                  <c:v>3.2595900000000002</c:v>
                </c:pt>
                <c:pt idx="4188">
                  <c:v>2.2919499999999999</c:v>
                </c:pt>
                <c:pt idx="4189">
                  <c:v>#N/A</c:v>
                </c:pt>
                <c:pt idx="4190">
                  <c:v>2.3757600000000001</c:v>
                </c:pt>
                <c:pt idx="4191">
                  <c:v>2.6950599999999998</c:v>
                </c:pt>
                <c:pt idx="4192">
                  <c:v>3.4968599999999999</c:v>
                </c:pt>
                <c:pt idx="4193">
                  <c:v>#N/A</c:v>
                </c:pt>
                <c:pt idx="4194">
                  <c:v>3.6810800000000001</c:v>
                </c:pt>
                <c:pt idx="4195">
                  <c:v>3.5175100000000001</c:v>
                </c:pt>
                <c:pt idx="4196">
                  <c:v>3.1648299999999998</c:v>
                </c:pt>
                <c:pt idx="4197">
                  <c:v>#N/A</c:v>
                </c:pt>
                <c:pt idx="4198">
                  <c:v>2.6488200000000002</c:v>
                </c:pt>
                <c:pt idx="4199">
                  <c:v>2.15062</c:v>
                </c:pt>
                <c:pt idx="4200">
                  <c:v>#N/A</c:v>
                </c:pt>
                <c:pt idx="4201">
                  <c:v>2.1745899999999998</c:v>
                </c:pt>
                <c:pt idx="4202">
                  <c:v>#N/A</c:v>
                </c:pt>
                <c:pt idx="4203">
                  <c:v>2.4014099999999998</c:v>
                </c:pt>
                <c:pt idx="4204">
                  <c:v>2.9191799999999999</c:v>
                </c:pt>
                <c:pt idx="4205">
                  <c:v>2.9859800000000001</c:v>
                </c:pt>
                <c:pt idx="4206">
                  <c:v>#N/A</c:v>
                </c:pt>
                <c:pt idx="4207">
                  <c:v>2.5377900000000002</c:v>
                </c:pt>
                <c:pt idx="4208">
                  <c:v>1.9981899999999999</c:v>
                </c:pt>
                <c:pt idx="4209">
                  <c:v>#N/A</c:v>
                </c:pt>
                <c:pt idx="4210">
                  <c:v>2.2284199999999998</c:v>
                </c:pt>
                <c:pt idx="4211">
                  <c:v>3.1808800000000002</c:v>
                </c:pt>
                <c:pt idx="4212">
                  <c:v>3.3555799999999998</c:v>
                </c:pt>
                <c:pt idx="4213">
                  <c:v>#N/A</c:v>
                </c:pt>
                <c:pt idx="4214">
                  <c:v>3.60209</c:v>
                </c:pt>
                <c:pt idx="4215">
                  <c:v>3.7705299999999999</c:v>
                </c:pt>
                <c:pt idx="4216">
                  <c:v>3.9822500000000001</c:v>
                </c:pt>
                <c:pt idx="4217">
                  <c:v>#N/A</c:v>
                </c:pt>
                <c:pt idx="4218">
                  <c:v>3.3007499999999999</c:v>
                </c:pt>
                <c:pt idx="4219">
                  <c:v>2.9216899999999999</c:v>
                </c:pt>
                <c:pt idx="4220">
                  <c:v>2.52895</c:v>
                </c:pt>
                <c:pt idx="4221">
                  <c:v>#N/A</c:v>
                </c:pt>
                <c:pt idx="4222">
                  <c:v>2.41852</c:v>
                </c:pt>
                <c:pt idx="4223">
                  <c:v>2.8083</c:v>
                </c:pt>
                <c:pt idx="4224">
                  <c:v>3.3659599999999998</c:v>
                </c:pt>
                <c:pt idx="4225">
                  <c:v>#N/A</c:v>
                </c:pt>
                <c:pt idx="4226">
                  <c:v>3.18899</c:v>
                </c:pt>
                <c:pt idx="4227">
                  <c:v>3.20174</c:v>
                </c:pt>
                <c:pt idx="4228">
                  <c:v>3.0722399999999999</c:v>
                </c:pt>
                <c:pt idx="4229">
                  <c:v>#N/A</c:v>
                </c:pt>
                <c:pt idx="4230">
                  <c:v>2.2862399999999998</c:v>
                </c:pt>
                <c:pt idx="4231">
                  <c:v>1.82222</c:v>
                </c:pt>
                <c:pt idx="4232">
                  <c:v>1.78423</c:v>
                </c:pt>
                <c:pt idx="4233">
                  <c:v>#N/A</c:v>
                </c:pt>
                <c:pt idx="4234">
                  <c:v>2.4748399999999999</c:v>
                </c:pt>
                <c:pt idx="4235">
                  <c:v>3.0441099999999999</c:v>
                </c:pt>
                <c:pt idx="4236">
                  <c:v>3.91296</c:v>
                </c:pt>
                <c:pt idx="4237">
                  <c:v>#N/A</c:v>
                </c:pt>
                <c:pt idx="4238">
                  <c:v>3.1170499999999999</c:v>
                </c:pt>
                <c:pt idx="4239">
                  <c:v>3.33839</c:v>
                </c:pt>
                <c:pt idx="4240">
                  <c:v>2.9194499999999999</c:v>
                </c:pt>
                <c:pt idx="4241">
                  <c:v>#N/A</c:v>
                </c:pt>
                <c:pt idx="4242">
                  <c:v>2.5941200000000002</c:v>
                </c:pt>
                <c:pt idx="4243">
                  <c:v>2.79888</c:v>
                </c:pt>
                <c:pt idx="4244">
                  <c:v>#N/A</c:v>
                </c:pt>
                <c:pt idx="4245">
                  <c:v>2.9412799999999999</c:v>
                </c:pt>
                <c:pt idx="4246">
                  <c:v>3.6329600000000002</c:v>
                </c:pt>
                <c:pt idx="4247">
                  <c:v>3.8259400000000001</c:v>
                </c:pt>
                <c:pt idx="4248">
                  <c:v>#N/A</c:v>
                </c:pt>
                <c:pt idx="4249">
                  <c:v>3.69645</c:v>
                </c:pt>
                <c:pt idx="4250">
                  <c:v>3.6311900000000001</c:v>
                </c:pt>
                <c:pt idx="4251">
                  <c:v>2.4582099999999998</c:v>
                </c:pt>
                <c:pt idx="4252">
                  <c:v>#N/A</c:v>
                </c:pt>
                <c:pt idx="4253">
                  <c:v>2.3509699999999998</c:v>
                </c:pt>
                <c:pt idx="4254">
                  <c:v>2.5231699999999999</c:v>
                </c:pt>
                <c:pt idx="4255">
                  <c:v>3.0724800000000001</c:v>
                </c:pt>
                <c:pt idx="4256">
                  <c:v>#N/A</c:v>
                </c:pt>
                <c:pt idx="4257">
                  <c:v>3.3299799999999999</c:v>
                </c:pt>
                <c:pt idx="4258">
                  <c:v>3.1508799999999999</c:v>
                </c:pt>
                <c:pt idx="4259">
                  <c:v>3.1789900000000002</c:v>
                </c:pt>
                <c:pt idx="4260">
                  <c:v>#N/A</c:v>
                </c:pt>
                <c:pt idx="4261">
                  <c:v>2.1623000000000001</c:v>
                </c:pt>
                <c:pt idx="4262">
                  <c:v>2.1898900000000001</c:v>
                </c:pt>
                <c:pt idx="4263">
                  <c:v>2.23488</c:v>
                </c:pt>
                <c:pt idx="4264">
                  <c:v>#N/A</c:v>
                </c:pt>
                <c:pt idx="4265">
                  <c:v>2.5305599999999999</c:v>
                </c:pt>
                <c:pt idx="4266">
                  <c:v>2.8439800000000002</c:v>
                </c:pt>
                <c:pt idx="4267">
                  <c:v>#N/A</c:v>
                </c:pt>
                <c:pt idx="4268">
                  <c:v>2.6684299999999999</c:v>
                </c:pt>
                <c:pt idx="4269">
                  <c:v>2.4307300000000001</c:v>
                </c:pt>
                <c:pt idx="4270">
                  <c:v>2.3953000000000002</c:v>
                </c:pt>
                <c:pt idx="4271">
                  <c:v>#N/A</c:v>
                </c:pt>
                <c:pt idx="4272">
                  <c:v>2.4592200000000002</c:v>
                </c:pt>
                <c:pt idx="4273">
                  <c:v>2.31298</c:v>
                </c:pt>
                <c:pt idx="4274">
                  <c:v>#N/A</c:v>
                </c:pt>
                <c:pt idx="4275">
                  <c:v>2.8090899999999999</c:v>
                </c:pt>
                <c:pt idx="4276">
                  <c:v>3.1707900000000002</c:v>
                </c:pt>
                <c:pt idx="4277">
                  <c:v>#N/A</c:v>
                </c:pt>
                <c:pt idx="4278">
                  <c:v>3.2173600000000002</c:v>
                </c:pt>
                <c:pt idx="4279">
                  <c:v>2.5299999999999998</c:v>
                </c:pt>
                <c:pt idx="4280">
                  <c:v>#N/A</c:v>
                </c:pt>
                <c:pt idx="4281">
                  <c:v>2.8296700000000001</c:v>
                </c:pt>
                <c:pt idx="4282">
                  <c:v>2.1756000000000002</c:v>
                </c:pt>
                <c:pt idx="4283">
                  <c:v>2.0825</c:v>
                </c:pt>
                <c:pt idx="4284">
                  <c:v>#N/A</c:v>
                </c:pt>
                <c:pt idx="4285">
                  <c:v>2.5494599999999998</c:v>
                </c:pt>
                <c:pt idx="4286">
                  <c:v>2.9028700000000001</c:v>
                </c:pt>
                <c:pt idx="4287">
                  <c:v>3.3322699999999998</c:v>
                </c:pt>
                <c:pt idx="4288">
                  <c:v>#N/A</c:v>
                </c:pt>
                <c:pt idx="4289">
                  <c:v>3.2091599999999998</c:v>
                </c:pt>
                <c:pt idx="4290">
                  <c:v>2.6558999999999999</c:v>
                </c:pt>
                <c:pt idx="4291">
                  <c:v>2.0617999999999999</c:v>
                </c:pt>
                <c:pt idx="4292">
                  <c:v>#N/A</c:v>
                </c:pt>
                <c:pt idx="4293">
                  <c:v>2.3148399999999998</c:v>
                </c:pt>
                <c:pt idx="4294">
                  <c:v>2.5269300000000001</c:v>
                </c:pt>
                <c:pt idx="4295">
                  <c:v>2.6096699999999999</c:v>
                </c:pt>
                <c:pt idx="4296">
                  <c:v>#N/A</c:v>
                </c:pt>
                <c:pt idx="4297">
                  <c:v>2.8059799999999999</c:v>
                </c:pt>
                <c:pt idx="4298">
                  <c:v>3.3628300000000002</c:v>
                </c:pt>
                <c:pt idx="4299">
                  <c:v>3.2055600000000002</c:v>
                </c:pt>
                <c:pt idx="4300">
                  <c:v>#N/A</c:v>
                </c:pt>
                <c:pt idx="4301">
                  <c:v>3.3654600000000001</c:v>
                </c:pt>
                <c:pt idx="4302">
                  <c:v>3.1136900000000001</c:v>
                </c:pt>
                <c:pt idx="4303">
                  <c:v>#N/A</c:v>
                </c:pt>
                <c:pt idx="4304">
                  <c:v>2.6179800000000002</c:v>
                </c:pt>
                <c:pt idx="4305">
                  <c:v>2.6305399999999999</c:v>
                </c:pt>
                <c:pt idx="4306">
                  <c:v>2.9435600000000002</c:v>
                </c:pt>
                <c:pt idx="4307">
                  <c:v>#N/A</c:v>
                </c:pt>
                <c:pt idx="4308">
                  <c:v>3.3736000000000002</c:v>
                </c:pt>
                <c:pt idx="4309">
                  <c:v>3.38809</c:v>
                </c:pt>
                <c:pt idx="4310">
                  <c:v>3.4911599999999998</c:v>
                </c:pt>
                <c:pt idx="4311">
                  <c:v>#N/A</c:v>
                </c:pt>
                <c:pt idx="4312">
                  <c:v>2.72268</c:v>
                </c:pt>
                <c:pt idx="4313">
                  <c:v>2.0585100000000001</c:v>
                </c:pt>
                <c:pt idx="4314">
                  <c:v>#N/A</c:v>
                </c:pt>
                <c:pt idx="4315">
                  <c:v>1.88869</c:v>
                </c:pt>
                <c:pt idx="4316">
                  <c:v>2.15828</c:v>
                </c:pt>
                <c:pt idx="4317">
                  <c:v>2.8955899999999999</c:v>
                </c:pt>
                <c:pt idx="4318">
                  <c:v>#N/A</c:v>
                </c:pt>
                <c:pt idx="4319">
                  <c:v>3.2087699999999999</c:v>
                </c:pt>
                <c:pt idx="4320">
                  <c:v>4.1648699999999996</c:v>
                </c:pt>
                <c:pt idx="4321">
                  <c:v>3.20791</c:v>
                </c:pt>
                <c:pt idx="4322">
                  <c:v>#N/A</c:v>
                </c:pt>
                <c:pt idx="4323">
                  <c:v>2.90408</c:v>
                </c:pt>
                <c:pt idx="4324">
                  <c:v>2.7058900000000001</c:v>
                </c:pt>
                <c:pt idx="4325">
                  <c:v>2.2318799999999999</c:v>
                </c:pt>
                <c:pt idx="4326">
                  <c:v>#N/A</c:v>
                </c:pt>
                <c:pt idx="4327">
                  <c:v>1.9339200000000001</c:v>
                </c:pt>
                <c:pt idx="4328">
                  <c:v>2.5538799999999999</c:v>
                </c:pt>
                <c:pt idx="4329">
                  <c:v>2.4756499999999999</c:v>
                </c:pt>
                <c:pt idx="4330">
                  <c:v>#N/A</c:v>
                </c:pt>
                <c:pt idx="4331">
                  <c:v>2.8859400000000002</c:v>
                </c:pt>
                <c:pt idx="4332">
                  <c:v>2.45783</c:v>
                </c:pt>
                <c:pt idx="4333">
                  <c:v>#N/A</c:v>
                </c:pt>
                <c:pt idx="4334">
                  <c:v>#N/A</c:v>
                </c:pt>
                <c:pt idx="4335">
                  <c:v>2.3921899999999998</c:v>
                </c:pt>
                <c:pt idx="4336">
                  <c:v>#N/A</c:v>
                </c:pt>
                <c:pt idx="4337">
                  <c:v>2.6730800000000001</c:v>
                </c:pt>
                <c:pt idx="4338">
                  <c:v>3.0331000000000001</c:v>
                </c:pt>
                <c:pt idx="4339">
                  <c:v>2.76126</c:v>
                </c:pt>
                <c:pt idx="4340">
                  <c:v>#N/A</c:v>
                </c:pt>
                <c:pt idx="4341">
                  <c:v>2.8349199999999999</c:v>
                </c:pt>
                <c:pt idx="4342">
                  <c:v>2.7949700000000002</c:v>
                </c:pt>
                <c:pt idx="4343">
                  <c:v>3.1961599999999999</c:v>
                </c:pt>
                <c:pt idx="4344">
                  <c:v>#N/A</c:v>
                </c:pt>
                <c:pt idx="4345">
                  <c:v>2.9618600000000002</c:v>
                </c:pt>
                <c:pt idx="4346">
                  <c:v>2.6011199999999999</c:v>
                </c:pt>
                <c:pt idx="4347">
                  <c:v>2.3298899999999998</c:v>
                </c:pt>
                <c:pt idx="4348">
                  <c:v>#N/A</c:v>
                </c:pt>
                <c:pt idx="4349">
                  <c:v>2.90219</c:v>
                </c:pt>
                <c:pt idx="4350">
                  <c:v>2.8209</c:v>
                </c:pt>
                <c:pt idx="4351">
                  <c:v>3.0612699999999999</c:v>
                </c:pt>
                <c:pt idx="4352">
                  <c:v>#N/A</c:v>
                </c:pt>
                <c:pt idx="4353">
                  <c:v>2.2800199999999999</c:v>
                </c:pt>
                <c:pt idx="4354">
                  <c:v>2.0453999999999999</c:v>
                </c:pt>
                <c:pt idx="4355">
                  <c:v>#N/A</c:v>
                </c:pt>
                <c:pt idx="4356">
                  <c:v>2.35588</c:v>
                </c:pt>
                <c:pt idx="4357">
                  <c:v>2.2480899999999999</c:v>
                </c:pt>
                <c:pt idx="4358">
                  <c:v>2.7248000000000001</c:v>
                </c:pt>
                <c:pt idx="4359">
                  <c:v>#N/A</c:v>
                </c:pt>
                <c:pt idx="4360">
                  <c:v>3.1394500000000001</c:v>
                </c:pt>
                <c:pt idx="4361">
                  <c:v>3.72302</c:v>
                </c:pt>
                <c:pt idx="4362">
                  <c:v>3.4257599999999999</c:v>
                </c:pt>
                <c:pt idx="4363">
                  <c:v>#N/A</c:v>
                </c:pt>
                <c:pt idx="4364">
                  <c:v>3.3559800000000002</c:v>
                </c:pt>
                <c:pt idx="4365">
                  <c:v>2.2553700000000001</c:v>
                </c:pt>
                <c:pt idx="4366">
                  <c:v>2.29</c:v>
                </c:pt>
                <c:pt idx="4367">
                  <c:v>#N/A</c:v>
                </c:pt>
                <c:pt idx="4368">
                  <c:v>2.89697</c:v>
                </c:pt>
                <c:pt idx="4369">
                  <c:v>2.90299</c:v>
                </c:pt>
                <c:pt idx="4370">
                  <c:v>3.15083</c:v>
                </c:pt>
                <c:pt idx="4371">
                  <c:v>#N/A</c:v>
                </c:pt>
                <c:pt idx="4372">
                  <c:v>3.4093399999999998</c:v>
                </c:pt>
                <c:pt idx="4373">
                  <c:v>3.31948</c:v>
                </c:pt>
                <c:pt idx="4374">
                  <c:v>2.7420100000000001</c:v>
                </c:pt>
                <c:pt idx="4375">
                  <c:v>#N/A</c:v>
                </c:pt>
                <c:pt idx="4376">
                  <c:v>2.43092</c:v>
                </c:pt>
                <c:pt idx="4377">
                  <c:v>2.1732999999999998</c:v>
                </c:pt>
                <c:pt idx="4378">
                  <c:v>2.1407799999999999</c:v>
                </c:pt>
                <c:pt idx="4379">
                  <c:v>#N/A</c:v>
                </c:pt>
                <c:pt idx="4380">
                  <c:v>2.0222600000000002</c:v>
                </c:pt>
                <c:pt idx="4381">
                  <c:v>3.24221</c:v>
                </c:pt>
                <c:pt idx="4382">
                  <c:v>2.9524400000000002</c:v>
                </c:pt>
                <c:pt idx="4383">
                  <c:v>#N/A</c:v>
                </c:pt>
                <c:pt idx="4384">
                  <c:v>3.0280200000000002</c:v>
                </c:pt>
                <c:pt idx="4385">
                  <c:v>2.9162400000000002</c:v>
                </c:pt>
                <c:pt idx="4386">
                  <c:v>#N/A</c:v>
                </c:pt>
                <c:pt idx="4387">
                  <c:v>2.7353700000000001</c:v>
                </c:pt>
                <c:pt idx="4388">
                  <c:v>1.9522999999999999</c:v>
                </c:pt>
                <c:pt idx="4389">
                  <c:v>2.1302500000000002</c:v>
                </c:pt>
                <c:pt idx="4390">
                  <c:v>#N/A</c:v>
                </c:pt>
                <c:pt idx="4391">
                  <c:v>2.6836600000000002</c:v>
                </c:pt>
                <c:pt idx="4392">
                  <c:v>3.24234</c:v>
                </c:pt>
                <c:pt idx="4393">
                  <c:v>#N/A</c:v>
                </c:pt>
                <c:pt idx="4394">
                  <c:v>3.1556999999999999</c:v>
                </c:pt>
                <c:pt idx="4395">
                  <c:v>2.3870200000000001</c:v>
                </c:pt>
                <c:pt idx="4396">
                  <c:v>2.3879600000000001</c:v>
                </c:pt>
                <c:pt idx="4397">
                  <c:v>#N/A</c:v>
                </c:pt>
                <c:pt idx="4398">
                  <c:v>2.1969400000000001</c:v>
                </c:pt>
                <c:pt idx="4399">
                  <c:v>2.5692300000000001</c:v>
                </c:pt>
                <c:pt idx="4400">
                  <c:v>2.39418</c:v>
                </c:pt>
                <c:pt idx="4401">
                  <c:v>#N/A</c:v>
                </c:pt>
                <c:pt idx="4402">
                  <c:v>2.5552800000000002</c:v>
                </c:pt>
                <c:pt idx="4403">
                  <c:v>2.9233899999999999</c:v>
                </c:pt>
                <c:pt idx="4404">
                  <c:v>3.7578399999999998</c:v>
                </c:pt>
                <c:pt idx="4405">
                  <c:v>#N/A</c:v>
                </c:pt>
                <c:pt idx="4406">
                  <c:v>3.20303</c:v>
                </c:pt>
                <c:pt idx="4407">
                  <c:v>2.4706100000000002</c:v>
                </c:pt>
                <c:pt idx="4408">
                  <c:v>2.2943899999999999</c:v>
                </c:pt>
                <c:pt idx="4409">
                  <c:v>#N/A</c:v>
                </c:pt>
                <c:pt idx="4410">
                  <c:v>2.5965799999999999</c:v>
                </c:pt>
                <c:pt idx="4411">
                  <c:v>2.2843499999999999</c:v>
                </c:pt>
                <c:pt idx="4412">
                  <c:v>2.2911899999999998</c:v>
                </c:pt>
                <c:pt idx="4413">
                  <c:v>#N/A</c:v>
                </c:pt>
                <c:pt idx="4414">
                  <c:v>2.8392499999999998</c:v>
                </c:pt>
                <c:pt idx="4415">
                  <c:v>2.9408599999999998</c:v>
                </c:pt>
                <c:pt idx="4416">
                  <c:v>2.67991</c:v>
                </c:pt>
                <c:pt idx="4417">
                  <c:v>#N/A</c:v>
                </c:pt>
                <c:pt idx="4418">
                  <c:v>2.7562899999999999</c:v>
                </c:pt>
                <c:pt idx="4419">
                  <c:v>1.9970600000000001</c:v>
                </c:pt>
                <c:pt idx="4420">
                  <c:v>#N/A</c:v>
                </c:pt>
                <c:pt idx="4421">
                  <c:v>1.9874099999999999</c:v>
                </c:pt>
                <c:pt idx="4422">
                  <c:v>2.8099500000000002</c:v>
                </c:pt>
                <c:pt idx="4423">
                  <c:v>3.95411</c:v>
                </c:pt>
                <c:pt idx="4424">
                  <c:v>#N/A</c:v>
                </c:pt>
                <c:pt idx="4425">
                  <c:v>3.7996500000000002</c:v>
                </c:pt>
                <c:pt idx="4426">
                  <c:v>#N/A</c:v>
                </c:pt>
                <c:pt idx="4427">
                  <c:v>3.08324</c:v>
                </c:pt>
                <c:pt idx="4428">
                  <c:v>2.6656499999999999</c:v>
                </c:pt>
                <c:pt idx="4429">
                  <c:v>#N/A</c:v>
                </c:pt>
                <c:pt idx="4430">
                  <c:v>2.92049</c:v>
                </c:pt>
                <c:pt idx="4431">
                  <c:v>2.9325000000000001</c:v>
                </c:pt>
                <c:pt idx="4432">
                  <c:v>3.06332</c:v>
                </c:pt>
                <c:pt idx="4433">
                  <c:v>#N/A</c:v>
                </c:pt>
                <c:pt idx="4434">
                  <c:v>3.1504599999999998</c:v>
                </c:pt>
                <c:pt idx="4435">
                  <c:v>3.0771500000000001</c:v>
                </c:pt>
                <c:pt idx="4436">
                  <c:v>3.3452799999999998</c:v>
                </c:pt>
                <c:pt idx="4437">
                  <c:v>#N/A</c:v>
                </c:pt>
                <c:pt idx="4438">
                  <c:v>2.5991599999999999</c:v>
                </c:pt>
                <c:pt idx="4439">
                  <c:v>2.0725799999999999</c:v>
                </c:pt>
                <c:pt idx="4440">
                  <c:v>1.92808</c:v>
                </c:pt>
                <c:pt idx="4441">
                  <c:v>#N/A</c:v>
                </c:pt>
                <c:pt idx="4442">
                  <c:v>2.1140300000000001</c:v>
                </c:pt>
                <c:pt idx="4443">
                  <c:v>2.8252199999999998</c:v>
                </c:pt>
                <c:pt idx="4444">
                  <c:v>3.4976400000000001</c:v>
                </c:pt>
                <c:pt idx="4445">
                  <c:v>#N/A</c:v>
                </c:pt>
                <c:pt idx="4446">
                  <c:v>3.5677400000000001</c:v>
                </c:pt>
                <c:pt idx="4447">
                  <c:v>3.1231399999999998</c:v>
                </c:pt>
                <c:pt idx="4448">
                  <c:v>3.2130299999999998</c:v>
                </c:pt>
                <c:pt idx="4449">
                  <c:v>#N/A</c:v>
                </c:pt>
                <c:pt idx="4450">
                  <c:v>2.1548099999999999</c:v>
                </c:pt>
                <c:pt idx="4451">
                  <c:v>2.44598</c:v>
                </c:pt>
                <c:pt idx="4452">
                  <c:v>2.4254799999999999</c:v>
                </c:pt>
                <c:pt idx="4453">
                  <c:v>#N/A</c:v>
                </c:pt>
                <c:pt idx="4454">
                  <c:v>3.0552600000000001</c:v>
                </c:pt>
                <c:pt idx="4455">
                  <c:v>3.1541600000000001</c:v>
                </c:pt>
                <c:pt idx="4456">
                  <c:v>3.0156999999999998</c:v>
                </c:pt>
                <c:pt idx="4457">
                  <c:v>#N/A</c:v>
                </c:pt>
                <c:pt idx="4458">
                  <c:v>2.8426200000000001</c:v>
                </c:pt>
                <c:pt idx="4459">
                  <c:v>2.70844</c:v>
                </c:pt>
                <c:pt idx="4460">
                  <c:v>#N/A</c:v>
                </c:pt>
                <c:pt idx="4461">
                  <c:v>2.3638400000000002</c:v>
                </c:pt>
                <c:pt idx="4462">
                  <c:v>1.9917800000000001</c:v>
                </c:pt>
                <c:pt idx="4463">
                  <c:v>2.0102099999999998</c:v>
                </c:pt>
                <c:pt idx="4464">
                  <c:v>#N/A</c:v>
                </c:pt>
                <c:pt idx="4465">
                  <c:v>2.5748099999999998</c:v>
                </c:pt>
                <c:pt idx="4466">
                  <c:v>3.0476899999999998</c:v>
                </c:pt>
                <c:pt idx="4467">
                  <c:v>3.2941199999999999</c:v>
                </c:pt>
                <c:pt idx="4468">
                  <c:v>#N/A</c:v>
                </c:pt>
                <c:pt idx="4469">
                  <c:v>3.2336499999999999</c:v>
                </c:pt>
                <c:pt idx="4470">
                  <c:v>2.8023199999999999</c:v>
                </c:pt>
                <c:pt idx="4471">
                  <c:v>2.4089999999999998</c:v>
                </c:pt>
                <c:pt idx="4472">
                  <c:v>#N/A</c:v>
                </c:pt>
                <c:pt idx="4473">
                  <c:v>2.2291099999999999</c:v>
                </c:pt>
                <c:pt idx="4474">
                  <c:v>2.3168000000000002</c:v>
                </c:pt>
                <c:pt idx="4475">
                  <c:v>2.6526800000000001</c:v>
                </c:pt>
                <c:pt idx="4476">
                  <c:v>#N/A</c:v>
                </c:pt>
                <c:pt idx="4477">
                  <c:v>2.73244</c:v>
                </c:pt>
                <c:pt idx="4478">
                  <c:v>2.6987700000000001</c:v>
                </c:pt>
                <c:pt idx="4479">
                  <c:v>2.4908199999999998</c:v>
                </c:pt>
                <c:pt idx="4480">
                  <c:v>#N/A</c:v>
                </c:pt>
                <c:pt idx="4481">
                  <c:v>2.1032600000000001</c:v>
                </c:pt>
                <c:pt idx="4482">
                  <c:v>1.96445</c:v>
                </c:pt>
                <c:pt idx="4483">
                  <c:v>#N/A</c:v>
                </c:pt>
                <c:pt idx="4484">
                  <c:v>2.19997</c:v>
                </c:pt>
                <c:pt idx="4485">
                  <c:v>2.5604900000000002</c:v>
                </c:pt>
                <c:pt idx="4486">
                  <c:v>2.7442799999999998</c:v>
                </c:pt>
                <c:pt idx="4487">
                  <c:v>#N/A</c:v>
                </c:pt>
                <c:pt idx="4488">
                  <c:v>2.9489399999999999</c:v>
                </c:pt>
                <c:pt idx="4489">
                  <c:v>2.5314999999999999</c:v>
                </c:pt>
                <c:pt idx="4490">
                  <c:v>3.1363300000000001</c:v>
                </c:pt>
                <c:pt idx="4491">
                  <c:v>#N/A</c:v>
                </c:pt>
                <c:pt idx="4492">
                  <c:v>2.4118400000000002</c:v>
                </c:pt>
                <c:pt idx="4493">
                  <c:v>2.2193100000000001</c:v>
                </c:pt>
                <c:pt idx="4494">
                  <c:v>2.4690500000000002</c:v>
                </c:pt>
                <c:pt idx="4495">
                  <c:v>#N/A</c:v>
                </c:pt>
                <c:pt idx="4496">
                  <c:v>2.7040899999999999</c:v>
                </c:pt>
                <c:pt idx="4497">
                  <c:v>3.43336</c:v>
                </c:pt>
                <c:pt idx="4498">
                  <c:v>3.0017999999999998</c:v>
                </c:pt>
                <c:pt idx="4499">
                  <c:v>#N/A</c:v>
                </c:pt>
                <c:pt idx="4500">
                  <c:v>2.3186900000000001</c:v>
                </c:pt>
                <c:pt idx="4501">
                  <c:v>#N/A</c:v>
                </c:pt>
                <c:pt idx="4502">
                  <c:v>1.82779</c:v>
                </c:pt>
                <c:pt idx="4503">
                  <c:v>#N/A</c:v>
                </c:pt>
                <c:pt idx="4504">
                  <c:v>2.0685600000000002</c:v>
                </c:pt>
                <c:pt idx="4505">
                  <c:v>2.45194</c:v>
                </c:pt>
                <c:pt idx="4506">
                  <c:v>2.8065500000000001</c:v>
                </c:pt>
                <c:pt idx="4507">
                  <c:v>#N/A</c:v>
                </c:pt>
                <c:pt idx="4508">
                  <c:v>3.3637000000000001</c:v>
                </c:pt>
                <c:pt idx="4509">
                  <c:v>3.1829900000000002</c:v>
                </c:pt>
                <c:pt idx="4510">
                  <c:v>2.5752799999999998</c:v>
                </c:pt>
                <c:pt idx="4511">
                  <c:v>#N/A</c:v>
                </c:pt>
                <c:pt idx="4512">
                  <c:v>2.6121699999999999</c:v>
                </c:pt>
                <c:pt idx="4513">
                  <c:v>2.2221299999999999</c:v>
                </c:pt>
                <c:pt idx="4514">
                  <c:v>#N/A</c:v>
                </c:pt>
                <c:pt idx="4515">
                  <c:v>2.2898299999999998</c:v>
                </c:pt>
                <c:pt idx="4516">
                  <c:v>3.0701900000000002</c:v>
                </c:pt>
                <c:pt idx="4517">
                  <c:v>3.0369100000000002</c:v>
                </c:pt>
                <c:pt idx="4518">
                  <c:v>#N/A</c:v>
                </c:pt>
                <c:pt idx="4519">
                  <c:v>2.9452699999999998</c:v>
                </c:pt>
                <c:pt idx="4520">
                  <c:v>3.4943</c:v>
                </c:pt>
                <c:pt idx="4521">
                  <c:v>2.8555199999999998</c:v>
                </c:pt>
                <c:pt idx="4522">
                  <c:v>#N/A</c:v>
                </c:pt>
                <c:pt idx="4523">
                  <c:v>2.3981499999999998</c:v>
                </c:pt>
                <c:pt idx="4524">
                  <c:v>1.9057500000000001</c:v>
                </c:pt>
                <c:pt idx="4525">
                  <c:v>2.9167399999999999</c:v>
                </c:pt>
                <c:pt idx="4526">
                  <c:v>#N/A</c:v>
                </c:pt>
                <c:pt idx="4527">
                  <c:v>2.83473</c:v>
                </c:pt>
                <c:pt idx="4528">
                  <c:v>3.6331099999999998</c:v>
                </c:pt>
                <c:pt idx="4529">
                  <c:v>3.3138200000000002</c:v>
                </c:pt>
                <c:pt idx="4530">
                  <c:v>#N/A</c:v>
                </c:pt>
                <c:pt idx="4531">
                  <c:v>2.8211599999999999</c:v>
                </c:pt>
                <c:pt idx="4532">
                  <c:v>2.7857699999999999</c:v>
                </c:pt>
                <c:pt idx="4533">
                  <c:v>#N/A</c:v>
                </c:pt>
                <c:pt idx="4534">
                  <c:v>2.34212</c:v>
                </c:pt>
                <c:pt idx="4535">
                  <c:v>1.9345699999999999</c:v>
                </c:pt>
                <c:pt idx="4536">
                  <c:v>2.1513599999999999</c:v>
                </c:pt>
                <c:pt idx="4537">
                  <c:v>#N/A</c:v>
                </c:pt>
                <c:pt idx="4538">
                  <c:v>2.8302700000000001</c:v>
                </c:pt>
                <c:pt idx="4539">
                  <c:v>3.7054</c:v>
                </c:pt>
                <c:pt idx="4540">
                  <c:v>3.43621</c:v>
                </c:pt>
                <c:pt idx="4541">
                  <c:v>#N/A</c:v>
                </c:pt>
                <c:pt idx="4542">
                  <c:v>2.7040899999999999</c:v>
                </c:pt>
                <c:pt idx="4543">
                  <c:v>2.0986400000000001</c:v>
                </c:pt>
                <c:pt idx="4544">
                  <c:v>2.20377</c:v>
                </c:pt>
                <c:pt idx="4545">
                  <c:v>#N/A</c:v>
                </c:pt>
                <c:pt idx="4546">
                  <c:v>2.7686199999999999</c:v>
                </c:pt>
                <c:pt idx="4547">
                  <c:v>2.9569899999999998</c:v>
                </c:pt>
                <c:pt idx="4548">
                  <c:v>3.1831800000000001</c:v>
                </c:pt>
                <c:pt idx="4549">
                  <c:v>#N/A</c:v>
                </c:pt>
                <c:pt idx="4550">
                  <c:v>3.6218900000000001</c:v>
                </c:pt>
                <c:pt idx="4551">
                  <c:v>3.8081700000000001</c:v>
                </c:pt>
                <c:pt idx="4552">
                  <c:v>#N/A</c:v>
                </c:pt>
                <c:pt idx="4553">
                  <c:v>2.9950199999999998</c:v>
                </c:pt>
                <c:pt idx="4554">
                  <c:v>2.8125</c:v>
                </c:pt>
                <c:pt idx="4555">
                  <c:v>2.3149799999999998</c:v>
                </c:pt>
                <c:pt idx="4556">
                  <c:v>#N/A</c:v>
                </c:pt>
                <c:pt idx="4557">
                  <c:v>2.6445599999999998</c:v>
                </c:pt>
                <c:pt idx="4558">
                  <c:v>3.1799900000000001</c:v>
                </c:pt>
                <c:pt idx="4559">
                  <c:v>2.3995000000000002</c:v>
                </c:pt>
                <c:pt idx="4560">
                  <c:v>#N/A</c:v>
                </c:pt>
                <c:pt idx="4561">
                  <c:v>2.9290500000000002</c:v>
                </c:pt>
                <c:pt idx="4562">
                  <c:v>2.7077499999999999</c:v>
                </c:pt>
                <c:pt idx="4563">
                  <c:v>2.9235899999999999</c:v>
                </c:pt>
                <c:pt idx="4564">
                  <c:v>#N/A</c:v>
                </c:pt>
                <c:pt idx="4565">
                  <c:v>2.3793199999999999</c:v>
                </c:pt>
                <c:pt idx="4566">
                  <c:v>1.95557</c:v>
                </c:pt>
                <c:pt idx="4567">
                  <c:v>2.4425599999999998</c:v>
                </c:pt>
                <c:pt idx="4568">
                  <c:v>#N/A</c:v>
                </c:pt>
                <c:pt idx="4569">
                  <c:v>2.5341200000000002</c:v>
                </c:pt>
                <c:pt idx="4570">
                  <c:v>3.3491499999999998</c:v>
                </c:pt>
                <c:pt idx="4571">
                  <c:v>3.10392</c:v>
                </c:pt>
                <c:pt idx="4572">
                  <c:v>#N/A</c:v>
                </c:pt>
                <c:pt idx="4573">
                  <c:v>2.8008199999999999</c:v>
                </c:pt>
                <c:pt idx="4574">
                  <c:v>2.2795299999999998</c:v>
                </c:pt>
                <c:pt idx="4575">
                  <c:v>#N/A</c:v>
                </c:pt>
                <c:pt idx="4576">
                  <c:v>2.6238100000000002</c:v>
                </c:pt>
                <c:pt idx="4577">
                  <c:v>2.2770000000000001</c:v>
                </c:pt>
                <c:pt idx="4578">
                  <c:v>2.6267800000000001</c:v>
                </c:pt>
                <c:pt idx="4579">
                  <c:v>#N/A</c:v>
                </c:pt>
                <c:pt idx="4580">
                  <c:v>2.7572399999999999</c:v>
                </c:pt>
                <c:pt idx="4581">
                  <c:v>3.0089700000000001</c:v>
                </c:pt>
                <c:pt idx="4582">
                  <c:v>2.5768300000000002</c:v>
                </c:pt>
                <c:pt idx="4583">
                  <c:v>#N/A</c:v>
                </c:pt>
                <c:pt idx="4584">
                  <c:v>2.3758599999999999</c:v>
                </c:pt>
                <c:pt idx="4585">
                  <c:v>2.0358700000000001</c:v>
                </c:pt>
                <c:pt idx="4586">
                  <c:v>#N/A</c:v>
                </c:pt>
                <c:pt idx="4587">
                  <c:v>1.92435</c:v>
                </c:pt>
                <c:pt idx="4588">
                  <c:v>2.03634</c:v>
                </c:pt>
                <c:pt idx="4589">
                  <c:v>2.6964000000000001</c:v>
                </c:pt>
                <c:pt idx="4590">
                  <c:v>#N/A</c:v>
                </c:pt>
                <c:pt idx="4591">
                  <c:v>3.3232300000000001</c:v>
                </c:pt>
                <c:pt idx="4592">
                  <c:v>3.29237</c:v>
                </c:pt>
                <c:pt idx="4593">
                  <c:v>3.29393</c:v>
                </c:pt>
                <c:pt idx="4594">
                  <c:v>#N/A</c:v>
                </c:pt>
                <c:pt idx="4595">
                  <c:v>2.9610300000000001</c:v>
                </c:pt>
                <c:pt idx="4596">
                  <c:v>2.0779399999999999</c:v>
                </c:pt>
                <c:pt idx="4597">
                  <c:v>1.7912699999999999</c:v>
                </c:pt>
                <c:pt idx="4598">
                  <c:v>#N/A</c:v>
                </c:pt>
                <c:pt idx="4599">
                  <c:v>1.90568</c:v>
                </c:pt>
                <c:pt idx="4600">
                  <c:v>2.8023099999999999</c:v>
                </c:pt>
                <c:pt idx="4601">
                  <c:v>2.9546600000000001</c:v>
                </c:pt>
                <c:pt idx="4602">
                  <c:v>#N/A</c:v>
                </c:pt>
                <c:pt idx="4603">
                  <c:v>3.0802200000000002</c:v>
                </c:pt>
                <c:pt idx="4604">
                  <c:v>3.0922200000000002</c:v>
                </c:pt>
                <c:pt idx="4605">
                  <c:v>#N/A</c:v>
                </c:pt>
                <c:pt idx="4606">
                  <c:v>2.2031100000000001</c:v>
                </c:pt>
                <c:pt idx="4607">
                  <c:v>2.42936</c:v>
                </c:pt>
                <c:pt idx="4608">
                  <c:v>1.7104900000000001</c:v>
                </c:pt>
                <c:pt idx="4609">
                  <c:v>#N/A</c:v>
                </c:pt>
                <c:pt idx="4610">
                  <c:v>2.36842</c:v>
                </c:pt>
                <c:pt idx="4611">
                  <c:v>3.0325099999999998</c:v>
                </c:pt>
                <c:pt idx="4612">
                  <c:v>3.4999699999999998</c:v>
                </c:pt>
                <c:pt idx="4613">
                  <c:v>#N/A</c:v>
                </c:pt>
                <c:pt idx="4614">
                  <c:v>3.3256399999999999</c:v>
                </c:pt>
                <c:pt idx="4615">
                  <c:v>2.5620500000000002</c:v>
                </c:pt>
                <c:pt idx="4616">
                  <c:v>#N/A</c:v>
                </c:pt>
                <c:pt idx="4617">
                  <c:v>1.99072</c:v>
                </c:pt>
                <c:pt idx="4618">
                  <c:v>2.0002200000000001</c:v>
                </c:pt>
                <c:pt idx="4619">
                  <c:v>2.2692700000000001</c:v>
                </c:pt>
                <c:pt idx="4620">
                  <c:v>#N/A</c:v>
                </c:pt>
                <c:pt idx="4621">
                  <c:v>2.5662500000000001</c:v>
                </c:pt>
                <c:pt idx="4622">
                  <c:v>2.4950899999999998</c:v>
                </c:pt>
                <c:pt idx="4623">
                  <c:v>2.7210700000000001</c:v>
                </c:pt>
                <c:pt idx="4624">
                  <c:v>#N/A</c:v>
                </c:pt>
                <c:pt idx="4625">
                  <c:v>2.6280600000000001</c:v>
                </c:pt>
                <c:pt idx="4626">
                  <c:v>2.3723800000000002</c:v>
                </c:pt>
                <c:pt idx="4627">
                  <c:v>2.0681400000000001</c:v>
                </c:pt>
                <c:pt idx="4628">
                  <c:v>#N/A</c:v>
                </c:pt>
                <c:pt idx="4629">
                  <c:v>2.1240399999999999</c:v>
                </c:pt>
                <c:pt idx="4630">
                  <c:v>2.35338</c:v>
                </c:pt>
                <c:pt idx="4631">
                  <c:v>2.6313499999999999</c:v>
                </c:pt>
                <c:pt idx="4632">
                  <c:v>#N/A</c:v>
                </c:pt>
                <c:pt idx="4633">
                  <c:v>2.7749299999999999</c:v>
                </c:pt>
                <c:pt idx="4634">
                  <c:v>2.7067299999999999</c:v>
                </c:pt>
                <c:pt idx="4635">
                  <c:v>#N/A</c:v>
                </c:pt>
                <c:pt idx="4636">
                  <c:v>3.0897600000000001</c:v>
                </c:pt>
                <c:pt idx="4637">
                  <c:v>2.6194199999999999</c:v>
                </c:pt>
                <c:pt idx="4638">
                  <c:v>2.10697</c:v>
                </c:pt>
                <c:pt idx="4639">
                  <c:v>#N/A</c:v>
                </c:pt>
                <c:pt idx="4640">
                  <c:v>2.3415699999999999</c:v>
                </c:pt>
                <c:pt idx="4641">
                  <c:v>2.2937400000000001</c:v>
                </c:pt>
                <c:pt idx="4642">
                  <c:v>2.5001799999999998</c:v>
                </c:pt>
                <c:pt idx="4643">
                  <c:v>#N/A</c:v>
                </c:pt>
                <c:pt idx="4644">
                  <c:v>2.7004899999999998</c:v>
                </c:pt>
                <c:pt idx="4645">
                  <c:v>3.0508600000000001</c:v>
                </c:pt>
                <c:pt idx="4646">
                  <c:v>2.40951</c:v>
                </c:pt>
                <c:pt idx="4647">
                  <c:v>#N/A</c:v>
                </c:pt>
                <c:pt idx="4648">
                  <c:v>1.8701000000000001</c:v>
                </c:pt>
                <c:pt idx="4649">
                  <c:v>2.0607899999999999</c:v>
                </c:pt>
                <c:pt idx="4650">
                  <c:v>2.38042</c:v>
                </c:pt>
                <c:pt idx="4651">
                  <c:v>#N/A</c:v>
                </c:pt>
                <c:pt idx="4652">
                  <c:v>2.77271</c:v>
                </c:pt>
                <c:pt idx="4653">
                  <c:v>#N/A</c:v>
                </c:pt>
                <c:pt idx="4654">
                  <c:v>3.1676700000000002</c:v>
                </c:pt>
                <c:pt idx="4655">
                  <c:v>3.4327100000000002</c:v>
                </c:pt>
                <c:pt idx="4656">
                  <c:v>#N/A</c:v>
                </c:pt>
                <c:pt idx="4657">
                  <c:v>2.7485400000000002</c:v>
                </c:pt>
                <c:pt idx="4658">
                  <c:v>2.1825299999999999</c:v>
                </c:pt>
                <c:pt idx="4659">
                  <c:v>#N/A</c:v>
                </c:pt>
                <c:pt idx="4660">
                  <c:v>1.98624</c:v>
                </c:pt>
                <c:pt idx="4661">
                  <c:v>1.9975000000000001</c:v>
                </c:pt>
                <c:pt idx="4662">
                  <c:v>2.5556899999999998</c:v>
                </c:pt>
                <c:pt idx="4663">
                  <c:v>#N/A</c:v>
                </c:pt>
                <c:pt idx="4664">
                  <c:v>2.50658</c:v>
                </c:pt>
                <c:pt idx="4665">
                  <c:v>2.9735800000000001</c:v>
                </c:pt>
                <c:pt idx="4666">
                  <c:v>3.0635400000000002</c:v>
                </c:pt>
                <c:pt idx="4667">
                  <c:v>#N/A</c:v>
                </c:pt>
                <c:pt idx="4668">
                  <c:v>3.10948</c:v>
                </c:pt>
                <c:pt idx="4669">
                  <c:v>2.01451</c:v>
                </c:pt>
                <c:pt idx="4670">
                  <c:v>1.86873</c:v>
                </c:pt>
                <c:pt idx="4671">
                  <c:v>#N/A</c:v>
                </c:pt>
                <c:pt idx="4672">
                  <c:v>2.1230699999999998</c:v>
                </c:pt>
                <c:pt idx="4673">
                  <c:v>2.8073100000000002</c:v>
                </c:pt>
                <c:pt idx="4674">
                  <c:v>3.2080700000000002</c:v>
                </c:pt>
                <c:pt idx="4675">
                  <c:v>#N/A</c:v>
                </c:pt>
                <c:pt idx="4676">
                  <c:v>3.0555699999999999</c:v>
                </c:pt>
                <c:pt idx="4677">
                  <c:v>2.2924799999999999</c:v>
                </c:pt>
                <c:pt idx="4678">
                  <c:v>2.5184600000000001</c:v>
                </c:pt>
                <c:pt idx="4679">
                  <c:v>#N/A</c:v>
                </c:pt>
                <c:pt idx="4680">
                  <c:v>2.6575099999999998</c:v>
                </c:pt>
                <c:pt idx="4681">
                  <c:v>1.89564</c:v>
                </c:pt>
                <c:pt idx="4682">
                  <c:v>2.0222500000000001</c:v>
                </c:pt>
                <c:pt idx="4683">
                  <c:v>#N/A</c:v>
                </c:pt>
                <c:pt idx="4684">
                  <c:v>2.5932400000000002</c:v>
                </c:pt>
                <c:pt idx="4685">
                  <c:v>2.6501000000000001</c:v>
                </c:pt>
                <c:pt idx="4686">
                  <c:v>2.51275</c:v>
                </c:pt>
                <c:pt idx="4687">
                  <c:v>#N/A</c:v>
                </c:pt>
                <c:pt idx="4688">
                  <c:v>2.3715199999999999</c:v>
                </c:pt>
                <c:pt idx="4689">
                  <c:v>2.47221</c:v>
                </c:pt>
                <c:pt idx="4690">
                  <c:v>#N/A</c:v>
                </c:pt>
                <c:pt idx="4691">
                  <c:v>2.2001900000000001</c:v>
                </c:pt>
                <c:pt idx="4692">
                  <c:v>2.2013500000000001</c:v>
                </c:pt>
                <c:pt idx="4693">
                  <c:v>2.2730000000000001</c:v>
                </c:pt>
                <c:pt idx="4694">
                  <c:v>#N/A</c:v>
                </c:pt>
                <c:pt idx="4695">
                  <c:v>2.6953900000000002</c:v>
                </c:pt>
                <c:pt idx="4696">
                  <c:v>3.1703600000000001</c:v>
                </c:pt>
                <c:pt idx="4697">
                  <c:v>3.5435300000000001</c:v>
                </c:pt>
                <c:pt idx="4698">
                  <c:v>#N/A</c:v>
                </c:pt>
                <c:pt idx="4699">
                  <c:v>2.8619400000000002</c:v>
                </c:pt>
                <c:pt idx="4700">
                  <c:v>2.0537999999999998</c:v>
                </c:pt>
                <c:pt idx="4701">
                  <c:v>1.93072</c:v>
                </c:pt>
                <c:pt idx="4702">
                  <c:v>#N/A</c:v>
                </c:pt>
                <c:pt idx="4703">
                  <c:v>1.75376</c:v>
                </c:pt>
                <c:pt idx="4704">
                  <c:v>2.5516800000000002</c:v>
                </c:pt>
                <c:pt idx="4705">
                  <c:v>2.67761</c:v>
                </c:pt>
                <c:pt idx="4706">
                  <c:v>#N/A</c:v>
                </c:pt>
                <c:pt idx="4707">
                  <c:v>2.51824</c:v>
                </c:pt>
                <c:pt idx="4708">
                  <c:v>2.4750100000000002</c:v>
                </c:pt>
                <c:pt idx="4709">
                  <c:v>2.95505</c:v>
                </c:pt>
                <c:pt idx="4710">
                  <c:v>#N/A</c:v>
                </c:pt>
                <c:pt idx="4711">
                  <c:v>2.3536299999999999</c:v>
                </c:pt>
                <c:pt idx="4712">
                  <c:v>1.8444100000000001</c:v>
                </c:pt>
                <c:pt idx="4713">
                  <c:v>1.9859100000000001</c:v>
                </c:pt>
                <c:pt idx="4714">
                  <c:v>#N/A</c:v>
                </c:pt>
                <c:pt idx="4715">
                  <c:v>2.0659700000000001</c:v>
                </c:pt>
                <c:pt idx="4716">
                  <c:v>3.4228700000000001</c:v>
                </c:pt>
                <c:pt idx="4717">
                  <c:v>2.8422399999999999</c:v>
                </c:pt>
                <c:pt idx="4718">
                  <c:v>#N/A</c:v>
                </c:pt>
                <c:pt idx="4719">
                  <c:v>2.8851</c:v>
                </c:pt>
                <c:pt idx="4720">
                  <c:v>3.1463199999999998</c:v>
                </c:pt>
                <c:pt idx="4721">
                  <c:v>#N/A</c:v>
                </c:pt>
                <c:pt idx="4722">
                  <c:v>2.3255499999999998</c:v>
                </c:pt>
                <c:pt idx="4723">
                  <c:v>1.80643</c:v>
                </c:pt>
                <c:pt idx="4724">
                  <c:v>1.8062499999999999</c:v>
                </c:pt>
                <c:pt idx="4725">
                  <c:v>#N/A</c:v>
                </c:pt>
                <c:pt idx="4726">
                  <c:v>3.0256500000000002</c:v>
                </c:pt>
                <c:pt idx="4727">
                  <c:v>#N/A</c:v>
                </c:pt>
                <c:pt idx="4728">
                  <c:v>3.1153400000000002</c:v>
                </c:pt>
                <c:pt idx="4729">
                  <c:v>2.5400499999999999</c:v>
                </c:pt>
                <c:pt idx="4730">
                  <c:v>#N/A</c:v>
                </c:pt>
                <c:pt idx="4731">
                  <c:v>2.0442800000000001</c:v>
                </c:pt>
                <c:pt idx="4732">
                  <c:v>2.3635999999999999</c:v>
                </c:pt>
                <c:pt idx="4733">
                  <c:v>2.4434999999999998</c:v>
                </c:pt>
                <c:pt idx="4734">
                  <c:v>#N/A</c:v>
                </c:pt>
                <c:pt idx="4735">
                  <c:v>3.1327400000000001</c:v>
                </c:pt>
                <c:pt idx="4736">
                  <c:v>3.1527500000000002</c:v>
                </c:pt>
                <c:pt idx="4737">
                  <c:v>3.8098299999999998</c:v>
                </c:pt>
                <c:pt idx="4738">
                  <c:v>#N/A</c:v>
                </c:pt>
                <c:pt idx="4739">
                  <c:v>2.9128099999999999</c:v>
                </c:pt>
                <c:pt idx="4740">
                  <c:v>3.1104400000000001</c:v>
                </c:pt>
                <c:pt idx="4741">
                  <c:v>2.4746700000000001</c:v>
                </c:pt>
                <c:pt idx="4742">
                  <c:v>#N/A</c:v>
                </c:pt>
                <c:pt idx="4743">
                  <c:v>1.7739799999999999</c:v>
                </c:pt>
                <c:pt idx="4744">
                  <c:v>2.23237</c:v>
                </c:pt>
                <c:pt idx="4745">
                  <c:v>2.3837199999999998</c:v>
                </c:pt>
                <c:pt idx="4746">
                  <c:v>#N/A</c:v>
                </c:pt>
                <c:pt idx="4747">
                  <c:v>3.1190000000000002</c:v>
                </c:pt>
                <c:pt idx="4748">
                  <c:v>2.8896500000000001</c:v>
                </c:pt>
                <c:pt idx="4749">
                  <c:v>#N/A</c:v>
                </c:pt>
                <c:pt idx="4750">
                  <c:v>3.0367700000000002</c:v>
                </c:pt>
                <c:pt idx="4751">
                  <c:v>2.5474399999999999</c:v>
                </c:pt>
                <c:pt idx="4752">
                  <c:v>2.0727099999999998</c:v>
                </c:pt>
                <c:pt idx="4753">
                  <c:v>#N/A</c:v>
                </c:pt>
                <c:pt idx="4754">
                  <c:v>2.1071599999999999</c:v>
                </c:pt>
                <c:pt idx="4755">
                  <c:v>1.6998500000000001</c:v>
                </c:pt>
                <c:pt idx="4756">
                  <c:v>2.6022099999999999</c:v>
                </c:pt>
                <c:pt idx="4757">
                  <c:v>#N/A</c:v>
                </c:pt>
                <c:pt idx="4758">
                  <c:v>3.3190300000000001</c:v>
                </c:pt>
                <c:pt idx="4759">
                  <c:v>3.6405599999999998</c:v>
                </c:pt>
                <c:pt idx="4760">
                  <c:v>3.7049799999999999</c:v>
                </c:pt>
                <c:pt idx="4761">
                  <c:v>#N/A</c:v>
                </c:pt>
                <c:pt idx="4762">
                  <c:v>3.3628300000000002</c:v>
                </c:pt>
                <c:pt idx="4763">
                  <c:v>2.8438400000000001</c:v>
                </c:pt>
                <c:pt idx="4764">
                  <c:v>2.89506</c:v>
                </c:pt>
                <c:pt idx="4765">
                  <c:v>#N/A</c:v>
                </c:pt>
                <c:pt idx="4766">
                  <c:v>2.5990099999999998</c:v>
                </c:pt>
                <c:pt idx="4767">
                  <c:v>2.2975599999999998</c:v>
                </c:pt>
                <c:pt idx="4768">
                  <c:v>2.0862699999999998</c:v>
                </c:pt>
                <c:pt idx="4769">
                  <c:v>#N/A</c:v>
                </c:pt>
                <c:pt idx="4770">
                  <c:v>2.78911</c:v>
                </c:pt>
                <c:pt idx="4771">
                  <c:v>2.9746199999999998</c:v>
                </c:pt>
                <c:pt idx="4772">
                  <c:v>3.10663</c:v>
                </c:pt>
                <c:pt idx="4773">
                  <c:v>#N/A</c:v>
                </c:pt>
                <c:pt idx="4774">
                  <c:v>2.4405399999999999</c:v>
                </c:pt>
                <c:pt idx="4775">
                  <c:v>2.1216300000000001</c:v>
                </c:pt>
                <c:pt idx="4776">
                  <c:v>2.5522200000000002</c:v>
                </c:pt>
                <c:pt idx="4777">
                  <c:v>#N/A</c:v>
                </c:pt>
                <c:pt idx="4778">
                  <c:v>2.32498</c:v>
                </c:pt>
                <c:pt idx="4779">
                  <c:v>3.2222599999999999</c:v>
                </c:pt>
                <c:pt idx="4780">
                  <c:v>#N/A</c:v>
                </c:pt>
                <c:pt idx="4781">
                  <c:v>3.6102699999999999</c:v>
                </c:pt>
                <c:pt idx="4782">
                  <c:v>3.00413</c:v>
                </c:pt>
                <c:pt idx="4783">
                  <c:v>2.8589000000000002</c:v>
                </c:pt>
                <c:pt idx="4784">
                  <c:v>#N/A</c:v>
                </c:pt>
                <c:pt idx="4785">
                  <c:v>2.2656900000000002</c:v>
                </c:pt>
                <c:pt idx="4786">
                  <c:v>2.4037999999999999</c:v>
                </c:pt>
                <c:pt idx="4787">
                  <c:v>2.42605</c:v>
                </c:pt>
                <c:pt idx="4788">
                  <c:v>#N/A</c:v>
                </c:pt>
                <c:pt idx="4789">
                  <c:v>2.9598399999999998</c:v>
                </c:pt>
                <c:pt idx="4790">
                  <c:v>3.01945</c:v>
                </c:pt>
                <c:pt idx="4791">
                  <c:v>#N/A</c:v>
                </c:pt>
                <c:pt idx="4792">
                  <c:v>2.5839799999999999</c:v>
                </c:pt>
                <c:pt idx="4793">
                  <c:v>2.58866</c:v>
                </c:pt>
                <c:pt idx="4794">
                  <c:v>2.51207</c:v>
                </c:pt>
                <c:pt idx="4795">
                  <c:v>#N/A</c:v>
                </c:pt>
                <c:pt idx="4796">
                  <c:v>2.23908</c:v>
                </c:pt>
                <c:pt idx="4797">
                  <c:v>2.2951000000000001</c:v>
                </c:pt>
                <c:pt idx="4798">
                  <c:v>2.3703599999999998</c:v>
                </c:pt>
                <c:pt idx="4799">
                  <c:v>#N/A</c:v>
                </c:pt>
                <c:pt idx="4800">
                  <c:v>3.1293899999999999</c:v>
                </c:pt>
                <c:pt idx="4801">
                  <c:v>3.5026899999999999</c:v>
                </c:pt>
                <c:pt idx="4802">
                  <c:v>#N/A</c:v>
                </c:pt>
                <c:pt idx="4803">
                  <c:v>2.7020900000000001</c:v>
                </c:pt>
                <c:pt idx="4804">
                  <c:v>2.4447000000000001</c:v>
                </c:pt>
                <c:pt idx="4805">
                  <c:v>1.9735499999999999</c:v>
                </c:pt>
                <c:pt idx="4806">
                  <c:v>#N/A</c:v>
                </c:pt>
                <c:pt idx="4807">
                  <c:v>2.7367599999999999</c:v>
                </c:pt>
                <c:pt idx="4808">
                  <c:v>2.5278</c:v>
                </c:pt>
                <c:pt idx="4809">
                  <c:v>2.8858600000000001</c:v>
                </c:pt>
                <c:pt idx="4810">
                  <c:v>#N/A</c:v>
                </c:pt>
                <c:pt idx="4811">
                  <c:v>2.7028699999999999</c:v>
                </c:pt>
                <c:pt idx="4812">
                  <c:v>2.7941099999999999</c:v>
                </c:pt>
                <c:pt idx="4813">
                  <c:v>2.5186999999999999</c:v>
                </c:pt>
                <c:pt idx="4814">
                  <c:v>#N/A</c:v>
                </c:pt>
                <c:pt idx="4815">
                  <c:v>2.1070799999999998</c:v>
                </c:pt>
                <c:pt idx="4816">
                  <c:v>2.1620699999999999</c:v>
                </c:pt>
                <c:pt idx="4817">
                  <c:v>2.24946</c:v>
                </c:pt>
                <c:pt idx="4818">
                  <c:v>#N/A</c:v>
                </c:pt>
                <c:pt idx="4819">
                  <c:v>3.1695000000000002</c:v>
                </c:pt>
                <c:pt idx="4820">
                  <c:v>3.2429100000000002</c:v>
                </c:pt>
                <c:pt idx="4821">
                  <c:v>3.6431200000000001</c:v>
                </c:pt>
                <c:pt idx="4822">
                  <c:v>#N/A</c:v>
                </c:pt>
                <c:pt idx="4823">
                  <c:v>3.75407</c:v>
                </c:pt>
                <c:pt idx="4824">
                  <c:v>2.4075299999999999</c:v>
                </c:pt>
                <c:pt idx="4825">
                  <c:v>#N/A</c:v>
                </c:pt>
                <c:pt idx="4826">
                  <c:v>1.9919800000000001</c:v>
                </c:pt>
                <c:pt idx="4827">
                  <c:v>1.61181</c:v>
                </c:pt>
                <c:pt idx="4828">
                  <c:v>1.9573799999999999</c:v>
                </c:pt>
                <c:pt idx="4829">
                  <c:v>#N/A</c:v>
                </c:pt>
                <c:pt idx="4830">
                  <c:v>2.6414300000000002</c:v>
                </c:pt>
                <c:pt idx="4831">
                  <c:v>2.6128</c:v>
                </c:pt>
                <c:pt idx="4832">
                  <c:v>2.9441899999999999</c:v>
                </c:pt>
                <c:pt idx="4833">
                  <c:v>#N/A</c:v>
                </c:pt>
                <c:pt idx="4834">
                  <c:v>2.16919</c:v>
                </c:pt>
                <c:pt idx="4835">
                  <c:v>2.0869800000000001</c:v>
                </c:pt>
                <c:pt idx="4836">
                  <c:v>1.9771099999999999</c:v>
                </c:pt>
                <c:pt idx="4837">
                  <c:v>#N/A</c:v>
                </c:pt>
                <c:pt idx="4838">
                  <c:v>1.33616</c:v>
                </c:pt>
                <c:pt idx="4839">
                  <c:v>1.5861400000000001</c:v>
                </c:pt>
                <c:pt idx="4840">
                  <c:v>#N/A</c:v>
                </c:pt>
                <c:pt idx="4841">
                  <c:v>2.17822</c:v>
                </c:pt>
                <c:pt idx="4842">
                  <c:v>2.6406499999999999</c:v>
                </c:pt>
                <c:pt idx="4843">
                  <c:v>3.06196</c:v>
                </c:pt>
                <c:pt idx="4844">
                  <c:v>#N/A</c:v>
                </c:pt>
                <c:pt idx="4845">
                  <c:v>2.9939</c:v>
                </c:pt>
                <c:pt idx="4846">
                  <c:v>3.1953399999999998</c:v>
                </c:pt>
                <c:pt idx="4847">
                  <c:v>2.5420500000000001</c:v>
                </c:pt>
                <c:pt idx="4848">
                  <c:v>#N/A</c:v>
                </c:pt>
                <c:pt idx="4849">
                  <c:v>2.27033</c:v>
                </c:pt>
                <c:pt idx="4850">
                  <c:v>2.1171000000000002</c:v>
                </c:pt>
                <c:pt idx="4851">
                  <c:v>#N/A</c:v>
                </c:pt>
                <c:pt idx="4852">
                  <c:v>2.3623599999999998</c:v>
                </c:pt>
                <c:pt idx="4853">
                  <c:v>2.6303399999999999</c:v>
                </c:pt>
                <c:pt idx="4854">
                  <c:v>3.3499400000000001</c:v>
                </c:pt>
                <c:pt idx="4855">
                  <c:v>#N/A</c:v>
                </c:pt>
                <c:pt idx="4856">
                  <c:v>3.2385000000000002</c:v>
                </c:pt>
                <c:pt idx="4857">
                  <c:v>2.6561300000000001</c:v>
                </c:pt>
                <c:pt idx="4858">
                  <c:v>2.7932999999999999</c:v>
                </c:pt>
                <c:pt idx="4859">
                  <c:v>#N/A</c:v>
                </c:pt>
                <c:pt idx="4860">
                  <c:v>2.3511799999999998</c:v>
                </c:pt>
                <c:pt idx="4861">
                  <c:v>2.6446700000000001</c:v>
                </c:pt>
                <c:pt idx="4862">
                  <c:v>3.0472199999999998</c:v>
                </c:pt>
                <c:pt idx="4863">
                  <c:v>#N/A</c:v>
                </c:pt>
                <c:pt idx="4864">
                  <c:v>2.91961</c:v>
                </c:pt>
                <c:pt idx="4865">
                  <c:v>2.5222099999999998</c:v>
                </c:pt>
                <c:pt idx="4866">
                  <c:v>2.4463900000000001</c:v>
                </c:pt>
                <c:pt idx="4867">
                  <c:v>#N/A</c:v>
                </c:pt>
                <c:pt idx="4868">
                  <c:v>2.9602900000000001</c:v>
                </c:pt>
                <c:pt idx="4869">
                  <c:v>2.3410600000000001</c:v>
                </c:pt>
                <c:pt idx="4870">
                  <c:v>2.2928899999999999</c:v>
                </c:pt>
                <c:pt idx="4871">
                  <c:v>#N/A</c:v>
                </c:pt>
                <c:pt idx="4872">
                  <c:v>2.6840299999999999</c:v>
                </c:pt>
                <c:pt idx="4873">
                  <c:v>2.3817699999999999</c:v>
                </c:pt>
                <c:pt idx="4874">
                  <c:v>2.7399900000000001</c:v>
                </c:pt>
                <c:pt idx="4875">
                  <c:v>#N/A</c:v>
                </c:pt>
                <c:pt idx="4876">
                  <c:v>2.6244900000000002</c:v>
                </c:pt>
                <c:pt idx="4877">
                  <c:v>#N/A</c:v>
                </c:pt>
                <c:pt idx="4878">
                  <c:v>2.0698400000000001</c:v>
                </c:pt>
                <c:pt idx="4879">
                  <c:v>2.2583000000000002</c:v>
                </c:pt>
                <c:pt idx="4880">
                  <c:v>#N/A</c:v>
                </c:pt>
                <c:pt idx="4881">
                  <c:v>2.5134400000000001</c:v>
                </c:pt>
                <c:pt idx="4882">
                  <c:v>2.95275</c:v>
                </c:pt>
                <c:pt idx="4883">
                  <c:v>#N/A</c:v>
                </c:pt>
                <c:pt idx="4884">
                  <c:v>3.8332999999999999</c:v>
                </c:pt>
                <c:pt idx="4885">
                  <c:v>2.8898899999999998</c:v>
                </c:pt>
                <c:pt idx="4886">
                  <c:v>#N/A</c:v>
                </c:pt>
                <c:pt idx="4887">
                  <c:v>2.3199299999999998</c:v>
                </c:pt>
                <c:pt idx="4888">
                  <c:v>1.92801</c:v>
                </c:pt>
                <c:pt idx="4889">
                  <c:v>1.9187099999999999</c:v>
                </c:pt>
                <c:pt idx="4890">
                  <c:v>#N/A</c:v>
                </c:pt>
                <c:pt idx="4891">
                  <c:v>2.21577</c:v>
                </c:pt>
                <c:pt idx="4892">
                  <c:v>2.9005299999999998</c:v>
                </c:pt>
                <c:pt idx="4893">
                  <c:v>3.0034399999999999</c:v>
                </c:pt>
                <c:pt idx="4894">
                  <c:v>#N/A</c:v>
                </c:pt>
                <c:pt idx="4895">
                  <c:v>3.15205</c:v>
                </c:pt>
                <c:pt idx="4896">
                  <c:v>3.2347800000000002</c:v>
                </c:pt>
                <c:pt idx="4897">
                  <c:v>2.1442000000000001</c:v>
                </c:pt>
                <c:pt idx="4898">
                  <c:v>#N/A</c:v>
                </c:pt>
                <c:pt idx="4899">
                  <c:v>1.79392</c:v>
                </c:pt>
                <c:pt idx="4900">
                  <c:v>1.63558</c:v>
                </c:pt>
                <c:pt idx="4901">
                  <c:v>2.4818500000000001</c:v>
                </c:pt>
                <c:pt idx="4902">
                  <c:v>#N/A</c:v>
                </c:pt>
                <c:pt idx="4903">
                  <c:v>2.7002100000000002</c:v>
                </c:pt>
                <c:pt idx="4904">
                  <c:v>3.4316499999999999</c:v>
                </c:pt>
                <c:pt idx="4905">
                  <c:v>3.3795299999999999</c:v>
                </c:pt>
                <c:pt idx="4906">
                  <c:v>#N/A</c:v>
                </c:pt>
                <c:pt idx="4907">
                  <c:v>3.9127100000000001</c:v>
                </c:pt>
                <c:pt idx="4908">
                  <c:v>3.28912</c:v>
                </c:pt>
                <c:pt idx="4909">
                  <c:v>2.6826500000000002</c:v>
                </c:pt>
                <c:pt idx="4910">
                  <c:v>#N/A</c:v>
                </c:pt>
                <c:pt idx="4911">
                  <c:v>2.1337799999999998</c:v>
                </c:pt>
                <c:pt idx="4912">
                  <c:v>1.5099199999999999</c:v>
                </c:pt>
                <c:pt idx="4913">
                  <c:v>2.1324000000000001</c:v>
                </c:pt>
                <c:pt idx="4914">
                  <c:v>#N/A</c:v>
                </c:pt>
                <c:pt idx="4915">
                  <c:v>2.5207899999999999</c:v>
                </c:pt>
                <c:pt idx="4916">
                  <c:v>2.85025</c:v>
                </c:pt>
                <c:pt idx="4917">
                  <c:v>#N/A</c:v>
                </c:pt>
                <c:pt idx="4918">
                  <c:v>2.70668</c:v>
                </c:pt>
                <c:pt idx="4919">
                  <c:v>2.5175999999999998</c:v>
                </c:pt>
                <c:pt idx="4920">
                  <c:v>2.50014</c:v>
                </c:pt>
                <c:pt idx="4921">
                  <c:v>#N/A</c:v>
                </c:pt>
                <c:pt idx="4922">
                  <c:v>2.01627</c:v>
                </c:pt>
                <c:pt idx="4923">
                  <c:v>2.3996900000000001</c:v>
                </c:pt>
                <c:pt idx="4924">
                  <c:v>2.86232</c:v>
                </c:pt>
                <c:pt idx="4925">
                  <c:v>#N/A</c:v>
                </c:pt>
                <c:pt idx="4926">
                  <c:v>3.0803400000000001</c:v>
                </c:pt>
                <c:pt idx="4927">
                  <c:v>3.3303199999999999</c:v>
                </c:pt>
                <c:pt idx="4928">
                  <c:v>3.3176199999999998</c:v>
                </c:pt>
                <c:pt idx="4929">
                  <c:v>#N/A</c:v>
                </c:pt>
                <c:pt idx="4930">
                  <c:v>3.1796600000000002</c:v>
                </c:pt>
                <c:pt idx="4931">
                  <c:v>3.0369199999999998</c:v>
                </c:pt>
                <c:pt idx="4932">
                  <c:v>#N/A</c:v>
                </c:pt>
                <c:pt idx="4933">
                  <c:v>2.5885500000000001</c:v>
                </c:pt>
                <c:pt idx="4934">
                  <c:v>2.1749499999999999</c:v>
                </c:pt>
                <c:pt idx="4935">
                  <c:v>2.3827799999999999</c:v>
                </c:pt>
                <c:pt idx="4936">
                  <c:v>#N/A</c:v>
                </c:pt>
                <c:pt idx="4937">
                  <c:v>2.66791</c:v>
                </c:pt>
                <c:pt idx="4938">
                  <c:v>2.3506100000000001</c:v>
                </c:pt>
                <c:pt idx="4939">
                  <c:v>2.3853300000000002</c:v>
                </c:pt>
                <c:pt idx="4940">
                  <c:v>#N/A</c:v>
                </c:pt>
                <c:pt idx="4941">
                  <c:v>1.6319999999999999</c:v>
                </c:pt>
                <c:pt idx="4942">
                  <c:v>3.5318099999999998E-2</c:v>
                </c:pt>
                <c:pt idx="4943">
                  <c:v>#N/A</c:v>
                </c:pt>
                <c:pt idx="4944">
                  <c:v>-0.83252700000000002</c:v>
                </c:pt>
                <c:pt idx="4945">
                  <c:v>-3.5551300000000001</c:v>
                </c:pt>
                <c:pt idx="4946">
                  <c:v>-5.34375</c:v>
                </c:pt>
                <c:pt idx="4947">
                  <c:v>#N/A</c:v>
                </c:pt>
                <c:pt idx="4948">
                  <c:v>-7.1607500000000002</c:v>
                </c:pt>
                <c:pt idx="4949">
                  <c:v>-8.4838199999999997</c:v>
                </c:pt>
                <c:pt idx="4950">
                  <c:v>-10.848100000000001</c:v>
                </c:pt>
                <c:pt idx="4951">
                  <c:v>#N/A</c:v>
                </c:pt>
                <c:pt idx="4952">
                  <c:v>-12.531700000000001</c:v>
                </c:pt>
                <c:pt idx="4953">
                  <c:v>-13.8743</c:v>
                </c:pt>
                <c:pt idx="4954">
                  <c:v>-14.8018</c:v>
                </c:pt>
                <c:pt idx="4955">
                  <c:v>#N/A</c:v>
                </c:pt>
                <c:pt idx="4956">
                  <c:v>-16.195799999999998</c:v>
                </c:pt>
                <c:pt idx="4957">
                  <c:v>-16.921099999999999</c:v>
                </c:pt>
                <c:pt idx="4958">
                  <c:v>-17.056100000000001</c:v>
                </c:pt>
                <c:pt idx="4959">
                  <c:v>#N/A</c:v>
                </c:pt>
                <c:pt idx="4960">
                  <c:v>-17.633400000000002</c:v>
                </c:pt>
                <c:pt idx="4961">
                  <c:v>-16.587199999999999</c:v>
                </c:pt>
                <c:pt idx="4962">
                  <c:v>-15.0837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0.20864199999999999</c:v>
                </c:pt>
                <c:pt idx="5035">
                  <c:v>#N/A</c:v>
                </c:pt>
                <c:pt idx="5036">
                  <c:v>9.5684900000000003E-2</c:v>
                </c:pt>
                <c:pt idx="5037">
                  <c:v>0.26019399999999998</c:v>
                </c:pt>
                <c:pt idx="5038">
                  <c:v>1.3333599999999999E-2</c:v>
                </c:pt>
                <c:pt idx="5039">
                  <c:v>#N/A</c:v>
                </c:pt>
                <c:pt idx="5040">
                  <c:v>-5.1041700000000002E-2</c:v>
                </c:pt>
                <c:pt idx="5041">
                  <c:v>-0.106798</c:v>
                </c:pt>
                <c:pt idx="5042">
                  <c:v>-5.62748E-2</c:v>
                </c:pt>
                <c:pt idx="5043">
                  <c:v>#N/A</c:v>
                </c:pt>
                <c:pt idx="5044">
                  <c:v>-0.35580800000000001</c:v>
                </c:pt>
                <c:pt idx="5045">
                  <c:v>-0.35569800000000001</c:v>
                </c:pt>
                <c:pt idx="5046">
                  <c:v>#N/A</c:v>
                </c:pt>
                <c:pt idx="5047">
                  <c:v>-0.71973799999999999</c:v>
                </c:pt>
                <c:pt idx="5048">
                  <c:v>-0.47891</c:v>
                </c:pt>
                <c:pt idx="5049">
                  <c:v>-0.74851000000000001</c:v>
                </c:pt>
                <c:pt idx="5050">
                  <c:v>#N/A</c:v>
                </c:pt>
                <c:pt idx="5051">
                  <c:v>-2.6421999999999999</c:v>
                </c:pt>
                <c:pt idx="5052">
                  <c:v>-4.109</c:v>
                </c:pt>
                <c:pt idx="5053">
                  <c:v>-5.6842600000000001</c:v>
                </c:pt>
                <c:pt idx="5054">
                  <c:v>#N/A</c:v>
                </c:pt>
                <c:pt idx="5055">
                  <c:v>-7.0939800000000002</c:v>
                </c:pt>
                <c:pt idx="5056">
                  <c:v>-8.9533900000000006</c:v>
                </c:pt>
                <c:pt idx="5057">
                  <c:v>-10.2342</c:v>
                </c:pt>
                <c:pt idx="5058">
                  <c:v>#N/A</c:v>
                </c:pt>
                <c:pt idx="5059">
                  <c:v>-11.572100000000001</c:v>
                </c:pt>
                <c:pt idx="5060">
                  <c:v>-12.935700000000001</c:v>
                </c:pt>
                <c:pt idx="5061">
                  <c:v>-14.305899999999999</c:v>
                </c:pt>
                <c:pt idx="5062">
                  <c:v>#N/A</c:v>
                </c:pt>
                <c:pt idx="5063">
                  <c:v>-16.848199999999999</c:v>
                </c:pt>
                <c:pt idx="5064">
                  <c:v>-17.470300000000002</c:v>
                </c:pt>
                <c:pt idx="5065">
                  <c:v>-18.692599999999999</c:v>
                </c:pt>
                <c:pt idx="5066">
                  <c:v>#N/A</c:v>
                </c:pt>
                <c:pt idx="5067">
                  <c:v>-18.994700000000002</c:v>
                </c:pt>
                <c:pt idx="5068">
                  <c:v>-19.515000000000001</c:v>
                </c:pt>
                <c:pt idx="5069">
                  <c:v>-19.2088</c:v>
                </c:pt>
                <c:pt idx="5070">
                  <c:v>#N/A</c:v>
                </c:pt>
                <c:pt idx="5071">
                  <c:v>-19.5623</c:v>
                </c:pt>
                <c:pt idx="5072">
                  <c:v>-19.6035</c:v>
                </c:pt>
                <c:pt idx="5073">
                  <c:v>-18.174600000000002</c:v>
                </c:pt>
                <c:pt idx="5074">
                  <c:v>#N/A</c:v>
                </c:pt>
                <c:pt idx="5075">
                  <c:v>-17.724299999999999</c:v>
                </c:pt>
                <c:pt idx="5076">
                  <c:v>-17.876100000000001</c:v>
                </c:pt>
                <c:pt idx="5077">
                  <c:v>#N/A</c:v>
                </c:pt>
                <c:pt idx="5078">
                  <c:v>-16.967700000000001</c:v>
                </c:pt>
                <c:pt idx="5079">
                  <c:v>-16.9025</c:v>
                </c:pt>
                <c:pt idx="5080">
                  <c:v>-16.780899999999999</c:v>
                </c:pt>
                <c:pt idx="5081">
                  <c:v>#N/A</c:v>
                </c:pt>
                <c:pt idx="5082">
                  <c:v>-16.308800000000002</c:v>
                </c:pt>
                <c:pt idx="5083">
                  <c:v>-15.9869</c:v>
                </c:pt>
                <c:pt idx="5084">
                  <c:v>-14.324199999999999</c:v>
                </c:pt>
                <c:pt idx="5085">
                  <c:v>#N/A</c:v>
                </c:pt>
                <c:pt idx="5086">
                  <c:v>-12.533200000000001</c:v>
                </c:pt>
                <c:pt idx="5087">
                  <c:v>-11.166399999999999</c:v>
                </c:pt>
                <c:pt idx="5088">
                  <c:v>-8.7561999999999998</c:v>
                </c:pt>
                <c:pt idx="5089">
                  <c:v>#N/A</c:v>
                </c:pt>
                <c:pt idx="5090">
                  <c:v>-6.9710599999999996</c:v>
                </c:pt>
                <c:pt idx="5091">
                  <c:v>-6.2535699999999999</c:v>
                </c:pt>
                <c:pt idx="5092">
                  <c:v>-6.0350900000000003</c:v>
                </c:pt>
                <c:pt idx="5093">
                  <c:v>#N/A</c:v>
                </c:pt>
                <c:pt idx="5094">
                  <c:v>-4.6941100000000002</c:v>
                </c:pt>
                <c:pt idx="5095">
                  <c:v>-4.1389699999999996</c:v>
                </c:pt>
                <c:pt idx="5096">
                  <c:v>#N/A</c:v>
                </c:pt>
                <c:pt idx="5097">
                  <c:v>-3.5764499999999999</c:v>
                </c:pt>
                <c:pt idx="5098">
                  <c:v>-3.1265399999999999</c:v>
                </c:pt>
                <c:pt idx="5099">
                  <c:v>-1.7401</c:v>
                </c:pt>
                <c:pt idx="5100">
                  <c:v>#N/A</c:v>
                </c:pt>
                <c:pt idx="5101">
                  <c:v>-1.08049</c:v>
                </c:pt>
                <c:pt idx="5102">
                  <c:v>-2.1719400000000002</c:v>
                </c:pt>
                <c:pt idx="5103">
                  <c:v>#N/A</c:v>
                </c:pt>
                <c:pt idx="5104">
                  <c:v>-2.1855799999999999</c:v>
                </c:pt>
                <c:pt idx="5105">
                  <c:v>#N/A</c:v>
                </c:pt>
                <c:pt idx="5106">
                  <c:v>-1.9958199999999999</c:v>
                </c:pt>
                <c:pt idx="5107">
                  <c:v>-2.1709499999999999</c:v>
                </c:pt>
                <c:pt idx="5108">
                  <c:v>#N/A</c:v>
                </c:pt>
                <c:pt idx="5109">
                  <c:v>-2.6812</c:v>
                </c:pt>
                <c:pt idx="5110">
                  <c:v>-1.73624</c:v>
                </c:pt>
                <c:pt idx="5111">
                  <c:v>-1.53634</c:v>
                </c:pt>
                <c:pt idx="5112">
                  <c:v>#N/A</c:v>
                </c:pt>
                <c:pt idx="5113">
                  <c:v>-1.4240299999999999</c:v>
                </c:pt>
                <c:pt idx="5114">
                  <c:v>-1.41849</c:v>
                </c:pt>
                <c:pt idx="5115">
                  <c:v>-2.4529000000000001</c:v>
                </c:pt>
                <c:pt idx="5116">
                  <c:v>#N/A</c:v>
                </c:pt>
                <c:pt idx="5117">
                  <c:v>-2.9390299999999998</c:v>
                </c:pt>
                <c:pt idx="5118">
                  <c:v>-2.9459200000000001</c:v>
                </c:pt>
                <c:pt idx="5119">
                  <c:v>-2.48983</c:v>
                </c:pt>
                <c:pt idx="5120">
                  <c:v>#N/A</c:v>
                </c:pt>
                <c:pt idx="5121">
                  <c:v>-2.67496</c:v>
                </c:pt>
                <c:pt idx="5122">
                  <c:v>-2.4911400000000001</c:v>
                </c:pt>
                <c:pt idx="5123">
                  <c:v>-2.9670999999999998</c:v>
                </c:pt>
                <c:pt idx="5124">
                  <c:v>#N/A</c:v>
                </c:pt>
                <c:pt idx="5125">
                  <c:v>-3.2914099999999999</c:v>
                </c:pt>
                <c:pt idx="5126">
                  <c:v>-3.2674799999999999</c:v>
                </c:pt>
                <c:pt idx="5127">
                  <c:v>#N/A</c:v>
                </c:pt>
                <c:pt idx="5128">
                  <c:v>-3.1525300000000001</c:v>
                </c:pt>
                <c:pt idx="5129">
                  <c:v>-2.8325100000000001</c:v>
                </c:pt>
                <c:pt idx="5130">
                  <c:v>-2.69353</c:v>
                </c:pt>
                <c:pt idx="5131">
                  <c:v>#N/A</c:v>
                </c:pt>
                <c:pt idx="5132">
                  <c:v>-2.1800600000000001</c:v>
                </c:pt>
                <c:pt idx="5133">
                  <c:v>-2.1006399999999998</c:v>
                </c:pt>
                <c:pt idx="5134">
                  <c:v>-2.4485899999999998</c:v>
                </c:pt>
                <c:pt idx="5135">
                  <c:v>#N/A</c:v>
                </c:pt>
                <c:pt idx="5136">
                  <c:v>-2.7277</c:v>
                </c:pt>
                <c:pt idx="5137">
                  <c:v>-2.8643200000000002</c:v>
                </c:pt>
                <c:pt idx="5138">
                  <c:v>-3.3456999999999999</c:v>
                </c:pt>
                <c:pt idx="5139">
                  <c:v>#N/A</c:v>
                </c:pt>
                <c:pt idx="5140">
                  <c:v>-3.32979</c:v>
                </c:pt>
                <c:pt idx="5141">
                  <c:v>-2.59518</c:v>
                </c:pt>
                <c:pt idx="5142">
                  <c:v>-2.0209899999999998</c:v>
                </c:pt>
                <c:pt idx="5143">
                  <c:v>#N/A</c:v>
                </c:pt>
                <c:pt idx="5144">
                  <c:v>-1.7003900000000001</c:v>
                </c:pt>
                <c:pt idx="5145">
                  <c:v>-1.93771</c:v>
                </c:pt>
                <c:pt idx="5146">
                  <c:v>-2.54704</c:v>
                </c:pt>
                <c:pt idx="5147">
                  <c:v>#N/A</c:v>
                </c:pt>
                <c:pt idx="5148">
                  <c:v>-2.8091300000000001</c:v>
                </c:pt>
                <c:pt idx="5149">
                  <c:v>-3.3386399999999998</c:v>
                </c:pt>
                <c:pt idx="5150">
                  <c:v>-2.51546</c:v>
                </c:pt>
                <c:pt idx="5151">
                  <c:v>#N/A</c:v>
                </c:pt>
                <c:pt idx="5152">
                  <c:v>-2.6576499999999998</c:v>
                </c:pt>
                <c:pt idx="5153">
                  <c:v>-2.12547</c:v>
                </c:pt>
                <c:pt idx="5154">
                  <c:v>-1.4776800000000001</c:v>
                </c:pt>
                <c:pt idx="5155">
                  <c:v>#N/A</c:v>
                </c:pt>
                <c:pt idx="5156">
                  <c:v>-1.49234</c:v>
                </c:pt>
                <c:pt idx="5157">
                  <c:v>-2.7386200000000001</c:v>
                </c:pt>
                <c:pt idx="5158">
                  <c:v>-2.7106400000000002</c:v>
                </c:pt>
                <c:pt idx="5159">
                  <c:v>#N/A</c:v>
                </c:pt>
                <c:pt idx="5160">
                  <c:v>-3.03396</c:v>
                </c:pt>
                <c:pt idx="5161">
                  <c:v>-3.3049499999999998</c:v>
                </c:pt>
                <c:pt idx="5162">
                  <c:v>-2.6247600000000002</c:v>
                </c:pt>
                <c:pt idx="5163">
                  <c:v>#N/A</c:v>
                </c:pt>
                <c:pt idx="5164">
                  <c:v>-2.4538700000000002</c:v>
                </c:pt>
                <c:pt idx="5165">
                  <c:v>-2.14879</c:v>
                </c:pt>
                <c:pt idx="5166">
                  <c:v>-2.1629399999999999</c:v>
                </c:pt>
                <c:pt idx="5167">
                  <c:v>#N/A</c:v>
                </c:pt>
                <c:pt idx="5168">
                  <c:v>-2.0415299999999998</c:v>
                </c:pt>
                <c:pt idx="5169">
                  <c:v>-2.8180200000000002</c:v>
                </c:pt>
                <c:pt idx="5170">
                  <c:v>#N/A</c:v>
                </c:pt>
                <c:pt idx="5171">
                  <c:v>-2.9838300000000002</c:v>
                </c:pt>
                <c:pt idx="5172">
                  <c:v>-2.7209099999999999</c:v>
                </c:pt>
                <c:pt idx="5173">
                  <c:v>-2.5505399999999998</c:v>
                </c:pt>
                <c:pt idx="5174">
                  <c:v>#N/A</c:v>
                </c:pt>
                <c:pt idx="5175">
                  <c:v>-2.5031400000000001</c:v>
                </c:pt>
                <c:pt idx="5176">
                  <c:v>-1.8808499999999999</c:v>
                </c:pt>
                <c:pt idx="5177">
                  <c:v>#N/A</c:v>
                </c:pt>
                <c:pt idx="5178">
                  <c:v>-2.5879300000000001</c:v>
                </c:pt>
                <c:pt idx="5179">
                  <c:v>-2.46529</c:v>
                </c:pt>
                <c:pt idx="5180">
                  <c:v>#N/A</c:v>
                </c:pt>
                <c:pt idx="5181">
                  <c:v>-2.4123800000000002</c:v>
                </c:pt>
                <c:pt idx="5182">
                  <c:v>#N/A</c:v>
                </c:pt>
                <c:pt idx="5183">
                  <c:v>-2.3791899999999999</c:v>
                </c:pt>
                <c:pt idx="5184">
                  <c:v>-2.0755400000000002</c:v>
                </c:pt>
                <c:pt idx="5185">
                  <c:v>-1.7995099999999999</c:v>
                </c:pt>
                <c:pt idx="5186">
                  <c:v>#N/A</c:v>
                </c:pt>
                <c:pt idx="5187">
                  <c:v>-2.4827400000000002</c:v>
                </c:pt>
                <c:pt idx="5188">
                  <c:v>-2.9363000000000001</c:v>
                </c:pt>
                <c:pt idx="5189">
                  <c:v>-2.8054199999999998</c:v>
                </c:pt>
                <c:pt idx="5190">
                  <c:v>#N/A</c:v>
                </c:pt>
                <c:pt idx="5191">
                  <c:v>-2.45906</c:v>
                </c:pt>
                <c:pt idx="5192">
                  <c:v>-2.0636399999999999</c:v>
                </c:pt>
                <c:pt idx="5193">
                  <c:v>-2.0977999999999999</c:v>
                </c:pt>
                <c:pt idx="5194">
                  <c:v>#N/A</c:v>
                </c:pt>
                <c:pt idx="5195">
                  <c:v>-1.7402200000000001</c:v>
                </c:pt>
                <c:pt idx="5196">
                  <c:v>-2.15706</c:v>
                </c:pt>
                <c:pt idx="5197">
                  <c:v>-2.1319499999999998</c:v>
                </c:pt>
                <c:pt idx="5198">
                  <c:v>#N/A</c:v>
                </c:pt>
                <c:pt idx="5199">
                  <c:v>-3.4458000000000002</c:v>
                </c:pt>
                <c:pt idx="5200">
                  <c:v>-3.82437</c:v>
                </c:pt>
                <c:pt idx="5201">
                  <c:v>#N/A</c:v>
                </c:pt>
                <c:pt idx="5202">
                  <c:v>-3.53112</c:v>
                </c:pt>
                <c:pt idx="5203">
                  <c:v>-2.9934799999999999</c:v>
                </c:pt>
                <c:pt idx="5204">
                  <c:v>-2.1993499999999999</c:v>
                </c:pt>
                <c:pt idx="5205">
                  <c:v>#N/A</c:v>
                </c:pt>
                <c:pt idx="5206">
                  <c:v>-1.8817200000000001</c:v>
                </c:pt>
                <c:pt idx="5207">
                  <c:v>-2.5654599999999999</c:v>
                </c:pt>
                <c:pt idx="5208">
                  <c:v>-2.6406800000000001</c:v>
                </c:pt>
                <c:pt idx="5209">
                  <c:v>#N/A</c:v>
                </c:pt>
                <c:pt idx="5210">
                  <c:v>-3.47194</c:v>
                </c:pt>
                <c:pt idx="5211">
                  <c:v>-4.2286599999999996</c:v>
                </c:pt>
                <c:pt idx="5212">
                  <c:v>#N/A</c:v>
                </c:pt>
                <c:pt idx="5213">
                  <c:v>-4.05586</c:v>
                </c:pt>
                <c:pt idx="5214">
                  <c:v>-2.7038199999999999</c:v>
                </c:pt>
                <c:pt idx="5215">
                  <c:v>-1.7582199999999999</c:v>
                </c:pt>
                <c:pt idx="5216">
                  <c:v>#N/A</c:v>
                </c:pt>
                <c:pt idx="5217">
                  <c:v>-1.4939899999999999</c:v>
                </c:pt>
                <c:pt idx="5218">
                  <c:v>-2.14907</c:v>
                </c:pt>
                <c:pt idx="5219">
                  <c:v>-2.1084000000000001</c:v>
                </c:pt>
                <c:pt idx="5220">
                  <c:v>#N/A</c:v>
                </c:pt>
                <c:pt idx="5221">
                  <c:v>-3.4276</c:v>
                </c:pt>
                <c:pt idx="5222">
                  <c:v>-3.62052</c:v>
                </c:pt>
                <c:pt idx="5223">
                  <c:v>-2.8904100000000001</c:v>
                </c:pt>
                <c:pt idx="5224">
                  <c:v>#N/A</c:v>
                </c:pt>
                <c:pt idx="5225">
                  <c:v>-2.6823199999999998</c:v>
                </c:pt>
                <c:pt idx="5226">
                  <c:v>-2.5080399999999998</c:v>
                </c:pt>
                <c:pt idx="5227">
                  <c:v>-2.12717</c:v>
                </c:pt>
                <c:pt idx="5228">
                  <c:v>#N/A</c:v>
                </c:pt>
                <c:pt idx="5229">
                  <c:v>-1.66229</c:v>
                </c:pt>
                <c:pt idx="5230">
                  <c:v>-2.64697</c:v>
                </c:pt>
                <c:pt idx="5231">
                  <c:v>-2.9331100000000001</c:v>
                </c:pt>
                <c:pt idx="5232">
                  <c:v>#N/A</c:v>
                </c:pt>
                <c:pt idx="5233">
                  <c:v>-3.6867100000000002</c:v>
                </c:pt>
                <c:pt idx="5234">
                  <c:v>-2.9135499999999999</c:v>
                </c:pt>
                <c:pt idx="5235">
                  <c:v>-2.9387099999999999</c:v>
                </c:pt>
                <c:pt idx="5236">
                  <c:v>#N/A</c:v>
                </c:pt>
                <c:pt idx="5237">
                  <c:v>-2.16635</c:v>
                </c:pt>
                <c:pt idx="5238">
                  <c:v>-1.98983</c:v>
                </c:pt>
                <c:pt idx="5239">
                  <c:v>-1.8205499999999999</c:v>
                </c:pt>
                <c:pt idx="5240">
                  <c:v>#N/A</c:v>
                </c:pt>
                <c:pt idx="5241">
                  <c:v>-1.8152600000000001</c:v>
                </c:pt>
                <c:pt idx="5242">
                  <c:v>-3.0404499999999999</c:v>
                </c:pt>
                <c:pt idx="5243">
                  <c:v>#N/A</c:v>
                </c:pt>
                <c:pt idx="5244">
                  <c:v>-3.6885500000000002</c:v>
                </c:pt>
                <c:pt idx="5245">
                  <c:v>-3.5482100000000001</c:v>
                </c:pt>
                <c:pt idx="5246">
                  <c:v>-3.1918199999999999</c:v>
                </c:pt>
                <c:pt idx="5247">
                  <c:v>#N/A</c:v>
                </c:pt>
                <c:pt idx="5248">
                  <c:v>-2.4789099999999999</c:v>
                </c:pt>
                <c:pt idx="5249">
                  <c:v>-2.64019</c:v>
                </c:pt>
                <c:pt idx="5250">
                  <c:v>-2.7618499999999999</c:v>
                </c:pt>
                <c:pt idx="5251">
                  <c:v>#N/A</c:v>
                </c:pt>
                <c:pt idx="5252">
                  <c:v>-2.6675800000000001</c:v>
                </c:pt>
                <c:pt idx="5253">
                  <c:v>#N/A</c:v>
                </c:pt>
                <c:pt idx="5254">
                  <c:v>-3.09022</c:v>
                </c:pt>
                <c:pt idx="5255">
                  <c:v>-2.6991000000000001</c:v>
                </c:pt>
                <c:pt idx="5256">
                  <c:v>#N/A</c:v>
                </c:pt>
                <c:pt idx="5257">
                  <c:v>-1.9064000000000001</c:v>
                </c:pt>
                <c:pt idx="5258">
                  <c:v>-2.0324399999999998</c:v>
                </c:pt>
                <c:pt idx="5259">
                  <c:v>#N/A</c:v>
                </c:pt>
                <c:pt idx="5260">
                  <c:v>-2.7254200000000002</c:v>
                </c:pt>
                <c:pt idx="5261">
                  <c:v>-2.6765099999999999</c:v>
                </c:pt>
                <c:pt idx="5262">
                  <c:v>-2.8522799999999999</c:v>
                </c:pt>
                <c:pt idx="5263">
                  <c:v>#N/A</c:v>
                </c:pt>
                <c:pt idx="5264">
                  <c:v>-3.3776799999999998</c:v>
                </c:pt>
                <c:pt idx="5265">
                  <c:v>-2.0835599999999999</c:v>
                </c:pt>
                <c:pt idx="5266">
                  <c:v>-2.2930199999999998</c:v>
                </c:pt>
                <c:pt idx="5267">
                  <c:v>#N/A</c:v>
                </c:pt>
                <c:pt idx="5268">
                  <c:v>-1.6991099999999999</c:v>
                </c:pt>
                <c:pt idx="5269">
                  <c:v>-2.3628200000000001</c:v>
                </c:pt>
                <c:pt idx="5270">
                  <c:v>-2.3910399999999998</c:v>
                </c:pt>
                <c:pt idx="5271">
                  <c:v>#N/A</c:v>
                </c:pt>
                <c:pt idx="5272">
                  <c:v>-3.3698999999999999</c:v>
                </c:pt>
                <c:pt idx="5273">
                  <c:v>-3.6742300000000001</c:v>
                </c:pt>
                <c:pt idx="5274">
                  <c:v>#N/A</c:v>
                </c:pt>
                <c:pt idx="5275">
                  <c:v>-3.40402</c:v>
                </c:pt>
                <c:pt idx="5276">
                  <c:v>-2.3581799999999999</c:v>
                </c:pt>
                <c:pt idx="5277">
                  <c:v>-2.0541100000000001</c:v>
                </c:pt>
                <c:pt idx="5278">
                  <c:v>#N/A</c:v>
                </c:pt>
                <c:pt idx="5279">
                  <c:v>-1.8313600000000001</c:v>
                </c:pt>
                <c:pt idx="5280">
                  <c:v>-1.5501</c:v>
                </c:pt>
                <c:pt idx="5281">
                  <c:v>-2.4237799999999998</c:v>
                </c:pt>
                <c:pt idx="5282">
                  <c:v>#N/A</c:v>
                </c:pt>
                <c:pt idx="5283">
                  <c:v>-3.05321</c:v>
                </c:pt>
                <c:pt idx="5284">
                  <c:v>-3.2320799999999998</c:v>
                </c:pt>
                <c:pt idx="5285">
                  <c:v>-3.2658999999999998</c:v>
                </c:pt>
                <c:pt idx="5286">
                  <c:v>#N/A</c:v>
                </c:pt>
                <c:pt idx="5287">
                  <c:v>-2.67902</c:v>
                </c:pt>
                <c:pt idx="5288">
                  <c:v>-2.40618</c:v>
                </c:pt>
                <c:pt idx="5289">
                  <c:v>-1.7210799999999999</c:v>
                </c:pt>
                <c:pt idx="5290">
                  <c:v>#N/A</c:v>
                </c:pt>
                <c:pt idx="5291">
                  <c:v>-2.1094400000000002</c:v>
                </c:pt>
                <c:pt idx="5292">
                  <c:v>-2.8373200000000001</c:v>
                </c:pt>
                <c:pt idx="5293">
                  <c:v>#N/A</c:v>
                </c:pt>
                <c:pt idx="5294">
                  <c:v>-2.9353500000000001</c:v>
                </c:pt>
                <c:pt idx="5295">
                  <c:v>-3.4622799999999998</c:v>
                </c:pt>
                <c:pt idx="5296">
                  <c:v>-3.1316999999999999</c:v>
                </c:pt>
                <c:pt idx="5297">
                  <c:v>#N/A</c:v>
                </c:pt>
                <c:pt idx="5298">
                  <c:v>-2.6439300000000001</c:v>
                </c:pt>
                <c:pt idx="5299">
                  <c:v>-2.1715499999999999</c:v>
                </c:pt>
                <c:pt idx="5300">
                  <c:v>-1.6187100000000001</c:v>
                </c:pt>
                <c:pt idx="5301">
                  <c:v>#N/A</c:v>
                </c:pt>
                <c:pt idx="5302">
                  <c:v>-1.46722</c:v>
                </c:pt>
                <c:pt idx="5303">
                  <c:v>-2.4137900000000001</c:v>
                </c:pt>
                <c:pt idx="5304">
                  <c:v>-2.6834199999999999</c:v>
                </c:pt>
                <c:pt idx="5305">
                  <c:v>#N/A</c:v>
                </c:pt>
                <c:pt idx="5306">
                  <c:v>-3.0518299999999998</c:v>
                </c:pt>
                <c:pt idx="5307">
                  <c:v>-3.1881699999999999</c:v>
                </c:pt>
                <c:pt idx="5308">
                  <c:v>-2.9253900000000002</c:v>
                </c:pt>
                <c:pt idx="5309">
                  <c:v>#N/A</c:v>
                </c:pt>
                <c:pt idx="5310">
                  <c:v>-2.3564699999999998</c:v>
                </c:pt>
                <c:pt idx="5311">
                  <c:v>-2.2148599999999998</c:v>
                </c:pt>
                <c:pt idx="5312">
                  <c:v>-2.1024400000000001</c:v>
                </c:pt>
                <c:pt idx="5313">
                  <c:v>#N/A</c:v>
                </c:pt>
                <c:pt idx="5314">
                  <c:v>-2.6210499999999999</c:v>
                </c:pt>
                <c:pt idx="5315">
                  <c:v>-2.72797</c:v>
                </c:pt>
                <c:pt idx="5316">
                  <c:v>-2.8867699999999998</c:v>
                </c:pt>
                <c:pt idx="5317">
                  <c:v>#N/A</c:v>
                </c:pt>
                <c:pt idx="5318">
                  <c:v>-2.9193199999999999</c:v>
                </c:pt>
                <c:pt idx="5319">
                  <c:v>-2.2437999999999998</c:v>
                </c:pt>
                <c:pt idx="5320">
                  <c:v>#N/A</c:v>
                </c:pt>
                <c:pt idx="5321">
                  <c:v>-2.3753299999999999</c:v>
                </c:pt>
                <c:pt idx="5322">
                  <c:v>-2.1802299999999999</c:v>
                </c:pt>
                <c:pt idx="5323">
                  <c:v>-2.72248</c:v>
                </c:pt>
                <c:pt idx="5324">
                  <c:v>#N/A</c:v>
                </c:pt>
                <c:pt idx="5325">
                  <c:v>-2.8427699999999998</c:v>
                </c:pt>
                <c:pt idx="5326">
                  <c:v>-2.9139599999999999</c:v>
                </c:pt>
                <c:pt idx="5327">
                  <c:v>#N/A</c:v>
                </c:pt>
                <c:pt idx="5328">
                  <c:v>-2.6753100000000001</c:v>
                </c:pt>
                <c:pt idx="5329">
                  <c:v>-2.4856600000000002</c:v>
                </c:pt>
                <c:pt idx="5330">
                  <c:v>-2.7112400000000001</c:v>
                </c:pt>
                <c:pt idx="5331">
                  <c:v>#N/A</c:v>
                </c:pt>
                <c:pt idx="5332">
                  <c:v>-2.64622</c:v>
                </c:pt>
                <c:pt idx="5333">
                  <c:v>-2.7307399999999999</c:v>
                </c:pt>
                <c:pt idx="5334">
                  <c:v>-2.3898600000000001</c:v>
                </c:pt>
                <c:pt idx="5335">
                  <c:v>#N/A</c:v>
                </c:pt>
                <c:pt idx="5336">
                  <c:v>-3.2564500000000001</c:v>
                </c:pt>
                <c:pt idx="5337">
                  <c:v>-3.18899</c:v>
                </c:pt>
                <c:pt idx="5338">
                  <c:v>-2.3472499999999998</c:v>
                </c:pt>
                <c:pt idx="5339">
                  <c:v>#N/A</c:v>
                </c:pt>
                <c:pt idx="5340">
                  <c:v>-2.3656199999999998</c:v>
                </c:pt>
                <c:pt idx="5341">
                  <c:v>-1.93374</c:v>
                </c:pt>
                <c:pt idx="5342">
                  <c:v>-2.37249</c:v>
                </c:pt>
                <c:pt idx="5343">
                  <c:v>#N/A</c:v>
                </c:pt>
                <c:pt idx="5344">
                  <c:v>-1.8327899999999999</c:v>
                </c:pt>
                <c:pt idx="5345">
                  <c:v>-2.7361900000000001</c:v>
                </c:pt>
                <c:pt idx="5346">
                  <c:v>-3.0041000000000002</c:v>
                </c:pt>
                <c:pt idx="5347">
                  <c:v>#N/A</c:v>
                </c:pt>
                <c:pt idx="5348">
                  <c:v>-3.4919099999999998</c:v>
                </c:pt>
                <c:pt idx="5349">
                  <c:v>-2.5774699999999999</c:v>
                </c:pt>
                <c:pt idx="5350">
                  <c:v>#N/A</c:v>
                </c:pt>
                <c:pt idx="5351">
                  <c:v>-2.5341800000000001</c:v>
                </c:pt>
                <c:pt idx="5352">
                  <c:v>-2.1493799999999998</c:v>
                </c:pt>
                <c:pt idx="5353">
                  <c:v>-2.22797</c:v>
                </c:pt>
                <c:pt idx="5354">
                  <c:v>#N/A</c:v>
                </c:pt>
                <c:pt idx="5355">
                  <c:v>-2.7731699999999999</c:v>
                </c:pt>
                <c:pt idx="5356">
                  <c:v>-2.9555799999999999</c:v>
                </c:pt>
                <c:pt idx="5357">
                  <c:v>-3.20343</c:v>
                </c:pt>
                <c:pt idx="5358">
                  <c:v>#N/A</c:v>
                </c:pt>
                <c:pt idx="5359">
                  <c:v>-3.0655800000000002</c:v>
                </c:pt>
                <c:pt idx="5360">
                  <c:v>-2.7151299999999998</c:v>
                </c:pt>
                <c:pt idx="5361">
                  <c:v>-1.94476</c:v>
                </c:pt>
                <c:pt idx="5362">
                  <c:v>#N/A</c:v>
                </c:pt>
                <c:pt idx="5363">
                  <c:v>-1.5658399999999999</c:v>
                </c:pt>
                <c:pt idx="5364">
                  <c:v>-2.4375</c:v>
                </c:pt>
                <c:pt idx="5365">
                  <c:v>-3.1225499999999999</c:v>
                </c:pt>
                <c:pt idx="5366">
                  <c:v>#N/A</c:v>
                </c:pt>
                <c:pt idx="5367">
                  <c:v>-3.0524</c:v>
                </c:pt>
                <c:pt idx="5368">
                  <c:v>-3.56969</c:v>
                </c:pt>
                <c:pt idx="5369">
                  <c:v>-2.5782799999999999</c:v>
                </c:pt>
                <c:pt idx="5370">
                  <c:v>#N/A</c:v>
                </c:pt>
                <c:pt idx="5371">
                  <c:v>-2.4835500000000001</c:v>
                </c:pt>
                <c:pt idx="5372">
                  <c:v>-1.694</c:v>
                </c:pt>
                <c:pt idx="5373">
                  <c:v>-1.4202600000000001</c:v>
                </c:pt>
                <c:pt idx="5374">
                  <c:v>#N/A</c:v>
                </c:pt>
                <c:pt idx="5375">
                  <c:v>-1.76064</c:v>
                </c:pt>
                <c:pt idx="5376">
                  <c:v>-2.92618</c:v>
                </c:pt>
                <c:pt idx="5377">
                  <c:v>#N/A</c:v>
                </c:pt>
                <c:pt idx="5378">
                  <c:v>-3.21583</c:v>
                </c:pt>
                <c:pt idx="5379">
                  <c:v>-3.5188600000000001</c:v>
                </c:pt>
                <c:pt idx="5380">
                  <c:v>-2.6857799999999998</c:v>
                </c:pt>
                <c:pt idx="5381">
                  <c:v>#N/A</c:v>
                </c:pt>
                <c:pt idx="5382">
                  <c:v>-2.3554300000000001</c:v>
                </c:pt>
                <c:pt idx="5383">
                  <c:v>-2.1804100000000002</c:v>
                </c:pt>
                <c:pt idx="5384">
                  <c:v>-2.4877600000000002</c:v>
                </c:pt>
                <c:pt idx="5385">
                  <c:v>#N/A</c:v>
                </c:pt>
                <c:pt idx="5386">
                  <c:v>-2.49966</c:v>
                </c:pt>
                <c:pt idx="5387">
                  <c:v>-3.0741100000000001</c:v>
                </c:pt>
                <c:pt idx="5388">
                  <c:v>#N/A</c:v>
                </c:pt>
                <c:pt idx="5389">
                  <c:v>-3.3959600000000001</c:v>
                </c:pt>
                <c:pt idx="5390">
                  <c:v>-3.30375</c:v>
                </c:pt>
                <c:pt idx="5391">
                  <c:v>-3.1102799999999999</c:v>
                </c:pt>
                <c:pt idx="5392">
                  <c:v>#N/A</c:v>
                </c:pt>
                <c:pt idx="5393">
                  <c:v>-2.7437999999999998</c:v>
                </c:pt>
                <c:pt idx="5394">
                  <c:v>-2.34795</c:v>
                </c:pt>
                <c:pt idx="5395">
                  <c:v>-2.4882</c:v>
                </c:pt>
                <c:pt idx="5396">
                  <c:v>#N/A</c:v>
                </c:pt>
                <c:pt idx="5397">
                  <c:v>-2.9792700000000001</c:v>
                </c:pt>
                <c:pt idx="5398">
                  <c:v>-2.7134</c:v>
                </c:pt>
                <c:pt idx="5399">
                  <c:v>-3.0599500000000002</c:v>
                </c:pt>
                <c:pt idx="5400">
                  <c:v>#N/A</c:v>
                </c:pt>
                <c:pt idx="5401">
                  <c:v>-2.7254100000000001</c:v>
                </c:pt>
                <c:pt idx="5402">
                  <c:v>#N/A</c:v>
                </c:pt>
                <c:pt idx="5403">
                  <c:v>-2.2487900000000001</c:v>
                </c:pt>
                <c:pt idx="5404">
                  <c:v>-2.0811799999999998</c:v>
                </c:pt>
                <c:pt idx="5405">
                  <c:v>#N/A</c:v>
                </c:pt>
                <c:pt idx="5406">
                  <c:v>-1.9485699999999999</c:v>
                </c:pt>
                <c:pt idx="5407">
                  <c:v>-2.9230800000000001</c:v>
                </c:pt>
                <c:pt idx="5408">
                  <c:v>#N/A</c:v>
                </c:pt>
                <c:pt idx="5409">
                  <c:v>-3.3768600000000002</c:v>
                </c:pt>
                <c:pt idx="5410">
                  <c:v>-2.9371900000000002</c:v>
                </c:pt>
                <c:pt idx="5411">
                  <c:v>-2.6855600000000002</c:v>
                </c:pt>
                <c:pt idx="5412">
                  <c:v>#N/A</c:v>
                </c:pt>
                <c:pt idx="5413">
                  <c:v>-2.8483100000000001</c:v>
                </c:pt>
                <c:pt idx="5414">
                  <c:v>-2.6168800000000001</c:v>
                </c:pt>
                <c:pt idx="5415">
                  <c:v>-2.6798299999999999</c:v>
                </c:pt>
                <c:pt idx="5416">
                  <c:v>#N/A</c:v>
                </c:pt>
                <c:pt idx="5417">
                  <c:v>-2.9437099999999998</c:v>
                </c:pt>
                <c:pt idx="5418">
                  <c:v>-3.2627100000000002</c:v>
                </c:pt>
                <c:pt idx="5419">
                  <c:v>#N/A</c:v>
                </c:pt>
                <c:pt idx="5420">
                  <c:v>-3.3140900000000002</c:v>
                </c:pt>
                <c:pt idx="5421">
                  <c:v>-3.3212799999999998</c:v>
                </c:pt>
                <c:pt idx="5422">
                  <c:v>-3.03085</c:v>
                </c:pt>
                <c:pt idx="5423">
                  <c:v>#N/A</c:v>
                </c:pt>
                <c:pt idx="5424">
                  <c:v>-2.4053800000000001</c:v>
                </c:pt>
                <c:pt idx="5425">
                  <c:v>-2.3143199999999999</c:v>
                </c:pt>
                <c:pt idx="5426">
                  <c:v>-2.0153400000000001</c:v>
                </c:pt>
                <c:pt idx="5427">
                  <c:v>#N/A</c:v>
                </c:pt>
                <c:pt idx="5428">
                  <c:v>-3.1093600000000001</c:v>
                </c:pt>
                <c:pt idx="5429">
                  <c:v>-3.3999700000000002</c:v>
                </c:pt>
                <c:pt idx="5430">
                  <c:v>-3.6171799999999998</c:v>
                </c:pt>
                <c:pt idx="5431">
                  <c:v>#N/A</c:v>
                </c:pt>
                <c:pt idx="5432">
                  <c:v>-3.4500999999999999</c:v>
                </c:pt>
                <c:pt idx="5433">
                  <c:v>-3.1941799999999998</c:v>
                </c:pt>
                <c:pt idx="5434">
                  <c:v>-2.1969599999999998</c:v>
                </c:pt>
                <c:pt idx="5435">
                  <c:v>#N/A</c:v>
                </c:pt>
                <c:pt idx="5436">
                  <c:v>-2.2332100000000001</c:v>
                </c:pt>
                <c:pt idx="5437">
                  <c:v>-2.6005199999999999</c:v>
                </c:pt>
                <c:pt idx="5438">
                  <c:v>#N/A</c:v>
                </c:pt>
                <c:pt idx="5439">
                  <c:v>-3.1041300000000001</c:v>
                </c:pt>
                <c:pt idx="5440">
                  <c:v>-3.7485900000000001</c:v>
                </c:pt>
                <c:pt idx="5441">
                  <c:v>-3.6694499999999999</c:v>
                </c:pt>
                <c:pt idx="5442">
                  <c:v>#N/A</c:v>
                </c:pt>
                <c:pt idx="5443">
                  <c:v>-3.21347</c:v>
                </c:pt>
                <c:pt idx="5444">
                  <c:v>-2.7727900000000001</c:v>
                </c:pt>
                <c:pt idx="5445">
                  <c:v>-2.4019900000000001</c:v>
                </c:pt>
                <c:pt idx="5446">
                  <c:v>#N/A</c:v>
                </c:pt>
                <c:pt idx="5447">
                  <c:v>-2.2684500000000001</c:v>
                </c:pt>
                <c:pt idx="5448">
                  <c:v>-2.3251599999999999</c:v>
                </c:pt>
                <c:pt idx="5449">
                  <c:v>-2.8430800000000001</c:v>
                </c:pt>
                <c:pt idx="5450">
                  <c:v>#N/A</c:v>
                </c:pt>
                <c:pt idx="5451">
                  <c:v>-2.7521100000000001</c:v>
                </c:pt>
                <c:pt idx="5452">
                  <c:v>-3.2768899999999999</c:v>
                </c:pt>
                <c:pt idx="5453">
                  <c:v>-3.30891</c:v>
                </c:pt>
                <c:pt idx="5454">
                  <c:v>#N/A</c:v>
                </c:pt>
                <c:pt idx="5455">
                  <c:v>-2.9779100000000001</c:v>
                </c:pt>
                <c:pt idx="5456">
                  <c:v>-2.6177899999999998</c:v>
                </c:pt>
                <c:pt idx="5457">
                  <c:v>#N/A</c:v>
                </c:pt>
                <c:pt idx="5458">
                  <c:v>-2.9729399999999999</c:v>
                </c:pt>
                <c:pt idx="5459">
                  <c:v>-2.4737800000000001</c:v>
                </c:pt>
                <c:pt idx="5460">
                  <c:v>-2.9365199999999998</c:v>
                </c:pt>
                <c:pt idx="5461">
                  <c:v>#N/A</c:v>
                </c:pt>
                <c:pt idx="5462">
                  <c:v>-3.4410099999999999</c:v>
                </c:pt>
                <c:pt idx="5463">
                  <c:v>-3.3133900000000001</c:v>
                </c:pt>
                <c:pt idx="5464">
                  <c:v>#N/A</c:v>
                </c:pt>
                <c:pt idx="5465">
                  <c:v>-3.1051099999999998</c:v>
                </c:pt>
                <c:pt idx="5466">
                  <c:v>-2.6425999999999998</c:v>
                </c:pt>
                <c:pt idx="5467">
                  <c:v>-2.6448900000000002</c:v>
                </c:pt>
                <c:pt idx="5468">
                  <c:v>#N/A</c:v>
                </c:pt>
                <c:pt idx="5469">
                  <c:v>-2.5129299999999999</c:v>
                </c:pt>
                <c:pt idx="5470">
                  <c:v>-3.08</c:v>
                </c:pt>
                <c:pt idx="5471">
                  <c:v>-3.0670199999999999</c:v>
                </c:pt>
                <c:pt idx="5472">
                  <c:v>#N/A</c:v>
                </c:pt>
                <c:pt idx="5473">
                  <c:v>-3.75258</c:v>
                </c:pt>
                <c:pt idx="5474">
                  <c:v>-2.9636200000000001</c:v>
                </c:pt>
                <c:pt idx="5475">
                  <c:v>-2.9363600000000001</c:v>
                </c:pt>
                <c:pt idx="5476">
                  <c:v>#N/A</c:v>
                </c:pt>
                <c:pt idx="5477">
                  <c:v>#N/A</c:v>
                </c:pt>
                <c:pt idx="5478">
                  <c:v>-2.7054499999999999</c:v>
                </c:pt>
                <c:pt idx="5479">
                  <c:v>-2.7946399999999998</c:v>
                </c:pt>
                <c:pt idx="5480">
                  <c:v>-3.39961</c:v>
                </c:pt>
                <c:pt idx="5481">
                  <c:v>#N/A</c:v>
                </c:pt>
                <c:pt idx="5482">
                  <c:v>-3.5964800000000001</c:v>
                </c:pt>
                <c:pt idx="5483">
                  <c:v>-3.17591</c:v>
                </c:pt>
                <c:pt idx="5484">
                  <c:v>-3.0382600000000002</c:v>
                </c:pt>
                <c:pt idx="5485">
                  <c:v>#N/A</c:v>
                </c:pt>
                <c:pt idx="5486">
                  <c:v>-2.4273899999999999</c:v>
                </c:pt>
                <c:pt idx="5487">
                  <c:v>-2.8050199999999998</c:v>
                </c:pt>
                <c:pt idx="5488">
                  <c:v>#N/A</c:v>
                </c:pt>
                <c:pt idx="5489">
                  <c:v>-2.1918600000000001</c:v>
                </c:pt>
                <c:pt idx="5490">
                  <c:v>-2.8397299999999999</c:v>
                </c:pt>
                <c:pt idx="5491">
                  <c:v>-3.2423799999999998</c:v>
                </c:pt>
                <c:pt idx="5492">
                  <c:v>#N/A</c:v>
                </c:pt>
                <c:pt idx="5493">
                  <c:v>-3.5506099999999998</c:v>
                </c:pt>
                <c:pt idx="5494">
                  <c:v>-3.2956799999999999</c:v>
                </c:pt>
                <c:pt idx="5495">
                  <c:v>-2.6048499999999999</c:v>
                </c:pt>
                <c:pt idx="5496">
                  <c:v>#N/A</c:v>
                </c:pt>
                <c:pt idx="5497">
                  <c:v>-2.2803399999999998</c:v>
                </c:pt>
                <c:pt idx="5498">
                  <c:v>-2.25474</c:v>
                </c:pt>
                <c:pt idx="5499">
                  <c:v>#N/A</c:v>
                </c:pt>
                <c:pt idx="5500">
                  <c:v>-2.7056200000000001</c:v>
                </c:pt>
                <c:pt idx="5501">
                  <c:v>-3.2862499999999999</c:v>
                </c:pt>
                <c:pt idx="5502">
                  <c:v>-3.6953299999999998</c:v>
                </c:pt>
                <c:pt idx="5503">
                  <c:v>#N/A</c:v>
                </c:pt>
                <c:pt idx="5504">
                  <c:v>-3.7989099999999998</c:v>
                </c:pt>
                <c:pt idx="5505">
                  <c:v>-4.0059100000000001</c:v>
                </c:pt>
                <c:pt idx="5506">
                  <c:v>-3.2044999999999999</c:v>
                </c:pt>
                <c:pt idx="5507">
                  <c:v>#N/A</c:v>
                </c:pt>
                <c:pt idx="5508">
                  <c:v>-2.6328299999999998</c:v>
                </c:pt>
                <c:pt idx="5509">
                  <c:v>-2.2615400000000001</c:v>
                </c:pt>
                <c:pt idx="5510">
                  <c:v>-3.0361500000000001</c:v>
                </c:pt>
                <c:pt idx="5511">
                  <c:v>#N/A</c:v>
                </c:pt>
                <c:pt idx="5512">
                  <c:v>-2.7770299999999999</c:v>
                </c:pt>
                <c:pt idx="5513">
                  <c:v>-3.6489400000000001</c:v>
                </c:pt>
                <c:pt idx="5514">
                  <c:v>-3.7227000000000001</c:v>
                </c:pt>
                <c:pt idx="5515">
                  <c:v>#N/A</c:v>
                </c:pt>
                <c:pt idx="5516">
                  <c:v>-3.5595400000000001</c:v>
                </c:pt>
                <c:pt idx="5517">
                  <c:v>-3.2532299999999998</c:v>
                </c:pt>
                <c:pt idx="5518">
                  <c:v>-2.5401099999999999</c:v>
                </c:pt>
                <c:pt idx="5519">
                  <c:v>#N/A</c:v>
                </c:pt>
                <c:pt idx="5520">
                  <c:v>-2.4977900000000002</c:v>
                </c:pt>
                <c:pt idx="5521">
                  <c:v>-2.4924599999999999</c:v>
                </c:pt>
                <c:pt idx="5522">
                  <c:v>-2.9323899999999998</c:v>
                </c:pt>
                <c:pt idx="5523">
                  <c:v>#N/A</c:v>
                </c:pt>
                <c:pt idx="5524">
                  <c:v>-2.88035</c:v>
                </c:pt>
                <c:pt idx="5525">
                  <c:v>-3.7283900000000001</c:v>
                </c:pt>
                <c:pt idx="5526">
                  <c:v>-3.3944299999999998</c:v>
                </c:pt>
                <c:pt idx="5527">
                  <c:v>#N/A</c:v>
                </c:pt>
                <c:pt idx="5528">
                  <c:v>-3.4140199999999998</c:v>
                </c:pt>
                <c:pt idx="5529">
                  <c:v>-2.73698</c:v>
                </c:pt>
                <c:pt idx="5530">
                  <c:v>-2.21665</c:v>
                </c:pt>
                <c:pt idx="5531">
                  <c:v>#N/A</c:v>
                </c:pt>
                <c:pt idx="5532">
                  <c:v>-2.1932399999999999</c:v>
                </c:pt>
                <c:pt idx="5533">
                  <c:v>-3.03715</c:v>
                </c:pt>
                <c:pt idx="5534">
                  <c:v>-3.4430100000000001</c:v>
                </c:pt>
                <c:pt idx="5535">
                  <c:v>#N/A</c:v>
                </c:pt>
                <c:pt idx="5536">
                  <c:v>-3.8161299999999998</c:v>
                </c:pt>
                <c:pt idx="5537">
                  <c:v>-3.3357800000000002</c:v>
                </c:pt>
                <c:pt idx="5538">
                  <c:v>#N/A</c:v>
                </c:pt>
                <c:pt idx="5539">
                  <c:v>-3.17875</c:v>
                </c:pt>
                <c:pt idx="5540">
                  <c:v>-2.8908900000000002</c:v>
                </c:pt>
                <c:pt idx="5541">
                  <c:v>-3.1201099999999999</c:v>
                </c:pt>
                <c:pt idx="5542">
                  <c:v>#N/A</c:v>
                </c:pt>
                <c:pt idx="5543">
                  <c:v>-2.78111</c:v>
                </c:pt>
                <c:pt idx="5544">
                  <c:v>-3.2311100000000001</c:v>
                </c:pt>
                <c:pt idx="5545">
                  <c:v>-3.0458799999999999</c:v>
                </c:pt>
                <c:pt idx="5546">
                  <c:v>#N/A</c:v>
                </c:pt>
                <c:pt idx="5547">
                  <c:v>-3.0433500000000002</c:v>
                </c:pt>
                <c:pt idx="5548">
                  <c:v>-2.9868100000000002</c:v>
                </c:pt>
                <c:pt idx="5549">
                  <c:v>-2.2978299999999998</c:v>
                </c:pt>
                <c:pt idx="5550">
                  <c:v>#N/A</c:v>
                </c:pt>
                <c:pt idx="5551">
                  <c:v>-2.19102</c:v>
                </c:pt>
                <c:pt idx="5552">
                  <c:v>#N/A</c:v>
                </c:pt>
                <c:pt idx="5553">
                  <c:v>-2.2713800000000002</c:v>
                </c:pt>
                <c:pt idx="5554">
                  <c:v>#N/A</c:v>
                </c:pt>
                <c:pt idx="5555">
                  <c:v>-2.9765999999999999</c:v>
                </c:pt>
                <c:pt idx="5556">
                  <c:v>-3.2080500000000001</c:v>
                </c:pt>
                <c:pt idx="5557">
                  <c:v>-2.60161</c:v>
                </c:pt>
                <c:pt idx="5558">
                  <c:v>#N/A</c:v>
                </c:pt>
                <c:pt idx="5559">
                  <c:v>-2.4513199999999999</c:v>
                </c:pt>
                <c:pt idx="5560">
                  <c:v>-2.1758700000000002</c:v>
                </c:pt>
                <c:pt idx="5561">
                  <c:v>#N/A</c:v>
                </c:pt>
                <c:pt idx="5562">
                  <c:v>-2.18005</c:v>
                </c:pt>
                <c:pt idx="5563">
                  <c:v>-2.5198800000000001</c:v>
                </c:pt>
                <c:pt idx="5564">
                  <c:v>-3.0516200000000002</c:v>
                </c:pt>
                <c:pt idx="5565">
                  <c:v>#N/A</c:v>
                </c:pt>
                <c:pt idx="5566">
                  <c:v>-3.4216000000000002</c:v>
                </c:pt>
                <c:pt idx="5567">
                  <c:v>-3.2932299999999999</c:v>
                </c:pt>
                <c:pt idx="5568">
                  <c:v>-2.7561200000000001</c:v>
                </c:pt>
                <c:pt idx="5569">
                  <c:v>#N/A</c:v>
                </c:pt>
                <c:pt idx="5570">
                  <c:v>-2.5305800000000001</c:v>
                </c:pt>
                <c:pt idx="5571">
                  <c:v>-2.0145300000000002</c:v>
                </c:pt>
                <c:pt idx="5572">
                  <c:v>-2.5886300000000002</c:v>
                </c:pt>
                <c:pt idx="5573">
                  <c:v>#N/A</c:v>
                </c:pt>
                <c:pt idx="5574">
                  <c:v>-2.4701</c:v>
                </c:pt>
                <c:pt idx="5575">
                  <c:v>-3.24566</c:v>
                </c:pt>
                <c:pt idx="5576">
                  <c:v>-3.71225</c:v>
                </c:pt>
                <c:pt idx="5577">
                  <c:v>#N/A</c:v>
                </c:pt>
                <c:pt idx="5578">
                  <c:v>-3.4138099999999998</c:v>
                </c:pt>
                <c:pt idx="5579">
                  <c:v>-2.7739799999999999</c:v>
                </c:pt>
                <c:pt idx="5580">
                  <c:v>-2.3701400000000001</c:v>
                </c:pt>
                <c:pt idx="5581">
                  <c:v>#N/A</c:v>
                </c:pt>
                <c:pt idx="5582">
                  <c:v>-2.1815099999999998</c:v>
                </c:pt>
                <c:pt idx="5583">
                  <c:v>-2.2209099999999999</c:v>
                </c:pt>
                <c:pt idx="5584">
                  <c:v>-2.9749599999999998</c:v>
                </c:pt>
                <c:pt idx="5585">
                  <c:v>#N/A</c:v>
                </c:pt>
                <c:pt idx="5586">
                  <c:v>-3.2008200000000002</c:v>
                </c:pt>
                <c:pt idx="5587">
                  <c:v>-3.7179099999999998</c:v>
                </c:pt>
                <c:pt idx="5588">
                  <c:v>#N/A</c:v>
                </c:pt>
                <c:pt idx="5589">
                  <c:v>-3.4887899999999998</c:v>
                </c:pt>
                <c:pt idx="5590">
                  <c:v>-3.1496900000000001</c:v>
                </c:pt>
                <c:pt idx="5591">
                  <c:v>-2.1243300000000001</c:v>
                </c:pt>
                <c:pt idx="5592">
                  <c:v>#N/A</c:v>
                </c:pt>
                <c:pt idx="5593">
                  <c:v>-2.0085500000000001</c:v>
                </c:pt>
                <c:pt idx="5594">
                  <c:v>-2.4372799999999999</c:v>
                </c:pt>
                <c:pt idx="5595">
                  <c:v>-2.9229599999999998</c:v>
                </c:pt>
                <c:pt idx="5596">
                  <c:v>#N/A</c:v>
                </c:pt>
                <c:pt idx="5597">
                  <c:v>-3.1760100000000002</c:v>
                </c:pt>
                <c:pt idx="5598">
                  <c:v>-2.8646600000000002</c:v>
                </c:pt>
                <c:pt idx="5599">
                  <c:v>-3.4437500000000001</c:v>
                </c:pt>
                <c:pt idx="5600">
                  <c:v>#N/A</c:v>
                </c:pt>
                <c:pt idx="5601">
                  <c:v>-2.9487299999999999</c:v>
                </c:pt>
                <c:pt idx="5602">
                  <c:v>-2.7914699999999999</c:v>
                </c:pt>
                <c:pt idx="5603">
                  <c:v>-2.4672900000000002</c:v>
                </c:pt>
                <c:pt idx="5604">
                  <c:v>#N/A</c:v>
                </c:pt>
                <c:pt idx="5605">
                  <c:v>-2.64385</c:v>
                </c:pt>
                <c:pt idx="5606">
                  <c:v>-3.3042799999999999</c:v>
                </c:pt>
                <c:pt idx="5607">
                  <c:v>-3.1585999999999999</c:v>
                </c:pt>
                <c:pt idx="5608">
                  <c:v>#N/A</c:v>
                </c:pt>
                <c:pt idx="5609">
                  <c:v>-3.5459200000000002</c:v>
                </c:pt>
                <c:pt idx="5610">
                  <c:v>-3.3748900000000002</c:v>
                </c:pt>
                <c:pt idx="5611">
                  <c:v>-2.9673699999999998</c:v>
                </c:pt>
                <c:pt idx="5612">
                  <c:v>#N/A</c:v>
                </c:pt>
                <c:pt idx="5613">
                  <c:v>-2.65116</c:v>
                </c:pt>
                <c:pt idx="5614">
                  <c:v>-2.4940099999999998</c:v>
                </c:pt>
                <c:pt idx="5615">
                  <c:v>-2.41269</c:v>
                </c:pt>
                <c:pt idx="5616">
                  <c:v>#N/A</c:v>
                </c:pt>
                <c:pt idx="5617">
                  <c:v>-2.9092899999999999</c:v>
                </c:pt>
                <c:pt idx="5618">
                  <c:v>-3.4236399999999998</c:v>
                </c:pt>
                <c:pt idx="5619">
                  <c:v>-2.9125000000000001</c:v>
                </c:pt>
                <c:pt idx="5620">
                  <c:v>#N/A</c:v>
                </c:pt>
                <c:pt idx="5621">
                  <c:v>-2.5819999999999999</c:v>
                </c:pt>
                <c:pt idx="5622">
                  <c:v>-2.8450500000000001</c:v>
                </c:pt>
                <c:pt idx="5623">
                  <c:v>#N/A</c:v>
                </c:pt>
                <c:pt idx="5624">
                  <c:v>-2.6758099999999998</c:v>
                </c:pt>
                <c:pt idx="5625">
                  <c:v>-2.7034799999999999</c:v>
                </c:pt>
                <c:pt idx="5626">
                  <c:v>-2.8410099999999998</c:v>
                </c:pt>
                <c:pt idx="5627">
                  <c:v>#N/A</c:v>
                </c:pt>
                <c:pt idx="5628">
                  <c:v>#N/A</c:v>
                </c:pt>
                <c:pt idx="5629">
                  <c:v>-3.3010299999999999</c:v>
                </c:pt>
                <c:pt idx="5630">
                  <c:v>-3.1699600000000001</c:v>
                </c:pt>
                <c:pt idx="5631">
                  <c:v>-2.6586099999999999</c:v>
                </c:pt>
                <c:pt idx="5632">
                  <c:v>#N/A</c:v>
                </c:pt>
                <c:pt idx="5633">
                  <c:v>-2.5832799999999998</c:v>
                </c:pt>
                <c:pt idx="5634">
                  <c:v>-2.5134300000000001</c:v>
                </c:pt>
                <c:pt idx="5635">
                  <c:v>-2.1740699999999999</c:v>
                </c:pt>
                <c:pt idx="5636">
                  <c:v>#N/A</c:v>
                </c:pt>
                <c:pt idx="5637">
                  <c:v>-2.40449</c:v>
                </c:pt>
                <c:pt idx="5638">
                  <c:v>-2.7172100000000001</c:v>
                </c:pt>
                <c:pt idx="5639">
                  <c:v>-3.3343799999999999</c:v>
                </c:pt>
                <c:pt idx="5640">
                  <c:v>#N/A</c:v>
                </c:pt>
                <c:pt idx="5641">
                  <c:v>-3.1272600000000002</c:v>
                </c:pt>
                <c:pt idx="5642">
                  <c:v>-2.72871</c:v>
                </c:pt>
                <c:pt idx="5643">
                  <c:v>-2.1623100000000002</c:v>
                </c:pt>
                <c:pt idx="5644">
                  <c:v>#N/A</c:v>
                </c:pt>
                <c:pt idx="5645">
                  <c:v>-2.0059300000000002</c:v>
                </c:pt>
                <c:pt idx="5646">
                  <c:v>-2.5819899999999998</c:v>
                </c:pt>
                <c:pt idx="5647">
                  <c:v>#N/A</c:v>
                </c:pt>
                <c:pt idx="5648">
                  <c:v>-2.9721700000000002</c:v>
                </c:pt>
                <c:pt idx="5649">
                  <c:v>-3.5414300000000001</c:v>
                </c:pt>
                <c:pt idx="5650">
                  <c:v>-3.6514899999999999</c:v>
                </c:pt>
                <c:pt idx="5651">
                  <c:v>#N/A</c:v>
                </c:pt>
                <c:pt idx="5652">
                  <c:v>-3.2569699999999999</c:v>
                </c:pt>
                <c:pt idx="5653">
                  <c:v>-3.0870600000000001</c:v>
                </c:pt>
                <c:pt idx="5654">
                  <c:v>-2.4319799999999998</c:v>
                </c:pt>
                <c:pt idx="5655">
                  <c:v>#N/A</c:v>
                </c:pt>
                <c:pt idx="5656">
                  <c:v>-2.0705900000000002</c:v>
                </c:pt>
                <c:pt idx="5657">
                  <c:v>-2.8934099999999998</c:v>
                </c:pt>
                <c:pt idx="5658">
                  <c:v>-3.5322100000000001</c:v>
                </c:pt>
                <c:pt idx="5659">
                  <c:v>#N/A</c:v>
                </c:pt>
                <c:pt idx="5660">
                  <c:v>-3.73536</c:v>
                </c:pt>
                <c:pt idx="5661">
                  <c:v>-3.18309</c:v>
                </c:pt>
                <c:pt idx="5662">
                  <c:v>-3.0341499999999999</c:v>
                </c:pt>
                <c:pt idx="5663">
                  <c:v>#N/A</c:v>
                </c:pt>
                <c:pt idx="5664">
                  <c:v>-2.44129</c:v>
                </c:pt>
                <c:pt idx="5665">
                  <c:v>-2.2082899999999999</c:v>
                </c:pt>
                <c:pt idx="5666">
                  <c:v>-2.3368600000000002</c:v>
                </c:pt>
                <c:pt idx="5667">
                  <c:v>#N/A</c:v>
                </c:pt>
                <c:pt idx="5668">
                  <c:v>-2.1153499999999998</c:v>
                </c:pt>
                <c:pt idx="5669">
                  <c:v>-2.7426699999999999</c:v>
                </c:pt>
                <c:pt idx="5670">
                  <c:v>-3.34199</c:v>
                </c:pt>
                <c:pt idx="5671">
                  <c:v>#N/A</c:v>
                </c:pt>
                <c:pt idx="5672">
                  <c:v>-3.0533800000000002</c:v>
                </c:pt>
                <c:pt idx="5673">
                  <c:v>-2.52955</c:v>
                </c:pt>
                <c:pt idx="5674">
                  <c:v>-2.12025</c:v>
                </c:pt>
                <c:pt idx="5675">
                  <c:v>#N/A</c:v>
                </c:pt>
                <c:pt idx="5676">
                  <c:v>-2.2380200000000001</c:v>
                </c:pt>
                <c:pt idx="5677">
                  <c:v>-2.1549</c:v>
                </c:pt>
                <c:pt idx="5678">
                  <c:v>#N/A</c:v>
                </c:pt>
                <c:pt idx="5679">
                  <c:v>-1.9488700000000001</c:v>
                </c:pt>
                <c:pt idx="5680">
                  <c:v>-2.4427500000000002</c:v>
                </c:pt>
                <c:pt idx="5681">
                  <c:v>-3.6187100000000001</c:v>
                </c:pt>
                <c:pt idx="5682">
                  <c:v>#N/A</c:v>
                </c:pt>
                <c:pt idx="5683">
                  <c:v>-3.5895299999999999</c:v>
                </c:pt>
                <c:pt idx="5684">
                  <c:v>-2.6225900000000002</c:v>
                </c:pt>
                <c:pt idx="5685">
                  <c:v>-2.1426099999999999</c:v>
                </c:pt>
                <c:pt idx="5686">
                  <c:v>#N/A</c:v>
                </c:pt>
                <c:pt idx="5687">
                  <c:v>-2.2275700000000001</c:v>
                </c:pt>
                <c:pt idx="5688">
                  <c:v>-2.8387099999999998</c:v>
                </c:pt>
                <c:pt idx="5689">
                  <c:v>-2.9197199999999999</c:v>
                </c:pt>
                <c:pt idx="5690">
                  <c:v>#N/A</c:v>
                </c:pt>
                <c:pt idx="5691">
                  <c:v>-2.8486600000000002</c:v>
                </c:pt>
                <c:pt idx="5692">
                  <c:v>-2.9290099999999999</c:v>
                </c:pt>
                <c:pt idx="5693">
                  <c:v>#N/A</c:v>
                </c:pt>
                <c:pt idx="5694">
                  <c:v>-2.8768400000000001</c:v>
                </c:pt>
                <c:pt idx="5695">
                  <c:v>-2.5118100000000001</c:v>
                </c:pt>
                <c:pt idx="5696">
                  <c:v>-2.27752</c:v>
                </c:pt>
                <c:pt idx="5697">
                  <c:v>#N/A</c:v>
                </c:pt>
                <c:pt idx="5698">
                  <c:v>-2.04697</c:v>
                </c:pt>
                <c:pt idx="5699">
                  <c:v>-2.1906500000000002</c:v>
                </c:pt>
                <c:pt idx="5700">
                  <c:v>-2.70147</c:v>
                </c:pt>
                <c:pt idx="5701">
                  <c:v>#N/A</c:v>
                </c:pt>
                <c:pt idx="5702">
                  <c:v>-2.4346000000000001</c:v>
                </c:pt>
                <c:pt idx="5703">
                  <c:v>#N/A</c:v>
                </c:pt>
                <c:pt idx="5704">
                  <c:v>-2.6913900000000002</c:v>
                </c:pt>
                <c:pt idx="5705">
                  <c:v>-2.2741600000000002</c:v>
                </c:pt>
                <c:pt idx="5706">
                  <c:v>#N/A</c:v>
                </c:pt>
                <c:pt idx="5707">
                  <c:v>-2.5072899999999998</c:v>
                </c:pt>
                <c:pt idx="5708">
                  <c:v>-1.88734</c:v>
                </c:pt>
                <c:pt idx="5709">
                  <c:v>-2.2724099999999998</c:v>
                </c:pt>
                <c:pt idx="5710">
                  <c:v>#N/A</c:v>
                </c:pt>
                <c:pt idx="5711">
                  <c:v>-2.6493500000000001</c:v>
                </c:pt>
                <c:pt idx="5712">
                  <c:v>-3.1789000000000001</c:v>
                </c:pt>
                <c:pt idx="5713">
                  <c:v>-3.2991600000000001</c:v>
                </c:pt>
                <c:pt idx="5714">
                  <c:v>#N/A</c:v>
                </c:pt>
                <c:pt idx="5715">
                  <c:v>-2.93296</c:v>
                </c:pt>
                <c:pt idx="5716">
                  <c:v>-2.89188</c:v>
                </c:pt>
                <c:pt idx="5717">
                  <c:v>-2.5600399999999999</c:v>
                </c:pt>
                <c:pt idx="5718">
                  <c:v>#N/A</c:v>
                </c:pt>
                <c:pt idx="5719">
                  <c:v>-1.83273</c:v>
                </c:pt>
                <c:pt idx="5720">
                  <c:v>-2.3008700000000002</c:v>
                </c:pt>
                <c:pt idx="5721">
                  <c:v>-3.1539600000000001</c:v>
                </c:pt>
                <c:pt idx="5722">
                  <c:v>#N/A</c:v>
                </c:pt>
                <c:pt idx="5723">
                  <c:v>-3.4025500000000002</c:v>
                </c:pt>
                <c:pt idx="5724">
                  <c:v>-3.55585</c:v>
                </c:pt>
                <c:pt idx="5725">
                  <c:v>-2.9565999999999999</c:v>
                </c:pt>
                <c:pt idx="5726">
                  <c:v>#N/A</c:v>
                </c:pt>
                <c:pt idx="5727">
                  <c:v>-1.9017900000000001</c:v>
                </c:pt>
                <c:pt idx="5728">
                  <c:v>-1.9068400000000001</c:v>
                </c:pt>
                <c:pt idx="5729">
                  <c:v>-1.9786600000000001</c:v>
                </c:pt>
                <c:pt idx="5730">
                  <c:v>#N/A</c:v>
                </c:pt>
                <c:pt idx="5731">
                  <c:v>-1.9059200000000001</c:v>
                </c:pt>
                <c:pt idx="5732">
                  <c:v>-3.02529</c:v>
                </c:pt>
                <c:pt idx="5733">
                  <c:v>-3.5558000000000001</c:v>
                </c:pt>
                <c:pt idx="5734">
                  <c:v>#N/A</c:v>
                </c:pt>
                <c:pt idx="5735">
                  <c:v>-3.7062200000000001</c:v>
                </c:pt>
                <c:pt idx="5736">
                  <c:v>-2.74681</c:v>
                </c:pt>
                <c:pt idx="5737">
                  <c:v>#N/A</c:v>
                </c:pt>
                <c:pt idx="5738">
                  <c:v>-2.12148</c:v>
                </c:pt>
                <c:pt idx="5739">
                  <c:v>-1.5043599999999999</c:v>
                </c:pt>
                <c:pt idx="5740">
                  <c:v>-2.26064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#N/A</c:v>
                </c:pt>
                <c:pt idx="5745">
                  <c:v>#N/A</c:v>
                </c:pt>
                <c:pt idx="5746">
                  <c:v>#N/A</c:v>
                </c:pt>
                <c:pt idx="5747">
                  <c:v>#N/A</c:v>
                </c:pt>
                <c:pt idx="5748">
                  <c:v>#N/A</c:v>
                </c:pt>
                <c:pt idx="5749">
                  <c:v>#N/A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#N/A</c:v>
                </c:pt>
                <c:pt idx="5754">
                  <c:v>#N/A</c:v>
                </c:pt>
                <c:pt idx="5755">
                  <c:v>#N/A</c:v>
                </c:pt>
                <c:pt idx="5756">
                  <c:v>#N/A</c:v>
                </c:pt>
                <c:pt idx="5757">
                  <c:v>#N/A</c:v>
                </c:pt>
                <c:pt idx="5758">
                  <c:v>#N/A</c:v>
                </c:pt>
                <c:pt idx="5759">
                  <c:v>#N/A</c:v>
                </c:pt>
                <c:pt idx="5760">
                  <c:v>#N/A</c:v>
                </c:pt>
                <c:pt idx="5761">
                  <c:v>#N/A</c:v>
                </c:pt>
                <c:pt idx="5762">
                  <c:v>#N/A</c:v>
                </c:pt>
                <c:pt idx="5763">
                  <c:v>-2.7823799999999999</c:v>
                </c:pt>
                <c:pt idx="5764">
                  <c:v>-3.2803399999999998</c:v>
                </c:pt>
                <c:pt idx="5765">
                  <c:v>#N/A</c:v>
                </c:pt>
                <c:pt idx="5766">
                  <c:v>-3.2106599999999998</c:v>
                </c:pt>
                <c:pt idx="5767">
                  <c:v>-2.8394599999999999</c:v>
                </c:pt>
                <c:pt idx="5768">
                  <c:v>#N/A</c:v>
                </c:pt>
                <c:pt idx="5769">
                  <c:v>-2.8325100000000001</c:v>
                </c:pt>
                <c:pt idx="5770">
                  <c:v>-2.7416100000000001</c:v>
                </c:pt>
                <c:pt idx="5771">
                  <c:v>-2.6394199999999999</c:v>
                </c:pt>
                <c:pt idx="5772">
                  <c:v>#N/A</c:v>
                </c:pt>
                <c:pt idx="5773">
                  <c:v>-3.0273699999999999</c:v>
                </c:pt>
                <c:pt idx="5774">
                  <c:v>-3.2352300000000001</c:v>
                </c:pt>
                <c:pt idx="5775">
                  <c:v>-3.1067499999999999</c:v>
                </c:pt>
                <c:pt idx="5776">
                  <c:v>#N/A</c:v>
                </c:pt>
                <c:pt idx="5777">
                  <c:v>-3.4513600000000002</c:v>
                </c:pt>
                <c:pt idx="5778">
                  <c:v>-2.99349</c:v>
                </c:pt>
                <c:pt idx="5779">
                  <c:v>#N/A</c:v>
                </c:pt>
                <c:pt idx="5780">
                  <c:v>-2.8805499999999999</c:v>
                </c:pt>
                <c:pt idx="5781">
                  <c:v>-2.36233</c:v>
                </c:pt>
                <c:pt idx="5782">
                  <c:v>-2.7269100000000002</c:v>
                </c:pt>
                <c:pt idx="5783">
                  <c:v>#N/A</c:v>
                </c:pt>
                <c:pt idx="5784">
                  <c:v>-2.8820800000000002</c:v>
                </c:pt>
                <c:pt idx="5785">
                  <c:v>-3.34476</c:v>
                </c:pt>
                <c:pt idx="5786">
                  <c:v>-2.9164400000000001</c:v>
                </c:pt>
                <c:pt idx="5787">
                  <c:v>#N/A</c:v>
                </c:pt>
                <c:pt idx="5788">
                  <c:v>-2.71617</c:v>
                </c:pt>
                <c:pt idx="5789">
                  <c:v>-2.8569900000000001</c:v>
                </c:pt>
                <c:pt idx="5790">
                  <c:v>-2.3050600000000001</c:v>
                </c:pt>
                <c:pt idx="5791">
                  <c:v>#N/A</c:v>
                </c:pt>
                <c:pt idx="5792">
                  <c:v>-1.8274699999999999</c:v>
                </c:pt>
                <c:pt idx="5793">
                  <c:v>-2.4803799999999998</c:v>
                </c:pt>
                <c:pt idx="5794">
                  <c:v>-3.0672600000000001</c:v>
                </c:pt>
                <c:pt idx="5795">
                  <c:v>#N/A</c:v>
                </c:pt>
                <c:pt idx="5796">
                  <c:v>-3.28268</c:v>
                </c:pt>
                <c:pt idx="5797">
                  <c:v>-3.3400300000000001</c:v>
                </c:pt>
                <c:pt idx="5798">
                  <c:v>-2.6738400000000002</c:v>
                </c:pt>
                <c:pt idx="5799">
                  <c:v>#N/A</c:v>
                </c:pt>
                <c:pt idx="5800">
                  <c:v>-2.1831</c:v>
                </c:pt>
                <c:pt idx="5801">
                  <c:v>-2.0585200000000001</c:v>
                </c:pt>
                <c:pt idx="5802">
                  <c:v>-2.3464800000000001</c:v>
                </c:pt>
                <c:pt idx="5803">
                  <c:v>#N/A</c:v>
                </c:pt>
                <c:pt idx="5804">
                  <c:v>-2.3428100000000001</c:v>
                </c:pt>
                <c:pt idx="5805">
                  <c:v>-2.6804100000000002</c:v>
                </c:pt>
                <c:pt idx="5806">
                  <c:v>#N/A</c:v>
                </c:pt>
                <c:pt idx="5807">
                  <c:v>-3.2384400000000002</c:v>
                </c:pt>
                <c:pt idx="5808">
                  <c:v>-3.7162899999999999</c:v>
                </c:pt>
                <c:pt idx="5809">
                  <c:v>-2.9056799999999998</c:v>
                </c:pt>
                <c:pt idx="5810">
                  <c:v>#N/A</c:v>
                </c:pt>
                <c:pt idx="5811">
                  <c:v>-2.7555700000000001</c:v>
                </c:pt>
                <c:pt idx="5812">
                  <c:v>-1.89174</c:v>
                </c:pt>
                <c:pt idx="5813">
                  <c:v>#N/A</c:v>
                </c:pt>
                <c:pt idx="5814">
                  <c:v>-2.4937</c:v>
                </c:pt>
                <c:pt idx="5815">
                  <c:v>-2.29474</c:v>
                </c:pt>
                <c:pt idx="5816">
                  <c:v>-2.5489899999999999</c:v>
                </c:pt>
                <c:pt idx="5817">
                  <c:v>#N/A</c:v>
                </c:pt>
                <c:pt idx="5818">
                  <c:v>-2.90639</c:v>
                </c:pt>
                <c:pt idx="5819">
                  <c:v>-3.2055600000000002</c:v>
                </c:pt>
                <c:pt idx="5820">
                  <c:v>-2.8222299999999998</c:v>
                </c:pt>
                <c:pt idx="5821">
                  <c:v>#N/A</c:v>
                </c:pt>
                <c:pt idx="5822">
                  <c:v>-1.57724</c:v>
                </c:pt>
                <c:pt idx="5823">
                  <c:v>-2.1288399999999998</c:v>
                </c:pt>
                <c:pt idx="5824">
                  <c:v>-1.51918</c:v>
                </c:pt>
                <c:pt idx="5825">
                  <c:v>#N/A</c:v>
                </c:pt>
                <c:pt idx="5826">
                  <c:v>-2.1447400000000001</c:v>
                </c:pt>
                <c:pt idx="5827">
                  <c:v>-2.2472699999999999</c:v>
                </c:pt>
                <c:pt idx="5828">
                  <c:v>-3.4133800000000001</c:v>
                </c:pt>
                <c:pt idx="5829">
                  <c:v>#N/A</c:v>
                </c:pt>
                <c:pt idx="5830">
                  <c:v>-2.74716</c:v>
                </c:pt>
                <c:pt idx="5831">
                  <c:v>-2.9269799999999999</c:v>
                </c:pt>
                <c:pt idx="5832">
                  <c:v>-2.4513400000000001</c:v>
                </c:pt>
                <c:pt idx="5833">
                  <c:v>#N/A</c:v>
                </c:pt>
                <c:pt idx="5834">
                  <c:v>-2.0825100000000001</c:v>
                </c:pt>
                <c:pt idx="5835">
                  <c:v>-2.8432499999999998</c:v>
                </c:pt>
                <c:pt idx="5836">
                  <c:v>-3.05165</c:v>
                </c:pt>
                <c:pt idx="5837">
                  <c:v>#N/A</c:v>
                </c:pt>
                <c:pt idx="5838">
                  <c:v>-3.7952300000000001</c:v>
                </c:pt>
                <c:pt idx="5839">
                  <c:v>-3.3321399999999999</c:v>
                </c:pt>
                <c:pt idx="5840">
                  <c:v>-3.3057099999999999</c:v>
                </c:pt>
                <c:pt idx="5841">
                  <c:v>#N/A</c:v>
                </c:pt>
                <c:pt idx="5842">
                  <c:v>-2.7775799999999999</c:v>
                </c:pt>
                <c:pt idx="5843">
                  <c:v>-2.7612899999999998</c:v>
                </c:pt>
                <c:pt idx="5844">
                  <c:v>#N/A</c:v>
                </c:pt>
                <c:pt idx="5845">
                  <c:v>-2.25962</c:v>
                </c:pt>
                <c:pt idx="5846">
                  <c:v>-2.61015</c:v>
                </c:pt>
                <c:pt idx="5847">
                  <c:v>-2.5446</c:v>
                </c:pt>
                <c:pt idx="5848">
                  <c:v>#N/A</c:v>
                </c:pt>
                <c:pt idx="5849">
                  <c:v>-3.1869900000000002</c:v>
                </c:pt>
                <c:pt idx="5850">
                  <c:v>-2.9146999999999998</c:v>
                </c:pt>
                <c:pt idx="5851">
                  <c:v>-2.8599299999999999</c:v>
                </c:pt>
                <c:pt idx="5852">
                  <c:v>#N/A</c:v>
                </c:pt>
                <c:pt idx="5853">
                  <c:v>-1.9748000000000001</c:v>
                </c:pt>
                <c:pt idx="5854">
                  <c:v>#N/A</c:v>
                </c:pt>
                <c:pt idx="5855">
                  <c:v>-1.9240699999999999</c:v>
                </c:pt>
                <c:pt idx="5856">
                  <c:v>-2.0914899999999998</c:v>
                </c:pt>
                <c:pt idx="5857">
                  <c:v>#N/A</c:v>
                </c:pt>
                <c:pt idx="5858">
                  <c:v>-2.4335499999999999</c:v>
                </c:pt>
                <c:pt idx="5859">
                  <c:v>-2.9417399999999998</c:v>
                </c:pt>
                <c:pt idx="5860">
                  <c:v>#N/A</c:v>
                </c:pt>
                <c:pt idx="5861">
                  <c:v>-2.42401</c:v>
                </c:pt>
                <c:pt idx="5862">
                  <c:v>-2.2230799999999999</c:v>
                </c:pt>
                <c:pt idx="5863">
                  <c:v>#N/A</c:v>
                </c:pt>
                <c:pt idx="5864">
                  <c:v>-1.8754500000000001</c:v>
                </c:pt>
                <c:pt idx="5865">
                  <c:v>-2.0979199999999998</c:v>
                </c:pt>
                <c:pt idx="5866">
                  <c:v>-2.26736</c:v>
                </c:pt>
                <c:pt idx="5867">
                  <c:v>#N/A</c:v>
                </c:pt>
                <c:pt idx="5868">
                  <c:v>-3.2317</c:v>
                </c:pt>
                <c:pt idx="5869">
                  <c:v>-3.69293</c:v>
                </c:pt>
                <c:pt idx="5870">
                  <c:v>-3.19157</c:v>
                </c:pt>
                <c:pt idx="5871">
                  <c:v>#N/A</c:v>
                </c:pt>
                <c:pt idx="5872">
                  <c:v>-2.9901800000000001</c:v>
                </c:pt>
                <c:pt idx="5873">
                  <c:v>-2.0167299999999999</c:v>
                </c:pt>
                <c:pt idx="5874">
                  <c:v>-2.22621</c:v>
                </c:pt>
                <c:pt idx="5875">
                  <c:v>#N/A</c:v>
                </c:pt>
                <c:pt idx="5876">
                  <c:v>-2.6575500000000001</c:v>
                </c:pt>
                <c:pt idx="5877">
                  <c:v>-2.9231600000000002</c:v>
                </c:pt>
                <c:pt idx="5878">
                  <c:v>-3.03633</c:v>
                </c:pt>
                <c:pt idx="5879">
                  <c:v>#N/A</c:v>
                </c:pt>
                <c:pt idx="5880">
                  <c:v>-3.9802499999999998</c:v>
                </c:pt>
                <c:pt idx="5881">
                  <c:v>-3.31379</c:v>
                </c:pt>
                <c:pt idx="5882">
                  <c:v>-2.49038</c:v>
                </c:pt>
                <c:pt idx="5883">
                  <c:v>#N/A</c:v>
                </c:pt>
                <c:pt idx="5884">
                  <c:v>-2.0399799999999999</c:v>
                </c:pt>
                <c:pt idx="5885">
                  <c:v>-1.6855800000000001</c:v>
                </c:pt>
                <c:pt idx="5886">
                  <c:v>#N/A</c:v>
                </c:pt>
                <c:pt idx="5887">
                  <c:v>-1.9405399999999999</c:v>
                </c:pt>
                <c:pt idx="5888">
                  <c:v>-2.4454799999999999</c:v>
                </c:pt>
                <c:pt idx="5889">
                  <c:v>-2.8773300000000002</c:v>
                </c:pt>
                <c:pt idx="5890">
                  <c:v>#N/A</c:v>
                </c:pt>
                <c:pt idx="5891">
                  <c:v>-3.3520599999999998</c:v>
                </c:pt>
                <c:pt idx="5892">
                  <c:v>-3.5355400000000001</c:v>
                </c:pt>
                <c:pt idx="5893">
                  <c:v>-3.1022699999999999</c:v>
                </c:pt>
                <c:pt idx="5894">
                  <c:v>#N/A</c:v>
                </c:pt>
                <c:pt idx="5895">
                  <c:v>-2.1647500000000002</c:v>
                </c:pt>
                <c:pt idx="5896">
                  <c:v>-1.8418099999999999</c:v>
                </c:pt>
                <c:pt idx="5897">
                  <c:v>-1.8285400000000001</c:v>
                </c:pt>
                <c:pt idx="5898">
                  <c:v>#N/A</c:v>
                </c:pt>
                <c:pt idx="5899">
                  <c:v>-2.9483700000000002</c:v>
                </c:pt>
                <c:pt idx="5900">
                  <c:v>-3.3380800000000002</c:v>
                </c:pt>
                <c:pt idx="5901">
                  <c:v>-3.4383300000000001</c:v>
                </c:pt>
                <c:pt idx="5902">
                  <c:v>#N/A</c:v>
                </c:pt>
                <c:pt idx="5903">
                  <c:v>-3.4287299999999998</c:v>
                </c:pt>
                <c:pt idx="5904">
                  <c:v>-3.0661900000000002</c:v>
                </c:pt>
                <c:pt idx="5905">
                  <c:v>-2.24254</c:v>
                </c:pt>
                <c:pt idx="5906">
                  <c:v>#N/A</c:v>
                </c:pt>
                <c:pt idx="5907">
                  <c:v>-1.7441899999999999</c:v>
                </c:pt>
                <c:pt idx="5908">
                  <c:v>-2.01512</c:v>
                </c:pt>
                <c:pt idx="5909">
                  <c:v>-2.2292800000000002</c:v>
                </c:pt>
                <c:pt idx="5910">
                  <c:v>#N/A</c:v>
                </c:pt>
                <c:pt idx="5911">
                  <c:v>-2.9548800000000002</c:v>
                </c:pt>
                <c:pt idx="5912">
                  <c:v>-2.8350300000000002</c:v>
                </c:pt>
                <c:pt idx="5913">
                  <c:v>#N/A</c:v>
                </c:pt>
                <c:pt idx="5914">
                  <c:v>-2.95879</c:v>
                </c:pt>
                <c:pt idx="5915">
                  <c:v>-2.2766099999999998</c:v>
                </c:pt>
                <c:pt idx="5916">
                  <c:v>-2.3087800000000001</c:v>
                </c:pt>
                <c:pt idx="5917">
                  <c:v>#N/A</c:v>
                </c:pt>
                <c:pt idx="5918">
                  <c:v>-2.36347</c:v>
                </c:pt>
                <c:pt idx="5919">
                  <c:v>-2.7660399999999998</c:v>
                </c:pt>
                <c:pt idx="5920">
                  <c:v>#N/A</c:v>
                </c:pt>
                <c:pt idx="5921">
                  <c:v>-2.79834</c:v>
                </c:pt>
                <c:pt idx="5922">
                  <c:v>-2.5912299999999999</c:v>
                </c:pt>
                <c:pt idx="5923">
                  <c:v>-2.8218399999999999</c:v>
                </c:pt>
                <c:pt idx="5924">
                  <c:v>#N/A</c:v>
                </c:pt>
                <c:pt idx="5925">
                  <c:v>-2.6313399999999998</c:v>
                </c:pt>
                <c:pt idx="5926">
                  <c:v>-2.2789000000000001</c:v>
                </c:pt>
                <c:pt idx="5927">
                  <c:v>#N/A</c:v>
                </c:pt>
                <c:pt idx="5928">
                  <c:v>-2.5775600000000001</c:v>
                </c:pt>
                <c:pt idx="5929">
                  <c:v>#N/A</c:v>
                </c:pt>
                <c:pt idx="5930">
                  <c:v>-2.32504</c:v>
                </c:pt>
                <c:pt idx="5931">
                  <c:v>-2.7639399999999998</c:v>
                </c:pt>
                <c:pt idx="5932">
                  <c:v>-2.5296699999999999</c:v>
                </c:pt>
                <c:pt idx="5933">
                  <c:v>#N/A</c:v>
                </c:pt>
                <c:pt idx="5934">
                  <c:v>-2.4928699999999999</c:v>
                </c:pt>
                <c:pt idx="5935">
                  <c:v>-2.1755300000000002</c:v>
                </c:pt>
                <c:pt idx="5936">
                  <c:v>#N/A</c:v>
                </c:pt>
                <c:pt idx="5937">
                  <c:v>-2.0153699999999999</c:v>
                </c:pt>
                <c:pt idx="5938">
                  <c:v>-1.7747200000000001</c:v>
                </c:pt>
                <c:pt idx="5939">
                  <c:v>-2.52536</c:v>
                </c:pt>
                <c:pt idx="5940">
                  <c:v>#N/A</c:v>
                </c:pt>
                <c:pt idx="5941">
                  <c:v>-3.42231</c:v>
                </c:pt>
                <c:pt idx="5942">
                  <c:v>-3.69482</c:v>
                </c:pt>
                <c:pt idx="5943">
                  <c:v>-3.0738099999999999</c:v>
                </c:pt>
                <c:pt idx="5944">
                  <c:v>#N/A</c:v>
                </c:pt>
                <c:pt idx="5945">
                  <c:v>-3.1108699999999998</c:v>
                </c:pt>
                <c:pt idx="5946">
                  <c:v>-1.89089</c:v>
                </c:pt>
                <c:pt idx="5947">
                  <c:v>#N/A</c:v>
                </c:pt>
                <c:pt idx="5948">
                  <c:v>-2.0388799999999998</c:v>
                </c:pt>
                <c:pt idx="5949">
                  <c:v>-1.60026</c:v>
                </c:pt>
                <c:pt idx="5950">
                  <c:v>-2.38042</c:v>
                </c:pt>
                <c:pt idx="5951">
                  <c:v>#N/A</c:v>
                </c:pt>
                <c:pt idx="5952">
                  <c:v>-2.82491</c:v>
                </c:pt>
                <c:pt idx="5953">
                  <c:v>-3.7334999999999998</c:v>
                </c:pt>
                <c:pt idx="5954">
                  <c:v>-2.9727100000000002</c:v>
                </c:pt>
                <c:pt idx="5955">
                  <c:v>#N/A</c:v>
                </c:pt>
                <c:pt idx="5956">
                  <c:v>-2.6145399999999999</c:v>
                </c:pt>
                <c:pt idx="5957">
                  <c:v>-2.04582</c:v>
                </c:pt>
                <c:pt idx="5958">
                  <c:v>#N/A</c:v>
                </c:pt>
                <c:pt idx="5959">
                  <c:v>-1.8525</c:v>
                </c:pt>
                <c:pt idx="5960">
                  <c:v>-2.6494399999999998</c:v>
                </c:pt>
                <c:pt idx="5961">
                  <c:v>-2.3325</c:v>
                </c:pt>
                <c:pt idx="5962">
                  <c:v>#N/A</c:v>
                </c:pt>
                <c:pt idx="5963">
                  <c:v>-3.1663100000000002</c:v>
                </c:pt>
                <c:pt idx="5964">
                  <c:v>-3.2873199999999998</c:v>
                </c:pt>
                <c:pt idx="5965">
                  <c:v>-3.4428000000000001</c:v>
                </c:pt>
                <c:pt idx="5966">
                  <c:v>#N/A</c:v>
                </c:pt>
                <c:pt idx="5967">
                  <c:v>-2.9798200000000001</c:v>
                </c:pt>
                <c:pt idx="5968">
                  <c:v>-2.00413</c:v>
                </c:pt>
                <c:pt idx="5969">
                  <c:v>-1.52122</c:v>
                </c:pt>
                <c:pt idx="5970">
                  <c:v>#N/A</c:v>
                </c:pt>
                <c:pt idx="5971">
                  <c:v>-1.52834</c:v>
                </c:pt>
                <c:pt idx="5972">
                  <c:v>-2.5117500000000001</c:v>
                </c:pt>
                <c:pt idx="5973">
                  <c:v>-2.7998099999999999</c:v>
                </c:pt>
                <c:pt idx="5974">
                  <c:v>#N/A</c:v>
                </c:pt>
                <c:pt idx="5975">
                  <c:v>-3.11083</c:v>
                </c:pt>
                <c:pt idx="5976">
                  <c:v>-3.2174100000000001</c:v>
                </c:pt>
                <c:pt idx="5977">
                  <c:v>-3.1902699999999999</c:v>
                </c:pt>
                <c:pt idx="5978">
                  <c:v>#N/A</c:v>
                </c:pt>
                <c:pt idx="5979">
                  <c:v>-2.37514</c:v>
                </c:pt>
                <c:pt idx="5980">
                  <c:v>-2.2023700000000002</c:v>
                </c:pt>
                <c:pt idx="5981">
                  <c:v>-2.0545</c:v>
                </c:pt>
                <c:pt idx="5982">
                  <c:v>#N/A</c:v>
                </c:pt>
                <c:pt idx="5983">
                  <c:v>-1.6367499999999999</c:v>
                </c:pt>
                <c:pt idx="5984">
                  <c:v>-2.45485</c:v>
                </c:pt>
                <c:pt idx="5985">
                  <c:v>-3.36076</c:v>
                </c:pt>
                <c:pt idx="5986">
                  <c:v>#N/A</c:v>
                </c:pt>
                <c:pt idx="5987">
                  <c:v>-2.9906000000000001</c:v>
                </c:pt>
                <c:pt idx="5988">
                  <c:v>-2.87283</c:v>
                </c:pt>
                <c:pt idx="5989">
                  <c:v>-2.2685900000000001</c:v>
                </c:pt>
                <c:pt idx="5990">
                  <c:v>#N/A</c:v>
                </c:pt>
                <c:pt idx="5991">
                  <c:v>-1.90907</c:v>
                </c:pt>
                <c:pt idx="5992">
                  <c:v>-1.7002699999999999</c:v>
                </c:pt>
                <c:pt idx="5993">
                  <c:v>#N/A</c:v>
                </c:pt>
                <c:pt idx="5994">
                  <c:v>-2.3048700000000002</c:v>
                </c:pt>
                <c:pt idx="5995">
                  <c:v>-2.8273199999999998</c:v>
                </c:pt>
                <c:pt idx="5996">
                  <c:v>-3.1273499999999999</c:v>
                </c:pt>
                <c:pt idx="5997">
                  <c:v>#N/A</c:v>
                </c:pt>
                <c:pt idx="5998">
                  <c:v>-2.6852999999999998</c:v>
                </c:pt>
                <c:pt idx="5999">
                  <c:v>-2.6048</c:v>
                </c:pt>
                <c:pt idx="6000">
                  <c:v>-2.2812100000000002</c:v>
                </c:pt>
                <c:pt idx="6001">
                  <c:v>#N/A</c:v>
                </c:pt>
                <c:pt idx="6002">
                  <c:v>-2.6433900000000001</c:v>
                </c:pt>
                <c:pt idx="6003">
                  <c:v>-2.7209599999999998</c:v>
                </c:pt>
                <c:pt idx="6004">
                  <c:v>#N/A</c:v>
                </c:pt>
                <c:pt idx="6005">
                  <c:v>-3.0401199999999999</c:v>
                </c:pt>
                <c:pt idx="6006">
                  <c:v>#N/A</c:v>
                </c:pt>
                <c:pt idx="6007">
                  <c:v>-2.9305400000000001</c:v>
                </c:pt>
                <c:pt idx="6008">
                  <c:v>-2.5787499999999999</c:v>
                </c:pt>
                <c:pt idx="6009">
                  <c:v>-2.02772</c:v>
                </c:pt>
                <c:pt idx="6010">
                  <c:v>#N/A</c:v>
                </c:pt>
                <c:pt idx="6011">
                  <c:v>-2.1964399999999999</c:v>
                </c:pt>
                <c:pt idx="6012">
                  <c:v>-2.5166400000000002</c:v>
                </c:pt>
                <c:pt idx="6013">
                  <c:v>-2.4460600000000001</c:v>
                </c:pt>
                <c:pt idx="6014">
                  <c:v>#N/A</c:v>
                </c:pt>
                <c:pt idx="6015">
                  <c:v>-3.18329</c:v>
                </c:pt>
                <c:pt idx="6016">
                  <c:v>-3.2547299999999999</c:v>
                </c:pt>
                <c:pt idx="6017">
                  <c:v>#N/A</c:v>
                </c:pt>
                <c:pt idx="6018">
                  <c:v>-3.1884700000000001</c:v>
                </c:pt>
                <c:pt idx="6019">
                  <c:v>-2.7141600000000001</c:v>
                </c:pt>
                <c:pt idx="6020">
                  <c:v>-2.41398</c:v>
                </c:pt>
                <c:pt idx="6021">
                  <c:v>#N/A</c:v>
                </c:pt>
                <c:pt idx="6022">
                  <c:v>-2.1368399999999999</c:v>
                </c:pt>
                <c:pt idx="6023">
                  <c:v>-2.8819400000000002</c:v>
                </c:pt>
                <c:pt idx="6024">
                  <c:v>-3.3506499999999999</c:v>
                </c:pt>
                <c:pt idx="6025">
                  <c:v>#N/A</c:v>
                </c:pt>
                <c:pt idx="6026">
                  <c:v>-3.2588200000000001</c:v>
                </c:pt>
                <c:pt idx="6027">
                  <c:v>-3.2002600000000001</c:v>
                </c:pt>
                <c:pt idx="6028">
                  <c:v>-2.5750099999999998</c:v>
                </c:pt>
                <c:pt idx="6029">
                  <c:v>#N/A</c:v>
                </c:pt>
                <c:pt idx="6030">
                  <c:v>-2.2340300000000002</c:v>
                </c:pt>
                <c:pt idx="6031">
                  <c:v>-1.5959000000000001</c:v>
                </c:pt>
                <c:pt idx="6032">
                  <c:v>#N/A</c:v>
                </c:pt>
                <c:pt idx="6033">
                  <c:v>-2.22837</c:v>
                </c:pt>
                <c:pt idx="6034">
                  <c:v>-2.6244800000000001</c:v>
                </c:pt>
                <c:pt idx="6035">
                  <c:v>-3.1751800000000001</c:v>
                </c:pt>
                <c:pt idx="6036">
                  <c:v>#N/A</c:v>
                </c:pt>
                <c:pt idx="6037">
                  <c:v>-3.3370299999999999</c:v>
                </c:pt>
                <c:pt idx="6038">
                  <c:v>-3.1937700000000002</c:v>
                </c:pt>
                <c:pt idx="6039">
                  <c:v>-2.9281899999999998</c:v>
                </c:pt>
                <c:pt idx="6040">
                  <c:v>#N/A</c:v>
                </c:pt>
                <c:pt idx="6041">
                  <c:v>-2.0954600000000001</c:v>
                </c:pt>
                <c:pt idx="6042">
                  <c:v>-2.0819200000000002</c:v>
                </c:pt>
                <c:pt idx="6043">
                  <c:v>-2.0015800000000001</c:v>
                </c:pt>
                <c:pt idx="6044">
                  <c:v>#N/A</c:v>
                </c:pt>
                <c:pt idx="6045">
                  <c:v>-2.4195099999999998</c:v>
                </c:pt>
                <c:pt idx="6046">
                  <c:v>-2.5876999999999999</c:v>
                </c:pt>
                <c:pt idx="6047">
                  <c:v>-3.1518799999999998</c:v>
                </c:pt>
                <c:pt idx="6048">
                  <c:v>#N/A</c:v>
                </c:pt>
                <c:pt idx="6049">
                  <c:v>-3.5305</c:v>
                </c:pt>
                <c:pt idx="6050">
                  <c:v>-3.05097</c:v>
                </c:pt>
                <c:pt idx="6051">
                  <c:v>#N/A</c:v>
                </c:pt>
                <c:pt idx="6052">
                  <c:v>-2.1224599999999998</c:v>
                </c:pt>
                <c:pt idx="6053">
                  <c:v>-1.9467099999999999</c:v>
                </c:pt>
                <c:pt idx="6054">
                  <c:v>-2.3804099999999999</c:v>
                </c:pt>
                <c:pt idx="6055">
                  <c:v>#N/A</c:v>
                </c:pt>
                <c:pt idx="6056">
                  <c:v>-2.0493600000000001</c:v>
                </c:pt>
                <c:pt idx="6057">
                  <c:v>-2.62208</c:v>
                </c:pt>
                <c:pt idx="6058">
                  <c:v>-2.9769000000000001</c:v>
                </c:pt>
                <c:pt idx="6059">
                  <c:v>#N/A</c:v>
                </c:pt>
                <c:pt idx="6060">
                  <c:v>-3.1570399999999998</c:v>
                </c:pt>
                <c:pt idx="6061">
                  <c:v>-3.1687799999999999</c:v>
                </c:pt>
                <c:pt idx="6062">
                  <c:v>-3.0315300000000001</c:v>
                </c:pt>
                <c:pt idx="6063">
                  <c:v>#N/A</c:v>
                </c:pt>
                <c:pt idx="6064">
                  <c:v>-2.7562199999999999</c:v>
                </c:pt>
                <c:pt idx="6065">
                  <c:v>-2.22126</c:v>
                </c:pt>
                <c:pt idx="6066">
                  <c:v>-2.7092499999999999</c:v>
                </c:pt>
                <c:pt idx="6067">
                  <c:v>#N/A</c:v>
                </c:pt>
                <c:pt idx="6068">
                  <c:v>-2.45404</c:v>
                </c:pt>
                <c:pt idx="6069">
                  <c:v>-2.9295300000000002</c:v>
                </c:pt>
                <c:pt idx="6070">
                  <c:v>-2.8872599999999999</c:v>
                </c:pt>
                <c:pt idx="6071">
                  <c:v>#N/A</c:v>
                </c:pt>
                <c:pt idx="6072">
                  <c:v>-2.5706799999999999</c:v>
                </c:pt>
                <c:pt idx="6073">
                  <c:v>-2.19503</c:v>
                </c:pt>
                <c:pt idx="6074">
                  <c:v>-2.1776800000000001</c:v>
                </c:pt>
                <c:pt idx="6075">
                  <c:v>#N/A</c:v>
                </c:pt>
                <c:pt idx="6076">
                  <c:v>-1.71767</c:v>
                </c:pt>
                <c:pt idx="6077">
                  <c:v>-2.9905200000000001</c:v>
                </c:pt>
                <c:pt idx="6078">
                  <c:v>-2.5326300000000002</c:v>
                </c:pt>
                <c:pt idx="6079">
                  <c:v>#N/A</c:v>
                </c:pt>
                <c:pt idx="6080">
                  <c:v>#N/A</c:v>
                </c:pt>
                <c:pt idx="6081">
                  <c:v>-2.8010999999999999</c:v>
                </c:pt>
                <c:pt idx="6082">
                  <c:v>-2.45824</c:v>
                </c:pt>
                <c:pt idx="6083">
                  <c:v>-2.2058</c:v>
                </c:pt>
                <c:pt idx="6084">
                  <c:v>#N/A</c:v>
                </c:pt>
                <c:pt idx="6085">
                  <c:v>-2.6158000000000001</c:v>
                </c:pt>
                <c:pt idx="6086">
                  <c:v>-2.7468300000000001</c:v>
                </c:pt>
                <c:pt idx="6087">
                  <c:v>-3.85765</c:v>
                </c:pt>
                <c:pt idx="6088">
                  <c:v>#N/A</c:v>
                </c:pt>
                <c:pt idx="6089">
                  <c:v>-3.9104299999999999</c:v>
                </c:pt>
                <c:pt idx="6090">
                  <c:v>-3.5129899999999998</c:v>
                </c:pt>
                <c:pt idx="6091">
                  <c:v>-2.9910399999999999</c:v>
                </c:pt>
                <c:pt idx="6092">
                  <c:v>#N/A</c:v>
                </c:pt>
                <c:pt idx="6093">
                  <c:v>-2.10534</c:v>
                </c:pt>
                <c:pt idx="6094">
                  <c:v>-2.2712599999999998</c:v>
                </c:pt>
                <c:pt idx="6095">
                  <c:v>#N/A</c:v>
                </c:pt>
                <c:pt idx="6096">
                  <c:v>-2.02569</c:v>
                </c:pt>
                <c:pt idx="6097">
                  <c:v>-2.86361</c:v>
                </c:pt>
                <c:pt idx="6098">
                  <c:v>-3.4801700000000002</c:v>
                </c:pt>
                <c:pt idx="6099">
                  <c:v>#N/A</c:v>
                </c:pt>
                <c:pt idx="6100">
                  <c:v>-3.3231600000000001</c:v>
                </c:pt>
                <c:pt idx="6101">
                  <c:v>-3.5031699999999999</c:v>
                </c:pt>
                <c:pt idx="6102">
                  <c:v>-2.4772599999999998</c:v>
                </c:pt>
                <c:pt idx="6103">
                  <c:v>#N/A</c:v>
                </c:pt>
                <c:pt idx="6104">
                  <c:v>-1.76257</c:v>
                </c:pt>
                <c:pt idx="6105">
                  <c:v>-1.9054199999999999</c:v>
                </c:pt>
                <c:pt idx="6106">
                  <c:v>-2.3992599999999999</c:v>
                </c:pt>
                <c:pt idx="6107">
                  <c:v>#N/A</c:v>
                </c:pt>
                <c:pt idx="6108">
                  <c:v>-2.7677999999999998</c:v>
                </c:pt>
                <c:pt idx="6109">
                  <c:v>-3.0712700000000002</c:v>
                </c:pt>
                <c:pt idx="6110">
                  <c:v>#N/A</c:v>
                </c:pt>
                <c:pt idx="6111">
                  <c:v>-3.4507400000000001</c:v>
                </c:pt>
                <c:pt idx="6112">
                  <c:v>-2.9713599999999998</c:v>
                </c:pt>
                <c:pt idx="6113">
                  <c:v>-2.5941100000000001</c:v>
                </c:pt>
                <c:pt idx="6114">
                  <c:v>#N/A</c:v>
                </c:pt>
                <c:pt idx="6115">
                  <c:v>-2.6519599999999999</c:v>
                </c:pt>
                <c:pt idx="6116">
                  <c:v>-1.75485</c:v>
                </c:pt>
                <c:pt idx="6117">
                  <c:v>-2.20194</c:v>
                </c:pt>
                <c:pt idx="6118">
                  <c:v>#N/A</c:v>
                </c:pt>
                <c:pt idx="6119">
                  <c:v>-3.1039400000000001</c:v>
                </c:pt>
                <c:pt idx="6120">
                  <c:v>-3.4537</c:v>
                </c:pt>
                <c:pt idx="6121">
                  <c:v>-3.0136400000000001</c:v>
                </c:pt>
                <c:pt idx="6122">
                  <c:v>#N/A</c:v>
                </c:pt>
                <c:pt idx="6123">
                  <c:v>-3.1697199999999999</c:v>
                </c:pt>
                <c:pt idx="6124">
                  <c:v>-2.88632</c:v>
                </c:pt>
                <c:pt idx="6125">
                  <c:v>-2.51999</c:v>
                </c:pt>
                <c:pt idx="6126">
                  <c:v>#N/A</c:v>
                </c:pt>
                <c:pt idx="6127">
                  <c:v>-2.5339499999999999</c:v>
                </c:pt>
                <c:pt idx="6128">
                  <c:v>-1.97821</c:v>
                </c:pt>
                <c:pt idx="6129">
                  <c:v>-2.4209200000000002</c:v>
                </c:pt>
                <c:pt idx="6130">
                  <c:v>#N/A</c:v>
                </c:pt>
                <c:pt idx="6131">
                  <c:v>-2.4744199999999998</c:v>
                </c:pt>
                <c:pt idx="6132">
                  <c:v>-2.6775799999999998</c:v>
                </c:pt>
                <c:pt idx="6133">
                  <c:v>-2.4763199999999999</c:v>
                </c:pt>
                <c:pt idx="6134">
                  <c:v>#N/A</c:v>
                </c:pt>
                <c:pt idx="6135">
                  <c:v>-2.7736100000000001</c:v>
                </c:pt>
                <c:pt idx="6136">
                  <c:v>-2.19035</c:v>
                </c:pt>
                <c:pt idx="6137">
                  <c:v>-3.1012200000000001</c:v>
                </c:pt>
                <c:pt idx="6138">
                  <c:v>#N/A</c:v>
                </c:pt>
                <c:pt idx="6139">
                  <c:v>-2.5677699999999999</c:v>
                </c:pt>
                <c:pt idx="6140">
                  <c:v>-2.7154400000000001</c:v>
                </c:pt>
                <c:pt idx="6141">
                  <c:v>#N/A</c:v>
                </c:pt>
                <c:pt idx="6142">
                  <c:v>-3.2487699999999999</c:v>
                </c:pt>
                <c:pt idx="6143">
                  <c:v>-3.2696499999999999</c:v>
                </c:pt>
                <c:pt idx="6144">
                  <c:v>-2.8110400000000002</c:v>
                </c:pt>
                <c:pt idx="6145">
                  <c:v>#N/A</c:v>
                </c:pt>
                <c:pt idx="6146">
                  <c:v>-2.8456399999999999</c:v>
                </c:pt>
                <c:pt idx="6147">
                  <c:v>-2.52793</c:v>
                </c:pt>
                <c:pt idx="6148">
                  <c:v>-3.0029300000000001</c:v>
                </c:pt>
                <c:pt idx="6149">
                  <c:v>#N/A</c:v>
                </c:pt>
                <c:pt idx="6150">
                  <c:v>-2.6558999999999999</c:v>
                </c:pt>
                <c:pt idx="6151">
                  <c:v>-2.81481</c:v>
                </c:pt>
                <c:pt idx="6152">
                  <c:v>-2.5504899999999999</c:v>
                </c:pt>
                <c:pt idx="6153">
                  <c:v>#N/A</c:v>
                </c:pt>
                <c:pt idx="6154">
                  <c:v>-2.7589000000000001</c:v>
                </c:pt>
                <c:pt idx="6155">
                  <c:v>-2.2011400000000001</c:v>
                </c:pt>
                <c:pt idx="6156">
                  <c:v>#N/A</c:v>
                </c:pt>
                <c:pt idx="6157">
                  <c:v>-2.6560299999999999</c:v>
                </c:pt>
                <c:pt idx="6158">
                  <c:v>-2.23455</c:v>
                </c:pt>
                <c:pt idx="6159">
                  <c:v>-2.7139199999999999</c:v>
                </c:pt>
                <c:pt idx="6160">
                  <c:v>#N/A</c:v>
                </c:pt>
                <c:pt idx="6161">
                  <c:v>-3.1469200000000002</c:v>
                </c:pt>
                <c:pt idx="6162">
                  <c:v>-3.16283</c:v>
                </c:pt>
                <c:pt idx="6163">
                  <c:v>-3.4236499999999999</c:v>
                </c:pt>
                <c:pt idx="6164">
                  <c:v>#N/A</c:v>
                </c:pt>
                <c:pt idx="6165">
                  <c:v>-2.5426600000000001</c:v>
                </c:pt>
                <c:pt idx="6166">
                  <c:v>-2.3484099999999999</c:v>
                </c:pt>
                <c:pt idx="6167">
                  <c:v>-2.177</c:v>
                </c:pt>
                <c:pt idx="6168">
                  <c:v>#N/A</c:v>
                </c:pt>
                <c:pt idx="6169">
                  <c:v>-1.6592199999999999</c:v>
                </c:pt>
                <c:pt idx="6170">
                  <c:v>-2.3787500000000001</c:v>
                </c:pt>
                <c:pt idx="6171">
                  <c:v>-3.2872300000000001</c:v>
                </c:pt>
                <c:pt idx="6172">
                  <c:v>#N/A</c:v>
                </c:pt>
                <c:pt idx="6173">
                  <c:v>-3.50745</c:v>
                </c:pt>
                <c:pt idx="6174">
                  <c:v>-3.4546899999999998</c:v>
                </c:pt>
                <c:pt idx="6175">
                  <c:v>-2.5230399999999999</c:v>
                </c:pt>
                <c:pt idx="6176">
                  <c:v>#N/A</c:v>
                </c:pt>
                <c:pt idx="6177">
                  <c:v>-1.7979400000000001</c:v>
                </c:pt>
                <c:pt idx="6178">
                  <c:v>-1.79836</c:v>
                </c:pt>
                <c:pt idx="6179">
                  <c:v>#N/A</c:v>
                </c:pt>
                <c:pt idx="6180">
                  <c:v>-1.6916899999999999</c:v>
                </c:pt>
                <c:pt idx="6181">
                  <c:v>-2.2132299999999998</c:v>
                </c:pt>
                <c:pt idx="6182">
                  <c:v>-2.7478099999999999</c:v>
                </c:pt>
                <c:pt idx="6183">
                  <c:v>#N/A</c:v>
                </c:pt>
                <c:pt idx="6184">
                  <c:v>-3.2307600000000001</c:v>
                </c:pt>
                <c:pt idx="6185">
                  <c:v>-3.5465599999999999</c:v>
                </c:pt>
                <c:pt idx="6186">
                  <c:v>-3.1234000000000002</c:v>
                </c:pt>
                <c:pt idx="6187">
                  <c:v>#N/A</c:v>
                </c:pt>
                <c:pt idx="6188">
                  <c:v>-2.1222400000000001</c:v>
                </c:pt>
                <c:pt idx="6189">
                  <c:v>-1.70939</c:v>
                </c:pt>
                <c:pt idx="6190">
                  <c:v>-1.93892</c:v>
                </c:pt>
                <c:pt idx="6191">
                  <c:v>#N/A</c:v>
                </c:pt>
                <c:pt idx="6192">
                  <c:v>-2.4619300000000002</c:v>
                </c:pt>
                <c:pt idx="6193">
                  <c:v>-3.1468500000000001</c:v>
                </c:pt>
                <c:pt idx="6194">
                  <c:v>-3.3376100000000002</c:v>
                </c:pt>
                <c:pt idx="6195">
                  <c:v>#N/A</c:v>
                </c:pt>
                <c:pt idx="6196">
                  <c:v>-3.2344900000000001</c:v>
                </c:pt>
                <c:pt idx="6197">
                  <c:v>-2.77182</c:v>
                </c:pt>
                <c:pt idx="6198">
                  <c:v>-2.4634999999999998</c:v>
                </c:pt>
                <c:pt idx="6199">
                  <c:v>#N/A</c:v>
                </c:pt>
                <c:pt idx="6200">
                  <c:v>-2.1405400000000001</c:v>
                </c:pt>
                <c:pt idx="6201">
                  <c:v>-2.2719299999999998</c:v>
                </c:pt>
                <c:pt idx="6202">
                  <c:v>-3.7235399999999998</c:v>
                </c:pt>
                <c:pt idx="6203">
                  <c:v>#N/A</c:v>
                </c:pt>
                <c:pt idx="6204">
                  <c:v>-3.05396</c:v>
                </c:pt>
                <c:pt idx="6205">
                  <c:v>-3.2132399999999999</c:v>
                </c:pt>
                <c:pt idx="6206">
                  <c:v>-2.9730799999999999</c:v>
                </c:pt>
                <c:pt idx="6207">
                  <c:v>#N/A</c:v>
                </c:pt>
                <c:pt idx="6208">
                  <c:v>-2.7398099999999999</c:v>
                </c:pt>
                <c:pt idx="6209">
                  <c:v>-2.4115600000000001</c:v>
                </c:pt>
                <c:pt idx="6210">
                  <c:v>#N/A</c:v>
                </c:pt>
                <c:pt idx="6211">
                  <c:v>-3.0606100000000001</c:v>
                </c:pt>
                <c:pt idx="6212">
                  <c:v>-2.8990200000000002</c:v>
                </c:pt>
                <c:pt idx="6213">
                  <c:v>-2.4145500000000002</c:v>
                </c:pt>
                <c:pt idx="6214">
                  <c:v>#N/A</c:v>
                </c:pt>
                <c:pt idx="6215">
                  <c:v>-3.1148699999999998</c:v>
                </c:pt>
                <c:pt idx="6216">
                  <c:v>-3.1017100000000002</c:v>
                </c:pt>
                <c:pt idx="6217">
                  <c:v>-2.5626500000000001</c:v>
                </c:pt>
                <c:pt idx="6218">
                  <c:v>#N/A</c:v>
                </c:pt>
                <c:pt idx="6219">
                  <c:v>-2.0448499999999998</c:v>
                </c:pt>
                <c:pt idx="6220">
                  <c:v>-2.37418</c:v>
                </c:pt>
                <c:pt idx="6221">
                  <c:v>-2.1757599999999999</c:v>
                </c:pt>
                <c:pt idx="6222">
                  <c:v>#N/A</c:v>
                </c:pt>
                <c:pt idx="6223">
                  <c:v>-2.5451000000000001</c:v>
                </c:pt>
                <c:pt idx="6224">
                  <c:v>-2.7744599999999999</c:v>
                </c:pt>
                <c:pt idx="6225">
                  <c:v>-3.2559399999999998</c:v>
                </c:pt>
                <c:pt idx="6226">
                  <c:v>#N/A</c:v>
                </c:pt>
                <c:pt idx="6227">
                  <c:v>-2.6683400000000002</c:v>
                </c:pt>
                <c:pt idx="6228">
                  <c:v>-2.5043899999999999</c:v>
                </c:pt>
                <c:pt idx="6229">
                  <c:v>#N/A</c:v>
                </c:pt>
                <c:pt idx="6230">
                  <c:v>#N/A</c:v>
                </c:pt>
                <c:pt idx="6231">
                  <c:v>-2.08386</c:v>
                </c:pt>
                <c:pt idx="6232">
                  <c:v>-2.9285700000000001</c:v>
                </c:pt>
                <c:pt idx="6233">
                  <c:v>-3.1095299999999999</c:v>
                </c:pt>
                <c:pt idx="6234">
                  <c:v>#N/A</c:v>
                </c:pt>
                <c:pt idx="6235">
                  <c:v>-3.0930599999999999</c:v>
                </c:pt>
                <c:pt idx="6236">
                  <c:v>-2.9257200000000001</c:v>
                </c:pt>
                <c:pt idx="6237">
                  <c:v>-2.4178199999999999</c:v>
                </c:pt>
                <c:pt idx="6238">
                  <c:v>#N/A</c:v>
                </c:pt>
                <c:pt idx="6239">
                  <c:v>-2.3581500000000002</c:v>
                </c:pt>
                <c:pt idx="6240">
                  <c:v>-2.2294100000000001</c:v>
                </c:pt>
                <c:pt idx="6241">
                  <c:v>#N/A</c:v>
                </c:pt>
                <c:pt idx="6242">
                  <c:v>-2.00461</c:v>
                </c:pt>
                <c:pt idx="6243">
                  <c:v>-2.3436599999999999</c:v>
                </c:pt>
                <c:pt idx="6244">
                  <c:v>-3.3351299999999999</c:v>
                </c:pt>
                <c:pt idx="6245">
                  <c:v>#N/A</c:v>
                </c:pt>
                <c:pt idx="6246">
                  <c:v>-3.6208</c:v>
                </c:pt>
                <c:pt idx="6247">
                  <c:v>-3.3775599999999999</c:v>
                </c:pt>
                <c:pt idx="6248">
                  <c:v>-2.5741000000000001</c:v>
                </c:pt>
                <c:pt idx="6249">
                  <c:v>#N/A</c:v>
                </c:pt>
                <c:pt idx="6250">
                  <c:v>-2.0835400000000002</c:v>
                </c:pt>
                <c:pt idx="6251">
                  <c:v>-1.9984500000000001</c:v>
                </c:pt>
                <c:pt idx="6252">
                  <c:v>-1.7355499999999999</c:v>
                </c:pt>
                <c:pt idx="6253">
                  <c:v>#N/A</c:v>
                </c:pt>
                <c:pt idx="6254">
                  <c:v>-2.4572099999999999</c:v>
                </c:pt>
                <c:pt idx="6255">
                  <c:v>-2.4602400000000002</c:v>
                </c:pt>
                <c:pt idx="6256">
                  <c:v>#N/A</c:v>
                </c:pt>
                <c:pt idx="6257">
                  <c:v>-3.24824</c:v>
                </c:pt>
                <c:pt idx="6258">
                  <c:v>-3.86598</c:v>
                </c:pt>
                <c:pt idx="6259">
                  <c:v>-2.8847999999999998</c:v>
                </c:pt>
                <c:pt idx="6260">
                  <c:v>#N/A</c:v>
                </c:pt>
                <c:pt idx="6261">
                  <c:v>-2.1074000000000002</c:v>
                </c:pt>
                <c:pt idx="6262">
                  <c:v>-1.3249299999999999</c:v>
                </c:pt>
                <c:pt idx="6263">
                  <c:v>-2.0585399999999998</c:v>
                </c:pt>
                <c:pt idx="6264">
                  <c:v>#N/A</c:v>
                </c:pt>
                <c:pt idx="6265">
                  <c:v>-2.3663799999999999</c:v>
                </c:pt>
                <c:pt idx="6266">
                  <c:v>-2.9158499999999998</c:v>
                </c:pt>
                <c:pt idx="6267">
                  <c:v>-3.24288</c:v>
                </c:pt>
                <c:pt idx="6268">
                  <c:v>#N/A</c:v>
                </c:pt>
                <c:pt idx="6269">
                  <c:v>-2.6749200000000002</c:v>
                </c:pt>
                <c:pt idx="6270">
                  <c:v>-2.8096199999999998</c:v>
                </c:pt>
                <c:pt idx="6271">
                  <c:v>-2.2780300000000002</c:v>
                </c:pt>
                <c:pt idx="6272">
                  <c:v>#N/A</c:v>
                </c:pt>
                <c:pt idx="6273">
                  <c:v>-1.91021</c:v>
                </c:pt>
                <c:pt idx="6274">
                  <c:v>-1.78346</c:v>
                </c:pt>
                <c:pt idx="6275">
                  <c:v>-2.9704299999999999</c:v>
                </c:pt>
                <c:pt idx="6276">
                  <c:v>#N/A</c:v>
                </c:pt>
                <c:pt idx="6277">
                  <c:v>-3.1170499999999999</c:v>
                </c:pt>
                <c:pt idx="6278">
                  <c:v>-3.5419399999999999</c:v>
                </c:pt>
                <c:pt idx="6279">
                  <c:v>#N/A</c:v>
                </c:pt>
                <c:pt idx="6280">
                  <c:v>-3.0728300000000002</c:v>
                </c:pt>
                <c:pt idx="6281">
                  <c:v>-2.5883600000000002</c:v>
                </c:pt>
                <c:pt idx="6282">
                  <c:v>-2.0357400000000001</c:v>
                </c:pt>
                <c:pt idx="6283">
                  <c:v>#N/A</c:v>
                </c:pt>
                <c:pt idx="6284">
                  <c:v>-1.6031500000000001</c:v>
                </c:pt>
                <c:pt idx="6285">
                  <c:v>-2.0398700000000001</c:v>
                </c:pt>
                <c:pt idx="6286">
                  <c:v>-2.4459499999999998</c:v>
                </c:pt>
                <c:pt idx="6287">
                  <c:v>#N/A</c:v>
                </c:pt>
                <c:pt idx="6288">
                  <c:v>-3.03104</c:v>
                </c:pt>
                <c:pt idx="6289">
                  <c:v>-2.2993299999999999</c:v>
                </c:pt>
                <c:pt idx="6290">
                  <c:v>-2.4955099999999999</c:v>
                </c:pt>
                <c:pt idx="6291">
                  <c:v>#N/A</c:v>
                </c:pt>
                <c:pt idx="6292">
                  <c:v>-1.55122</c:v>
                </c:pt>
                <c:pt idx="6293">
                  <c:v>-1.9826900000000001</c:v>
                </c:pt>
                <c:pt idx="6294">
                  <c:v>-2.49458</c:v>
                </c:pt>
                <c:pt idx="6295">
                  <c:v>#N/A</c:v>
                </c:pt>
                <c:pt idx="6296">
                  <c:v>-2.6741299999999999</c:v>
                </c:pt>
                <c:pt idx="6297">
                  <c:v>-2.9178600000000001</c:v>
                </c:pt>
                <c:pt idx="6298">
                  <c:v>-3.1045799999999999</c:v>
                </c:pt>
                <c:pt idx="6299">
                  <c:v>#N/A</c:v>
                </c:pt>
                <c:pt idx="6300">
                  <c:v>-2.6806999999999999</c:v>
                </c:pt>
                <c:pt idx="6301">
                  <c:v>-2.0602399999999998</c:v>
                </c:pt>
                <c:pt idx="6302">
                  <c:v>-1.82311</c:v>
                </c:pt>
                <c:pt idx="6303">
                  <c:v>#N/A</c:v>
                </c:pt>
                <c:pt idx="6304">
                  <c:v>-1.9817499999999999</c:v>
                </c:pt>
                <c:pt idx="6305">
                  <c:v>#N/A</c:v>
                </c:pt>
                <c:pt idx="6306">
                  <c:v>-2.5499100000000001</c:v>
                </c:pt>
                <c:pt idx="6307">
                  <c:v>#N/A</c:v>
                </c:pt>
                <c:pt idx="6308">
                  <c:v>-2.9375</c:v>
                </c:pt>
                <c:pt idx="6309">
                  <c:v>-2.9679600000000002</c:v>
                </c:pt>
                <c:pt idx="6310">
                  <c:v>#N/A</c:v>
                </c:pt>
                <c:pt idx="6311">
                  <c:v>-2.6334900000000001</c:v>
                </c:pt>
                <c:pt idx="6312">
                  <c:v>-2.3846099999999999</c:v>
                </c:pt>
                <c:pt idx="6313">
                  <c:v>-2.2736999999999998</c:v>
                </c:pt>
                <c:pt idx="6314">
                  <c:v>#N/A</c:v>
                </c:pt>
                <c:pt idx="6315">
                  <c:v>-1.9234500000000001</c:v>
                </c:pt>
                <c:pt idx="6316">
                  <c:v>-2.78383</c:v>
                </c:pt>
                <c:pt idx="6317">
                  <c:v>-3.06833</c:v>
                </c:pt>
                <c:pt idx="6318">
                  <c:v>#N/A</c:v>
                </c:pt>
                <c:pt idx="6319">
                  <c:v>-3.0377700000000001</c:v>
                </c:pt>
                <c:pt idx="6320">
                  <c:v>-3.4053399999999998</c:v>
                </c:pt>
                <c:pt idx="6321">
                  <c:v>-2.5153099999999999</c:v>
                </c:pt>
                <c:pt idx="6322">
                  <c:v>#N/A</c:v>
                </c:pt>
                <c:pt idx="6323">
                  <c:v>-2.5815899999999998</c:v>
                </c:pt>
                <c:pt idx="6324">
                  <c:v>-2.8065899999999999</c:v>
                </c:pt>
                <c:pt idx="6325">
                  <c:v>-2.4905599999999999</c:v>
                </c:pt>
                <c:pt idx="6326">
                  <c:v>#N/A</c:v>
                </c:pt>
                <c:pt idx="6327">
                  <c:v>-1.9796100000000001</c:v>
                </c:pt>
                <c:pt idx="6328">
                  <c:v>-2.5779200000000002</c:v>
                </c:pt>
                <c:pt idx="6329">
                  <c:v>-3.0444800000000001</c:v>
                </c:pt>
                <c:pt idx="6330">
                  <c:v>#N/A</c:v>
                </c:pt>
                <c:pt idx="6331">
                  <c:v>-2.98752</c:v>
                </c:pt>
                <c:pt idx="6332">
                  <c:v>-2.5981700000000001</c:v>
                </c:pt>
                <c:pt idx="6333">
                  <c:v>-2.37582</c:v>
                </c:pt>
                <c:pt idx="6334">
                  <c:v>#N/A</c:v>
                </c:pt>
                <c:pt idx="6335">
                  <c:v>-2.0241099999999999</c:v>
                </c:pt>
                <c:pt idx="6336">
                  <c:v>-2.0485600000000002</c:v>
                </c:pt>
                <c:pt idx="6337">
                  <c:v>#N/A</c:v>
                </c:pt>
                <c:pt idx="6338">
                  <c:v>-2.9558599999999999</c:v>
                </c:pt>
                <c:pt idx="6339">
                  <c:v>-2.8708800000000001</c:v>
                </c:pt>
                <c:pt idx="6340">
                  <c:v>-2.84544</c:v>
                </c:pt>
                <c:pt idx="6341">
                  <c:v>#N/A</c:v>
                </c:pt>
                <c:pt idx="6342">
                  <c:v>-3.5746799999999999</c:v>
                </c:pt>
                <c:pt idx="6343">
                  <c:v>-2.6392099999999998</c:v>
                </c:pt>
                <c:pt idx="6344">
                  <c:v>-1.70133</c:v>
                </c:pt>
                <c:pt idx="6345">
                  <c:v>#N/A</c:v>
                </c:pt>
                <c:pt idx="6346">
                  <c:v>-1.6534599999999999</c:v>
                </c:pt>
                <c:pt idx="6347">
                  <c:v>-1.5980300000000001</c:v>
                </c:pt>
                <c:pt idx="6348">
                  <c:v>-2.3044199999999999</c:v>
                </c:pt>
                <c:pt idx="6349">
                  <c:v>#N/A</c:v>
                </c:pt>
                <c:pt idx="6350">
                  <c:v>-2.72071</c:v>
                </c:pt>
                <c:pt idx="6351">
                  <c:v>-2.6666400000000001</c:v>
                </c:pt>
                <c:pt idx="6352">
                  <c:v>-2.3088099999999998</c:v>
                </c:pt>
                <c:pt idx="6353">
                  <c:v>#N/A</c:v>
                </c:pt>
                <c:pt idx="6354">
                  <c:v>-2.4052600000000002</c:v>
                </c:pt>
                <c:pt idx="6355">
                  <c:v>-1.76864</c:v>
                </c:pt>
                <c:pt idx="6356">
                  <c:v>#N/A</c:v>
                </c:pt>
                <c:pt idx="6357">
                  <c:v>-1.7342900000000001</c:v>
                </c:pt>
                <c:pt idx="6358">
                  <c:v>-1.5495099999999999</c:v>
                </c:pt>
                <c:pt idx="6359">
                  <c:v>-2.2568199999999998</c:v>
                </c:pt>
                <c:pt idx="6360">
                  <c:v>#N/A</c:v>
                </c:pt>
                <c:pt idx="6361">
                  <c:v>-2.7624499999999999</c:v>
                </c:pt>
                <c:pt idx="6362">
                  <c:v>-2.7337699999999998</c:v>
                </c:pt>
                <c:pt idx="6363">
                  <c:v>-2.1309</c:v>
                </c:pt>
                <c:pt idx="6364">
                  <c:v>#N/A</c:v>
                </c:pt>
                <c:pt idx="6365">
                  <c:v>-2.2214900000000002</c:v>
                </c:pt>
                <c:pt idx="6366">
                  <c:v>-2.0643199999999999</c:v>
                </c:pt>
                <c:pt idx="6367">
                  <c:v>-2.43066</c:v>
                </c:pt>
                <c:pt idx="6368">
                  <c:v>#N/A</c:v>
                </c:pt>
                <c:pt idx="6369">
                  <c:v>-2.0236100000000001</c:v>
                </c:pt>
                <c:pt idx="6370">
                  <c:v>-2.6625899999999998</c:v>
                </c:pt>
                <c:pt idx="6371">
                  <c:v>-2.6229800000000001</c:v>
                </c:pt>
                <c:pt idx="6372">
                  <c:v>#N/A</c:v>
                </c:pt>
                <c:pt idx="6373">
                  <c:v>-2.76892</c:v>
                </c:pt>
                <c:pt idx="6374">
                  <c:v>-2.2663600000000002</c:v>
                </c:pt>
                <c:pt idx="6375">
                  <c:v>#N/A</c:v>
                </c:pt>
                <c:pt idx="6376">
                  <c:v>-1.51593</c:v>
                </c:pt>
                <c:pt idx="6377">
                  <c:v>-1.8771500000000001</c:v>
                </c:pt>
                <c:pt idx="6378">
                  <c:v>-2.68892</c:v>
                </c:pt>
                <c:pt idx="6379">
                  <c:v>#N/A</c:v>
                </c:pt>
                <c:pt idx="6380">
                  <c:v>-2.4544000000000001</c:v>
                </c:pt>
                <c:pt idx="6381">
                  <c:v>-2.6974499999999999</c:v>
                </c:pt>
                <c:pt idx="6382">
                  <c:v>-3.10873</c:v>
                </c:pt>
                <c:pt idx="6383">
                  <c:v>#N/A</c:v>
                </c:pt>
                <c:pt idx="6384">
                  <c:v>-3.28064</c:v>
                </c:pt>
                <c:pt idx="6385">
                  <c:v>-2.8629899999999999</c:v>
                </c:pt>
                <c:pt idx="6386">
                  <c:v>-2.20147</c:v>
                </c:pt>
                <c:pt idx="6387">
                  <c:v>#N/A</c:v>
                </c:pt>
                <c:pt idx="6388">
                  <c:v>-1.98702</c:v>
                </c:pt>
                <c:pt idx="6389">
                  <c:v>-1.81752</c:v>
                </c:pt>
                <c:pt idx="6390">
                  <c:v>-2.6448100000000001</c:v>
                </c:pt>
                <c:pt idx="6391">
                  <c:v>#N/A</c:v>
                </c:pt>
                <c:pt idx="6392">
                  <c:v>-3.3113899999999998</c:v>
                </c:pt>
                <c:pt idx="6393">
                  <c:v>-2.52989</c:v>
                </c:pt>
                <c:pt idx="6394">
                  <c:v>-2.3598599999999998</c:v>
                </c:pt>
                <c:pt idx="6395">
                  <c:v>#N/A</c:v>
                </c:pt>
                <c:pt idx="6396">
                  <c:v>-1.77902</c:v>
                </c:pt>
                <c:pt idx="6397">
                  <c:v>-1.8400399999999999</c:v>
                </c:pt>
                <c:pt idx="6398">
                  <c:v>#N/A</c:v>
                </c:pt>
                <c:pt idx="6399">
                  <c:v>-1.9228400000000001</c:v>
                </c:pt>
                <c:pt idx="6400">
                  <c:v>-1.8612899999999999</c:v>
                </c:pt>
                <c:pt idx="6401">
                  <c:v>-2.4656600000000002</c:v>
                </c:pt>
                <c:pt idx="6402">
                  <c:v>#N/A</c:v>
                </c:pt>
                <c:pt idx="6403">
                  <c:v>-2.8535200000000001</c:v>
                </c:pt>
                <c:pt idx="6404">
                  <c:v>-2.8685299999999998</c:v>
                </c:pt>
                <c:pt idx="6405">
                  <c:v>-2.11903</c:v>
                </c:pt>
                <c:pt idx="6406">
                  <c:v>#N/A</c:v>
                </c:pt>
                <c:pt idx="6407">
                  <c:v>-1.7294400000000001</c:v>
                </c:pt>
                <c:pt idx="6408">
                  <c:v>-1.5570900000000001</c:v>
                </c:pt>
                <c:pt idx="6409">
                  <c:v>-1.3404499999999999</c:v>
                </c:pt>
                <c:pt idx="6410">
                  <c:v>#N/A</c:v>
                </c:pt>
                <c:pt idx="6411">
                  <c:v>-2.5333399999999999</c:v>
                </c:pt>
                <c:pt idx="6412">
                  <c:v>-2.9471500000000002</c:v>
                </c:pt>
                <c:pt idx="6413">
                  <c:v>-3.0939199999999998</c:v>
                </c:pt>
                <c:pt idx="6414">
                  <c:v>#N/A</c:v>
                </c:pt>
                <c:pt idx="6415">
                  <c:v>-2.9774699999999998</c:v>
                </c:pt>
                <c:pt idx="6416">
                  <c:v>-2.6330300000000002</c:v>
                </c:pt>
                <c:pt idx="6417">
                  <c:v>#N/A</c:v>
                </c:pt>
                <c:pt idx="6418">
                  <c:v>-1.9038299999999999</c:v>
                </c:pt>
                <c:pt idx="6419">
                  <c:v>-2.0178699999999998</c:v>
                </c:pt>
                <c:pt idx="6420">
                  <c:v>-2.4413900000000002</c:v>
                </c:pt>
                <c:pt idx="6421">
                  <c:v>#N/A</c:v>
                </c:pt>
                <c:pt idx="6422">
                  <c:v>-2.8769300000000002</c:v>
                </c:pt>
                <c:pt idx="6423">
                  <c:v>-2.88767</c:v>
                </c:pt>
                <c:pt idx="6424">
                  <c:v>-3.3748399999999998</c:v>
                </c:pt>
                <c:pt idx="6425">
                  <c:v>#N/A</c:v>
                </c:pt>
                <c:pt idx="6426">
                  <c:v>-3.43615</c:v>
                </c:pt>
                <c:pt idx="6427">
                  <c:v>-2.49356</c:v>
                </c:pt>
                <c:pt idx="6428">
                  <c:v>-2.26064</c:v>
                </c:pt>
                <c:pt idx="6429">
                  <c:v>#N/A</c:v>
                </c:pt>
                <c:pt idx="6430">
                  <c:v>-2.00529</c:v>
                </c:pt>
                <c:pt idx="6431">
                  <c:v>-2.7852199999999998</c:v>
                </c:pt>
                <c:pt idx="6432">
                  <c:v>-2.6960700000000002</c:v>
                </c:pt>
                <c:pt idx="6433">
                  <c:v>#N/A</c:v>
                </c:pt>
                <c:pt idx="6434">
                  <c:v>-3.1463000000000001</c:v>
                </c:pt>
                <c:pt idx="6435">
                  <c:v>-2.34335</c:v>
                </c:pt>
                <c:pt idx="6436">
                  <c:v>-2.5470899999999999</c:v>
                </c:pt>
                <c:pt idx="6437">
                  <c:v>#N/A</c:v>
                </c:pt>
                <c:pt idx="6438">
                  <c:v>-2.1883900000000001</c:v>
                </c:pt>
                <c:pt idx="6439">
                  <c:v>-1.8870899999999999</c:v>
                </c:pt>
                <c:pt idx="6440">
                  <c:v>-1.7725599999999999</c:v>
                </c:pt>
                <c:pt idx="6441">
                  <c:v>#N/A</c:v>
                </c:pt>
                <c:pt idx="6442">
                  <c:v>-1.7557100000000001</c:v>
                </c:pt>
                <c:pt idx="6443">
                  <c:v>-2.5606399999999998</c:v>
                </c:pt>
                <c:pt idx="6444">
                  <c:v>-2.5398999999999998</c:v>
                </c:pt>
                <c:pt idx="6445">
                  <c:v>#N/A</c:v>
                </c:pt>
                <c:pt idx="6446">
                  <c:v>-2.7109000000000001</c:v>
                </c:pt>
                <c:pt idx="6447">
                  <c:v>-1.9410099999999999</c:v>
                </c:pt>
                <c:pt idx="6448">
                  <c:v>-2.2540200000000001</c:v>
                </c:pt>
                <c:pt idx="6449">
                  <c:v>#N/A</c:v>
                </c:pt>
                <c:pt idx="6450">
                  <c:v>-1.7146999999999999</c:v>
                </c:pt>
                <c:pt idx="6451">
                  <c:v>-2.2485599999999999</c:v>
                </c:pt>
                <c:pt idx="6452">
                  <c:v>#N/A</c:v>
                </c:pt>
                <c:pt idx="6453">
                  <c:v>-2.4088099999999999</c:v>
                </c:pt>
                <c:pt idx="6454">
                  <c:v>-2.83636</c:v>
                </c:pt>
                <c:pt idx="6455">
                  <c:v>-3.1252599999999999</c:v>
                </c:pt>
                <c:pt idx="6456">
                  <c:v>#N/A</c:v>
                </c:pt>
                <c:pt idx="6457">
                  <c:v>-3.31209</c:v>
                </c:pt>
                <c:pt idx="6458">
                  <c:v>-1.9523200000000001</c:v>
                </c:pt>
                <c:pt idx="6459">
                  <c:v>-1.68425</c:v>
                </c:pt>
                <c:pt idx="6460">
                  <c:v>#N/A</c:v>
                </c:pt>
                <c:pt idx="6461">
                  <c:v>-2.2198000000000002</c:v>
                </c:pt>
                <c:pt idx="6462">
                  <c:v>-2.2875000000000001</c:v>
                </c:pt>
                <c:pt idx="6463">
                  <c:v>-2.8738999999999999</c:v>
                </c:pt>
                <c:pt idx="6464">
                  <c:v>#N/A</c:v>
                </c:pt>
                <c:pt idx="6465">
                  <c:v>-2.7693300000000001</c:v>
                </c:pt>
                <c:pt idx="6466">
                  <c:v>-3.2536700000000001</c:v>
                </c:pt>
                <c:pt idx="6467">
                  <c:v>-2.4828399999999999</c:v>
                </c:pt>
                <c:pt idx="6468">
                  <c:v>#N/A</c:v>
                </c:pt>
                <c:pt idx="6469">
                  <c:v>-2.02176</c:v>
                </c:pt>
                <c:pt idx="6470">
                  <c:v>-1.3554600000000001</c:v>
                </c:pt>
                <c:pt idx="6471">
                  <c:v>#N/A</c:v>
                </c:pt>
                <c:pt idx="6472">
                  <c:v>-1.0346500000000001</c:v>
                </c:pt>
                <c:pt idx="6473">
                  <c:v>-1.2847200000000001</c:v>
                </c:pt>
                <c:pt idx="6474">
                  <c:v>-1.91967</c:v>
                </c:pt>
                <c:pt idx="6475">
                  <c:v>#N/A</c:v>
                </c:pt>
                <c:pt idx="6476">
                  <c:v>-2.8048299999999999</c:v>
                </c:pt>
                <c:pt idx="6477">
                  <c:v>-3.2341600000000001</c:v>
                </c:pt>
                <c:pt idx="6478">
                  <c:v>-2.5640700000000001</c:v>
                </c:pt>
                <c:pt idx="6479">
                  <c:v>#N/A</c:v>
                </c:pt>
                <c:pt idx="6480">
                  <c:v>-2.25318</c:v>
                </c:pt>
                <c:pt idx="6481">
                  <c:v>-1.61911</c:v>
                </c:pt>
                <c:pt idx="6482">
                  <c:v>-1.81718</c:v>
                </c:pt>
                <c:pt idx="6483">
                  <c:v>#N/A</c:v>
                </c:pt>
                <c:pt idx="6484">
                  <c:v>-1.2749200000000001</c:v>
                </c:pt>
                <c:pt idx="6485">
                  <c:v>-2.1839400000000002</c:v>
                </c:pt>
                <c:pt idx="6486">
                  <c:v>-2.69407</c:v>
                </c:pt>
                <c:pt idx="6487">
                  <c:v>#N/A</c:v>
                </c:pt>
                <c:pt idx="6488">
                  <c:v>-3.4464800000000002</c:v>
                </c:pt>
                <c:pt idx="6489">
                  <c:v>-2.8115299999999999</c:v>
                </c:pt>
                <c:pt idx="6490">
                  <c:v>-2.4738099999999998</c:v>
                </c:pt>
                <c:pt idx="6491">
                  <c:v>#N/A</c:v>
                </c:pt>
                <c:pt idx="6492">
                  <c:v>-2.3336000000000001</c:v>
                </c:pt>
                <c:pt idx="6493">
                  <c:v>-1.70851</c:v>
                </c:pt>
                <c:pt idx="6494">
                  <c:v>#N/A</c:v>
                </c:pt>
                <c:pt idx="6495">
                  <c:v>-2.41486</c:v>
                </c:pt>
                <c:pt idx="6496">
                  <c:v>-2.1272899999999999</c:v>
                </c:pt>
                <c:pt idx="6497">
                  <c:v>-2.3702999999999999</c:v>
                </c:pt>
                <c:pt idx="6498">
                  <c:v>#N/A</c:v>
                </c:pt>
                <c:pt idx="6499">
                  <c:v>-2.4616400000000001</c:v>
                </c:pt>
                <c:pt idx="6500">
                  <c:v>-2.6304599999999998</c:v>
                </c:pt>
                <c:pt idx="6501">
                  <c:v>#N/A</c:v>
                </c:pt>
                <c:pt idx="6502">
                  <c:v>-2.3164199999999999</c:v>
                </c:pt>
                <c:pt idx="6503">
                  <c:v>-2.4475799999999999</c:v>
                </c:pt>
                <c:pt idx="6504">
                  <c:v>-2.3015099999999999</c:v>
                </c:pt>
                <c:pt idx="6505">
                  <c:v>#N/A</c:v>
                </c:pt>
                <c:pt idx="6506">
                  <c:v>-2.6734900000000001</c:v>
                </c:pt>
                <c:pt idx="6507">
                  <c:v>-2.8883399999999999</c:v>
                </c:pt>
                <c:pt idx="6508">
                  <c:v>-2.6488999999999998</c:v>
                </c:pt>
                <c:pt idx="6509">
                  <c:v>#N/A</c:v>
                </c:pt>
                <c:pt idx="6510">
                  <c:v>-2.6660599999999999</c:v>
                </c:pt>
                <c:pt idx="6511">
                  <c:v>-1.91642</c:v>
                </c:pt>
                <c:pt idx="6512">
                  <c:v>-1.73824</c:v>
                </c:pt>
                <c:pt idx="6513">
                  <c:v>#N/A</c:v>
                </c:pt>
                <c:pt idx="6514">
                  <c:v>-1.8330500000000001</c:v>
                </c:pt>
                <c:pt idx="6515">
                  <c:v>-1.6622600000000001</c:v>
                </c:pt>
                <c:pt idx="6516">
                  <c:v>-2.4318599999999999</c:v>
                </c:pt>
                <c:pt idx="6517">
                  <c:v>#N/A</c:v>
                </c:pt>
                <c:pt idx="6518">
                  <c:v>-1.97881</c:v>
                </c:pt>
                <c:pt idx="6519">
                  <c:v>-2.3730000000000002</c:v>
                </c:pt>
                <c:pt idx="6520">
                  <c:v>-1.8927</c:v>
                </c:pt>
                <c:pt idx="6521">
                  <c:v>#N/A</c:v>
                </c:pt>
                <c:pt idx="6522">
                  <c:v>-2.05782</c:v>
                </c:pt>
                <c:pt idx="6523">
                  <c:v>-1.7055100000000001</c:v>
                </c:pt>
                <c:pt idx="6524">
                  <c:v>-2.355</c:v>
                </c:pt>
                <c:pt idx="6525">
                  <c:v>#N/A</c:v>
                </c:pt>
                <c:pt idx="6526">
                  <c:v>-2.35372</c:v>
                </c:pt>
                <c:pt idx="6527">
                  <c:v>-2.18038</c:v>
                </c:pt>
                <c:pt idx="6528">
                  <c:v>#N/A</c:v>
                </c:pt>
                <c:pt idx="6529">
                  <c:v>-2.6911</c:v>
                </c:pt>
                <c:pt idx="6530">
                  <c:v>-2.56915</c:v>
                </c:pt>
                <c:pt idx="6531">
                  <c:v>#N/A</c:v>
                </c:pt>
                <c:pt idx="6532">
                  <c:v>-1.7602100000000001</c:v>
                </c:pt>
                <c:pt idx="6533">
                  <c:v>-2.1485699999999999</c:v>
                </c:pt>
                <c:pt idx="6534">
                  <c:v>#N/A</c:v>
                </c:pt>
                <c:pt idx="6535">
                  <c:v>-2.0149400000000002</c:v>
                </c:pt>
                <c:pt idx="6536">
                  <c:v>-1.6437200000000001</c:v>
                </c:pt>
                <c:pt idx="6537">
                  <c:v>-2.6897500000000001</c:v>
                </c:pt>
                <c:pt idx="6538">
                  <c:v>#N/A</c:v>
                </c:pt>
                <c:pt idx="6539">
                  <c:v>-2.9752900000000002</c:v>
                </c:pt>
                <c:pt idx="6540">
                  <c:v>-3.2469199999999998</c:v>
                </c:pt>
                <c:pt idx="6541">
                  <c:v>-2.3251900000000001</c:v>
                </c:pt>
                <c:pt idx="6542">
                  <c:v>#N/A</c:v>
                </c:pt>
                <c:pt idx="6543">
                  <c:v>-1.9760899999999999</c:v>
                </c:pt>
                <c:pt idx="6544">
                  <c:v>-1.8150900000000001</c:v>
                </c:pt>
                <c:pt idx="6545">
                  <c:v>#N/A</c:v>
                </c:pt>
                <c:pt idx="6546">
                  <c:v>-2.45295</c:v>
                </c:pt>
                <c:pt idx="6547">
                  <c:v>-2.1375600000000001</c:v>
                </c:pt>
                <c:pt idx="6548">
                  <c:v>-3.2395399999999999</c:v>
                </c:pt>
                <c:pt idx="6549">
                  <c:v>#N/A</c:v>
                </c:pt>
                <c:pt idx="6550">
                  <c:v>-2.7757800000000001</c:v>
                </c:pt>
                <c:pt idx="6551">
                  <c:v>-2.6642000000000001</c:v>
                </c:pt>
                <c:pt idx="6552">
                  <c:v>-2.2682199999999999</c:v>
                </c:pt>
                <c:pt idx="6553">
                  <c:v>#N/A</c:v>
                </c:pt>
                <c:pt idx="6554">
                  <c:v>-1.11849</c:v>
                </c:pt>
                <c:pt idx="6555">
                  <c:v>-1.1114200000000001</c:v>
                </c:pt>
                <c:pt idx="6556">
                  <c:v>-1.30741</c:v>
                </c:pt>
                <c:pt idx="6557">
                  <c:v>#N/A</c:v>
                </c:pt>
                <c:pt idx="6558">
                  <c:v>-1.94737</c:v>
                </c:pt>
                <c:pt idx="6559">
                  <c:v>-2.2725200000000001</c:v>
                </c:pt>
                <c:pt idx="6560">
                  <c:v>-2.9288400000000001</c:v>
                </c:pt>
                <c:pt idx="6561">
                  <c:v>#N/A</c:v>
                </c:pt>
                <c:pt idx="6562">
                  <c:v>-2.9249200000000002</c:v>
                </c:pt>
                <c:pt idx="6563">
                  <c:v>-2.4977</c:v>
                </c:pt>
                <c:pt idx="6564">
                  <c:v>#N/A</c:v>
                </c:pt>
                <c:pt idx="6565">
                  <c:v>-2.2285300000000001</c:v>
                </c:pt>
                <c:pt idx="6566">
                  <c:v>-1.33324</c:v>
                </c:pt>
                <c:pt idx="6567">
                  <c:v>-2.0893099999999998</c:v>
                </c:pt>
                <c:pt idx="6568">
                  <c:v>#N/A</c:v>
                </c:pt>
                <c:pt idx="6569">
                  <c:v>-2.9462899999999999</c:v>
                </c:pt>
                <c:pt idx="6570">
                  <c:v>-3.24715</c:v>
                </c:pt>
                <c:pt idx="6571">
                  <c:v>#N/A</c:v>
                </c:pt>
                <c:pt idx="6572">
                  <c:v>-2.629</c:v>
                </c:pt>
                <c:pt idx="6573">
                  <c:v>#N/A</c:v>
                </c:pt>
                <c:pt idx="6574">
                  <c:v>-1.9714799999999999</c:v>
                </c:pt>
                <c:pt idx="6575">
                  <c:v>-1.5871900000000001</c:v>
                </c:pt>
                <c:pt idx="6576">
                  <c:v>#N/A</c:v>
                </c:pt>
                <c:pt idx="6577">
                  <c:v>-2.32308</c:v>
                </c:pt>
                <c:pt idx="6578">
                  <c:v>-1.47925</c:v>
                </c:pt>
                <c:pt idx="6579">
                  <c:v>-1.76014</c:v>
                </c:pt>
                <c:pt idx="6580">
                  <c:v>#N/A</c:v>
                </c:pt>
                <c:pt idx="6581">
                  <c:v>-2.59606</c:v>
                </c:pt>
                <c:pt idx="6582">
                  <c:v>-2.8129200000000001</c:v>
                </c:pt>
                <c:pt idx="6583">
                  <c:v>#N/A</c:v>
                </c:pt>
                <c:pt idx="6584">
                  <c:v>-2.5968399999999998</c:v>
                </c:pt>
                <c:pt idx="6585">
                  <c:v>-1.89835</c:v>
                </c:pt>
                <c:pt idx="6586">
                  <c:v>-2.0868600000000002</c:v>
                </c:pt>
                <c:pt idx="6587">
                  <c:v>#N/A</c:v>
                </c:pt>
                <c:pt idx="6588">
                  <c:v>-2.2006700000000001</c:v>
                </c:pt>
                <c:pt idx="6589">
                  <c:v>-2.4187799999999999</c:v>
                </c:pt>
                <c:pt idx="6590">
                  <c:v>-2.3375499999999998</c:v>
                </c:pt>
                <c:pt idx="6591">
                  <c:v>#N/A</c:v>
                </c:pt>
                <c:pt idx="6592">
                  <c:v>-2.4900899999999999</c:v>
                </c:pt>
                <c:pt idx="6593">
                  <c:v>-2.0705300000000002</c:v>
                </c:pt>
                <c:pt idx="6594">
                  <c:v>-2.0072199999999998</c:v>
                </c:pt>
                <c:pt idx="6595">
                  <c:v>#N/A</c:v>
                </c:pt>
                <c:pt idx="6596">
                  <c:v>-1.5140800000000001</c:v>
                </c:pt>
                <c:pt idx="6597">
                  <c:v>-1.5202599999999999</c:v>
                </c:pt>
                <c:pt idx="6598">
                  <c:v>-1.7126999999999999</c:v>
                </c:pt>
                <c:pt idx="6599">
                  <c:v>#N/A</c:v>
                </c:pt>
                <c:pt idx="6600">
                  <c:v>-2.4055200000000001</c:v>
                </c:pt>
                <c:pt idx="6601">
                  <c:v>-2.83169</c:v>
                </c:pt>
                <c:pt idx="6602">
                  <c:v>-2.22722</c:v>
                </c:pt>
                <c:pt idx="6603">
                  <c:v>#N/A</c:v>
                </c:pt>
                <c:pt idx="6604">
                  <c:v>-1.93279</c:v>
                </c:pt>
                <c:pt idx="6605">
                  <c:v>-1.6813499999999999</c:v>
                </c:pt>
                <c:pt idx="6606">
                  <c:v>#N/A</c:v>
                </c:pt>
                <c:pt idx="6607">
                  <c:v>-2.0518200000000002</c:v>
                </c:pt>
                <c:pt idx="6608">
                  <c:v>-2.1269300000000002</c:v>
                </c:pt>
                <c:pt idx="6609">
                  <c:v>#N/A</c:v>
                </c:pt>
                <c:pt idx="6610">
                  <c:v>-2.4275000000000002</c:v>
                </c:pt>
                <c:pt idx="6611">
                  <c:v>-2.8536600000000001</c:v>
                </c:pt>
                <c:pt idx="6612">
                  <c:v>-3.3323100000000001</c:v>
                </c:pt>
                <c:pt idx="6613">
                  <c:v>#N/A</c:v>
                </c:pt>
                <c:pt idx="6614">
                  <c:v>-3.4570099999999999</c:v>
                </c:pt>
                <c:pt idx="6615">
                  <c:v>-1.98664</c:v>
                </c:pt>
                <c:pt idx="6616">
                  <c:v>-1.4732000000000001</c:v>
                </c:pt>
                <c:pt idx="6617">
                  <c:v>#N/A</c:v>
                </c:pt>
                <c:pt idx="6618">
                  <c:v>-1.3020799999999999</c:v>
                </c:pt>
                <c:pt idx="6619">
                  <c:v>-1.8768899999999999</c:v>
                </c:pt>
                <c:pt idx="6620">
                  <c:v>-2.2112400000000001</c:v>
                </c:pt>
                <c:pt idx="6621">
                  <c:v>#N/A</c:v>
                </c:pt>
                <c:pt idx="6622">
                  <c:v>-3.0003899999999999</c:v>
                </c:pt>
                <c:pt idx="6623">
                  <c:v>-3.2173699999999998</c:v>
                </c:pt>
                <c:pt idx="6624">
                  <c:v>-2.8089</c:v>
                </c:pt>
                <c:pt idx="6625">
                  <c:v>#N/A</c:v>
                </c:pt>
                <c:pt idx="6626">
                  <c:v>-2.2398600000000002</c:v>
                </c:pt>
                <c:pt idx="6627">
                  <c:v>-1.56002</c:v>
                </c:pt>
                <c:pt idx="6628">
                  <c:v>-1.6862900000000001</c:v>
                </c:pt>
                <c:pt idx="6629">
                  <c:v>#N/A</c:v>
                </c:pt>
                <c:pt idx="6630">
                  <c:v>-1.68781</c:v>
                </c:pt>
                <c:pt idx="6631">
                  <c:v>-1.9374</c:v>
                </c:pt>
                <c:pt idx="6632">
                  <c:v>-2.7801900000000002</c:v>
                </c:pt>
                <c:pt idx="6633">
                  <c:v>#N/A</c:v>
                </c:pt>
                <c:pt idx="6634">
                  <c:v>-2.9442699999999999</c:v>
                </c:pt>
                <c:pt idx="6635">
                  <c:v>-2.6202999999999999</c:v>
                </c:pt>
                <c:pt idx="6636">
                  <c:v>#N/A</c:v>
                </c:pt>
                <c:pt idx="6637">
                  <c:v>-2.0251100000000002</c:v>
                </c:pt>
                <c:pt idx="6638">
                  <c:v>-1.7529999999999999</c:v>
                </c:pt>
                <c:pt idx="6639">
                  <c:v>-1.29148</c:v>
                </c:pt>
                <c:pt idx="6640">
                  <c:v>#N/A</c:v>
                </c:pt>
                <c:pt idx="6641">
                  <c:v>-1.5335799999999999</c:v>
                </c:pt>
                <c:pt idx="6642">
                  <c:v>-2.5940400000000001</c:v>
                </c:pt>
                <c:pt idx="6643">
                  <c:v>-3.4472900000000002</c:v>
                </c:pt>
                <c:pt idx="6644">
                  <c:v>#N/A</c:v>
                </c:pt>
                <c:pt idx="6645">
                  <c:v>-3.3207</c:v>
                </c:pt>
                <c:pt idx="6646">
                  <c:v>-2.9729100000000002</c:v>
                </c:pt>
                <c:pt idx="6647">
                  <c:v>-2.2995399999999999</c:v>
                </c:pt>
                <c:pt idx="6648">
                  <c:v>#N/A</c:v>
                </c:pt>
                <c:pt idx="6649">
                  <c:v>-2.1354600000000001</c:v>
                </c:pt>
                <c:pt idx="6650">
                  <c:v>-2.00902</c:v>
                </c:pt>
                <c:pt idx="6651">
                  <c:v>-1.89453</c:v>
                </c:pt>
                <c:pt idx="6652">
                  <c:v>#N/A</c:v>
                </c:pt>
                <c:pt idx="6653">
                  <c:v>-2.5044400000000002</c:v>
                </c:pt>
                <c:pt idx="6654">
                  <c:v>-2.78952</c:v>
                </c:pt>
                <c:pt idx="6655">
                  <c:v>#N/A</c:v>
                </c:pt>
                <c:pt idx="6656">
                  <c:v>-2.83142</c:v>
                </c:pt>
                <c:pt idx="6657">
                  <c:v>-1.96858</c:v>
                </c:pt>
                <c:pt idx="6658">
                  <c:v>-1.6802600000000001</c:v>
                </c:pt>
                <c:pt idx="6659">
                  <c:v>#N/A</c:v>
                </c:pt>
                <c:pt idx="6660">
                  <c:v>-1.75014</c:v>
                </c:pt>
                <c:pt idx="6661">
                  <c:v>-1.59144</c:v>
                </c:pt>
                <c:pt idx="6662">
                  <c:v>-2.3078400000000001</c:v>
                </c:pt>
                <c:pt idx="6663">
                  <c:v>#N/A</c:v>
                </c:pt>
                <c:pt idx="6664">
                  <c:v>-2.0696599999999998</c:v>
                </c:pt>
                <c:pt idx="6665">
                  <c:v>-2.0531600000000001</c:v>
                </c:pt>
                <c:pt idx="6666">
                  <c:v>-2.0256599999999998</c:v>
                </c:pt>
                <c:pt idx="6667">
                  <c:v>#N/A</c:v>
                </c:pt>
                <c:pt idx="6668">
                  <c:v>-1.9570700000000001</c:v>
                </c:pt>
                <c:pt idx="6669">
                  <c:v>-1.82152</c:v>
                </c:pt>
                <c:pt idx="6670">
                  <c:v>-2.55809</c:v>
                </c:pt>
                <c:pt idx="6671">
                  <c:v>#N/A</c:v>
                </c:pt>
                <c:pt idx="6672">
                  <c:v>-2.42441</c:v>
                </c:pt>
                <c:pt idx="6673">
                  <c:v>-2.79162</c:v>
                </c:pt>
                <c:pt idx="6674">
                  <c:v>-3.1486399999999999</c:v>
                </c:pt>
                <c:pt idx="6675">
                  <c:v>#N/A</c:v>
                </c:pt>
                <c:pt idx="6676">
                  <c:v>-1.9708000000000001</c:v>
                </c:pt>
                <c:pt idx="6677">
                  <c:v>-2.0224099999999998</c:v>
                </c:pt>
                <c:pt idx="6678">
                  <c:v>-1.9934799999999999</c:v>
                </c:pt>
                <c:pt idx="6679">
                  <c:v>#N/A</c:v>
                </c:pt>
                <c:pt idx="6680">
                  <c:v>-1.5855300000000001</c:v>
                </c:pt>
                <c:pt idx="6681">
                  <c:v>-2.11409</c:v>
                </c:pt>
                <c:pt idx="6682">
                  <c:v>-2.3604500000000002</c:v>
                </c:pt>
                <c:pt idx="6683">
                  <c:v>#N/A</c:v>
                </c:pt>
                <c:pt idx="6684">
                  <c:v>-2.8987400000000001</c:v>
                </c:pt>
                <c:pt idx="6685">
                  <c:v>-3.0638100000000001</c:v>
                </c:pt>
                <c:pt idx="6686">
                  <c:v>-2.4950199999999998</c:v>
                </c:pt>
                <c:pt idx="6687">
                  <c:v>#N/A</c:v>
                </c:pt>
                <c:pt idx="6688">
                  <c:v>-1.8266800000000001</c:v>
                </c:pt>
                <c:pt idx="6689">
                  <c:v>-1.7246699999999999</c:v>
                </c:pt>
                <c:pt idx="6690">
                  <c:v>#N/A</c:v>
                </c:pt>
                <c:pt idx="6691">
                  <c:v>-1.8312200000000001</c:v>
                </c:pt>
                <c:pt idx="6692">
                  <c:v>-1.9153500000000001</c:v>
                </c:pt>
                <c:pt idx="6693">
                  <c:v>-1.9238900000000001</c:v>
                </c:pt>
                <c:pt idx="6694">
                  <c:v>#N/A</c:v>
                </c:pt>
                <c:pt idx="6695">
                  <c:v>-2.5217700000000001</c:v>
                </c:pt>
                <c:pt idx="6696">
                  <c:v>-2.7175600000000002</c:v>
                </c:pt>
                <c:pt idx="6697">
                  <c:v>-2.4695</c:v>
                </c:pt>
                <c:pt idx="6698">
                  <c:v>#N/A</c:v>
                </c:pt>
                <c:pt idx="6699">
                  <c:v>-2.3978899999999999</c:v>
                </c:pt>
                <c:pt idx="6700">
                  <c:v>-1.2262299999999999</c:v>
                </c:pt>
                <c:pt idx="6701">
                  <c:v>#N/A</c:v>
                </c:pt>
                <c:pt idx="6702">
                  <c:v>-1.3752500000000001</c:v>
                </c:pt>
                <c:pt idx="6703">
                  <c:v>-1.3886400000000001</c:v>
                </c:pt>
                <c:pt idx="6704">
                  <c:v>-2.5923500000000002</c:v>
                </c:pt>
                <c:pt idx="6705">
                  <c:v>#N/A</c:v>
                </c:pt>
                <c:pt idx="6706">
                  <c:v>-2.5432199999999998</c:v>
                </c:pt>
                <c:pt idx="6707">
                  <c:v>-2.75936</c:v>
                </c:pt>
                <c:pt idx="6708">
                  <c:v>-2.5251000000000001</c:v>
                </c:pt>
                <c:pt idx="6709">
                  <c:v>#N/A</c:v>
                </c:pt>
                <c:pt idx="6710">
                  <c:v>-2.4870000000000001</c:v>
                </c:pt>
                <c:pt idx="6711">
                  <c:v>-1.67445</c:v>
                </c:pt>
                <c:pt idx="6712">
                  <c:v>-1.25501</c:v>
                </c:pt>
                <c:pt idx="6713">
                  <c:v>#N/A</c:v>
                </c:pt>
                <c:pt idx="6714">
                  <c:v>-1.27244</c:v>
                </c:pt>
                <c:pt idx="6715">
                  <c:v>-1.93452</c:v>
                </c:pt>
                <c:pt idx="6716">
                  <c:v>-2.5082200000000001</c:v>
                </c:pt>
                <c:pt idx="6717">
                  <c:v>#N/A</c:v>
                </c:pt>
                <c:pt idx="6718">
                  <c:v>-2.9796399999999998</c:v>
                </c:pt>
                <c:pt idx="6719">
                  <c:v>-2.5604300000000002</c:v>
                </c:pt>
                <c:pt idx="6720">
                  <c:v>-2.10589</c:v>
                </c:pt>
                <c:pt idx="6721">
                  <c:v>#N/A</c:v>
                </c:pt>
                <c:pt idx="6722">
                  <c:v>-2.0149499999999998</c:v>
                </c:pt>
                <c:pt idx="6723">
                  <c:v>-1.19794</c:v>
                </c:pt>
                <c:pt idx="6724">
                  <c:v>-1.86005</c:v>
                </c:pt>
                <c:pt idx="6725">
                  <c:v>#N/A</c:v>
                </c:pt>
                <c:pt idx="6726">
                  <c:v>-2.1821100000000002</c:v>
                </c:pt>
                <c:pt idx="6727">
                  <c:v>-2.7719499999999999</c:v>
                </c:pt>
                <c:pt idx="6728">
                  <c:v>#N/A</c:v>
                </c:pt>
                <c:pt idx="6729">
                  <c:v>-2.7118000000000002</c:v>
                </c:pt>
                <c:pt idx="6730">
                  <c:v>-2.66086</c:v>
                </c:pt>
                <c:pt idx="6731">
                  <c:v>-2.2930199999999998</c:v>
                </c:pt>
                <c:pt idx="6732">
                  <c:v>#N/A</c:v>
                </c:pt>
                <c:pt idx="6733">
                  <c:v>-1.81054</c:v>
                </c:pt>
                <c:pt idx="6734">
                  <c:v>-1.78342</c:v>
                </c:pt>
                <c:pt idx="6735">
                  <c:v>-2.2016300000000002</c:v>
                </c:pt>
                <c:pt idx="6736">
                  <c:v>#N/A</c:v>
                </c:pt>
                <c:pt idx="6737">
                  <c:v>-2.3294199999999998</c:v>
                </c:pt>
                <c:pt idx="6738">
                  <c:v>-2.6181199999999998</c:v>
                </c:pt>
                <c:pt idx="6739">
                  <c:v>-2.4597000000000002</c:v>
                </c:pt>
                <c:pt idx="6740">
                  <c:v>#N/A</c:v>
                </c:pt>
                <c:pt idx="6741">
                  <c:v>-1.9300200000000001</c:v>
                </c:pt>
                <c:pt idx="6742">
                  <c:v>-1.45228</c:v>
                </c:pt>
                <c:pt idx="6743">
                  <c:v>-1.3270500000000001</c:v>
                </c:pt>
                <c:pt idx="6744">
                  <c:v>#N/A</c:v>
                </c:pt>
                <c:pt idx="6745">
                  <c:v>-1.7408399999999999</c:v>
                </c:pt>
                <c:pt idx="6746">
                  <c:v>-2.3044799999999999</c:v>
                </c:pt>
                <c:pt idx="6747">
                  <c:v>-2.3200599999999998</c:v>
                </c:pt>
                <c:pt idx="6748">
                  <c:v>#N/A</c:v>
                </c:pt>
                <c:pt idx="6749">
                  <c:v>-2.0889799999999998</c:v>
                </c:pt>
                <c:pt idx="6750">
                  <c:v>-2.30471</c:v>
                </c:pt>
                <c:pt idx="6751">
                  <c:v>-1.9915099999999999</c:v>
                </c:pt>
                <c:pt idx="6752">
                  <c:v>#N/A</c:v>
                </c:pt>
                <c:pt idx="6753">
                  <c:v>-1.7000299999999999</c:v>
                </c:pt>
                <c:pt idx="6754">
                  <c:v>#N/A</c:v>
                </c:pt>
                <c:pt idx="6755">
                  <c:v>-2.1863100000000002</c:v>
                </c:pt>
                <c:pt idx="6756">
                  <c:v>#N/A</c:v>
                </c:pt>
                <c:pt idx="6757">
                  <c:v>-2.9308800000000002</c:v>
                </c:pt>
                <c:pt idx="6758">
                  <c:v>-2.9799899999999999</c:v>
                </c:pt>
                <c:pt idx="6759">
                  <c:v>#N/A</c:v>
                </c:pt>
                <c:pt idx="6760">
                  <c:v>-2.6031900000000001</c:v>
                </c:pt>
                <c:pt idx="6761">
                  <c:v>-1.8980699999999999</c:v>
                </c:pt>
                <c:pt idx="6762">
                  <c:v>-1.67774</c:v>
                </c:pt>
                <c:pt idx="6763">
                  <c:v>#N/A</c:v>
                </c:pt>
                <c:pt idx="6764">
                  <c:v>-1.7677700000000001</c:v>
                </c:pt>
                <c:pt idx="6765">
                  <c:v>-2.13009</c:v>
                </c:pt>
                <c:pt idx="6766">
                  <c:v>-2.38713</c:v>
                </c:pt>
                <c:pt idx="6767">
                  <c:v>#N/A</c:v>
                </c:pt>
                <c:pt idx="6768">
                  <c:v>-3.0682100000000001</c:v>
                </c:pt>
                <c:pt idx="6769">
                  <c:v>-2.3753899999999999</c:v>
                </c:pt>
                <c:pt idx="6770">
                  <c:v>-2.93479</c:v>
                </c:pt>
                <c:pt idx="6771">
                  <c:v>#N/A</c:v>
                </c:pt>
                <c:pt idx="6772">
                  <c:v>-1.4933000000000001</c:v>
                </c:pt>
                <c:pt idx="6773">
                  <c:v>-1.0457399999999999</c:v>
                </c:pt>
                <c:pt idx="6774">
                  <c:v>#N/A</c:v>
                </c:pt>
                <c:pt idx="6775">
                  <c:v>-1.1746000000000001</c:v>
                </c:pt>
                <c:pt idx="6776">
                  <c:v>-1.04715</c:v>
                </c:pt>
                <c:pt idx="6777">
                  <c:v>-1.91317</c:v>
                </c:pt>
                <c:pt idx="6778">
                  <c:v>#N/A</c:v>
                </c:pt>
                <c:pt idx="6779">
                  <c:v>-2.2080299999999999</c:v>
                </c:pt>
                <c:pt idx="6780">
                  <c:v>-2.9074</c:v>
                </c:pt>
                <c:pt idx="6781">
                  <c:v>-2.22601</c:v>
                </c:pt>
                <c:pt idx="6782">
                  <c:v>#N/A</c:v>
                </c:pt>
                <c:pt idx="6783">
                  <c:v>-2.0966499999999999</c:v>
                </c:pt>
                <c:pt idx="6784">
                  <c:v>-1.9159900000000001</c:v>
                </c:pt>
                <c:pt idx="6785">
                  <c:v>-1.08141</c:v>
                </c:pt>
                <c:pt idx="6786">
                  <c:v>#N/A</c:v>
                </c:pt>
                <c:pt idx="6787">
                  <c:v>-1.24688</c:v>
                </c:pt>
                <c:pt idx="6788">
                  <c:v>-1.9547099999999999</c:v>
                </c:pt>
                <c:pt idx="6789">
                  <c:v>-2.8530799999999998</c:v>
                </c:pt>
                <c:pt idx="6790">
                  <c:v>#N/A</c:v>
                </c:pt>
                <c:pt idx="6791">
                  <c:v>-2.4978199999999999</c:v>
                </c:pt>
                <c:pt idx="6792">
                  <c:v>-3.0561699999999998</c:v>
                </c:pt>
                <c:pt idx="6793">
                  <c:v>-2.44293</c:v>
                </c:pt>
                <c:pt idx="6794">
                  <c:v>#N/A</c:v>
                </c:pt>
                <c:pt idx="6795">
                  <c:v>-1.9418200000000001</c:v>
                </c:pt>
                <c:pt idx="6796">
                  <c:v>-0.96442600000000001</c:v>
                </c:pt>
                <c:pt idx="6797">
                  <c:v>-1.10893</c:v>
                </c:pt>
                <c:pt idx="6798">
                  <c:v>#N/A</c:v>
                </c:pt>
                <c:pt idx="6799">
                  <c:v>-1.1831400000000001</c:v>
                </c:pt>
                <c:pt idx="6800">
                  <c:v>-2.32416</c:v>
                </c:pt>
                <c:pt idx="6801">
                  <c:v>-2.2435900000000002</c:v>
                </c:pt>
                <c:pt idx="6802">
                  <c:v>#N/A</c:v>
                </c:pt>
                <c:pt idx="6803">
                  <c:v>-2.0200900000000002</c:v>
                </c:pt>
                <c:pt idx="6804">
                  <c:v>-2.11835</c:v>
                </c:pt>
                <c:pt idx="6805">
                  <c:v>-1.8019400000000001</c:v>
                </c:pt>
                <c:pt idx="6806">
                  <c:v>#N/A</c:v>
                </c:pt>
                <c:pt idx="6807">
                  <c:v>-2.00339</c:v>
                </c:pt>
                <c:pt idx="6808">
                  <c:v>-2.0492900000000001</c:v>
                </c:pt>
                <c:pt idx="6809">
                  <c:v>#N/A</c:v>
                </c:pt>
                <c:pt idx="6810">
                  <c:v>-2.1723699999999999</c:v>
                </c:pt>
                <c:pt idx="6811">
                  <c:v>-2.5009100000000002</c:v>
                </c:pt>
                <c:pt idx="6812">
                  <c:v>-2.6932800000000001</c:v>
                </c:pt>
                <c:pt idx="6813">
                  <c:v>#N/A</c:v>
                </c:pt>
                <c:pt idx="6814">
                  <c:v>-2.9180700000000002</c:v>
                </c:pt>
                <c:pt idx="6815">
                  <c:v>-1.90642</c:v>
                </c:pt>
                <c:pt idx="6816">
                  <c:v>-1.8952899999999999</c:v>
                </c:pt>
                <c:pt idx="6817">
                  <c:v>#N/A</c:v>
                </c:pt>
                <c:pt idx="6818">
                  <c:v>-2.33453</c:v>
                </c:pt>
                <c:pt idx="6819">
                  <c:v>-1.97624</c:v>
                </c:pt>
                <c:pt idx="6820">
                  <c:v>-2.28633</c:v>
                </c:pt>
                <c:pt idx="6821">
                  <c:v>#N/A</c:v>
                </c:pt>
                <c:pt idx="6822">
                  <c:v>-1.9054599999999999</c:v>
                </c:pt>
                <c:pt idx="6823">
                  <c:v>-1.90185</c:v>
                </c:pt>
                <c:pt idx="6824">
                  <c:v>-1.6996</c:v>
                </c:pt>
                <c:pt idx="6825">
                  <c:v>#N/A</c:v>
                </c:pt>
                <c:pt idx="6826">
                  <c:v>-1.9534100000000001</c:v>
                </c:pt>
                <c:pt idx="6827">
                  <c:v>-1.3369500000000001</c:v>
                </c:pt>
                <c:pt idx="6828">
                  <c:v>-1.77698</c:v>
                </c:pt>
                <c:pt idx="6829">
                  <c:v>#N/A</c:v>
                </c:pt>
                <c:pt idx="6830">
                  <c:v>-2.5882999999999998</c:v>
                </c:pt>
                <c:pt idx="6831">
                  <c:v>#N/A</c:v>
                </c:pt>
                <c:pt idx="6832">
                  <c:v>-2.6494800000000001</c:v>
                </c:pt>
                <c:pt idx="6833">
                  <c:v>-2.0349900000000001</c:v>
                </c:pt>
                <c:pt idx="6834">
                  <c:v>-1.7187699999999999</c:v>
                </c:pt>
                <c:pt idx="6835">
                  <c:v>#N/A</c:v>
                </c:pt>
                <c:pt idx="6836">
                  <c:v>-1.6002400000000001</c:v>
                </c:pt>
                <c:pt idx="6837">
                  <c:v>-1.1947700000000001</c:v>
                </c:pt>
                <c:pt idx="6838">
                  <c:v>-1.79549</c:v>
                </c:pt>
                <c:pt idx="6839">
                  <c:v>#N/A</c:v>
                </c:pt>
                <c:pt idx="6840">
                  <c:v>-2.2864499999999999</c:v>
                </c:pt>
                <c:pt idx="6841">
                  <c:v>-2.71407</c:v>
                </c:pt>
                <c:pt idx="6842">
                  <c:v>#N/A</c:v>
                </c:pt>
                <c:pt idx="6843">
                  <c:v>-2.8847299999999998</c:v>
                </c:pt>
                <c:pt idx="6844">
                  <c:v>-2.3860700000000001</c:v>
                </c:pt>
                <c:pt idx="6845">
                  <c:v>-2.1680799999999998</c:v>
                </c:pt>
                <c:pt idx="6846">
                  <c:v>#N/A</c:v>
                </c:pt>
                <c:pt idx="6847">
                  <c:v>-0.89646300000000001</c:v>
                </c:pt>
                <c:pt idx="6848">
                  <c:v>-1.01685</c:v>
                </c:pt>
                <c:pt idx="6849">
                  <c:v>-1.32561</c:v>
                </c:pt>
                <c:pt idx="6850">
                  <c:v>#N/A</c:v>
                </c:pt>
                <c:pt idx="6851">
                  <c:v>-2.0470799999999998</c:v>
                </c:pt>
                <c:pt idx="6852">
                  <c:v>-2.3953899999999999</c:v>
                </c:pt>
                <c:pt idx="6853">
                  <c:v>-2.7580100000000001</c:v>
                </c:pt>
                <c:pt idx="6854">
                  <c:v>#N/A</c:v>
                </c:pt>
                <c:pt idx="6855">
                  <c:v>-2.1588500000000002</c:v>
                </c:pt>
                <c:pt idx="6856">
                  <c:v>-1.8350200000000001</c:v>
                </c:pt>
                <c:pt idx="6857">
                  <c:v>-1.8403499999999999</c:v>
                </c:pt>
                <c:pt idx="6858">
                  <c:v>#N/A</c:v>
                </c:pt>
                <c:pt idx="6859">
                  <c:v>-1.1628499999999999</c:v>
                </c:pt>
                <c:pt idx="6860">
                  <c:v>-1.5685</c:v>
                </c:pt>
                <c:pt idx="6861">
                  <c:v>-2.6358000000000001</c:v>
                </c:pt>
                <c:pt idx="6862">
                  <c:v>#N/A</c:v>
                </c:pt>
                <c:pt idx="6863">
                  <c:v>-2.9175300000000002</c:v>
                </c:pt>
                <c:pt idx="6864">
                  <c:v>-3.4535399999999998</c:v>
                </c:pt>
                <c:pt idx="6865">
                  <c:v>-3.11957</c:v>
                </c:pt>
                <c:pt idx="6866">
                  <c:v>#N/A</c:v>
                </c:pt>
                <c:pt idx="6867">
                  <c:v>-2.0632799999999998</c:v>
                </c:pt>
                <c:pt idx="6868">
                  <c:v>-1.5727199999999999</c:v>
                </c:pt>
                <c:pt idx="6869">
                  <c:v>-1.7005300000000001</c:v>
                </c:pt>
                <c:pt idx="6870">
                  <c:v>#N/A</c:v>
                </c:pt>
                <c:pt idx="6871">
                  <c:v>-2.7772399999999999</c:v>
                </c:pt>
                <c:pt idx="6872">
                  <c:v>-2.61511</c:v>
                </c:pt>
                <c:pt idx="6873">
                  <c:v>#N/A</c:v>
                </c:pt>
                <c:pt idx="6874">
                  <c:v>-2.6717599999999999</c:v>
                </c:pt>
                <c:pt idx="6875">
                  <c:v>-3.2323400000000002</c:v>
                </c:pt>
                <c:pt idx="6876">
                  <c:v>-2.9088500000000002</c:v>
                </c:pt>
                <c:pt idx="6877">
                  <c:v>#N/A</c:v>
                </c:pt>
                <c:pt idx="6878">
                  <c:v>-2.4148200000000002</c:v>
                </c:pt>
                <c:pt idx="6879">
                  <c:v>-1.9705900000000001</c:v>
                </c:pt>
                <c:pt idx="6880">
                  <c:v>-1.92117</c:v>
                </c:pt>
                <c:pt idx="6881">
                  <c:v>#N/A</c:v>
                </c:pt>
                <c:pt idx="6882">
                  <c:v>-1.9603900000000001</c:v>
                </c:pt>
                <c:pt idx="6883">
                  <c:v>-2.3161900000000002</c:v>
                </c:pt>
                <c:pt idx="6884">
                  <c:v>-2.4443100000000002</c:v>
                </c:pt>
                <c:pt idx="6885">
                  <c:v>#N/A</c:v>
                </c:pt>
                <c:pt idx="6886">
                  <c:v>-2.4693399999999999</c:v>
                </c:pt>
                <c:pt idx="6887">
                  <c:v>-2.1422300000000001</c:v>
                </c:pt>
                <c:pt idx="6888">
                  <c:v>-1.83507</c:v>
                </c:pt>
                <c:pt idx="6889">
                  <c:v>#N/A</c:v>
                </c:pt>
                <c:pt idx="6890">
                  <c:v>-2.1271100000000001</c:v>
                </c:pt>
                <c:pt idx="6891">
                  <c:v>-2.1819700000000002</c:v>
                </c:pt>
                <c:pt idx="6892">
                  <c:v>-1.93211</c:v>
                </c:pt>
                <c:pt idx="6893">
                  <c:v>#N/A</c:v>
                </c:pt>
                <c:pt idx="6894">
                  <c:v>-2.5066099999999998</c:v>
                </c:pt>
                <c:pt idx="6895">
                  <c:v>-1.89513</c:v>
                </c:pt>
                <c:pt idx="6896">
                  <c:v>-1.86415</c:v>
                </c:pt>
                <c:pt idx="6897">
                  <c:v>#N/A</c:v>
                </c:pt>
                <c:pt idx="6898">
                  <c:v>-1.7134400000000001</c:v>
                </c:pt>
                <c:pt idx="6899">
                  <c:v>-1.5633600000000001</c:v>
                </c:pt>
                <c:pt idx="6900">
                  <c:v>-1.8392999999999999</c:v>
                </c:pt>
                <c:pt idx="6901">
                  <c:v>#N/A</c:v>
                </c:pt>
                <c:pt idx="6902">
                  <c:v>-1.8584099999999999</c:v>
                </c:pt>
                <c:pt idx="6903">
                  <c:v>-2.3054399999999999</c:v>
                </c:pt>
                <c:pt idx="6904">
                  <c:v>#N/A</c:v>
                </c:pt>
                <c:pt idx="6905">
                  <c:v>-2.2700300000000002</c:v>
                </c:pt>
                <c:pt idx="6906">
                  <c:v>#N/A</c:v>
                </c:pt>
                <c:pt idx="6907">
                  <c:v>-1.40621</c:v>
                </c:pt>
                <c:pt idx="6908">
                  <c:v>-1.60697</c:v>
                </c:pt>
                <c:pt idx="6909">
                  <c:v>#N/A</c:v>
                </c:pt>
                <c:pt idx="6910">
                  <c:v>-1.8433900000000001</c:v>
                </c:pt>
                <c:pt idx="6911">
                  <c:v>-2.0528499999999998</c:v>
                </c:pt>
                <c:pt idx="6912">
                  <c:v>-1.68675</c:v>
                </c:pt>
                <c:pt idx="6913">
                  <c:v>#N/A</c:v>
                </c:pt>
                <c:pt idx="6914">
                  <c:v>-2.9068499999999999</c:v>
                </c:pt>
                <c:pt idx="6915">
                  <c:v>-3.4385300000000001</c:v>
                </c:pt>
                <c:pt idx="6916">
                  <c:v>-3.1857000000000002</c:v>
                </c:pt>
                <c:pt idx="6917">
                  <c:v>#N/A</c:v>
                </c:pt>
                <c:pt idx="6918">
                  <c:v>-2.0901000000000001</c:v>
                </c:pt>
                <c:pt idx="6919">
                  <c:v>-1.32521</c:v>
                </c:pt>
                <c:pt idx="6920">
                  <c:v>-1.2713699999999999</c:v>
                </c:pt>
                <c:pt idx="6921">
                  <c:v>#N/A</c:v>
                </c:pt>
                <c:pt idx="6922">
                  <c:v>-1.94831</c:v>
                </c:pt>
                <c:pt idx="6923">
                  <c:v>-2.0862400000000001</c:v>
                </c:pt>
                <c:pt idx="6924">
                  <c:v>-2.5608900000000001</c:v>
                </c:pt>
                <c:pt idx="6925">
                  <c:v>#N/A</c:v>
                </c:pt>
                <c:pt idx="6926">
                  <c:v>-3.2255400000000001</c:v>
                </c:pt>
                <c:pt idx="6927">
                  <c:v>-2.9518599999999999</c:v>
                </c:pt>
                <c:pt idx="6928">
                  <c:v>-2.26912</c:v>
                </c:pt>
                <c:pt idx="6929">
                  <c:v>#N/A</c:v>
                </c:pt>
                <c:pt idx="6930">
                  <c:v>-1.3365400000000001</c:v>
                </c:pt>
                <c:pt idx="6931">
                  <c:v>-1.2674000000000001</c:v>
                </c:pt>
                <c:pt idx="6932">
                  <c:v>#N/A</c:v>
                </c:pt>
                <c:pt idx="6933">
                  <c:v>-1.6911700000000001</c:v>
                </c:pt>
                <c:pt idx="6934">
                  <c:v>-2.0458799999999999</c:v>
                </c:pt>
                <c:pt idx="6935">
                  <c:v>-2.7820999999999998</c:v>
                </c:pt>
                <c:pt idx="6936">
                  <c:v>#N/A</c:v>
                </c:pt>
                <c:pt idx="6937">
                  <c:v>-2.7341500000000001</c:v>
                </c:pt>
                <c:pt idx="6938">
                  <c:v>-2.8014199999999998</c:v>
                </c:pt>
                <c:pt idx="6939">
                  <c:v>-2.8949799999999999</c:v>
                </c:pt>
                <c:pt idx="6940">
                  <c:v>#N/A</c:v>
                </c:pt>
                <c:pt idx="6941">
                  <c:v>-2.2080600000000001</c:v>
                </c:pt>
                <c:pt idx="6942">
                  <c:v>-1.95279</c:v>
                </c:pt>
                <c:pt idx="6943">
                  <c:v>-2.0621399999999999</c:v>
                </c:pt>
                <c:pt idx="6944">
                  <c:v>#N/A</c:v>
                </c:pt>
                <c:pt idx="6945">
                  <c:v>-2.8290700000000002</c:v>
                </c:pt>
                <c:pt idx="6946">
                  <c:v>-3.1268699999999998</c:v>
                </c:pt>
                <c:pt idx="6947">
                  <c:v>-3.2855400000000001</c:v>
                </c:pt>
                <c:pt idx="6948">
                  <c:v>#N/A</c:v>
                </c:pt>
                <c:pt idx="6949">
                  <c:v>-3.0588600000000001</c:v>
                </c:pt>
                <c:pt idx="6950">
                  <c:v>-2.43031</c:v>
                </c:pt>
                <c:pt idx="6951">
                  <c:v>-2.2100499999999998</c:v>
                </c:pt>
                <c:pt idx="6952">
                  <c:v>#N/A</c:v>
                </c:pt>
                <c:pt idx="6953">
                  <c:v>-1.56073</c:v>
                </c:pt>
                <c:pt idx="6954">
                  <c:v>-1.60432</c:v>
                </c:pt>
                <c:pt idx="6955">
                  <c:v>-1.6441699999999999</c:v>
                </c:pt>
                <c:pt idx="6956">
                  <c:v>#N/A</c:v>
                </c:pt>
                <c:pt idx="6957">
                  <c:v>-2.4103500000000002</c:v>
                </c:pt>
                <c:pt idx="6958">
                  <c:v>-2.3009300000000001</c:v>
                </c:pt>
                <c:pt idx="6959">
                  <c:v>-1.6920200000000001</c:v>
                </c:pt>
                <c:pt idx="6960">
                  <c:v>#N/A</c:v>
                </c:pt>
                <c:pt idx="6961">
                  <c:v>-1.50912</c:v>
                </c:pt>
                <c:pt idx="6962">
                  <c:v>-1.7625999999999999</c:v>
                </c:pt>
                <c:pt idx="6963">
                  <c:v>#N/A</c:v>
                </c:pt>
                <c:pt idx="6964">
                  <c:v>-2.26918</c:v>
                </c:pt>
                <c:pt idx="6965">
                  <c:v>-2.12818</c:v>
                </c:pt>
                <c:pt idx="6966">
                  <c:v>-2.5822099999999999</c:v>
                </c:pt>
                <c:pt idx="6967">
                  <c:v>#N/A</c:v>
                </c:pt>
                <c:pt idx="6968">
                  <c:v>-2.4651900000000002</c:v>
                </c:pt>
                <c:pt idx="6969">
                  <c:v>-2.91838</c:v>
                </c:pt>
                <c:pt idx="6970">
                  <c:v>-2.5722200000000002</c:v>
                </c:pt>
                <c:pt idx="6971">
                  <c:v>#N/A</c:v>
                </c:pt>
                <c:pt idx="6972">
                  <c:v>-2.0652699999999999</c:v>
                </c:pt>
                <c:pt idx="6973">
                  <c:v>-2.0173399999999999</c:v>
                </c:pt>
                <c:pt idx="6974">
                  <c:v>#N/A</c:v>
                </c:pt>
                <c:pt idx="6975">
                  <c:v>-2.5691099999999998</c:v>
                </c:pt>
                <c:pt idx="6976">
                  <c:v>-2.96136</c:v>
                </c:pt>
                <c:pt idx="6977">
                  <c:v>-3.14438</c:v>
                </c:pt>
                <c:pt idx="6978">
                  <c:v>#N/A</c:v>
                </c:pt>
                <c:pt idx="6979">
                  <c:v>-3.18283</c:v>
                </c:pt>
                <c:pt idx="6980">
                  <c:v>-2.2893300000000001</c:v>
                </c:pt>
                <c:pt idx="6981">
                  <c:v>#N/A</c:v>
                </c:pt>
                <c:pt idx="6982">
                  <c:v>-1.8680399999999999</c:v>
                </c:pt>
                <c:pt idx="6983">
                  <c:v>#N/A</c:v>
                </c:pt>
                <c:pt idx="6984">
                  <c:v>-2.1110799999999998</c:v>
                </c:pt>
                <c:pt idx="6985">
                  <c:v>-2.5173000000000001</c:v>
                </c:pt>
                <c:pt idx="6986">
                  <c:v>-3.3560300000000001</c:v>
                </c:pt>
                <c:pt idx="6987">
                  <c:v>#N/A</c:v>
                </c:pt>
                <c:pt idx="6988">
                  <c:v>-3.2499400000000001</c:v>
                </c:pt>
                <c:pt idx="6989">
                  <c:v>-3.21835</c:v>
                </c:pt>
                <c:pt idx="6990">
                  <c:v>-2.4420600000000001</c:v>
                </c:pt>
                <c:pt idx="6991">
                  <c:v>#N/A</c:v>
                </c:pt>
                <c:pt idx="6992">
                  <c:v>-2.5071599999999998</c:v>
                </c:pt>
                <c:pt idx="6993">
                  <c:v>-2.4451900000000002</c:v>
                </c:pt>
                <c:pt idx="6994">
                  <c:v>#N/A</c:v>
                </c:pt>
                <c:pt idx="6995">
                  <c:v>-2.4223300000000001</c:v>
                </c:pt>
                <c:pt idx="6996">
                  <c:v>-2.9399299999999999</c:v>
                </c:pt>
                <c:pt idx="6997">
                  <c:v>-2.7330999999999999</c:v>
                </c:pt>
                <c:pt idx="6998">
                  <c:v>#N/A</c:v>
                </c:pt>
                <c:pt idx="6999">
                  <c:v>-3.5321799999999999</c:v>
                </c:pt>
                <c:pt idx="7000">
                  <c:v>-3.36259</c:v>
                </c:pt>
                <c:pt idx="7001">
                  <c:v>-2.51559</c:v>
                </c:pt>
                <c:pt idx="7002">
                  <c:v>#N/A</c:v>
                </c:pt>
                <c:pt idx="7003">
                  <c:v>-2.4459200000000001</c:v>
                </c:pt>
                <c:pt idx="7004">
                  <c:v>-1.6522399999999999</c:v>
                </c:pt>
                <c:pt idx="7005">
                  <c:v>-2.2568899999999998</c:v>
                </c:pt>
                <c:pt idx="7006">
                  <c:v>#N/A</c:v>
                </c:pt>
                <c:pt idx="7007">
                  <c:v>-2.4620500000000001</c:v>
                </c:pt>
                <c:pt idx="7008">
                  <c:v>-3.5832099999999998</c:v>
                </c:pt>
                <c:pt idx="7009">
                  <c:v>#N/A</c:v>
                </c:pt>
                <c:pt idx="7010">
                  <c:v>-3.5105300000000002</c:v>
                </c:pt>
                <c:pt idx="7011">
                  <c:v>-3.8003200000000001</c:v>
                </c:pt>
                <c:pt idx="7012">
                  <c:v>-3.25563</c:v>
                </c:pt>
                <c:pt idx="7013">
                  <c:v>#N/A</c:v>
                </c:pt>
                <c:pt idx="7014">
                  <c:v>-2.59334</c:v>
                </c:pt>
                <c:pt idx="7015">
                  <c:v>-2.2228300000000001</c:v>
                </c:pt>
                <c:pt idx="7016">
                  <c:v>-1.96174</c:v>
                </c:pt>
                <c:pt idx="7017">
                  <c:v>#N/A</c:v>
                </c:pt>
                <c:pt idx="7018">
                  <c:v>-2.5434399999999999</c:v>
                </c:pt>
                <c:pt idx="7019">
                  <c:v>-3.13489</c:v>
                </c:pt>
                <c:pt idx="7020">
                  <c:v>-3.2860499999999999</c:v>
                </c:pt>
                <c:pt idx="7021">
                  <c:v>#N/A</c:v>
                </c:pt>
                <c:pt idx="7022">
                  <c:v>-2.49403</c:v>
                </c:pt>
                <c:pt idx="7023">
                  <c:v>-2.7443499999999998</c:v>
                </c:pt>
                <c:pt idx="7024">
                  <c:v>-2.18798</c:v>
                </c:pt>
                <c:pt idx="7025">
                  <c:v>#N/A</c:v>
                </c:pt>
                <c:pt idx="7026">
                  <c:v>-2.1998099999999998</c:v>
                </c:pt>
                <c:pt idx="7027">
                  <c:v>-1.9336</c:v>
                </c:pt>
                <c:pt idx="7028">
                  <c:v>-1.8798900000000001</c:v>
                </c:pt>
                <c:pt idx="7029">
                  <c:v>#N/A</c:v>
                </c:pt>
                <c:pt idx="7030">
                  <c:v>-2.9598100000000001</c:v>
                </c:pt>
                <c:pt idx="7031">
                  <c:v>-3.01302</c:v>
                </c:pt>
                <c:pt idx="7032">
                  <c:v>#N/A</c:v>
                </c:pt>
                <c:pt idx="7033">
                  <c:v>-2.08047</c:v>
                </c:pt>
                <c:pt idx="7034">
                  <c:v>-2.28301</c:v>
                </c:pt>
                <c:pt idx="7035">
                  <c:v>-2.1023499999999999</c:v>
                </c:pt>
                <c:pt idx="7036">
                  <c:v>#N/A</c:v>
                </c:pt>
                <c:pt idx="7037">
                  <c:v>-2.7654200000000002</c:v>
                </c:pt>
                <c:pt idx="7038">
                  <c:v>-2.7509800000000002</c:v>
                </c:pt>
                <c:pt idx="7039">
                  <c:v>-3.0272000000000001</c:v>
                </c:pt>
                <c:pt idx="7040">
                  <c:v>#N/A</c:v>
                </c:pt>
                <c:pt idx="7041">
                  <c:v>-2.2920400000000001</c:v>
                </c:pt>
                <c:pt idx="7042">
                  <c:v>-2.8003399999999998</c:v>
                </c:pt>
                <c:pt idx="7043">
                  <c:v>-2.4957600000000002</c:v>
                </c:pt>
                <c:pt idx="7044">
                  <c:v>#N/A</c:v>
                </c:pt>
                <c:pt idx="7045">
                  <c:v>-1.9165399999999999</c:v>
                </c:pt>
                <c:pt idx="7046">
                  <c:v>-2.7426300000000001</c:v>
                </c:pt>
                <c:pt idx="7047">
                  <c:v>#N/A</c:v>
                </c:pt>
                <c:pt idx="7048">
                  <c:v>-3.1255000000000002</c:v>
                </c:pt>
                <c:pt idx="7049">
                  <c:v>-3.3495499999999998</c:v>
                </c:pt>
                <c:pt idx="7050">
                  <c:v>-3.0516700000000001</c:v>
                </c:pt>
                <c:pt idx="7051">
                  <c:v>#N/A</c:v>
                </c:pt>
                <c:pt idx="7052">
                  <c:v>-3.3711500000000001</c:v>
                </c:pt>
                <c:pt idx="7053">
                  <c:v>-3.1133199999999999</c:v>
                </c:pt>
                <c:pt idx="7054">
                  <c:v>-2.0828500000000001</c:v>
                </c:pt>
                <c:pt idx="7055">
                  <c:v>#N/A</c:v>
                </c:pt>
                <c:pt idx="7056">
                  <c:v>-2.1773600000000002</c:v>
                </c:pt>
                <c:pt idx="7057">
                  <c:v>#N/A</c:v>
                </c:pt>
                <c:pt idx="7058">
                  <c:v>-2.4471599999999998</c:v>
                </c:pt>
                <c:pt idx="7059">
                  <c:v>-2.4576099999999999</c:v>
                </c:pt>
                <c:pt idx="7060">
                  <c:v>-3.0569999999999999</c:v>
                </c:pt>
                <c:pt idx="7061">
                  <c:v>#N/A</c:v>
                </c:pt>
                <c:pt idx="7062">
                  <c:v>-3.12012</c:v>
                </c:pt>
                <c:pt idx="7063">
                  <c:v>-2.50935</c:v>
                </c:pt>
                <c:pt idx="7064">
                  <c:v>-2.4575999999999998</c:v>
                </c:pt>
                <c:pt idx="7065">
                  <c:v>#N/A</c:v>
                </c:pt>
                <c:pt idx="7066">
                  <c:v>-1.5746</c:v>
                </c:pt>
                <c:pt idx="7067">
                  <c:v>-1.83548</c:v>
                </c:pt>
                <c:pt idx="7068">
                  <c:v>-2.24342</c:v>
                </c:pt>
                <c:pt idx="7069">
                  <c:v>#N/A</c:v>
                </c:pt>
                <c:pt idx="7070">
                  <c:v>-2.8230300000000002</c:v>
                </c:pt>
                <c:pt idx="7071">
                  <c:v>-2.3718400000000002</c:v>
                </c:pt>
                <c:pt idx="7072">
                  <c:v>-2.7952900000000001</c:v>
                </c:pt>
                <c:pt idx="7073">
                  <c:v>#N/A</c:v>
                </c:pt>
                <c:pt idx="7074">
                  <c:v>-2.9890099999999999</c:v>
                </c:pt>
                <c:pt idx="7075">
                  <c:v>-2.4676399999999998</c:v>
                </c:pt>
                <c:pt idx="7076">
                  <c:v>-1.91381</c:v>
                </c:pt>
                <c:pt idx="7077">
                  <c:v>#N/A</c:v>
                </c:pt>
                <c:pt idx="7078">
                  <c:v>-1.4629000000000001</c:v>
                </c:pt>
                <c:pt idx="7079">
                  <c:v>-1.7287300000000001</c:v>
                </c:pt>
                <c:pt idx="7080">
                  <c:v>-2.3880499999999998</c:v>
                </c:pt>
                <c:pt idx="7081">
                  <c:v>#N/A</c:v>
                </c:pt>
                <c:pt idx="7082">
                  <c:v>-2.9911799999999999</c:v>
                </c:pt>
                <c:pt idx="7083">
                  <c:v>-2.8065099999999998</c:v>
                </c:pt>
                <c:pt idx="7084">
                  <c:v>#N/A</c:v>
                </c:pt>
                <c:pt idx="7085">
                  <c:v>-2.2988900000000001</c:v>
                </c:pt>
                <c:pt idx="7086">
                  <c:v>-2.4416600000000002</c:v>
                </c:pt>
                <c:pt idx="7087">
                  <c:v>-2.1649500000000002</c:v>
                </c:pt>
                <c:pt idx="7088">
                  <c:v>#N/A</c:v>
                </c:pt>
                <c:pt idx="7089">
                  <c:v>-1.90401</c:v>
                </c:pt>
                <c:pt idx="7090">
                  <c:v>-2.16222</c:v>
                </c:pt>
                <c:pt idx="7091">
                  <c:v>-2.4870299999999999</c:v>
                </c:pt>
                <c:pt idx="7092">
                  <c:v>#N/A</c:v>
                </c:pt>
                <c:pt idx="7093">
                  <c:v>-3.1346599999999998</c:v>
                </c:pt>
                <c:pt idx="7094">
                  <c:v>-3.2067899999999998</c:v>
                </c:pt>
                <c:pt idx="7095">
                  <c:v>-2.9012699999999998</c:v>
                </c:pt>
                <c:pt idx="7096">
                  <c:v>#N/A</c:v>
                </c:pt>
                <c:pt idx="7097">
                  <c:v>-1.8772599999999999</c:v>
                </c:pt>
                <c:pt idx="7098">
                  <c:v>-1.8792</c:v>
                </c:pt>
                <c:pt idx="7099">
                  <c:v>-2.33927</c:v>
                </c:pt>
                <c:pt idx="7100">
                  <c:v>#N/A</c:v>
                </c:pt>
                <c:pt idx="7101">
                  <c:v>-2.0177999999999998</c:v>
                </c:pt>
                <c:pt idx="7102">
                  <c:v>-3.2720400000000001</c:v>
                </c:pt>
                <c:pt idx="7103">
                  <c:v>-3.11124</c:v>
                </c:pt>
                <c:pt idx="7104">
                  <c:v>#N/A</c:v>
                </c:pt>
                <c:pt idx="7105">
                  <c:v>-3.1521300000000001</c:v>
                </c:pt>
                <c:pt idx="7106">
                  <c:v>-2.3272400000000002</c:v>
                </c:pt>
                <c:pt idx="7107">
                  <c:v>-2.2026599999999998</c:v>
                </c:pt>
                <c:pt idx="7108">
                  <c:v>#N/A</c:v>
                </c:pt>
                <c:pt idx="7109">
                  <c:v>-2.2519300000000002</c:v>
                </c:pt>
                <c:pt idx="7110">
                  <c:v>-2.4769299999999999</c:v>
                </c:pt>
                <c:pt idx="7111">
                  <c:v>-2.14324</c:v>
                </c:pt>
                <c:pt idx="7112">
                  <c:v>#N/A</c:v>
                </c:pt>
                <c:pt idx="7113">
                  <c:v>-2.7237900000000002</c:v>
                </c:pt>
                <c:pt idx="7114">
                  <c:v>-2.5108000000000001</c:v>
                </c:pt>
                <c:pt idx="7115">
                  <c:v>#N/A</c:v>
                </c:pt>
                <c:pt idx="7116">
                  <c:v>-2.7286800000000002</c:v>
                </c:pt>
                <c:pt idx="7117">
                  <c:v>-2.2718799999999999</c:v>
                </c:pt>
                <c:pt idx="7118">
                  <c:v>-2.1836700000000002</c:v>
                </c:pt>
                <c:pt idx="7119">
                  <c:v>#N/A</c:v>
                </c:pt>
                <c:pt idx="7120">
                  <c:v>-1.84823</c:v>
                </c:pt>
                <c:pt idx="7121">
                  <c:v>-1.9199200000000001</c:v>
                </c:pt>
                <c:pt idx="7122">
                  <c:v>-2.2593700000000001</c:v>
                </c:pt>
                <c:pt idx="7123">
                  <c:v>#N/A</c:v>
                </c:pt>
                <c:pt idx="7124">
                  <c:v>-2.4847199999999998</c:v>
                </c:pt>
                <c:pt idx="7125">
                  <c:v>-2.36693</c:v>
                </c:pt>
                <c:pt idx="7126">
                  <c:v>-2.2249699999999999</c:v>
                </c:pt>
                <c:pt idx="7127">
                  <c:v>#N/A</c:v>
                </c:pt>
                <c:pt idx="7128">
                  <c:v>-2.2971900000000001</c:v>
                </c:pt>
                <c:pt idx="7129">
                  <c:v>-1.74359</c:v>
                </c:pt>
                <c:pt idx="7130">
                  <c:v>#N/A</c:v>
                </c:pt>
                <c:pt idx="7131">
                  <c:v>-2.1412399999999998</c:v>
                </c:pt>
                <c:pt idx="7132">
                  <c:v>#N/A</c:v>
                </c:pt>
                <c:pt idx="7133">
                  <c:v>-2.6353900000000001</c:v>
                </c:pt>
                <c:pt idx="7134">
                  <c:v>-2.8550499999999999</c:v>
                </c:pt>
                <c:pt idx="7135">
                  <c:v>-3.4304800000000002</c:v>
                </c:pt>
                <c:pt idx="7136">
                  <c:v>#N/A</c:v>
                </c:pt>
                <c:pt idx="7137">
                  <c:v>-2.6501100000000002</c:v>
                </c:pt>
                <c:pt idx="7138">
                  <c:v>-1.5926199999999999</c:v>
                </c:pt>
                <c:pt idx="7139">
                  <c:v>-1.82534</c:v>
                </c:pt>
                <c:pt idx="7140">
                  <c:v>#N/A</c:v>
                </c:pt>
                <c:pt idx="7141">
                  <c:v>-1.3473299999999999</c:v>
                </c:pt>
                <c:pt idx="7142">
                  <c:v>-2.3902299999999999</c:v>
                </c:pt>
                <c:pt idx="7143">
                  <c:v>#N/A</c:v>
                </c:pt>
                <c:pt idx="7144">
                  <c:v>-2.39676</c:v>
                </c:pt>
                <c:pt idx="7145">
                  <c:v>-2.7839299999999998</c:v>
                </c:pt>
                <c:pt idx="7146">
                  <c:v>-2.5717599999999998</c:v>
                </c:pt>
                <c:pt idx="7147">
                  <c:v>#N/A</c:v>
                </c:pt>
                <c:pt idx="7148">
                  <c:v>-2.2115999999999998</c:v>
                </c:pt>
                <c:pt idx="7149">
                  <c:v>-1.7826500000000001</c:v>
                </c:pt>
                <c:pt idx="7150">
                  <c:v>-1.24027</c:v>
                </c:pt>
                <c:pt idx="7151">
                  <c:v>#N/A</c:v>
                </c:pt>
                <c:pt idx="7152">
                  <c:v>-2.2673000000000001</c:v>
                </c:pt>
                <c:pt idx="7153">
                  <c:v>-2.0658599999999998</c:v>
                </c:pt>
                <c:pt idx="7154">
                  <c:v>-2.3742899999999998</c:v>
                </c:pt>
                <c:pt idx="7155">
                  <c:v>#N/A</c:v>
                </c:pt>
                <c:pt idx="7156">
                  <c:v>-2.7209300000000001</c:v>
                </c:pt>
                <c:pt idx="7157">
                  <c:v>-3.21048</c:v>
                </c:pt>
                <c:pt idx="7158">
                  <c:v>-2.3443999999999998</c:v>
                </c:pt>
                <c:pt idx="7159">
                  <c:v>#N/A</c:v>
                </c:pt>
                <c:pt idx="7160">
                  <c:v>-2.1074700000000002</c:v>
                </c:pt>
                <c:pt idx="7161">
                  <c:v>-1.76857</c:v>
                </c:pt>
                <c:pt idx="7162">
                  <c:v>-2.5698099999999999</c:v>
                </c:pt>
                <c:pt idx="7163">
                  <c:v>#N/A</c:v>
                </c:pt>
                <c:pt idx="7164">
                  <c:v>-2.6963699999999999</c:v>
                </c:pt>
                <c:pt idx="7165">
                  <c:v>-2.5722999999999998</c:v>
                </c:pt>
                <c:pt idx="7166">
                  <c:v>-2.4451999999999998</c:v>
                </c:pt>
                <c:pt idx="7167">
                  <c:v>#N/A</c:v>
                </c:pt>
                <c:pt idx="7168">
                  <c:v>-2.8429700000000002</c:v>
                </c:pt>
                <c:pt idx="7169">
                  <c:v>-2.5165500000000001</c:v>
                </c:pt>
                <c:pt idx="7170">
                  <c:v>#N/A</c:v>
                </c:pt>
                <c:pt idx="7171">
                  <c:v>-2.28539</c:v>
                </c:pt>
                <c:pt idx="7172">
                  <c:v>-2.0504699999999998</c:v>
                </c:pt>
                <c:pt idx="7173">
                  <c:v>-1.60677</c:v>
                </c:pt>
                <c:pt idx="7174">
                  <c:v>#N/A</c:v>
                </c:pt>
                <c:pt idx="7175">
                  <c:v>-1.9484999999999999</c:v>
                </c:pt>
                <c:pt idx="7176">
                  <c:v>-2.9631599999999998</c:v>
                </c:pt>
                <c:pt idx="7177">
                  <c:v>-2.65618</c:v>
                </c:pt>
                <c:pt idx="7178">
                  <c:v>#N/A</c:v>
                </c:pt>
                <c:pt idx="7179">
                  <c:v>-2.3079999999999998</c:v>
                </c:pt>
                <c:pt idx="7180">
                  <c:v>-2.54169</c:v>
                </c:pt>
                <c:pt idx="7181">
                  <c:v>-2.1352099999999998</c:v>
                </c:pt>
                <c:pt idx="7182">
                  <c:v>#N/A</c:v>
                </c:pt>
                <c:pt idx="7183">
                  <c:v>-1.6614</c:v>
                </c:pt>
                <c:pt idx="7184">
                  <c:v>-1.52651</c:v>
                </c:pt>
                <c:pt idx="7185">
                  <c:v>-2.2654700000000001</c:v>
                </c:pt>
                <c:pt idx="7186">
                  <c:v>#N/A</c:v>
                </c:pt>
                <c:pt idx="7187">
                  <c:v>-2.4267400000000001</c:v>
                </c:pt>
                <c:pt idx="7188">
                  <c:v>-3.3197299999999998</c:v>
                </c:pt>
                <c:pt idx="7189">
                  <c:v>-2.4729299999999999</c:v>
                </c:pt>
                <c:pt idx="7190">
                  <c:v>#N/A</c:v>
                </c:pt>
                <c:pt idx="7191">
                  <c:v>-2.66656</c:v>
                </c:pt>
                <c:pt idx="7192">
                  <c:v>-1.6255599999999999</c:v>
                </c:pt>
                <c:pt idx="7193">
                  <c:v>-2.8046600000000002</c:v>
                </c:pt>
                <c:pt idx="7194">
                  <c:v>#N/A</c:v>
                </c:pt>
                <c:pt idx="7195">
                  <c:v>-2.4450599999999998</c:v>
                </c:pt>
                <c:pt idx="7196">
                  <c:v>-2.2438899999999999</c:v>
                </c:pt>
                <c:pt idx="7197">
                  <c:v>-2.93235</c:v>
                </c:pt>
                <c:pt idx="7198">
                  <c:v>#N/A</c:v>
                </c:pt>
                <c:pt idx="7199">
                  <c:v>-2.1552899999999999</c:v>
                </c:pt>
                <c:pt idx="7200">
                  <c:v>-2.3753099999999998</c:v>
                </c:pt>
                <c:pt idx="7201">
                  <c:v>-1.69337</c:v>
                </c:pt>
                <c:pt idx="7202">
                  <c:v>#N/A</c:v>
                </c:pt>
                <c:pt idx="7203">
                  <c:v>-2.0492499999999998</c:v>
                </c:pt>
                <c:pt idx="7204">
                  <c:v>-2.47465</c:v>
                </c:pt>
                <c:pt idx="7205">
                  <c:v>#N/A</c:v>
                </c:pt>
                <c:pt idx="7206">
                  <c:v>-2.7956799999999999</c:v>
                </c:pt>
                <c:pt idx="7207">
                  <c:v>#N/A</c:v>
                </c:pt>
                <c:pt idx="7208">
                  <c:v>-2.8734000000000002</c:v>
                </c:pt>
                <c:pt idx="7209">
                  <c:v>-2.7795700000000001</c:v>
                </c:pt>
                <c:pt idx="7210">
                  <c:v>#N/A</c:v>
                </c:pt>
                <c:pt idx="7211">
                  <c:v>-1.8033300000000001</c:v>
                </c:pt>
                <c:pt idx="7212">
                  <c:v>-1.5831200000000001</c:v>
                </c:pt>
                <c:pt idx="7213">
                  <c:v>-1.9583699999999999</c:v>
                </c:pt>
                <c:pt idx="7214">
                  <c:v>#N/A</c:v>
                </c:pt>
                <c:pt idx="7215">
                  <c:v>-2.2688100000000002</c:v>
                </c:pt>
                <c:pt idx="7216">
                  <c:v>-2.4384800000000002</c:v>
                </c:pt>
                <c:pt idx="7217">
                  <c:v>#N/A</c:v>
                </c:pt>
                <c:pt idx="7218">
                  <c:v>-3.15585</c:v>
                </c:pt>
                <c:pt idx="7219">
                  <c:v>-3.1680299999999999</c:v>
                </c:pt>
                <c:pt idx="7220">
                  <c:v>-2.3493499999999998</c:v>
                </c:pt>
                <c:pt idx="7221">
                  <c:v>#N/A</c:v>
                </c:pt>
                <c:pt idx="7222">
                  <c:v>-1.98102</c:v>
                </c:pt>
                <c:pt idx="7223">
                  <c:v>-1.99166</c:v>
                </c:pt>
                <c:pt idx="7224">
                  <c:v>-1.99522</c:v>
                </c:pt>
                <c:pt idx="7225">
                  <c:v>#N/A</c:v>
                </c:pt>
                <c:pt idx="7226">
                  <c:v>-1.84534</c:v>
                </c:pt>
                <c:pt idx="7227">
                  <c:v>-2.2827899999999999</c:v>
                </c:pt>
                <c:pt idx="7228">
                  <c:v>-2.68601</c:v>
                </c:pt>
                <c:pt idx="7229">
                  <c:v>#N/A</c:v>
                </c:pt>
                <c:pt idx="7230">
                  <c:v>-2.6600100000000002</c:v>
                </c:pt>
                <c:pt idx="7231">
                  <c:v>-2.6629499999999999</c:v>
                </c:pt>
                <c:pt idx="7232">
                  <c:v>#N/A</c:v>
                </c:pt>
                <c:pt idx="7233">
                  <c:v>-1.8035099999999999</c:v>
                </c:pt>
                <c:pt idx="7234">
                  <c:v>-1.6858299999999999</c:v>
                </c:pt>
                <c:pt idx="7235">
                  <c:v>#N/A</c:v>
                </c:pt>
                <c:pt idx="7236">
                  <c:v>-2.0788000000000002</c:v>
                </c:pt>
                <c:pt idx="7237">
                  <c:v>-2.2392599999999998</c:v>
                </c:pt>
                <c:pt idx="7238">
                  <c:v>-2.6398000000000001</c:v>
                </c:pt>
                <c:pt idx="7239">
                  <c:v>#N/A</c:v>
                </c:pt>
                <c:pt idx="7240">
                  <c:v>-2.9935</c:v>
                </c:pt>
                <c:pt idx="7241">
                  <c:v>-2.9329800000000001</c:v>
                </c:pt>
                <c:pt idx="7242">
                  <c:v>-2.42469</c:v>
                </c:pt>
                <c:pt idx="7243">
                  <c:v>#N/A</c:v>
                </c:pt>
                <c:pt idx="7244">
                  <c:v>-2.1158100000000002</c:v>
                </c:pt>
                <c:pt idx="7245">
                  <c:v>-1.5402199999999999</c:v>
                </c:pt>
                <c:pt idx="7246">
                  <c:v>#N/A</c:v>
                </c:pt>
                <c:pt idx="7247">
                  <c:v>-1.47045</c:v>
                </c:pt>
                <c:pt idx="7248">
                  <c:v>-2.2742</c:v>
                </c:pt>
                <c:pt idx="7249">
                  <c:v>-2.7716599999999998</c:v>
                </c:pt>
                <c:pt idx="7250">
                  <c:v>#N/A</c:v>
                </c:pt>
                <c:pt idx="7251">
                  <c:v>-2.2077599999999999</c:v>
                </c:pt>
                <c:pt idx="7252">
                  <c:v>-2.7102599999999999</c:v>
                </c:pt>
                <c:pt idx="7253">
                  <c:v>#N/A</c:v>
                </c:pt>
                <c:pt idx="7254">
                  <c:v>-2.0895000000000001</c:v>
                </c:pt>
                <c:pt idx="7255">
                  <c:v>-2.0921799999999999</c:v>
                </c:pt>
                <c:pt idx="7256">
                  <c:v>-1.8797200000000001</c:v>
                </c:pt>
                <c:pt idx="7257">
                  <c:v>#N/A</c:v>
                </c:pt>
                <c:pt idx="7258">
                  <c:v>-2.1129899999999999</c:v>
                </c:pt>
                <c:pt idx="7259">
                  <c:v>-2.3430300000000002</c:v>
                </c:pt>
                <c:pt idx="7260">
                  <c:v>-2.5078499999999999</c:v>
                </c:pt>
                <c:pt idx="7261">
                  <c:v>#N/A</c:v>
                </c:pt>
                <c:pt idx="7262">
                  <c:v>-2.72058</c:v>
                </c:pt>
                <c:pt idx="7263">
                  <c:v>-2.09124</c:v>
                </c:pt>
                <c:pt idx="7264">
                  <c:v>-1.8325</c:v>
                </c:pt>
                <c:pt idx="7265">
                  <c:v>#N/A</c:v>
                </c:pt>
                <c:pt idx="7266">
                  <c:v>-1.4508000000000001</c:v>
                </c:pt>
                <c:pt idx="7267">
                  <c:v>-2.1868699999999999</c:v>
                </c:pt>
                <c:pt idx="7268">
                  <c:v>-2.1531699999999998</c:v>
                </c:pt>
                <c:pt idx="7269">
                  <c:v>#N/A</c:v>
                </c:pt>
                <c:pt idx="7270">
                  <c:v>-2.96991</c:v>
                </c:pt>
                <c:pt idx="7271">
                  <c:v>-2.2613599999999998</c:v>
                </c:pt>
                <c:pt idx="7272">
                  <c:v>-2.62148</c:v>
                </c:pt>
                <c:pt idx="7273">
                  <c:v>#N/A</c:v>
                </c:pt>
                <c:pt idx="7274">
                  <c:v>-2.4654099999999999</c:v>
                </c:pt>
                <c:pt idx="7275">
                  <c:v>-1.6989300000000001</c:v>
                </c:pt>
                <c:pt idx="7276">
                  <c:v>-1.9799800000000001</c:v>
                </c:pt>
                <c:pt idx="7277">
                  <c:v>#N/A</c:v>
                </c:pt>
                <c:pt idx="7278">
                  <c:v>-2.4026700000000001</c:v>
                </c:pt>
                <c:pt idx="7279">
                  <c:v>-2.35168</c:v>
                </c:pt>
                <c:pt idx="7280">
                  <c:v>-2.9829699999999999</c:v>
                </c:pt>
                <c:pt idx="7281">
                  <c:v>#N/A</c:v>
                </c:pt>
                <c:pt idx="7282">
                  <c:v>-3.14378</c:v>
                </c:pt>
                <c:pt idx="7283">
                  <c:v>#N/A</c:v>
                </c:pt>
                <c:pt idx="7284">
                  <c:v>-2.5567199999999999</c:v>
                </c:pt>
                <c:pt idx="7285">
                  <c:v>-2.5122800000000001</c:v>
                </c:pt>
                <c:pt idx="7286">
                  <c:v>-1.6720299999999999</c:v>
                </c:pt>
                <c:pt idx="7287">
                  <c:v>#N/A</c:v>
                </c:pt>
                <c:pt idx="7288">
                  <c:v>-1.6291800000000001</c:v>
                </c:pt>
                <c:pt idx="7289">
                  <c:v>-1.98522</c:v>
                </c:pt>
                <c:pt idx="7290">
                  <c:v>-2.4284699999999999</c:v>
                </c:pt>
                <c:pt idx="7291">
                  <c:v>#N/A</c:v>
                </c:pt>
                <c:pt idx="7292">
                  <c:v>-3.2756500000000002</c:v>
                </c:pt>
                <c:pt idx="7293">
                  <c:v>-2.8423699999999998</c:v>
                </c:pt>
                <c:pt idx="7294">
                  <c:v>-2.48848</c:v>
                </c:pt>
                <c:pt idx="7295">
                  <c:v>#N/A</c:v>
                </c:pt>
                <c:pt idx="7296">
                  <c:v>-1.4133800000000001</c:v>
                </c:pt>
                <c:pt idx="7297">
                  <c:v>-1.12005</c:v>
                </c:pt>
                <c:pt idx="7298">
                  <c:v>-1.9632499999999999</c:v>
                </c:pt>
                <c:pt idx="7299">
                  <c:v>#N/A</c:v>
                </c:pt>
                <c:pt idx="7300">
                  <c:v>-2.4056899999999999</c:v>
                </c:pt>
                <c:pt idx="7301">
                  <c:v>-2.5324</c:v>
                </c:pt>
                <c:pt idx="7302">
                  <c:v>#N/A</c:v>
                </c:pt>
                <c:pt idx="7303">
                  <c:v>-3.2365599999999999</c:v>
                </c:pt>
                <c:pt idx="7304">
                  <c:v>-2.7463500000000001</c:v>
                </c:pt>
                <c:pt idx="7305">
                  <c:v>-2.2195900000000002</c:v>
                </c:pt>
                <c:pt idx="7306">
                  <c:v>#N/A</c:v>
                </c:pt>
                <c:pt idx="7307">
                  <c:v>-1.76969</c:v>
                </c:pt>
                <c:pt idx="7308">
                  <c:v>-1.53247</c:v>
                </c:pt>
                <c:pt idx="7309">
                  <c:v>#N/A</c:v>
                </c:pt>
                <c:pt idx="7310">
                  <c:v>-1.6552800000000001</c:v>
                </c:pt>
                <c:pt idx="7311">
                  <c:v>-2.3158099999999999</c:v>
                </c:pt>
                <c:pt idx="7312">
                  <c:v>-3.0130499999999998</c:v>
                </c:pt>
                <c:pt idx="7313">
                  <c:v>#N/A</c:v>
                </c:pt>
                <c:pt idx="7314">
                  <c:v>-3.0919400000000001</c:v>
                </c:pt>
                <c:pt idx="7315">
                  <c:v>-2.49613</c:v>
                </c:pt>
                <c:pt idx="7316">
                  <c:v>#N/A</c:v>
                </c:pt>
                <c:pt idx="7317">
                  <c:v>-1.9147799999999999</c:v>
                </c:pt>
                <c:pt idx="7318">
                  <c:v>#N/A</c:v>
                </c:pt>
                <c:pt idx="7319">
                  <c:v>-2.2698999999999998</c:v>
                </c:pt>
                <c:pt idx="7320">
                  <c:v>#N/A</c:v>
                </c:pt>
                <c:pt idx="7321">
                  <c:v>-2.4642900000000001</c:v>
                </c:pt>
                <c:pt idx="7322">
                  <c:v>-2.6205599999999998</c:v>
                </c:pt>
                <c:pt idx="7323">
                  <c:v>-2.9033000000000002</c:v>
                </c:pt>
                <c:pt idx="7324">
                  <c:v>#N/A</c:v>
                </c:pt>
                <c:pt idx="7325">
                  <c:v>-2.9560599999999999</c:v>
                </c:pt>
                <c:pt idx="7326">
                  <c:v>-2.5525500000000001</c:v>
                </c:pt>
                <c:pt idx="7327">
                  <c:v>-2.1150099999999998</c:v>
                </c:pt>
                <c:pt idx="7328">
                  <c:v>#N/A</c:v>
                </c:pt>
                <c:pt idx="7329">
                  <c:v>-1.94303</c:v>
                </c:pt>
                <c:pt idx="7330">
                  <c:v>-1.9344399999999999</c:v>
                </c:pt>
                <c:pt idx="7331">
                  <c:v>-1.77597</c:v>
                </c:pt>
                <c:pt idx="7332">
                  <c:v>#N/A</c:v>
                </c:pt>
                <c:pt idx="7333">
                  <c:v>-2.3329900000000001</c:v>
                </c:pt>
                <c:pt idx="7334">
                  <c:v>-2.19509</c:v>
                </c:pt>
                <c:pt idx="7335">
                  <c:v>-2.2603900000000001</c:v>
                </c:pt>
                <c:pt idx="7336">
                  <c:v>#N/A</c:v>
                </c:pt>
                <c:pt idx="7337">
                  <c:v>-2.38273</c:v>
                </c:pt>
                <c:pt idx="7338">
                  <c:v>-2.2061700000000002</c:v>
                </c:pt>
                <c:pt idx="7339">
                  <c:v>-2.3661099999999999</c:v>
                </c:pt>
                <c:pt idx="7340">
                  <c:v>#N/A</c:v>
                </c:pt>
                <c:pt idx="7341">
                  <c:v>-2.35921</c:v>
                </c:pt>
                <c:pt idx="7342">
                  <c:v>-2.6698300000000001</c:v>
                </c:pt>
                <c:pt idx="7343">
                  <c:v>#N/A</c:v>
                </c:pt>
                <c:pt idx="7344">
                  <c:v>-3.1257199999999998</c:v>
                </c:pt>
                <c:pt idx="7345">
                  <c:v>-3.6295799999999998</c:v>
                </c:pt>
                <c:pt idx="7346">
                  <c:v>-2.9254500000000001</c:v>
                </c:pt>
                <c:pt idx="7347">
                  <c:v>#N/A</c:v>
                </c:pt>
                <c:pt idx="7348">
                  <c:v>-2.23536</c:v>
                </c:pt>
                <c:pt idx="7349">
                  <c:v>-2.2292800000000002</c:v>
                </c:pt>
                <c:pt idx="7350">
                  <c:v>-2.7920799999999999</c:v>
                </c:pt>
                <c:pt idx="7351">
                  <c:v>#N/A</c:v>
                </c:pt>
                <c:pt idx="7352">
                  <c:v>-2.5803699999999998</c:v>
                </c:pt>
                <c:pt idx="7353">
                  <c:v>-2.6745999999999999</c:v>
                </c:pt>
                <c:pt idx="7354">
                  <c:v>-3.0512199999999998</c:v>
                </c:pt>
                <c:pt idx="7355">
                  <c:v>#N/A</c:v>
                </c:pt>
                <c:pt idx="7356">
                  <c:v>-2.89194</c:v>
                </c:pt>
                <c:pt idx="7357">
                  <c:v>-2.2823600000000002</c:v>
                </c:pt>
                <c:pt idx="7358">
                  <c:v>#N/A</c:v>
                </c:pt>
                <c:pt idx="7359">
                  <c:v>-2.1354500000000001</c:v>
                </c:pt>
                <c:pt idx="7360">
                  <c:v>-2.1155599999999999</c:v>
                </c:pt>
                <c:pt idx="7361">
                  <c:v>#N/A</c:v>
                </c:pt>
                <c:pt idx="7362">
                  <c:v>-2.9679000000000002</c:v>
                </c:pt>
                <c:pt idx="7363">
                  <c:v>-3.66649</c:v>
                </c:pt>
                <c:pt idx="7364">
                  <c:v>-3.53416</c:v>
                </c:pt>
                <c:pt idx="7365">
                  <c:v>#N/A</c:v>
                </c:pt>
                <c:pt idx="7366">
                  <c:v>-4.0757000000000003</c:v>
                </c:pt>
                <c:pt idx="7367">
                  <c:v>-2.9198400000000002</c:v>
                </c:pt>
                <c:pt idx="7368">
                  <c:v>-2.62094</c:v>
                </c:pt>
                <c:pt idx="7369">
                  <c:v>#N/A</c:v>
                </c:pt>
                <c:pt idx="7370">
                  <c:v>-2.6714199999999999</c:v>
                </c:pt>
                <c:pt idx="7371">
                  <c:v>-2.9240599999999999</c:v>
                </c:pt>
                <c:pt idx="7372">
                  <c:v>-2.7367499999999998</c:v>
                </c:pt>
                <c:pt idx="7373">
                  <c:v>#N/A</c:v>
                </c:pt>
                <c:pt idx="7374">
                  <c:v>-3.27121</c:v>
                </c:pt>
                <c:pt idx="7375">
                  <c:v>-4.3120399999999997</c:v>
                </c:pt>
                <c:pt idx="7376">
                  <c:v>-3.9426899999999998</c:v>
                </c:pt>
                <c:pt idx="7377">
                  <c:v>#N/A</c:v>
                </c:pt>
                <c:pt idx="7378">
                  <c:v>-3.4203700000000001</c:v>
                </c:pt>
                <c:pt idx="7379">
                  <c:v>-2.7943099999999998</c:v>
                </c:pt>
                <c:pt idx="7380">
                  <c:v>-2.5939199999999998</c:v>
                </c:pt>
                <c:pt idx="7381">
                  <c:v>#N/A</c:v>
                </c:pt>
                <c:pt idx="7382">
                  <c:v>-2.3627799999999999</c:v>
                </c:pt>
                <c:pt idx="7383">
                  <c:v>-3.2747799999999998</c:v>
                </c:pt>
                <c:pt idx="7384">
                  <c:v>-3.6353800000000001</c:v>
                </c:pt>
                <c:pt idx="7385">
                  <c:v>#N/A</c:v>
                </c:pt>
                <c:pt idx="7386">
                  <c:v>-4.6739600000000001</c:v>
                </c:pt>
                <c:pt idx="7387">
                  <c:v>-4.6411300000000004</c:v>
                </c:pt>
                <c:pt idx="7388">
                  <c:v>#N/A</c:v>
                </c:pt>
                <c:pt idx="7389">
                  <c:v>-3.7537500000000001</c:v>
                </c:pt>
                <c:pt idx="7390">
                  <c:v>-2.8029299999999999</c:v>
                </c:pt>
                <c:pt idx="7391">
                  <c:v>-2.1514099999999998</c:v>
                </c:pt>
                <c:pt idx="7392">
                  <c:v>#N/A</c:v>
                </c:pt>
                <c:pt idx="7393">
                  <c:v>-2.46339</c:v>
                </c:pt>
                <c:pt idx="7394">
                  <c:v>-3.5407299999999999</c:v>
                </c:pt>
                <c:pt idx="7395">
                  <c:v>-3.5993300000000001</c:v>
                </c:pt>
                <c:pt idx="7396">
                  <c:v>#N/A</c:v>
                </c:pt>
                <c:pt idx="7397">
                  <c:v>-3.9324400000000002</c:v>
                </c:pt>
                <c:pt idx="7398">
                  <c:v>-3.84971</c:v>
                </c:pt>
                <c:pt idx="7399">
                  <c:v>-3.0388500000000001</c:v>
                </c:pt>
                <c:pt idx="7400">
                  <c:v>#N/A</c:v>
                </c:pt>
                <c:pt idx="7401">
                  <c:v>-3.05193</c:v>
                </c:pt>
                <c:pt idx="7402">
                  <c:v>-3.0686200000000001</c:v>
                </c:pt>
                <c:pt idx="7403">
                  <c:v>-3.04223</c:v>
                </c:pt>
                <c:pt idx="7404">
                  <c:v>#N/A</c:v>
                </c:pt>
                <c:pt idx="7405">
                  <c:v>-3.2748699999999999</c:v>
                </c:pt>
                <c:pt idx="7406">
                  <c:v>-4.5131699999999997</c:v>
                </c:pt>
                <c:pt idx="7407">
                  <c:v>-4.0869299999999997</c:v>
                </c:pt>
                <c:pt idx="7408">
                  <c:v>#N/A</c:v>
                </c:pt>
                <c:pt idx="7409">
                  <c:v>-3.59727</c:v>
                </c:pt>
                <c:pt idx="7410">
                  <c:v>-2.7501600000000002</c:v>
                </c:pt>
                <c:pt idx="7411">
                  <c:v>#N/A</c:v>
                </c:pt>
                <c:pt idx="7412">
                  <c:v>-3.2032500000000002</c:v>
                </c:pt>
                <c:pt idx="7413">
                  <c:v>-3.1772499999999999</c:v>
                </c:pt>
                <c:pt idx="7414">
                  <c:v>-3.0214599999999998</c:v>
                </c:pt>
                <c:pt idx="7415">
                  <c:v>#N/A</c:v>
                </c:pt>
                <c:pt idx="7416">
                  <c:v>-3.9898600000000002</c:v>
                </c:pt>
                <c:pt idx="7417">
                  <c:v>-3.9223699999999999</c:v>
                </c:pt>
                <c:pt idx="7418">
                  <c:v>-3.9346800000000002</c:v>
                </c:pt>
                <c:pt idx="7419">
                  <c:v>#N/A</c:v>
                </c:pt>
                <c:pt idx="7420">
                  <c:v>-2.97464</c:v>
                </c:pt>
                <c:pt idx="7421">
                  <c:v>-2.6589999999999998</c:v>
                </c:pt>
                <c:pt idx="7422">
                  <c:v>-2.7286199999999998</c:v>
                </c:pt>
                <c:pt idx="7423">
                  <c:v>#N/A</c:v>
                </c:pt>
                <c:pt idx="7424">
                  <c:v>-3.59226</c:v>
                </c:pt>
                <c:pt idx="7425">
                  <c:v>-3.6306600000000002</c:v>
                </c:pt>
                <c:pt idx="7426">
                  <c:v>-3.7140300000000002</c:v>
                </c:pt>
                <c:pt idx="7427">
                  <c:v>#N/A</c:v>
                </c:pt>
                <c:pt idx="7428">
                  <c:v>-3.67672</c:v>
                </c:pt>
                <c:pt idx="7429">
                  <c:v>-3.3250799999999998</c:v>
                </c:pt>
                <c:pt idx="7430">
                  <c:v>#N/A</c:v>
                </c:pt>
                <c:pt idx="7431">
                  <c:v>-2.5401500000000001</c:v>
                </c:pt>
                <c:pt idx="7432">
                  <c:v>-2.5635400000000002</c:v>
                </c:pt>
                <c:pt idx="7433">
                  <c:v>#N/A</c:v>
                </c:pt>
                <c:pt idx="7434">
                  <c:v>-3.2398699999999998</c:v>
                </c:pt>
                <c:pt idx="7435">
                  <c:v>-3.5437699999999999</c:v>
                </c:pt>
                <c:pt idx="7436">
                  <c:v>#N/A</c:v>
                </c:pt>
                <c:pt idx="7437">
                  <c:v>-3.3822199999999998</c:v>
                </c:pt>
                <c:pt idx="7438">
                  <c:v>-3.7410899999999998</c:v>
                </c:pt>
                <c:pt idx="7439">
                  <c:v>#N/A</c:v>
                </c:pt>
                <c:pt idx="7440">
                  <c:v>-3.57186</c:v>
                </c:pt>
                <c:pt idx="7441">
                  <c:v>-2.8546200000000002</c:v>
                </c:pt>
                <c:pt idx="7442">
                  <c:v>-2.2831199999999998</c:v>
                </c:pt>
                <c:pt idx="7443">
                  <c:v>#N/A</c:v>
                </c:pt>
                <c:pt idx="7444">
                  <c:v>-2.4177900000000001</c:v>
                </c:pt>
                <c:pt idx="7445">
                  <c:v>-2.7586499999999998</c:v>
                </c:pt>
                <c:pt idx="7446">
                  <c:v>-3.4525700000000001</c:v>
                </c:pt>
                <c:pt idx="7447">
                  <c:v>#N/A</c:v>
                </c:pt>
                <c:pt idx="7448">
                  <c:v>-3.81108</c:v>
                </c:pt>
                <c:pt idx="7449">
                  <c:v>-3.68832</c:v>
                </c:pt>
                <c:pt idx="7450">
                  <c:v>-3.1070899999999999</c:v>
                </c:pt>
                <c:pt idx="7451">
                  <c:v>#N/A</c:v>
                </c:pt>
                <c:pt idx="7452">
                  <c:v>-2.7628900000000001</c:v>
                </c:pt>
                <c:pt idx="7453">
                  <c:v>-2.6956500000000001</c:v>
                </c:pt>
                <c:pt idx="7454">
                  <c:v>-1.9650300000000001</c:v>
                </c:pt>
                <c:pt idx="7455">
                  <c:v>#N/A</c:v>
                </c:pt>
                <c:pt idx="7456">
                  <c:v>-2.1218400000000002</c:v>
                </c:pt>
                <c:pt idx="7457">
                  <c:v>-3.1538300000000001</c:v>
                </c:pt>
                <c:pt idx="7458">
                  <c:v>-3.4475600000000002</c:v>
                </c:pt>
                <c:pt idx="7459">
                  <c:v>#N/A</c:v>
                </c:pt>
                <c:pt idx="7460">
                  <c:v>-3.6199499999999998</c:v>
                </c:pt>
                <c:pt idx="7461">
                  <c:v>-3.1295600000000001</c:v>
                </c:pt>
                <c:pt idx="7462">
                  <c:v>-2.7687499999999998</c:v>
                </c:pt>
                <c:pt idx="7463">
                  <c:v>#N/A</c:v>
                </c:pt>
                <c:pt idx="7464">
                  <c:v>-2.4610799999999999</c:v>
                </c:pt>
                <c:pt idx="7465">
                  <c:v>-2.47655</c:v>
                </c:pt>
                <c:pt idx="7466">
                  <c:v>#N/A</c:v>
                </c:pt>
                <c:pt idx="7467">
                  <c:v>-3.85493</c:v>
                </c:pt>
                <c:pt idx="7468">
                  <c:v>-3.8506</c:v>
                </c:pt>
                <c:pt idx="7469">
                  <c:v>-3.8197100000000002</c:v>
                </c:pt>
                <c:pt idx="7470">
                  <c:v>#N/A</c:v>
                </c:pt>
                <c:pt idx="7471">
                  <c:v>-4.4216199999999999</c:v>
                </c:pt>
                <c:pt idx="7472">
                  <c:v>-3.4338500000000001</c:v>
                </c:pt>
                <c:pt idx="7473">
                  <c:v>-2.93852</c:v>
                </c:pt>
                <c:pt idx="7474">
                  <c:v>#N/A</c:v>
                </c:pt>
                <c:pt idx="7475">
                  <c:v>-2.2578900000000002</c:v>
                </c:pt>
                <c:pt idx="7476">
                  <c:v>-1.91428</c:v>
                </c:pt>
                <c:pt idx="7477">
                  <c:v>#N/A</c:v>
                </c:pt>
                <c:pt idx="7478">
                  <c:v>-2.8769399999999998</c:v>
                </c:pt>
                <c:pt idx="7479">
                  <c:v>-3.10989</c:v>
                </c:pt>
                <c:pt idx="7480">
                  <c:v>-3.2628200000000001</c:v>
                </c:pt>
                <c:pt idx="7481">
                  <c:v>#N/A</c:v>
                </c:pt>
                <c:pt idx="7482">
                  <c:v>-3.0655000000000001</c:v>
                </c:pt>
                <c:pt idx="7483">
                  <c:v>-2.97214</c:v>
                </c:pt>
                <c:pt idx="7484">
                  <c:v>-2.5930300000000002</c:v>
                </c:pt>
                <c:pt idx="7485">
                  <c:v>#N/A</c:v>
                </c:pt>
                <c:pt idx="7486">
                  <c:v>-2.79705</c:v>
                </c:pt>
                <c:pt idx="7487">
                  <c:v>-2.8366199999999999</c:v>
                </c:pt>
                <c:pt idx="7488">
                  <c:v>#N/A</c:v>
                </c:pt>
                <c:pt idx="7489">
                  <c:v>-3.1988400000000001</c:v>
                </c:pt>
                <c:pt idx="7490">
                  <c:v>-3.6238800000000002</c:v>
                </c:pt>
                <c:pt idx="7491">
                  <c:v>-3.42232</c:v>
                </c:pt>
                <c:pt idx="7492">
                  <c:v>#N/A</c:v>
                </c:pt>
                <c:pt idx="7493">
                  <c:v>-2.9924200000000001</c:v>
                </c:pt>
                <c:pt idx="7494">
                  <c:v>-3.0245899999999999</c:v>
                </c:pt>
                <c:pt idx="7495">
                  <c:v>-2.6890900000000002</c:v>
                </c:pt>
                <c:pt idx="7496">
                  <c:v>#N/A</c:v>
                </c:pt>
                <c:pt idx="7497">
                  <c:v>-2.78972</c:v>
                </c:pt>
                <c:pt idx="7498">
                  <c:v>-3.0583200000000001</c:v>
                </c:pt>
                <c:pt idx="7499">
                  <c:v>-3.7294200000000002</c:v>
                </c:pt>
                <c:pt idx="7500">
                  <c:v>#N/A</c:v>
                </c:pt>
                <c:pt idx="7501">
                  <c:v>-3.9199299999999999</c:v>
                </c:pt>
                <c:pt idx="7502">
                  <c:v>-3.7439</c:v>
                </c:pt>
                <c:pt idx="7503">
                  <c:v>-2.85303</c:v>
                </c:pt>
                <c:pt idx="7504">
                  <c:v>#N/A</c:v>
                </c:pt>
                <c:pt idx="7505">
                  <c:v>-2.6103399999999999</c:v>
                </c:pt>
                <c:pt idx="7506">
                  <c:v>-2.5840999999999998</c:v>
                </c:pt>
                <c:pt idx="7507">
                  <c:v>#N/A</c:v>
                </c:pt>
                <c:pt idx="7508">
                  <c:v>-3.3440799999999999</c:v>
                </c:pt>
                <c:pt idx="7509">
                  <c:v>#N/A</c:v>
                </c:pt>
                <c:pt idx="7510">
                  <c:v>-3.22628</c:v>
                </c:pt>
                <c:pt idx="7511">
                  <c:v>-3.5156499999999999</c:v>
                </c:pt>
                <c:pt idx="7512">
                  <c:v>-3.1347499999999999</c:v>
                </c:pt>
                <c:pt idx="7513">
                  <c:v>#N/A</c:v>
                </c:pt>
                <c:pt idx="7514">
                  <c:v>-3.0164800000000001</c:v>
                </c:pt>
                <c:pt idx="7515">
                  <c:v>-1.9395500000000001</c:v>
                </c:pt>
                <c:pt idx="7516">
                  <c:v>-2.5109300000000001</c:v>
                </c:pt>
                <c:pt idx="7517">
                  <c:v>#N/A</c:v>
                </c:pt>
                <c:pt idx="7518">
                  <c:v>-2.6137000000000001</c:v>
                </c:pt>
                <c:pt idx="7519">
                  <c:v>-3.0107699999999999</c:v>
                </c:pt>
                <c:pt idx="7520">
                  <c:v>#N/A</c:v>
                </c:pt>
                <c:pt idx="7521">
                  <c:v>-3.3292000000000002</c:v>
                </c:pt>
                <c:pt idx="7522">
                  <c:v>-3.5813600000000001</c:v>
                </c:pt>
                <c:pt idx="7523">
                  <c:v>-3.3807999999999998</c:v>
                </c:pt>
                <c:pt idx="7524">
                  <c:v>#N/A</c:v>
                </c:pt>
                <c:pt idx="7525">
                  <c:v>-3.4043199999999998</c:v>
                </c:pt>
                <c:pt idx="7526">
                  <c:v>-2.6137000000000001</c:v>
                </c:pt>
                <c:pt idx="7527">
                  <c:v>-2.6223100000000001</c:v>
                </c:pt>
                <c:pt idx="7528">
                  <c:v>#N/A</c:v>
                </c:pt>
                <c:pt idx="7529">
                  <c:v>-2.91614</c:v>
                </c:pt>
                <c:pt idx="7530">
                  <c:v>-3.2747000000000002</c:v>
                </c:pt>
                <c:pt idx="7531">
                  <c:v>-3.9662799999999998</c:v>
                </c:pt>
                <c:pt idx="7532">
                  <c:v>#N/A</c:v>
                </c:pt>
                <c:pt idx="7533">
                  <c:v>-3.89052</c:v>
                </c:pt>
                <c:pt idx="7534">
                  <c:v>-2.9414600000000002</c:v>
                </c:pt>
                <c:pt idx="7535">
                  <c:v>-2.8086199999999999</c:v>
                </c:pt>
                <c:pt idx="7536">
                  <c:v>#N/A</c:v>
                </c:pt>
                <c:pt idx="7537">
                  <c:v>-2.52982</c:v>
                </c:pt>
                <c:pt idx="7538">
                  <c:v>-2.0306299999999999</c:v>
                </c:pt>
                <c:pt idx="7539">
                  <c:v>-1.8707</c:v>
                </c:pt>
                <c:pt idx="7540">
                  <c:v>#N/A</c:v>
                </c:pt>
                <c:pt idx="7541">
                  <c:v>-2.3472599999999999</c:v>
                </c:pt>
                <c:pt idx="7542">
                  <c:v>-3.0933899999999999</c:v>
                </c:pt>
                <c:pt idx="7543">
                  <c:v>-3.2405900000000001</c:v>
                </c:pt>
                <c:pt idx="7544">
                  <c:v>#N/A</c:v>
                </c:pt>
                <c:pt idx="7545">
                  <c:v>-2.8073999999999999</c:v>
                </c:pt>
                <c:pt idx="7546">
                  <c:v>-2.8915500000000001</c:v>
                </c:pt>
                <c:pt idx="7547">
                  <c:v>-2.41221</c:v>
                </c:pt>
                <c:pt idx="7548">
                  <c:v>#N/A</c:v>
                </c:pt>
                <c:pt idx="7549">
                  <c:v>-2.3540899999999998</c:v>
                </c:pt>
                <c:pt idx="7550">
                  <c:v>-2.14194</c:v>
                </c:pt>
                <c:pt idx="7551">
                  <c:v>-2.8466300000000002</c:v>
                </c:pt>
                <c:pt idx="7552">
                  <c:v>#N/A</c:v>
                </c:pt>
                <c:pt idx="7553">
                  <c:v>-3.0898599999999998</c:v>
                </c:pt>
                <c:pt idx="7554">
                  <c:v>-3.1862900000000001</c:v>
                </c:pt>
                <c:pt idx="7555">
                  <c:v>-3.0378599999999998</c:v>
                </c:pt>
                <c:pt idx="7556">
                  <c:v>#N/A</c:v>
                </c:pt>
                <c:pt idx="7557">
                  <c:v>-2.66235</c:v>
                </c:pt>
                <c:pt idx="7558">
                  <c:v>-2.7141500000000001</c:v>
                </c:pt>
                <c:pt idx="7559">
                  <c:v>-2.87616</c:v>
                </c:pt>
                <c:pt idx="7560">
                  <c:v>#N/A</c:v>
                </c:pt>
                <c:pt idx="7561">
                  <c:v>-2.6663700000000001</c:v>
                </c:pt>
                <c:pt idx="7562">
                  <c:v>-3.0348999999999999</c:v>
                </c:pt>
                <c:pt idx="7563">
                  <c:v>#N/A</c:v>
                </c:pt>
                <c:pt idx="7564">
                  <c:v>-2.8446400000000001</c:v>
                </c:pt>
                <c:pt idx="7565">
                  <c:v>-3.3203299999999998</c:v>
                </c:pt>
                <c:pt idx="7566">
                  <c:v>-2.7978399999999999</c:v>
                </c:pt>
                <c:pt idx="7567">
                  <c:v>#N/A</c:v>
                </c:pt>
                <c:pt idx="7568">
                  <c:v>-2.3011699999999999</c:v>
                </c:pt>
                <c:pt idx="7569">
                  <c:v>-2.1074099999999998</c:v>
                </c:pt>
                <c:pt idx="7570">
                  <c:v>-2.8198300000000001</c:v>
                </c:pt>
                <c:pt idx="7571">
                  <c:v>#N/A</c:v>
                </c:pt>
                <c:pt idx="7572">
                  <c:v>-2.9478</c:v>
                </c:pt>
                <c:pt idx="7573">
                  <c:v>-3.71245</c:v>
                </c:pt>
                <c:pt idx="7574">
                  <c:v>-3.3753199999999999</c:v>
                </c:pt>
                <c:pt idx="7575">
                  <c:v>#N/A</c:v>
                </c:pt>
                <c:pt idx="7576">
                  <c:v>-2.8525100000000001</c:v>
                </c:pt>
                <c:pt idx="7577">
                  <c:v>-2.8821599999999998</c:v>
                </c:pt>
                <c:pt idx="7578">
                  <c:v>-2.1388199999999999</c:v>
                </c:pt>
                <c:pt idx="7579">
                  <c:v>#N/A</c:v>
                </c:pt>
                <c:pt idx="7580">
                  <c:v>-2.7039800000000001</c:v>
                </c:pt>
                <c:pt idx="7581">
                  <c:v>-3.1633599999999999</c:v>
                </c:pt>
                <c:pt idx="7582">
                  <c:v>#N/A</c:v>
                </c:pt>
                <c:pt idx="7583">
                  <c:v>-3.7406199999999998</c:v>
                </c:pt>
                <c:pt idx="7584">
                  <c:v>-3.9843000000000002</c:v>
                </c:pt>
                <c:pt idx="7585">
                  <c:v>#N/A</c:v>
                </c:pt>
                <c:pt idx="7586">
                  <c:v>-3.7215099999999999</c:v>
                </c:pt>
                <c:pt idx="7587">
                  <c:v>-3.2600899999999999</c:v>
                </c:pt>
                <c:pt idx="7588">
                  <c:v>-2.7624499999999999</c:v>
                </c:pt>
                <c:pt idx="7589">
                  <c:v>#N/A</c:v>
                </c:pt>
                <c:pt idx="7590">
                  <c:v>-2.7338</c:v>
                </c:pt>
                <c:pt idx="7591">
                  <c:v>-2.8003399999999998</c:v>
                </c:pt>
                <c:pt idx="7592">
                  <c:v>-3.3455400000000002</c:v>
                </c:pt>
                <c:pt idx="7593">
                  <c:v>#N/A</c:v>
                </c:pt>
                <c:pt idx="7594">
                  <c:v>-3.8044199999999999</c:v>
                </c:pt>
                <c:pt idx="7595">
                  <c:v>-4.6728699999999996</c:v>
                </c:pt>
                <c:pt idx="7596">
                  <c:v>-3.64629</c:v>
                </c:pt>
                <c:pt idx="7597">
                  <c:v>#N/A</c:v>
                </c:pt>
                <c:pt idx="7598">
                  <c:v>-3.1128399999999998</c:v>
                </c:pt>
                <c:pt idx="7599">
                  <c:v>-1.9967600000000001</c:v>
                </c:pt>
                <c:pt idx="7600">
                  <c:v>#N/A</c:v>
                </c:pt>
                <c:pt idx="7601">
                  <c:v>-2.1399300000000001</c:v>
                </c:pt>
                <c:pt idx="7602">
                  <c:v>-2.3287599999999999</c:v>
                </c:pt>
                <c:pt idx="7603">
                  <c:v>#N/A</c:v>
                </c:pt>
                <c:pt idx="7604">
                  <c:v>-3.4571800000000001</c:v>
                </c:pt>
                <c:pt idx="7605">
                  <c:v>-3.6685400000000001</c:v>
                </c:pt>
                <c:pt idx="7606">
                  <c:v>-3.5281500000000001</c:v>
                </c:pt>
                <c:pt idx="7607">
                  <c:v>#N/A</c:v>
                </c:pt>
                <c:pt idx="7608">
                  <c:v>-3.0861000000000001</c:v>
                </c:pt>
                <c:pt idx="7609">
                  <c:v>-3.1668799999999999</c:v>
                </c:pt>
                <c:pt idx="7610">
                  <c:v>-2.7850299999999999</c:v>
                </c:pt>
                <c:pt idx="7611">
                  <c:v>#N/A</c:v>
                </c:pt>
                <c:pt idx="7612">
                  <c:v>-2.6996600000000002</c:v>
                </c:pt>
                <c:pt idx="7613">
                  <c:v>-2.5541</c:v>
                </c:pt>
                <c:pt idx="7614">
                  <c:v>-3.0792099999999998</c:v>
                </c:pt>
                <c:pt idx="7615">
                  <c:v>#N/A</c:v>
                </c:pt>
                <c:pt idx="7616">
                  <c:v>-3.78633</c:v>
                </c:pt>
                <c:pt idx="7617">
                  <c:v>-3.93431</c:v>
                </c:pt>
                <c:pt idx="7618">
                  <c:v>#N/A</c:v>
                </c:pt>
                <c:pt idx="7619">
                  <c:v>-3.6071800000000001</c:v>
                </c:pt>
                <c:pt idx="7620">
                  <c:v>-2.6052900000000001</c:v>
                </c:pt>
                <c:pt idx="7621">
                  <c:v>-2.55139</c:v>
                </c:pt>
                <c:pt idx="7622">
                  <c:v>#N/A</c:v>
                </c:pt>
                <c:pt idx="7623">
                  <c:v>-2.68866</c:v>
                </c:pt>
                <c:pt idx="7624">
                  <c:v>-2.7959700000000001</c:v>
                </c:pt>
                <c:pt idx="7625">
                  <c:v>-3.2685900000000001</c:v>
                </c:pt>
                <c:pt idx="7626">
                  <c:v>#N/A</c:v>
                </c:pt>
                <c:pt idx="7627">
                  <c:v>-2.7267700000000001</c:v>
                </c:pt>
                <c:pt idx="7628">
                  <c:v>-3.27738</c:v>
                </c:pt>
                <c:pt idx="7629">
                  <c:v>-2.7701500000000001</c:v>
                </c:pt>
                <c:pt idx="7630">
                  <c:v>#N/A</c:v>
                </c:pt>
                <c:pt idx="7631">
                  <c:v>-3.1070000000000002</c:v>
                </c:pt>
                <c:pt idx="7632">
                  <c:v>-2.6758600000000001</c:v>
                </c:pt>
                <c:pt idx="7633">
                  <c:v>#N/A</c:v>
                </c:pt>
                <c:pt idx="7634">
                  <c:v>-2.8961199999999998</c:v>
                </c:pt>
                <c:pt idx="7635">
                  <c:v>-3.36714</c:v>
                </c:pt>
                <c:pt idx="7636">
                  <c:v>-2.9851999999999999</c:v>
                </c:pt>
                <c:pt idx="7637">
                  <c:v>#N/A</c:v>
                </c:pt>
                <c:pt idx="7638">
                  <c:v>-3.2096200000000001</c:v>
                </c:pt>
                <c:pt idx="7639">
                  <c:v>-2.8438099999999999</c:v>
                </c:pt>
                <c:pt idx="7640">
                  <c:v>-2.6426799999999999</c:v>
                </c:pt>
                <c:pt idx="7641">
                  <c:v>#N/A</c:v>
                </c:pt>
                <c:pt idx="7642">
                  <c:v>-2.9523299999999999</c:v>
                </c:pt>
                <c:pt idx="7643">
                  <c:v>-3.0593400000000002</c:v>
                </c:pt>
                <c:pt idx="7644">
                  <c:v>-2.6612100000000001</c:v>
                </c:pt>
                <c:pt idx="7645">
                  <c:v>#N/A</c:v>
                </c:pt>
                <c:pt idx="7646">
                  <c:v>-3.1963900000000001</c:v>
                </c:pt>
                <c:pt idx="7647">
                  <c:v>-3.4266299999999998</c:v>
                </c:pt>
                <c:pt idx="7648">
                  <c:v>-3.19834</c:v>
                </c:pt>
                <c:pt idx="7649">
                  <c:v>#N/A</c:v>
                </c:pt>
                <c:pt idx="7650">
                  <c:v>-2.9950000000000001</c:v>
                </c:pt>
                <c:pt idx="7651">
                  <c:v>-1.97818</c:v>
                </c:pt>
                <c:pt idx="7652">
                  <c:v>-2.0600999999999998</c:v>
                </c:pt>
                <c:pt idx="7653">
                  <c:v>#N/A</c:v>
                </c:pt>
                <c:pt idx="7654">
                  <c:v>-2.87202</c:v>
                </c:pt>
                <c:pt idx="7655">
                  <c:v>-3.1128499999999999</c:v>
                </c:pt>
                <c:pt idx="7656">
                  <c:v>-3.6343200000000002</c:v>
                </c:pt>
                <c:pt idx="7657">
                  <c:v>#N/A</c:v>
                </c:pt>
                <c:pt idx="7658">
                  <c:v>-3.4199000000000002</c:v>
                </c:pt>
                <c:pt idx="7659">
                  <c:v>#N/A</c:v>
                </c:pt>
                <c:pt idx="7660">
                  <c:v>-3.2626900000000001</c:v>
                </c:pt>
                <c:pt idx="7661">
                  <c:v>-3.2067399999999999</c:v>
                </c:pt>
                <c:pt idx="7662">
                  <c:v>#N/A</c:v>
                </c:pt>
                <c:pt idx="7663">
                  <c:v>-2.3637800000000002</c:v>
                </c:pt>
                <c:pt idx="7664">
                  <c:v>-3.1539100000000002</c:v>
                </c:pt>
                <c:pt idx="7665">
                  <c:v>#N/A</c:v>
                </c:pt>
                <c:pt idx="7666">
                  <c:v>-3.4081600000000001</c:v>
                </c:pt>
                <c:pt idx="7667">
                  <c:v>-3.15848</c:v>
                </c:pt>
                <c:pt idx="7668">
                  <c:v>-3.3876499999999998</c:v>
                </c:pt>
                <c:pt idx="7669">
                  <c:v>#N/A</c:v>
                </c:pt>
                <c:pt idx="7670">
                  <c:v>-2.9325299999999999</c:v>
                </c:pt>
                <c:pt idx="7671">
                  <c:v>-2.1505299999999998</c:v>
                </c:pt>
                <c:pt idx="7672">
                  <c:v>-1.6137699999999999</c:v>
                </c:pt>
                <c:pt idx="7673">
                  <c:v>#N/A</c:v>
                </c:pt>
                <c:pt idx="7674">
                  <c:v>-1.8976299999999999</c:v>
                </c:pt>
                <c:pt idx="7675">
                  <c:v>-2.1809099999999999</c:v>
                </c:pt>
                <c:pt idx="7676">
                  <c:v>-2.8382999999999998</c:v>
                </c:pt>
                <c:pt idx="7677">
                  <c:v>#N/A</c:v>
                </c:pt>
                <c:pt idx="7678">
                  <c:v>-3.5834000000000001</c:v>
                </c:pt>
                <c:pt idx="7679">
                  <c:v>-3.0527099999999998</c:v>
                </c:pt>
                <c:pt idx="7680">
                  <c:v>-2.9257200000000001</c:v>
                </c:pt>
                <c:pt idx="7681">
                  <c:v>#N/A</c:v>
                </c:pt>
                <c:pt idx="7682">
                  <c:v>-2.1514899999999999</c:v>
                </c:pt>
                <c:pt idx="7683">
                  <c:v>-1.8111699999999999</c:v>
                </c:pt>
                <c:pt idx="7684">
                  <c:v>-1.51373</c:v>
                </c:pt>
                <c:pt idx="7685">
                  <c:v>#N/A</c:v>
                </c:pt>
                <c:pt idx="7686">
                  <c:v>-2.04643</c:v>
                </c:pt>
                <c:pt idx="7687">
                  <c:v>-2.6348600000000002</c:v>
                </c:pt>
                <c:pt idx="7688">
                  <c:v>-3.1451899999999999</c:v>
                </c:pt>
                <c:pt idx="7689">
                  <c:v>#N/A</c:v>
                </c:pt>
                <c:pt idx="7690">
                  <c:v>-3.4245800000000002</c:v>
                </c:pt>
                <c:pt idx="7691">
                  <c:v>-2.4912200000000002</c:v>
                </c:pt>
                <c:pt idx="7692">
                  <c:v>#N/A</c:v>
                </c:pt>
                <c:pt idx="7693">
                  <c:v>-2.6011000000000002</c:v>
                </c:pt>
                <c:pt idx="7694">
                  <c:v>-2.07402</c:v>
                </c:pt>
                <c:pt idx="7695">
                  <c:v>-2.44651</c:v>
                </c:pt>
                <c:pt idx="7696">
                  <c:v>#N/A</c:v>
                </c:pt>
                <c:pt idx="7697">
                  <c:v>-2.2400600000000002</c:v>
                </c:pt>
                <c:pt idx="7698">
                  <c:v>-3.0974300000000001</c:v>
                </c:pt>
                <c:pt idx="7699">
                  <c:v>-2.8668999999999998</c:v>
                </c:pt>
                <c:pt idx="7700">
                  <c:v>#N/A</c:v>
                </c:pt>
                <c:pt idx="7701">
                  <c:v>-3.2567499999999998</c:v>
                </c:pt>
                <c:pt idx="7702">
                  <c:v>-3.0999099999999999</c:v>
                </c:pt>
                <c:pt idx="7703">
                  <c:v>-2.5763400000000001</c:v>
                </c:pt>
                <c:pt idx="7704">
                  <c:v>#N/A</c:v>
                </c:pt>
                <c:pt idx="7705">
                  <c:v>-1.98417</c:v>
                </c:pt>
                <c:pt idx="7706">
                  <c:v>-2.2286700000000002</c:v>
                </c:pt>
                <c:pt idx="7707">
                  <c:v>-2.92679</c:v>
                </c:pt>
                <c:pt idx="7708">
                  <c:v>#N/A</c:v>
                </c:pt>
                <c:pt idx="7709">
                  <c:v>-3.0106199999999999</c:v>
                </c:pt>
                <c:pt idx="7710">
                  <c:v>-2.9046799999999999</c:v>
                </c:pt>
                <c:pt idx="7711">
                  <c:v>-2.9310100000000001</c:v>
                </c:pt>
                <c:pt idx="7712">
                  <c:v>#N/A</c:v>
                </c:pt>
                <c:pt idx="7713">
                  <c:v>-3.1278000000000001</c:v>
                </c:pt>
                <c:pt idx="7714">
                  <c:v>-3.0663100000000001</c:v>
                </c:pt>
                <c:pt idx="7715">
                  <c:v>#N/A</c:v>
                </c:pt>
                <c:pt idx="7716">
                  <c:v>-2.7259799999999998</c:v>
                </c:pt>
                <c:pt idx="7717">
                  <c:v>-2.8294700000000002</c:v>
                </c:pt>
                <c:pt idx="7718">
                  <c:v>-2.70438</c:v>
                </c:pt>
                <c:pt idx="7719">
                  <c:v>#N/A</c:v>
                </c:pt>
                <c:pt idx="7720">
                  <c:v>-3.1799499999999998</c:v>
                </c:pt>
                <c:pt idx="7721">
                  <c:v>-3.3618199999999998</c:v>
                </c:pt>
                <c:pt idx="7722">
                  <c:v>-3.3108300000000002</c:v>
                </c:pt>
                <c:pt idx="7723">
                  <c:v>#N/A</c:v>
                </c:pt>
                <c:pt idx="7724">
                  <c:v>-2.94387</c:v>
                </c:pt>
                <c:pt idx="7725">
                  <c:v>-2.61809</c:v>
                </c:pt>
                <c:pt idx="7726">
                  <c:v>-3.0437799999999999</c:v>
                </c:pt>
                <c:pt idx="7727">
                  <c:v>#N/A</c:v>
                </c:pt>
                <c:pt idx="7728">
                  <c:v>-2.3622100000000001</c:v>
                </c:pt>
                <c:pt idx="7729">
                  <c:v>-2.8212600000000001</c:v>
                </c:pt>
                <c:pt idx="7730">
                  <c:v>#N/A</c:v>
                </c:pt>
                <c:pt idx="7731">
                  <c:v>-2.8914</c:v>
                </c:pt>
                <c:pt idx="7732">
                  <c:v>-2.6775000000000002</c:v>
                </c:pt>
                <c:pt idx="7733">
                  <c:v>#N/A</c:v>
                </c:pt>
                <c:pt idx="7734">
                  <c:v>-2.71468</c:v>
                </c:pt>
                <c:pt idx="7735">
                  <c:v>-2.4146700000000001</c:v>
                </c:pt>
                <c:pt idx="7736">
                  <c:v>#N/A</c:v>
                </c:pt>
                <c:pt idx="7737">
                  <c:v>-2.33053</c:v>
                </c:pt>
                <c:pt idx="7738">
                  <c:v>-2.3086700000000002</c:v>
                </c:pt>
                <c:pt idx="7739">
                  <c:v>-3.1436099999999998</c:v>
                </c:pt>
                <c:pt idx="7740">
                  <c:v>#N/A</c:v>
                </c:pt>
                <c:pt idx="7741">
                  <c:v>-3.4541900000000001</c:v>
                </c:pt>
                <c:pt idx="7742">
                  <c:v>-3.1715100000000001</c:v>
                </c:pt>
                <c:pt idx="7743">
                  <c:v>-2.7920099999999999</c:v>
                </c:pt>
                <c:pt idx="7744">
                  <c:v>#N/A</c:v>
                </c:pt>
                <c:pt idx="7745">
                  <c:v>-2.0437400000000001</c:v>
                </c:pt>
                <c:pt idx="7746">
                  <c:v>-2.1120899999999998</c:v>
                </c:pt>
                <c:pt idx="7747">
                  <c:v>#N/A</c:v>
                </c:pt>
                <c:pt idx="7748">
                  <c:v>-2.4051200000000001</c:v>
                </c:pt>
                <c:pt idx="7749">
                  <c:v>-2.5239600000000002</c:v>
                </c:pt>
                <c:pt idx="7750">
                  <c:v>-3.5800700000000001</c:v>
                </c:pt>
                <c:pt idx="7751">
                  <c:v>#N/A</c:v>
                </c:pt>
                <c:pt idx="7752">
                  <c:v>-3.7193100000000001</c:v>
                </c:pt>
                <c:pt idx="7753">
                  <c:v>-4.0627199999999997</c:v>
                </c:pt>
                <c:pt idx="7754">
                  <c:v>-3.2105600000000001</c:v>
                </c:pt>
                <c:pt idx="7755">
                  <c:v>#N/A</c:v>
                </c:pt>
                <c:pt idx="7756">
                  <c:v>-2.4636800000000001</c:v>
                </c:pt>
                <c:pt idx="7757">
                  <c:v>-2.0067200000000001</c:v>
                </c:pt>
                <c:pt idx="7758">
                  <c:v>-2.5239199999999999</c:v>
                </c:pt>
                <c:pt idx="7759">
                  <c:v>#N/A</c:v>
                </c:pt>
                <c:pt idx="7760">
                  <c:v>-2.9272100000000001</c:v>
                </c:pt>
                <c:pt idx="7761">
                  <c:v>-3.19652</c:v>
                </c:pt>
                <c:pt idx="7762">
                  <c:v>-3.4198400000000002</c:v>
                </c:pt>
                <c:pt idx="7763">
                  <c:v>#N/A</c:v>
                </c:pt>
                <c:pt idx="7764">
                  <c:v>-3.7275800000000001</c:v>
                </c:pt>
                <c:pt idx="7765">
                  <c:v>-3.21366</c:v>
                </c:pt>
                <c:pt idx="7766">
                  <c:v>-2.3749099999999999</c:v>
                </c:pt>
                <c:pt idx="7767">
                  <c:v>#N/A</c:v>
                </c:pt>
                <c:pt idx="7768">
                  <c:v>-1.9443299999999999</c:v>
                </c:pt>
                <c:pt idx="7769">
                  <c:v>-2.2114600000000002</c:v>
                </c:pt>
                <c:pt idx="7770">
                  <c:v>-2.2757800000000001</c:v>
                </c:pt>
                <c:pt idx="7771">
                  <c:v>#N/A</c:v>
                </c:pt>
                <c:pt idx="7772">
                  <c:v>-2.9224899999999998</c:v>
                </c:pt>
                <c:pt idx="7773">
                  <c:v>-3.0929799999999998</c:v>
                </c:pt>
                <c:pt idx="7774">
                  <c:v>-3.3684400000000001</c:v>
                </c:pt>
                <c:pt idx="7775">
                  <c:v>#N/A</c:v>
                </c:pt>
                <c:pt idx="7776">
                  <c:v>-3.7455400000000001</c:v>
                </c:pt>
                <c:pt idx="7777">
                  <c:v>-2.7226599999999999</c:v>
                </c:pt>
                <c:pt idx="7778">
                  <c:v>#N/A</c:v>
                </c:pt>
                <c:pt idx="7779">
                  <c:v>-2.5926200000000001</c:v>
                </c:pt>
                <c:pt idx="7780">
                  <c:v>-2.2793000000000001</c:v>
                </c:pt>
                <c:pt idx="7781">
                  <c:v>-2.9192</c:v>
                </c:pt>
                <c:pt idx="7782">
                  <c:v>#N/A</c:v>
                </c:pt>
                <c:pt idx="7783">
                  <c:v>-2.7850700000000002</c:v>
                </c:pt>
                <c:pt idx="7784">
                  <c:v>-2.9526500000000002</c:v>
                </c:pt>
                <c:pt idx="7785">
                  <c:v>#N/A</c:v>
                </c:pt>
                <c:pt idx="7786">
                  <c:v>-2.3115100000000002</c:v>
                </c:pt>
                <c:pt idx="7787">
                  <c:v>-2.4415200000000001</c:v>
                </c:pt>
                <c:pt idx="7788">
                  <c:v>-2.5191499999999998</c:v>
                </c:pt>
                <c:pt idx="7789">
                  <c:v>#N/A</c:v>
                </c:pt>
                <c:pt idx="7790">
                  <c:v>-2.8461400000000001</c:v>
                </c:pt>
                <c:pt idx="7791">
                  <c:v>-2.7830599999999999</c:v>
                </c:pt>
                <c:pt idx="7792">
                  <c:v>-2.6871299999999998</c:v>
                </c:pt>
                <c:pt idx="7793">
                  <c:v>#N/A</c:v>
                </c:pt>
                <c:pt idx="7794">
                  <c:v>-2.3447499999999999</c:v>
                </c:pt>
                <c:pt idx="7795">
                  <c:v>-2.3787799999999999</c:v>
                </c:pt>
                <c:pt idx="7796">
                  <c:v>-2.4037700000000002</c:v>
                </c:pt>
                <c:pt idx="7797">
                  <c:v>#N/A</c:v>
                </c:pt>
                <c:pt idx="7798">
                  <c:v>-1.6508400000000001</c:v>
                </c:pt>
                <c:pt idx="7799">
                  <c:v>-2.2590300000000001</c:v>
                </c:pt>
                <c:pt idx="7800">
                  <c:v>-2.6299899999999998</c:v>
                </c:pt>
                <c:pt idx="7801">
                  <c:v>#N/A</c:v>
                </c:pt>
                <c:pt idx="7802">
                  <c:v>-2.7092299999999998</c:v>
                </c:pt>
                <c:pt idx="7803">
                  <c:v>-3.0711200000000001</c:v>
                </c:pt>
                <c:pt idx="7804">
                  <c:v>-2.6458900000000001</c:v>
                </c:pt>
                <c:pt idx="7805">
                  <c:v>#N/A</c:v>
                </c:pt>
                <c:pt idx="7806">
                  <c:v>-2.1583100000000002</c:v>
                </c:pt>
                <c:pt idx="7807">
                  <c:v>-2.2551299999999999</c:v>
                </c:pt>
                <c:pt idx="7808">
                  <c:v>#N/A</c:v>
                </c:pt>
                <c:pt idx="7809">
                  <c:v>-1.4863999999999999</c:v>
                </c:pt>
                <c:pt idx="7810">
                  <c:v>#N/A</c:v>
                </c:pt>
                <c:pt idx="7811">
                  <c:v>-2.1001599999999998</c:v>
                </c:pt>
                <c:pt idx="7812">
                  <c:v>-2.7155100000000001</c:v>
                </c:pt>
                <c:pt idx="7813">
                  <c:v>-3.1487799999999999</c:v>
                </c:pt>
                <c:pt idx="7814">
                  <c:v>#N/A</c:v>
                </c:pt>
                <c:pt idx="7815">
                  <c:v>-3.0773700000000002</c:v>
                </c:pt>
                <c:pt idx="7816">
                  <c:v>-2.8778899999999998</c:v>
                </c:pt>
                <c:pt idx="7817">
                  <c:v>-2.6862300000000001</c:v>
                </c:pt>
                <c:pt idx="7818">
                  <c:v>#N/A</c:v>
                </c:pt>
                <c:pt idx="7819">
                  <c:v>-1.40117</c:v>
                </c:pt>
                <c:pt idx="7820">
                  <c:v>-2.07063</c:v>
                </c:pt>
                <c:pt idx="7821">
                  <c:v>-1.62096</c:v>
                </c:pt>
                <c:pt idx="7822">
                  <c:v>#N/A</c:v>
                </c:pt>
                <c:pt idx="7823">
                  <c:v>-2.07585</c:v>
                </c:pt>
                <c:pt idx="7824">
                  <c:v>-2.9756100000000001</c:v>
                </c:pt>
                <c:pt idx="7825">
                  <c:v>-3.5298699999999998</c:v>
                </c:pt>
                <c:pt idx="7826">
                  <c:v>#N/A</c:v>
                </c:pt>
                <c:pt idx="7827">
                  <c:v>-2.6607099999999999</c:v>
                </c:pt>
                <c:pt idx="7828">
                  <c:v>-2.8910100000000001</c:v>
                </c:pt>
                <c:pt idx="7829">
                  <c:v>-1.99461</c:v>
                </c:pt>
                <c:pt idx="7830">
                  <c:v>#N/A</c:v>
                </c:pt>
                <c:pt idx="7831">
                  <c:v>-1.1669799999999999</c:v>
                </c:pt>
                <c:pt idx="7832">
                  <c:v>-1.50688</c:v>
                </c:pt>
                <c:pt idx="7833">
                  <c:v>-1.9100200000000001</c:v>
                </c:pt>
                <c:pt idx="7834">
                  <c:v>#N/A</c:v>
                </c:pt>
                <c:pt idx="7835">
                  <c:v>-2.3975499999999998</c:v>
                </c:pt>
                <c:pt idx="7836">
                  <c:v>-3.0149599999999999</c:v>
                </c:pt>
                <c:pt idx="7837">
                  <c:v>#N/A</c:v>
                </c:pt>
                <c:pt idx="7838">
                  <c:v>-2.9727000000000001</c:v>
                </c:pt>
                <c:pt idx="7839">
                  <c:v>-2.4564699999999999</c:v>
                </c:pt>
                <c:pt idx="7840">
                  <c:v>-2.46739</c:v>
                </c:pt>
                <c:pt idx="7841">
                  <c:v>#N/A</c:v>
                </c:pt>
                <c:pt idx="7842">
                  <c:v>-2.25082</c:v>
                </c:pt>
                <c:pt idx="7843">
                  <c:v>-1.94059</c:v>
                </c:pt>
                <c:pt idx="7844">
                  <c:v>-2.1265399999999999</c:v>
                </c:pt>
                <c:pt idx="7845">
                  <c:v>#N/A</c:v>
                </c:pt>
                <c:pt idx="7846">
                  <c:v>-2.20892</c:v>
                </c:pt>
                <c:pt idx="7847">
                  <c:v>-2.68445</c:v>
                </c:pt>
                <c:pt idx="7848">
                  <c:v>-2.5832099999999998</c:v>
                </c:pt>
                <c:pt idx="7849">
                  <c:v>#N/A</c:v>
                </c:pt>
                <c:pt idx="7850">
                  <c:v>-2.3496299999999999</c:v>
                </c:pt>
                <c:pt idx="7851">
                  <c:v>-2.1989100000000001</c:v>
                </c:pt>
                <c:pt idx="7852">
                  <c:v>#N/A</c:v>
                </c:pt>
                <c:pt idx="7853">
                  <c:v>-2.1683300000000001</c:v>
                </c:pt>
                <c:pt idx="7854">
                  <c:v>-2.8549899999999999</c:v>
                </c:pt>
                <c:pt idx="7855">
                  <c:v>-2.5854599999999999</c:v>
                </c:pt>
                <c:pt idx="7856">
                  <c:v>#N/A</c:v>
                </c:pt>
                <c:pt idx="7857">
                  <c:v>-2.4354499999999999</c:v>
                </c:pt>
                <c:pt idx="7858">
                  <c:v>-2.4181499999999998</c:v>
                </c:pt>
                <c:pt idx="7859">
                  <c:v>-2.3989600000000002</c:v>
                </c:pt>
                <c:pt idx="7860">
                  <c:v>#N/A</c:v>
                </c:pt>
                <c:pt idx="7861">
                  <c:v>-2.2271200000000002</c:v>
                </c:pt>
                <c:pt idx="7862">
                  <c:v>-2.4314399999999998</c:v>
                </c:pt>
                <c:pt idx="7863">
                  <c:v>-2.3052100000000002</c:v>
                </c:pt>
                <c:pt idx="7864">
                  <c:v>#N/A</c:v>
                </c:pt>
                <c:pt idx="7865">
                  <c:v>-3.1631399999999998</c:v>
                </c:pt>
                <c:pt idx="7866">
                  <c:v>-2.71461</c:v>
                </c:pt>
                <c:pt idx="7867">
                  <c:v>-2.3170500000000001</c:v>
                </c:pt>
                <c:pt idx="7868">
                  <c:v>#N/A</c:v>
                </c:pt>
                <c:pt idx="7869">
                  <c:v>-1.9119299999999999</c:v>
                </c:pt>
                <c:pt idx="7870">
                  <c:v>-1.7386299999999999</c:v>
                </c:pt>
                <c:pt idx="7871">
                  <c:v>-1.6485099999999999</c:v>
                </c:pt>
                <c:pt idx="7872">
                  <c:v>#N/A</c:v>
                </c:pt>
                <c:pt idx="7873">
                  <c:v>-2.1168900000000002</c:v>
                </c:pt>
                <c:pt idx="7874">
                  <c:v>-2.2882400000000001</c:v>
                </c:pt>
                <c:pt idx="7875">
                  <c:v>-2.8756400000000002</c:v>
                </c:pt>
                <c:pt idx="7876">
                  <c:v>#N/A</c:v>
                </c:pt>
                <c:pt idx="7877">
                  <c:v>-3.29312</c:v>
                </c:pt>
                <c:pt idx="7878">
                  <c:v>-2.8034599999999998</c:v>
                </c:pt>
                <c:pt idx="7879">
                  <c:v>-2.1142799999999999</c:v>
                </c:pt>
                <c:pt idx="7880">
                  <c:v>#N/A</c:v>
                </c:pt>
                <c:pt idx="7881">
                  <c:v>-2.2048000000000001</c:v>
                </c:pt>
                <c:pt idx="7882">
                  <c:v>-1.62697</c:v>
                </c:pt>
                <c:pt idx="7883">
                  <c:v>#N/A</c:v>
                </c:pt>
                <c:pt idx="7884">
                  <c:v>-2.05348</c:v>
                </c:pt>
                <c:pt idx="7885">
                  <c:v>#N/A</c:v>
                </c:pt>
                <c:pt idx="7886">
                  <c:v>-2.9346000000000001</c:v>
                </c:pt>
                <c:pt idx="7887">
                  <c:v>-3.4426299999999999</c:v>
                </c:pt>
                <c:pt idx="7888">
                  <c:v>#N/A</c:v>
                </c:pt>
                <c:pt idx="7889">
                  <c:v>-3.0645500000000001</c:v>
                </c:pt>
                <c:pt idx="7890">
                  <c:v>-2.6109200000000001</c:v>
                </c:pt>
                <c:pt idx="7891">
                  <c:v>-2.1941899999999999</c:v>
                </c:pt>
                <c:pt idx="7892">
                  <c:v>#N/A</c:v>
                </c:pt>
                <c:pt idx="7893">
                  <c:v>-1.4055</c:v>
                </c:pt>
                <c:pt idx="7894">
                  <c:v>-1.6932499999999999</c:v>
                </c:pt>
                <c:pt idx="7895">
                  <c:v>-1.9978</c:v>
                </c:pt>
                <c:pt idx="7896">
                  <c:v>#N/A</c:v>
                </c:pt>
                <c:pt idx="7897">
                  <c:v>-2.2870499999999998</c:v>
                </c:pt>
                <c:pt idx="7898">
                  <c:v>-3.0627200000000001</c:v>
                </c:pt>
                <c:pt idx="7899">
                  <c:v>-3.2845399999999998</c:v>
                </c:pt>
                <c:pt idx="7900">
                  <c:v>#N/A</c:v>
                </c:pt>
                <c:pt idx="7901">
                  <c:v>-2.7933300000000001</c:v>
                </c:pt>
                <c:pt idx="7902">
                  <c:v>-2.4478499999999999</c:v>
                </c:pt>
                <c:pt idx="7903">
                  <c:v>-1.83535</c:v>
                </c:pt>
                <c:pt idx="7904">
                  <c:v>#N/A</c:v>
                </c:pt>
                <c:pt idx="7905">
                  <c:v>-2.0308199999999998</c:v>
                </c:pt>
                <c:pt idx="7906">
                  <c:v>-2.0750500000000001</c:v>
                </c:pt>
                <c:pt idx="7907">
                  <c:v>#N/A</c:v>
                </c:pt>
                <c:pt idx="7908">
                  <c:v>-2.6631499999999999</c:v>
                </c:pt>
                <c:pt idx="7909">
                  <c:v>-3.3138800000000002</c:v>
                </c:pt>
                <c:pt idx="7910">
                  <c:v>-2.88097</c:v>
                </c:pt>
                <c:pt idx="7911">
                  <c:v>#N/A</c:v>
                </c:pt>
                <c:pt idx="7912">
                  <c:v>-2.6942699999999999</c:v>
                </c:pt>
                <c:pt idx="7913">
                  <c:v>-2.1464300000000001</c:v>
                </c:pt>
                <c:pt idx="7914">
                  <c:v>-1.7730999999999999</c:v>
                </c:pt>
                <c:pt idx="7915">
                  <c:v>#N/A</c:v>
                </c:pt>
                <c:pt idx="7916">
                  <c:v>-1.45105</c:v>
                </c:pt>
                <c:pt idx="7917">
                  <c:v>-2.18377</c:v>
                </c:pt>
                <c:pt idx="7918">
                  <c:v>-2.4384899999999998</c:v>
                </c:pt>
                <c:pt idx="7919">
                  <c:v>#N/A</c:v>
                </c:pt>
                <c:pt idx="7920">
                  <c:v>-2.4471799999999999</c:v>
                </c:pt>
                <c:pt idx="7921">
                  <c:v>-2.4843299999999999</c:v>
                </c:pt>
                <c:pt idx="7922">
                  <c:v>-2.5228999999999999</c:v>
                </c:pt>
                <c:pt idx="7923">
                  <c:v>#N/A</c:v>
                </c:pt>
                <c:pt idx="7924">
                  <c:v>-1.88957</c:v>
                </c:pt>
                <c:pt idx="7925">
                  <c:v>-2.2757100000000001</c:v>
                </c:pt>
                <c:pt idx="7926">
                  <c:v>-1.9406000000000001</c:v>
                </c:pt>
                <c:pt idx="7927">
                  <c:v>#N/A</c:v>
                </c:pt>
                <c:pt idx="7928">
                  <c:v>-2.3351099999999998</c:v>
                </c:pt>
                <c:pt idx="7929">
                  <c:v>-2.6752600000000002</c:v>
                </c:pt>
                <c:pt idx="7930">
                  <c:v>#N/A</c:v>
                </c:pt>
                <c:pt idx="7931">
                  <c:v>-2.8776000000000002</c:v>
                </c:pt>
                <c:pt idx="7932">
                  <c:v>-1.94638</c:v>
                </c:pt>
                <c:pt idx="7933">
                  <c:v>-2.2275900000000002</c:v>
                </c:pt>
                <c:pt idx="7934">
                  <c:v>#N/A</c:v>
                </c:pt>
                <c:pt idx="7935">
                  <c:v>-2.2014399999999998</c:v>
                </c:pt>
                <c:pt idx="7936">
                  <c:v>-2.2177099999999998</c:v>
                </c:pt>
                <c:pt idx="7937">
                  <c:v>-2.7618499999999999</c:v>
                </c:pt>
                <c:pt idx="7938">
                  <c:v>#N/A</c:v>
                </c:pt>
                <c:pt idx="7939">
                  <c:v>-2.6824499999999998</c:v>
                </c:pt>
                <c:pt idx="7940">
                  <c:v>-3.1626599999999998</c:v>
                </c:pt>
                <c:pt idx="7941">
                  <c:v>-2.6775099999999998</c:v>
                </c:pt>
                <c:pt idx="7942">
                  <c:v>#N/A</c:v>
                </c:pt>
                <c:pt idx="7943">
                  <c:v>-2.25664</c:v>
                </c:pt>
                <c:pt idx="7944">
                  <c:v>-1.8726100000000001</c:v>
                </c:pt>
                <c:pt idx="7945">
                  <c:v>-1.6874</c:v>
                </c:pt>
                <c:pt idx="7946">
                  <c:v>#N/A</c:v>
                </c:pt>
                <c:pt idx="7947">
                  <c:v>-2.6206</c:v>
                </c:pt>
                <c:pt idx="7948">
                  <c:v>-3.2364299999999999</c:v>
                </c:pt>
                <c:pt idx="7949">
                  <c:v>-2.6781299999999999</c:v>
                </c:pt>
                <c:pt idx="7950">
                  <c:v>#N/A</c:v>
                </c:pt>
                <c:pt idx="7951">
                  <c:v>-3.0154299999999998</c:v>
                </c:pt>
                <c:pt idx="7952">
                  <c:v>-2.7487699999999999</c:v>
                </c:pt>
                <c:pt idx="7953">
                  <c:v>-1.60788</c:v>
                </c:pt>
                <c:pt idx="7954">
                  <c:v>#N/A</c:v>
                </c:pt>
                <c:pt idx="7955">
                  <c:v>-1.3060799999999999</c:v>
                </c:pt>
                <c:pt idx="7956">
                  <c:v>-1.3717900000000001</c:v>
                </c:pt>
                <c:pt idx="7957">
                  <c:v>-1.6190100000000001</c:v>
                </c:pt>
                <c:pt idx="7958">
                  <c:v>#N/A</c:v>
                </c:pt>
                <c:pt idx="7959">
                  <c:v>-3.0000599999999999</c:v>
                </c:pt>
                <c:pt idx="7960">
                  <c:v>#N/A</c:v>
                </c:pt>
                <c:pt idx="7961">
                  <c:v>-3.0887500000000001</c:v>
                </c:pt>
                <c:pt idx="7962">
                  <c:v>-3.3455599999999999</c:v>
                </c:pt>
                <c:pt idx="7963">
                  <c:v>#N/A</c:v>
                </c:pt>
                <c:pt idx="7964">
                  <c:v>-2.46305</c:v>
                </c:pt>
                <c:pt idx="7965">
                  <c:v>-1.9066799999999999</c:v>
                </c:pt>
                <c:pt idx="7966">
                  <c:v>-1.7708299999999999</c:v>
                </c:pt>
                <c:pt idx="7967">
                  <c:v>#N/A</c:v>
                </c:pt>
                <c:pt idx="7968">
                  <c:v>-2.5928</c:v>
                </c:pt>
                <c:pt idx="7969">
                  <c:v>-3.1721200000000001</c:v>
                </c:pt>
                <c:pt idx="7970">
                  <c:v>-3.1401500000000002</c:v>
                </c:pt>
                <c:pt idx="7971">
                  <c:v>#N/A</c:v>
                </c:pt>
                <c:pt idx="7972">
                  <c:v>-3.0494599999999998</c:v>
                </c:pt>
                <c:pt idx="7973">
                  <c:v>-2.6692399999999998</c:v>
                </c:pt>
                <c:pt idx="7974">
                  <c:v>-2.1408999999999998</c:v>
                </c:pt>
                <c:pt idx="7975">
                  <c:v>#N/A</c:v>
                </c:pt>
                <c:pt idx="7976">
                  <c:v>-2.0068000000000001</c:v>
                </c:pt>
                <c:pt idx="7977">
                  <c:v>-1.7390300000000001</c:v>
                </c:pt>
                <c:pt idx="7978">
                  <c:v>-1.5634699999999999</c:v>
                </c:pt>
                <c:pt idx="7979">
                  <c:v>#N/A</c:v>
                </c:pt>
                <c:pt idx="7980">
                  <c:v>-2.1587000000000001</c:v>
                </c:pt>
                <c:pt idx="7981">
                  <c:v>-2.4542799999999998</c:v>
                </c:pt>
                <c:pt idx="7982">
                  <c:v>#N/A</c:v>
                </c:pt>
                <c:pt idx="7983">
                  <c:v>-3.11741</c:v>
                </c:pt>
                <c:pt idx="7984">
                  <c:v>-2.5556199999999998</c:v>
                </c:pt>
                <c:pt idx="7985">
                  <c:v>-2.3751899999999999</c:v>
                </c:pt>
                <c:pt idx="7986">
                  <c:v>#N/A</c:v>
                </c:pt>
                <c:pt idx="7987">
                  <c:v>-2.07809</c:v>
                </c:pt>
                <c:pt idx="7988">
                  <c:v>-1.58693</c:v>
                </c:pt>
                <c:pt idx="7989">
                  <c:v>-1.93682</c:v>
                </c:pt>
                <c:pt idx="7990">
                  <c:v>#N/A</c:v>
                </c:pt>
                <c:pt idx="7991">
                  <c:v>-2.0298799999999999</c:v>
                </c:pt>
                <c:pt idx="7992">
                  <c:v>-2.6682800000000002</c:v>
                </c:pt>
                <c:pt idx="7993">
                  <c:v>#N/A</c:v>
                </c:pt>
                <c:pt idx="7994">
                  <c:v>-2.92719</c:v>
                </c:pt>
                <c:pt idx="7995">
                  <c:v>-2.6175199999999998</c:v>
                </c:pt>
                <c:pt idx="7996">
                  <c:v>-2.0666099999999998</c:v>
                </c:pt>
                <c:pt idx="7997">
                  <c:v>#N/A</c:v>
                </c:pt>
                <c:pt idx="7998">
                  <c:v>-2.5232600000000001</c:v>
                </c:pt>
                <c:pt idx="7999">
                  <c:v>#N/A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#N/A</c:v>
                </c:pt>
                <c:pt idx="8013">
                  <c:v>#N/A</c:v>
                </c:pt>
                <c:pt idx="8014">
                  <c:v>#N/A</c:v>
                </c:pt>
                <c:pt idx="8015">
                  <c:v>#N/A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#N/A</c:v>
                </c:pt>
                <c:pt idx="8020">
                  <c:v>#N/A</c:v>
                </c:pt>
                <c:pt idx="8021">
                  <c:v>#N/A</c:v>
                </c:pt>
                <c:pt idx="8022">
                  <c:v>#N/A</c:v>
                </c:pt>
                <c:pt idx="8023">
                  <c:v>-3.0283199999999999</c:v>
                </c:pt>
                <c:pt idx="8024">
                  <c:v>#N/A</c:v>
                </c:pt>
                <c:pt idx="8025">
                  <c:v>-3.0238</c:v>
                </c:pt>
                <c:pt idx="8026">
                  <c:v>-2.5818599999999998</c:v>
                </c:pt>
                <c:pt idx="8027">
                  <c:v>-1.9697899999999999</c:v>
                </c:pt>
                <c:pt idx="8028">
                  <c:v>#N/A</c:v>
                </c:pt>
                <c:pt idx="8029">
                  <c:v>-1.98776</c:v>
                </c:pt>
                <c:pt idx="8030">
                  <c:v>-2.13781</c:v>
                </c:pt>
                <c:pt idx="8031">
                  <c:v>-2.3714400000000002</c:v>
                </c:pt>
                <c:pt idx="8032">
                  <c:v>#N/A</c:v>
                </c:pt>
                <c:pt idx="8033">
                  <c:v>-2.7892100000000002</c:v>
                </c:pt>
                <c:pt idx="8034">
                  <c:v>#N/A</c:v>
                </c:pt>
                <c:pt idx="8035">
                  <c:v>-3.1676000000000002</c:v>
                </c:pt>
                <c:pt idx="8036">
                  <c:v>-2.80322</c:v>
                </c:pt>
                <c:pt idx="8037">
                  <c:v>#N/A</c:v>
                </c:pt>
                <c:pt idx="8038">
                  <c:v>-2.1361400000000001</c:v>
                </c:pt>
                <c:pt idx="8039">
                  <c:v>-2.0537100000000001</c:v>
                </c:pt>
                <c:pt idx="8040">
                  <c:v>-2.4861599999999999</c:v>
                </c:pt>
                <c:pt idx="8041">
                  <c:v>#N/A</c:v>
                </c:pt>
                <c:pt idx="8042">
                  <c:v>-2.4337599999999999</c:v>
                </c:pt>
                <c:pt idx="8043">
                  <c:v>-2.5401199999999999</c:v>
                </c:pt>
                <c:pt idx="8044">
                  <c:v>#N/A</c:v>
                </c:pt>
                <c:pt idx="8045">
                  <c:v>-2.5434700000000001</c:v>
                </c:pt>
                <c:pt idx="8046">
                  <c:v>-2.4903</c:v>
                </c:pt>
                <c:pt idx="8047">
                  <c:v>-2.4556300000000002</c:v>
                </c:pt>
                <c:pt idx="8048">
                  <c:v>#N/A</c:v>
                </c:pt>
                <c:pt idx="8049">
                  <c:v>-2.0796299999999999</c:v>
                </c:pt>
                <c:pt idx="8050">
                  <c:v>-1.6228</c:v>
                </c:pt>
                <c:pt idx="8051">
                  <c:v>#N/A</c:v>
                </c:pt>
                <c:pt idx="8052">
                  <c:v>-1.86107</c:v>
                </c:pt>
                <c:pt idx="8053">
                  <c:v>-2.4131399999999998</c:v>
                </c:pt>
                <c:pt idx="8054">
                  <c:v>-2.9476499999999999</c:v>
                </c:pt>
                <c:pt idx="8055">
                  <c:v>#N/A</c:v>
                </c:pt>
                <c:pt idx="8056">
                  <c:v>-3.47234</c:v>
                </c:pt>
                <c:pt idx="8057">
                  <c:v>-2.8059599999999998</c:v>
                </c:pt>
                <c:pt idx="8058">
                  <c:v>-2.4217200000000001</c:v>
                </c:pt>
                <c:pt idx="8059">
                  <c:v>#N/A</c:v>
                </c:pt>
                <c:pt idx="8060">
                  <c:v>-2.2807900000000001</c:v>
                </c:pt>
                <c:pt idx="8061">
                  <c:v>-2.21095</c:v>
                </c:pt>
                <c:pt idx="8062">
                  <c:v>-2.0289700000000002</c:v>
                </c:pt>
                <c:pt idx="8063">
                  <c:v>#N/A</c:v>
                </c:pt>
                <c:pt idx="8064">
                  <c:v>-2.7163900000000001</c:v>
                </c:pt>
                <c:pt idx="8065">
                  <c:v>-2.9999099999999999</c:v>
                </c:pt>
                <c:pt idx="8066">
                  <c:v>#N/A</c:v>
                </c:pt>
                <c:pt idx="8067">
                  <c:v>-3.4351400000000001</c:v>
                </c:pt>
                <c:pt idx="8068">
                  <c:v>-2.8896999999999999</c:v>
                </c:pt>
                <c:pt idx="8069">
                  <c:v>-2.7721</c:v>
                </c:pt>
                <c:pt idx="8070">
                  <c:v>#N/A</c:v>
                </c:pt>
                <c:pt idx="8071">
                  <c:v>-1.57917</c:v>
                </c:pt>
                <c:pt idx="8072">
                  <c:v>-2.4751400000000001</c:v>
                </c:pt>
                <c:pt idx="8073">
                  <c:v>-2.5066600000000001</c:v>
                </c:pt>
                <c:pt idx="8074">
                  <c:v>#N/A</c:v>
                </c:pt>
                <c:pt idx="8075">
                  <c:v>-2.7242999999999999</c:v>
                </c:pt>
                <c:pt idx="8076">
                  <c:v>-2.7812700000000001</c:v>
                </c:pt>
                <c:pt idx="8077">
                  <c:v>-2.60846</c:v>
                </c:pt>
                <c:pt idx="8078">
                  <c:v>#N/A</c:v>
                </c:pt>
                <c:pt idx="8079">
                  <c:v>-2.8138899999999998</c:v>
                </c:pt>
                <c:pt idx="8080">
                  <c:v>-2.6585299999999998</c:v>
                </c:pt>
                <c:pt idx="8081">
                  <c:v>-2.2983699999999998</c:v>
                </c:pt>
                <c:pt idx="8082">
                  <c:v>#N/A</c:v>
                </c:pt>
                <c:pt idx="8083">
                  <c:v>-2.31541</c:v>
                </c:pt>
                <c:pt idx="8084">
                  <c:v>-2.64134</c:v>
                </c:pt>
                <c:pt idx="8085">
                  <c:v>-3.2127699999999999</c:v>
                </c:pt>
                <c:pt idx="8086">
                  <c:v>#N/A</c:v>
                </c:pt>
                <c:pt idx="8087">
                  <c:v>-2.7267299999999999</c:v>
                </c:pt>
                <c:pt idx="8088">
                  <c:v>-2.7841399999999998</c:v>
                </c:pt>
                <c:pt idx="8089">
                  <c:v>#N/A</c:v>
                </c:pt>
                <c:pt idx="8090">
                  <c:v>-2.7342599999999999</c:v>
                </c:pt>
                <c:pt idx="8091">
                  <c:v>-2.43031</c:v>
                </c:pt>
                <c:pt idx="8092">
                  <c:v>-2.2727900000000001</c:v>
                </c:pt>
                <c:pt idx="8093">
                  <c:v>#N/A</c:v>
                </c:pt>
                <c:pt idx="8094">
                  <c:v>-2.3469500000000001</c:v>
                </c:pt>
                <c:pt idx="8095">
                  <c:v>-2.7300499999999999</c:v>
                </c:pt>
                <c:pt idx="8096">
                  <c:v>-2.8161499999999999</c:v>
                </c:pt>
                <c:pt idx="8097">
                  <c:v>#N/A</c:v>
                </c:pt>
                <c:pt idx="8098">
                  <c:v>-2.8904800000000002</c:v>
                </c:pt>
                <c:pt idx="8099">
                  <c:v>-2.1425999999999998</c:v>
                </c:pt>
                <c:pt idx="8100">
                  <c:v>-1.9735100000000001</c:v>
                </c:pt>
                <c:pt idx="8101">
                  <c:v>#N/A</c:v>
                </c:pt>
                <c:pt idx="8102">
                  <c:v>-1.75813</c:v>
                </c:pt>
                <c:pt idx="8103">
                  <c:v>-2.5334099999999999</c:v>
                </c:pt>
                <c:pt idx="8104">
                  <c:v>-2.0765699999999998</c:v>
                </c:pt>
                <c:pt idx="8105">
                  <c:v>#N/A</c:v>
                </c:pt>
                <c:pt idx="8106">
                  <c:v>-2.4293900000000002</c:v>
                </c:pt>
                <c:pt idx="8107">
                  <c:v>-3.04061</c:v>
                </c:pt>
                <c:pt idx="8108">
                  <c:v>#N/A</c:v>
                </c:pt>
                <c:pt idx="8109">
                  <c:v>-2.9066200000000002</c:v>
                </c:pt>
                <c:pt idx="8110">
                  <c:v>-2.1256499999999998</c:v>
                </c:pt>
                <c:pt idx="8111">
                  <c:v>#N/A</c:v>
                </c:pt>
                <c:pt idx="8112">
                  <c:v>-1.63489</c:v>
                </c:pt>
                <c:pt idx="8113">
                  <c:v>-1.67113</c:v>
                </c:pt>
                <c:pt idx="8114">
                  <c:v>-1.7801499999999999</c:v>
                </c:pt>
                <c:pt idx="8115">
                  <c:v>#N/A</c:v>
                </c:pt>
                <c:pt idx="8116">
                  <c:v>-2.8024399999999998</c:v>
                </c:pt>
                <c:pt idx="8117">
                  <c:v>-2.8690099999999998</c:v>
                </c:pt>
                <c:pt idx="8118">
                  <c:v>-3.0718000000000001</c:v>
                </c:pt>
                <c:pt idx="8119">
                  <c:v>#N/A</c:v>
                </c:pt>
                <c:pt idx="8120">
                  <c:v>-2.4068999999999998</c:v>
                </c:pt>
                <c:pt idx="8121">
                  <c:v>-2.1490200000000002</c:v>
                </c:pt>
                <c:pt idx="8122">
                  <c:v>#N/A</c:v>
                </c:pt>
                <c:pt idx="8123">
                  <c:v>-1.77091</c:v>
                </c:pt>
                <c:pt idx="8124">
                  <c:v>-1.87113</c:v>
                </c:pt>
                <c:pt idx="8125">
                  <c:v>-1.54705</c:v>
                </c:pt>
                <c:pt idx="8126">
                  <c:v>#N/A</c:v>
                </c:pt>
                <c:pt idx="8127">
                  <c:v>-2.3696899999999999</c:v>
                </c:pt>
                <c:pt idx="8128">
                  <c:v>-2.8258299999999998</c:v>
                </c:pt>
                <c:pt idx="8129">
                  <c:v>-3.16195</c:v>
                </c:pt>
                <c:pt idx="8130">
                  <c:v>#N/A</c:v>
                </c:pt>
                <c:pt idx="8131">
                  <c:v>-2.1451600000000002</c:v>
                </c:pt>
                <c:pt idx="8132">
                  <c:v>-1.88307</c:v>
                </c:pt>
                <c:pt idx="8133">
                  <c:v>-1.5965499999999999</c:v>
                </c:pt>
                <c:pt idx="8134">
                  <c:v>#N/A</c:v>
                </c:pt>
                <c:pt idx="8135">
                  <c:v>-1.8344</c:v>
                </c:pt>
                <c:pt idx="8136">
                  <c:v>-2.3071299999999999</c:v>
                </c:pt>
                <c:pt idx="8137">
                  <c:v>-2.3897200000000001</c:v>
                </c:pt>
                <c:pt idx="8138">
                  <c:v>#N/A</c:v>
                </c:pt>
                <c:pt idx="8139">
                  <c:v>-3.0763099999999999</c:v>
                </c:pt>
                <c:pt idx="8140">
                  <c:v>-2.6544699999999999</c:v>
                </c:pt>
                <c:pt idx="8141">
                  <c:v>#N/A</c:v>
                </c:pt>
                <c:pt idx="8142">
                  <c:v>-2.4507400000000001</c:v>
                </c:pt>
                <c:pt idx="8143">
                  <c:v>-1.9719899999999999</c:v>
                </c:pt>
                <c:pt idx="8144">
                  <c:v>-1.63808</c:v>
                </c:pt>
                <c:pt idx="8145">
                  <c:v>#N/A</c:v>
                </c:pt>
                <c:pt idx="8146">
                  <c:v>-1.8317399999999999</c:v>
                </c:pt>
                <c:pt idx="8147">
                  <c:v>-2.9738199999999999</c:v>
                </c:pt>
                <c:pt idx="8148">
                  <c:v>#N/A</c:v>
                </c:pt>
                <c:pt idx="8149">
                  <c:v>-3.4803600000000001</c:v>
                </c:pt>
                <c:pt idx="8150">
                  <c:v>-3.0341100000000001</c:v>
                </c:pt>
                <c:pt idx="8151">
                  <c:v>-2.5475400000000001</c:v>
                </c:pt>
                <c:pt idx="8152">
                  <c:v>#N/A</c:v>
                </c:pt>
                <c:pt idx="8153">
                  <c:v>-2.2484600000000001</c:v>
                </c:pt>
                <c:pt idx="8154">
                  <c:v>-2.5186299999999999</c:v>
                </c:pt>
                <c:pt idx="8155">
                  <c:v>-2.8783599999999998</c:v>
                </c:pt>
                <c:pt idx="8156">
                  <c:v>#N/A</c:v>
                </c:pt>
                <c:pt idx="8157">
                  <c:v>-2.74871</c:v>
                </c:pt>
                <c:pt idx="8158">
                  <c:v>-2.5929700000000002</c:v>
                </c:pt>
                <c:pt idx="8159">
                  <c:v>-2.9752900000000002</c:v>
                </c:pt>
                <c:pt idx="8160">
                  <c:v>#N/A</c:v>
                </c:pt>
                <c:pt idx="8161">
                  <c:v>-3.0312000000000001</c:v>
                </c:pt>
                <c:pt idx="8162">
                  <c:v>-2.22661</c:v>
                </c:pt>
                <c:pt idx="8163">
                  <c:v>-2.25143</c:v>
                </c:pt>
                <c:pt idx="8164">
                  <c:v>#N/A</c:v>
                </c:pt>
                <c:pt idx="8165">
                  <c:v>-2.2883900000000001</c:v>
                </c:pt>
                <c:pt idx="8166">
                  <c:v>-2.46455</c:v>
                </c:pt>
                <c:pt idx="8167">
                  <c:v>#N/A</c:v>
                </c:pt>
                <c:pt idx="8168">
                  <c:v>-2.2475299999999998</c:v>
                </c:pt>
                <c:pt idx="8169">
                  <c:v>-2.1941299999999999</c:v>
                </c:pt>
                <c:pt idx="8170">
                  <c:v>-2.4199099999999998</c:v>
                </c:pt>
                <c:pt idx="8171">
                  <c:v>#N/A</c:v>
                </c:pt>
                <c:pt idx="8172">
                  <c:v>-2.5967099999999999</c:v>
                </c:pt>
                <c:pt idx="8173">
                  <c:v>-2.9206099999999999</c:v>
                </c:pt>
                <c:pt idx="8174">
                  <c:v>-2.0553699999999999</c:v>
                </c:pt>
                <c:pt idx="8175">
                  <c:v>#N/A</c:v>
                </c:pt>
                <c:pt idx="8176">
                  <c:v>-2.46875</c:v>
                </c:pt>
                <c:pt idx="8177">
                  <c:v>-2.6493600000000002</c:v>
                </c:pt>
                <c:pt idx="8178">
                  <c:v>-3.0084900000000001</c:v>
                </c:pt>
                <c:pt idx="8179">
                  <c:v>#N/A</c:v>
                </c:pt>
                <c:pt idx="8180">
                  <c:v>-3.0559400000000001</c:v>
                </c:pt>
                <c:pt idx="8181">
                  <c:v>-3.25895</c:v>
                </c:pt>
                <c:pt idx="8182">
                  <c:v>#N/A</c:v>
                </c:pt>
                <c:pt idx="8183">
                  <c:v>-2.3403700000000001</c:v>
                </c:pt>
                <c:pt idx="8184">
                  <c:v>#N/A</c:v>
                </c:pt>
                <c:pt idx="8185">
                  <c:v>-2.30403</c:v>
                </c:pt>
                <c:pt idx="8186">
                  <c:v>#N/A</c:v>
                </c:pt>
                <c:pt idx="8187">
                  <c:v>-2.2721200000000001</c:v>
                </c:pt>
                <c:pt idx="8188">
                  <c:v>-2.2967599999999999</c:v>
                </c:pt>
                <c:pt idx="8189">
                  <c:v>-3.1242999999999999</c:v>
                </c:pt>
                <c:pt idx="8190">
                  <c:v>#N/A</c:v>
                </c:pt>
                <c:pt idx="8191">
                  <c:v>-3.8129900000000001</c:v>
                </c:pt>
                <c:pt idx="8192">
                  <c:v>-3.4211299999999998</c:v>
                </c:pt>
                <c:pt idx="8193">
                  <c:v>-2.5704199999999999</c:v>
                </c:pt>
                <c:pt idx="8194">
                  <c:v>#N/A</c:v>
                </c:pt>
                <c:pt idx="8195">
                  <c:v>-2.6211000000000002</c:v>
                </c:pt>
                <c:pt idx="8196">
                  <c:v>-2.01031</c:v>
                </c:pt>
                <c:pt idx="8197">
                  <c:v>-2.1549900000000002</c:v>
                </c:pt>
                <c:pt idx="8198">
                  <c:v>#N/A</c:v>
                </c:pt>
                <c:pt idx="8199">
                  <c:v>-2.3805999999999998</c:v>
                </c:pt>
                <c:pt idx="8200">
                  <c:v>-2.6264699999999999</c:v>
                </c:pt>
                <c:pt idx="8201">
                  <c:v>-3.4432800000000001</c:v>
                </c:pt>
                <c:pt idx="8202">
                  <c:v>#N/A</c:v>
                </c:pt>
                <c:pt idx="8203">
                  <c:v>-3.2519399999999998</c:v>
                </c:pt>
                <c:pt idx="8204">
                  <c:v>-2.7627899999999999</c:v>
                </c:pt>
                <c:pt idx="8205">
                  <c:v>#N/A</c:v>
                </c:pt>
                <c:pt idx="8206">
                  <c:v>-2.0321099999999999</c:v>
                </c:pt>
                <c:pt idx="8207">
                  <c:v>-1.95723</c:v>
                </c:pt>
                <c:pt idx="8208">
                  <c:v>-2.0601799999999999</c:v>
                </c:pt>
                <c:pt idx="8209">
                  <c:v>#N/A</c:v>
                </c:pt>
                <c:pt idx="8210">
                  <c:v>-2.8761700000000001</c:v>
                </c:pt>
                <c:pt idx="8211">
                  <c:v>-3.1671</c:v>
                </c:pt>
                <c:pt idx="8212">
                  <c:v>-3.6249600000000002</c:v>
                </c:pt>
                <c:pt idx="8213">
                  <c:v>#N/A</c:v>
                </c:pt>
                <c:pt idx="8214">
                  <c:v>-2.9860000000000002</c:v>
                </c:pt>
                <c:pt idx="8215">
                  <c:v>-2.92414</c:v>
                </c:pt>
                <c:pt idx="8216">
                  <c:v>-2.33405</c:v>
                </c:pt>
                <c:pt idx="8217">
                  <c:v>#N/A</c:v>
                </c:pt>
                <c:pt idx="8218">
                  <c:v>-1.7808299999999999</c:v>
                </c:pt>
                <c:pt idx="8219">
                  <c:v>-1.9368300000000001</c:v>
                </c:pt>
                <c:pt idx="8220">
                  <c:v>-2.4893900000000002</c:v>
                </c:pt>
                <c:pt idx="8221">
                  <c:v>#N/A</c:v>
                </c:pt>
                <c:pt idx="8222">
                  <c:v>-2.9219900000000001</c:v>
                </c:pt>
                <c:pt idx="8223">
                  <c:v>-3.0584799999999999</c:v>
                </c:pt>
                <c:pt idx="8224">
                  <c:v>#N/A</c:v>
                </c:pt>
                <c:pt idx="8225">
                  <c:v>-2.3639999999999999</c:v>
                </c:pt>
                <c:pt idx="8226">
                  <c:v>-2.5156999999999998</c:v>
                </c:pt>
                <c:pt idx="8227">
                  <c:v>-2.2086899999999998</c:v>
                </c:pt>
                <c:pt idx="8228">
                  <c:v>#N/A</c:v>
                </c:pt>
                <c:pt idx="8229">
                  <c:v>-1.9973399999999999</c:v>
                </c:pt>
                <c:pt idx="8230">
                  <c:v>-1.83951</c:v>
                </c:pt>
                <c:pt idx="8231">
                  <c:v>-2.45879</c:v>
                </c:pt>
                <c:pt idx="8232">
                  <c:v>#N/A</c:v>
                </c:pt>
                <c:pt idx="8233">
                  <c:v>-2.7841300000000002</c:v>
                </c:pt>
                <c:pt idx="8234">
                  <c:v>-2.7298900000000001</c:v>
                </c:pt>
                <c:pt idx="8235">
                  <c:v>-2.6293000000000002</c:v>
                </c:pt>
                <c:pt idx="8236">
                  <c:v>#N/A</c:v>
                </c:pt>
                <c:pt idx="8237">
                  <c:v>-2.0637599999999998</c:v>
                </c:pt>
                <c:pt idx="8238">
                  <c:v>-2.08744</c:v>
                </c:pt>
                <c:pt idx="8239">
                  <c:v>-2.9735200000000002</c:v>
                </c:pt>
                <c:pt idx="8240">
                  <c:v>#N/A</c:v>
                </c:pt>
                <c:pt idx="8241">
                  <c:v>-2.6427900000000002</c:v>
                </c:pt>
                <c:pt idx="8242">
                  <c:v>-3.0188199999999998</c:v>
                </c:pt>
                <c:pt idx="8243">
                  <c:v>-3.2435200000000002</c:v>
                </c:pt>
                <c:pt idx="8244">
                  <c:v>#N/A</c:v>
                </c:pt>
                <c:pt idx="8245">
                  <c:v>-2.2180499999999999</c:v>
                </c:pt>
                <c:pt idx="8246">
                  <c:v>-2.2413799999999999</c:v>
                </c:pt>
                <c:pt idx="8247">
                  <c:v>-1.5039400000000001</c:v>
                </c:pt>
                <c:pt idx="8248">
                  <c:v>#N/A</c:v>
                </c:pt>
                <c:pt idx="8249">
                  <c:v>-1.82917</c:v>
                </c:pt>
                <c:pt idx="8250">
                  <c:v>-2.1759599999999999</c:v>
                </c:pt>
                <c:pt idx="8251">
                  <c:v>-3.1052599999999999</c:v>
                </c:pt>
                <c:pt idx="8252">
                  <c:v>#N/A</c:v>
                </c:pt>
                <c:pt idx="8253">
                  <c:v>-3.0861299999999998</c:v>
                </c:pt>
                <c:pt idx="8254">
                  <c:v>-2.2840400000000001</c:v>
                </c:pt>
                <c:pt idx="8255">
                  <c:v>#N/A</c:v>
                </c:pt>
                <c:pt idx="8256">
                  <c:v>-2.0446399999999998</c:v>
                </c:pt>
                <c:pt idx="8257">
                  <c:v>-1.7206699999999999</c:v>
                </c:pt>
                <c:pt idx="8258">
                  <c:v>-1.42249</c:v>
                </c:pt>
                <c:pt idx="8259">
                  <c:v>#N/A</c:v>
                </c:pt>
                <c:pt idx="8260">
                  <c:v>-2.1568499999999999</c:v>
                </c:pt>
                <c:pt idx="8261">
                  <c:v>#N/A</c:v>
                </c:pt>
                <c:pt idx="8262">
                  <c:v>-2.8019699999999998</c:v>
                </c:pt>
                <c:pt idx="8263">
                  <c:v>-3.1049699999999998</c:v>
                </c:pt>
                <c:pt idx="8264">
                  <c:v>-3.3086099999999998</c:v>
                </c:pt>
                <c:pt idx="8265">
                  <c:v>#N/A</c:v>
                </c:pt>
                <c:pt idx="8266">
                  <c:v>-2.5750799999999998</c:v>
                </c:pt>
                <c:pt idx="8267">
                  <c:v>-2.2920199999999999</c:v>
                </c:pt>
                <c:pt idx="8268">
                  <c:v>-2.5557799999999999</c:v>
                </c:pt>
                <c:pt idx="8269">
                  <c:v>#N/A</c:v>
                </c:pt>
                <c:pt idx="8270">
                  <c:v>-2.5829800000000001</c:v>
                </c:pt>
                <c:pt idx="8271">
                  <c:v>-2.1186500000000001</c:v>
                </c:pt>
                <c:pt idx="8272">
                  <c:v>#N/A</c:v>
                </c:pt>
                <c:pt idx="8273">
                  <c:v>-3.1769799999999999</c:v>
                </c:pt>
                <c:pt idx="8274">
                  <c:v>-3.0464899999999999</c:v>
                </c:pt>
                <c:pt idx="8275">
                  <c:v>-3.3010299999999999</c:v>
                </c:pt>
                <c:pt idx="8276">
                  <c:v>#N/A</c:v>
                </c:pt>
                <c:pt idx="8277">
                  <c:v>-2.0922900000000002</c:v>
                </c:pt>
                <c:pt idx="8278">
                  <c:v>-2.1512099999999998</c:v>
                </c:pt>
                <c:pt idx="8279">
                  <c:v>#N/A</c:v>
                </c:pt>
                <c:pt idx="8280">
                  <c:v>-1.49983</c:v>
                </c:pt>
                <c:pt idx="8281">
                  <c:v>-1.55315</c:v>
                </c:pt>
                <c:pt idx="8282">
                  <c:v>-2.51037</c:v>
                </c:pt>
                <c:pt idx="8283">
                  <c:v>#N/A</c:v>
                </c:pt>
                <c:pt idx="8284">
                  <c:v>-2.91676</c:v>
                </c:pt>
                <c:pt idx="8285">
                  <c:v>-3.0268799999999998</c:v>
                </c:pt>
                <c:pt idx="8286">
                  <c:v>-2.6620599999999999</c:v>
                </c:pt>
                <c:pt idx="8287">
                  <c:v>#N/A</c:v>
                </c:pt>
                <c:pt idx="8288">
                  <c:v>-2.6348099999999999</c:v>
                </c:pt>
                <c:pt idx="8289">
                  <c:v>-1.8823799999999999</c:v>
                </c:pt>
                <c:pt idx="8290">
                  <c:v>-1.5023299999999999</c:v>
                </c:pt>
                <c:pt idx="8291">
                  <c:v>#N/A</c:v>
                </c:pt>
                <c:pt idx="8292">
                  <c:v>-1.0997600000000001</c:v>
                </c:pt>
                <c:pt idx="8293">
                  <c:v>-1.5962499999999999</c:v>
                </c:pt>
                <c:pt idx="8294">
                  <c:v>#N/A</c:v>
                </c:pt>
                <c:pt idx="8295">
                  <c:v>-2.7582599999999999</c:v>
                </c:pt>
                <c:pt idx="8296">
                  <c:v>-3.09944</c:v>
                </c:pt>
                <c:pt idx="8297">
                  <c:v>-2.8448699999999998</c:v>
                </c:pt>
                <c:pt idx="8298">
                  <c:v>#N/A</c:v>
                </c:pt>
                <c:pt idx="8299">
                  <c:v>-2.6079500000000002</c:v>
                </c:pt>
                <c:pt idx="8300">
                  <c:v>-2.7047400000000001</c:v>
                </c:pt>
                <c:pt idx="8301">
                  <c:v>-2.71143</c:v>
                </c:pt>
                <c:pt idx="8302">
                  <c:v>#N/A</c:v>
                </c:pt>
                <c:pt idx="8303">
                  <c:v>-2.6562399999999999</c:v>
                </c:pt>
                <c:pt idx="8304">
                  <c:v>-2.36015</c:v>
                </c:pt>
                <c:pt idx="8305">
                  <c:v>-2.4646599999999999</c:v>
                </c:pt>
                <c:pt idx="8306">
                  <c:v>#N/A</c:v>
                </c:pt>
                <c:pt idx="8307">
                  <c:v>-2.7132900000000002</c:v>
                </c:pt>
                <c:pt idx="8308">
                  <c:v>-2.3384999999999998</c:v>
                </c:pt>
                <c:pt idx="8309">
                  <c:v>-2.0070100000000002</c:v>
                </c:pt>
                <c:pt idx="8310">
                  <c:v>#N/A</c:v>
                </c:pt>
                <c:pt idx="8311">
                  <c:v>-2.20926</c:v>
                </c:pt>
                <c:pt idx="8312">
                  <c:v>-3.6017399999999999</c:v>
                </c:pt>
                <c:pt idx="8313">
                  <c:v>#N/A</c:v>
                </c:pt>
                <c:pt idx="8314">
                  <c:v>-2.9317500000000001</c:v>
                </c:pt>
                <c:pt idx="8315">
                  <c:v>-3.1656</c:v>
                </c:pt>
                <c:pt idx="8316">
                  <c:v>-2.9710299999999998</c:v>
                </c:pt>
                <c:pt idx="8317">
                  <c:v>#N/A</c:v>
                </c:pt>
                <c:pt idx="8318">
                  <c:v>-2.1222099999999999</c:v>
                </c:pt>
                <c:pt idx="8319">
                  <c:v>-2.0697700000000001</c:v>
                </c:pt>
                <c:pt idx="8320">
                  <c:v>-1.8752899999999999</c:v>
                </c:pt>
                <c:pt idx="8321">
                  <c:v>#N/A</c:v>
                </c:pt>
                <c:pt idx="8322">
                  <c:v>-2.04155</c:v>
                </c:pt>
                <c:pt idx="8323">
                  <c:v>-2.6276299999999999</c:v>
                </c:pt>
                <c:pt idx="8324">
                  <c:v>-2.9788600000000001</c:v>
                </c:pt>
                <c:pt idx="8325">
                  <c:v>#N/A</c:v>
                </c:pt>
                <c:pt idx="8326">
                  <c:v>-3.2298200000000001</c:v>
                </c:pt>
                <c:pt idx="8327">
                  <c:v>-3.0735600000000001</c:v>
                </c:pt>
                <c:pt idx="8328">
                  <c:v>-2.4367999999999999</c:v>
                </c:pt>
                <c:pt idx="8329">
                  <c:v>#N/A</c:v>
                </c:pt>
                <c:pt idx="8330">
                  <c:v>-2.1479300000000001</c:v>
                </c:pt>
                <c:pt idx="8331">
                  <c:v>-2.45614</c:v>
                </c:pt>
                <c:pt idx="8332">
                  <c:v>#N/A</c:v>
                </c:pt>
                <c:pt idx="8333">
                  <c:v>-1.74533</c:v>
                </c:pt>
                <c:pt idx="8334">
                  <c:v>-2.9774400000000001</c:v>
                </c:pt>
                <c:pt idx="8335">
                  <c:v>#N/A</c:v>
                </c:pt>
                <c:pt idx="8336">
                  <c:v>-3.3716499999999998</c:v>
                </c:pt>
                <c:pt idx="8337">
                  <c:v>-3.2835200000000002</c:v>
                </c:pt>
                <c:pt idx="8338">
                  <c:v>#N/A</c:v>
                </c:pt>
                <c:pt idx="8339">
                  <c:v>-2.6335899999999999</c:v>
                </c:pt>
                <c:pt idx="8340">
                  <c:v>-2.2268500000000002</c:v>
                </c:pt>
                <c:pt idx="8341">
                  <c:v>#N/A</c:v>
                </c:pt>
                <c:pt idx="8342">
                  <c:v>-1.74366</c:v>
                </c:pt>
                <c:pt idx="8343">
                  <c:v>-1.66858</c:v>
                </c:pt>
                <c:pt idx="8344">
                  <c:v>-2.4099300000000001</c:v>
                </c:pt>
                <c:pt idx="8345">
                  <c:v>#N/A</c:v>
                </c:pt>
                <c:pt idx="8346">
                  <c:v>-3.0689899999999999</c:v>
                </c:pt>
                <c:pt idx="8347">
                  <c:v>-2.67577</c:v>
                </c:pt>
                <c:pt idx="8348">
                  <c:v>#N/A</c:v>
                </c:pt>
                <c:pt idx="8349">
                  <c:v>-3.8759800000000002</c:v>
                </c:pt>
                <c:pt idx="8350">
                  <c:v>-2.55721</c:v>
                </c:pt>
                <c:pt idx="8351">
                  <c:v>-1.98343</c:v>
                </c:pt>
                <c:pt idx="8352">
                  <c:v>#N/A</c:v>
                </c:pt>
                <c:pt idx="8353">
                  <c:v>-1.8878999999999999</c:v>
                </c:pt>
                <c:pt idx="8354">
                  <c:v>-1.2746200000000001</c:v>
                </c:pt>
                <c:pt idx="8355">
                  <c:v>-2.0539499999999999</c:v>
                </c:pt>
                <c:pt idx="8356">
                  <c:v>#N/A</c:v>
                </c:pt>
                <c:pt idx="8357">
                  <c:v>-2.3231299999999999</c:v>
                </c:pt>
                <c:pt idx="8358">
                  <c:v>-2.8709600000000002</c:v>
                </c:pt>
                <c:pt idx="8359">
                  <c:v>-2.8476900000000001</c:v>
                </c:pt>
                <c:pt idx="8360">
                  <c:v>#N/A</c:v>
                </c:pt>
                <c:pt idx="8361">
                  <c:v>-2.47837</c:v>
                </c:pt>
                <c:pt idx="8362">
                  <c:v>-1.71811</c:v>
                </c:pt>
                <c:pt idx="8363">
                  <c:v>#N/A</c:v>
                </c:pt>
                <c:pt idx="8364">
                  <c:v>-1.90326</c:v>
                </c:pt>
                <c:pt idx="8365">
                  <c:v>-2.1373700000000002</c:v>
                </c:pt>
                <c:pt idx="8366">
                  <c:v>-2.51294</c:v>
                </c:pt>
                <c:pt idx="8367">
                  <c:v>#N/A</c:v>
                </c:pt>
                <c:pt idx="8368">
                  <c:v>-2.8069999999999999</c:v>
                </c:pt>
                <c:pt idx="8369">
                  <c:v>-2.8875600000000001</c:v>
                </c:pt>
                <c:pt idx="8370">
                  <c:v>-2.8550200000000001</c:v>
                </c:pt>
                <c:pt idx="8371">
                  <c:v>#N/A</c:v>
                </c:pt>
                <c:pt idx="8372">
                  <c:v>-2.5911900000000001</c:v>
                </c:pt>
                <c:pt idx="8373">
                  <c:v>-2.3189299999999999</c:v>
                </c:pt>
                <c:pt idx="8374">
                  <c:v>-2.45418</c:v>
                </c:pt>
                <c:pt idx="8375">
                  <c:v>#N/A</c:v>
                </c:pt>
                <c:pt idx="8376">
                  <c:v>-1.94184</c:v>
                </c:pt>
                <c:pt idx="8377">
                  <c:v>-2.23265</c:v>
                </c:pt>
                <c:pt idx="8378">
                  <c:v>-2.2473999999999998</c:v>
                </c:pt>
                <c:pt idx="8379">
                  <c:v>#N/A</c:v>
                </c:pt>
                <c:pt idx="8380">
                  <c:v>-2.52372</c:v>
                </c:pt>
                <c:pt idx="8381">
                  <c:v>-2.26153</c:v>
                </c:pt>
                <c:pt idx="8382">
                  <c:v>-2.0618300000000001</c:v>
                </c:pt>
                <c:pt idx="8383">
                  <c:v>#N/A</c:v>
                </c:pt>
                <c:pt idx="8384">
                  <c:v>-1.8658300000000001</c:v>
                </c:pt>
                <c:pt idx="8385">
                  <c:v>-2.6762000000000001</c:v>
                </c:pt>
                <c:pt idx="8386">
                  <c:v>#N/A</c:v>
                </c:pt>
                <c:pt idx="8387">
                  <c:v>-2.4588999999999999</c:v>
                </c:pt>
                <c:pt idx="8388">
                  <c:v>-2.7607200000000001</c:v>
                </c:pt>
                <c:pt idx="8389">
                  <c:v>-2.8946399999999999</c:v>
                </c:pt>
                <c:pt idx="8390">
                  <c:v>#N/A</c:v>
                </c:pt>
                <c:pt idx="8391">
                  <c:v>-3.0076000000000001</c:v>
                </c:pt>
                <c:pt idx="8392">
                  <c:v>-3.0690499999999998</c:v>
                </c:pt>
                <c:pt idx="8393">
                  <c:v>-2.1415999999999999</c:v>
                </c:pt>
                <c:pt idx="8394">
                  <c:v>#N/A</c:v>
                </c:pt>
                <c:pt idx="8395">
                  <c:v>-2.3681700000000001</c:v>
                </c:pt>
                <c:pt idx="8396">
                  <c:v>-2.47621</c:v>
                </c:pt>
                <c:pt idx="8397">
                  <c:v>-2.9078900000000001</c:v>
                </c:pt>
                <c:pt idx="8398">
                  <c:v>#N/A</c:v>
                </c:pt>
                <c:pt idx="8399">
                  <c:v>-3.1047899999999999</c:v>
                </c:pt>
                <c:pt idx="8400">
                  <c:v>-3.6356899999999999</c:v>
                </c:pt>
                <c:pt idx="8401">
                  <c:v>-2.30382</c:v>
                </c:pt>
                <c:pt idx="8402">
                  <c:v>#N/A</c:v>
                </c:pt>
                <c:pt idx="8403">
                  <c:v>-1.9675499999999999</c:v>
                </c:pt>
                <c:pt idx="8404">
                  <c:v>-1.3687100000000001</c:v>
                </c:pt>
                <c:pt idx="8405">
                  <c:v>-1.7117800000000001</c:v>
                </c:pt>
                <c:pt idx="8406">
                  <c:v>#N/A</c:v>
                </c:pt>
                <c:pt idx="8407">
                  <c:v>-2.26674</c:v>
                </c:pt>
                <c:pt idx="8408">
                  <c:v>-2.5443500000000001</c:v>
                </c:pt>
                <c:pt idx="8409">
                  <c:v>-3.4956100000000001</c:v>
                </c:pt>
                <c:pt idx="8410">
                  <c:v>#N/A</c:v>
                </c:pt>
                <c:pt idx="8411">
                  <c:v>-3.1474799999999998</c:v>
                </c:pt>
                <c:pt idx="8412">
                  <c:v>#N/A</c:v>
                </c:pt>
                <c:pt idx="8413">
                  <c:v>-2.2361300000000002</c:v>
                </c:pt>
                <c:pt idx="8414">
                  <c:v>-1.7278500000000001</c:v>
                </c:pt>
                <c:pt idx="8415">
                  <c:v>-1.2231099999999999</c:v>
                </c:pt>
                <c:pt idx="8416">
                  <c:v>#N/A</c:v>
                </c:pt>
                <c:pt idx="8417">
                  <c:v>-2.42774</c:v>
                </c:pt>
                <c:pt idx="8418">
                  <c:v>-1.96774</c:v>
                </c:pt>
                <c:pt idx="8419">
                  <c:v>-2.83555</c:v>
                </c:pt>
                <c:pt idx="8420">
                  <c:v>#N/A</c:v>
                </c:pt>
                <c:pt idx="8421">
                  <c:v>-3.1023100000000001</c:v>
                </c:pt>
                <c:pt idx="8422">
                  <c:v>-3.14263</c:v>
                </c:pt>
                <c:pt idx="8423">
                  <c:v>-2.76579</c:v>
                </c:pt>
                <c:pt idx="8424">
                  <c:v>#N/A</c:v>
                </c:pt>
                <c:pt idx="8425">
                  <c:v>-1.7351700000000001</c:v>
                </c:pt>
                <c:pt idx="8426">
                  <c:v>-1.8409599999999999</c:v>
                </c:pt>
                <c:pt idx="8427">
                  <c:v>-1.7902199999999999</c:v>
                </c:pt>
                <c:pt idx="8428">
                  <c:v>#N/A</c:v>
                </c:pt>
                <c:pt idx="8429">
                  <c:v>-2.8477199999999998</c:v>
                </c:pt>
                <c:pt idx="8430">
                  <c:v>-2.99871</c:v>
                </c:pt>
                <c:pt idx="8431">
                  <c:v>#N/A</c:v>
                </c:pt>
                <c:pt idx="8432">
                  <c:v>-3.0573700000000001</c:v>
                </c:pt>
                <c:pt idx="8433">
                  <c:v>-2.8644500000000002</c:v>
                </c:pt>
                <c:pt idx="8434">
                  <c:v>-2.6758600000000001</c:v>
                </c:pt>
                <c:pt idx="8435">
                  <c:v>#N/A</c:v>
                </c:pt>
                <c:pt idx="8436">
                  <c:v>-2.4043399999999999</c:v>
                </c:pt>
                <c:pt idx="8437">
                  <c:v>-1.9359</c:v>
                </c:pt>
                <c:pt idx="8438">
                  <c:v>-1.85788</c:v>
                </c:pt>
                <c:pt idx="8439">
                  <c:v>#N/A</c:v>
                </c:pt>
                <c:pt idx="8440">
                  <c:v>-1.8563799999999999</c:v>
                </c:pt>
                <c:pt idx="8441">
                  <c:v>-2.6947299999999998</c:v>
                </c:pt>
                <c:pt idx="8442">
                  <c:v>-3.0504500000000001</c:v>
                </c:pt>
                <c:pt idx="8443">
                  <c:v>#N/A</c:v>
                </c:pt>
                <c:pt idx="8444">
                  <c:v>-2.4861</c:v>
                </c:pt>
                <c:pt idx="8445">
                  <c:v>-1.94476</c:v>
                </c:pt>
                <c:pt idx="8446">
                  <c:v>-2.5359699999999998</c:v>
                </c:pt>
                <c:pt idx="8447">
                  <c:v>#N/A</c:v>
                </c:pt>
                <c:pt idx="8448">
                  <c:v>-1.7110000000000001</c:v>
                </c:pt>
                <c:pt idx="8449">
                  <c:v>-2.0930399999999998</c:v>
                </c:pt>
                <c:pt idx="8450">
                  <c:v>-2.44936</c:v>
                </c:pt>
                <c:pt idx="8451">
                  <c:v>#N/A</c:v>
                </c:pt>
                <c:pt idx="8452">
                  <c:v>-2.9448599999999998</c:v>
                </c:pt>
                <c:pt idx="8453">
                  <c:v>-3.1306500000000002</c:v>
                </c:pt>
                <c:pt idx="8454">
                  <c:v>-2.3276400000000002</c:v>
                </c:pt>
                <c:pt idx="8455">
                  <c:v>#N/A</c:v>
                </c:pt>
                <c:pt idx="8456">
                  <c:v>-2.3897300000000001</c:v>
                </c:pt>
                <c:pt idx="8457">
                  <c:v>-1.5602400000000001</c:v>
                </c:pt>
                <c:pt idx="8458">
                  <c:v>-1.8678600000000001</c:v>
                </c:pt>
                <c:pt idx="8459">
                  <c:v>#N/A</c:v>
                </c:pt>
                <c:pt idx="8460">
                  <c:v>-2.0891799999999998</c:v>
                </c:pt>
                <c:pt idx="8461">
                  <c:v>-2.2570600000000001</c:v>
                </c:pt>
                <c:pt idx="8462">
                  <c:v>#N/A</c:v>
                </c:pt>
                <c:pt idx="8463">
                  <c:v>-2.7282299999999999</c:v>
                </c:pt>
                <c:pt idx="8464">
                  <c:v>-2.49444</c:v>
                </c:pt>
                <c:pt idx="8465">
                  <c:v>-2.37934</c:v>
                </c:pt>
                <c:pt idx="8466">
                  <c:v>#N/A</c:v>
                </c:pt>
                <c:pt idx="8467">
                  <c:v>-1.95722</c:v>
                </c:pt>
                <c:pt idx="8468">
                  <c:v>-1.8895999999999999</c:v>
                </c:pt>
                <c:pt idx="8469">
                  <c:v>-2.3447399999999998</c:v>
                </c:pt>
                <c:pt idx="8470">
                  <c:v>#N/A</c:v>
                </c:pt>
                <c:pt idx="8471">
                  <c:v>-2.30247</c:v>
                </c:pt>
                <c:pt idx="8472">
                  <c:v>-2.7930100000000002</c:v>
                </c:pt>
                <c:pt idx="8473">
                  <c:v>-2.3982299999999999</c:v>
                </c:pt>
                <c:pt idx="8474">
                  <c:v>#N/A</c:v>
                </c:pt>
                <c:pt idx="8475">
                  <c:v>-2.0358100000000001</c:v>
                </c:pt>
                <c:pt idx="8476">
                  <c:v>-1.4328399999999999</c:v>
                </c:pt>
                <c:pt idx="8477">
                  <c:v>-0.98709100000000005</c:v>
                </c:pt>
                <c:pt idx="8478">
                  <c:v>#N/A</c:v>
                </c:pt>
                <c:pt idx="8479">
                  <c:v>-1.48315</c:v>
                </c:pt>
                <c:pt idx="8480">
                  <c:v>-1.5074000000000001</c:v>
                </c:pt>
                <c:pt idx="8481">
                  <c:v>#N/A</c:v>
                </c:pt>
                <c:pt idx="8482">
                  <c:v>-2.7659400000000001</c:v>
                </c:pt>
                <c:pt idx="8483">
                  <c:v>-2.8575599999999999</c:v>
                </c:pt>
                <c:pt idx="8484">
                  <c:v>-2.9495200000000001</c:v>
                </c:pt>
                <c:pt idx="8485">
                  <c:v>#N/A</c:v>
                </c:pt>
                <c:pt idx="8486">
                  <c:v>-2.4140600000000001</c:v>
                </c:pt>
                <c:pt idx="8487">
                  <c:v>#N/A</c:v>
                </c:pt>
                <c:pt idx="8488">
                  <c:v>-1.1799500000000001</c:v>
                </c:pt>
                <c:pt idx="8489">
                  <c:v>-1.3404700000000001</c:v>
                </c:pt>
                <c:pt idx="8490">
                  <c:v>#N/A</c:v>
                </c:pt>
                <c:pt idx="8491">
                  <c:v>-2.08277</c:v>
                </c:pt>
                <c:pt idx="8492">
                  <c:v>-2.7673299999999998</c:v>
                </c:pt>
                <c:pt idx="8493">
                  <c:v>#N/A</c:v>
                </c:pt>
                <c:pt idx="8494">
                  <c:v>-2.7747700000000002</c:v>
                </c:pt>
                <c:pt idx="8495">
                  <c:v>-3.5136799999999999</c:v>
                </c:pt>
                <c:pt idx="8496">
                  <c:v>-2.39398</c:v>
                </c:pt>
                <c:pt idx="8497">
                  <c:v>#N/A</c:v>
                </c:pt>
                <c:pt idx="8498">
                  <c:v>-1.24152</c:v>
                </c:pt>
                <c:pt idx="8499">
                  <c:v>-1.2512399999999999</c:v>
                </c:pt>
                <c:pt idx="8500">
                  <c:v>#N/A</c:v>
                </c:pt>
                <c:pt idx="8501">
                  <c:v>-1.3235600000000001</c:v>
                </c:pt>
                <c:pt idx="8502">
                  <c:v>-1.84598</c:v>
                </c:pt>
                <c:pt idx="8503">
                  <c:v>-2.2187100000000002</c:v>
                </c:pt>
                <c:pt idx="8504">
                  <c:v>#N/A</c:v>
                </c:pt>
                <c:pt idx="8505">
                  <c:v>-2.9855299999999998</c:v>
                </c:pt>
                <c:pt idx="8506">
                  <c:v>-2.8260800000000001</c:v>
                </c:pt>
                <c:pt idx="8507">
                  <c:v>-2.4196300000000002</c:v>
                </c:pt>
                <c:pt idx="8508">
                  <c:v>#N/A</c:v>
                </c:pt>
                <c:pt idx="8509">
                  <c:v>-1.65635</c:v>
                </c:pt>
                <c:pt idx="8510">
                  <c:v>-1.3634500000000001</c:v>
                </c:pt>
                <c:pt idx="8511">
                  <c:v>-1.09243</c:v>
                </c:pt>
                <c:pt idx="8512">
                  <c:v>#N/A</c:v>
                </c:pt>
                <c:pt idx="8513">
                  <c:v>-2.43499</c:v>
                </c:pt>
                <c:pt idx="8514">
                  <c:v>-3.03694</c:v>
                </c:pt>
                <c:pt idx="8515">
                  <c:v>-2.6654200000000001</c:v>
                </c:pt>
                <c:pt idx="8516">
                  <c:v>#N/A</c:v>
                </c:pt>
                <c:pt idx="8517">
                  <c:v>-3.0449999999999999</c:v>
                </c:pt>
                <c:pt idx="8518">
                  <c:v>-2.4394999999999998</c:v>
                </c:pt>
                <c:pt idx="8519">
                  <c:v>-2.3855900000000001</c:v>
                </c:pt>
                <c:pt idx="8520">
                  <c:v>#N/A</c:v>
                </c:pt>
                <c:pt idx="8521">
                  <c:v>-2.1691500000000001</c:v>
                </c:pt>
                <c:pt idx="8522">
                  <c:v>-2.1005199999999999</c:v>
                </c:pt>
                <c:pt idx="8523">
                  <c:v>-2.4762599999999999</c:v>
                </c:pt>
                <c:pt idx="8524">
                  <c:v>#N/A</c:v>
                </c:pt>
                <c:pt idx="8525">
                  <c:v>-2.2187700000000001</c:v>
                </c:pt>
                <c:pt idx="8526">
                  <c:v>-2.3858100000000002</c:v>
                </c:pt>
                <c:pt idx="8527">
                  <c:v>-2.4118499999999998</c:v>
                </c:pt>
                <c:pt idx="8528">
                  <c:v>#N/A</c:v>
                </c:pt>
                <c:pt idx="8529">
                  <c:v>-2.0128900000000001</c:v>
                </c:pt>
                <c:pt idx="8530">
                  <c:v>-1.70167</c:v>
                </c:pt>
                <c:pt idx="8531">
                  <c:v>-1.92039</c:v>
                </c:pt>
                <c:pt idx="8532">
                  <c:v>#N/A</c:v>
                </c:pt>
                <c:pt idx="8533">
                  <c:v>-1.35758</c:v>
                </c:pt>
                <c:pt idx="8534">
                  <c:v>-2.1741199999999998</c:v>
                </c:pt>
                <c:pt idx="8535">
                  <c:v>-1.98366</c:v>
                </c:pt>
                <c:pt idx="8536">
                  <c:v>#N/A</c:v>
                </c:pt>
                <c:pt idx="8537">
                  <c:v>-1.48638</c:v>
                </c:pt>
                <c:pt idx="8538">
                  <c:v>-1.4669700000000001</c:v>
                </c:pt>
                <c:pt idx="8539">
                  <c:v>-1.6713800000000001</c:v>
                </c:pt>
                <c:pt idx="8540">
                  <c:v>#N/A</c:v>
                </c:pt>
                <c:pt idx="8541">
                  <c:v>-1.33125</c:v>
                </c:pt>
                <c:pt idx="8542">
                  <c:v>-2.0595400000000001</c:v>
                </c:pt>
                <c:pt idx="8543">
                  <c:v>#N/A</c:v>
                </c:pt>
                <c:pt idx="8544">
                  <c:v>-1.7422200000000001</c:v>
                </c:pt>
                <c:pt idx="8545">
                  <c:v>-2.3109999999999999</c:v>
                </c:pt>
                <c:pt idx="8546">
                  <c:v>-2.4654500000000001</c:v>
                </c:pt>
                <c:pt idx="8547">
                  <c:v>#N/A</c:v>
                </c:pt>
                <c:pt idx="8548">
                  <c:v>-2.8548</c:v>
                </c:pt>
                <c:pt idx="8549">
                  <c:v>-1.87785</c:v>
                </c:pt>
                <c:pt idx="8550">
                  <c:v>-1.6002799999999999</c:v>
                </c:pt>
                <c:pt idx="8551">
                  <c:v>#N/A</c:v>
                </c:pt>
                <c:pt idx="8552">
                  <c:v>-1.7909900000000001</c:v>
                </c:pt>
                <c:pt idx="8553">
                  <c:v>-2.2432699999999999</c:v>
                </c:pt>
                <c:pt idx="8554">
                  <c:v>-2.0342099999999999</c:v>
                </c:pt>
                <c:pt idx="8555">
                  <c:v>#N/A</c:v>
                </c:pt>
                <c:pt idx="8556">
                  <c:v>-3.1709900000000002</c:v>
                </c:pt>
                <c:pt idx="8557">
                  <c:v>-2.9443199999999998</c:v>
                </c:pt>
                <c:pt idx="8558">
                  <c:v>-2.2715100000000001</c:v>
                </c:pt>
                <c:pt idx="8559">
                  <c:v>#N/A</c:v>
                </c:pt>
                <c:pt idx="8560">
                  <c:v>-1.99699</c:v>
                </c:pt>
                <c:pt idx="8561">
                  <c:v>-1.11208</c:v>
                </c:pt>
                <c:pt idx="8562">
                  <c:v>-0.84394400000000003</c:v>
                </c:pt>
                <c:pt idx="8563">
                  <c:v>#N/A</c:v>
                </c:pt>
                <c:pt idx="8564">
                  <c:v>-1.19346</c:v>
                </c:pt>
                <c:pt idx="8565">
                  <c:v>-2.3700600000000001</c:v>
                </c:pt>
                <c:pt idx="8566">
                  <c:v>#N/A</c:v>
                </c:pt>
                <c:pt idx="8567">
                  <c:v>-2.7937400000000001</c:v>
                </c:pt>
                <c:pt idx="8568">
                  <c:v>-2.59171</c:v>
                </c:pt>
                <c:pt idx="8569">
                  <c:v>-1.9406600000000001</c:v>
                </c:pt>
                <c:pt idx="8570">
                  <c:v>#N/A</c:v>
                </c:pt>
                <c:pt idx="8571">
                  <c:v>-1.94218</c:v>
                </c:pt>
                <c:pt idx="8572">
                  <c:v>-0.940141</c:v>
                </c:pt>
                <c:pt idx="8573">
                  <c:v>-1.43946</c:v>
                </c:pt>
                <c:pt idx="8574">
                  <c:v>#N/A</c:v>
                </c:pt>
                <c:pt idx="8575">
                  <c:v>-2.1575799999999998</c:v>
                </c:pt>
                <c:pt idx="8576">
                  <c:v>-2.6080899999999998</c:v>
                </c:pt>
                <c:pt idx="8577">
                  <c:v>-3.0520399999999999</c:v>
                </c:pt>
                <c:pt idx="8578">
                  <c:v>#N/A</c:v>
                </c:pt>
                <c:pt idx="8579">
                  <c:v>-2.7757200000000002</c:v>
                </c:pt>
                <c:pt idx="8580">
                  <c:v>-2.5112299999999999</c:v>
                </c:pt>
                <c:pt idx="8581">
                  <c:v>-2.0606200000000001</c:v>
                </c:pt>
                <c:pt idx="8582">
                  <c:v>#N/A</c:v>
                </c:pt>
                <c:pt idx="8583">
                  <c:v>-0.947434</c:v>
                </c:pt>
                <c:pt idx="8584">
                  <c:v>-1.36788</c:v>
                </c:pt>
                <c:pt idx="8585">
                  <c:v>-1.17519</c:v>
                </c:pt>
                <c:pt idx="8586">
                  <c:v>#N/A</c:v>
                </c:pt>
                <c:pt idx="8587">
                  <c:v>-2.4847000000000001</c:v>
                </c:pt>
                <c:pt idx="8588">
                  <c:v>-3.0159799999999999</c:v>
                </c:pt>
                <c:pt idx="8589">
                  <c:v>-2.65381</c:v>
                </c:pt>
                <c:pt idx="8590">
                  <c:v>#N/A</c:v>
                </c:pt>
                <c:pt idx="8591">
                  <c:v>-2.0162399999999998</c:v>
                </c:pt>
                <c:pt idx="8592">
                  <c:v>-2.48915</c:v>
                </c:pt>
                <c:pt idx="8593">
                  <c:v>-1.1943299999999999</c:v>
                </c:pt>
                <c:pt idx="8594">
                  <c:v>#N/A</c:v>
                </c:pt>
                <c:pt idx="8595">
                  <c:v>-1.7864500000000001</c:v>
                </c:pt>
                <c:pt idx="8596">
                  <c:v>-1.70624</c:v>
                </c:pt>
                <c:pt idx="8597">
                  <c:v>#N/A</c:v>
                </c:pt>
                <c:pt idx="8598">
                  <c:v>-1.3906499999999999</c:v>
                </c:pt>
                <c:pt idx="8599">
                  <c:v>-2.65097</c:v>
                </c:pt>
                <c:pt idx="8600">
                  <c:v>-2.4006400000000001</c:v>
                </c:pt>
                <c:pt idx="8601">
                  <c:v>#N/A</c:v>
                </c:pt>
                <c:pt idx="8602">
                  <c:v>-1.5417400000000001</c:v>
                </c:pt>
                <c:pt idx="8603">
                  <c:v>-1.21919</c:v>
                </c:pt>
                <c:pt idx="8604">
                  <c:v>-1.4591700000000001</c:v>
                </c:pt>
                <c:pt idx="8605">
                  <c:v>#N/A</c:v>
                </c:pt>
                <c:pt idx="8606">
                  <c:v>-1.36121</c:v>
                </c:pt>
                <c:pt idx="8607">
                  <c:v>-2.1242000000000001</c:v>
                </c:pt>
                <c:pt idx="8608">
                  <c:v>#N/A</c:v>
                </c:pt>
                <c:pt idx="8609">
                  <c:v>-2.3143400000000001</c:v>
                </c:pt>
                <c:pt idx="8610">
                  <c:v>-1.7310099999999999</c:v>
                </c:pt>
                <c:pt idx="8611">
                  <c:v>-1.88161</c:v>
                </c:pt>
                <c:pt idx="8612">
                  <c:v>#N/A</c:v>
                </c:pt>
                <c:pt idx="8613">
                  <c:v>-1.72814</c:v>
                </c:pt>
                <c:pt idx="8614">
                  <c:v>-1.9807900000000001</c:v>
                </c:pt>
                <c:pt idx="8615">
                  <c:v>-2.50501</c:v>
                </c:pt>
                <c:pt idx="8616">
                  <c:v>#N/A</c:v>
                </c:pt>
                <c:pt idx="8617">
                  <c:v>-3.3052199999999998</c:v>
                </c:pt>
                <c:pt idx="8618">
                  <c:v>-2.7925</c:v>
                </c:pt>
                <c:pt idx="8619">
                  <c:v>-3.0241099999999999</c:v>
                </c:pt>
                <c:pt idx="8620">
                  <c:v>#N/A</c:v>
                </c:pt>
                <c:pt idx="8621">
                  <c:v>-2.6488100000000001</c:v>
                </c:pt>
                <c:pt idx="8622">
                  <c:v>-1.62981</c:v>
                </c:pt>
                <c:pt idx="8623">
                  <c:v>-1.5748200000000001</c:v>
                </c:pt>
                <c:pt idx="8624">
                  <c:v>#N/A</c:v>
                </c:pt>
                <c:pt idx="8625">
                  <c:v>-1.06853</c:v>
                </c:pt>
                <c:pt idx="8626">
                  <c:v>-1.64293</c:v>
                </c:pt>
                <c:pt idx="8627">
                  <c:v>#N/A</c:v>
                </c:pt>
                <c:pt idx="8628">
                  <c:v>-1.80175</c:v>
                </c:pt>
                <c:pt idx="8629">
                  <c:v>-2.7841499999999999</c:v>
                </c:pt>
                <c:pt idx="8630">
                  <c:v>-2.66953</c:v>
                </c:pt>
                <c:pt idx="8631">
                  <c:v>#N/A</c:v>
                </c:pt>
                <c:pt idx="8632">
                  <c:v>-2.0122599999999999</c:v>
                </c:pt>
                <c:pt idx="8633">
                  <c:v>-1.7317100000000001</c:v>
                </c:pt>
                <c:pt idx="8634">
                  <c:v>-1.0928</c:v>
                </c:pt>
                <c:pt idx="8635">
                  <c:v>#N/A</c:v>
                </c:pt>
                <c:pt idx="8636">
                  <c:v>-1.7596000000000001</c:v>
                </c:pt>
                <c:pt idx="8637">
                  <c:v>-2.02068</c:v>
                </c:pt>
                <c:pt idx="8638">
                  <c:v>-2.5088300000000001</c:v>
                </c:pt>
                <c:pt idx="8639">
                  <c:v>#N/A</c:v>
                </c:pt>
                <c:pt idx="8640">
                  <c:v>-2.1738</c:v>
                </c:pt>
                <c:pt idx="8641">
                  <c:v>-2.86802</c:v>
                </c:pt>
                <c:pt idx="8642">
                  <c:v>-2.2067600000000001</c:v>
                </c:pt>
                <c:pt idx="8643">
                  <c:v>#N/A</c:v>
                </c:pt>
                <c:pt idx="8644">
                  <c:v>-1.7486299999999999</c:v>
                </c:pt>
                <c:pt idx="8645">
                  <c:v>-1.2956700000000001</c:v>
                </c:pt>
                <c:pt idx="8646">
                  <c:v>-1.5653699999999999</c:v>
                </c:pt>
                <c:pt idx="8647">
                  <c:v>#N/A</c:v>
                </c:pt>
                <c:pt idx="8648">
                  <c:v>-1.6486499999999999</c:v>
                </c:pt>
                <c:pt idx="8649">
                  <c:v>-2.44048</c:v>
                </c:pt>
                <c:pt idx="8650">
                  <c:v>#N/A</c:v>
                </c:pt>
                <c:pt idx="8651">
                  <c:v>-2.78633</c:v>
                </c:pt>
                <c:pt idx="8652">
                  <c:v>-2.9940000000000002</c:v>
                </c:pt>
                <c:pt idx="8653">
                  <c:v>-2.5419800000000001</c:v>
                </c:pt>
                <c:pt idx="8654">
                  <c:v>#N/A</c:v>
                </c:pt>
                <c:pt idx="8655">
                  <c:v>-1.7812699999999999</c:v>
                </c:pt>
                <c:pt idx="8656">
                  <c:v>-1.54315</c:v>
                </c:pt>
                <c:pt idx="8657">
                  <c:v>-0.95814600000000005</c:v>
                </c:pt>
                <c:pt idx="8658">
                  <c:v>#N/A</c:v>
                </c:pt>
                <c:pt idx="8659">
                  <c:v>-1.1552</c:v>
                </c:pt>
                <c:pt idx="8660">
                  <c:v>-2.4332699999999998</c:v>
                </c:pt>
                <c:pt idx="8661">
                  <c:v>-2.5225499999999998</c:v>
                </c:pt>
                <c:pt idx="8662">
                  <c:v>#N/A</c:v>
                </c:pt>
                <c:pt idx="8663">
                  <c:v>-2.8299099999999999</c:v>
                </c:pt>
                <c:pt idx="8664">
                  <c:v>-2.0474000000000001</c:v>
                </c:pt>
                <c:pt idx="8665">
                  <c:v>-1.13476</c:v>
                </c:pt>
                <c:pt idx="8666">
                  <c:v>#N/A</c:v>
                </c:pt>
                <c:pt idx="8667">
                  <c:v>-1.1540999999999999</c:v>
                </c:pt>
                <c:pt idx="8668">
                  <c:v>-1.72878</c:v>
                </c:pt>
                <c:pt idx="8669">
                  <c:v>-2.0598999999999998</c:v>
                </c:pt>
                <c:pt idx="8670">
                  <c:v>#N/A</c:v>
                </c:pt>
                <c:pt idx="8671">
                  <c:v>-2.30498</c:v>
                </c:pt>
                <c:pt idx="8672">
                  <c:v>-2.1658400000000002</c:v>
                </c:pt>
                <c:pt idx="8673">
                  <c:v>#N/A</c:v>
                </c:pt>
                <c:pt idx="8674">
                  <c:v>-2.0212300000000001</c:v>
                </c:pt>
                <c:pt idx="8675">
                  <c:v>-1.92038</c:v>
                </c:pt>
                <c:pt idx="8676">
                  <c:v>-1.4177299999999999</c:v>
                </c:pt>
                <c:pt idx="8677">
                  <c:v>#N/A</c:v>
                </c:pt>
                <c:pt idx="8678">
                  <c:v>-2.06304</c:v>
                </c:pt>
                <c:pt idx="8679">
                  <c:v>-2.3097099999999999</c:v>
                </c:pt>
                <c:pt idx="8680">
                  <c:v>-2.3529399999999998</c:v>
                </c:pt>
                <c:pt idx="8681">
                  <c:v>#N/A</c:v>
                </c:pt>
                <c:pt idx="8682">
                  <c:v>-2.51363</c:v>
                </c:pt>
                <c:pt idx="8683">
                  <c:v>-2.1664699999999999</c:v>
                </c:pt>
                <c:pt idx="8684">
                  <c:v>-1.5943700000000001</c:v>
                </c:pt>
                <c:pt idx="8685">
                  <c:v>#N/A</c:v>
                </c:pt>
                <c:pt idx="8686">
                  <c:v>-2.0465900000000001</c:v>
                </c:pt>
                <c:pt idx="8687">
                  <c:v>-1.5713299999999999</c:v>
                </c:pt>
                <c:pt idx="8688">
                  <c:v>-1.6713100000000001</c:v>
                </c:pt>
                <c:pt idx="8689">
                  <c:v>#N/A</c:v>
                </c:pt>
                <c:pt idx="8690">
                  <c:v>-2.3851300000000002</c:v>
                </c:pt>
                <c:pt idx="8691">
                  <c:v>-2.1108099999999999</c:v>
                </c:pt>
                <c:pt idx="8692">
                  <c:v>-2.4792900000000002</c:v>
                </c:pt>
                <c:pt idx="8693">
                  <c:v>#N/A</c:v>
                </c:pt>
                <c:pt idx="8694">
                  <c:v>-2.0709499999999998</c:v>
                </c:pt>
                <c:pt idx="8695">
                  <c:v>-2.1865100000000002</c:v>
                </c:pt>
                <c:pt idx="8696">
                  <c:v>-1.9379299999999999</c:v>
                </c:pt>
                <c:pt idx="8697">
                  <c:v>#N/A</c:v>
                </c:pt>
                <c:pt idx="8698">
                  <c:v>-1.9344699999999999</c:v>
                </c:pt>
                <c:pt idx="8699">
                  <c:v>-2.17144</c:v>
                </c:pt>
                <c:pt idx="8700">
                  <c:v>-2.4141900000000001</c:v>
                </c:pt>
                <c:pt idx="8701">
                  <c:v>#N/A</c:v>
                </c:pt>
                <c:pt idx="8702">
                  <c:v>-2.2548900000000001</c:v>
                </c:pt>
                <c:pt idx="8703">
                  <c:v>-2.5276800000000001</c:v>
                </c:pt>
                <c:pt idx="8704">
                  <c:v>#N/A</c:v>
                </c:pt>
                <c:pt idx="8705">
                  <c:v>-2.1936</c:v>
                </c:pt>
                <c:pt idx="8706">
                  <c:v>-1.9332499999999999</c:v>
                </c:pt>
                <c:pt idx="8707">
                  <c:v>-1.04881</c:v>
                </c:pt>
                <c:pt idx="8708">
                  <c:v>#N/A</c:v>
                </c:pt>
                <c:pt idx="8709">
                  <c:v>-1.84948</c:v>
                </c:pt>
                <c:pt idx="8710">
                  <c:v>-2.3270900000000001</c:v>
                </c:pt>
                <c:pt idx="8711">
                  <c:v>#N/A</c:v>
                </c:pt>
                <c:pt idx="8712">
                  <c:v>#N/A</c:v>
                </c:pt>
                <c:pt idx="8713">
                  <c:v>-2.8131200000000001</c:v>
                </c:pt>
                <c:pt idx="8714">
                  <c:v>-2.8736000000000002</c:v>
                </c:pt>
                <c:pt idx="8715">
                  <c:v>-2.36557</c:v>
                </c:pt>
                <c:pt idx="8716">
                  <c:v>#N/A</c:v>
                </c:pt>
                <c:pt idx="8717">
                  <c:v>-1.9686600000000001</c:v>
                </c:pt>
                <c:pt idx="8718">
                  <c:v>-1.46837</c:v>
                </c:pt>
                <c:pt idx="8719">
                  <c:v>#N/A</c:v>
                </c:pt>
                <c:pt idx="8720">
                  <c:v>-0.92074500000000004</c:v>
                </c:pt>
                <c:pt idx="8721">
                  <c:v>-1.5824400000000001</c:v>
                </c:pt>
                <c:pt idx="8722">
                  <c:v>-2.4136099999999998</c:v>
                </c:pt>
                <c:pt idx="8723">
                  <c:v>#N/A</c:v>
                </c:pt>
                <c:pt idx="8724">
                  <c:v>-2.4243399999999999</c:v>
                </c:pt>
                <c:pt idx="8725">
                  <c:v>-3.0992500000000001</c:v>
                </c:pt>
                <c:pt idx="8726">
                  <c:v>-2.3534999999999999</c:v>
                </c:pt>
                <c:pt idx="8727">
                  <c:v>#N/A</c:v>
                </c:pt>
                <c:pt idx="8728">
                  <c:v>-1.57741</c:v>
                </c:pt>
                <c:pt idx="8729">
                  <c:v>-1.6701600000000001</c:v>
                </c:pt>
                <c:pt idx="8730">
                  <c:v>-1.41442</c:v>
                </c:pt>
                <c:pt idx="8731">
                  <c:v>#N/A</c:v>
                </c:pt>
                <c:pt idx="8732">
                  <c:v>-1.04637</c:v>
                </c:pt>
                <c:pt idx="8733">
                  <c:v>-1.79392</c:v>
                </c:pt>
                <c:pt idx="8734">
                  <c:v>-3.1776300000000002</c:v>
                </c:pt>
                <c:pt idx="8735">
                  <c:v>#N/A</c:v>
                </c:pt>
                <c:pt idx="8736">
                  <c:v>-2.77244</c:v>
                </c:pt>
                <c:pt idx="8737">
                  <c:v>-2.1424300000000001</c:v>
                </c:pt>
                <c:pt idx="8738">
                  <c:v>-1.83819</c:v>
                </c:pt>
                <c:pt idx="8739">
                  <c:v>#N/A</c:v>
                </c:pt>
                <c:pt idx="8740">
                  <c:v>-1.89899</c:v>
                </c:pt>
                <c:pt idx="8741">
                  <c:v>-1.95974</c:v>
                </c:pt>
                <c:pt idx="8742">
                  <c:v>#N/A</c:v>
                </c:pt>
                <c:pt idx="8743">
                  <c:v>-2.0561400000000001</c:v>
                </c:pt>
                <c:pt idx="8744">
                  <c:v>-2.2001300000000001</c:v>
                </c:pt>
                <c:pt idx="8745">
                  <c:v>-2.43737</c:v>
                </c:pt>
                <c:pt idx="8746">
                  <c:v>#N/A</c:v>
                </c:pt>
                <c:pt idx="8747">
                  <c:v>-2.7433900000000002</c:v>
                </c:pt>
                <c:pt idx="8748">
                  <c:v>-2.4468399999999999</c:v>
                </c:pt>
                <c:pt idx="8749">
                  <c:v>-2.16526</c:v>
                </c:pt>
                <c:pt idx="8750">
                  <c:v>#N/A</c:v>
                </c:pt>
                <c:pt idx="8751">
                  <c:v>-1.8306899999999999</c:v>
                </c:pt>
                <c:pt idx="8752">
                  <c:v>-1.9188499999999999</c:v>
                </c:pt>
                <c:pt idx="8753">
                  <c:v>-2.2052900000000002</c:v>
                </c:pt>
                <c:pt idx="8754">
                  <c:v>#N/A</c:v>
                </c:pt>
                <c:pt idx="8755">
                  <c:v>-2.19157</c:v>
                </c:pt>
                <c:pt idx="8756">
                  <c:v>-2.38043</c:v>
                </c:pt>
                <c:pt idx="8757">
                  <c:v>-2.4278900000000001</c:v>
                </c:pt>
                <c:pt idx="8758">
                  <c:v>#N/A</c:v>
                </c:pt>
                <c:pt idx="8759">
                  <c:v>-2.5834700000000002</c:v>
                </c:pt>
                <c:pt idx="8760">
                  <c:v>-1.6928399999999999</c:v>
                </c:pt>
                <c:pt idx="8761">
                  <c:v>-1.9413400000000001</c:v>
                </c:pt>
                <c:pt idx="8762">
                  <c:v>#N/A</c:v>
                </c:pt>
                <c:pt idx="8763">
                  <c:v>-1.46675</c:v>
                </c:pt>
                <c:pt idx="8764">
                  <c:v>-2.2544499999999998</c:v>
                </c:pt>
                <c:pt idx="8765">
                  <c:v>-2.5783700000000001</c:v>
                </c:pt>
                <c:pt idx="8766">
                  <c:v>#N/A</c:v>
                </c:pt>
                <c:pt idx="8767">
                  <c:v>-2.9243299999999999</c:v>
                </c:pt>
                <c:pt idx="8768">
                  <c:v>-1.62097</c:v>
                </c:pt>
                <c:pt idx="8769">
                  <c:v>-1.8180799999999999</c:v>
                </c:pt>
                <c:pt idx="8770">
                  <c:v>#N/A</c:v>
                </c:pt>
                <c:pt idx="8771">
                  <c:v>-1.35057</c:v>
                </c:pt>
                <c:pt idx="8772">
                  <c:v>-1.89009</c:v>
                </c:pt>
                <c:pt idx="8773">
                  <c:v>#N/A</c:v>
                </c:pt>
                <c:pt idx="8774">
                  <c:v>-2.0703999999999998</c:v>
                </c:pt>
                <c:pt idx="8775">
                  <c:v>-2.58108</c:v>
                </c:pt>
                <c:pt idx="8776">
                  <c:v>-2.6243400000000001</c:v>
                </c:pt>
                <c:pt idx="8777">
                  <c:v>#N/A</c:v>
                </c:pt>
                <c:pt idx="8778">
                  <c:v>-2.5434800000000002</c:v>
                </c:pt>
                <c:pt idx="8779">
                  <c:v>-1.9236899999999999</c:v>
                </c:pt>
                <c:pt idx="8780">
                  <c:v>-1.17805</c:v>
                </c:pt>
                <c:pt idx="8781">
                  <c:v>#N/A</c:v>
                </c:pt>
                <c:pt idx="8782">
                  <c:v>-1.2028099999999999</c:v>
                </c:pt>
                <c:pt idx="8783">
                  <c:v>-1.8214600000000001</c:v>
                </c:pt>
                <c:pt idx="8784">
                  <c:v>#N/A</c:v>
                </c:pt>
                <c:pt idx="8785">
                  <c:v>-2.13964</c:v>
                </c:pt>
                <c:pt idx="8786">
                  <c:v>-2.9434800000000001</c:v>
                </c:pt>
                <c:pt idx="8787">
                  <c:v>#N/A</c:v>
                </c:pt>
                <c:pt idx="8788">
                  <c:v>-2.4268700000000001</c:v>
                </c:pt>
                <c:pt idx="8789">
                  <c:v>#N/A</c:v>
                </c:pt>
                <c:pt idx="8790">
                  <c:v>-2.2193999999999998</c:v>
                </c:pt>
                <c:pt idx="8791">
                  <c:v>-1.1032500000000001</c:v>
                </c:pt>
                <c:pt idx="8792">
                  <c:v>-1.1090500000000001</c:v>
                </c:pt>
                <c:pt idx="8793">
                  <c:v>#N/A</c:v>
                </c:pt>
                <c:pt idx="8794">
                  <c:v>-0.86218499999999998</c:v>
                </c:pt>
                <c:pt idx="8795">
                  <c:v>-2.2824</c:v>
                </c:pt>
                <c:pt idx="8796">
                  <c:v>#N/A</c:v>
                </c:pt>
                <c:pt idx="8797">
                  <c:v>-2.5868099999999998</c:v>
                </c:pt>
                <c:pt idx="8798">
                  <c:v>-2.8694000000000002</c:v>
                </c:pt>
                <c:pt idx="8799">
                  <c:v>-2.54583</c:v>
                </c:pt>
                <c:pt idx="8800">
                  <c:v>#N/A</c:v>
                </c:pt>
                <c:pt idx="8801">
                  <c:v>-2.3986499999999999</c:v>
                </c:pt>
                <c:pt idx="8802">
                  <c:v>-1.9321299999999999</c:v>
                </c:pt>
                <c:pt idx="8803">
                  <c:v>-1.69882</c:v>
                </c:pt>
                <c:pt idx="8804">
                  <c:v>#N/A</c:v>
                </c:pt>
                <c:pt idx="8805">
                  <c:v>-1.4833499999999999</c:v>
                </c:pt>
                <c:pt idx="8806">
                  <c:v>-1.4991000000000001</c:v>
                </c:pt>
                <c:pt idx="8807">
                  <c:v>-2.7429000000000001</c:v>
                </c:pt>
                <c:pt idx="8808">
                  <c:v>#N/A</c:v>
                </c:pt>
                <c:pt idx="8809">
                  <c:v>-2.1661000000000001</c:v>
                </c:pt>
                <c:pt idx="8810">
                  <c:v>#N/A</c:v>
                </c:pt>
                <c:pt idx="8811">
                  <c:v>#N/A</c:v>
                </c:pt>
                <c:pt idx="8812">
                  <c:v>-2.1903999999999999</c:v>
                </c:pt>
                <c:pt idx="8813">
                  <c:v>-1.62625</c:v>
                </c:pt>
                <c:pt idx="8814">
                  <c:v>-1.7241599999999999</c:v>
                </c:pt>
                <c:pt idx="8815">
                  <c:v>#N/A</c:v>
                </c:pt>
                <c:pt idx="8816">
                  <c:v>-1.71556</c:v>
                </c:pt>
                <c:pt idx="8817">
                  <c:v>-2.16439</c:v>
                </c:pt>
                <c:pt idx="8818">
                  <c:v>-2.4725199999999998</c:v>
                </c:pt>
                <c:pt idx="8819">
                  <c:v>#N/A</c:v>
                </c:pt>
                <c:pt idx="8820">
                  <c:v>-2.65123</c:v>
                </c:pt>
                <c:pt idx="8821">
                  <c:v>-2.5193699999999999</c:v>
                </c:pt>
                <c:pt idx="8822">
                  <c:v>-2.30789</c:v>
                </c:pt>
                <c:pt idx="8823">
                  <c:v>#N/A</c:v>
                </c:pt>
                <c:pt idx="8824">
                  <c:v>-1.66008</c:v>
                </c:pt>
                <c:pt idx="8825">
                  <c:v>-2.0935299999999999</c:v>
                </c:pt>
                <c:pt idx="8826">
                  <c:v>-1.9839500000000001</c:v>
                </c:pt>
                <c:pt idx="8827">
                  <c:v>#N/A</c:v>
                </c:pt>
                <c:pt idx="8828">
                  <c:v>-1.9337</c:v>
                </c:pt>
                <c:pt idx="8829">
                  <c:v>-2.2545999999999999</c:v>
                </c:pt>
                <c:pt idx="8830">
                  <c:v>-1.8785000000000001</c:v>
                </c:pt>
                <c:pt idx="8831">
                  <c:v>#N/A</c:v>
                </c:pt>
                <c:pt idx="8832">
                  <c:v>-1.8065</c:v>
                </c:pt>
                <c:pt idx="8833">
                  <c:v>-1.4649700000000001</c:v>
                </c:pt>
                <c:pt idx="8834">
                  <c:v>-1.4406000000000001</c:v>
                </c:pt>
                <c:pt idx="8835">
                  <c:v>#N/A</c:v>
                </c:pt>
                <c:pt idx="8836">
                  <c:v>-1.5665100000000001</c:v>
                </c:pt>
                <c:pt idx="8837">
                  <c:v>-2.82193</c:v>
                </c:pt>
                <c:pt idx="8838">
                  <c:v>-2.8740800000000002</c:v>
                </c:pt>
                <c:pt idx="8839">
                  <c:v>#N/A</c:v>
                </c:pt>
                <c:pt idx="8840">
                  <c:v>-2.3933200000000001</c:v>
                </c:pt>
                <c:pt idx="8841">
                  <c:v>-1.74115</c:v>
                </c:pt>
                <c:pt idx="8842">
                  <c:v>#N/A</c:v>
                </c:pt>
                <c:pt idx="8843">
                  <c:v>-1.60659</c:v>
                </c:pt>
                <c:pt idx="8844">
                  <c:v>-1.2448300000000001</c:v>
                </c:pt>
                <c:pt idx="8845">
                  <c:v>-1.94425</c:v>
                </c:pt>
                <c:pt idx="8846">
                  <c:v>#N/A</c:v>
                </c:pt>
                <c:pt idx="8847">
                  <c:v>-2.5239500000000001</c:v>
                </c:pt>
                <c:pt idx="8848">
                  <c:v>-2.7995999999999999</c:v>
                </c:pt>
                <c:pt idx="8849">
                  <c:v>-3.23394</c:v>
                </c:pt>
                <c:pt idx="8850">
                  <c:v>#N/A</c:v>
                </c:pt>
                <c:pt idx="8851">
                  <c:v>-2.8062800000000001</c:v>
                </c:pt>
                <c:pt idx="8852">
                  <c:v>-1.6697200000000001</c:v>
                </c:pt>
                <c:pt idx="8853">
                  <c:v>-1.0090699999999999</c:v>
                </c:pt>
                <c:pt idx="8854">
                  <c:v>#N/A</c:v>
                </c:pt>
                <c:pt idx="8855">
                  <c:v>-1.0382100000000001</c:v>
                </c:pt>
                <c:pt idx="8856">
                  <c:v>-1.5205900000000001</c:v>
                </c:pt>
                <c:pt idx="8857">
                  <c:v>-2.0599599999999998</c:v>
                </c:pt>
                <c:pt idx="8858">
                  <c:v>#N/A</c:v>
                </c:pt>
                <c:pt idx="8859">
                  <c:v>-3.1591999999999998</c:v>
                </c:pt>
                <c:pt idx="8860">
                  <c:v>#N/A</c:v>
                </c:pt>
                <c:pt idx="8861">
                  <c:v>-3.1412100000000001</c:v>
                </c:pt>
                <c:pt idx="8862">
                  <c:v>-2.4459200000000001</c:v>
                </c:pt>
                <c:pt idx="8863">
                  <c:v>#N/A</c:v>
                </c:pt>
                <c:pt idx="8864">
                  <c:v>-1.8067200000000001</c:v>
                </c:pt>
                <c:pt idx="8865">
                  <c:v>-1.1282099999999999</c:v>
                </c:pt>
                <c:pt idx="8866">
                  <c:v>-1.55297</c:v>
                </c:pt>
                <c:pt idx="8867">
                  <c:v>#N/A</c:v>
                </c:pt>
                <c:pt idx="8868">
                  <c:v>-1.8071200000000001</c:v>
                </c:pt>
                <c:pt idx="8869">
                  <c:v>-2.46306</c:v>
                </c:pt>
                <c:pt idx="8870">
                  <c:v>#N/A</c:v>
                </c:pt>
                <c:pt idx="8871">
                  <c:v>-2.82612</c:v>
                </c:pt>
                <c:pt idx="8872">
                  <c:v>-2.9323600000000001</c:v>
                </c:pt>
                <c:pt idx="8873">
                  <c:v>-2.5210900000000001</c:v>
                </c:pt>
                <c:pt idx="8874">
                  <c:v>#N/A</c:v>
                </c:pt>
                <c:pt idx="8875">
                  <c:v>-1.74956</c:v>
                </c:pt>
                <c:pt idx="8876">
                  <c:v>-2.20234</c:v>
                </c:pt>
                <c:pt idx="8877">
                  <c:v>-2.72309</c:v>
                </c:pt>
                <c:pt idx="8878">
                  <c:v>#N/A</c:v>
                </c:pt>
                <c:pt idx="8879">
                  <c:v>-3.09456</c:v>
                </c:pt>
                <c:pt idx="8880">
                  <c:v>-2.5497399999999999</c:v>
                </c:pt>
                <c:pt idx="8881">
                  <c:v>-2.6095000000000002</c:v>
                </c:pt>
                <c:pt idx="8882">
                  <c:v>#N/A</c:v>
                </c:pt>
                <c:pt idx="8883">
                  <c:v>-2.1023499999999999</c:v>
                </c:pt>
                <c:pt idx="8884">
                  <c:v>-1.81199</c:v>
                </c:pt>
                <c:pt idx="8885">
                  <c:v>#N/A</c:v>
                </c:pt>
                <c:pt idx="8886">
                  <c:v>-0.98488100000000001</c:v>
                </c:pt>
                <c:pt idx="8887">
                  <c:v>-1.22041</c:v>
                </c:pt>
                <c:pt idx="8888">
                  <c:v>-1.2899799999999999</c:v>
                </c:pt>
                <c:pt idx="8889">
                  <c:v>#N/A</c:v>
                </c:pt>
                <c:pt idx="8890">
                  <c:v>-1.54416</c:v>
                </c:pt>
                <c:pt idx="8891">
                  <c:v>-1.7461</c:v>
                </c:pt>
                <c:pt idx="8892">
                  <c:v>-2.1664699999999999</c:v>
                </c:pt>
                <c:pt idx="8893">
                  <c:v>#N/A</c:v>
                </c:pt>
                <c:pt idx="8894">
                  <c:v>-1.54312</c:v>
                </c:pt>
                <c:pt idx="8895">
                  <c:v>-1.79918</c:v>
                </c:pt>
                <c:pt idx="8896">
                  <c:v>-1.77159</c:v>
                </c:pt>
                <c:pt idx="8897">
                  <c:v>#N/A</c:v>
                </c:pt>
                <c:pt idx="8898">
                  <c:v>-1.9481200000000001</c:v>
                </c:pt>
                <c:pt idx="8899">
                  <c:v>-2.0556000000000001</c:v>
                </c:pt>
                <c:pt idx="8900">
                  <c:v>-2.2467299999999999</c:v>
                </c:pt>
                <c:pt idx="8901">
                  <c:v>#N/A</c:v>
                </c:pt>
                <c:pt idx="8902">
                  <c:v>-2.4739100000000001</c:v>
                </c:pt>
                <c:pt idx="8903">
                  <c:v>-2.4167800000000002</c:v>
                </c:pt>
                <c:pt idx="8904">
                  <c:v>#N/A</c:v>
                </c:pt>
                <c:pt idx="8905">
                  <c:v>-2.1875100000000001</c:v>
                </c:pt>
                <c:pt idx="8906">
                  <c:v>-2.0354800000000002</c:v>
                </c:pt>
                <c:pt idx="8907">
                  <c:v>-2.2477399999999998</c:v>
                </c:pt>
                <c:pt idx="8908">
                  <c:v>#N/A</c:v>
                </c:pt>
                <c:pt idx="8909">
                  <c:v>-2.4245700000000001</c:v>
                </c:pt>
                <c:pt idx="8910">
                  <c:v>-1.95563</c:v>
                </c:pt>
                <c:pt idx="8911">
                  <c:v>-1.99573</c:v>
                </c:pt>
                <c:pt idx="8912">
                  <c:v>#N/A</c:v>
                </c:pt>
                <c:pt idx="8913">
                  <c:v>-1.7221599999999999</c:v>
                </c:pt>
                <c:pt idx="8914">
                  <c:v>-1.5257400000000001</c:v>
                </c:pt>
                <c:pt idx="8915">
                  <c:v>#N/A</c:v>
                </c:pt>
                <c:pt idx="8916">
                  <c:v>-1.3365100000000001</c:v>
                </c:pt>
                <c:pt idx="8917">
                  <c:v>-1.31934</c:v>
                </c:pt>
                <c:pt idx="8918">
                  <c:v>-1.3859900000000001</c:v>
                </c:pt>
                <c:pt idx="8919">
                  <c:v>#N/A</c:v>
                </c:pt>
                <c:pt idx="8920">
                  <c:v>-1.80308</c:v>
                </c:pt>
                <c:pt idx="8921">
                  <c:v>-2.6305800000000001</c:v>
                </c:pt>
                <c:pt idx="8922">
                  <c:v>-2.82498</c:v>
                </c:pt>
                <c:pt idx="8923">
                  <c:v>#N/A</c:v>
                </c:pt>
                <c:pt idx="8924">
                  <c:v>-2.4250099999999999</c:v>
                </c:pt>
                <c:pt idx="8925">
                  <c:v>-2.06623</c:v>
                </c:pt>
                <c:pt idx="8926">
                  <c:v>-2.4509599999999998</c:v>
                </c:pt>
                <c:pt idx="8927">
                  <c:v>#N/A</c:v>
                </c:pt>
                <c:pt idx="8928">
                  <c:v>-1.9865299999999999</c:v>
                </c:pt>
                <c:pt idx="8929">
                  <c:v>-2.2314400000000001</c:v>
                </c:pt>
                <c:pt idx="8930">
                  <c:v>-1.98193</c:v>
                </c:pt>
                <c:pt idx="8931">
                  <c:v>#N/A</c:v>
                </c:pt>
                <c:pt idx="8932">
                  <c:v>-2.4407999999999999</c:v>
                </c:pt>
                <c:pt idx="8933">
                  <c:v>-3.1120700000000001</c:v>
                </c:pt>
                <c:pt idx="8934">
                  <c:v>-2.9145699999999999</c:v>
                </c:pt>
                <c:pt idx="8935">
                  <c:v>#N/A</c:v>
                </c:pt>
                <c:pt idx="8936">
                  <c:v>-2.1189399999999998</c:v>
                </c:pt>
                <c:pt idx="8937">
                  <c:v>-0.78523399999999999</c:v>
                </c:pt>
                <c:pt idx="8938">
                  <c:v>#N/A</c:v>
                </c:pt>
                <c:pt idx="8939">
                  <c:v>-0.58707500000000001</c:v>
                </c:pt>
                <c:pt idx="8940">
                  <c:v>-1.0731299999999999</c:v>
                </c:pt>
                <c:pt idx="8941">
                  <c:v>-1.9762</c:v>
                </c:pt>
                <c:pt idx="8942">
                  <c:v>#N/A</c:v>
                </c:pt>
                <c:pt idx="8943">
                  <c:v>-2.9308100000000001</c:v>
                </c:pt>
                <c:pt idx="8944">
                  <c:v>-2.9297900000000001</c:v>
                </c:pt>
                <c:pt idx="8945">
                  <c:v>-2.5902599999999998</c:v>
                </c:pt>
                <c:pt idx="8946">
                  <c:v>#N/A</c:v>
                </c:pt>
                <c:pt idx="8947">
                  <c:v>-2.3245900000000002</c:v>
                </c:pt>
                <c:pt idx="8948">
                  <c:v>-1.77115</c:v>
                </c:pt>
                <c:pt idx="8949">
                  <c:v>-1.0873999999999999</c:v>
                </c:pt>
                <c:pt idx="8950">
                  <c:v>#N/A</c:v>
                </c:pt>
                <c:pt idx="8951">
                  <c:v>-1.5089300000000001</c:v>
                </c:pt>
                <c:pt idx="8952">
                  <c:v>-2.5517599999999998</c:v>
                </c:pt>
                <c:pt idx="8953">
                  <c:v>-2.8487399999999998</c:v>
                </c:pt>
                <c:pt idx="8954">
                  <c:v>#N/A</c:v>
                </c:pt>
                <c:pt idx="8955">
                  <c:v>-2.73929</c:v>
                </c:pt>
                <c:pt idx="8956">
                  <c:v>-2.5381200000000002</c:v>
                </c:pt>
                <c:pt idx="8957">
                  <c:v>-2.5861499999999999</c:v>
                </c:pt>
                <c:pt idx="8958">
                  <c:v>#N/A</c:v>
                </c:pt>
                <c:pt idx="8959">
                  <c:v>-2.0259299999999998</c:v>
                </c:pt>
                <c:pt idx="8960">
                  <c:v>-1.9149499999999999</c:v>
                </c:pt>
                <c:pt idx="8961">
                  <c:v>-1.7386900000000001</c:v>
                </c:pt>
                <c:pt idx="8962">
                  <c:v>#N/A</c:v>
                </c:pt>
                <c:pt idx="8963">
                  <c:v>-1.9275</c:v>
                </c:pt>
                <c:pt idx="8964">
                  <c:v>-2.1169099999999998</c:v>
                </c:pt>
                <c:pt idx="8965">
                  <c:v>-2.6475399999999998</c:v>
                </c:pt>
                <c:pt idx="8966">
                  <c:v>#N/A</c:v>
                </c:pt>
                <c:pt idx="8967">
                  <c:v>-2.1041799999999999</c:v>
                </c:pt>
                <c:pt idx="8968">
                  <c:v>-2.3633899999999999</c:v>
                </c:pt>
                <c:pt idx="8969">
                  <c:v>#N/A</c:v>
                </c:pt>
                <c:pt idx="8970">
                  <c:v>-1.9535100000000001</c:v>
                </c:pt>
                <c:pt idx="8971">
                  <c:v>-2.1123500000000002</c:v>
                </c:pt>
                <c:pt idx="8972">
                  <c:v>-2.1436099999999998</c:v>
                </c:pt>
                <c:pt idx="8973">
                  <c:v>#N/A</c:v>
                </c:pt>
                <c:pt idx="8974">
                  <c:v>-1.6676</c:v>
                </c:pt>
                <c:pt idx="8975">
                  <c:v>-2.2811599999999999</c:v>
                </c:pt>
                <c:pt idx="8976">
                  <c:v>-2.1434600000000001</c:v>
                </c:pt>
                <c:pt idx="8977">
                  <c:v>#N/A</c:v>
                </c:pt>
                <c:pt idx="8978">
                  <c:v>-2.0447799999999998</c:v>
                </c:pt>
                <c:pt idx="8979">
                  <c:v>-1.97082</c:v>
                </c:pt>
                <c:pt idx="8980">
                  <c:v>-1.8765000000000001</c:v>
                </c:pt>
                <c:pt idx="8981">
                  <c:v>#N/A</c:v>
                </c:pt>
                <c:pt idx="8982">
                  <c:v>-2.44652</c:v>
                </c:pt>
                <c:pt idx="8983">
                  <c:v>-2.62479</c:v>
                </c:pt>
                <c:pt idx="8984">
                  <c:v>-2.49715</c:v>
                </c:pt>
                <c:pt idx="8985">
                  <c:v>#N/A</c:v>
                </c:pt>
                <c:pt idx="8986">
                  <c:v>-2.0663399999999998</c:v>
                </c:pt>
                <c:pt idx="8987">
                  <c:v>-2.2543000000000002</c:v>
                </c:pt>
                <c:pt idx="8988">
                  <c:v>-2.33921</c:v>
                </c:pt>
                <c:pt idx="8989">
                  <c:v>#N/A</c:v>
                </c:pt>
                <c:pt idx="8990">
                  <c:v>-1.9521299999999999</c:v>
                </c:pt>
                <c:pt idx="8991">
                  <c:v>-1.89483</c:v>
                </c:pt>
                <c:pt idx="8992">
                  <c:v>-2.2157499999999999</c:v>
                </c:pt>
                <c:pt idx="8993">
                  <c:v>#N/A</c:v>
                </c:pt>
                <c:pt idx="8994">
                  <c:v>-2.5146799999999998</c:v>
                </c:pt>
                <c:pt idx="8995">
                  <c:v>-2.7383500000000001</c:v>
                </c:pt>
                <c:pt idx="8996">
                  <c:v>#N/A</c:v>
                </c:pt>
                <c:pt idx="8997">
                  <c:v>-2.9765000000000001</c:v>
                </c:pt>
                <c:pt idx="8998">
                  <c:v>-1.6058300000000001</c:v>
                </c:pt>
                <c:pt idx="8999">
                  <c:v>-1.60991</c:v>
                </c:pt>
                <c:pt idx="9000">
                  <c:v>#N/A</c:v>
                </c:pt>
                <c:pt idx="9001">
                  <c:v>-1.27711</c:v>
                </c:pt>
                <c:pt idx="9002">
                  <c:v>-1.46631</c:v>
                </c:pt>
                <c:pt idx="9003">
                  <c:v>-1.68123</c:v>
                </c:pt>
                <c:pt idx="9004">
                  <c:v>#N/A</c:v>
                </c:pt>
                <c:pt idx="9005">
                  <c:v>-2.49973</c:v>
                </c:pt>
                <c:pt idx="9006">
                  <c:v>-2.8219400000000001</c:v>
                </c:pt>
                <c:pt idx="9007">
                  <c:v>-2.5191400000000002</c:v>
                </c:pt>
                <c:pt idx="9008">
                  <c:v>#N/A</c:v>
                </c:pt>
                <c:pt idx="9009">
                  <c:v>-2.4525000000000001</c:v>
                </c:pt>
                <c:pt idx="9010">
                  <c:v>#N/A</c:v>
                </c:pt>
                <c:pt idx="9011">
                  <c:v>-1.12843</c:v>
                </c:pt>
                <c:pt idx="9012">
                  <c:v>#N/A</c:v>
                </c:pt>
                <c:pt idx="9013">
                  <c:v>-1.62544</c:v>
                </c:pt>
                <c:pt idx="9014">
                  <c:v>-2.58175</c:v>
                </c:pt>
                <c:pt idx="9015">
                  <c:v>#N/A</c:v>
                </c:pt>
                <c:pt idx="9016">
                  <c:v>-2.8155000000000001</c:v>
                </c:pt>
                <c:pt idx="9017">
                  <c:v>-3.5096699999999998</c:v>
                </c:pt>
                <c:pt idx="9018">
                  <c:v>-3.1956500000000001</c:v>
                </c:pt>
                <c:pt idx="9019">
                  <c:v>#N/A</c:v>
                </c:pt>
                <c:pt idx="9020">
                  <c:v>-2.6491799999999999</c:v>
                </c:pt>
                <c:pt idx="9021">
                  <c:v>-1.73333</c:v>
                </c:pt>
                <c:pt idx="9022">
                  <c:v>-1.19052</c:v>
                </c:pt>
                <c:pt idx="9023">
                  <c:v>#N/A</c:v>
                </c:pt>
                <c:pt idx="9024">
                  <c:v>-1.6246799999999999</c:v>
                </c:pt>
                <c:pt idx="9025">
                  <c:v>-1.5692200000000001</c:v>
                </c:pt>
                <c:pt idx="9026">
                  <c:v>-2.2993899999999998</c:v>
                </c:pt>
                <c:pt idx="9027">
                  <c:v>#N/A</c:v>
                </c:pt>
                <c:pt idx="9028">
                  <c:v>-2.0167899999999999</c:v>
                </c:pt>
                <c:pt idx="9029">
                  <c:v>-2.4028299999999998</c:v>
                </c:pt>
                <c:pt idx="9030">
                  <c:v>-2.5079400000000001</c:v>
                </c:pt>
                <c:pt idx="9031">
                  <c:v>#N/A</c:v>
                </c:pt>
                <c:pt idx="9032">
                  <c:v>-1.98299</c:v>
                </c:pt>
                <c:pt idx="9033">
                  <c:v>-1.6734599999999999</c:v>
                </c:pt>
                <c:pt idx="9034">
                  <c:v>-1.85544</c:v>
                </c:pt>
                <c:pt idx="9035">
                  <c:v>#N/A</c:v>
                </c:pt>
                <c:pt idx="9036">
                  <c:v>-2.18031</c:v>
                </c:pt>
                <c:pt idx="9037">
                  <c:v>-2.11741</c:v>
                </c:pt>
                <c:pt idx="9038">
                  <c:v>-2.7698299999999998</c:v>
                </c:pt>
                <c:pt idx="9039">
                  <c:v>#N/A</c:v>
                </c:pt>
                <c:pt idx="9040">
                  <c:v>-2.1815699999999998</c:v>
                </c:pt>
                <c:pt idx="9041">
                  <c:v>-2.3230499999999998</c:v>
                </c:pt>
                <c:pt idx="9042">
                  <c:v>-2.5257000000000001</c:v>
                </c:pt>
                <c:pt idx="9043">
                  <c:v>#N/A</c:v>
                </c:pt>
                <c:pt idx="9044">
                  <c:v>-2.0462699999999998</c:v>
                </c:pt>
                <c:pt idx="9045">
                  <c:v>-1.8993</c:v>
                </c:pt>
                <c:pt idx="9046">
                  <c:v>#N/A</c:v>
                </c:pt>
                <c:pt idx="9047">
                  <c:v>-2.3111999999999999</c:v>
                </c:pt>
                <c:pt idx="9048">
                  <c:v>-3.7835100000000002</c:v>
                </c:pt>
                <c:pt idx="9049">
                  <c:v>-3.3348300000000002</c:v>
                </c:pt>
                <c:pt idx="9050">
                  <c:v>#N/A</c:v>
                </c:pt>
                <c:pt idx="9051">
                  <c:v>-2.4240400000000002</c:v>
                </c:pt>
                <c:pt idx="9052">
                  <c:v>-2.0239500000000001</c:v>
                </c:pt>
                <c:pt idx="9053">
                  <c:v>-2.4100899999999998</c:v>
                </c:pt>
                <c:pt idx="9054">
                  <c:v>#N/A</c:v>
                </c:pt>
                <c:pt idx="9055">
                  <c:v>-3.0674199999999998</c:v>
                </c:pt>
                <c:pt idx="9056">
                  <c:v>-2.44556</c:v>
                </c:pt>
                <c:pt idx="9057">
                  <c:v>-2.5833900000000001</c:v>
                </c:pt>
                <c:pt idx="9058">
                  <c:v>#N/A</c:v>
                </c:pt>
                <c:pt idx="9059">
                  <c:v>-2.55965</c:v>
                </c:pt>
                <c:pt idx="9060">
                  <c:v>-2.06515</c:v>
                </c:pt>
                <c:pt idx="9061">
                  <c:v>#N/A</c:v>
                </c:pt>
                <c:pt idx="9062">
                  <c:v>-2.3157999999999999</c:v>
                </c:pt>
                <c:pt idx="9063">
                  <c:v>-2.11808</c:v>
                </c:pt>
                <c:pt idx="9064">
                  <c:v>-1.3207899999999999</c:v>
                </c:pt>
                <c:pt idx="9065">
                  <c:v>#N/A</c:v>
                </c:pt>
                <c:pt idx="9066">
                  <c:v>-2.0055399999999999</c:v>
                </c:pt>
                <c:pt idx="9067">
                  <c:v>-2.5455199999999998</c:v>
                </c:pt>
                <c:pt idx="9068">
                  <c:v>-2.5800200000000002</c:v>
                </c:pt>
                <c:pt idx="9069">
                  <c:v>#N/A</c:v>
                </c:pt>
                <c:pt idx="9070">
                  <c:v>-2.2613699999999999</c:v>
                </c:pt>
                <c:pt idx="9071">
                  <c:v>-2.11755</c:v>
                </c:pt>
                <c:pt idx="9072">
                  <c:v>-1.7965</c:v>
                </c:pt>
                <c:pt idx="9073">
                  <c:v>#N/A</c:v>
                </c:pt>
                <c:pt idx="9074">
                  <c:v>-2.2386499999999998</c:v>
                </c:pt>
                <c:pt idx="9075">
                  <c:v>-1.9679500000000001</c:v>
                </c:pt>
                <c:pt idx="9076">
                  <c:v>-2.1760700000000002</c:v>
                </c:pt>
                <c:pt idx="9077">
                  <c:v>#N/A</c:v>
                </c:pt>
                <c:pt idx="9078">
                  <c:v>-3.3873600000000001</c:v>
                </c:pt>
                <c:pt idx="9079">
                  <c:v>-3.3958200000000001</c:v>
                </c:pt>
                <c:pt idx="9080">
                  <c:v>-3.2482799999999998</c:v>
                </c:pt>
                <c:pt idx="9081">
                  <c:v>#N/A</c:v>
                </c:pt>
                <c:pt idx="9082">
                  <c:v>-2.6437499999999998</c:v>
                </c:pt>
                <c:pt idx="9083">
                  <c:v>-2.32891</c:v>
                </c:pt>
                <c:pt idx="9084">
                  <c:v>#N/A</c:v>
                </c:pt>
                <c:pt idx="9085">
                  <c:v>-1.8535299999999999</c:v>
                </c:pt>
                <c:pt idx="9086">
                  <c:v>-2.3211400000000002</c:v>
                </c:pt>
                <c:pt idx="9087">
                  <c:v>-2.1558600000000001</c:v>
                </c:pt>
                <c:pt idx="9088">
                  <c:v>#N/A</c:v>
                </c:pt>
                <c:pt idx="9089">
                  <c:v>-3.0140899999999999</c:v>
                </c:pt>
                <c:pt idx="9090">
                  <c:v>-3.5351699999999999</c:v>
                </c:pt>
                <c:pt idx="9091">
                  <c:v>-3.5326399999999998</c:v>
                </c:pt>
                <c:pt idx="9092">
                  <c:v>#N/A</c:v>
                </c:pt>
                <c:pt idx="9093">
                  <c:v>-2.6393300000000002</c:v>
                </c:pt>
                <c:pt idx="9094">
                  <c:v>-2.30131</c:v>
                </c:pt>
                <c:pt idx="9095">
                  <c:v>-1.9605900000000001</c:v>
                </c:pt>
                <c:pt idx="9096">
                  <c:v>#N/A</c:v>
                </c:pt>
                <c:pt idx="9097">
                  <c:v>-2.5160100000000001</c:v>
                </c:pt>
                <c:pt idx="9098">
                  <c:v>-2.93364</c:v>
                </c:pt>
                <c:pt idx="9099">
                  <c:v>-2.9955500000000002</c:v>
                </c:pt>
                <c:pt idx="9100">
                  <c:v>#N/A</c:v>
                </c:pt>
                <c:pt idx="9101">
                  <c:v>-3.2922099999999999</c:v>
                </c:pt>
                <c:pt idx="9102">
                  <c:v>-3.3426499999999999</c:v>
                </c:pt>
                <c:pt idx="9103">
                  <c:v>#N/A</c:v>
                </c:pt>
                <c:pt idx="9104">
                  <c:v>-2.8533200000000001</c:v>
                </c:pt>
                <c:pt idx="9105">
                  <c:v>-2.7282600000000001</c:v>
                </c:pt>
                <c:pt idx="9106">
                  <c:v>-2.35121</c:v>
                </c:pt>
                <c:pt idx="9107">
                  <c:v>#N/A</c:v>
                </c:pt>
                <c:pt idx="9108">
                  <c:v>-2.2242000000000002</c:v>
                </c:pt>
                <c:pt idx="9109">
                  <c:v>-3.4256799999999998</c:v>
                </c:pt>
                <c:pt idx="9110">
                  <c:v>-3.6735099999999998</c:v>
                </c:pt>
                <c:pt idx="9111">
                  <c:v>#N/A</c:v>
                </c:pt>
                <c:pt idx="9112">
                  <c:v>-3.07335</c:v>
                </c:pt>
                <c:pt idx="9113">
                  <c:v>-2.33955</c:v>
                </c:pt>
                <c:pt idx="9114">
                  <c:v>-2.4901300000000002</c:v>
                </c:pt>
                <c:pt idx="9115">
                  <c:v>#N/A</c:v>
                </c:pt>
                <c:pt idx="9116">
                  <c:v>-2.1387100000000001</c:v>
                </c:pt>
                <c:pt idx="9117">
                  <c:v>-2.2756500000000002</c:v>
                </c:pt>
                <c:pt idx="9118">
                  <c:v>-2.3175599999999998</c:v>
                </c:pt>
                <c:pt idx="9119">
                  <c:v>#N/A</c:v>
                </c:pt>
                <c:pt idx="9120">
                  <c:v>-2.4641899999999999</c:v>
                </c:pt>
                <c:pt idx="9121">
                  <c:v>-2.94746</c:v>
                </c:pt>
                <c:pt idx="9122">
                  <c:v>#N/A</c:v>
                </c:pt>
                <c:pt idx="9123">
                  <c:v>-3.2167400000000002</c:v>
                </c:pt>
                <c:pt idx="9124">
                  <c:v>-2.7624599999999999</c:v>
                </c:pt>
                <c:pt idx="9125">
                  <c:v>-2.4504899999999998</c:v>
                </c:pt>
                <c:pt idx="9126">
                  <c:v>#N/A</c:v>
                </c:pt>
                <c:pt idx="9127">
                  <c:v>-2.35548</c:v>
                </c:pt>
                <c:pt idx="9128">
                  <c:v>-3.0214699999999999</c:v>
                </c:pt>
                <c:pt idx="9129">
                  <c:v>-3.00481</c:v>
                </c:pt>
                <c:pt idx="9130">
                  <c:v>#N/A</c:v>
                </c:pt>
                <c:pt idx="9131">
                  <c:v>-3.45817</c:v>
                </c:pt>
                <c:pt idx="9132">
                  <c:v>-2.98881</c:v>
                </c:pt>
                <c:pt idx="9133">
                  <c:v>-2.8285499999999999</c:v>
                </c:pt>
                <c:pt idx="9134">
                  <c:v>#N/A</c:v>
                </c:pt>
                <c:pt idx="9135">
                  <c:v>-2.8316699999999999</c:v>
                </c:pt>
                <c:pt idx="9136">
                  <c:v>-2.53295</c:v>
                </c:pt>
                <c:pt idx="9137">
                  <c:v>-2.6957800000000001</c:v>
                </c:pt>
                <c:pt idx="9138">
                  <c:v>#N/A</c:v>
                </c:pt>
                <c:pt idx="9139">
                  <c:v>-3.0689099999999998</c:v>
                </c:pt>
                <c:pt idx="9140">
                  <c:v>-2.7529300000000001</c:v>
                </c:pt>
                <c:pt idx="9141">
                  <c:v>-2.75102</c:v>
                </c:pt>
                <c:pt idx="9142">
                  <c:v>#N/A</c:v>
                </c:pt>
                <c:pt idx="9143">
                  <c:v>-2.9296700000000002</c:v>
                </c:pt>
                <c:pt idx="9144">
                  <c:v>-2.6784699999999999</c:v>
                </c:pt>
                <c:pt idx="9145">
                  <c:v>-2.3004899999999999</c:v>
                </c:pt>
                <c:pt idx="9146">
                  <c:v>#N/A</c:v>
                </c:pt>
                <c:pt idx="9147">
                  <c:v>-2.1899799999999998</c:v>
                </c:pt>
                <c:pt idx="9148">
                  <c:v>-1.76745</c:v>
                </c:pt>
                <c:pt idx="9149">
                  <c:v>#N/A</c:v>
                </c:pt>
                <c:pt idx="9150">
                  <c:v>-1.9746300000000001</c:v>
                </c:pt>
                <c:pt idx="9151">
                  <c:v>-3.1974999999999998</c:v>
                </c:pt>
                <c:pt idx="9152">
                  <c:v>-3.38266</c:v>
                </c:pt>
                <c:pt idx="9153">
                  <c:v>#N/A</c:v>
                </c:pt>
                <c:pt idx="9154">
                  <c:v>-3.5030999999999999</c:v>
                </c:pt>
                <c:pt idx="9155">
                  <c:v>-3.0878299999999999</c:v>
                </c:pt>
                <c:pt idx="9156">
                  <c:v>-2.6564899999999998</c:v>
                </c:pt>
                <c:pt idx="9157">
                  <c:v>#N/A</c:v>
                </c:pt>
                <c:pt idx="9158">
                  <c:v>-2.34741</c:v>
                </c:pt>
                <c:pt idx="9159">
                  <c:v>-2.7301899999999999</c:v>
                </c:pt>
                <c:pt idx="9160">
                  <c:v>#N/A</c:v>
                </c:pt>
                <c:pt idx="9161">
                  <c:v>-3.7892899999999998</c:v>
                </c:pt>
                <c:pt idx="9162">
                  <c:v>#N/A</c:v>
                </c:pt>
                <c:pt idx="9163">
                  <c:v>-4.1597400000000002</c:v>
                </c:pt>
                <c:pt idx="9164">
                  <c:v>-4.1253799999999998</c:v>
                </c:pt>
                <c:pt idx="9165">
                  <c:v>-3.5297000000000001</c:v>
                </c:pt>
                <c:pt idx="9166">
                  <c:v>#N/A</c:v>
                </c:pt>
                <c:pt idx="9167">
                  <c:v>-3.2154600000000002</c:v>
                </c:pt>
                <c:pt idx="9168">
                  <c:v>-2.3172700000000002</c:v>
                </c:pt>
                <c:pt idx="9169">
                  <c:v>-2.5076999999999998</c:v>
                </c:pt>
                <c:pt idx="9170">
                  <c:v>#N/A</c:v>
                </c:pt>
                <c:pt idx="9171">
                  <c:v>-3.2072099999999999</c:v>
                </c:pt>
                <c:pt idx="9172">
                  <c:v>-3.71529</c:v>
                </c:pt>
                <c:pt idx="9173">
                  <c:v>-4.1336199999999996</c:v>
                </c:pt>
                <c:pt idx="9174">
                  <c:v>#N/A</c:v>
                </c:pt>
                <c:pt idx="9175">
                  <c:v>-4.5310899999999998</c:v>
                </c:pt>
                <c:pt idx="9176">
                  <c:v>-3.5748199999999999</c:v>
                </c:pt>
                <c:pt idx="9177">
                  <c:v>#N/A</c:v>
                </c:pt>
                <c:pt idx="9178">
                  <c:v>-3.7599399999999998</c:v>
                </c:pt>
                <c:pt idx="9179">
                  <c:v>-2.8917700000000002</c:v>
                </c:pt>
                <c:pt idx="9180">
                  <c:v>-3.3742899999999998</c:v>
                </c:pt>
                <c:pt idx="9181">
                  <c:v>#N/A</c:v>
                </c:pt>
                <c:pt idx="9182">
                  <c:v>-3.3486400000000001</c:v>
                </c:pt>
                <c:pt idx="9183">
                  <c:v>-3.9177</c:v>
                </c:pt>
                <c:pt idx="9184">
                  <c:v>-4.0509300000000001</c:v>
                </c:pt>
                <c:pt idx="9185">
                  <c:v>#N/A</c:v>
                </c:pt>
                <c:pt idx="9186">
                  <c:v>-4.0939300000000003</c:v>
                </c:pt>
                <c:pt idx="9187">
                  <c:v>-4.0098399999999996</c:v>
                </c:pt>
                <c:pt idx="9188">
                  <c:v>-3.5037400000000001</c:v>
                </c:pt>
                <c:pt idx="9189">
                  <c:v>#N/A</c:v>
                </c:pt>
                <c:pt idx="9190">
                  <c:v>-3.0973700000000002</c:v>
                </c:pt>
                <c:pt idx="9191">
                  <c:v>-3.1237499999999998</c:v>
                </c:pt>
                <c:pt idx="9192">
                  <c:v>-3.7162199999999999</c:v>
                </c:pt>
                <c:pt idx="9193">
                  <c:v>#N/A</c:v>
                </c:pt>
                <c:pt idx="9194">
                  <c:v>-3.47926</c:v>
                </c:pt>
                <c:pt idx="9195">
                  <c:v>-4.2427099999999998</c:v>
                </c:pt>
                <c:pt idx="9196">
                  <c:v>-4.1808899999999998</c:v>
                </c:pt>
                <c:pt idx="9197">
                  <c:v>#N/A</c:v>
                </c:pt>
                <c:pt idx="9198">
                  <c:v>-3.7839800000000001</c:v>
                </c:pt>
                <c:pt idx="9199">
                  <c:v>-3.69706</c:v>
                </c:pt>
                <c:pt idx="9200">
                  <c:v>-3.7281300000000002</c:v>
                </c:pt>
                <c:pt idx="9201">
                  <c:v>#N/A</c:v>
                </c:pt>
                <c:pt idx="9202">
                  <c:v>-3.80626</c:v>
                </c:pt>
                <c:pt idx="9203">
                  <c:v>-3.99133</c:v>
                </c:pt>
                <c:pt idx="9204">
                  <c:v>-3.7975099999999999</c:v>
                </c:pt>
                <c:pt idx="9205">
                  <c:v>#N/A</c:v>
                </c:pt>
                <c:pt idx="9206">
                  <c:v>-4.2850000000000001</c:v>
                </c:pt>
                <c:pt idx="9207">
                  <c:v>-3.5809299999999999</c:v>
                </c:pt>
                <c:pt idx="9208">
                  <c:v>#N/A</c:v>
                </c:pt>
                <c:pt idx="9209">
                  <c:v>-3.8682099999999999</c:v>
                </c:pt>
                <c:pt idx="9210">
                  <c:v>-3.79305</c:v>
                </c:pt>
                <c:pt idx="9211">
                  <c:v>-3.5911400000000002</c:v>
                </c:pt>
                <c:pt idx="9212">
                  <c:v>#N/A</c:v>
                </c:pt>
                <c:pt idx="9213">
                  <c:v>-3.6669</c:v>
                </c:pt>
                <c:pt idx="9214">
                  <c:v>-4.2465099999999998</c:v>
                </c:pt>
                <c:pt idx="9215">
                  <c:v>-4.3282299999999996</c:v>
                </c:pt>
                <c:pt idx="9216">
                  <c:v>#N/A</c:v>
                </c:pt>
                <c:pt idx="9217">
                  <c:v>-4.3227399999999996</c:v>
                </c:pt>
                <c:pt idx="9218">
                  <c:v>-3.66717</c:v>
                </c:pt>
                <c:pt idx="9219">
                  <c:v>#N/A</c:v>
                </c:pt>
                <c:pt idx="9220">
                  <c:v>-3.45573</c:v>
                </c:pt>
                <c:pt idx="9221">
                  <c:v>-3.15029</c:v>
                </c:pt>
                <c:pt idx="9222">
                  <c:v>-4.0379699999999996</c:v>
                </c:pt>
                <c:pt idx="9223">
                  <c:v>#N/A</c:v>
                </c:pt>
                <c:pt idx="9224">
                  <c:v>-3.7090299999999998</c:v>
                </c:pt>
                <c:pt idx="9225">
                  <c:v>-4.8009199999999996</c:v>
                </c:pt>
                <c:pt idx="9226">
                  <c:v>-4.8425799999999999</c:v>
                </c:pt>
                <c:pt idx="9227">
                  <c:v>#N/A</c:v>
                </c:pt>
                <c:pt idx="9228">
                  <c:v>-4.4472899999999997</c:v>
                </c:pt>
                <c:pt idx="9229">
                  <c:v>-3.9728400000000001</c:v>
                </c:pt>
                <c:pt idx="9230">
                  <c:v>-2.98278</c:v>
                </c:pt>
                <c:pt idx="9231">
                  <c:v>#N/A</c:v>
                </c:pt>
                <c:pt idx="9232">
                  <c:v>-3.4683299999999999</c:v>
                </c:pt>
                <c:pt idx="9233">
                  <c:v>-3.25928</c:v>
                </c:pt>
                <c:pt idx="9234">
                  <c:v>#N/A</c:v>
                </c:pt>
                <c:pt idx="9235">
                  <c:v>-4.7974899999999998</c:v>
                </c:pt>
                <c:pt idx="9236">
                  <c:v>-5.6464100000000004</c:v>
                </c:pt>
                <c:pt idx="9237">
                  <c:v>#N/A</c:v>
                </c:pt>
                <c:pt idx="9238">
                  <c:v>-4.8246099999999998</c:v>
                </c:pt>
                <c:pt idx="9239">
                  <c:v>-4.4551800000000004</c:v>
                </c:pt>
                <c:pt idx="9240">
                  <c:v>#N/A</c:v>
                </c:pt>
                <c:pt idx="9241">
                  <c:v>-4.04948</c:v>
                </c:pt>
                <c:pt idx="9242">
                  <c:v>-3.23305</c:v>
                </c:pt>
                <c:pt idx="9243">
                  <c:v>-3.7115</c:v>
                </c:pt>
                <c:pt idx="9244">
                  <c:v>#N/A</c:v>
                </c:pt>
                <c:pt idx="9245">
                  <c:v>-3.6991299999999998</c:v>
                </c:pt>
                <c:pt idx="9246">
                  <c:v>-4.3917999999999999</c:v>
                </c:pt>
                <c:pt idx="9247">
                  <c:v>-4.3019800000000004</c:v>
                </c:pt>
                <c:pt idx="9248">
                  <c:v>#N/A</c:v>
                </c:pt>
                <c:pt idx="9249">
                  <c:v>-4.8746700000000001</c:v>
                </c:pt>
                <c:pt idx="9250">
                  <c:v>-4.3588399999999998</c:v>
                </c:pt>
                <c:pt idx="9251">
                  <c:v>-3.55897</c:v>
                </c:pt>
                <c:pt idx="9252">
                  <c:v>#N/A</c:v>
                </c:pt>
                <c:pt idx="9253">
                  <c:v>-3.67699</c:v>
                </c:pt>
                <c:pt idx="9254">
                  <c:v>-3.4194800000000001</c:v>
                </c:pt>
                <c:pt idx="9255">
                  <c:v>-3.8050099999999998</c:v>
                </c:pt>
                <c:pt idx="9256">
                  <c:v>#N/A</c:v>
                </c:pt>
                <c:pt idx="9257">
                  <c:v>-4.2758200000000004</c:v>
                </c:pt>
                <c:pt idx="9258">
                  <c:v>-4.5114200000000002</c:v>
                </c:pt>
                <c:pt idx="9259">
                  <c:v>-4.0456399999999997</c:v>
                </c:pt>
                <c:pt idx="9260">
                  <c:v>#N/A</c:v>
                </c:pt>
                <c:pt idx="9261">
                  <c:v>-4.6138399999999997</c:v>
                </c:pt>
                <c:pt idx="9262">
                  <c:v>-4.5406700000000004</c:v>
                </c:pt>
                <c:pt idx="9263">
                  <c:v>-4.4070900000000002</c:v>
                </c:pt>
                <c:pt idx="9264">
                  <c:v>#N/A</c:v>
                </c:pt>
                <c:pt idx="9265">
                  <c:v>-3.7699199999999999</c:v>
                </c:pt>
                <c:pt idx="9266">
                  <c:v>-4.0986799999999999</c:v>
                </c:pt>
                <c:pt idx="9267">
                  <c:v>#N/A</c:v>
                </c:pt>
                <c:pt idx="9268">
                  <c:v>-4.3660899999999998</c:v>
                </c:pt>
                <c:pt idx="9269">
                  <c:v>-3.9811200000000002</c:v>
                </c:pt>
                <c:pt idx="9270">
                  <c:v>-3.5645500000000001</c:v>
                </c:pt>
                <c:pt idx="9271">
                  <c:v>#N/A</c:v>
                </c:pt>
                <c:pt idx="9272">
                  <c:v>-3.50088</c:v>
                </c:pt>
                <c:pt idx="9273">
                  <c:v>-3.5549300000000001</c:v>
                </c:pt>
                <c:pt idx="9274">
                  <c:v>-3.6291899999999999</c:v>
                </c:pt>
                <c:pt idx="9275">
                  <c:v>#N/A</c:v>
                </c:pt>
                <c:pt idx="9276">
                  <c:v>-4.2388000000000003</c:v>
                </c:pt>
                <c:pt idx="9277">
                  <c:v>-4.0912699999999997</c:v>
                </c:pt>
                <c:pt idx="9278">
                  <c:v>-3.6319400000000002</c:v>
                </c:pt>
                <c:pt idx="9279">
                  <c:v>#N/A</c:v>
                </c:pt>
                <c:pt idx="9280">
                  <c:v>-3.7427299999999999</c:v>
                </c:pt>
                <c:pt idx="9281">
                  <c:v>-3.3452799999999998</c:v>
                </c:pt>
                <c:pt idx="9282">
                  <c:v>-3.4909500000000002</c:v>
                </c:pt>
                <c:pt idx="9283">
                  <c:v>#N/A</c:v>
                </c:pt>
                <c:pt idx="9284">
                  <c:v>-3.12256</c:v>
                </c:pt>
                <c:pt idx="9285">
                  <c:v>-3.9084500000000002</c:v>
                </c:pt>
                <c:pt idx="9286">
                  <c:v>-4.3525</c:v>
                </c:pt>
                <c:pt idx="9287">
                  <c:v>#N/A</c:v>
                </c:pt>
                <c:pt idx="9288">
                  <c:v>-4.6815899999999999</c:v>
                </c:pt>
                <c:pt idx="9289">
                  <c:v>-4.6957500000000003</c:v>
                </c:pt>
                <c:pt idx="9290">
                  <c:v>#N/A</c:v>
                </c:pt>
                <c:pt idx="9291">
                  <c:v>-3.4959600000000002</c:v>
                </c:pt>
                <c:pt idx="9292">
                  <c:v>-3.9405199999999998</c:v>
                </c:pt>
                <c:pt idx="9293">
                  <c:v>-2.9552700000000001</c:v>
                </c:pt>
                <c:pt idx="9294">
                  <c:v>#N/A</c:v>
                </c:pt>
                <c:pt idx="9295">
                  <c:v>-2.98306</c:v>
                </c:pt>
                <c:pt idx="9296">
                  <c:v>-2.9977</c:v>
                </c:pt>
                <c:pt idx="9297">
                  <c:v>-3.5696400000000001</c:v>
                </c:pt>
                <c:pt idx="9298">
                  <c:v>#N/A</c:v>
                </c:pt>
                <c:pt idx="9299">
                  <c:v>-4.1357699999999999</c:v>
                </c:pt>
                <c:pt idx="9300">
                  <c:v>-4.0478100000000001</c:v>
                </c:pt>
                <c:pt idx="9301">
                  <c:v>#N/A</c:v>
                </c:pt>
                <c:pt idx="9302">
                  <c:v>-3.5187300000000001</c:v>
                </c:pt>
                <c:pt idx="9303">
                  <c:v>-2.6229100000000001</c:v>
                </c:pt>
                <c:pt idx="9304">
                  <c:v>-2.40707</c:v>
                </c:pt>
                <c:pt idx="9305">
                  <c:v>#N/A</c:v>
                </c:pt>
                <c:pt idx="9306">
                  <c:v>-2.8147000000000002</c:v>
                </c:pt>
                <c:pt idx="9307">
                  <c:v>-3.00034</c:v>
                </c:pt>
                <c:pt idx="9308">
                  <c:v>-3.33386</c:v>
                </c:pt>
                <c:pt idx="9309">
                  <c:v>#N/A</c:v>
                </c:pt>
                <c:pt idx="9310">
                  <c:v>-3.7236699999999998</c:v>
                </c:pt>
                <c:pt idx="9311">
                  <c:v>#N/A</c:v>
                </c:pt>
                <c:pt idx="9312">
                  <c:v>-3.4979499999999999</c:v>
                </c:pt>
                <c:pt idx="9313">
                  <c:v>#N/A</c:v>
                </c:pt>
                <c:pt idx="9314">
                  <c:v>-2.9341400000000002</c:v>
                </c:pt>
                <c:pt idx="9315">
                  <c:v>-2.68276</c:v>
                </c:pt>
                <c:pt idx="9316">
                  <c:v>-3.1025100000000001</c:v>
                </c:pt>
                <c:pt idx="9317">
                  <c:v>#N/A</c:v>
                </c:pt>
                <c:pt idx="9318">
                  <c:v>-3.32484</c:v>
                </c:pt>
                <c:pt idx="9319">
                  <c:v>-3.20058</c:v>
                </c:pt>
                <c:pt idx="9320">
                  <c:v>-3.26749</c:v>
                </c:pt>
                <c:pt idx="9321">
                  <c:v>#N/A</c:v>
                </c:pt>
                <c:pt idx="9322">
                  <c:v>-3.6266699999999998</c:v>
                </c:pt>
                <c:pt idx="9323">
                  <c:v>-3.3247</c:v>
                </c:pt>
                <c:pt idx="9324">
                  <c:v>-2.5228700000000002</c:v>
                </c:pt>
                <c:pt idx="9325">
                  <c:v>#N/A</c:v>
                </c:pt>
                <c:pt idx="9326">
                  <c:v>-2.3677700000000002</c:v>
                </c:pt>
                <c:pt idx="9327">
                  <c:v>-2.6414300000000002</c:v>
                </c:pt>
                <c:pt idx="9328">
                  <c:v>-2.8768699999999998</c:v>
                </c:pt>
                <c:pt idx="9329">
                  <c:v>#N/A</c:v>
                </c:pt>
                <c:pt idx="9330">
                  <c:v>-3.1969099999999999</c:v>
                </c:pt>
                <c:pt idx="9331">
                  <c:v>-3.1511200000000001</c:v>
                </c:pt>
                <c:pt idx="9332">
                  <c:v>-2.9620899999999999</c:v>
                </c:pt>
                <c:pt idx="9333">
                  <c:v>#N/A</c:v>
                </c:pt>
                <c:pt idx="9334">
                  <c:v>-2.2252800000000001</c:v>
                </c:pt>
                <c:pt idx="9335">
                  <c:v>-1.9145799999999999</c:v>
                </c:pt>
                <c:pt idx="9336">
                  <c:v>#N/A</c:v>
                </c:pt>
                <c:pt idx="9337">
                  <c:v>-2.2790900000000001</c:v>
                </c:pt>
                <c:pt idx="9338">
                  <c:v>-2.4348299999999998</c:v>
                </c:pt>
                <c:pt idx="9339">
                  <c:v>-2.9193099999999998</c:v>
                </c:pt>
                <c:pt idx="9340">
                  <c:v>#N/A</c:v>
                </c:pt>
                <c:pt idx="9341">
                  <c:v>-3.3045399999999998</c:v>
                </c:pt>
                <c:pt idx="9342">
                  <c:v>-2.7101999999999999</c:v>
                </c:pt>
                <c:pt idx="9343">
                  <c:v>-2.1370900000000002</c:v>
                </c:pt>
                <c:pt idx="9344">
                  <c:v>#N/A</c:v>
                </c:pt>
                <c:pt idx="9345">
                  <c:v>-2.11957</c:v>
                </c:pt>
                <c:pt idx="9346">
                  <c:v>-2.0975700000000002</c:v>
                </c:pt>
                <c:pt idx="9347">
                  <c:v>-3.37723</c:v>
                </c:pt>
                <c:pt idx="9348">
                  <c:v>#N/A</c:v>
                </c:pt>
                <c:pt idx="9349">
                  <c:v>-2.9513400000000001</c:v>
                </c:pt>
                <c:pt idx="9350">
                  <c:v>-3.2687400000000002</c:v>
                </c:pt>
                <c:pt idx="9351">
                  <c:v>-3.6482399999999999</c:v>
                </c:pt>
                <c:pt idx="9352">
                  <c:v>#N/A</c:v>
                </c:pt>
                <c:pt idx="9353">
                  <c:v>-3.5828199999999999</c:v>
                </c:pt>
                <c:pt idx="9354">
                  <c:v>-2.9654600000000002</c:v>
                </c:pt>
                <c:pt idx="9355">
                  <c:v>-2.42828</c:v>
                </c:pt>
                <c:pt idx="9356">
                  <c:v>#N/A</c:v>
                </c:pt>
                <c:pt idx="9357">
                  <c:v>-2.1598700000000002</c:v>
                </c:pt>
                <c:pt idx="9358">
                  <c:v>-2.6632500000000001</c:v>
                </c:pt>
                <c:pt idx="9359">
                  <c:v>#N/A</c:v>
                </c:pt>
                <c:pt idx="9360">
                  <c:v>-2.6669200000000002</c:v>
                </c:pt>
                <c:pt idx="9361">
                  <c:v>-3.1729500000000002</c:v>
                </c:pt>
                <c:pt idx="9362">
                  <c:v>-2.6194799999999998</c:v>
                </c:pt>
                <c:pt idx="9363">
                  <c:v>#N/A</c:v>
                </c:pt>
                <c:pt idx="9364">
                  <c:v>-3.0812599999999999</c:v>
                </c:pt>
                <c:pt idx="9365">
                  <c:v>-2.9396200000000001</c:v>
                </c:pt>
                <c:pt idx="9366">
                  <c:v>-2.2211500000000002</c:v>
                </c:pt>
                <c:pt idx="9367">
                  <c:v>#N/A</c:v>
                </c:pt>
                <c:pt idx="9368">
                  <c:v>-1.7876300000000001</c:v>
                </c:pt>
                <c:pt idx="9369">
                  <c:v>-2.2304900000000001</c:v>
                </c:pt>
                <c:pt idx="9370">
                  <c:v>-2.6490900000000002</c:v>
                </c:pt>
                <c:pt idx="9371">
                  <c:v>#N/A</c:v>
                </c:pt>
                <c:pt idx="9372">
                  <c:v>-2.9190499999999999</c:v>
                </c:pt>
                <c:pt idx="9373">
                  <c:v>-3.2924699999999998</c:v>
                </c:pt>
                <c:pt idx="9374">
                  <c:v>#N/A</c:v>
                </c:pt>
                <c:pt idx="9375">
                  <c:v>-3.1813099999999999</c:v>
                </c:pt>
                <c:pt idx="9376">
                  <c:v>-2.7297799999999999</c:v>
                </c:pt>
                <c:pt idx="9377">
                  <c:v>-2.50176</c:v>
                </c:pt>
                <c:pt idx="9378">
                  <c:v>#N/A</c:v>
                </c:pt>
                <c:pt idx="9379">
                  <c:v>-2.2787999999999999</c:v>
                </c:pt>
                <c:pt idx="9380">
                  <c:v>-2.4387300000000001</c:v>
                </c:pt>
                <c:pt idx="9381">
                  <c:v>-2.9157700000000002</c:v>
                </c:pt>
                <c:pt idx="9382">
                  <c:v>#N/A</c:v>
                </c:pt>
                <c:pt idx="9383">
                  <c:v>-3.73061</c:v>
                </c:pt>
                <c:pt idx="9384">
                  <c:v>-3.3199900000000002</c:v>
                </c:pt>
                <c:pt idx="9385">
                  <c:v>#N/A</c:v>
                </c:pt>
                <c:pt idx="9386">
                  <c:v>-2.8443299999999998</c:v>
                </c:pt>
                <c:pt idx="9387">
                  <c:v>-2.3435100000000002</c:v>
                </c:pt>
                <c:pt idx="9388">
                  <c:v>#N/A</c:v>
                </c:pt>
                <c:pt idx="9389">
                  <c:v>-2.5324</c:v>
                </c:pt>
                <c:pt idx="9390">
                  <c:v>-2.9783400000000002</c:v>
                </c:pt>
                <c:pt idx="9391">
                  <c:v>#N/A</c:v>
                </c:pt>
                <c:pt idx="9392">
                  <c:v>-3.14438</c:v>
                </c:pt>
                <c:pt idx="9393">
                  <c:v>-3.5882800000000001</c:v>
                </c:pt>
                <c:pt idx="9394">
                  <c:v>-3.83466</c:v>
                </c:pt>
                <c:pt idx="9395">
                  <c:v>#N/A</c:v>
                </c:pt>
                <c:pt idx="9396">
                  <c:v>-3.0167099999999998</c:v>
                </c:pt>
                <c:pt idx="9397">
                  <c:v>-2.51044</c:v>
                </c:pt>
                <c:pt idx="9398">
                  <c:v>-2.21705</c:v>
                </c:pt>
                <c:pt idx="9399">
                  <c:v>#N/A</c:v>
                </c:pt>
                <c:pt idx="9400">
                  <c:v>-2.8976199999999999</c:v>
                </c:pt>
                <c:pt idx="9401">
                  <c:v>-2.75698</c:v>
                </c:pt>
                <c:pt idx="9402">
                  <c:v>-3.9740500000000001</c:v>
                </c:pt>
                <c:pt idx="9403">
                  <c:v>#N/A</c:v>
                </c:pt>
                <c:pt idx="9404">
                  <c:v>-4.1045400000000001</c:v>
                </c:pt>
                <c:pt idx="9405">
                  <c:v>-4.0035100000000003</c:v>
                </c:pt>
                <c:pt idx="9406">
                  <c:v>-3.4219300000000001</c:v>
                </c:pt>
                <c:pt idx="9407">
                  <c:v>#N/A</c:v>
                </c:pt>
                <c:pt idx="9408">
                  <c:v>-2.3908999999999998</c:v>
                </c:pt>
                <c:pt idx="9409">
                  <c:v>-2.68207</c:v>
                </c:pt>
                <c:pt idx="9410">
                  <c:v>#N/A</c:v>
                </c:pt>
                <c:pt idx="9411">
                  <c:v>-2.7356199999999999</c:v>
                </c:pt>
                <c:pt idx="9412">
                  <c:v>-3.3597999999999999</c:v>
                </c:pt>
                <c:pt idx="9413">
                  <c:v>-4.5734899999999996</c:v>
                </c:pt>
                <c:pt idx="9414">
                  <c:v>#N/A</c:v>
                </c:pt>
                <c:pt idx="9415">
                  <c:v>-4.1159299999999996</c:v>
                </c:pt>
                <c:pt idx="9416">
                  <c:v>-3.62683</c:v>
                </c:pt>
                <c:pt idx="9417">
                  <c:v>-3.32233</c:v>
                </c:pt>
                <c:pt idx="9418">
                  <c:v>#N/A</c:v>
                </c:pt>
                <c:pt idx="9419">
                  <c:v>-2.7423799999999998</c:v>
                </c:pt>
                <c:pt idx="9420">
                  <c:v>-2.5731199999999999</c:v>
                </c:pt>
                <c:pt idx="9421">
                  <c:v>-2.5115400000000001</c:v>
                </c:pt>
                <c:pt idx="9422">
                  <c:v>#N/A</c:v>
                </c:pt>
                <c:pt idx="9423">
                  <c:v>-3.06969</c:v>
                </c:pt>
                <c:pt idx="9424">
                  <c:v>-3.2043900000000001</c:v>
                </c:pt>
                <c:pt idx="9425">
                  <c:v>-3.5743200000000002</c:v>
                </c:pt>
                <c:pt idx="9426">
                  <c:v>#N/A</c:v>
                </c:pt>
                <c:pt idx="9427">
                  <c:v>-3.2448000000000001</c:v>
                </c:pt>
                <c:pt idx="9428">
                  <c:v>-2.7565200000000001</c:v>
                </c:pt>
                <c:pt idx="9429">
                  <c:v>-2.7962899999999999</c:v>
                </c:pt>
                <c:pt idx="9430">
                  <c:v>#N/A</c:v>
                </c:pt>
                <c:pt idx="9431">
                  <c:v>-3.1071499999999999</c:v>
                </c:pt>
                <c:pt idx="9432">
                  <c:v>-2.9479799999999998</c:v>
                </c:pt>
                <c:pt idx="9433">
                  <c:v>#N/A</c:v>
                </c:pt>
                <c:pt idx="9434">
                  <c:v>-2.9558499999999999</c:v>
                </c:pt>
                <c:pt idx="9435">
                  <c:v>-3.5408300000000001</c:v>
                </c:pt>
                <c:pt idx="9436">
                  <c:v>-3.3645299999999998</c:v>
                </c:pt>
                <c:pt idx="9437">
                  <c:v>#N/A</c:v>
                </c:pt>
                <c:pt idx="9438">
                  <c:v>-2.4653700000000001</c:v>
                </c:pt>
                <c:pt idx="9439">
                  <c:v>-2.3444099999999999</c:v>
                </c:pt>
                <c:pt idx="9440">
                  <c:v>-2.3018100000000001</c:v>
                </c:pt>
                <c:pt idx="9441">
                  <c:v>#N/A</c:v>
                </c:pt>
                <c:pt idx="9442">
                  <c:v>-2.7561100000000001</c:v>
                </c:pt>
                <c:pt idx="9443">
                  <c:v>-3.3531599999999999</c:v>
                </c:pt>
                <c:pt idx="9444">
                  <c:v>-3.7854999999999999</c:v>
                </c:pt>
                <c:pt idx="9445">
                  <c:v>#N/A</c:v>
                </c:pt>
                <c:pt idx="9446">
                  <c:v>-2.9893999999999998</c:v>
                </c:pt>
                <c:pt idx="9447">
                  <c:v>-2.7579199999999999</c:v>
                </c:pt>
                <c:pt idx="9448">
                  <c:v>-2.4289900000000002</c:v>
                </c:pt>
                <c:pt idx="9449">
                  <c:v>#N/A</c:v>
                </c:pt>
                <c:pt idx="9450">
                  <c:v>-1.82517</c:v>
                </c:pt>
                <c:pt idx="9451">
                  <c:v>-1.9028099999999999</c:v>
                </c:pt>
                <c:pt idx="9452">
                  <c:v>-2.4901300000000002</c:v>
                </c:pt>
                <c:pt idx="9453">
                  <c:v>#N/A</c:v>
                </c:pt>
                <c:pt idx="9454">
                  <c:v>-3.2029100000000001</c:v>
                </c:pt>
                <c:pt idx="9455">
                  <c:v>-3.0181</c:v>
                </c:pt>
                <c:pt idx="9456">
                  <c:v>-3.9308399999999999</c:v>
                </c:pt>
                <c:pt idx="9457">
                  <c:v>#N/A</c:v>
                </c:pt>
                <c:pt idx="9458">
                  <c:v>-3.3100499999999999</c:v>
                </c:pt>
                <c:pt idx="9459">
                  <c:v>-2.1220300000000001</c:v>
                </c:pt>
                <c:pt idx="9460">
                  <c:v>#N/A</c:v>
                </c:pt>
                <c:pt idx="9461">
                  <c:v>-2.2332000000000001</c:v>
                </c:pt>
                <c:pt idx="9462">
                  <c:v>#N/A</c:v>
                </c:pt>
                <c:pt idx="9463">
                  <c:v>-1.6745699999999999</c:v>
                </c:pt>
                <c:pt idx="9464">
                  <c:v>-2.8644400000000001</c:v>
                </c:pt>
                <c:pt idx="9465">
                  <c:v>#N/A</c:v>
                </c:pt>
                <c:pt idx="9466">
                  <c:v>-3.6322000000000001</c:v>
                </c:pt>
                <c:pt idx="9467">
                  <c:v>-3.8573900000000001</c:v>
                </c:pt>
                <c:pt idx="9468">
                  <c:v>-3.29359</c:v>
                </c:pt>
                <c:pt idx="9469">
                  <c:v>#N/A</c:v>
                </c:pt>
                <c:pt idx="9470">
                  <c:v>-3.3469000000000002</c:v>
                </c:pt>
                <c:pt idx="9471">
                  <c:v>-2.8166000000000002</c:v>
                </c:pt>
                <c:pt idx="9472">
                  <c:v>#N/A</c:v>
                </c:pt>
                <c:pt idx="9473">
                  <c:v>-2.27135</c:v>
                </c:pt>
                <c:pt idx="9474">
                  <c:v>-2.2724500000000001</c:v>
                </c:pt>
                <c:pt idx="9475">
                  <c:v>-2.76302</c:v>
                </c:pt>
                <c:pt idx="9476">
                  <c:v>#N/A</c:v>
                </c:pt>
                <c:pt idx="9477">
                  <c:v>-3.1506699999999999</c:v>
                </c:pt>
                <c:pt idx="9478">
                  <c:v>-3.75048</c:v>
                </c:pt>
                <c:pt idx="9479">
                  <c:v>-3.5922100000000001</c:v>
                </c:pt>
                <c:pt idx="9480">
                  <c:v>#N/A</c:v>
                </c:pt>
                <c:pt idx="9481">
                  <c:v>-2.6929699999999999</c:v>
                </c:pt>
                <c:pt idx="9482">
                  <c:v>-2.5117500000000001</c:v>
                </c:pt>
                <c:pt idx="9483">
                  <c:v>#N/A</c:v>
                </c:pt>
                <c:pt idx="9484">
                  <c:v>-3.1078100000000002</c:v>
                </c:pt>
                <c:pt idx="9485">
                  <c:v>-3.5043600000000001</c:v>
                </c:pt>
                <c:pt idx="9486">
                  <c:v>-3.7047500000000002</c:v>
                </c:pt>
                <c:pt idx="9487">
                  <c:v>#N/A</c:v>
                </c:pt>
                <c:pt idx="9488">
                  <c:v>-3.6608100000000001</c:v>
                </c:pt>
                <c:pt idx="9489">
                  <c:v>-3.2147800000000002</c:v>
                </c:pt>
                <c:pt idx="9490">
                  <c:v>-3.2056</c:v>
                </c:pt>
                <c:pt idx="9491">
                  <c:v>#N/A</c:v>
                </c:pt>
                <c:pt idx="9492">
                  <c:v>-2.9742000000000002</c:v>
                </c:pt>
                <c:pt idx="9493">
                  <c:v>-2.2077</c:v>
                </c:pt>
                <c:pt idx="9494">
                  <c:v>-2.3979400000000002</c:v>
                </c:pt>
                <c:pt idx="9495">
                  <c:v>#N/A</c:v>
                </c:pt>
                <c:pt idx="9496">
                  <c:v>-2.8790499999999999</c:v>
                </c:pt>
                <c:pt idx="9497">
                  <c:v>-2.4449100000000001</c:v>
                </c:pt>
                <c:pt idx="9498">
                  <c:v>-2.6715599999999999</c:v>
                </c:pt>
                <c:pt idx="9499">
                  <c:v>#N/A</c:v>
                </c:pt>
                <c:pt idx="9500">
                  <c:v>-2.14663</c:v>
                </c:pt>
                <c:pt idx="9501">
                  <c:v>-1.92127</c:v>
                </c:pt>
                <c:pt idx="9502">
                  <c:v>-1.7778400000000001</c:v>
                </c:pt>
                <c:pt idx="9503">
                  <c:v>#N/A</c:v>
                </c:pt>
                <c:pt idx="9504">
                  <c:v>-1.9988600000000001</c:v>
                </c:pt>
                <c:pt idx="9505">
                  <c:v>-2.7095500000000001</c:v>
                </c:pt>
                <c:pt idx="9506">
                  <c:v>-2.8349000000000002</c:v>
                </c:pt>
                <c:pt idx="9507">
                  <c:v>#N/A</c:v>
                </c:pt>
                <c:pt idx="9508">
                  <c:v>-3.3227899999999999</c:v>
                </c:pt>
                <c:pt idx="9509">
                  <c:v>-2.8741099999999999</c:v>
                </c:pt>
                <c:pt idx="9510">
                  <c:v>-2.5367700000000002</c:v>
                </c:pt>
                <c:pt idx="9511">
                  <c:v>#N/A</c:v>
                </c:pt>
                <c:pt idx="9512">
                  <c:v>-2.13666</c:v>
                </c:pt>
                <c:pt idx="9513">
                  <c:v>-2.2751100000000002</c:v>
                </c:pt>
                <c:pt idx="9514">
                  <c:v>#N/A</c:v>
                </c:pt>
                <c:pt idx="9515">
                  <c:v>-2.24519</c:v>
                </c:pt>
                <c:pt idx="9516">
                  <c:v>-3.0556800000000002</c:v>
                </c:pt>
                <c:pt idx="9517">
                  <c:v>-3.3290500000000001</c:v>
                </c:pt>
                <c:pt idx="9518">
                  <c:v>#N/A</c:v>
                </c:pt>
                <c:pt idx="9519">
                  <c:v>-3.4396300000000002</c:v>
                </c:pt>
                <c:pt idx="9520">
                  <c:v>-3.0062099999999998</c:v>
                </c:pt>
                <c:pt idx="9521">
                  <c:v>-2.3957099999999998</c:v>
                </c:pt>
                <c:pt idx="9522">
                  <c:v>#N/A</c:v>
                </c:pt>
                <c:pt idx="9523">
                  <c:v>-1.5176499999999999</c:v>
                </c:pt>
                <c:pt idx="9524">
                  <c:v>-1.2651399999999999</c:v>
                </c:pt>
                <c:pt idx="9525">
                  <c:v>-2.1749800000000001</c:v>
                </c:pt>
                <c:pt idx="9526">
                  <c:v>#N/A</c:v>
                </c:pt>
                <c:pt idx="9527">
                  <c:v>-2.6729400000000001</c:v>
                </c:pt>
                <c:pt idx="9528">
                  <c:v>-2.8451900000000001</c:v>
                </c:pt>
                <c:pt idx="9529">
                  <c:v>-2.9896500000000001</c:v>
                </c:pt>
                <c:pt idx="9530">
                  <c:v>#N/A</c:v>
                </c:pt>
                <c:pt idx="9531">
                  <c:v>-3.0519799999999999</c:v>
                </c:pt>
                <c:pt idx="9532">
                  <c:v>-2.7353800000000001</c:v>
                </c:pt>
                <c:pt idx="9533">
                  <c:v>-1.8910100000000001</c:v>
                </c:pt>
                <c:pt idx="9534">
                  <c:v>#N/A</c:v>
                </c:pt>
                <c:pt idx="9535">
                  <c:v>-1.67252</c:v>
                </c:pt>
                <c:pt idx="9536">
                  <c:v>-2.1796000000000002</c:v>
                </c:pt>
                <c:pt idx="9537">
                  <c:v>#N/A</c:v>
                </c:pt>
                <c:pt idx="9538">
                  <c:v>-2.42435</c:v>
                </c:pt>
                <c:pt idx="9539">
                  <c:v>-2.89269</c:v>
                </c:pt>
                <c:pt idx="9540">
                  <c:v>-3.1309</c:v>
                </c:pt>
                <c:pt idx="9541">
                  <c:v>#N/A</c:v>
                </c:pt>
                <c:pt idx="9542">
                  <c:v>-2.62066</c:v>
                </c:pt>
                <c:pt idx="9543">
                  <c:v>-2.37846</c:v>
                </c:pt>
                <c:pt idx="9544">
                  <c:v>#N/A</c:v>
                </c:pt>
                <c:pt idx="9545">
                  <c:v>-2.39927</c:v>
                </c:pt>
                <c:pt idx="9546">
                  <c:v>-1.9335899999999999</c:v>
                </c:pt>
                <c:pt idx="9547">
                  <c:v>-2.1760600000000001</c:v>
                </c:pt>
                <c:pt idx="9548">
                  <c:v>#N/A</c:v>
                </c:pt>
                <c:pt idx="9549">
                  <c:v>-3.0351699999999999</c:v>
                </c:pt>
                <c:pt idx="9550">
                  <c:v>-2.8843399999999999</c:v>
                </c:pt>
                <c:pt idx="9551">
                  <c:v>-3.2246899999999998</c:v>
                </c:pt>
                <c:pt idx="9552">
                  <c:v>#N/A</c:v>
                </c:pt>
                <c:pt idx="9553">
                  <c:v>-2.9719199999999999</c:v>
                </c:pt>
                <c:pt idx="9554">
                  <c:v>-2.1098499999999998</c:v>
                </c:pt>
                <c:pt idx="9555">
                  <c:v>-2.0121699999999998</c:v>
                </c:pt>
                <c:pt idx="9556">
                  <c:v>#N/A</c:v>
                </c:pt>
                <c:pt idx="9557">
                  <c:v>-2.23935</c:v>
                </c:pt>
                <c:pt idx="9558">
                  <c:v>-2.2593899999999998</c:v>
                </c:pt>
                <c:pt idx="9559">
                  <c:v>#N/A</c:v>
                </c:pt>
                <c:pt idx="9560">
                  <c:v>-2.8988299999999998</c:v>
                </c:pt>
                <c:pt idx="9561">
                  <c:v>-2.75325</c:v>
                </c:pt>
                <c:pt idx="9562">
                  <c:v>#N/A</c:v>
                </c:pt>
                <c:pt idx="9563">
                  <c:v>-2.4554499999999999</c:v>
                </c:pt>
                <c:pt idx="9564">
                  <c:v>-2.3446099999999999</c:v>
                </c:pt>
                <c:pt idx="9565">
                  <c:v>-2.0261100000000001</c:v>
                </c:pt>
                <c:pt idx="9566">
                  <c:v>#N/A</c:v>
                </c:pt>
                <c:pt idx="9567">
                  <c:v>-1.8076000000000001</c:v>
                </c:pt>
                <c:pt idx="9568">
                  <c:v>-1.7587299999999999</c:v>
                </c:pt>
                <c:pt idx="9569">
                  <c:v>-2.47722</c:v>
                </c:pt>
                <c:pt idx="9570">
                  <c:v>#N/A</c:v>
                </c:pt>
                <c:pt idx="9571">
                  <c:v>-2.34551</c:v>
                </c:pt>
                <c:pt idx="9572">
                  <c:v>-2.3107099999999998</c:v>
                </c:pt>
                <c:pt idx="9573">
                  <c:v>-1.87934</c:v>
                </c:pt>
                <c:pt idx="9574">
                  <c:v>#N/A</c:v>
                </c:pt>
                <c:pt idx="9575">
                  <c:v>-2.5073300000000001</c:v>
                </c:pt>
                <c:pt idx="9576">
                  <c:v>-1.8710599999999999</c:v>
                </c:pt>
                <c:pt idx="9577">
                  <c:v>-3.1605300000000001</c:v>
                </c:pt>
                <c:pt idx="9578">
                  <c:v>#N/A</c:v>
                </c:pt>
                <c:pt idx="9579">
                  <c:v>-2.5067200000000001</c:v>
                </c:pt>
                <c:pt idx="9580">
                  <c:v>-2.1514500000000001</c:v>
                </c:pt>
                <c:pt idx="9581">
                  <c:v>-2.5714199999999998</c:v>
                </c:pt>
                <c:pt idx="9582">
                  <c:v>#N/A</c:v>
                </c:pt>
                <c:pt idx="9583">
                  <c:v>-2.5318999999999998</c:v>
                </c:pt>
                <c:pt idx="9584">
                  <c:v>-2.2966600000000001</c:v>
                </c:pt>
                <c:pt idx="9585">
                  <c:v>-1.5292699999999999</c:v>
                </c:pt>
                <c:pt idx="9586">
                  <c:v>#N/A</c:v>
                </c:pt>
                <c:pt idx="9587">
                  <c:v>-1.94234</c:v>
                </c:pt>
                <c:pt idx="9588">
                  <c:v>-2.3065099999999998</c:v>
                </c:pt>
                <c:pt idx="9589">
                  <c:v>-2.9834499999999999</c:v>
                </c:pt>
                <c:pt idx="9590">
                  <c:v>#N/A</c:v>
                </c:pt>
                <c:pt idx="9591">
                  <c:v>-2.5946500000000001</c:v>
                </c:pt>
                <c:pt idx="9592">
                  <c:v>-3.2402799999999998</c:v>
                </c:pt>
                <c:pt idx="9593">
                  <c:v>#N/A</c:v>
                </c:pt>
                <c:pt idx="9594">
                  <c:v>-2.2403400000000002</c:v>
                </c:pt>
                <c:pt idx="9595">
                  <c:v>-2.1810800000000001</c:v>
                </c:pt>
                <c:pt idx="9596">
                  <c:v>-1.4458800000000001</c:v>
                </c:pt>
                <c:pt idx="9597">
                  <c:v>#N/A</c:v>
                </c:pt>
                <c:pt idx="9598">
                  <c:v>-1.6879999999999999</c:v>
                </c:pt>
                <c:pt idx="9599">
                  <c:v>-1.8273900000000001</c:v>
                </c:pt>
                <c:pt idx="9600">
                  <c:v>-2.7783600000000002</c:v>
                </c:pt>
                <c:pt idx="9601">
                  <c:v>#N/A</c:v>
                </c:pt>
                <c:pt idx="9602">
                  <c:v>-3.1199599999999998</c:v>
                </c:pt>
                <c:pt idx="9603">
                  <c:v>-2.8727499999999999</c:v>
                </c:pt>
                <c:pt idx="9604">
                  <c:v>-2.4094799999999998</c:v>
                </c:pt>
                <c:pt idx="9605">
                  <c:v>#N/A</c:v>
                </c:pt>
                <c:pt idx="9606">
                  <c:v>-2.1454200000000001</c:v>
                </c:pt>
                <c:pt idx="9607">
                  <c:v>-2.28498</c:v>
                </c:pt>
                <c:pt idx="9608">
                  <c:v>-2.2133699999999998</c:v>
                </c:pt>
                <c:pt idx="9609">
                  <c:v>#N/A</c:v>
                </c:pt>
                <c:pt idx="9610">
                  <c:v>#N/A</c:v>
                </c:pt>
                <c:pt idx="9611">
                  <c:v>-2.0731299999999999</c:v>
                </c:pt>
                <c:pt idx="9612">
                  <c:v>-3.32924</c:v>
                </c:pt>
                <c:pt idx="9613">
                  <c:v>#N/A</c:v>
                </c:pt>
                <c:pt idx="9614">
                  <c:v>-3.2913199999999998</c:v>
                </c:pt>
                <c:pt idx="9615">
                  <c:v>-2.70181</c:v>
                </c:pt>
                <c:pt idx="9616">
                  <c:v>#N/A</c:v>
                </c:pt>
                <c:pt idx="9617">
                  <c:v>-2.3896999999999999</c:v>
                </c:pt>
                <c:pt idx="9618">
                  <c:v>-1.8493599999999999</c:v>
                </c:pt>
                <c:pt idx="9619">
                  <c:v>-1.7318899999999999</c:v>
                </c:pt>
                <c:pt idx="9620">
                  <c:v>#N/A</c:v>
                </c:pt>
                <c:pt idx="9621">
                  <c:v>-2.4118900000000001</c:v>
                </c:pt>
                <c:pt idx="9622">
                  <c:v>-2.7065100000000002</c:v>
                </c:pt>
                <c:pt idx="9623">
                  <c:v>-3.1275200000000001</c:v>
                </c:pt>
                <c:pt idx="9624">
                  <c:v>#N/A</c:v>
                </c:pt>
                <c:pt idx="9625">
                  <c:v>-2.9679199999999999</c:v>
                </c:pt>
                <c:pt idx="9626">
                  <c:v>-2.7002899999999999</c:v>
                </c:pt>
                <c:pt idx="9627">
                  <c:v>-1.9434</c:v>
                </c:pt>
                <c:pt idx="9628">
                  <c:v>#N/A</c:v>
                </c:pt>
                <c:pt idx="9629">
                  <c:v>-1.8615600000000001</c:v>
                </c:pt>
                <c:pt idx="9630">
                  <c:v>-1.9086700000000001</c:v>
                </c:pt>
                <c:pt idx="9631">
                  <c:v>-1.6854100000000001</c:v>
                </c:pt>
                <c:pt idx="9632">
                  <c:v>#N/A</c:v>
                </c:pt>
                <c:pt idx="9633">
                  <c:v>-2.2597100000000001</c:v>
                </c:pt>
                <c:pt idx="9634">
                  <c:v>-2.5767099999999998</c:v>
                </c:pt>
                <c:pt idx="9635">
                  <c:v>-2.4649999999999999</c:v>
                </c:pt>
                <c:pt idx="9636">
                  <c:v>#N/A</c:v>
                </c:pt>
                <c:pt idx="9637">
                  <c:v>-2.5722200000000002</c:v>
                </c:pt>
                <c:pt idx="9638">
                  <c:v>-2.26709</c:v>
                </c:pt>
                <c:pt idx="9639">
                  <c:v>-2.15713</c:v>
                </c:pt>
                <c:pt idx="9640">
                  <c:v>#N/A</c:v>
                </c:pt>
                <c:pt idx="9641">
                  <c:v>-2.1034600000000001</c:v>
                </c:pt>
                <c:pt idx="9642">
                  <c:v>-2.6421700000000001</c:v>
                </c:pt>
                <c:pt idx="9643">
                  <c:v>-2.5028899999999998</c:v>
                </c:pt>
                <c:pt idx="9644">
                  <c:v>#N/A</c:v>
                </c:pt>
                <c:pt idx="9645">
                  <c:v>-2.7407599999999999</c:v>
                </c:pt>
                <c:pt idx="9646">
                  <c:v>-2.2822900000000002</c:v>
                </c:pt>
                <c:pt idx="9647">
                  <c:v>#N/A</c:v>
                </c:pt>
                <c:pt idx="9648">
                  <c:v>-2.3799800000000002</c:v>
                </c:pt>
                <c:pt idx="9649">
                  <c:v>-2.1926299999999999</c:v>
                </c:pt>
                <c:pt idx="9650">
                  <c:v>-2.0881599999999998</c:v>
                </c:pt>
                <c:pt idx="9651">
                  <c:v>#N/A</c:v>
                </c:pt>
                <c:pt idx="9652">
                  <c:v>-2.2128700000000001</c:v>
                </c:pt>
                <c:pt idx="9653">
                  <c:v>-2.3068599999999999</c:v>
                </c:pt>
                <c:pt idx="9654">
                  <c:v>-2.6326800000000001</c:v>
                </c:pt>
                <c:pt idx="9655">
                  <c:v>#N/A</c:v>
                </c:pt>
                <c:pt idx="9656">
                  <c:v>-2.1565300000000001</c:v>
                </c:pt>
                <c:pt idx="9657">
                  <c:v>-2.0586500000000001</c:v>
                </c:pt>
                <c:pt idx="9658">
                  <c:v>-2.1358199999999998</c:v>
                </c:pt>
                <c:pt idx="9659">
                  <c:v>#N/A</c:v>
                </c:pt>
                <c:pt idx="9660">
                  <c:v>-1.9692400000000001</c:v>
                </c:pt>
                <c:pt idx="9661">
                  <c:v>-1.7070099999999999</c:v>
                </c:pt>
                <c:pt idx="9662">
                  <c:v>-2.6084000000000001</c:v>
                </c:pt>
                <c:pt idx="9663">
                  <c:v>#N/A</c:v>
                </c:pt>
                <c:pt idx="9664">
                  <c:v>-2.968</c:v>
                </c:pt>
                <c:pt idx="9665">
                  <c:v>-3.3922500000000002</c:v>
                </c:pt>
                <c:pt idx="9666">
                  <c:v>-3.2393800000000001</c:v>
                </c:pt>
                <c:pt idx="9667">
                  <c:v>#N/A</c:v>
                </c:pt>
                <c:pt idx="9668">
                  <c:v>-3.0686499999999999</c:v>
                </c:pt>
                <c:pt idx="9669">
                  <c:v>-2.21793</c:v>
                </c:pt>
                <c:pt idx="9670">
                  <c:v>#N/A</c:v>
                </c:pt>
                <c:pt idx="9671">
                  <c:v>-1.6977899999999999</c:v>
                </c:pt>
                <c:pt idx="9672">
                  <c:v>-2.48231</c:v>
                </c:pt>
                <c:pt idx="9673">
                  <c:v>-2.5070199999999998</c:v>
                </c:pt>
                <c:pt idx="9674">
                  <c:v>#N/A</c:v>
                </c:pt>
                <c:pt idx="9675">
                  <c:v>-2.7766700000000002</c:v>
                </c:pt>
                <c:pt idx="9676">
                  <c:v>-2.8240799999999999</c:v>
                </c:pt>
                <c:pt idx="9677">
                  <c:v>-1.9711700000000001</c:v>
                </c:pt>
                <c:pt idx="9678">
                  <c:v>#N/A</c:v>
                </c:pt>
                <c:pt idx="9679">
                  <c:v>-1.7169700000000001</c:v>
                </c:pt>
                <c:pt idx="9680">
                  <c:v>-1.7019</c:v>
                </c:pt>
                <c:pt idx="9681">
                  <c:v>-1.74488</c:v>
                </c:pt>
                <c:pt idx="9682">
                  <c:v>#N/A</c:v>
                </c:pt>
                <c:pt idx="9683">
                  <c:v>-1.6178999999999999</c:v>
                </c:pt>
                <c:pt idx="9684">
                  <c:v>-2.2137600000000002</c:v>
                </c:pt>
                <c:pt idx="9685">
                  <c:v>#N/A</c:v>
                </c:pt>
                <c:pt idx="9686">
                  <c:v>-2.9771100000000001</c:v>
                </c:pt>
                <c:pt idx="9687">
                  <c:v>#N/A</c:v>
                </c:pt>
                <c:pt idx="9688">
                  <c:v>-2.4509699999999999</c:v>
                </c:pt>
                <c:pt idx="9689">
                  <c:v>-2.29392</c:v>
                </c:pt>
                <c:pt idx="9690">
                  <c:v>#N/A</c:v>
                </c:pt>
                <c:pt idx="9691">
                  <c:v>-1.52955</c:v>
                </c:pt>
                <c:pt idx="9692">
                  <c:v>-1.47102</c:v>
                </c:pt>
                <c:pt idx="9693">
                  <c:v>-1.54308</c:v>
                </c:pt>
                <c:pt idx="9694">
                  <c:v>#N/A</c:v>
                </c:pt>
                <c:pt idx="9695">
                  <c:v>-2.5438000000000001</c:v>
                </c:pt>
                <c:pt idx="9696">
                  <c:v>-3.16276</c:v>
                </c:pt>
                <c:pt idx="9697">
                  <c:v>#N/A</c:v>
                </c:pt>
                <c:pt idx="9698">
                  <c:v>-3.3136899999999998</c:v>
                </c:pt>
                <c:pt idx="9699">
                  <c:v>-2.7646999999999999</c:v>
                </c:pt>
                <c:pt idx="9700">
                  <c:v>-1.8312200000000001</c:v>
                </c:pt>
                <c:pt idx="9701">
                  <c:v>#N/A</c:v>
                </c:pt>
                <c:pt idx="9702">
                  <c:v>-1.70157</c:v>
                </c:pt>
                <c:pt idx="9703">
                  <c:v>-2.1011600000000001</c:v>
                </c:pt>
                <c:pt idx="9704">
                  <c:v>-2.12358</c:v>
                </c:pt>
                <c:pt idx="9705">
                  <c:v>#N/A</c:v>
                </c:pt>
                <c:pt idx="9706">
                  <c:v>-2.7121</c:v>
                </c:pt>
                <c:pt idx="9707">
                  <c:v>-2.4569100000000001</c:v>
                </c:pt>
                <c:pt idx="9708">
                  <c:v>-2.6796700000000002</c:v>
                </c:pt>
                <c:pt idx="9709">
                  <c:v>#N/A</c:v>
                </c:pt>
                <c:pt idx="9710">
                  <c:v>-2.00935</c:v>
                </c:pt>
                <c:pt idx="9711">
                  <c:v>-2.08555</c:v>
                </c:pt>
                <c:pt idx="9712">
                  <c:v>-1.9577599999999999</c:v>
                </c:pt>
                <c:pt idx="9713">
                  <c:v>#N/A</c:v>
                </c:pt>
                <c:pt idx="9714">
                  <c:v>-2.2523300000000002</c:v>
                </c:pt>
                <c:pt idx="9715">
                  <c:v>-2.28695</c:v>
                </c:pt>
                <c:pt idx="9716">
                  <c:v>#N/A</c:v>
                </c:pt>
                <c:pt idx="9717">
                  <c:v>-2.4155199999999999</c:v>
                </c:pt>
                <c:pt idx="9718">
                  <c:v>-2.2345999999999999</c:v>
                </c:pt>
                <c:pt idx="9719">
                  <c:v>-2.4300199999999998</c:v>
                </c:pt>
                <c:pt idx="9720">
                  <c:v>#N/A</c:v>
                </c:pt>
                <c:pt idx="9721">
                  <c:v>-2.4608599999999998</c:v>
                </c:pt>
                <c:pt idx="9722">
                  <c:v>-2.3075199999999998</c:v>
                </c:pt>
                <c:pt idx="9723">
                  <c:v>-2.1473100000000001</c:v>
                </c:pt>
                <c:pt idx="9724">
                  <c:v>#N/A</c:v>
                </c:pt>
                <c:pt idx="9725">
                  <c:v>-2.2098800000000001</c:v>
                </c:pt>
                <c:pt idx="9726">
                  <c:v>-2.2680400000000001</c:v>
                </c:pt>
                <c:pt idx="9727">
                  <c:v>-2.6525099999999999</c:v>
                </c:pt>
                <c:pt idx="9728">
                  <c:v>#N/A</c:v>
                </c:pt>
                <c:pt idx="9729">
                  <c:v>-2.95512</c:v>
                </c:pt>
                <c:pt idx="9730">
                  <c:v>-2.7229199999999998</c:v>
                </c:pt>
                <c:pt idx="9731">
                  <c:v>-1.92143</c:v>
                </c:pt>
                <c:pt idx="9732">
                  <c:v>#N/A</c:v>
                </c:pt>
                <c:pt idx="9733">
                  <c:v>-2.15584</c:v>
                </c:pt>
                <c:pt idx="9734">
                  <c:v>-2.5485699999999998</c:v>
                </c:pt>
                <c:pt idx="9735">
                  <c:v>-1.9504699999999999</c:v>
                </c:pt>
                <c:pt idx="9736">
                  <c:v>#N/A</c:v>
                </c:pt>
                <c:pt idx="9737">
                  <c:v>-2.8253900000000001</c:v>
                </c:pt>
                <c:pt idx="9738">
                  <c:v>-2.7238199999999999</c:v>
                </c:pt>
                <c:pt idx="9739">
                  <c:v>-2.7774399999999999</c:v>
                </c:pt>
                <c:pt idx="9740">
                  <c:v>#N/A</c:v>
                </c:pt>
                <c:pt idx="9741">
                  <c:v>-2.19834</c:v>
                </c:pt>
                <c:pt idx="9742">
                  <c:v>-1.9752799999999999</c:v>
                </c:pt>
                <c:pt idx="9743">
                  <c:v>-1.8643700000000001</c:v>
                </c:pt>
                <c:pt idx="9744">
                  <c:v>#N/A</c:v>
                </c:pt>
                <c:pt idx="9745">
                  <c:v>-1.91568</c:v>
                </c:pt>
                <c:pt idx="9746">
                  <c:v>-2.4577</c:v>
                </c:pt>
                <c:pt idx="9747">
                  <c:v>#N/A</c:v>
                </c:pt>
                <c:pt idx="9748">
                  <c:v>-2.89167</c:v>
                </c:pt>
                <c:pt idx="9749">
                  <c:v>-2.5205500000000001</c:v>
                </c:pt>
                <c:pt idx="9750">
                  <c:v>-2.1452</c:v>
                </c:pt>
                <c:pt idx="9751">
                  <c:v>#N/A</c:v>
                </c:pt>
                <c:pt idx="9752">
                  <c:v>-1.93092</c:v>
                </c:pt>
                <c:pt idx="9753">
                  <c:v>-1.8898600000000001</c:v>
                </c:pt>
                <c:pt idx="9754">
                  <c:v>-1.5418700000000001</c:v>
                </c:pt>
                <c:pt idx="9755">
                  <c:v>#N/A</c:v>
                </c:pt>
                <c:pt idx="9756">
                  <c:v>-1.68194</c:v>
                </c:pt>
                <c:pt idx="9757">
                  <c:v>-2.5021599999999999</c:v>
                </c:pt>
                <c:pt idx="9758">
                  <c:v>#N/A</c:v>
                </c:pt>
                <c:pt idx="9759">
                  <c:v>-3.1601699999999999</c:v>
                </c:pt>
                <c:pt idx="9760">
                  <c:v>#N/A</c:v>
                </c:pt>
                <c:pt idx="9761">
                  <c:v>-2.9844900000000001</c:v>
                </c:pt>
                <c:pt idx="9762">
                  <c:v>-2.4449000000000001</c:v>
                </c:pt>
                <c:pt idx="9763">
                  <c:v>-1.9430499999999999</c:v>
                </c:pt>
                <c:pt idx="9764">
                  <c:v>#N/A</c:v>
                </c:pt>
                <c:pt idx="9765">
                  <c:v>-1.57195</c:v>
                </c:pt>
                <c:pt idx="9766">
                  <c:v>-1.86429</c:v>
                </c:pt>
                <c:pt idx="9767">
                  <c:v>-1.96576</c:v>
                </c:pt>
                <c:pt idx="9768">
                  <c:v>#N/A</c:v>
                </c:pt>
                <c:pt idx="9769">
                  <c:v>-2.9729999999999999</c:v>
                </c:pt>
                <c:pt idx="9770">
                  <c:v>-3.0301900000000002</c:v>
                </c:pt>
                <c:pt idx="9771">
                  <c:v>-3.1642700000000001</c:v>
                </c:pt>
                <c:pt idx="9772">
                  <c:v>#N/A</c:v>
                </c:pt>
                <c:pt idx="9773">
                  <c:v>-2.31725</c:v>
                </c:pt>
                <c:pt idx="9774">
                  <c:v>-2.0790099999999998</c:v>
                </c:pt>
                <c:pt idx="9775">
                  <c:v>-1.56748</c:v>
                </c:pt>
                <c:pt idx="9776">
                  <c:v>#N/A</c:v>
                </c:pt>
                <c:pt idx="9777">
                  <c:v>-1.3343799999999999</c:v>
                </c:pt>
                <c:pt idx="9778">
                  <c:v>-2.5187599999999999</c:v>
                </c:pt>
                <c:pt idx="9779">
                  <c:v>-2.77278</c:v>
                </c:pt>
                <c:pt idx="9780">
                  <c:v>#N/A</c:v>
                </c:pt>
                <c:pt idx="9781">
                  <c:v>-2.5860599999999998</c:v>
                </c:pt>
                <c:pt idx="9782">
                  <c:v>-2.3115700000000001</c:v>
                </c:pt>
                <c:pt idx="9783">
                  <c:v>-2.1990500000000002</c:v>
                </c:pt>
                <c:pt idx="9784">
                  <c:v>#N/A</c:v>
                </c:pt>
                <c:pt idx="9785">
                  <c:v>-1.8964099999999999</c:v>
                </c:pt>
                <c:pt idx="9786">
                  <c:v>-2.1006</c:v>
                </c:pt>
                <c:pt idx="9787">
                  <c:v>#N/A</c:v>
                </c:pt>
                <c:pt idx="9788">
                  <c:v>-2.36896</c:v>
                </c:pt>
                <c:pt idx="9789">
                  <c:v>-2.64513</c:v>
                </c:pt>
                <c:pt idx="9790">
                  <c:v>-3.72919</c:v>
                </c:pt>
                <c:pt idx="9791">
                  <c:v>#N/A</c:v>
                </c:pt>
                <c:pt idx="9792">
                  <c:v>-3.3450700000000002</c:v>
                </c:pt>
                <c:pt idx="9793">
                  <c:v>-2.8097300000000001</c:v>
                </c:pt>
                <c:pt idx="9794">
                  <c:v>-2.33297</c:v>
                </c:pt>
                <c:pt idx="9795">
                  <c:v>#N/A</c:v>
                </c:pt>
                <c:pt idx="9796">
                  <c:v>-2.1398199999999998</c:v>
                </c:pt>
                <c:pt idx="9797">
                  <c:v>-2.3878699999999999</c:v>
                </c:pt>
                <c:pt idx="9798">
                  <c:v>-2.5340500000000001</c:v>
                </c:pt>
                <c:pt idx="9799">
                  <c:v>#N/A</c:v>
                </c:pt>
                <c:pt idx="9800">
                  <c:v>-2.3762699999999999</c:v>
                </c:pt>
                <c:pt idx="9801">
                  <c:v>-2.3712900000000001</c:v>
                </c:pt>
                <c:pt idx="9802">
                  <c:v>-2.4052699999999998</c:v>
                </c:pt>
                <c:pt idx="9803">
                  <c:v>#N/A</c:v>
                </c:pt>
                <c:pt idx="9804">
                  <c:v>-2.2805900000000001</c:v>
                </c:pt>
                <c:pt idx="9805">
                  <c:v>-2.17624</c:v>
                </c:pt>
                <c:pt idx="9806">
                  <c:v>-2.1335199999999999</c:v>
                </c:pt>
                <c:pt idx="9807">
                  <c:v>#N/A</c:v>
                </c:pt>
                <c:pt idx="9808">
                  <c:v>-2.7303000000000002</c:v>
                </c:pt>
                <c:pt idx="9809">
                  <c:v>-2.5733700000000002</c:v>
                </c:pt>
                <c:pt idx="9810">
                  <c:v>#N/A</c:v>
                </c:pt>
                <c:pt idx="9811">
                  <c:v>-2.6987299999999999</c:v>
                </c:pt>
                <c:pt idx="9812">
                  <c:v>-2.5035699999999999</c:v>
                </c:pt>
                <c:pt idx="9813">
                  <c:v>-1.93872</c:v>
                </c:pt>
                <c:pt idx="9814">
                  <c:v>#N/A</c:v>
                </c:pt>
                <c:pt idx="9815">
                  <c:v>-1.99763</c:v>
                </c:pt>
                <c:pt idx="9816">
                  <c:v>-1.31738</c:v>
                </c:pt>
                <c:pt idx="9817">
                  <c:v>-2.0231400000000002</c:v>
                </c:pt>
                <c:pt idx="9818">
                  <c:v>#N/A</c:v>
                </c:pt>
                <c:pt idx="9819">
                  <c:v>-2.2458999999999998</c:v>
                </c:pt>
                <c:pt idx="9820">
                  <c:v>-3.0133800000000002</c:v>
                </c:pt>
                <c:pt idx="9821">
                  <c:v>-2.9729399999999999</c:v>
                </c:pt>
                <c:pt idx="9822">
                  <c:v>#N/A</c:v>
                </c:pt>
                <c:pt idx="9823">
                  <c:v>-3.3268300000000002</c:v>
                </c:pt>
                <c:pt idx="9824">
                  <c:v>-2.1006100000000001</c:v>
                </c:pt>
                <c:pt idx="9825">
                  <c:v>-1.9761200000000001</c:v>
                </c:pt>
                <c:pt idx="9826">
                  <c:v>#N/A</c:v>
                </c:pt>
                <c:pt idx="9827">
                  <c:v>-1.90489</c:v>
                </c:pt>
                <c:pt idx="9828">
                  <c:v>-2.0898599999999998</c:v>
                </c:pt>
                <c:pt idx="9829">
                  <c:v>-2.2541199999999999</c:v>
                </c:pt>
                <c:pt idx="9830">
                  <c:v>#N/A</c:v>
                </c:pt>
                <c:pt idx="9831">
                  <c:v>-2.6770700000000001</c:v>
                </c:pt>
                <c:pt idx="9832">
                  <c:v>-3.1124499999999999</c:v>
                </c:pt>
                <c:pt idx="9833">
                  <c:v>-3.2091500000000002</c:v>
                </c:pt>
                <c:pt idx="9834">
                  <c:v>#N/A</c:v>
                </c:pt>
                <c:pt idx="9835">
                  <c:v>-2.1354000000000002</c:v>
                </c:pt>
                <c:pt idx="9836">
                  <c:v>#N/A</c:v>
                </c:pt>
                <c:pt idx="9837">
                  <c:v>-1.8003199999999999</c:v>
                </c:pt>
                <c:pt idx="9838">
                  <c:v>#N/A</c:v>
                </c:pt>
                <c:pt idx="9839">
                  <c:v>-2.3791099999999998</c:v>
                </c:pt>
                <c:pt idx="9840">
                  <c:v>-2.5762100000000001</c:v>
                </c:pt>
                <c:pt idx="9841">
                  <c:v>#N/A</c:v>
                </c:pt>
                <c:pt idx="9842">
                  <c:v>-2.84619</c:v>
                </c:pt>
                <c:pt idx="9843">
                  <c:v>-2.9676399999999998</c:v>
                </c:pt>
                <c:pt idx="9844">
                  <c:v>-3.3105199999999999</c:v>
                </c:pt>
                <c:pt idx="9845">
                  <c:v>#N/A</c:v>
                </c:pt>
                <c:pt idx="9846">
                  <c:v>-2.87541</c:v>
                </c:pt>
                <c:pt idx="9847">
                  <c:v>-2.09795</c:v>
                </c:pt>
                <c:pt idx="9848">
                  <c:v>-1.8579000000000001</c:v>
                </c:pt>
                <c:pt idx="9849">
                  <c:v>#N/A</c:v>
                </c:pt>
                <c:pt idx="9850">
                  <c:v>-2.1886700000000001</c:v>
                </c:pt>
                <c:pt idx="9851">
                  <c:v>-3.5730200000000001</c:v>
                </c:pt>
                <c:pt idx="9852">
                  <c:v>-3.4879699999999998</c:v>
                </c:pt>
                <c:pt idx="9853">
                  <c:v>#N/A</c:v>
                </c:pt>
                <c:pt idx="9854">
                  <c:v>-3.2028099999999999</c:v>
                </c:pt>
                <c:pt idx="9855">
                  <c:v>-2.9191799999999999</c:v>
                </c:pt>
                <c:pt idx="9856">
                  <c:v>-2.7176100000000001</c:v>
                </c:pt>
                <c:pt idx="9857">
                  <c:v>#N/A</c:v>
                </c:pt>
                <c:pt idx="9858">
                  <c:v>-2.0548999999999999</c:v>
                </c:pt>
                <c:pt idx="9859">
                  <c:v>-1.91598</c:v>
                </c:pt>
                <c:pt idx="9860">
                  <c:v>-1.91472</c:v>
                </c:pt>
                <c:pt idx="9861">
                  <c:v>#N/A</c:v>
                </c:pt>
                <c:pt idx="9862">
                  <c:v>-2.76098</c:v>
                </c:pt>
                <c:pt idx="9863">
                  <c:v>-3.2033700000000001</c:v>
                </c:pt>
                <c:pt idx="9864">
                  <c:v>#N/A</c:v>
                </c:pt>
                <c:pt idx="9865">
                  <c:v>-3.05186</c:v>
                </c:pt>
                <c:pt idx="9866">
                  <c:v>-2.9670299999999998</c:v>
                </c:pt>
                <c:pt idx="9867">
                  <c:v>-2.2506400000000002</c:v>
                </c:pt>
                <c:pt idx="9868">
                  <c:v>#N/A</c:v>
                </c:pt>
                <c:pt idx="9869">
                  <c:v>-2.1271399999999998</c:v>
                </c:pt>
                <c:pt idx="9870">
                  <c:v>-1.9315500000000001</c:v>
                </c:pt>
                <c:pt idx="9871">
                  <c:v>-2.11232</c:v>
                </c:pt>
                <c:pt idx="9872">
                  <c:v>#N/A</c:v>
                </c:pt>
                <c:pt idx="9873">
                  <c:v>-2.5631300000000001</c:v>
                </c:pt>
                <c:pt idx="9874">
                  <c:v>-2.4733200000000002</c:v>
                </c:pt>
                <c:pt idx="9875">
                  <c:v>#N/A</c:v>
                </c:pt>
                <c:pt idx="9876">
                  <c:v>-2.7981500000000001</c:v>
                </c:pt>
                <c:pt idx="9877">
                  <c:v>-1.9812000000000001</c:v>
                </c:pt>
                <c:pt idx="9878">
                  <c:v>-1.6313800000000001</c:v>
                </c:pt>
                <c:pt idx="9879">
                  <c:v>#N/A</c:v>
                </c:pt>
                <c:pt idx="9880">
                  <c:v>-1.68598</c:v>
                </c:pt>
                <c:pt idx="9881">
                  <c:v>-3.0089800000000002</c:v>
                </c:pt>
                <c:pt idx="9882">
                  <c:v>-2.7433299999999998</c:v>
                </c:pt>
                <c:pt idx="9883">
                  <c:v>#N/A</c:v>
                </c:pt>
                <c:pt idx="9884">
                  <c:v>-2.7528800000000002</c:v>
                </c:pt>
                <c:pt idx="9885">
                  <c:v>-2.6064500000000002</c:v>
                </c:pt>
                <c:pt idx="9886">
                  <c:v>-2.6167799999999999</c:v>
                </c:pt>
                <c:pt idx="9887">
                  <c:v>#N/A</c:v>
                </c:pt>
                <c:pt idx="9888">
                  <c:v>-1.84033</c:v>
                </c:pt>
                <c:pt idx="9889">
                  <c:v>-2.1786500000000002</c:v>
                </c:pt>
                <c:pt idx="9890">
                  <c:v>-2.0788099999999998</c:v>
                </c:pt>
                <c:pt idx="9891">
                  <c:v>#N/A</c:v>
                </c:pt>
                <c:pt idx="9892">
                  <c:v>-2.32206</c:v>
                </c:pt>
                <c:pt idx="9893">
                  <c:v>-2.8393600000000001</c:v>
                </c:pt>
                <c:pt idx="9894">
                  <c:v>-2.8254600000000001</c:v>
                </c:pt>
                <c:pt idx="9895">
                  <c:v>#N/A</c:v>
                </c:pt>
                <c:pt idx="9896">
                  <c:v>-2.52651</c:v>
                </c:pt>
                <c:pt idx="9897">
                  <c:v>-2.5773600000000001</c:v>
                </c:pt>
                <c:pt idx="9898">
                  <c:v>-1.5210999999999999</c:v>
                </c:pt>
                <c:pt idx="9899">
                  <c:v>#N/A</c:v>
                </c:pt>
                <c:pt idx="9900">
                  <c:v>-1.7901499999999999</c:v>
                </c:pt>
                <c:pt idx="9901">
                  <c:v>-1.7901</c:v>
                </c:pt>
                <c:pt idx="9902">
                  <c:v>-1.5626800000000001</c:v>
                </c:pt>
                <c:pt idx="9903">
                  <c:v>#N/A</c:v>
                </c:pt>
                <c:pt idx="9904">
                  <c:v>-2.3706100000000001</c:v>
                </c:pt>
                <c:pt idx="9905">
                  <c:v>-3.3504700000000001</c:v>
                </c:pt>
                <c:pt idx="9906">
                  <c:v>#N/A</c:v>
                </c:pt>
                <c:pt idx="9907">
                  <c:v>-3.2230400000000001</c:v>
                </c:pt>
                <c:pt idx="9908">
                  <c:v>-2.44238</c:v>
                </c:pt>
                <c:pt idx="9909">
                  <c:v>-2.0364399999999998</c:v>
                </c:pt>
                <c:pt idx="9910">
                  <c:v>#N/A</c:v>
                </c:pt>
                <c:pt idx="9911">
                  <c:v>-2.3297099999999999</c:v>
                </c:pt>
                <c:pt idx="9912">
                  <c:v>-3.1466400000000001</c:v>
                </c:pt>
                <c:pt idx="9913">
                  <c:v>-2.7626900000000001</c:v>
                </c:pt>
                <c:pt idx="9914">
                  <c:v>#N/A</c:v>
                </c:pt>
                <c:pt idx="9915">
                  <c:v>-3.4624799999999998</c:v>
                </c:pt>
                <c:pt idx="9916">
                  <c:v>-3.5314999999999999</c:v>
                </c:pt>
                <c:pt idx="9917">
                  <c:v>-3.3938899999999999</c:v>
                </c:pt>
                <c:pt idx="9918">
                  <c:v>#N/A</c:v>
                </c:pt>
                <c:pt idx="9919">
                  <c:v>-2.8886099999999999</c:v>
                </c:pt>
                <c:pt idx="9920">
                  <c:v>-2.0897899999999998</c:v>
                </c:pt>
                <c:pt idx="9921">
                  <c:v>-1.7586900000000001</c:v>
                </c:pt>
                <c:pt idx="9922">
                  <c:v>#N/A</c:v>
                </c:pt>
                <c:pt idx="9923">
                  <c:v>-2.0735000000000001</c:v>
                </c:pt>
                <c:pt idx="9924">
                  <c:v>-2.8697400000000002</c:v>
                </c:pt>
                <c:pt idx="9925">
                  <c:v>-3.27671</c:v>
                </c:pt>
                <c:pt idx="9926">
                  <c:v>#N/A</c:v>
                </c:pt>
                <c:pt idx="9927">
                  <c:v>-2.7864300000000002</c:v>
                </c:pt>
                <c:pt idx="9928">
                  <c:v>-3.00684</c:v>
                </c:pt>
                <c:pt idx="9929">
                  <c:v>-2.8407</c:v>
                </c:pt>
                <c:pt idx="9930">
                  <c:v>#N/A</c:v>
                </c:pt>
                <c:pt idx="9931">
                  <c:v>-2.0977100000000002</c:v>
                </c:pt>
                <c:pt idx="9932">
                  <c:v>-1.87856</c:v>
                </c:pt>
                <c:pt idx="9933">
                  <c:v>-1.8441399999999999</c:v>
                </c:pt>
                <c:pt idx="9934">
                  <c:v>#N/A</c:v>
                </c:pt>
                <c:pt idx="9935">
                  <c:v>-2.34836</c:v>
                </c:pt>
                <c:pt idx="9936">
                  <c:v>-2.8827199999999999</c:v>
                </c:pt>
                <c:pt idx="9937">
                  <c:v>#N/A</c:v>
                </c:pt>
                <c:pt idx="9938">
                  <c:v>-2.4181499999999998</c:v>
                </c:pt>
                <c:pt idx="9939">
                  <c:v>-2.1401500000000002</c:v>
                </c:pt>
                <c:pt idx="9940">
                  <c:v>-2.44103</c:v>
                </c:pt>
                <c:pt idx="9941">
                  <c:v>#N/A</c:v>
                </c:pt>
                <c:pt idx="9942">
                  <c:v>-2.1477499999999998</c:v>
                </c:pt>
                <c:pt idx="9943">
                  <c:v>-2.0415999999999999</c:v>
                </c:pt>
                <c:pt idx="9944">
                  <c:v>-1.5410299999999999</c:v>
                </c:pt>
                <c:pt idx="9945">
                  <c:v>#N/A</c:v>
                </c:pt>
                <c:pt idx="9946">
                  <c:v>-2.0363000000000002</c:v>
                </c:pt>
                <c:pt idx="9947">
                  <c:v>-2.3879700000000001</c:v>
                </c:pt>
                <c:pt idx="9948">
                  <c:v>-2.9683700000000002</c:v>
                </c:pt>
                <c:pt idx="9949">
                  <c:v>#N/A</c:v>
                </c:pt>
                <c:pt idx="9950">
                  <c:v>-2.6004499999999999</c:v>
                </c:pt>
                <c:pt idx="9951">
                  <c:v>-2.0393400000000002</c:v>
                </c:pt>
                <c:pt idx="9952">
                  <c:v>-2.0855100000000002</c:v>
                </c:pt>
                <c:pt idx="9953">
                  <c:v>#N/A</c:v>
                </c:pt>
                <c:pt idx="9954">
                  <c:v>-2.6221700000000001</c:v>
                </c:pt>
                <c:pt idx="9955">
                  <c:v>-2.5461999999999998</c:v>
                </c:pt>
                <c:pt idx="9956">
                  <c:v>#N/A</c:v>
                </c:pt>
                <c:pt idx="9957">
                  <c:v>-2.4216899999999999</c:v>
                </c:pt>
                <c:pt idx="9958">
                  <c:v>-2.9575499999999999</c:v>
                </c:pt>
                <c:pt idx="9959">
                  <c:v>-2.38917</c:v>
                </c:pt>
                <c:pt idx="9960">
                  <c:v>#N/A</c:v>
                </c:pt>
                <c:pt idx="9961">
                  <c:v>-2.3630100000000001</c:v>
                </c:pt>
                <c:pt idx="9962">
                  <c:v>-1.6300600000000001</c:v>
                </c:pt>
                <c:pt idx="9963">
                  <c:v>-1.69668</c:v>
                </c:pt>
                <c:pt idx="9964">
                  <c:v>#N/A</c:v>
                </c:pt>
                <c:pt idx="9965">
                  <c:v>-2.03573</c:v>
                </c:pt>
                <c:pt idx="9966">
                  <c:v>-2.85507</c:v>
                </c:pt>
                <c:pt idx="9967">
                  <c:v>-2.6481400000000002</c:v>
                </c:pt>
                <c:pt idx="9968">
                  <c:v>#N/A</c:v>
                </c:pt>
                <c:pt idx="9969">
                  <c:v>-2.9395199999999999</c:v>
                </c:pt>
                <c:pt idx="9970">
                  <c:v>-2.2511100000000002</c:v>
                </c:pt>
                <c:pt idx="9971">
                  <c:v>-2.36496</c:v>
                </c:pt>
                <c:pt idx="9972">
                  <c:v>#N/A</c:v>
                </c:pt>
                <c:pt idx="9973">
                  <c:v>-2.0311400000000002</c:v>
                </c:pt>
                <c:pt idx="9974">
                  <c:v>-1.7305699999999999</c:v>
                </c:pt>
                <c:pt idx="9975">
                  <c:v>-2.3268800000000001</c:v>
                </c:pt>
                <c:pt idx="9976">
                  <c:v>#N/A</c:v>
                </c:pt>
                <c:pt idx="9977">
                  <c:v>-2.6411199999999999</c:v>
                </c:pt>
                <c:pt idx="9978">
                  <c:v>-2.27718</c:v>
                </c:pt>
                <c:pt idx="9979">
                  <c:v>-0.73669799999999996</c:v>
                </c:pt>
                <c:pt idx="9980">
                  <c:v>#N/A</c:v>
                </c:pt>
                <c:pt idx="9981">
                  <c:v>1.3657699999999999</c:v>
                </c:pt>
                <c:pt idx="9982">
                  <c:v>4.31562</c:v>
                </c:pt>
                <c:pt idx="9983">
                  <c:v>6.9329499999999999</c:v>
                </c:pt>
                <c:pt idx="9984">
                  <c:v>#N/A</c:v>
                </c:pt>
                <c:pt idx="9985">
                  <c:v>9.1225400000000008</c:v>
                </c:pt>
                <c:pt idx="9986">
                  <c:v>10.4291</c:v>
                </c:pt>
                <c:pt idx="9987">
                  <c:v>10.7926</c:v>
                </c:pt>
                <c:pt idx="9988">
                  <c:v>#N/A</c:v>
                </c:pt>
                <c:pt idx="9989">
                  <c:v>11.7776</c:v>
                </c:pt>
                <c:pt idx="9990">
                  <c:v>12.694800000000001</c:v>
                </c:pt>
                <c:pt idx="9991">
                  <c:v>13.6646</c:v>
                </c:pt>
                <c:pt idx="9992">
                  <c:v>#N/A</c:v>
                </c:pt>
                <c:pt idx="9993">
                  <c:v>14.4298</c:v>
                </c:pt>
                <c:pt idx="9994">
                  <c:v>16.073699999999999</c:v>
                </c:pt>
                <c:pt idx="9995">
                  <c:v>16.937799999999999</c:v>
                </c:pt>
                <c:pt idx="9996">
                  <c:v>#N/A</c:v>
                </c:pt>
                <c:pt idx="9997">
                  <c:v>17.629899999999999</c:v>
                </c:pt>
                <c:pt idx="9998">
                  <c:v>17.119499999999999</c:v>
                </c:pt>
                <c:pt idx="9999">
                  <c:v>15.3607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B16-4CE3-BBDE-FCE167CDF6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"/>
        <c:axId val="600018703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v>xaxis</c:v>
                </c:tx>
                <c:spPr>
                  <a:ln w="0">
                    <a:solidFill>
                      <a:schemeClr val="tx1"/>
                    </a:solidFill>
                  </a:ln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Data!$C$3:$C$10002</c15:sqref>
                        </c15:formulaRef>
                      </c:ext>
                    </c:extLst>
                    <c:numCache>
                      <c:formatCode>General</c:formatCode>
                      <c:ptCount val="1000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0</c:v>
                      </c:pt>
                      <c:pt idx="1151">
                        <c:v>0</c:v>
                      </c:pt>
                      <c:pt idx="1152">
                        <c:v>0</c:v>
                      </c:pt>
                      <c:pt idx="1153">
                        <c:v>0</c:v>
                      </c:pt>
                      <c:pt idx="1154">
                        <c:v>0</c:v>
                      </c:pt>
                      <c:pt idx="1155">
                        <c:v>0</c:v>
                      </c:pt>
                      <c:pt idx="1156">
                        <c:v>0</c:v>
                      </c:pt>
                      <c:pt idx="1157">
                        <c:v>0</c:v>
                      </c:pt>
                      <c:pt idx="1158">
                        <c:v>0</c:v>
                      </c:pt>
                      <c:pt idx="1159">
                        <c:v>0</c:v>
                      </c:pt>
                      <c:pt idx="1160">
                        <c:v>0</c:v>
                      </c:pt>
                      <c:pt idx="1161">
                        <c:v>0</c:v>
                      </c:pt>
                      <c:pt idx="1162">
                        <c:v>0</c:v>
                      </c:pt>
                      <c:pt idx="1163">
                        <c:v>0</c:v>
                      </c:pt>
                      <c:pt idx="1164">
                        <c:v>0</c:v>
                      </c:pt>
                      <c:pt idx="1165">
                        <c:v>0</c:v>
                      </c:pt>
                      <c:pt idx="1166">
                        <c:v>0</c:v>
                      </c:pt>
                      <c:pt idx="1167">
                        <c:v>0</c:v>
                      </c:pt>
                      <c:pt idx="1168">
                        <c:v>0</c:v>
                      </c:pt>
                      <c:pt idx="1169">
                        <c:v>0</c:v>
                      </c:pt>
                      <c:pt idx="1170">
                        <c:v>0</c:v>
                      </c:pt>
                      <c:pt idx="1171">
                        <c:v>0</c:v>
                      </c:pt>
                      <c:pt idx="1172">
                        <c:v>0</c:v>
                      </c:pt>
                      <c:pt idx="1173">
                        <c:v>0</c:v>
                      </c:pt>
                      <c:pt idx="1174">
                        <c:v>0</c:v>
                      </c:pt>
                      <c:pt idx="1175">
                        <c:v>0</c:v>
                      </c:pt>
                      <c:pt idx="1176">
                        <c:v>0</c:v>
                      </c:pt>
                      <c:pt idx="1177">
                        <c:v>0</c:v>
                      </c:pt>
                      <c:pt idx="1178">
                        <c:v>0</c:v>
                      </c:pt>
                      <c:pt idx="1179">
                        <c:v>0</c:v>
                      </c:pt>
                      <c:pt idx="1180">
                        <c:v>0</c:v>
                      </c:pt>
                      <c:pt idx="1181">
                        <c:v>0</c:v>
                      </c:pt>
                      <c:pt idx="1182">
                        <c:v>0</c:v>
                      </c:pt>
                      <c:pt idx="1183">
                        <c:v>0</c:v>
                      </c:pt>
                      <c:pt idx="1184">
                        <c:v>0</c:v>
                      </c:pt>
                      <c:pt idx="1185">
                        <c:v>0</c:v>
                      </c:pt>
                      <c:pt idx="1186">
                        <c:v>0</c:v>
                      </c:pt>
                      <c:pt idx="1187">
                        <c:v>0</c:v>
                      </c:pt>
                      <c:pt idx="1188">
                        <c:v>0</c:v>
                      </c:pt>
                      <c:pt idx="1189">
                        <c:v>0</c:v>
                      </c:pt>
                      <c:pt idx="1190">
                        <c:v>0</c:v>
                      </c:pt>
                      <c:pt idx="1191">
                        <c:v>0</c:v>
                      </c:pt>
                      <c:pt idx="1192">
                        <c:v>0</c:v>
                      </c:pt>
                      <c:pt idx="1193">
                        <c:v>0</c:v>
                      </c:pt>
                      <c:pt idx="1194">
                        <c:v>0</c:v>
                      </c:pt>
                      <c:pt idx="1195">
                        <c:v>0</c:v>
                      </c:pt>
                      <c:pt idx="1196">
                        <c:v>0</c:v>
                      </c:pt>
                      <c:pt idx="1197">
                        <c:v>0</c:v>
                      </c:pt>
                      <c:pt idx="1198">
                        <c:v>0</c:v>
                      </c:pt>
                      <c:pt idx="1199">
                        <c:v>0</c:v>
                      </c:pt>
                      <c:pt idx="1200">
                        <c:v>0</c:v>
                      </c:pt>
                      <c:pt idx="1201">
                        <c:v>0</c:v>
                      </c:pt>
                      <c:pt idx="1202">
                        <c:v>0</c:v>
                      </c:pt>
                      <c:pt idx="1203">
                        <c:v>0</c:v>
                      </c:pt>
                      <c:pt idx="1204">
                        <c:v>0</c:v>
                      </c:pt>
                      <c:pt idx="1205">
                        <c:v>0</c:v>
                      </c:pt>
                      <c:pt idx="1206">
                        <c:v>0</c:v>
                      </c:pt>
                      <c:pt idx="1207">
                        <c:v>0</c:v>
                      </c:pt>
                      <c:pt idx="1208">
                        <c:v>0</c:v>
                      </c:pt>
                      <c:pt idx="1209">
                        <c:v>0</c:v>
                      </c:pt>
                      <c:pt idx="1210">
                        <c:v>0</c:v>
                      </c:pt>
                      <c:pt idx="1211">
                        <c:v>0</c:v>
                      </c:pt>
                      <c:pt idx="1212">
                        <c:v>0</c:v>
                      </c:pt>
                      <c:pt idx="1213">
                        <c:v>0</c:v>
                      </c:pt>
                      <c:pt idx="1214">
                        <c:v>0</c:v>
                      </c:pt>
                      <c:pt idx="1215">
                        <c:v>0</c:v>
                      </c:pt>
                      <c:pt idx="1216">
                        <c:v>0</c:v>
                      </c:pt>
                      <c:pt idx="1217">
                        <c:v>0</c:v>
                      </c:pt>
                      <c:pt idx="1218">
                        <c:v>0</c:v>
                      </c:pt>
                      <c:pt idx="1219">
                        <c:v>0</c:v>
                      </c:pt>
                      <c:pt idx="1220">
                        <c:v>0</c:v>
                      </c:pt>
                      <c:pt idx="1221">
                        <c:v>0</c:v>
                      </c:pt>
                      <c:pt idx="1222">
                        <c:v>0</c:v>
                      </c:pt>
                      <c:pt idx="1223">
                        <c:v>0</c:v>
                      </c:pt>
                      <c:pt idx="1224">
                        <c:v>0</c:v>
                      </c:pt>
                      <c:pt idx="1225">
                        <c:v>0</c:v>
                      </c:pt>
                      <c:pt idx="1226">
                        <c:v>0</c:v>
                      </c:pt>
                      <c:pt idx="1227">
                        <c:v>0</c:v>
                      </c:pt>
                      <c:pt idx="1228">
                        <c:v>0</c:v>
                      </c:pt>
                      <c:pt idx="1229">
                        <c:v>0</c:v>
                      </c:pt>
                      <c:pt idx="1230">
                        <c:v>0</c:v>
                      </c:pt>
                      <c:pt idx="1231">
                        <c:v>0</c:v>
                      </c:pt>
                      <c:pt idx="1232">
                        <c:v>0</c:v>
                      </c:pt>
                      <c:pt idx="1233">
                        <c:v>0</c:v>
                      </c:pt>
                      <c:pt idx="1234">
                        <c:v>0</c:v>
                      </c:pt>
                      <c:pt idx="1235">
                        <c:v>0</c:v>
                      </c:pt>
                      <c:pt idx="1236">
                        <c:v>0</c:v>
                      </c:pt>
                      <c:pt idx="1237">
                        <c:v>0</c:v>
                      </c:pt>
                      <c:pt idx="1238">
                        <c:v>0</c:v>
                      </c:pt>
                      <c:pt idx="1239">
                        <c:v>0</c:v>
                      </c:pt>
                      <c:pt idx="1240">
                        <c:v>0</c:v>
                      </c:pt>
                      <c:pt idx="1241">
                        <c:v>0</c:v>
                      </c:pt>
                      <c:pt idx="1242">
                        <c:v>0</c:v>
                      </c:pt>
                      <c:pt idx="1243">
                        <c:v>0</c:v>
                      </c:pt>
                      <c:pt idx="1244">
                        <c:v>0</c:v>
                      </c:pt>
                      <c:pt idx="1245">
                        <c:v>0</c:v>
                      </c:pt>
                      <c:pt idx="1246">
                        <c:v>0</c:v>
                      </c:pt>
                      <c:pt idx="1247">
                        <c:v>0</c:v>
                      </c:pt>
                      <c:pt idx="1248">
                        <c:v>0</c:v>
                      </c:pt>
                      <c:pt idx="1249">
                        <c:v>0</c:v>
                      </c:pt>
                      <c:pt idx="1250">
                        <c:v>0</c:v>
                      </c:pt>
                      <c:pt idx="1251">
                        <c:v>0</c:v>
                      </c:pt>
                      <c:pt idx="1252">
                        <c:v>0</c:v>
                      </c:pt>
                      <c:pt idx="1253">
                        <c:v>0</c:v>
                      </c:pt>
                      <c:pt idx="1254">
                        <c:v>0</c:v>
                      </c:pt>
                      <c:pt idx="1255">
                        <c:v>0</c:v>
                      </c:pt>
                      <c:pt idx="1256">
                        <c:v>0</c:v>
                      </c:pt>
                      <c:pt idx="1257">
                        <c:v>0</c:v>
                      </c:pt>
                      <c:pt idx="1258">
                        <c:v>0</c:v>
                      </c:pt>
                      <c:pt idx="1259">
                        <c:v>0</c:v>
                      </c:pt>
                      <c:pt idx="1260">
                        <c:v>0</c:v>
                      </c:pt>
                      <c:pt idx="1261">
                        <c:v>0</c:v>
                      </c:pt>
                      <c:pt idx="1262">
                        <c:v>0</c:v>
                      </c:pt>
                      <c:pt idx="1263">
                        <c:v>0</c:v>
                      </c:pt>
                      <c:pt idx="1264">
                        <c:v>0</c:v>
                      </c:pt>
                      <c:pt idx="1265">
                        <c:v>0</c:v>
                      </c:pt>
                      <c:pt idx="1266">
                        <c:v>0</c:v>
                      </c:pt>
                      <c:pt idx="1267">
                        <c:v>0</c:v>
                      </c:pt>
                      <c:pt idx="1268">
                        <c:v>0</c:v>
                      </c:pt>
                      <c:pt idx="1269">
                        <c:v>0</c:v>
                      </c:pt>
                      <c:pt idx="1270">
                        <c:v>0</c:v>
                      </c:pt>
                      <c:pt idx="1271">
                        <c:v>0</c:v>
                      </c:pt>
                      <c:pt idx="1272">
                        <c:v>0</c:v>
                      </c:pt>
                      <c:pt idx="1273">
                        <c:v>0</c:v>
                      </c:pt>
                      <c:pt idx="1274">
                        <c:v>0</c:v>
                      </c:pt>
                      <c:pt idx="1275">
                        <c:v>0</c:v>
                      </c:pt>
                      <c:pt idx="1276">
                        <c:v>0</c:v>
                      </c:pt>
                      <c:pt idx="1277">
                        <c:v>0</c:v>
                      </c:pt>
                      <c:pt idx="1278">
                        <c:v>0</c:v>
                      </c:pt>
                      <c:pt idx="1279">
                        <c:v>0</c:v>
                      </c:pt>
                      <c:pt idx="1280">
                        <c:v>0</c:v>
                      </c:pt>
                      <c:pt idx="1281">
                        <c:v>0</c:v>
                      </c:pt>
                      <c:pt idx="1282">
                        <c:v>0</c:v>
                      </c:pt>
                      <c:pt idx="1283">
                        <c:v>0</c:v>
                      </c:pt>
                      <c:pt idx="1284">
                        <c:v>0</c:v>
                      </c:pt>
                      <c:pt idx="1285">
                        <c:v>0</c:v>
                      </c:pt>
                      <c:pt idx="1286">
                        <c:v>0</c:v>
                      </c:pt>
                      <c:pt idx="1287">
                        <c:v>0</c:v>
                      </c:pt>
                      <c:pt idx="1288">
                        <c:v>0</c:v>
                      </c:pt>
                      <c:pt idx="1289">
                        <c:v>0</c:v>
                      </c:pt>
                      <c:pt idx="1290">
                        <c:v>0</c:v>
                      </c:pt>
                      <c:pt idx="1291">
                        <c:v>0</c:v>
                      </c:pt>
                      <c:pt idx="1292">
                        <c:v>0</c:v>
                      </c:pt>
                      <c:pt idx="1293">
                        <c:v>0</c:v>
                      </c:pt>
                      <c:pt idx="1294">
                        <c:v>0</c:v>
                      </c:pt>
                      <c:pt idx="1295">
                        <c:v>0</c:v>
                      </c:pt>
                      <c:pt idx="1296">
                        <c:v>0</c:v>
                      </c:pt>
                      <c:pt idx="1297">
                        <c:v>0</c:v>
                      </c:pt>
                      <c:pt idx="1298">
                        <c:v>0</c:v>
                      </c:pt>
                      <c:pt idx="1299">
                        <c:v>0</c:v>
                      </c:pt>
                      <c:pt idx="1300">
                        <c:v>0</c:v>
                      </c:pt>
                      <c:pt idx="1301">
                        <c:v>0</c:v>
                      </c:pt>
                      <c:pt idx="1302">
                        <c:v>0</c:v>
                      </c:pt>
                      <c:pt idx="1303">
                        <c:v>0</c:v>
                      </c:pt>
                      <c:pt idx="1304">
                        <c:v>0</c:v>
                      </c:pt>
                      <c:pt idx="1305">
                        <c:v>0</c:v>
                      </c:pt>
                      <c:pt idx="1306">
                        <c:v>0</c:v>
                      </c:pt>
                      <c:pt idx="1307">
                        <c:v>0</c:v>
                      </c:pt>
                      <c:pt idx="1308">
                        <c:v>0</c:v>
                      </c:pt>
                      <c:pt idx="1309">
                        <c:v>0</c:v>
                      </c:pt>
                      <c:pt idx="1310">
                        <c:v>0</c:v>
                      </c:pt>
                      <c:pt idx="1311">
                        <c:v>0</c:v>
                      </c:pt>
                      <c:pt idx="1312">
                        <c:v>0</c:v>
                      </c:pt>
                      <c:pt idx="1313">
                        <c:v>0</c:v>
                      </c:pt>
                      <c:pt idx="1314">
                        <c:v>0</c:v>
                      </c:pt>
                      <c:pt idx="1315">
                        <c:v>0</c:v>
                      </c:pt>
                      <c:pt idx="1316">
                        <c:v>0</c:v>
                      </c:pt>
                      <c:pt idx="1317">
                        <c:v>0</c:v>
                      </c:pt>
                      <c:pt idx="1318">
                        <c:v>0</c:v>
                      </c:pt>
                      <c:pt idx="1319">
                        <c:v>0</c:v>
                      </c:pt>
                      <c:pt idx="1320">
                        <c:v>0</c:v>
                      </c:pt>
                      <c:pt idx="1321">
                        <c:v>0</c:v>
                      </c:pt>
                      <c:pt idx="1322">
                        <c:v>0</c:v>
                      </c:pt>
                      <c:pt idx="1323">
                        <c:v>0</c:v>
                      </c:pt>
                      <c:pt idx="1324">
                        <c:v>0</c:v>
                      </c:pt>
                      <c:pt idx="1325">
                        <c:v>0</c:v>
                      </c:pt>
                      <c:pt idx="1326">
                        <c:v>0</c:v>
                      </c:pt>
                      <c:pt idx="1327">
                        <c:v>0</c:v>
                      </c:pt>
                      <c:pt idx="1328">
                        <c:v>0</c:v>
                      </c:pt>
                      <c:pt idx="1329">
                        <c:v>0</c:v>
                      </c:pt>
                      <c:pt idx="1330">
                        <c:v>0</c:v>
                      </c:pt>
                      <c:pt idx="1331">
                        <c:v>0</c:v>
                      </c:pt>
                      <c:pt idx="1332">
                        <c:v>0</c:v>
                      </c:pt>
                      <c:pt idx="1333">
                        <c:v>0</c:v>
                      </c:pt>
                      <c:pt idx="1334">
                        <c:v>0</c:v>
                      </c:pt>
                      <c:pt idx="1335">
                        <c:v>0</c:v>
                      </c:pt>
                      <c:pt idx="1336">
                        <c:v>0</c:v>
                      </c:pt>
                      <c:pt idx="1337">
                        <c:v>0</c:v>
                      </c:pt>
                      <c:pt idx="1338">
                        <c:v>0</c:v>
                      </c:pt>
                      <c:pt idx="1339">
                        <c:v>0</c:v>
                      </c:pt>
                      <c:pt idx="1340">
                        <c:v>0</c:v>
                      </c:pt>
                      <c:pt idx="1341">
                        <c:v>0</c:v>
                      </c:pt>
                      <c:pt idx="1342">
                        <c:v>0</c:v>
                      </c:pt>
                      <c:pt idx="1343">
                        <c:v>0</c:v>
                      </c:pt>
                      <c:pt idx="1344">
                        <c:v>0</c:v>
                      </c:pt>
                      <c:pt idx="1345">
                        <c:v>0</c:v>
                      </c:pt>
                      <c:pt idx="1346">
                        <c:v>0</c:v>
                      </c:pt>
                      <c:pt idx="1347">
                        <c:v>0</c:v>
                      </c:pt>
                      <c:pt idx="1348">
                        <c:v>0</c:v>
                      </c:pt>
                      <c:pt idx="1349">
                        <c:v>0</c:v>
                      </c:pt>
                      <c:pt idx="1350">
                        <c:v>0</c:v>
                      </c:pt>
                      <c:pt idx="1351">
                        <c:v>0</c:v>
                      </c:pt>
                      <c:pt idx="1352">
                        <c:v>0</c:v>
                      </c:pt>
                      <c:pt idx="1353">
                        <c:v>0</c:v>
                      </c:pt>
                      <c:pt idx="1354">
                        <c:v>0</c:v>
                      </c:pt>
                      <c:pt idx="1355">
                        <c:v>0</c:v>
                      </c:pt>
                      <c:pt idx="1356">
                        <c:v>0</c:v>
                      </c:pt>
                      <c:pt idx="1357">
                        <c:v>0</c:v>
                      </c:pt>
                      <c:pt idx="1358">
                        <c:v>0</c:v>
                      </c:pt>
                      <c:pt idx="1359">
                        <c:v>0</c:v>
                      </c:pt>
                      <c:pt idx="1360">
                        <c:v>0</c:v>
                      </c:pt>
                      <c:pt idx="1361">
                        <c:v>0</c:v>
                      </c:pt>
                      <c:pt idx="1362">
                        <c:v>0</c:v>
                      </c:pt>
                      <c:pt idx="1363">
                        <c:v>0</c:v>
                      </c:pt>
                      <c:pt idx="1364">
                        <c:v>0</c:v>
                      </c:pt>
                      <c:pt idx="1365">
                        <c:v>0</c:v>
                      </c:pt>
                      <c:pt idx="1366">
                        <c:v>0</c:v>
                      </c:pt>
                      <c:pt idx="1367">
                        <c:v>0</c:v>
                      </c:pt>
                      <c:pt idx="1368">
                        <c:v>0</c:v>
                      </c:pt>
                      <c:pt idx="1369">
                        <c:v>0</c:v>
                      </c:pt>
                      <c:pt idx="1370">
                        <c:v>0</c:v>
                      </c:pt>
                      <c:pt idx="1371">
                        <c:v>0</c:v>
                      </c:pt>
                      <c:pt idx="1372">
                        <c:v>0</c:v>
                      </c:pt>
                      <c:pt idx="1373">
                        <c:v>0</c:v>
                      </c:pt>
                      <c:pt idx="1374">
                        <c:v>0</c:v>
                      </c:pt>
                      <c:pt idx="1375">
                        <c:v>0</c:v>
                      </c:pt>
                      <c:pt idx="1376">
                        <c:v>0</c:v>
                      </c:pt>
                      <c:pt idx="1377">
                        <c:v>0</c:v>
                      </c:pt>
                      <c:pt idx="1378">
                        <c:v>0</c:v>
                      </c:pt>
                      <c:pt idx="1379">
                        <c:v>0</c:v>
                      </c:pt>
                      <c:pt idx="1380">
                        <c:v>0</c:v>
                      </c:pt>
                      <c:pt idx="1381">
                        <c:v>0</c:v>
                      </c:pt>
                      <c:pt idx="1382">
                        <c:v>0</c:v>
                      </c:pt>
                      <c:pt idx="1383">
                        <c:v>0</c:v>
                      </c:pt>
                      <c:pt idx="1384">
                        <c:v>0</c:v>
                      </c:pt>
                      <c:pt idx="1385">
                        <c:v>0</c:v>
                      </c:pt>
                      <c:pt idx="1386">
                        <c:v>0</c:v>
                      </c:pt>
                      <c:pt idx="1387">
                        <c:v>0</c:v>
                      </c:pt>
                      <c:pt idx="1388">
                        <c:v>0</c:v>
                      </c:pt>
                      <c:pt idx="1389">
                        <c:v>0</c:v>
                      </c:pt>
                      <c:pt idx="1390">
                        <c:v>0</c:v>
                      </c:pt>
                      <c:pt idx="1391">
                        <c:v>0</c:v>
                      </c:pt>
                      <c:pt idx="1392">
                        <c:v>0</c:v>
                      </c:pt>
                      <c:pt idx="1393">
                        <c:v>0</c:v>
                      </c:pt>
                      <c:pt idx="1394">
                        <c:v>0</c:v>
                      </c:pt>
                      <c:pt idx="1395">
                        <c:v>0</c:v>
                      </c:pt>
                      <c:pt idx="1396">
                        <c:v>0</c:v>
                      </c:pt>
                      <c:pt idx="1397">
                        <c:v>0</c:v>
                      </c:pt>
                      <c:pt idx="1398">
                        <c:v>0</c:v>
                      </c:pt>
                      <c:pt idx="1399">
                        <c:v>0</c:v>
                      </c:pt>
                      <c:pt idx="1400">
                        <c:v>0</c:v>
                      </c:pt>
                      <c:pt idx="1401">
                        <c:v>0</c:v>
                      </c:pt>
                      <c:pt idx="1402">
                        <c:v>0</c:v>
                      </c:pt>
                      <c:pt idx="1403">
                        <c:v>0</c:v>
                      </c:pt>
                      <c:pt idx="1404">
                        <c:v>0</c:v>
                      </c:pt>
                      <c:pt idx="1405">
                        <c:v>0</c:v>
                      </c:pt>
                      <c:pt idx="1406">
                        <c:v>0</c:v>
                      </c:pt>
                      <c:pt idx="1407">
                        <c:v>0</c:v>
                      </c:pt>
                      <c:pt idx="1408">
                        <c:v>0</c:v>
                      </c:pt>
                      <c:pt idx="1409">
                        <c:v>0</c:v>
                      </c:pt>
                      <c:pt idx="1410">
                        <c:v>0</c:v>
                      </c:pt>
                      <c:pt idx="1411">
                        <c:v>0</c:v>
                      </c:pt>
                      <c:pt idx="1412">
                        <c:v>0</c:v>
                      </c:pt>
                      <c:pt idx="1413">
                        <c:v>0</c:v>
                      </c:pt>
                      <c:pt idx="1414">
                        <c:v>0</c:v>
                      </c:pt>
                      <c:pt idx="1415">
                        <c:v>0</c:v>
                      </c:pt>
                      <c:pt idx="1416">
                        <c:v>0</c:v>
                      </c:pt>
                      <c:pt idx="1417">
                        <c:v>0</c:v>
                      </c:pt>
                      <c:pt idx="1418">
                        <c:v>0</c:v>
                      </c:pt>
                      <c:pt idx="1419">
                        <c:v>0</c:v>
                      </c:pt>
                      <c:pt idx="1420">
                        <c:v>0</c:v>
                      </c:pt>
                      <c:pt idx="1421">
                        <c:v>0</c:v>
                      </c:pt>
                      <c:pt idx="1422">
                        <c:v>0</c:v>
                      </c:pt>
                      <c:pt idx="1423">
                        <c:v>0</c:v>
                      </c:pt>
                      <c:pt idx="1424">
                        <c:v>0</c:v>
                      </c:pt>
                      <c:pt idx="1425">
                        <c:v>0</c:v>
                      </c:pt>
                      <c:pt idx="1426">
                        <c:v>0</c:v>
                      </c:pt>
                      <c:pt idx="1427">
                        <c:v>0</c:v>
                      </c:pt>
                      <c:pt idx="1428">
                        <c:v>0</c:v>
                      </c:pt>
                      <c:pt idx="1429">
                        <c:v>0</c:v>
                      </c:pt>
                      <c:pt idx="1430">
                        <c:v>0</c:v>
                      </c:pt>
                      <c:pt idx="1431">
                        <c:v>0</c:v>
                      </c:pt>
                      <c:pt idx="1432">
                        <c:v>0</c:v>
                      </c:pt>
                      <c:pt idx="1433">
                        <c:v>0</c:v>
                      </c:pt>
                      <c:pt idx="1434">
                        <c:v>0</c:v>
                      </c:pt>
                      <c:pt idx="1435">
                        <c:v>0</c:v>
                      </c:pt>
                      <c:pt idx="1436">
                        <c:v>0</c:v>
                      </c:pt>
                      <c:pt idx="1437">
                        <c:v>0</c:v>
                      </c:pt>
                      <c:pt idx="1438">
                        <c:v>0</c:v>
                      </c:pt>
                      <c:pt idx="1439">
                        <c:v>0</c:v>
                      </c:pt>
                      <c:pt idx="1440">
                        <c:v>0</c:v>
                      </c:pt>
                      <c:pt idx="1441">
                        <c:v>0</c:v>
                      </c:pt>
                      <c:pt idx="1442">
                        <c:v>0</c:v>
                      </c:pt>
                      <c:pt idx="1443">
                        <c:v>0</c:v>
                      </c:pt>
                      <c:pt idx="1444">
                        <c:v>0</c:v>
                      </c:pt>
                      <c:pt idx="1445">
                        <c:v>0</c:v>
                      </c:pt>
                      <c:pt idx="1446">
                        <c:v>0</c:v>
                      </c:pt>
                      <c:pt idx="1447">
                        <c:v>0</c:v>
                      </c:pt>
                      <c:pt idx="1448">
                        <c:v>0</c:v>
                      </c:pt>
                      <c:pt idx="1449">
                        <c:v>0</c:v>
                      </c:pt>
                      <c:pt idx="1450">
                        <c:v>0</c:v>
                      </c:pt>
                      <c:pt idx="1451">
                        <c:v>0</c:v>
                      </c:pt>
                      <c:pt idx="1452">
                        <c:v>0</c:v>
                      </c:pt>
                      <c:pt idx="1453">
                        <c:v>0</c:v>
                      </c:pt>
                      <c:pt idx="1454">
                        <c:v>0</c:v>
                      </c:pt>
                      <c:pt idx="1455">
                        <c:v>0</c:v>
                      </c:pt>
                      <c:pt idx="1456">
                        <c:v>0</c:v>
                      </c:pt>
                      <c:pt idx="1457">
                        <c:v>0</c:v>
                      </c:pt>
                      <c:pt idx="1458">
                        <c:v>0</c:v>
                      </c:pt>
                      <c:pt idx="1459">
                        <c:v>0</c:v>
                      </c:pt>
                      <c:pt idx="1460">
                        <c:v>0</c:v>
                      </c:pt>
                      <c:pt idx="1461">
                        <c:v>0</c:v>
                      </c:pt>
                      <c:pt idx="1462">
                        <c:v>0</c:v>
                      </c:pt>
                      <c:pt idx="1463">
                        <c:v>0</c:v>
                      </c:pt>
                      <c:pt idx="1464">
                        <c:v>0</c:v>
                      </c:pt>
                      <c:pt idx="1465">
                        <c:v>0</c:v>
                      </c:pt>
                      <c:pt idx="1466">
                        <c:v>0</c:v>
                      </c:pt>
                      <c:pt idx="1467">
                        <c:v>0</c:v>
                      </c:pt>
                      <c:pt idx="1468">
                        <c:v>0</c:v>
                      </c:pt>
                      <c:pt idx="1469">
                        <c:v>0</c:v>
                      </c:pt>
                      <c:pt idx="1470">
                        <c:v>0</c:v>
                      </c:pt>
                      <c:pt idx="1471">
                        <c:v>0</c:v>
                      </c:pt>
                      <c:pt idx="1472">
                        <c:v>0</c:v>
                      </c:pt>
                      <c:pt idx="1473">
                        <c:v>0</c:v>
                      </c:pt>
                      <c:pt idx="1474">
                        <c:v>0</c:v>
                      </c:pt>
                      <c:pt idx="1475">
                        <c:v>0</c:v>
                      </c:pt>
                      <c:pt idx="1476">
                        <c:v>0</c:v>
                      </c:pt>
                      <c:pt idx="1477">
                        <c:v>0</c:v>
                      </c:pt>
                      <c:pt idx="1478">
                        <c:v>0</c:v>
                      </c:pt>
                      <c:pt idx="1479">
                        <c:v>0</c:v>
                      </c:pt>
                      <c:pt idx="1480">
                        <c:v>0</c:v>
                      </c:pt>
                      <c:pt idx="1481">
                        <c:v>0</c:v>
                      </c:pt>
                      <c:pt idx="1482">
                        <c:v>0</c:v>
                      </c:pt>
                      <c:pt idx="1483">
                        <c:v>0</c:v>
                      </c:pt>
                      <c:pt idx="1484">
                        <c:v>0</c:v>
                      </c:pt>
                      <c:pt idx="1485">
                        <c:v>0</c:v>
                      </c:pt>
                      <c:pt idx="1486">
                        <c:v>0</c:v>
                      </c:pt>
                      <c:pt idx="1487">
                        <c:v>0</c:v>
                      </c:pt>
                      <c:pt idx="1488">
                        <c:v>0</c:v>
                      </c:pt>
                      <c:pt idx="1489">
                        <c:v>0</c:v>
                      </c:pt>
                      <c:pt idx="1490">
                        <c:v>0</c:v>
                      </c:pt>
                      <c:pt idx="1491">
                        <c:v>0</c:v>
                      </c:pt>
                      <c:pt idx="1492">
                        <c:v>0</c:v>
                      </c:pt>
                      <c:pt idx="1493">
                        <c:v>0</c:v>
                      </c:pt>
                      <c:pt idx="1494">
                        <c:v>0</c:v>
                      </c:pt>
                      <c:pt idx="1495">
                        <c:v>0</c:v>
                      </c:pt>
                      <c:pt idx="1496">
                        <c:v>0</c:v>
                      </c:pt>
                      <c:pt idx="1497">
                        <c:v>0</c:v>
                      </c:pt>
                      <c:pt idx="1498">
                        <c:v>0</c:v>
                      </c:pt>
                      <c:pt idx="1499">
                        <c:v>0</c:v>
                      </c:pt>
                      <c:pt idx="1500">
                        <c:v>0</c:v>
                      </c:pt>
                      <c:pt idx="1501">
                        <c:v>0</c:v>
                      </c:pt>
                      <c:pt idx="1502">
                        <c:v>0</c:v>
                      </c:pt>
                      <c:pt idx="1503">
                        <c:v>0</c:v>
                      </c:pt>
                      <c:pt idx="1504">
                        <c:v>0</c:v>
                      </c:pt>
                      <c:pt idx="1505">
                        <c:v>0</c:v>
                      </c:pt>
                      <c:pt idx="1506">
                        <c:v>0</c:v>
                      </c:pt>
                      <c:pt idx="1507">
                        <c:v>0</c:v>
                      </c:pt>
                      <c:pt idx="1508">
                        <c:v>0</c:v>
                      </c:pt>
                      <c:pt idx="1509">
                        <c:v>0</c:v>
                      </c:pt>
                      <c:pt idx="1510">
                        <c:v>0</c:v>
                      </c:pt>
                      <c:pt idx="1511">
                        <c:v>0</c:v>
                      </c:pt>
                      <c:pt idx="1512">
                        <c:v>0</c:v>
                      </c:pt>
                      <c:pt idx="1513">
                        <c:v>0</c:v>
                      </c:pt>
                      <c:pt idx="1514">
                        <c:v>0</c:v>
                      </c:pt>
                      <c:pt idx="1515">
                        <c:v>0</c:v>
                      </c:pt>
                      <c:pt idx="1516">
                        <c:v>0</c:v>
                      </c:pt>
                      <c:pt idx="1517">
                        <c:v>0</c:v>
                      </c:pt>
                      <c:pt idx="1518">
                        <c:v>0</c:v>
                      </c:pt>
                      <c:pt idx="1519">
                        <c:v>0</c:v>
                      </c:pt>
                      <c:pt idx="1520">
                        <c:v>0</c:v>
                      </c:pt>
                      <c:pt idx="1521">
                        <c:v>0</c:v>
                      </c:pt>
                      <c:pt idx="1522">
                        <c:v>0</c:v>
                      </c:pt>
                      <c:pt idx="1523">
                        <c:v>0</c:v>
                      </c:pt>
                      <c:pt idx="1524">
                        <c:v>0</c:v>
                      </c:pt>
                      <c:pt idx="1525">
                        <c:v>0</c:v>
                      </c:pt>
                      <c:pt idx="1526">
                        <c:v>0</c:v>
                      </c:pt>
                      <c:pt idx="1527">
                        <c:v>0</c:v>
                      </c:pt>
                      <c:pt idx="1528">
                        <c:v>0</c:v>
                      </c:pt>
                      <c:pt idx="1529">
                        <c:v>0</c:v>
                      </c:pt>
                      <c:pt idx="1530">
                        <c:v>0</c:v>
                      </c:pt>
                      <c:pt idx="1531">
                        <c:v>0</c:v>
                      </c:pt>
                      <c:pt idx="1532">
                        <c:v>0</c:v>
                      </c:pt>
                      <c:pt idx="1533">
                        <c:v>0</c:v>
                      </c:pt>
                      <c:pt idx="1534">
                        <c:v>0</c:v>
                      </c:pt>
                      <c:pt idx="1535">
                        <c:v>0</c:v>
                      </c:pt>
                      <c:pt idx="1536">
                        <c:v>0</c:v>
                      </c:pt>
                      <c:pt idx="1537">
                        <c:v>0</c:v>
                      </c:pt>
                      <c:pt idx="1538">
                        <c:v>0</c:v>
                      </c:pt>
                      <c:pt idx="1539">
                        <c:v>0</c:v>
                      </c:pt>
                      <c:pt idx="1540">
                        <c:v>0</c:v>
                      </c:pt>
                      <c:pt idx="1541">
                        <c:v>0</c:v>
                      </c:pt>
                      <c:pt idx="1542">
                        <c:v>0</c:v>
                      </c:pt>
                      <c:pt idx="1543">
                        <c:v>0</c:v>
                      </c:pt>
                      <c:pt idx="1544">
                        <c:v>0</c:v>
                      </c:pt>
                      <c:pt idx="1545">
                        <c:v>0</c:v>
                      </c:pt>
                      <c:pt idx="1546">
                        <c:v>0</c:v>
                      </c:pt>
                      <c:pt idx="1547">
                        <c:v>0</c:v>
                      </c:pt>
                      <c:pt idx="1548">
                        <c:v>0</c:v>
                      </c:pt>
                      <c:pt idx="1549">
                        <c:v>0</c:v>
                      </c:pt>
                      <c:pt idx="1550">
                        <c:v>0</c:v>
                      </c:pt>
                      <c:pt idx="1551">
                        <c:v>0</c:v>
                      </c:pt>
                      <c:pt idx="1552">
                        <c:v>0</c:v>
                      </c:pt>
                      <c:pt idx="1553">
                        <c:v>0</c:v>
                      </c:pt>
                      <c:pt idx="1554">
                        <c:v>0</c:v>
                      </c:pt>
                      <c:pt idx="1555">
                        <c:v>0</c:v>
                      </c:pt>
                      <c:pt idx="1556">
                        <c:v>0</c:v>
                      </c:pt>
                      <c:pt idx="1557">
                        <c:v>0</c:v>
                      </c:pt>
                      <c:pt idx="1558">
                        <c:v>0</c:v>
                      </c:pt>
                      <c:pt idx="1559">
                        <c:v>0</c:v>
                      </c:pt>
                      <c:pt idx="1560">
                        <c:v>0</c:v>
                      </c:pt>
                      <c:pt idx="1561">
                        <c:v>0</c:v>
                      </c:pt>
                      <c:pt idx="1562">
                        <c:v>0</c:v>
                      </c:pt>
                      <c:pt idx="1563">
                        <c:v>0</c:v>
                      </c:pt>
                      <c:pt idx="1564">
                        <c:v>0</c:v>
                      </c:pt>
                      <c:pt idx="1565">
                        <c:v>0</c:v>
                      </c:pt>
                      <c:pt idx="1566">
                        <c:v>0</c:v>
                      </c:pt>
                      <c:pt idx="1567">
                        <c:v>0</c:v>
                      </c:pt>
                      <c:pt idx="1568">
                        <c:v>0</c:v>
                      </c:pt>
                      <c:pt idx="1569">
                        <c:v>0</c:v>
                      </c:pt>
                      <c:pt idx="1570">
                        <c:v>0</c:v>
                      </c:pt>
                      <c:pt idx="1571">
                        <c:v>0</c:v>
                      </c:pt>
                      <c:pt idx="1572">
                        <c:v>0</c:v>
                      </c:pt>
                      <c:pt idx="1573">
                        <c:v>0</c:v>
                      </c:pt>
                      <c:pt idx="1574">
                        <c:v>0</c:v>
                      </c:pt>
                      <c:pt idx="1575">
                        <c:v>0</c:v>
                      </c:pt>
                      <c:pt idx="1576">
                        <c:v>0</c:v>
                      </c:pt>
                      <c:pt idx="1577">
                        <c:v>0</c:v>
                      </c:pt>
                      <c:pt idx="1578">
                        <c:v>0</c:v>
                      </c:pt>
                      <c:pt idx="1579">
                        <c:v>0</c:v>
                      </c:pt>
                      <c:pt idx="1580">
                        <c:v>0</c:v>
                      </c:pt>
                      <c:pt idx="1581">
                        <c:v>0</c:v>
                      </c:pt>
                      <c:pt idx="1582">
                        <c:v>0</c:v>
                      </c:pt>
                      <c:pt idx="1583">
                        <c:v>0</c:v>
                      </c:pt>
                      <c:pt idx="1584">
                        <c:v>0</c:v>
                      </c:pt>
                      <c:pt idx="1585">
                        <c:v>0</c:v>
                      </c:pt>
                      <c:pt idx="1586">
                        <c:v>0</c:v>
                      </c:pt>
                      <c:pt idx="1587">
                        <c:v>0</c:v>
                      </c:pt>
                      <c:pt idx="1588">
                        <c:v>0</c:v>
                      </c:pt>
                      <c:pt idx="1589">
                        <c:v>0</c:v>
                      </c:pt>
                      <c:pt idx="1590">
                        <c:v>0</c:v>
                      </c:pt>
                      <c:pt idx="1591">
                        <c:v>0</c:v>
                      </c:pt>
                      <c:pt idx="1592">
                        <c:v>0</c:v>
                      </c:pt>
                      <c:pt idx="1593">
                        <c:v>0</c:v>
                      </c:pt>
                      <c:pt idx="1594">
                        <c:v>0</c:v>
                      </c:pt>
                      <c:pt idx="1595">
                        <c:v>0</c:v>
                      </c:pt>
                      <c:pt idx="1596">
                        <c:v>0</c:v>
                      </c:pt>
                      <c:pt idx="1597">
                        <c:v>0</c:v>
                      </c:pt>
                      <c:pt idx="1598">
                        <c:v>0</c:v>
                      </c:pt>
                      <c:pt idx="1599">
                        <c:v>0</c:v>
                      </c:pt>
                      <c:pt idx="1600">
                        <c:v>0</c:v>
                      </c:pt>
                      <c:pt idx="1601">
                        <c:v>0</c:v>
                      </c:pt>
                      <c:pt idx="1602">
                        <c:v>0</c:v>
                      </c:pt>
                      <c:pt idx="1603">
                        <c:v>0</c:v>
                      </c:pt>
                      <c:pt idx="1604">
                        <c:v>0</c:v>
                      </c:pt>
                      <c:pt idx="1605">
                        <c:v>0</c:v>
                      </c:pt>
                      <c:pt idx="1606">
                        <c:v>0</c:v>
                      </c:pt>
                      <c:pt idx="1607">
                        <c:v>0</c:v>
                      </c:pt>
                      <c:pt idx="1608">
                        <c:v>0</c:v>
                      </c:pt>
                      <c:pt idx="1609">
                        <c:v>0</c:v>
                      </c:pt>
                      <c:pt idx="1610">
                        <c:v>0</c:v>
                      </c:pt>
                      <c:pt idx="1611">
                        <c:v>0</c:v>
                      </c:pt>
                      <c:pt idx="1612">
                        <c:v>0</c:v>
                      </c:pt>
                      <c:pt idx="1613">
                        <c:v>0</c:v>
                      </c:pt>
                      <c:pt idx="1614">
                        <c:v>0</c:v>
                      </c:pt>
                      <c:pt idx="1615">
                        <c:v>0</c:v>
                      </c:pt>
                      <c:pt idx="1616">
                        <c:v>0</c:v>
                      </c:pt>
                      <c:pt idx="1617">
                        <c:v>0</c:v>
                      </c:pt>
                      <c:pt idx="1618">
                        <c:v>0</c:v>
                      </c:pt>
                      <c:pt idx="1619">
                        <c:v>0</c:v>
                      </c:pt>
                      <c:pt idx="1620">
                        <c:v>0</c:v>
                      </c:pt>
                      <c:pt idx="1621">
                        <c:v>0</c:v>
                      </c:pt>
                      <c:pt idx="1622">
                        <c:v>0</c:v>
                      </c:pt>
                      <c:pt idx="1623">
                        <c:v>0</c:v>
                      </c:pt>
                      <c:pt idx="1624">
                        <c:v>0</c:v>
                      </c:pt>
                      <c:pt idx="1625">
                        <c:v>0</c:v>
                      </c:pt>
                      <c:pt idx="1626">
                        <c:v>0</c:v>
                      </c:pt>
                      <c:pt idx="1627">
                        <c:v>0</c:v>
                      </c:pt>
                      <c:pt idx="1628">
                        <c:v>0</c:v>
                      </c:pt>
                      <c:pt idx="1629">
                        <c:v>0</c:v>
                      </c:pt>
                      <c:pt idx="1630">
                        <c:v>0</c:v>
                      </c:pt>
                      <c:pt idx="1631">
                        <c:v>0</c:v>
                      </c:pt>
                      <c:pt idx="1632">
                        <c:v>0</c:v>
                      </c:pt>
                      <c:pt idx="1633">
                        <c:v>0</c:v>
                      </c:pt>
                      <c:pt idx="1634">
                        <c:v>0</c:v>
                      </c:pt>
                      <c:pt idx="1635">
                        <c:v>0</c:v>
                      </c:pt>
                      <c:pt idx="1636">
                        <c:v>0</c:v>
                      </c:pt>
                      <c:pt idx="1637">
                        <c:v>0</c:v>
                      </c:pt>
                      <c:pt idx="1638">
                        <c:v>0</c:v>
                      </c:pt>
                      <c:pt idx="1639">
                        <c:v>0</c:v>
                      </c:pt>
                      <c:pt idx="1640">
                        <c:v>0</c:v>
                      </c:pt>
                      <c:pt idx="1641">
                        <c:v>0</c:v>
                      </c:pt>
                      <c:pt idx="1642">
                        <c:v>0</c:v>
                      </c:pt>
                      <c:pt idx="1643">
                        <c:v>0</c:v>
                      </c:pt>
                      <c:pt idx="1644">
                        <c:v>0</c:v>
                      </c:pt>
                      <c:pt idx="1645">
                        <c:v>0</c:v>
                      </c:pt>
                      <c:pt idx="1646">
                        <c:v>0</c:v>
                      </c:pt>
                      <c:pt idx="1647">
                        <c:v>0</c:v>
                      </c:pt>
                      <c:pt idx="1648">
                        <c:v>0</c:v>
                      </c:pt>
                      <c:pt idx="1649">
                        <c:v>0</c:v>
                      </c:pt>
                      <c:pt idx="1650">
                        <c:v>0</c:v>
                      </c:pt>
                      <c:pt idx="1651">
                        <c:v>0</c:v>
                      </c:pt>
                      <c:pt idx="1652">
                        <c:v>0</c:v>
                      </c:pt>
                      <c:pt idx="1653">
                        <c:v>0</c:v>
                      </c:pt>
                      <c:pt idx="1654">
                        <c:v>0</c:v>
                      </c:pt>
                      <c:pt idx="1655">
                        <c:v>0</c:v>
                      </c:pt>
                      <c:pt idx="1656">
                        <c:v>0</c:v>
                      </c:pt>
                      <c:pt idx="1657">
                        <c:v>0</c:v>
                      </c:pt>
                      <c:pt idx="1658">
                        <c:v>0</c:v>
                      </c:pt>
                      <c:pt idx="1659">
                        <c:v>0</c:v>
                      </c:pt>
                      <c:pt idx="1660">
                        <c:v>0</c:v>
                      </c:pt>
                      <c:pt idx="1661">
                        <c:v>0</c:v>
                      </c:pt>
                      <c:pt idx="1662">
                        <c:v>0</c:v>
                      </c:pt>
                      <c:pt idx="1663">
                        <c:v>0</c:v>
                      </c:pt>
                      <c:pt idx="1664">
                        <c:v>0</c:v>
                      </c:pt>
                      <c:pt idx="1665">
                        <c:v>0</c:v>
                      </c:pt>
                      <c:pt idx="1666">
                        <c:v>0</c:v>
                      </c:pt>
                      <c:pt idx="1667">
                        <c:v>0</c:v>
                      </c:pt>
                      <c:pt idx="1668">
                        <c:v>0</c:v>
                      </c:pt>
                      <c:pt idx="1669">
                        <c:v>0</c:v>
                      </c:pt>
                      <c:pt idx="1670">
                        <c:v>0</c:v>
                      </c:pt>
                      <c:pt idx="1671">
                        <c:v>0</c:v>
                      </c:pt>
                      <c:pt idx="1672">
                        <c:v>0</c:v>
                      </c:pt>
                      <c:pt idx="1673">
                        <c:v>0</c:v>
                      </c:pt>
                      <c:pt idx="1674">
                        <c:v>0</c:v>
                      </c:pt>
                      <c:pt idx="1675">
                        <c:v>0</c:v>
                      </c:pt>
                      <c:pt idx="1676">
                        <c:v>0</c:v>
                      </c:pt>
                      <c:pt idx="1677">
                        <c:v>0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0</c:v>
                      </c:pt>
                      <c:pt idx="1717">
                        <c:v>0</c:v>
                      </c:pt>
                      <c:pt idx="1718">
                        <c:v>0</c:v>
                      </c:pt>
                      <c:pt idx="1719">
                        <c:v>0</c:v>
                      </c:pt>
                      <c:pt idx="1720">
                        <c:v>0</c:v>
                      </c:pt>
                      <c:pt idx="1721">
                        <c:v>0</c:v>
                      </c:pt>
                      <c:pt idx="1722">
                        <c:v>0</c:v>
                      </c:pt>
                      <c:pt idx="1723">
                        <c:v>0</c:v>
                      </c:pt>
                      <c:pt idx="1724">
                        <c:v>0</c:v>
                      </c:pt>
                      <c:pt idx="1725">
                        <c:v>0</c:v>
                      </c:pt>
                      <c:pt idx="1726">
                        <c:v>0</c:v>
                      </c:pt>
                      <c:pt idx="1727">
                        <c:v>0</c:v>
                      </c:pt>
                      <c:pt idx="1728">
                        <c:v>0</c:v>
                      </c:pt>
                      <c:pt idx="1729">
                        <c:v>0</c:v>
                      </c:pt>
                      <c:pt idx="1730">
                        <c:v>0</c:v>
                      </c:pt>
                      <c:pt idx="1731">
                        <c:v>0</c:v>
                      </c:pt>
                      <c:pt idx="1732">
                        <c:v>0</c:v>
                      </c:pt>
                      <c:pt idx="1733">
                        <c:v>0</c:v>
                      </c:pt>
                      <c:pt idx="1734">
                        <c:v>0</c:v>
                      </c:pt>
                      <c:pt idx="1735">
                        <c:v>0</c:v>
                      </c:pt>
                      <c:pt idx="1736">
                        <c:v>0</c:v>
                      </c:pt>
                      <c:pt idx="1737">
                        <c:v>0</c:v>
                      </c:pt>
                      <c:pt idx="1738">
                        <c:v>0</c:v>
                      </c:pt>
                      <c:pt idx="1739">
                        <c:v>0</c:v>
                      </c:pt>
                      <c:pt idx="1740">
                        <c:v>0</c:v>
                      </c:pt>
                      <c:pt idx="1741">
                        <c:v>0</c:v>
                      </c:pt>
                      <c:pt idx="1742">
                        <c:v>0</c:v>
                      </c:pt>
                      <c:pt idx="1743">
                        <c:v>0</c:v>
                      </c:pt>
                      <c:pt idx="1744">
                        <c:v>0</c:v>
                      </c:pt>
                      <c:pt idx="1745">
                        <c:v>0</c:v>
                      </c:pt>
                      <c:pt idx="1746">
                        <c:v>0</c:v>
                      </c:pt>
                      <c:pt idx="1747">
                        <c:v>0</c:v>
                      </c:pt>
                      <c:pt idx="1748">
                        <c:v>0</c:v>
                      </c:pt>
                      <c:pt idx="1749">
                        <c:v>0</c:v>
                      </c:pt>
                      <c:pt idx="1750">
                        <c:v>0</c:v>
                      </c:pt>
                      <c:pt idx="1751">
                        <c:v>0</c:v>
                      </c:pt>
                      <c:pt idx="1752">
                        <c:v>0</c:v>
                      </c:pt>
                      <c:pt idx="1753">
                        <c:v>0</c:v>
                      </c:pt>
                      <c:pt idx="1754">
                        <c:v>0</c:v>
                      </c:pt>
                      <c:pt idx="1755">
                        <c:v>0</c:v>
                      </c:pt>
                      <c:pt idx="1756">
                        <c:v>0</c:v>
                      </c:pt>
                      <c:pt idx="1757">
                        <c:v>0</c:v>
                      </c:pt>
                      <c:pt idx="1758">
                        <c:v>0</c:v>
                      </c:pt>
                      <c:pt idx="1759">
                        <c:v>0</c:v>
                      </c:pt>
                      <c:pt idx="1760">
                        <c:v>0</c:v>
                      </c:pt>
                      <c:pt idx="1761">
                        <c:v>0</c:v>
                      </c:pt>
                      <c:pt idx="1762">
                        <c:v>0</c:v>
                      </c:pt>
                      <c:pt idx="1763">
                        <c:v>0</c:v>
                      </c:pt>
                      <c:pt idx="1764">
                        <c:v>0</c:v>
                      </c:pt>
                      <c:pt idx="1765">
                        <c:v>0</c:v>
                      </c:pt>
                      <c:pt idx="1766">
                        <c:v>0</c:v>
                      </c:pt>
                      <c:pt idx="1767">
                        <c:v>0</c:v>
                      </c:pt>
                      <c:pt idx="1768">
                        <c:v>0</c:v>
                      </c:pt>
                      <c:pt idx="1769">
                        <c:v>0</c:v>
                      </c:pt>
                      <c:pt idx="1770">
                        <c:v>0</c:v>
                      </c:pt>
                      <c:pt idx="1771">
                        <c:v>0</c:v>
                      </c:pt>
                      <c:pt idx="1772">
                        <c:v>0</c:v>
                      </c:pt>
                      <c:pt idx="1773">
                        <c:v>0</c:v>
                      </c:pt>
                      <c:pt idx="1774">
                        <c:v>0</c:v>
                      </c:pt>
                      <c:pt idx="1775">
                        <c:v>0</c:v>
                      </c:pt>
                      <c:pt idx="1776">
                        <c:v>0</c:v>
                      </c:pt>
                      <c:pt idx="1777">
                        <c:v>0</c:v>
                      </c:pt>
                      <c:pt idx="1778">
                        <c:v>0</c:v>
                      </c:pt>
                      <c:pt idx="1779">
                        <c:v>0</c:v>
                      </c:pt>
                      <c:pt idx="1780">
                        <c:v>0</c:v>
                      </c:pt>
                      <c:pt idx="1781">
                        <c:v>0</c:v>
                      </c:pt>
                      <c:pt idx="1782">
                        <c:v>0</c:v>
                      </c:pt>
                      <c:pt idx="1783">
                        <c:v>0</c:v>
                      </c:pt>
                      <c:pt idx="1784">
                        <c:v>0</c:v>
                      </c:pt>
                      <c:pt idx="1785">
                        <c:v>0</c:v>
                      </c:pt>
                      <c:pt idx="1786">
                        <c:v>0</c:v>
                      </c:pt>
                      <c:pt idx="1787">
                        <c:v>0</c:v>
                      </c:pt>
                      <c:pt idx="1788">
                        <c:v>0</c:v>
                      </c:pt>
                      <c:pt idx="1789">
                        <c:v>0</c:v>
                      </c:pt>
                      <c:pt idx="1790">
                        <c:v>0</c:v>
                      </c:pt>
                      <c:pt idx="1791">
                        <c:v>0</c:v>
                      </c:pt>
                      <c:pt idx="1792">
                        <c:v>0</c:v>
                      </c:pt>
                      <c:pt idx="1793">
                        <c:v>0</c:v>
                      </c:pt>
                      <c:pt idx="1794">
                        <c:v>0</c:v>
                      </c:pt>
                      <c:pt idx="1795">
                        <c:v>0</c:v>
                      </c:pt>
                      <c:pt idx="1796">
                        <c:v>0</c:v>
                      </c:pt>
                      <c:pt idx="1797">
                        <c:v>0</c:v>
                      </c:pt>
                      <c:pt idx="1798">
                        <c:v>0</c:v>
                      </c:pt>
                      <c:pt idx="1799">
                        <c:v>0</c:v>
                      </c:pt>
                      <c:pt idx="1800">
                        <c:v>0</c:v>
                      </c:pt>
                      <c:pt idx="1801">
                        <c:v>0</c:v>
                      </c:pt>
                      <c:pt idx="1802">
                        <c:v>0</c:v>
                      </c:pt>
                      <c:pt idx="1803">
                        <c:v>0</c:v>
                      </c:pt>
                      <c:pt idx="1804">
                        <c:v>0</c:v>
                      </c:pt>
                      <c:pt idx="1805">
                        <c:v>0</c:v>
                      </c:pt>
                      <c:pt idx="1806">
                        <c:v>0</c:v>
                      </c:pt>
                      <c:pt idx="1807">
                        <c:v>0</c:v>
                      </c:pt>
                      <c:pt idx="1808">
                        <c:v>0</c:v>
                      </c:pt>
                      <c:pt idx="1809">
                        <c:v>0</c:v>
                      </c:pt>
                      <c:pt idx="1810">
                        <c:v>0</c:v>
                      </c:pt>
                      <c:pt idx="1811">
                        <c:v>0</c:v>
                      </c:pt>
                      <c:pt idx="1812">
                        <c:v>0</c:v>
                      </c:pt>
                      <c:pt idx="1813">
                        <c:v>0</c:v>
                      </c:pt>
                      <c:pt idx="1814">
                        <c:v>0</c:v>
                      </c:pt>
                      <c:pt idx="1815">
                        <c:v>0</c:v>
                      </c:pt>
                      <c:pt idx="1816">
                        <c:v>0</c:v>
                      </c:pt>
                      <c:pt idx="1817">
                        <c:v>0</c:v>
                      </c:pt>
                      <c:pt idx="1818">
                        <c:v>0</c:v>
                      </c:pt>
                      <c:pt idx="1819">
                        <c:v>0</c:v>
                      </c:pt>
                      <c:pt idx="1820">
                        <c:v>0</c:v>
                      </c:pt>
                      <c:pt idx="1821">
                        <c:v>0</c:v>
                      </c:pt>
                      <c:pt idx="1822">
                        <c:v>0</c:v>
                      </c:pt>
                      <c:pt idx="1823">
                        <c:v>0</c:v>
                      </c:pt>
                      <c:pt idx="1824">
                        <c:v>0</c:v>
                      </c:pt>
                      <c:pt idx="1825">
                        <c:v>0</c:v>
                      </c:pt>
                      <c:pt idx="1826">
                        <c:v>0</c:v>
                      </c:pt>
                      <c:pt idx="1827">
                        <c:v>0</c:v>
                      </c:pt>
                      <c:pt idx="1828">
                        <c:v>0</c:v>
                      </c:pt>
                      <c:pt idx="1829">
                        <c:v>0</c:v>
                      </c:pt>
                      <c:pt idx="1830">
                        <c:v>0</c:v>
                      </c:pt>
                      <c:pt idx="1831">
                        <c:v>0</c:v>
                      </c:pt>
                      <c:pt idx="1832">
                        <c:v>0</c:v>
                      </c:pt>
                      <c:pt idx="1833">
                        <c:v>0</c:v>
                      </c:pt>
                      <c:pt idx="1834">
                        <c:v>0</c:v>
                      </c:pt>
                      <c:pt idx="1835">
                        <c:v>0</c:v>
                      </c:pt>
                      <c:pt idx="1836">
                        <c:v>0</c:v>
                      </c:pt>
                      <c:pt idx="1837">
                        <c:v>0</c:v>
                      </c:pt>
                      <c:pt idx="1838">
                        <c:v>0</c:v>
                      </c:pt>
                      <c:pt idx="1839">
                        <c:v>0</c:v>
                      </c:pt>
                      <c:pt idx="1840">
                        <c:v>0</c:v>
                      </c:pt>
                      <c:pt idx="1841">
                        <c:v>0</c:v>
                      </c:pt>
                      <c:pt idx="1842">
                        <c:v>0</c:v>
                      </c:pt>
                      <c:pt idx="1843">
                        <c:v>0</c:v>
                      </c:pt>
                      <c:pt idx="1844">
                        <c:v>0</c:v>
                      </c:pt>
                      <c:pt idx="1845">
                        <c:v>0</c:v>
                      </c:pt>
                      <c:pt idx="1846">
                        <c:v>0</c:v>
                      </c:pt>
                      <c:pt idx="1847">
                        <c:v>0</c:v>
                      </c:pt>
                      <c:pt idx="1848">
                        <c:v>0</c:v>
                      </c:pt>
                      <c:pt idx="1849">
                        <c:v>0</c:v>
                      </c:pt>
                      <c:pt idx="1850">
                        <c:v>0</c:v>
                      </c:pt>
                      <c:pt idx="1851">
                        <c:v>0</c:v>
                      </c:pt>
                      <c:pt idx="1852">
                        <c:v>0</c:v>
                      </c:pt>
                      <c:pt idx="1853">
                        <c:v>0</c:v>
                      </c:pt>
                      <c:pt idx="1854">
                        <c:v>0</c:v>
                      </c:pt>
                      <c:pt idx="1855">
                        <c:v>0</c:v>
                      </c:pt>
                      <c:pt idx="1856">
                        <c:v>0</c:v>
                      </c:pt>
                      <c:pt idx="1857">
                        <c:v>0</c:v>
                      </c:pt>
                      <c:pt idx="1858">
                        <c:v>0</c:v>
                      </c:pt>
                      <c:pt idx="1859">
                        <c:v>0</c:v>
                      </c:pt>
                      <c:pt idx="1860">
                        <c:v>0</c:v>
                      </c:pt>
                      <c:pt idx="1861">
                        <c:v>0</c:v>
                      </c:pt>
                      <c:pt idx="1862">
                        <c:v>0</c:v>
                      </c:pt>
                      <c:pt idx="1863">
                        <c:v>0</c:v>
                      </c:pt>
                      <c:pt idx="1864">
                        <c:v>0</c:v>
                      </c:pt>
                      <c:pt idx="1865">
                        <c:v>0</c:v>
                      </c:pt>
                      <c:pt idx="1866">
                        <c:v>0</c:v>
                      </c:pt>
                      <c:pt idx="1867">
                        <c:v>0</c:v>
                      </c:pt>
                      <c:pt idx="1868">
                        <c:v>0</c:v>
                      </c:pt>
                      <c:pt idx="1869">
                        <c:v>0</c:v>
                      </c:pt>
                      <c:pt idx="1870">
                        <c:v>0</c:v>
                      </c:pt>
                      <c:pt idx="1871">
                        <c:v>0</c:v>
                      </c:pt>
                      <c:pt idx="1872">
                        <c:v>0</c:v>
                      </c:pt>
                      <c:pt idx="1873">
                        <c:v>0</c:v>
                      </c:pt>
                      <c:pt idx="1874">
                        <c:v>0</c:v>
                      </c:pt>
                      <c:pt idx="1875">
                        <c:v>0</c:v>
                      </c:pt>
                      <c:pt idx="1876">
                        <c:v>0</c:v>
                      </c:pt>
                      <c:pt idx="1877">
                        <c:v>0</c:v>
                      </c:pt>
                      <c:pt idx="1878">
                        <c:v>0</c:v>
                      </c:pt>
                      <c:pt idx="1879">
                        <c:v>0</c:v>
                      </c:pt>
                      <c:pt idx="1880">
                        <c:v>0</c:v>
                      </c:pt>
                      <c:pt idx="1881">
                        <c:v>0</c:v>
                      </c:pt>
                      <c:pt idx="1882">
                        <c:v>0</c:v>
                      </c:pt>
                      <c:pt idx="1883">
                        <c:v>0</c:v>
                      </c:pt>
                      <c:pt idx="1884">
                        <c:v>0</c:v>
                      </c:pt>
                      <c:pt idx="1885">
                        <c:v>0</c:v>
                      </c:pt>
                      <c:pt idx="1886">
                        <c:v>0</c:v>
                      </c:pt>
                      <c:pt idx="1887">
                        <c:v>0</c:v>
                      </c:pt>
                      <c:pt idx="1888">
                        <c:v>0</c:v>
                      </c:pt>
                      <c:pt idx="1889">
                        <c:v>0</c:v>
                      </c:pt>
                      <c:pt idx="1890">
                        <c:v>0</c:v>
                      </c:pt>
                      <c:pt idx="1891">
                        <c:v>0</c:v>
                      </c:pt>
                      <c:pt idx="1892">
                        <c:v>0</c:v>
                      </c:pt>
                      <c:pt idx="1893">
                        <c:v>0</c:v>
                      </c:pt>
                      <c:pt idx="1894">
                        <c:v>0</c:v>
                      </c:pt>
                      <c:pt idx="1895">
                        <c:v>0</c:v>
                      </c:pt>
                      <c:pt idx="1896">
                        <c:v>0</c:v>
                      </c:pt>
                      <c:pt idx="1897">
                        <c:v>0</c:v>
                      </c:pt>
                      <c:pt idx="1898">
                        <c:v>0</c:v>
                      </c:pt>
                      <c:pt idx="1899">
                        <c:v>0</c:v>
                      </c:pt>
                      <c:pt idx="1900">
                        <c:v>0</c:v>
                      </c:pt>
                      <c:pt idx="1901">
                        <c:v>0</c:v>
                      </c:pt>
                      <c:pt idx="1902">
                        <c:v>0</c:v>
                      </c:pt>
                      <c:pt idx="1903">
                        <c:v>0</c:v>
                      </c:pt>
                      <c:pt idx="1904">
                        <c:v>0</c:v>
                      </c:pt>
                      <c:pt idx="1905">
                        <c:v>0</c:v>
                      </c:pt>
                      <c:pt idx="1906">
                        <c:v>0</c:v>
                      </c:pt>
                      <c:pt idx="1907">
                        <c:v>0</c:v>
                      </c:pt>
                      <c:pt idx="1908">
                        <c:v>0</c:v>
                      </c:pt>
                      <c:pt idx="1909">
                        <c:v>0</c:v>
                      </c:pt>
                      <c:pt idx="1910">
                        <c:v>0</c:v>
                      </c:pt>
                      <c:pt idx="1911">
                        <c:v>0</c:v>
                      </c:pt>
                      <c:pt idx="1912">
                        <c:v>0</c:v>
                      </c:pt>
                      <c:pt idx="1913">
                        <c:v>0</c:v>
                      </c:pt>
                      <c:pt idx="1914">
                        <c:v>0</c:v>
                      </c:pt>
                      <c:pt idx="1915">
                        <c:v>0</c:v>
                      </c:pt>
                      <c:pt idx="1916">
                        <c:v>0</c:v>
                      </c:pt>
                      <c:pt idx="1917">
                        <c:v>0</c:v>
                      </c:pt>
                      <c:pt idx="1918">
                        <c:v>0</c:v>
                      </c:pt>
                      <c:pt idx="1919">
                        <c:v>0</c:v>
                      </c:pt>
                      <c:pt idx="1920">
                        <c:v>0</c:v>
                      </c:pt>
                      <c:pt idx="1921">
                        <c:v>0</c:v>
                      </c:pt>
                      <c:pt idx="1922">
                        <c:v>0</c:v>
                      </c:pt>
                      <c:pt idx="1923">
                        <c:v>0</c:v>
                      </c:pt>
                      <c:pt idx="1924">
                        <c:v>0</c:v>
                      </c:pt>
                      <c:pt idx="1925">
                        <c:v>0</c:v>
                      </c:pt>
                      <c:pt idx="1926">
                        <c:v>0</c:v>
                      </c:pt>
                      <c:pt idx="1927">
                        <c:v>0</c:v>
                      </c:pt>
                      <c:pt idx="1928">
                        <c:v>0</c:v>
                      </c:pt>
                      <c:pt idx="1929">
                        <c:v>0</c:v>
                      </c:pt>
                      <c:pt idx="1930">
                        <c:v>0</c:v>
                      </c:pt>
                      <c:pt idx="1931">
                        <c:v>0</c:v>
                      </c:pt>
                      <c:pt idx="1932">
                        <c:v>0</c:v>
                      </c:pt>
                      <c:pt idx="1933">
                        <c:v>0</c:v>
                      </c:pt>
                      <c:pt idx="1934">
                        <c:v>0</c:v>
                      </c:pt>
                      <c:pt idx="1935">
                        <c:v>0</c:v>
                      </c:pt>
                      <c:pt idx="1936">
                        <c:v>0</c:v>
                      </c:pt>
                      <c:pt idx="1937">
                        <c:v>0</c:v>
                      </c:pt>
                      <c:pt idx="1938">
                        <c:v>0</c:v>
                      </c:pt>
                      <c:pt idx="1939">
                        <c:v>0</c:v>
                      </c:pt>
                      <c:pt idx="1940">
                        <c:v>0</c:v>
                      </c:pt>
                      <c:pt idx="1941">
                        <c:v>0</c:v>
                      </c:pt>
                      <c:pt idx="1942">
                        <c:v>0</c:v>
                      </c:pt>
                      <c:pt idx="1943">
                        <c:v>0</c:v>
                      </c:pt>
                      <c:pt idx="1944">
                        <c:v>0</c:v>
                      </c:pt>
                      <c:pt idx="1945">
                        <c:v>0</c:v>
                      </c:pt>
                      <c:pt idx="1946">
                        <c:v>0</c:v>
                      </c:pt>
                      <c:pt idx="1947">
                        <c:v>0</c:v>
                      </c:pt>
                      <c:pt idx="1948">
                        <c:v>0</c:v>
                      </c:pt>
                      <c:pt idx="1949">
                        <c:v>0</c:v>
                      </c:pt>
                      <c:pt idx="1950">
                        <c:v>0</c:v>
                      </c:pt>
                      <c:pt idx="1951">
                        <c:v>0</c:v>
                      </c:pt>
                      <c:pt idx="1952">
                        <c:v>0</c:v>
                      </c:pt>
                      <c:pt idx="1953">
                        <c:v>0</c:v>
                      </c:pt>
                      <c:pt idx="1954">
                        <c:v>0</c:v>
                      </c:pt>
                      <c:pt idx="1955">
                        <c:v>0</c:v>
                      </c:pt>
                      <c:pt idx="1956">
                        <c:v>0</c:v>
                      </c:pt>
                      <c:pt idx="1957">
                        <c:v>0</c:v>
                      </c:pt>
                      <c:pt idx="1958">
                        <c:v>0</c:v>
                      </c:pt>
                      <c:pt idx="1959">
                        <c:v>0</c:v>
                      </c:pt>
                      <c:pt idx="1960">
                        <c:v>0</c:v>
                      </c:pt>
                      <c:pt idx="1961">
                        <c:v>0</c:v>
                      </c:pt>
                      <c:pt idx="1962">
                        <c:v>0</c:v>
                      </c:pt>
                      <c:pt idx="1963">
                        <c:v>0</c:v>
                      </c:pt>
                      <c:pt idx="1964">
                        <c:v>0</c:v>
                      </c:pt>
                      <c:pt idx="1965">
                        <c:v>0</c:v>
                      </c:pt>
                      <c:pt idx="1966">
                        <c:v>0</c:v>
                      </c:pt>
                      <c:pt idx="1967">
                        <c:v>0</c:v>
                      </c:pt>
                      <c:pt idx="1968">
                        <c:v>0</c:v>
                      </c:pt>
                      <c:pt idx="1969">
                        <c:v>0</c:v>
                      </c:pt>
                      <c:pt idx="1970">
                        <c:v>0</c:v>
                      </c:pt>
                      <c:pt idx="1971">
                        <c:v>0</c:v>
                      </c:pt>
                      <c:pt idx="1972">
                        <c:v>0</c:v>
                      </c:pt>
                      <c:pt idx="1973">
                        <c:v>0</c:v>
                      </c:pt>
                      <c:pt idx="1974">
                        <c:v>0</c:v>
                      </c:pt>
                      <c:pt idx="1975">
                        <c:v>0</c:v>
                      </c:pt>
                      <c:pt idx="1976">
                        <c:v>0</c:v>
                      </c:pt>
                      <c:pt idx="1977">
                        <c:v>0</c:v>
                      </c:pt>
                      <c:pt idx="1978">
                        <c:v>0</c:v>
                      </c:pt>
                      <c:pt idx="1979">
                        <c:v>0</c:v>
                      </c:pt>
                      <c:pt idx="1980">
                        <c:v>0</c:v>
                      </c:pt>
                      <c:pt idx="1981">
                        <c:v>0</c:v>
                      </c:pt>
                      <c:pt idx="1982">
                        <c:v>0</c:v>
                      </c:pt>
                      <c:pt idx="1983">
                        <c:v>0</c:v>
                      </c:pt>
                      <c:pt idx="1984">
                        <c:v>0</c:v>
                      </c:pt>
                      <c:pt idx="1985">
                        <c:v>0</c:v>
                      </c:pt>
                      <c:pt idx="1986">
                        <c:v>0</c:v>
                      </c:pt>
                      <c:pt idx="1987">
                        <c:v>0</c:v>
                      </c:pt>
                      <c:pt idx="1988">
                        <c:v>0</c:v>
                      </c:pt>
                      <c:pt idx="1989">
                        <c:v>0</c:v>
                      </c:pt>
                      <c:pt idx="1990">
                        <c:v>0</c:v>
                      </c:pt>
                      <c:pt idx="1991">
                        <c:v>0</c:v>
                      </c:pt>
                      <c:pt idx="1992">
                        <c:v>0</c:v>
                      </c:pt>
                      <c:pt idx="1993">
                        <c:v>0</c:v>
                      </c:pt>
                      <c:pt idx="1994">
                        <c:v>0</c:v>
                      </c:pt>
                      <c:pt idx="1995">
                        <c:v>0</c:v>
                      </c:pt>
                      <c:pt idx="1996">
                        <c:v>0</c:v>
                      </c:pt>
                      <c:pt idx="1997">
                        <c:v>0</c:v>
                      </c:pt>
                      <c:pt idx="1998">
                        <c:v>0</c:v>
                      </c:pt>
                      <c:pt idx="1999">
                        <c:v>0</c:v>
                      </c:pt>
                      <c:pt idx="2000">
                        <c:v>0</c:v>
                      </c:pt>
                      <c:pt idx="2001">
                        <c:v>0</c:v>
                      </c:pt>
                      <c:pt idx="2002">
                        <c:v>0</c:v>
                      </c:pt>
                      <c:pt idx="2003">
                        <c:v>0</c:v>
                      </c:pt>
                      <c:pt idx="2004">
                        <c:v>0</c:v>
                      </c:pt>
                      <c:pt idx="2005">
                        <c:v>0</c:v>
                      </c:pt>
                      <c:pt idx="2006">
                        <c:v>0</c:v>
                      </c:pt>
                      <c:pt idx="2007">
                        <c:v>0</c:v>
                      </c:pt>
                      <c:pt idx="2008">
                        <c:v>0</c:v>
                      </c:pt>
                      <c:pt idx="2009">
                        <c:v>0</c:v>
                      </c:pt>
                      <c:pt idx="2010">
                        <c:v>0</c:v>
                      </c:pt>
                      <c:pt idx="2011">
                        <c:v>0</c:v>
                      </c:pt>
                      <c:pt idx="2012">
                        <c:v>0</c:v>
                      </c:pt>
                      <c:pt idx="2013">
                        <c:v>0</c:v>
                      </c:pt>
                      <c:pt idx="2014">
                        <c:v>0</c:v>
                      </c:pt>
                      <c:pt idx="2015">
                        <c:v>0</c:v>
                      </c:pt>
                      <c:pt idx="2016">
                        <c:v>0</c:v>
                      </c:pt>
                      <c:pt idx="2017">
                        <c:v>0</c:v>
                      </c:pt>
                      <c:pt idx="2018">
                        <c:v>0</c:v>
                      </c:pt>
                      <c:pt idx="2019">
                        <c:v>0</c:v>
                      </c:pt>
                      <c:pt idx="2020">
                        <c:v>0</c:v>
                      </c:pt>
                      <c:pt idx="2021">
                        <c:v>0</c:v>
                      </c:pt>
                      <c:pt idx="2022">
                        <c:v>0</c:v>
                      </c:pt>
                      <c:pt idx="2023">
                        <c:v>0</c:v>
                      </c:pt>
                      <c:pt idx="2024">
                        <c:v>0</c:v>
                      </c:pt>
                      <c:pt idx="2025">
                        <c:v>0</c:v>
                      </c:pt>
                      <c:pt idx="2026">
                        <c:v>0</c:v>
                      </c:pt>
                      <c:pt idx="2027">
                        <c:v>0</c:v>
                      </c:pt>
                      <c:pt idx="2028">
                        <c:v>0</c:v>
                      </c:pt>
                      <c:pt idx="2029">
                        <c:v>0</c:v>
                      </c:pt>
                      <c:pt idx="2030">
                        <c:v>0</c:v>
                      </c:pt>
                      <c:pt idx="2031">
                        <c:v>0</c:v>
                      </c:pt>
                      <c:pt idx="2032">
                        <c:v>0</c:v>
                      </c:pt>
                      <c:pt idx="2033">
                        <c:v>0</c:v>
                      </c:pt>
                      <c:pt idx="2034">
                        <c:v>0</c:v>
                      </c:pt>
                      <c:pt idx="2035">
                        <c:v>0</c:v>
                      </c:pt>
                      <c:pt idx="2036">
                        <c:v>0</c:v>
                      </c:pt>
                      <c:pt idx="2037">
                        <c:v>0</c:v>
                      </c:pt>
                      <c:pt idx="2038">
                        <c:v>0</c:v>
                      </c:pt>
                      <c:pt idx="2039">
                        <c:v>0</c:v>
                      </c:pt>
                      <c:pt idx="2040">
                        <c:v>0</c:v>
                      </c:pt>
                      <c:pt idx="2041">
                        <c:v>0</c:v>
                      </c:pt>
                      <c:pt idx="2042">
                        <c:v>0</c:v>
                      </c:pt>
                      <c:pt idx="2043">
                        <c:v>0</c:v>
                      </c:pt>
                      <c:pt idx="2044">
                        <c:v>0</c:v>
                      </c:pt>
                      <c:pt idx="2045">
                        <c:v>0</c:v>
                      </c:pt>
                      <c:pt idx="2046">
                        <c:v>0</c:v>
                      </c:pt>
                      <c:pt idx="2047">
                        <c:v>0</c:v>
                      </c:pt>
                      <c:pt idx="2048">
                        <c:v>0</c:v>
                      </c:pt>
                      <c:pt idx="2049">
                        <c:v>0</c:v>
                      </c:pt>
                      <c:pt idx="2050">
                        <c:v>0</c:v>
                      </c:pt>
                      <c:pt idx="2051">
                        <c:v>0</c:v>
                      </c:pt>
                      <c:pt idx="2052">
                        <c:v>0</c:v>
                      </c:pt>
                      <c:pt idx="2053">
                        <c:v>0</c:v>
                      </c:pt>
                      <c:pt idx="2054">
                        <c:v>0</c:v>
                      </c:pt>
                      <c:pt idx="2055">
                        <c:v>0</c:v>
                      </c:pt>
                      <c:pt idx="2056">
                        <c:v>0</c:v>
                      </c:pt>
                      <c:pt idx="2057">
                        <c:v>0</c:v>
                      </c:pt>
                      <c:pt idx="2058">
                        <c:v>0</c:v>
                      </c:pt>
                      <c:pt idx="2059">
                        <c:v>0</c:v>
                      </c:pt>
                      <c:pt idx="2060">
                        <c:v>0</c:v>
                      </c:pt>
                      <c:pt idx="2061">
                        <c:v>0</c:v>
                      </c:pt>
                      <c:pt idx="2062">
                        <c:v>0</c:v>
                      </c:pt>
                      <c:pt idx="2063">
                        <c:v>0</c:v>
                      </c:pt>
                      <c:pt idx="2064">
                        <c:v>0</c:v>
                      </c:pt>
                      <c:pt idx="2065">
                        <c:v>0</c:v>
                      </c:pt>
                      <c:pt idx="2066">
                        <c:v>0</c:v>
                      </c:pt>
                      <c:pt idx="2067">
                        <c:v>0</c:v>
                      </c:pt>
                      <c:pt idx="2068">
                        <c:v>0</c:v>
                      </c:pt>
                      <c:pt idx="2069">
                        <c:v>0</c:v>
                      </c:pt>
                      <c:pt idx="2070">
                        <c:v>0</c:v>
                      </c:pt>
                      <c:pt idx="2071">
                        <c:v>0</c:v>
                      </c:pt>
                      <c:pt idx="2072">
                        <c:v>0</c:v>
                      </c:pt>
                      <c:pt idx="2073">
                        <c:v>0</c:v>
                      </c:pt>
                      <c:pt idx="2074">
                        <c:v>0</c:v>
                      </c:pt>
                      <c:pt idx="2075">
                        <c:v>0</c:v>
                      </c:pt>
                      <c:pt idx="2076">
                        <c:v>0</c:v>
                      </c:pt>
                      <c:pt idx="2077">
                        <c:v>0</c:v>
                      </c:pt>
                      <c:pt idx="2078">
                        <c:v>0</c:v>
                      </c:pt>
                      <c:pt idx="2079">
                        <c:v>0</c:v>
                      </c:pt>
                      <c:pt idx="2080">
                        <c:v>0</c:v>
                      </c:pt>
                      <c:pt idx="2081">
                        <c:v>0</c:v>
                      </c:pt>
                      <c:pt idx="2082">
                        <c:v>0</c:v>
                      </c:pt>
                      <c:pt idx="2083">
                        <c:v>0</c:v>
                      </c:pt>
                      <c:pt idx="2084">
                        <c:v>0</c:v>
                      </c:pt>
                      <c:pt idx="2085">
                        <c:v>0</c:v>
                      </c:pt>
                      <c:pt idx="2086">
                        <c:v>0</c:v>
                      </c:pt>
                      <c:pt idx="2087">
                        <c:v>0</c:v>
                      </c:pt>
                      <c:pt idx="2088">
                        <c:v>0</c:v>
                      </c:pt>
                      <c:pt idx="2089">
                        <c:v>0</c:v>
                      </c:pt>
                      <c:pt idx="2090">
                        <c:v>0</c:v>
                      </c:pt>
                      <c:pt idx="2091">
                        <c:v>0</c:v>
                      </c:pt>
                      <c:pt idx="2092">
                        <c:v>0</c:v>
                      </c:pt>
                      <c:pt idx="2093">
                        <c:v>0</c:v>
                      </c:pt>
                      <c:pt idx="2094">
                        <c:v>0</c:v>
                      </c:pt>
                      <c:pt idx="2095">
                        <c:v>0</c:v>
                      </c:pt>
                      <c:pt idx="2096">
                        <c:v>0</c:v>
                      </c:pt>
                      <c:pt idx="2097">
                        <c:v>0</c:v>
                      </c:pt>
                      <c:pt idx="2098">
                        <c:v>0</c:v>
                      </c:pt>
                      <c:pt idx="2099">
                        <c:v>0</c:v>
                      </c:pt>
                      <c:pt idx="2100">
                        <c:v>0</c:v>
                      </c:pt>
                      <c:pt idx="2101">
                        <c:v>0</c:v>
                      </c:pt>
                      <c:pt idx="2102">
                        <c:v>0</c:v>
                      </c:pt>
                      <c:pt idx="2103">
                        <c:v>0</c:v>
                      </c:pt>
                      <c:pt idx="2104">
                        <c:v>0</c:v>
                      </c:pt>
                      <c:pt idx="2105">
                        <c:v>0</c:v>
                      </c:pt>
                      <c:pt idx="2106">
                        <c:v>0</c:v>
                      </c:pt>
                      <c:pt idx="2107">
                        <c:v>0</c:v>
                      </c:pt>
                      <c:pt idx="2108">
                        <c:v>0</c:v>
                      </c:pt>
                      <c:pt idx="2109">
                        <c:v>0</c:v>
                      </c:pt>
                      <c:pt idx="2110">
                        <c:v>0</c:v>
                      </c:pt>
                      <c:pt idx="2111">
                        <c:v>0</c:v>
                      </c:pt>
                      <c:pt idx="2112">
                        <c:v>0</c:v>
                      </c:pt>
                      <c:pt idx="2113">
                        <c:v>0</c:v>
                      </c:pt>
                      <c:pt idx="2114">
                        <c:v>0</c:v>
                      </c:pt>
                      <c:pt idx="2115">
                        <c:v>0</c:v>
                      </c:pt>
                      <c:pt idx="2116">
                        <c:v>0</c:v>
                      </c:pt>
                      <c:pt idx="2117">
                        <c:v>0</c:v>
                      </c:pt>
                      <c:pt idx="2118">
                        <c:v>0</c:v>
                      </c:pt>
                      <c:pt idx="2119">
                        <c:v>0</c:v>
                      </c:pt>
                      <c:pt idx="2120">
                        <c:v>0</c:v>
                      </c:pt>
                      <c:pt idx="2121">
                        <c:v>0</c:v>
                      </c:pt>
                      <c:pt idx="2122">
                        <c:v>0</c:v>
                      </c:pt>
                      <c:pt idx="2123">
                        <c:v>0</c:v>
                      </c:pt>
                      <c:pt idx="2124">
                        <c:v>0</c:v>
                      </c:pt>
                      <c:pt idx="2125">
                        <c:v>0</c:v>
                      </c:pt>
                      <c:pt idx="2126">
                        <c:v>0</c:v>
                      </c:pt>
                      <c:pt idx="2127">
                        <c:v>0</c:v>
                      </c:pt>
                      <c:pt idx="2128">
                        <c:v>0</c:v>
                      </c:pt>
                      <c:pt idx="2129">
                        <c:v>0</c:v>
                      </c:pt>
                      <c:pt idx="2130">
                        <c:v>0</c:v>
                      </c:pt>
                      <c:pt idx="2131">
                        <c:v>0</c:v>
                      </c:pt>
                      <c:pt idx="2132">
                        <c:v>0</c:v>
                      </c:pt>
                      <c:pt idx="2133">
                        <c:v>0</c:v>
                      </c:pt>
                      <c:pt idx="2134">
                        <c:v>0</c:v>
                      </c:pt>
                      <c:pt idx="2135">
                        <c:v>0</c:v>
                      </c:pt>
                      <c:pt idx="2136">
                        <c:v>0</c:v>
                      </c:pt>
                      <c:pt idx="2137">
                        <c:v>0</c:v>
                      </c:pt>
                      <c:pt idx="2138">
                        <c:v>0</c:v>
                      </c:pt>
                      <c:pt idx="2139">
                        <c:v>0</c:v>
                      </c:pt>
                      <c:pt idx="2140">
                        <c:v>0</c:v>
                      </c:pt>
                      <c:pt idx="2141">
                        <c:v>0</c:v>
                      </c:pt>
                      <c:pt idx="2142">
                        <c:v>0</c:v>
                      </c:pt>
                      <c:pt idx="2143">
                        <c:v>0</c:v>
                      </c:pt>
                      <c:pt idx="2144">
                        <c:v>0</c:v>
                      </c:pt>
                      <c:pt idx="2145">
                        <c:v>0</c:v>
                      </c:pt>
                      <c:pt idx="2146">
                        <c:v>0</c:v>
                      </c:pt>
                      <c:pt idx="2147">
                        <c:v>0</c:v>
                      </c:pt>
                      <c:pt idx="2148">
                        <c:v>0</c:v>
                      </c:pt>
                      <c:pt idx="2149">
                        <c:v>0</c:v>
                      </c:pt>
                      <c:pt idx="2150">
                        <c:v>0</c:v>
                      </c:pt>
                      <c:pt idx="2151">
                        <c:v>0</c:v>
                      </c:pt>
                      <c:pt idx="2152">
                        <c:v>0</c:v>
                      </c:pt>
                      <c:pt idx="2153">
                        <c:v>0</c:v>
                      </c:pt>
                      <c:pt idx="2154">
                        <c:v>0</c:v>
                      </c:pt>
                      <c:pt idx="2155">
                        <c:v>0</c:v>
                      </c:pt>
                      <c:pt idx="2156">
                        <c:v>0</c:v>
                      </c:pt>
                      <c:pt idx="2157">
                        <c:v>0</c:v>
                      </c:pt>
                      <c:pt idx="2158">
                        <c:v>0</c:v>
                      </c:pt>
                      <c:pt idx="2159">
                        <c:v>0</c:v>
                      </c:pt>
                      <c:pt idx="2160">
                        <c:v>0</c:v>
                      </c:pt>
                      <c:pt idx="2161">
                        <c:v>0</c:v>
                      </c:pt>
                      <c:pt idx="2162">
                        <c:v>0</c:v>
                      </c:pt>
                      <c:pt idx="2163">
                        <c:v>0</c:v>
                      </c:pt>
                      <c:pt idx="2164">
                        <c:v>0</c:v>
                      </c:pt>
                      <c:pt idx="2165">
                        <c:v>0</c:v>
                      </c:pt>
                      <c:pt idx="2166">
                        <c:v>0</c:v>
                      </c:pt>
                      <c:pt idx="2167">
                        <c:v>0</c:v>
                      </c:pt>
                      <c:pt idx="2168">
                        <c:v>0</c:v>
                      </c:pt>
                      <c:pt idx="2169">
                        <c:v>0</c:v>
                      </c:pt>
                      <c:pt idx="2170">
                        <c:v>0</c:v>
                      </c:pt>
                      <c:pt idx="2171">
                        <c:v>0</c:v>
                      </c:pt>
                      <c:pt idx="2172">
                        <c:v>0</c:v>
                      </c:pt>
                      <c:pt idx="2173">
                        <c:v>0</c:v>
                      </c:pt>
                      <c:pt idx="2174">
                        <c:v>0</c:v>
                      </c:pt>
                      <c:pt idx="2175">
                        <c:v>0</c:v>
                      </c:pt>
                      <c:pt idx="2176">
                        <c:v>0</c:v>
                      </c:pt>
                      <c:pt idx="2177">
                        <c:v>0</c:v>
                      </c:pt>
                      <c:pt idx="2178">
                        <c:v>0</c:v>
                      </c:pt>
                      <c:pt idx="2179">
                        <c:v>0</c:v>
                      </c:pt>
                      <c:pt idx="2180">
                        <c:v>0</c:v>
                      </c:pt>
                      <c:pt idx="2181">
                        <c:v>0</c:v>
                      </c:pt>
                      <c:pt idx="2182">
                        <c:v>0</c:v>
                      </c:pt>
                      <c:pt idx="2183">
                        <c:v>0</c:v>
                      </c:pt>
                      <c:pt idx="2184">
                        <c:v>0</c:v>
                      </c:pt>
                      <c:pt idx="2185">
                        <c:v>0</c:v>
                      </c:pt>
                      <c:pt idx="2186">
                        <c:v>0</c:v>
                      </c:pt>
                      <c:pt idx="2187">
                        <c:v>0</c:v>
                      </c:pt>
                      <c:pt idx="2188">
                        <c:v>0</c:v>
                      </c:pt>
                      <c:pt idx="2189">
                        <c:v>0</c:v>
                      </c:pt>
                      <c:pt idx="2190">
                        <c:v>0</c:v>
                      </c:pt>
                      <c:pt idx="2191">
                        <c:v>0</c:v>
                      </c:pt>
                      <c:pt idx="2192">
                        <c:v>0</c:v>
                      </c:pt>
                      <c:pt idx="2193">
                        <c:v>0</c:v>
                      </c:pt>
                      <c:pt idx="2194">
                        <c:v>0</c:v>
                      </c:pt>
                      <c:pt idx="2195">
                        <c:v>0</c:v>
                      </c:pt>
                      <c:pt idx="2196">
                        <c:v>0</c:v>
                      </c:pt>
                      <c:pt idx="2197">
                        <c:v>0</c:v>
                      </c:pt>
                      <c:pt idx="2198">
                        <c:v>0</c:v>
                      </c:pt>
                      <c:pt idx="2199">
                        <c:v>0</c:v>
                      </c:pt>
                      <c:pt idx="2200">
                        <c:v>0</c:v>
                      </c:pt>
                      <c:pt idx="2201">
                        <c:v>0</c:v>
                      </c:pt>
                      <c:pt idx="2202">
                        <c:v>0</c:v>
                      </c:pt>
                      <c:pt idx="2203">
                        <c:v>0</c:v>
                      </c:pt>
                      <c:pt idx="2204">
                        <c:v>0</c:v>
                      </c:pt>
                      <c:pt idx="2205">
                        <c:v>0</c:v>
                      </c:pt>
                      <c:pt idx="2206">
                        <c:v>0</c:v>
                      </c:pt>
                      <c:pt idx="2207">
                        <c:v>0</c:v>
                      </c:pt>
                      <c:pt idx="2208">
                        <c:v>0</c:v>
                      </c:pt>
                      <c:pt idx="2209">
                        <c:v>0</c:v>
                      </c:pt>
                      <c:pt idx="2210">
                        <c:v>0</c:v>
                      </c:pt>
                      <c:pt idx="2211">
                        <c:v>0</c:v>
                      </c:pt>
                      <c:pt idx="2212">
                        <c:v>0</c:v>
                      </c:pt>
                      <c:pt idx="2213">
                        <c:v>0</c:v>
                      </c:pt>
                      <c:pt idx="2214">
                        <c:v>0</c:v>
                      </c:pt>
                      <c:pt idx="2215">
                        <c:v>0</c:v>
                      </c:pt>
                      <c:pt idx="2216">
                        <c:v>0</c:v>
                      </c:pt>
                      <c:pt idx="2217">
                        <c:v>0</c:v>
                      </c:pt>
                      <c:pt idx="2218">
                        <c:v>0</c:v>
                      </c:pt>
                      <c:pt idx="2219">
                        <c:v>0</c:v>
                      </c:pt>
                      <c:pt idx="2220">
                        <c:v>0</c:v>
                      </c:pt>
                      <c:pt idx="2221">
                        <c:v>0</c:v>
                      </c:pt>
                      <c:pt idx="2222">
                        <c:v>0</c:v>
                      </c:pt>
                      <c:pt idx="2223">
                        <c:v>0</c:v>
                      </c:pt>
                      <c:pt idx="2224">
                        <c:v>0</c:v>
                      </c:pt>
                      <c:pt idx="2225">
                        <c:v>0</c:v>
                      </c:pt>
                      <c:pt idx="2226">
                        <c:v>0</c:v>
                      </c:pt>
                      <c:pt idx="2227">
                        <c:v>0</c:v>
                      </c:pt>
                      <c:pt idx="2228">
                        <c:v>0</c:v>
                      </c:pt>
                      <c:pt idx="2229">
                        <c:v>0</c:v>
                      </c:pt>
                      <c:pt idx="2230">
                        <c:v>0</c:v>
                      </c:pt>
                      <c:pt idx="2231">
                        <c:v>0</c:v>
                      </c:pt>
                      <c:pt idx="2232">
                        <c:v>0</c:v>
                      </c:pt>
                      <c:pt idx="2233">
                        <c:v>0</c:v>
                      </c:pt>
                      <c:pt idx="2234">
                        <c:v>0</c:v>
                      </c:pt>
                      <c:pt idx="2235">
                        <c:v>0</c:v>
                      </c:pt>
                      <c:pt idx="2236">
                        <c:v>0</c:v>
                      </c:pt>
                      <c:pt idx="2237">
                        <c:v>0</c:v>
                      </c:pt>
                      <c:pt idx="2238">
                        <c:v>0</c:v>
                      </c:pt>
                      <c:pt idx="2239">
                        <c:v>0</c:v>
                      </c:pt>
                      <c:pt idx="2240">
                        <c:v>0</c:v>
                      </c:pt>
                      <c:pt idx="2241">
                        <c:v>0</c:v>
                      </c:pt>
                      <c:pt idx="2242">
                        <c:v>0</c:v>
                      </c:pt>
                      <c:pt idx="2243">
                        <c:v>0</c:v>
                      </c:pt>
                      <c:pt idx="2244">
                        <c:v>0</c:v>
                      </c:pt>
                      <c:pt idx="2245">
                        <c:v>0</c:v>
                      </c:pt>
                      <c:pt idx="2246">
                        <c:v>0</c:v>
                      </c:pt>
                      <c:pt idx="2247">
                        <c:v>0</c:v>
                      </c:pt>
                      <c:pt idx="2248">
                        <c:v>0</c:v>
                      </c:pt>
                      <c:pt idx="2249">
                        <c:v>0</c:v>
                      </c:pt>
                      <c:pt idx="2250">
                        <c:v>0</c:v>
                      </c:pt>
                      <c:pt idx="2251">
                        <c:v>0</c:v>
                      </c:pt>
                      <c:pt idx="2252">
                        <c:v>0</c:v>
                      </c:pt>
                      <c:pt idx="2253">
                        <c:v>0</c:v>
                      </c:pt>
                      <c:pt idx="2254">
                        <c:v>0</c:v>
                      </c:pt>
                      <c:pt idx="2255">
                        <c:v>0</c:v>
                      </c:pt>
                      <c:pt idx="2256">
                        <c:v>0</c:v>
                      </c:pt>
                      <c:pt idx="2257">
                        <c:v>0</c:v>
                      </c:pt>
                      <c:pt idx="2258">
                        <c:v>0</c:v>
                      </c:pt>
                      <c:pt idx="2259">
                        <c:v>0</c:v>
                      </c:pt>
                      <c:pt idx="2260">
                        <c:v>0</c:v>
                      </c:pt>
                      <c:pt idx="2261">
                        <c:v>0</c:v>
                      </c:pt>
                      <c:pt idx="2262">
                        <c:v>0</c:v>
                      </c:pt>
                      <c:pt idx="2263">
                        <c:v>0</c:v>
                      </c:pt>
                      <c:pt idx="2264">
                        <c:v>0</c:v>
                      </c:pt>
                      <c:pt idx="2265">
                        <c:v>0</c:v>
                      </c:pt>
                      <c:pt idx="2266">
                        <c:v>0</c:v>
                      </c:pt>
                      <c:pt idx="2267">
                        <c:v>0</c:v>
                      </c:pt>
                      <c:pt idx="2268">
                        <c:v>0</c:v>
                      </c:pt>
                      <c:pt idx="2269">
                        <c:v>0</c:v>
                      </c:pt>
                      <c:pt idx="2270">
                        <c:v>0</c:v>
                      </c:pt>
                      <c:pt idx="2271">
                        <c:v>0</c:v>
                      </c:pt>
                      <c:pt idx="2272">
                        <c:v>0</c:v>
                      </c:pt>
                      <c:pt idx="2273">
                        <c:v>0</c:v>
                      </c:pt>
                      <c:pt idx="2274">
                        <c:v>0</c:v>
                      </c:pt>
                      <c:pt idx="2275">
                        <c:v>0</c:v>
                      </c:pt>
                      <c:pt idx="2276">
                        <c:v>0</c:v>
                      </c:pt>
                      <c:pt idx="2277">
                        <c:v>0</c:v>
                      </c:pt>
                      <c:pt idx="2278">
                        <c:v>0</c:v>
                      </c:pt>
                      <c:pt idx="2279">
                        <c:v>0</c:v>
                      </c:pt>
                      <c:pt idx="2280">
                        <c:v>0</c:v>
                      </c:pt>
                      <c:pt idx="2281">
                        <c:v>0</c:v>
                      </c:pt>
                      <c:pt idx="2282">
                        <c:v>0</c:v>
                      </c:pt>
                      <c:pt idx="2283">
                        <c:v>0</c:v>
                      </c:pt>
                      <c:pt idx="2284">
                        <c:v>0</c:v>
                      </c:pt>
                      <c:pt idx="2285">
                        <c:v>0</c:v>
                      </c:pt>
                      <c:pt idx="2286">
                        <c:v>0</c:v>
                      </c:pt>
                      <c:pt idx="2287">
                        <c:v>0</c:v>
                      </c:pt>
                      <c:pt idx="2288">
                        <c:v>0</c:v>
                      </c:pt>
                      <c:pt idx="2289">
                        <c:v>0</c:v>
                      </c:pt>
                      <c:pt idx="2290">
                        <c:v>0</c:v>
                      </c:pt>
                      <c:pt idx="2291">
                        <c:v>0</c:v>
                      </c:pt>
                      <c:pt idx="2292">
                        <c:v>0</c:v>
                      </c:pt>
                      <c:pt idx="2293">
                        <c:v>0</c:v>
                      </c:pt>
                      <c:pt idx="2294">
                        <c:v>0</c:v>
                      </c:pt>
                      <c:pt idx="2295">
                        <c:v>0</c:v>
                      </c:pt>
                      <c:pt idx="2296">
                        <c:v>0</c:v>
                      </c:pt>
                      <c:pt idx="2297">
                        <c:v>0</c:v>
                      </c:pt>
                      <c:pt idx="2298">
                        <c:v>0</c:v>
                      </c:pt>
                      <c:pt idx="2299">
                        <c:v>0</c:v>
                      </c:pt>
                      <c:pt idx="2300">
                        <c:v>0</c:v>
                      </c:pt>
                      <c:pt idx="2301">
                        <c:v>0</c:v>
                      </c:pt>
                      <c:pt idx="2302">
                        <c:v>0</c:v>
                      </c:pt>
                      <c:pt idx="2303">
                        <c:v>0</c:v>
                      </c:pt>
                      <c:pt idx="2304">
                        <c:v>0</c:v>
                      </c:pt>
                      <c:pt idx="2305">
                        <c:v>0</c:v>
                      </c:pt>
                      <c:pt idx="2306">
                        <c:v>0</c:v>
                      </c:pt>
                      <c:pt idx="2307">
                        <c:v>0</c:v>
                      </c:pt>
                      <c:pt idx="2308">
                        <c:v>0</c:v>
                      </c:pt>
                      <c:pt idx="2309">
                        <c:v>0</c:v>
                      </c:pt>
                      <c:pt idx="2310">
                        <c:v>0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0</c:v>
                      </c:pt>
                      <c:pt idx="2336">
                        <c:v>0</c:v>
                      </c:pt>
                      <c:pt idx="2337">
                        <c:v>0</c:v>
                      </c:pt>
                      <c:pt idx="2338">
                        <c:v>0</c:v>
                      </c:pt>
                      <c:pt idx="2339">
                        <c:v>0</c:v>
                      </c:pt>
                      <c:pt idx="2340">
                        <c:v>0</c:v>
                      </c:pt>
                      <c:pt idx="2341">
                        <c:v>0</c:v>
                      </c:pt>
                      <c:pt idx="2342">
                        <c:v>0</c:v>
                      </c:pt>
                      <c:pt idx="2343">
                        <c:v>0</c:v>
                      </c:pt>
                      <c:pt idx="2344">
                        <c:v>0</c:v>
                      </c:pt>
                      <c:pt idx="2345">
                        <c:v>0</c:v>
                      </c:pt>
                      <c:pt idx="2346">
                        <c:v>0</c:v>
                      </c:pt>
                      <c:pt idx="2347">
                        <c:v>0</c:v>
                      </c:pt>
                      <c:pt idx="2348">
                        <c:v>0</c:v>
                      </c:pt>
                      <c:pt idx="2349">
                        <c:v>0</c:v>
                      </c:pt>
                      <c:pt idx="2350">
                        <c:v>0</c:v>
                      </c:pt>
                      <c:pt idx="2351">
                        <c:v>0</c:v>
                      </c:pt>
                      <c:pt idx="2352">
                        <c:v>0</c:v>
                      </c:pt>
                      <c:pt idx="2353">
                        <c:v>0</c:v>
                      </c:pt>
                      <c:pt idx="2354">
                        <c:v>0</c:v>
                      </c:pt>
                      <c:pt idx="2355">
                        <c:v>0</c:v>
                      </c:pt>
                      <c:pt idx="2356">
                        <c:v>0</c:v>
                      </c:pt>
                      <c:pt idx="2357">
                        <c:v>0</c:v>
                      </c:pt>
                      <c:pt idx="2358">
                        <c:v>0</c:v>
                      </c:pt>
                      <c:pt idx="2359">
                        <c:v>0</c:v>
                      </c:pt>
                      <c:pt idx="2360">
                        <c:v>0</c:v>
                      </c:pt>
                      <c:pt idx="2361">
                        <c:v>0</c:v>
                      </c:pt>
                      <c:pt idx="2362">
                        <c:v>0</c:v>
                      </c:pt>
                      <c:pt idx="2363">
                        <c:v>0</c:v>
                      </c:pt>
                      <c:pt idx="2364">
                        <c:v>0</c:v>
                      </c:pt>
                      <c:pt idx="2365">
                        <c:v>0</c:v>
                      </c:pt>
                      <c:pt idx="2366">
                        <c:v>0</c:v>
                      </c:pt>
                      <c:pt idx="2367">
                        <c:v>0</c:v>
                      </c:pt>
                      <c:pt idx="2368">
                        <c:v>0</c:v>
                      </c:pt>
                      <c:pt idx="2369">
                        <c:v>0</c:v>
                      </c:pt>
                      <c:pt idx="2370">
                        <c:v>0</c:v>
                      </c:pt>
                      <c:pt idx="2371">
                        <c:v>0</c:v>
                      </c:pt>
                      <c:pt idx="2372">
                        <c:v>0</c:v>
                      </c:pt>
                      <c:pt idx="2373">
                        <c:v>0</c:v>
                      </c:pt>
                      <c:pt idx="2374">
                        <c:v>0</c:v>
                      </c:pt>
                      <c:pt idx="2375">
                        <c:v>0</c:v>
                      </c:pt>
                      <c:pt idx="2376">
                        <c:v>0</c:v>
                      </c:pt>
                      <c:pt idx="2377">
                        <c:v>0</c:v>
                      </c:pt>
                      <c:pt idx="2378">
                        <c:v>0</c:v>
                      </c:pt>
                      <c:pt idx="2379">
                        <c:v>0</c:v>
                      </c:pt>
                      <c:pt idx="2380">
                        <c:v>0</c:v>
                      </c:pt>
                      <c:pt idx="2381">
                        <c:v>0</c:v>
                      </c:pt>
                      <c:pt idx="2382">
                        <c:v>0</c:v>
                      </c:pt>
                      <c:pt idx="2383">
                        <c:v>0</c:v>
                      </c:pt>
                      <c:pt idx="2384">
                        <c:v>0</c:v>
                      </c:pt>
                      <c:pt idx="2385">
                        <c:v>0</c:v>
                      </c:pt>
                      <c:pt idx="2386">
                        <c:v>0</c:v>
                      </c:pt>
                      <c:pt idx="2387">
                        <c:v>0</c:v>
                      </c:pt>
                      <c:pt idx="2388">
                        <c:v>0</c:v>
                      </c:pt>
                      <c:pt idx="2389">
                        <c:v>0</c:v>
                      </c:pt>
                      <c:pt idx="2390">
                        <c:v>0</c:v>
                      </c:pt>
                      <c:pt idx="2391">
                        <c:v>0</c:v>
                      </c:pt>
                      <c:pt idx="2392">
                        <c:v>0</c:v>
                      </c:pt>
                      <c:pt idx="2393">
                        <c:v>0</c:v>
                      </c:pt>
                      <c:pt idx="2394">
                        <c:v>0</c:v>
                      </c:pt>
                      <c:pt idx="2395">
                        <c:v>0</c:v>
                      </c:pt>
                      <c:pt idx="2396">
                        <c:v>0</c:v>
                      </c:pt>
                      <c:pt idx="2397">
                        <c:v>0</c:v>
                      </c:pt>
                      <c:pt idx="2398">
                        <c:v>0</c:v>
                      </c:pt>
                      <c:pt idx="2399">
                        <c:v>0</c:v>
                      </c:pt>
                      <c:pt idx="2400">
                        <c:v>0</c:v>
                      </c:pt>
                      <c:pt idx="2401">
                        <c:v>0</c:v>
                      </c:pt>
                      <c:pt idx="2402">
                        <c:v>0</c:v>
                      </c:pt>
                      <c:pt idx="2403">
                        <c:v>0</c:v>
                      </c:pt>
                      <c:pt idx="2404">
                        <c:v>0</c:v>
                      </c:pt>
                      <c:pt idx="2405">
                        <c:v>0</c:v>
                      </c:pt>
                      <c:pt idx="2406">
                        <c:v>0</c:v>
                      </c:pt>
                      <c:pt idx="2407">
                        <c:v>0</c:v>
                      </c:pt>
                      <c:pt idx="2408">
                        <c:v>0</c:v>
                      </c:pt>
                      <c:pt idx="2409">
                        <c:v>0</c:v>
                      </c:pt>
                      <c:pt idx="2410">
                        <c:v>0</c:v>
                      </c:pt>
                      <c:pt idx="2411">
                        <c:v>0</c:v>
                      </c:pt>
                      <c:pt idx="2412">
                        <c:v>0</c:v>
                      </c:pt>
                      <c:pt idx="2413">
                        <c:v>0</c:v>
                      </c:pt>
                      <c:pt idx="2414">
                        <c:v>0</c:v>
                      </c:pt>
                      <c:pt idx="2415">
                        <c:v>0</c:v>
                      </c:pt>
                      <c:pt idx="2416">
                        <c:v>0</c:v>
                      </c:pt>
                      <c:pt idx="2417">
                        <c:v>0</c:v>
                      </c:pt>
                      <c:pt idx="2418">
                        <c:v>0</c:v>
                      </c:pt>
                      <c:pt idx="2419">
                        <c:v>0</c:v>
                      </c:pt>
                      <c:pt idx="2420">
                        <c:v>0</c:v>
                      </c:pt>
                      <c:pt idx="2421">
                        <c:v>0</c:v>
                      </c:pt>
                      <c:pt idx="2422">
                        <c:v>0</c:v>
                      </c:pt>
                      <c:pt idx="2423">
                        <c:v>0</c:v>
                      </c:pt>
                      <c:pt idx="2424">
                        <c:v>0</c:v>
                      </c:pt>
                      <c:pt idx="2425">
                        <c:v>0</c:v>
                      </c:pt>
                      <c:pt idx="2426">
                        <c:v>0</c:v>
                      </c:pt>
                      <c:pt idx="2427">
                        <c:v>0</c:v>
                      </c:pt>
                      <c:pt idx="2428">
                        <c:v>0</c:v>
                      </c:pt>
                      <c:pt idx="2429">
                        <c:v>0</c:v>
                      </c:pt>
                      <c:pt idx="2430">
                        <c:v>0</c:v>
                      </c:pt>
                      <c:pt idx="2431">
                        <c:v>0</c:v>
                      </c:pt>
                      <c:pt idx="2432">
                        <c:v>0</c:v>
                      </c:pt>
                      <c:pt idx="2433">
                        <c:v>0</c:v>
                      </c:pt>
                      <c:pt idx="2434">
                        <c:v>0</c:v>
                      </c:pt>
                      <c:pt idx="2435">
                        <c:v>0</c:v>
                      </c:pt>
                      <c:pt idx="2436">
                        <c:v>0</c:v>
                      </c:pt>
                      <c:pt idx="2437">
                        <c:v>0</c:v>
                      </c:pt>
                      <c:pt idx="2438">
                        <c:v>0</c:v>
                      </c:pt>
                      <c:pt idx="2439">
                        <c:v>0</c:v>
                      </c:pt>
                      <c:pt idx="2440">
                        <c:v>0</c:v>
                      </c:pt>
                      <c:pt idx="2441">
                        <c:v>0</c:v>
                      </c:pt>
                      <c:pt idx="2442">
                        <c:v>0</c:v>
                      </c:pt>
                      <c:pt idx="2443">
                        <c:v>0</c:v>
                      </c:pt>
                      <c:pt idx="2444">
                        <c:v>0</c:v>
                      </c:pt>
                      <c:pt idx="2445">
                        <c:v>0</c:v>
                      </c:pt>
                      <c:pt idx="2446">
                        <c:v>0</c:v>
                      </c:pt>
                      <c:pt idx="2447">
                        <c:v>0</c:v>
                      </c:pt>
                      <c:pt idx="2448">
                        <c:v>0</c:v>
                      </c:pt>
                      <c:pt idx="2449">
                        <c:v>0</c:v>
                      </c:pt>
                      <c:pt idx="2450">
                        <c:v>0</c:v>
                      </c:pt>
                      <c:pt idx="2451">
                        <c:v>0</c:v>
                      </c:pt>
                      <c:pt idx="2452">
                        <c:v>0</c:v>
                      </c:pt>
                      <c:pt idx="2453">
                        <c:v>0</c:v>
                      </c:pt>
                      <c:pt idx="2454">
                        <c:v>0</c:v>
                      </c:pt>
                      <c:pt idx="2455">
                        <c:v>0</c:v>
                      </c:pt>
                      <c:pt idx="2456">
                        <c:v>0</c:v>
                      </c:pt>
                      <c:pt idx="2457">
                        <c:v>0</c:v>
                      </c:pt>
                      <c:pt idx="2458">
                        <c:v>0</c:v>
                      </c:pt>
                      <c:pt idx="2459">
                        <c:v>0</c:v>
                      </c:pt>
                      <c:pt idx="2460">
                        <c:v>0</c:v>
                      </c:pt>
                      <c:pt idx="2461">
                        <c:v>0</c:v>
                      </c:pt>
                      <c:pt idx="2462">
                        <c:v>0</c:v>
                      </c:pt>
                      <c:pt idx="2463">
                        <c:v>0</c:v>
                      </c:pt>
                      <c:pt idx="2464">
                        <c:v>0</c:v>
                      </c:pt>
                      <c:pt idx="2465">
                        <c:v>0</c:v>
                      </c:pt>
                      <c:pt idx="2466">
                        <c:v>0</c:v>
                      </c:pt>
                      <c:pt idx="2467">
                        <c:v>0</c:v>
                      </c:pt>
                      <c:pt idx="2468">
                        <c:v>0</c:v>
                      </c:pt>
                      <c:pt idx="2469">
                        <c:v>0</c:v>
                      </c:pt>
                      <c:pt idx="2470">
                        <c:v>0</c:v>
                      </c:pt>
                      <c:pt idx="2471">
                        <c:v>0</c:v>
                      </c:pt>
                      <c:pt idx="2472">
                        <c:v>0</c:v>
                      </c:pt>
                      <c:pt idx="2473">
                        <c:v>0</c:v>
                      </c:pt>
                      <c:pt idx="2474">
                        <c:v>0</c:v>
                      </c:pt>
                      <c:pt idx="2475">
                        <c:v>0</c:v>
                      </c:pt>
                      <c:pt idx="2476">
                        <c:v>0</c:v>
                      </c:pt>
                      <c:pt idx="2477">
                        <c:v>0</c:v>
                      </c:pt>
                      <c:pt idx="2478">
                        <c:v>0</c:v>
                      </c:pt>
                      <c:pt idx="2479">
                        <c:v>0</c:v>
                      </c:pt>
                      <c:pt idx="2480">
                        <c:v>0</c:v>
                      </c:pt>
                      <c:pt idx="2481">
                        <c:v>0</c:v>
                      </c:pt>
                      <c:pt idx="2482">
                        <c:v>0</c:v>
                      </c:pt>
                      <c:pt idx="2483">
                        <c:v>0</c:v>
                      </c:pt>
                      <c:pt idx="2484">
                        <c:v>0</c:v>
                      </c:pt>
                      <c:pt idx="2485">
                        <c:v>0</c:v>
                      </c:pt>
                      <c:pt idx="2486">
                        <c:v>0</c:v>
                      </c:pt>
                      <c:pt idx="2487">
                        <c:v>0</c:v>
                      </c:pt>
                      <c:pt idx="2488">
                        <c:v>0</c:v>
                      </c:pt>
                      <c:pt idx="2489">
                        <c:v>0</c:v>
                      </c:pt>
                      <c:pt idx="2490">
                        <c:v>0</c:v>
                      </c:pt>
                      <c:pt idx="2491">
                        <c:v>0</c:v>
                      </c:pt>
                      <c:pt idx="2492">
                        <c:v>0</c:v>
                      </c:pt>
                      <c:pt idx="2493">
                        <c:v>0</c:v>
                      </c:pt>
                      <c:pt idx="2494">
                        <c:v>0</c:v>
                      </c:pt>
                      <c:pt idx="2495">
                        <c:v>0</c:v>
                      </c:pt>
                      <c:pt idx="2496">
                        <c:v>0</c:v>
                      </c:pt>
                      <c:pt idx="2497">
                        <c:v>0</c:v>
                      </c:pt>
                      <c:pt idx="2498">
                        <c:v>0</c:v>
                      </c:pt>
                      <c:pt idx="2499">
                        <c:v>0</c:v>
                      </c:pt>
                      <c:pt idx="2500">
                        <c:v>0</c:v>
                      </c:pt>
                      <c:pt idx="2501">
                        <c:v>0</c:v>
                      </c:pt>
                      <c:pt idx="2502">
                        <c:v>0</c:v>
                      </c:pt>
                      <c:pt idx="2503">
                        <c:v>0</c:v>
                      </c:pt>
                      <c:pt idx="2504">
                        <c:v>0</c:v>
                      </c:pt>
                      <c:pt idx="2505">
                        <c:v>0</c:v>
                      </c:pt>
                      <c:pt idx="2506">
                        <c:v>0</c:v>
                      </c:pt>
                      <c:pt idx="2507">
                        <c:v>0</c:v>
                      </c:pt>
                      <c:pt idx="2508">
                        <c:v>0</c:v>
                      </c:pt>
                      <c:pt idx="2509">
                        <c:v>0</c:v>
                      </c:pt>
                      <c:pt idx="2510">
                        <c:v>0</c:v>
                      </c:pt>
                      <c:pt idx="2511">
                        <c:v>0</c:v>
                      </c:pt>
                      <c:pt idx="2512">
                        <c:v>0</c:v>
                      </c:pt>
                      <c:pt idx="2513">
                        <c:v>0</c:v>
                      </c:pt>
                      <c:pt idx="2514">
                        <c:v>0</c:v>
                      </c:pt>
                      <c:pt idx="2515">
                        <c:v>0</c:v>
                      </c:pt>
                      <c:pt idx="2516">
                        <c:v>0</c:v>
                      </c:pt>
                      <c:pt idx="2517">
                        <c:v>0</c:v>
                      </c:pt>
                      <c:pt idx="2518">
                        <c:v>0</c:v>
                      </c:pt>
                      <c:pt idx="2519">
                        <c:v>0</c:v>
                      </c:pt>
                      <c:pt idx="2520">
                        <c:v>0</c:v>
                      </c:pt>
                      <c:pt idx="2521">
                        <c:v>0</c:v>
                      </c:pt>
                      <c:pt idx="2522">
                        <c:v>0</c:v>
                      </c:pt>
                      <c:pt idx="2523">
                        <c:v>0</c:v>
                      </c:pt>
                      <c:pt idx="2524">
                        <c:v>0</c:v>
                      </c:pt>
                      <c:pt idx="2525">
                        <c:v>0</c:v>
                      </c:pt>
                      <c:pt idx="2526">
                        <c:v>0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0</c:v>
                      </c:pt>
                      <c:pt idx="2535">
                        <c:v>0</c:v>
                      </c:pt>
                      <c:pt idx="2536">
                        <c:v>0</c:v>
                      </c:pt>
                      <c:pt idx="2537">
                        <c:v>0</c:v>
                      </c:pt>
                      <c:pt idx="2538">
                        <c:v>0</c:v>
                      </c:pt>
                      <c:pt idx="2539">
                        <c:v>0</c:v>
                      </c:pt>
                      <c:pt idx="2540">
                        <c:v>0</c:v>
                      </c:pt>
                      <c:pt idx="2541">
                        <c:v>0</c:v>
                      </c:pt>
                      <c:pt idx="2542">
                        <c:v>0</c:v>
                      </c:pt>
                      <c:pt idx="2543">
                        <c:v>0</c:v>
                      </c:pt>
                      <c:pt idx="2544">
                        <c:v>0</c:v>
                      </c:pt>
                      <c:pt idx="2545">
                        <c:v>0</c:v>
                      </c:pt>
                      <c:pt idx="2546">
                        <c:v>0</c:v>
                      </c:pt>
                      <c:pt idx="2547">
                        <c:v>0</c:v>
                      </c:pt>
                      <c:pt idx="2548">
                        <c:v>0</c:v>
                      </c:pt>
                      <c:pt idx="2549">
                        <c:v>0</c:v>
                      </c:pt>
                      <c:pt idx="2550">
                        <c:v>0</c:v>
                      </c:pt>
                      <c:pt idx="2551">
                        <c:v>0</c:v>
                      </c:pt>
                      <c:pt idx="2552">
                        <c:v>0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0</c:v>
                      </c:pt>
                      <c:pt idx="2559">
                        <c:v>0</c:v>
                      </c:pt>
                      <c:pt idx="2560">
                        <c:v>0</c:v>
                      </c:pt>
                      <c:pt idx="2561">
                        <c:v>0</c:v>
                      </c:pt>
                      <c:pt idx="2562">
                        <c:v>0</c:v>
                      </c:pt>
                      <c:pt idx="2563">
                        <c:v>0</c:v>
                      </c:pt>
                      <c:pt idx="2564">
                        <c:v>0</c:v>
                      </c:pt>
                      <c:pt idx="2565">
                        <c:v>0</c:v>
                      </c:pt>
                      <c:pt idx="2566">
                        <c:v>0</c:v>
                      </c:pt>
                      <c:pt idx="2567">
                        <c:v>0</c:v>
                      </c:pt>
                      <c:pt idx="2568">
                        <c:v>0</c:v>
                      </c:pt>
                      <c:pt idx="2569">
                        <c:v>0</c:v>
                      </c:pt>
                      <c:pt idx="2570">
                        <c:v>0</c:v>
                      </c:pt>
                      <c:pt idx="2571">
                        <c:v>0</c:v>
                      </c:pt>
                      <c:pt idx="2572">
                        <c:v>0</c:v>
                      </c:pt>
                      <c:pt idx="2573">
                        <c:v>0</c:v>
                      </c:pt>
                      <c:pt idx="2574">
                        <c:v>0</c:v>
                      </c:pt>
                      <c:pt idx="2575">
                        <c:v>0</c:v>
                      </c:pt>
                      <c:pt idx="2576">
                        <c:v>0</c:v>
                      </c:pt>
                      <c:pt idx="2577">
                        <c:v>0</c:v>
                      </c:pt>
                      <c:pt idx="2578">
                        <c:v>0</c:v>
                      </c:pt>
                      <c:pt idx="2579">
                        <c:v>0</c:v>
                      </c:pt>
                      <c:pt idx="2580">
                        <c:v>0</c:v>
                      </c:pt>
                      <c:pt idx="2581">
                        <c:v>0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0</c:v>
                      </c:pt>
                      <c:pt idx="2591">
                        <c:v>0</c:v>
                      </c:pt>
                      <c:pt idx="2592">
                        <c:v>0</c:v>
                      </c:pt>
                      <c:pt idx="2593">
                        <c:v>0</c:v>
                      </c:pt>
                      <c:pt idx="2594">
                        <c:v>0</c:v>
                      </c:pt>
                      <c:pt idx="2595">
                        <c:v>0</c:v>
                      </c:pt>
                      <c:pt idx="2596">
                        <c:v>0</c:v>
                      </c:pt>
                      <c:pt idx="2597">
                        <c:v>0</c:v>
                      </c:pt>
                      <c:pt idx="2598">
                        <c:v>0</c:v>
                      </c:pt>
                      <c:pt idx="2599">
                        <c:v>0</c:v>
                      </c:pt>
                      <c:pt idx="2600">
                        <c:v>0</c:v>
                      </c:pt>
                      <c:pt idx="2601">
                        <c:v>0</c:v>
                      </c:pt>
                      <c:pt idx="2602">
                        <c:v>0</c:v>
                      </c:pt>
                      <c:pt idx="2603">
                        <c:v>0</c:v>
                      </c:pt>
                      <c:pt idx="2604">
                        <c:v>0</c:v>
                      </c:pt>
                      <c:pt idx="2605">
                        <c:v>0</c:v>
                      </c:pt>
                      <c:pt idx="2606">
                        <c:v>0</c:v>
                      </c:pt>
                      <c:pt idx="2607">
                        <c:v>0</c:v>
                      </c:pt>
                      <c:pt idx="2608">
                        <c:v>0</c:v>
                      </c:pt>
                      <c:pt idx="2609">
                        <c:v>0</c:v>
                      </c:pt>
                      <c:pt idx="2610">
                        <c:v>0</c:v>
                      </c:pt>
                      <c:pt idx="2611">
                        <c:v>0</c:v>
                      </c:pt>
                      <c:pt idx="2612">
                        <c:v>0</c:v>
                      </c:pt>
                      <c:pt idx="2613">
                        <c:v>0</c:v>
                      </c:pt>
                      <c:pt idx="2614">
                        <c:v>0</c:v>
                      </c:pt>
                      <c:pt idx="2615">
                        <c:v>0</c:v>
                      </c:pt>
                      <c:pt idx="2616">
                        <c:v>0</c:v>
                      </c:pt>
                      <c:pt idx="2617">
                        <c:v>0</c:v>
                      </c:pt>
                      <c:pt idx="2618">
                        <c:v>0</c:v>
                      </c:pt>
                      <c:pt idx="2619">
                        <c:v>0</c:v>
                      </c:pt>
                      <c:pt idx="2620">
                        <c:v>0</c:v>
                      </c:pt>
                      <c:pt idx="2621">
                        <c:v>0</c:v>
                      </c:pt>
                      <c:pt idx="2622">
                        <c:v>0</c:v>
                      </c:pt>
                      <c:pt idx="2623">
                        <c:v>0</c:v>
                      </c:pt>
                      <c:pt idx="2624">
                        <c:v>0</c:v>
                      </c:pt>
                      <c:pt idx="2625">
                        <c:v>0</c:v>
                      </c:pt>
                      <c:pt idx="2626">
                        <c:v>0</c:v>
                      </c:pt>
                      <c:pt idx="2627">
                        <c:v>0</c:v>
                      </c:pt>
                      <c:pt idx="2628">
                        <c:v>0</c:v>
                      </c:pt>
                      <c:pt idx="2629">
                        <c:v>0</c:v>
                      </c:pt>
                      <c:pt idx="2630">
                        <c:v>0</c:v>
                      </c:pt>
                      <c:pt idx="2631">
                        <c:v>0</c:v>
                      </c:pt>
                      <c:pt idx="2632">
                        <c:v>0</c:v>
                      </c:pt>
                      <c:pt idx="2633">
                        <c:v>0</c:v>
                      </c:pt>
                      <c:pt idx="2634">
                        <c:v>0</c:v>
                      </c:pt>
                      <c:pt idx="2635">
                        <c:v>0</c:v>
                      </c:pt>
                      <c:pt idx="2636">
                        <c:v>0</c:v>
                      </c:pt>
                      <c:pt idx="2637">
                        <c:v>0</c:v>
                      </c:pt>
                      <c:pt idx="2638">
                        <c:v>0</c:v>
                      </c:pt>
                      <c:pt idx="2639">
                        <c:v>0</c:v>
                      </c:pt>
                      <c:pt idx="2640">
                        <c:v>0</c:v>
                      </c:pt>
                      <c:pt idx="2641">
                        <c:v>0</c:v>
                      </c:pt>
                      <c:pt idx="2642">
                        <c:v>0</c:v>
                      </c:pt>
                      <c:pt idx="2643">
                        <c:v>0</c:v>
                      </c:pt>
                      <c:pt idx="2644">
                        <c:v>0</c:v>
                      </c:pt>
                      <c:pt idx="2645">
                        <c:v>0</c:v>
                      </c:pt>
                      <c:pt idx="2646">
                        <c:v>0</c:v>
                      </c:pt>
                      <c:pt idx="2647">
                        <c:v>0</c:v>
                      </c:pt>
                      <c:pt idx="2648">
                        <c:v>0</c:v>
                      </c:pt>
                      <c:pt idx="2649">
                        <c:v>0</c:v>
                      </c:pt>
                      <c:pt idx="2650">
                        <c:v>0</c:v>
                      </c:pt>
                      <c:pt idx="2651">
                        <c:v>0</c:v>
                      </c:pt>
                      <c:pt idx="2652">
                        <c:v>0</c:v>
                      </c:pt>
                      <c:pt idx="2653">
                        <c:v>0</c:v>
                      </c:pt>
                      <c:pt idx="2654">
                        <c:v>0</c:v>
                      </c:pt>
                      <c:pt idx="2655">
                        <c:v>0</c:v>
                      </c:pt>
                      <c:pt idx="2656">
                        <c:v>0</c:v>
                      </c:pt>
                      <c:pt idx="2657">
                        <c:v>0</c:v>
                      </c:pt>
                      <c:pt idx="2658">
                        <c:v>0</c:v>
                      </c:pt>
                      <c:pt idx="2659">
                        <c:v>0</c:v>
                      </c:pt>
                      <c:pt idx="2660">
                        <c:v>0</c:v>
                      </c:pt>
                      <c:pt idx="2661">
                        <c:v>0</c:v>
                      </c:pt>
                      <c:pt idx="2662">
                        <c:v>0</c:v>
                      </c:pt>
                      <c:pt idx="2663">
                        <c:v>0</c:v>
                      </c:pt>
                      <c:pt idx="2664">
                        <c:v>0</c:v>
                      </c:pt>
                      <c:pt idx="2665">
                        <c:v>0</c:v>
                      </c:pt>
                      <c:pt idx="2666">
                        <c:v>0</c:v>
                      </c:pt>
                      <c:pt idx="2667">
                        <c:v>0</c:v>
                      </c:pt>
                      <c:pt idx="2668">
                        <c:v>0</c:v>
                      </c:pt>
                      <c:pt idx="2669">
                        <c:v>0</c:v>
                      </c:pt>
                      <c:pt idx="2670">
                        <c:v>0</c:v>
                      </c:pt>
                      <c:pt idx="2671">
                        <c:v>0</c:v>
                      </c:pt>
                      <c:pt idx="2672">
                        <c:v>0</c:v>
                      </c:pt>
                      <c:pt idx="2673">
                        <c:v>0</c:v>
                      </c:pt>
                      <c:pt idx="2674">
                        <c:v>0</c:v>
                      </c:pt>
                      <c:pt idx="2675">
                        <c:v>0</c:v>
                      </c:pt>
                      <c:pt idx="2676">
                        <c:v>0</c:v>
                      </c:pt>
                      <c:pt idx="2677">
                        <c:v>0</c:v>
                      </c:pt>
                      <c:pt idx="2678">
                        <c:v>0</c:v>
                      </c:pt>
                      <c:pt idx="2679">
                        <c:v>0</c:v>
                      </c:pt>
                      <c:pt idx="2680">
                        <c:v>0</c:v>
                      </c:pt>
                      <c:pt idx="2681">
                        <c:v>0</c:v>
                      </c:pt>
                      <c:pt idx="2682">
                        <c:v>0</c:v>
                      </c:pt>
                      <c:pt idx="2683">
                        <c:v>0</c:v>
                      </c:pt>
                      <c:pt idx="2684">
                        <c:v>0</c:v>
                      </c:pt>
                      <c:pt idx="2685">
                        <c:v>0</c:v>
                      </c:pt>
                      <c:pt idx="2686">
                        <c:v>0</c:v>
                      </c:pt>
                      <c:pt idx="2687">
                        <c:v>0</c:v>
                      </c:pt>
                      <c:pt idx="2688">
                        <c:v>0</c:v>
                      </c:pt>
                      <c:pt idx="2689">
                        <c:v>0</c:v>
                      </c:pt>
                      <c:pt idx="2690">
                        <c:v>0</c:v>
                      </c:pt>
                      <c:pt idx="2691">
                        <c:v>0</c:v>
                      </c:pt>
                      <c:pt idx="2692">
                        <c:v>0</c:v>
                      </c:pt>
                      <c:pt idx="2693">
                        <c:v>0</c:v>
                      </c:pt>
                      <c:pt idx="2694">
                        <c:v>0</c:v>
                      </c:pt>
                      <c:pt idx="2695">
                        <c:v>0</c:v>
                      </c:pt>
                      <c:pt idx="2696">
                        <c:v>0</c:v>
                      </c:pt>
                      <c:pt idx="2697">
                        <c:v>0</c:v>
                      </c:pt>
                      <c:pt idx="2698">
                        <c:v>0</c:v>
                      </c:pt>
                      <c:pt idx="2699">
                        <c:v>0</c:v>
                      </c:pt>
                      <c:pt idx="2700">
                        <c:v>0</c:v>
                      </c:pt>
                      <c:pt idx="2701">
                        <c:v>0</c:v>
                      </c:pt>
                      <c:pt idx="2702">
                        <c:v>0</c:v>
                      </c:pt>
                      <c:pt idx="2703">
                        <c:v>0</c:v>
                      </c:pt>
                      <c:pt idx="2704">
                        <c:v>0</c:v>
                      </c:pt>
                      <c:pt idx="2705">
                        <c:v>0</c:v>
                      </c:pt>
                      <c:pt idx="2706">
                        <c:v>0</c:v>
                      </c:pt>
                      <c:pt idx="2707">
                        <c:v>0</c:v>
                      </c:pt>
                      <c:pt idx="2708">
                        <c:v>0</c:v>
                      </c:pt>
                      <c:pt idx="2709">
                        <c:v>0</c:v>
                      </c:pt>
                      <c:pt idx="2710">
                        <c:v>0</c:v>
                      </c:pt>
                      <c:pt idx="2711">
                        <c:v>0</c:v>
                      </c:pt>
                      <c:pt idx="2712">
                        <c:v>0</c:v>
                      </c:pt>
                      <c:pt idx="2713">
                        <c:v>0</c:v>
                      </c:pt>
                      <c:pt idx="2714">
                        <c:v>0</c:v>
                      </c:pt>
                      <c:pt idx="2715">
                        <c:v>0</c:v>
                      </c:pt>
                      <c:pt idx="2716">
                        <c:v>0</c:v>
                      </c:pt>
                      <c:pt idx="2717">
                        <c:v>0</c:v>
                      </c:pt>
                      <c:pt idx="2718">
                        <c:v>0</c:v>
                      </c:pt>
                      <c:pt idx="2719">
                        <c:v>0</c:v>
                      </c:pt>
                      <c:pt idx="2720">
                        <c:v>0</c:v>
                      </c:pt>
                      <c:pt idx="2721">
                        <c:v>0</c:v>
                      </c:pt>
                      <c:pt idx="2722">
                        <c:v>0</c:v>
                      </c:pt>
                      <c:pt idx="2723">
                        <c:v>0</c:v>
                      </c:pt>
                      <c:pt idx="2724">
                        <c:v>0</c:v>
                      </c:pt>
                      <c:pt idx="2725">
                        <c:v>0</c:v>
                      </c:pt>
                      <c:pt idx="2726">
                        <c:v>0</c:v>
                      </c:pt>
                      <c:pt idx="2727">
                        <c:v>0</c:v>
                      </c:pt>
                      <c:pt idx="2728">
                        <c:v>0</c:v>
                      </c:pt>
                      <c:pt idx="2729">
                        <c:v>0</c:v>
                      </c:pt>
                      <c:pt idx="2730">
                        <c:v>0</c:v>
                      </c:pt>
                      <c:pt idx="2731">
                        <c:v>0</c:v>
                      </c:pt>
                      <c:pt idx="2732">
                        <c:v>0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</c:v>
                      </c:pt>
                      <c:pt idx="2743">
                        <c:v>0</c:v>
                      </c:pt>
                      <c:pt idx="2744">
                        <c:v>0</c:v>
                      </c:pt>
                      <c:pt idx="2745">
                        <c:v>0</c:v>
                      </c:pt>
                      <c:pt idx="2746">
                        <c:v>0</c:v>
                      </c:pt>
                      <c:pt idx="2747">
                        <c:v>0</c:v>
                      </c:pt>
                      <c:pt idx="2748">
                        <c:v>0</c:v>
                      </c:pt>
                      <c:pt idx="2749">
                        <c:v>0</c:v>
                      </c:pt>
                      <c:pt idx="2750">
                        <c:v>0</c:v>
                      </c:pt>
                      <c:pt idx="2751">
                        <c:v>0</c:v>
                      </c:pt>
                      <c:pt idx="2752">
                        <c:v>0</c:v>
                      </c:pt>
                      <c:pt idx="2753">
                        <c:v>0</c:v>
                      </c:pt>
                      <c:pt idx="2754">
                        <c:v>0</c:v>
                      </c:pt>
                      <c:pt idx="2755">
                        <c:v>0</c:v>
                      </c:pt>
                      <c:pt idx="2756">
                        <c:v>0</c:v>
                      </c:pt>
                      <c:pt idx="2757">
                        <c:v>0</c:v>
                      </c:pt>
                      <c:pt idx="2758">
                        <c:v>0</c:v>
                      </c:pt>
                      <c:pt idx="2759">
                        <c:v>0</c:v>
                      </c:pt>
                      <c:pt idx="2760">
                        <c:v>0</c:v>
                      </c:pt>
                      <c:pt idx="2761">
                        <c:v>0</c:v>
                      </c:pt>
                      <c:pt idx="2762">
                        <c:v>0</c:v>
                      </c:pt>
                      <c:pt idx="2763">
                        <c:v>0</c:v>
                      </c:pt>
                      <c:pt idx="2764">
                        <c:v>0</c:v>
                      </c:pt>
                      <c:pt idx="2765">
                        <c:v>0</c:v>
                      </c:pt>
                      <c:pt idx="2766">
                        <c:v>0</c:v>
                      </c:pt>
                      <c:pt idx="2767">
                        <c:v>0</c:v>
                      </c:pt>
                      <c:pt idx="2768">
                        <c:v>0</c:v>
                      </c:pt>
                      <c:pt idx="2769">
                        <c:v>0</c:v>
                      </c:pt>
                      <c:pt idx="2770">
                        <c:v>0</c:v>
                      </c:pt>
                      <c:pt idx="2771">
                        <c:v>0</c:v>
                      </c:pt>
                      <c:pt idx="2772">
                        <c:v>0</c:v>
                      </c:pt>
                      <c:pt idx="2773">
                        <c:v>0</c:v>
                      </c:pt>
                      <c:pt idx="2774">
                        <c:v>0</c:v>
                      </c:pt>
                      <c:pt idx="2775">
                        <c:v>0</c:v>
                      </c:pt>
                      <c:pt idx="2776">
                        <c:v>0</c:v>
                      </c:pt>
                      <c:pt idx="2777">
                        <c:v>0</c:v>
                      </c:pt>
                      <c:pt idx="2778">
                        <c:v>0</c:v>
                      </c:pt>
                      <c:pt idx="2779">
                        <c:v>0</c:v>
                      </c:pt>
                      <c:pt idx="2780">
                        <c:v>0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0</c:v>
                      </c:pt>
                      <c:pt idx="2791">
                        <c:v>0</c:v>
                      </c:pt>
                      <c:pt idx="2792">
                        <c:v>0</c:v>
                      </c:pt>
                      <c:pt idx="2793">
                        <c:v>0</c:v>
                      </c:pt>
                      <c:pt idx="2794">
                        <c:v>0</c:v>
                      </c:pt>
                      <c:pt idx="2795">
                        <c:v>0</c:v>
                      </c:pt>
                      <c:pt idx="2796">
                        <c:v>0</c:v>
                      </c:pt>
                      <c:pt idx="2797">
                        <c:v>0</c:v>
                      </c:pt>
                      <c:pt idx="2798">
                        <c:v>0</c:v>
                      </c:pt>
                      <c:pt idx="2799">
                        <c:v>0</c:v>
                      </c:pt>
                      <c:pt idx="2800">
                        <c:v>0</c:v>
                      </c:pt>
                      <c:pt idx="2801">
                        <c:v>0</c:v>
                      </c:pt>
                      <c:pt idx="2802">
                        <c:v>0</c:v>
                      </c:pt>
                      <c:pt idx="2803">
                        <c:v>0</c:v>
                      </c:pt>
                      <c:pt idx="2804">
                        <c:v>0</c:v>
                      </c:pt>
                      <c:pt idx="2805">
                        <c:v>0</c:v>
                      </c:pt>
                      <c:pt idx="2806">
                        <c:v>0</c:v>
                      </c:pt>
                      <c:pt idx="2807">
                        <c:v>0</c:v>
                      </c:pt>
                      <c:pt idx="2808">
                        <c:v>0</c:v>
                      </c:pt>
                      <c:pt idx="2809">
                        <c:v>0</c:v>
                      </c:pt>
                      <c:pt idx="2810">
                        <c:v>0</c:v>
                      </c:pt>
                      <c:pt idx="2811">
                        <c:v>0</c:v>
                      </c:pt>
                      <c:pt idx="2812">
                        <c:v>0</c:v>
                      </c:pt>
                      <c:pt idx="2813">
                        <c:v>0</c:v>
                      </c:pt>
                      <c:pt idx="2814">
                        <c:v>0</c:v>
                      </c:pt>
                      <c:pt idx="2815">
                        <c:v>0</c:v>
                      </c:pt>
                      <c:pt idx="2816">
                        <c:v>0</c:v>
                      </c:pt>
                      <c:pt idx="2817">
                        <c:v>0</c:v>
                      </c:pt>
                      <c:pt idx="2818">
                        <c:v>0</c:v>
                      </c:pt>
                      <c:pt idx="2819">
                        <c:v>0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</c:v>
                      </c:pt>
                      <c:pt idx="2826">
                        <c:v>0</c:v>
                      </c:pt>
                      <c:pt idx="2827">
                        <c:v>0</c:v>
                      </c:pt>
                      <c:pt idx="2828">
                        <c:v>0</c:v>
                      </c:pt>
                      <c:pt idx="2829">
                        <c:v>0</c:v>
                      </c:pt>
                      <c:pt idx="2830">
                        <c:v>0</c:v>
                      </c:pt>
                      <c:pt idx="2831">
                        <c:v>0</c:v>
                      </c:pt>
                      <c:pt idx="2832">
                        <c:v>0</c:v>
                      </c:pt>
                      <c:pt idx="2833">
                        <c:v>0</c:v>
                      </c:pt>
                      <c:pt idx="2834">
                        <c:v>0</c:v>
                      </c:pt>
                      <c:pt idx="2835">
                        <c:v>0</c:v>
                      </c:pt>
                      <c:pt idx="2836">
                        <c:v>0</c:v>
                      </c:pt>
                      <c:pt idx="2837">
                        <c:v>0</c:v>
                      </c:pt>
                      <c:pt idx="2838">
                        <c:v>0</c:v>
                      </c:pt>
                      <c:pt idx="2839">
                        <c:v>0</c:v>
                      </c:pt>
                      <c:pt idx="2840">
                        <c:v>0</c:v>
                      </c:pt>
                      <c:pt idx="2841">
                        <c:v>0</c:v>
                      </c:pt>
                      <c:pt idx="2842">
                        <c:v>0</c:v>
                      </c:pt>
                      <c:pt idx="2843">
                        <c:v>0</c:v>
                      </c:pt>
                      <c:pt idx="2844">
                        <c:v>0</c:v>
                      </c:pt>
                      <c:pt idx="2845">
                        <c:v>0</c:v>
                      </c:pt>
                      <c:pt idx="2846">
                        <c:v>0</c:v>
                      </c:pt>
                      <c:pt idx="2847">
                        <c:v>0</c:v>
                      </c:pt>
                      <c:pt idx="2848">
                        <c:v>0</c:v>
                      </c:pt>
                      <c:pt idx="2849">
                        <c:v>0</c:v>
                      </c:pt>
                      <c:pt idx="2850">
                        <c:v>0</c:v>
                      </c:pt>
                      <c:pt idx="2851">
                        <c:v>0</c:v>
                      </c:pt>
                      <c:pt idx="2852">
                        <c:v>0</c:v>
                      </c:pt>
                      <c:pt idx="2853">
                        <c:v>0</c:v>
                      </c:pt>
                      <c:pt idx="2854">
                        <c:v>0</c:v>
                      </c:pt>
                      <c:pt idx="2855">
                        <c:v>0</c:v>
                      </c:pt>
                      <c:pt idx="2856">
                        <c:v>0</c:v>
                      </c:pt>
                      <c:pt idx="2857">
                        <c:v>0</c:v>
                      </c:pt>
                      <c:pt idx="2858">
                        <c:v>0</c:v>
                      </c:pt>
                      <c:pt idx="2859">
                        <c:v>0</c:v>
                      </c:pt>
                      <c:pt idx="2860">
                        <c:v>0</c:v>
                      </c:pt>
                      <c:pt idx="2861">
                        <c:v>0</c:v>
                      </c:pt>
                      <c:pt idx="2862">
                        <c:v>0</c:v>
                      </c:pt>
                      <c:pt idx="2863">
                        <c:v>0</c:v>
                      </c:pt>
                      <c:pt idx="2864">
                        <c:v>0</c:v>
                      </c:pt>
                      <c:pt idx="2865">
                        <c:v>0</c:v>
                      </c:pt>
                      <c:pt idx="2866">
                        <c:v>0</c:v>
                      </c:pt>
                      <c:pt idx="2867">
                        <c:v>0</c:v>
                      </c:pt>
                      <c:pt idx="2868">
                        <c:v>0</c:v>
                      </c:pt>
                      <c:pt idx="2869">
                        <c:v>0</c:v>
                      </c:pt>
                      <c:pt idx="2870">
                        <c:v>0</c:v>
                      </c:pt>
                      <c:pt idx="2871">
                        <c:v>0</c:v>
                      </c:pt>
                      <c:pt idx="2872">
                        <c:v>0</c:v>
                      </c:pt>
                      <c:pt idx="2873">
                        <c:v>0</c:v>
                      </c:pt>
                      <c:pt idx="2874">
                        <c:v>0</c:v>
                      </c:pt>
                      <c:pt idx="2875">
                        <c:v>0</c:v>
                      </c:pt>
                      <c:pt idx="2876">
                        <c:v>0</c:v>
                      </c:pt>
                      <c:pt idx="2877">
                        <c:v>0</c:v>
                      </c:pt>
                      <c:pt idx="2878">
                        <c:v>0</c:v>
                      </c:pt>
                      <c:pt idx="2879">
                        <c:v>0</c:v>
                      </c:pt>
                      <c:pt idx="2880">
                        <c:v>0</c:v>
                      </c:pt>
                      <c:pt idx="2881">
                        <c:v>0</c:v>
                      </c:pt>
                      <c:pt idx="2882">
                        <c:v>0</c:v>
                      </c:pt>
                      <c:pt idx="2883">
                        <c:v>0</c:v>
                      </c:pt>
                      <c:pt idx="2884">
                        <c:v>0</c:v>
                      </c:pt>
                      <c:pt idx="2885">
                        <c:v>0</c:v>
                      </c:pt>
                      <c:pt idx="2886">
                        <c:v>0</c:v>
                      </c:pt>
                      <c:pt idx="2887">
                        <c:v>0</c:v>
                      </c:pt>
                      <c:pt idx="2888">
                        <c:v>0</c:v>
                      </c:pt>
                      <c:pt idx="2889">
                        <c:v>0</c:v>
                      </c:pt>
                      <c:pt idx="2890">
                        <c:v>0</c:v>
                      </c:pt>
                      <c:pt idx="2891">
                        <c:v>0</c:v>
                      </c:pt>
                      <c:pt idx="2892">
                        <c:v>0</c:v>
                      </c:pt>
                      <c:pt idx="2893">
                        <c:v>0</c:v>
                      </c:pt>
                      <c:pt idx="2894">
                        <c:v>0</c:v>
                      </c:pt>
                      <c:pt idx="2895">
                        <c:v>0</c:v>
                      </c:pt>
                      <c:pt idx="2896">
                        <c:v>0</c:v>
                      </c:pt>
                      <c:pt idx="2897">
                        <c:v>0</c:v>
                      </c:pt>
                      <c:pt idx="2898">
                        <c:v>0</c:v>
                      </c:pt>
                      <c:pt idx="2899">
                        <c:v>0</c:v>
                      </c:pt>
                      <c:pt idx="2900">
                        <c:v>0</c:v>
                      </c:pt>
                      <c:pt idx="2901">
                        <c:v>0</c:v>
                      </c:pt>
                      <c:pt idx="2902">
                        <c:v>0</c:v>
                      </c:pt>
                      <c:pt idx="2903">
                        <c:v>0</c:v>
                      </c:pt>
                      <c:pt idx="2904">
                        <c:v>0</c:v>
                      </c:pt>
                      <c:pt idx="2905">
                        <c:v>0</c:v>
                      </c:pt>
                      <c:pt idx="2906">
                        <c:v>0</c:v>
                      </c:pt>
                      <c:pt idx="2907">
                        <c:v>0</c:v>
                      </c:pt>
                      <c:pt idx="2908">
                        <c:v>0</c:v>
                      </c:pt>
                      <c:pt idx="2909">
                        <c:v>0</c:v>
                      </c:pt>
                      <c:pt idx="2910">
                        <c:v>0</c:v>
                      </c:pt>
                      <c:pt idx="2911">
                        <c:v>0</c:v>
                      </c:pt>
                      <c:pt idx="2912">
                        <c:v>0</c:v>
                      </c:pt>
                      <c:pt idx="2913">
                        <c:v>0</c:v>
                      </c:pt>
                      <c:pt idx="2914">
                        <c:v>0</c:v>
                      </c:pt>
                      <c:pt idx="2915">
                        <c:v>0</c:v>
                      </c:pt>
                      <c:pt idx="2916">
                        <c:v>0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</c:v>
                      </c:pt>
                      <c:pt idx="2927">
                        <c:v>0</c:v>
                      </c:pt>
                      <c:pt idx="2928">
                        <c:v>0</c:v>
                      </c:pt>
                      <c:pt idx="2929">
                        <c:v>0</c:v>
                      </c:pt>
                      <c:pt idx="2930">
                        <c:v>0</c:v>
                      </c:pt>
                      <c:pt idx="2931">
                        <c:v>0</c:v>
                      </c:pt>
                      <c:pt idx="2932">
                        <c:v>0</c:v>
                      </c:pt>
                      <c:pt idx="2933">
                        <c:v>0</c:v>
                      </c:pt>
                      <c:pt idx="2934">
                        <c:v>0</c:v>
                      </c:pt>
                      <c:pt idx="2935">
                        <c:v>0</c:v>
                      </c:pt>
                      <c:pt idx="2936">
                        <c:v>0</c:v>
                      </c:pt>
                      <c:pt idx="2937">
                        <c:v>0</c:v>
                      </c:pt>
                      <c:pt idx="2938">
                        <c:v>0</c:v>
                      </c:pt>
                      <c:pt idx="2939">
                        <c:v>0</c:v>
                      </c:pt>
                      <c:pt idx="2940">
                        <c:v>0</c:v>
                      </c:pt>
                      <c:pt idx="2941">
                        <c:v>0</c:v>
                      </c:pt>
                      <c:pt idx="2942">
                        <c:v>0</c:v>
                      </c:pt>
                      <c:pt idx="2943">
                        <c:v>0</c:v>
                      </c:pt>
                      <c:pt idx="2944">
                        <c:v>0</c:v>
                      </c:pt>
                      <c:pt idx="2945">
                        <c:v>0</c:v>
                      </c:pt>
                      <c:pt idx="2946">
                        <c:v>0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</c:v>
                      </c:pt>
                      <c:pt idx="2952">
                        <c:v>0</c:v>
                      </c:pt>
                      <c:pt idx="2953">
                        <c:v>0</c:v>
                      </c:pt>
                      <c:pt idx="2954">
                        <c:v>0</c:v>
                      </c:pt>
                      <c:pt idx="2955">
                        <c:v>0</c:v>
                      </c:pt>
                      <c:pt idx="2956">
                        <c:v>0</c:v>
                      </c:pt>
                      <c:pt idx="2957">
                        <c:v>0</c:v>
                      </c:pt>
                      <c:pt idx="2958">
                        <c:v>0</c:v>
                      </c:pt>
                      <c:pt idx="2959">
                        <c:v>0</c:v>
                      </c:pt>
                      <c:pt idx="2960">
                        <c:v>0</c:v>
                      </c:pt>
                      <c:pt idx="2961">
                        <c:v>0</c:v>
                      </c:pt>
                      <c:pt idx="2962">
                        <c:v>0</c:v>
                      </c:pt>
                      <c:pt idx="2963">
                        <c:v>0</c:v>
                      </c:pt>
                      <c:pt idx="2964">
                        <c:v>0</c:v>
                      </c:pt>
                      <c:pt idx="2965">
                        <c:v>0</c:v>
                      </c:pt>
                      <c:pt idx="2966">
                        <c:v>0</c:v>
                      </c:pt>
                      <c:pt idx="2967">
                        <c:v>0</c:v>
                      </c:pt>
                      <c:pt idx="2968">
                        <c:v>0</c:v>
                      </c:pt>
                      <c:pt idx="2969">
                        <c:v>0</c:v>
                      </c:pt>
                      <c:pt idx="2970">
                        <c:v>0</c:v>
                      </c:pt>
                      <c:pt idx="2971">
                        <c:v>0</c:v>
                      </c:pt>
                      <c:pt idx="2972">
                        <c:v>0</c:v>
                      </c:pt>
                      <c:pt idx="2973">
                        <c:v>0</c:v>
                      </c:pt>
                      <c:pt idx="2974">
                        <c:v>0</c:v>
                      </c:pt>
                      <c:pt idx="2975">
                        <c:v>0</c:v>
                      </c:pt>
                      <c:pt idx="2976">
                        <c:v>0</c:v>
                      </c:pt>
                      <c:pt idx="2977">
                        <c:v>0</c:v>
                      </c:pt>
                      <c:pt idx="2978">
                        <c:v>0</c:v>
                      </c:pt>
                      <c:pt idx="2979">
                        <c:v>0</c:v>
                      </c:pt>
                      <c:pt idx="2980">
                        <c:v>0</c:v>
                      </c:pt>
                      <c:pt idx="2981">
                        <c:v>0</c:v>
                      </c:pt>
                      <c:pt idx="2982">
                        <c:v>0</c:v>
                      </c:pt>
                      <c:pt idx="2983">
                        <c:v>0</c:v>
                      </c:pt>
                      <c:pt idx="2984">
                        <c:v>0</c:v>
                      </c:pt>
                      <c:pt idx="2985">
                        <c:v>0</c:v>
                      </c:pt>
                      <c:pt idx="2986">
                        <c:v>0</c:v>
                      </c:pt>
                      <c:pt idx="2987">
                        <c:v>0</c:v>
                      </c:pt>
                      <c:pt idx="2988">
                        <c:v>0</c:v>
                      </c:pt>
                      <c:pt idx="2989">
                        <c:v>0</c:v>
                      </c:pt>
                      <c:pt idx="2990">
                        <c:v>0</c:v>
                      </c:pt>
                      <c:pt idx="2991">
                        <c:v>0</c:v>
                      </c:pt>
                      <c:pt idx="2992">
                        <c:v>0</c:v>
                      </c:pt>
                      <c:pt idx="2993">
                        <c:v>0</c:v>
                      </c:pt>
                      <c:pt idx="2994">
                        <c:v>0</c:v>
                      </c:pt>
                      <c:pt idx="2995">
                        <c:v>0</c:v>
                      </c:pt>
                      <c:pt idx="2996">
                        <c:v>0</c:v>
                      </c:pt>
                      <c:pt idx="2997">
                        <c:v>0</c:v>
                      </c:pt>
                      <c:pt idx="2998">
                        <c:v>0</c:v>
                      </c:pt>
                      <c:pt idx="2999">
                        <c:v>0</c:v>
                      </c:pt>
                      <c:pt idx="3000">
                        <c:v>0</c:v>
                      </c:pt>
                      <c:pt idx="3001">
                        <c:v>0</c:v>
                      </c:pt>
                      <c:pt idx="3002">
                        <c:v>0</c:v>
                      </c:pt>
                      <c:pt idx="3003">
                        <c:v>0</c:v>
                      </c:pt>
                      <c:pt idx="3004">
                        <c:v>0</c:v>
                      </c:pt>
                      <c:pt idx="3005">
                        <c:v>0</c:v>
                      </c:pt>
                      <c:pt idx="3006">
                        <c:v>0</c:v>
                      </c:pt>
                      <c:pt idx="3007">
                        <c:v>0</c:v>
                      </c:pt>
                      <c:pt idx="3008">
                        <c:v>0</c:v>
                      </c:pt>
                      <c:pt idx="3009">
                        <c:v>0</c:v>
                      </c:pt>
                      <c:pt idx="3010">
                        <c:v>0</c:v>
                      </c:pt>
                      <c:pt idx="3011">
                        <c:v>0</c:v>
                      </c:pt>
                      <c:pt idx="3012">
                        <c:v>0</c:v>
                      </c:pt>
                      <c:pt idx="3013">
                        <c:v>0</c:v>
                      </c:pt>
                      <c:pt idx="3014">
                        <c:v>0</c:v>
                      </c:pt>
                      <c:pt idx="3015">
                        <c:v>0</c:v>
                      </c:pt>
                      <c:pt idx="3016">
                        <c:v>0</c:v>
                      </c:pt>
                      <c:pt idx="3017">
                        <c:v>0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0</c:v>
                      </c:pt>
                      <c:pt idx="3026">
                        <c:v>0</c:v>
                      </c:pt>
                      <c:pt idx="3027">
                        <c:v>0</c:v>
                      </c:pt>
                      <c:pt idx="3028">
                        <c:v>0</c:v>
                      </c:pt>
                      <c:pt idx="3029">
                        <c:v>0</c:v>
                      </c:pt>
                      <c:pt idx="3030">
                        <c:v>0</c:v>
                      </c:pt>
                      <c:pt idx="3031">
                        <c:v>0</c:v>
                      </c:pt>
                      <c:pt idx="3032">
                        <c:v>0</c:v>
                      </c:pt>
                      <c:pt idx="3033">
                        <c:v>0</c:v>
                      </c:pt>
                      <c:pt idx="3034">
                        <c:v>0</c:v>
                      </c:pt>
                      <c:pt idx="3035">
                        <c:v>0</c:v>
                      </c:pt>
                      <c:pt idx="3036">
                        <c:v>0</c:v>
                      </c:pt>
                      <c:pt idx="3037">
                        <c:v>0</c:v>
                      </c:pt>
                      <c:pt idx="3038">
                        <c:v>0</c:v>
                      </c:pt>
                      <c:pt idx="3039">
                        <c:v>0</c:v>
                      </c:pt>
                      <c:pt idx="3040">
                        <c:v>0</c:v>
                      </c:pt>
                      <c:pt idx="3041">
                        <c:v>0</c:v>
                      </c:pt>
                      <c:pt idx="3042">
                        <c:v>0</c:v>
                      </c:pt>
                      <c:pt idx="3043">
                        <c:v>0</c:v>
                      </c:pt>
                      <c:pt idx="3044">
                        <c:v>0</c:v>
                      </c:pt>
                      <c:pt idx="3045">
                        <c:v>0</c:v>
                      </c:pt>
                      <c:pt idx="3046">
                        <c:v>0</c:v>
                      </c:pt>
                      <c:pt idx="3047">
                        <c:v>0</c:v>
                      </c:pt>
                      <c:pt idx="3048">
                        <c:v>0</c:v>
                      </c:pt>
                      <c:pt idx="3049">
                        <c:v>0</c:v>
                      </c:pt>
                      <c:pt idx="3050">
                        <c:v>0</c:v>
                      </c:pt>
                      <c:pt idx="3051">
                        <c:v>0</c:v>
                      </c:pt>
                      <c:pt idx="3052">
                        <c:v>0</c:v>
                      </c:pt>
                      <c:pt idx="3053">
                        <c:v>0</c:v>
                      </c:pt>
                      <c:pt idx="3054">
                        <c:v>0</c:v>
                      </c:pt>
                      <c:pt idx="3055">
                        <c:v>0</c:v>
                      </c:pt>
                      <c:pt idx="3056">
                        <c:v>0</c:v>
                      </c:pt>
                      <c:pt idx="3057">
                        <c:v>0</c:v>
                      </c:pt>
                      <c:pt idx="3058">
                        <c:v>0</c:v>
                      </c:pt>
                      <c:pt idx="3059">
                        <c:v>0</c:v>
                      </c:pt>
                      <c:pt idx="3060">
                        <c:v>0</c:v>
                      </c:pt>
                      <c:pt idx="3061">
                        <c:v>0</c:v>
                      </c:pt>
                      <c:pt idx="3062">
                        <c:v>0</c:v>
                      </c:pt>
                      <c:pt idx="3063">
                        <c:v>0</c:v>
                      </c:pt>
                      <c:pt idx="3064">
                        <c:v>0</c:v>
                      </c:pt>
                      <c:pt idx="3065">
                        <c:v>0</c:v>
                      </c:pt>
                      <c:pt idx="3066">
                        <c:v>0</c:v>
                      </c:pt>
                      <c:pt idx="3067">
                        <c:v>0</c:v>
                      </c:pt>
                      <c:pt idx="3068">
                        <c:v>0</c:v>
                      </c:pt>
                      <c:pt idx="3069">
                        <c:v>0</c:v>
                      </c:pt>
                      <c:pt idx="3070">
                        <c:v>0</c:v>
                      </c:pt>
                      <c:pt idx="3071">
                        <c:v>0</c:v>
                      </c:pt>
                      <c:pt idx="3072">
                        <c:v>0</c:v>
                      </c:pt>
                      <c:pt idx="3073">
                        <c:v>0</c:v>
                      </c:pt>
                      <c:pt idx="3074">
                        <c:v>0</c:v>
                      </c:pt>
                      <c:pt idx="3075">
                        <c:v>0</c:v>
                      </c:pt>
                      <c:pt idx="3076">
                        <c:v>0</c:v>
                      </c:pt>
                      <c:pt idx="3077">
                        <c:v>0</c:v>
                      </c:pt>
                      <c:pt idx="3078">
                        <c:v>0</c:v>
                      </c:pt>
                      <c:pt idx="3079">
                        <c:v>0</c:v>
                      </c:pt>
                      <c:pt idx="3080">
                        <c:v>0</c:v>
                      </c:pt>
                      <c:pt idx="3081">
                        <c:v>0</c:v>
                      </c:pt>
                      <c:pt idx="3082">
                        <c:v>0</c:v>
                      </c:pt>
                      <c:pt idx="3083">
                        <c:v>0</c:v>
                      </c:pt>
                      <c:pt idx="3084">
                        <c:v>0</c:v>
                      </c:pt>
                      <c:pt idx="3085">
                        <c:v>0</c:v>
                      </c:pt>
                      <c:pt idx="3086">
                        <c:v>0</c:v>
                      </c:pt>
                      <c:pt idx="3087">
                        <c:v>0</c:v>
                      </c:pt>
                      <c:pt idx="3088">
                        <c:v>0</c:v>
                      </c:pt>
                      <c:pt idx="3089">
                        <c:v>0</c:v>
                      </c:pt>
                      <c:pt idx="3090">
                        <c:v>0</c:v>
                      </c:pt>
                      <c:pt idx="3091">
                        <c:v>0</c:v>
                      </c:pt>
                      <c:pt idx="3092">
                        <c:v>0</c:v>
                      </c:pt>
                      <c:pt idx="3093">
                        <c:v>0</c:v>
                      </c:pt>
                      <c:pt idx="3094">
                        <c:v>0</c:v>
                      </c:pt>
                      <c:pt idx="3095">
                        <c:v>0</c:v>
                      </c:pt>
                      <c:pt idx="3096">
                        <c:v>0</c:v>
                      </c:pt>
                      <c:pt idx="3097">
                        <c:v>0</c:v>
                      </c:pt>
                      <c:pt idx="3098">
                        <c:v>0</c:v>
                      </c:pt>
                      <c:pt idx="3099">
                        <c:v>0</c:v>
                      </c:pt>
                      <c:pt idx="3100">
                        <c:v>0</c:v>
                      </c:pt>
                      <c:pt idx="3101">
                        <c:v>0</c:v>
                      </c:pt>
                      <c:pt idx="3102">
                        <c:v>0</c:v>
                      </c:pt>
                      <c:pt idx="3103">
                        <c:v>0</c:v>
                      </c:pt>
                      <c:pt idx="3104">
                        <c:v>0</c:v>
                      </c:pt>
                      <c:pt idx="3105">
                        <c:v>0</c:v>
                      </c:pt>
                      <c:pt idx="3106">
                        <c:v>0</c:v>
                      </c:pt>
                      <c:pt idx="3107">
                        <c:v>0</c:v>
                      </c:pt>
                      <c:pt idx="3108">
                        <c:v>0</c:v>
                      </c:pt>
                      <c:pt idx="3109">
                        <c:v>0</c:v>
                      </c:pt>
                      <c:pt idx="3110">
                        <c:v>0</c:v>
                      </c:pt>
                      <c:pt idx="3111">
                        <c:v>0</c:v>
                      </c:pt>
                      <c:pt idx="3112">
                        <c:v>0</c:v>
                      </c:pt>
                      <c:pt idx="3113">
                        <c:v>0</c:v>
                      </c:pt>
                      <c:pt idx="3114">
                        <c:v>0</c:v>
                      </c:pt>
                      <c:pt idx="3115">
                        <c:v>0</c:v>
                      </c:pt>
                      <c:pt idx="3116">
                        <c:v>0</c:v>
                      </c:pt>
                      <c:pt idx="3117">
                        <c:v>0</c:v>
                      </c:pt>
                      <c:pt idx="3118">
                        <c:v>0</c:v>
                      </c:pt>
                      <c:pt idx="3119">
                        <c:v>0</c:v>
                      </c:pt>
                      <c:pt idx="3120">
                        <c:v>0</c:v>
                      </c:pt>
                      <c:pt idx="3121">
                        <c:v>0</c:v>
                      </c:pt>
                      <c:pt idx="3122">
                        <c:v>0</c:v>
                      </c:pt>
                      <c:pt idx="3123">
                        <c:v>0</c:v>
                      </c:pt>
                      <c:pt idx="3124">
                        <c:v>0</c:v>
                      </c:pt>
                      <c:pt idx="3125">
                        <c:v>0</c:v>
                      </c:pt>
                      <c:pt idx="3126">
                        <c:v>0</c:v>
                      </c:pt>
                      <c:pt idx="3127">
                        <c:v>0</c:v>
                      </c:pt>
                      <c:pt idx="3128">
                        <c:v>0</c:v>
                      </c:pt>
                      <c:pt idx="3129">
                        <c:v>0</c:v>
                      </c:pt>
                      <c:pt idx="3130">
                        <c:v>0</c:v>
                      </c:pt>
                      <c:pt idx="3131">
                        <c:v>0</c:v>
                      </c:pt>
                      <c:pt idx="3132">
                        <c:v>0</c:v>
                      </c:pt>
                      <c:pt idx="3133">
                        <c:v>0</c:v>
                      </c:pt>
                      <c:pt idx="3134">
                        <c:v>0</c:v>
                      </c:pt>
                      <c:pt idx="3135">
                        <c:v>0</c:v>
                      </c:pt>
                      <c:pt idx="3136">
                        <c:v>0</c:v>
                      </c:pt>
                      <c:pt idx="3137">
                        <c:v>0</c:v>
                      </c:pt>
                      <c:pt idx="3138">
                        <c:v>0</c:v>
                      </c:pt>
                      <c:pt idx="3139">
                        <c:v>0</c:v>
                      </c:pt>
                      <c:pt idx="3140">
                        <c:v>0</c:v>
                      </c:pt>
                      <c:pt idx="3141">
                        <c:v>0</c:v>
                      </c:pt>
                      <c:pt idx="3142">
                        <c:v>0</c:v>
                      </c:pt>
                      <c:pt idx="3143">
                        <c:v>0</c:v>
                      </c:pt>
                      <c:pt idx="3144">
                        <c:v>0</c:v>
                      </c:pt>
                      <c:pt idx="3145">
                        <c:v>0</c:v>
                      </c:pt>
                      <c:pt idx="3146">
                        <c:v>0</c:v>
                      </c:pt>
                      <c:pt idx="3147">
                        <c:v>0</c:v>
                      </c:pt>
                      <c:pt idx="3148">
                        <c:v>0</c:v>
                      </c:pt>
                      <c:pt idx="3149">
                        <c:v>0</c:v>
                      </c:pt>
                      <c:pt idx="3150">
                        <c:v>0</c:v>
                      </c:pt>
                      <c:pt idx="3151">
                        <c:v>0</c:v>
                      </c:pt>
                      <c:pt idx="3152">
                        <c:v>0</c:v>
                      </c:pt>
                      <c:pt idx="3153">
                        <c:v>0</c:v>
                      </c:pt>
                      <c:pt idx="3154">
                        <c:v>0</c:v>
                      </c:pt>
                      <c:pt idx="3155">
                        <c:v>0</c:v>
                      </c:pt>
                      <c:pt idx="3156">
                        <c:v>0</c:v>
                      </c:pt>
                      <c:pt idx="3157">
                        <c:v>0</c:v>
                      </c:pt>
                      <c:pt idx="3158">
                        <c:v>0</c:v>
                      </c:pt>
                      <c:pt idx="3159">
                        <c:v>0</c:v>
                      </c:pt>
                      <c:pt idx="3160">
                        <c:v>0</c:v>
                      </c:pt>
                      <c:pt idx="3161">
                        <c:v>0</c:v>
                      </c:pt>
                      <c:pt idx="3162">
                        <c:v>0</c:v>
                      </c:pt>
                      <c:pt idx="3163">
                        <c:v>0</c:v>
                      </c:pt>
                      <c:pt idx="3164">
                        <c:v>0</c:v>
                      </c:pt>
                      <c:pt idx="3165">
                        <c:v>0</c:v>
                      </c:pt>
                      <c:pt idx="3166">
                        <c:v>0</c:v>
                      </c:pt>
                      <c:pt idx="3167">
                        <c:v>0</c:v>
                      </c:pt>
                      <c:pt idx="3168">
                        <c:v>0</c:v>
                      </c:pt>
                      <c:pt idx="3169">
                        <c:v>0</c:v>
                      </c:pt>
                      <c:pt idx="3170">
                        <c:v>0</c:v>
                      </c:pt>
                      <c:pt idx="3171">
                        <c:v>0</c:v>
                      </c:pt>
                      <c:pt idx="3172">
                        <c:v>0</c:v>
                      </c:pt>
                      <c:pt idx="3173">
                        <c:v>0</c:v>
                      </c:pt>
                      <c:pt idx="3174">
                        <c:v>0</c:v>
                      </c:pt>
                      <c:pt idx="3175">
                        <c:v>0</c:v>
                      </c:pt>
                      <c:pt idx="3176">
                        <c:v>0</c:v>
                      </c:pt>
                      <c:pt idx="3177">
                        <c:v>0</c:v>
                      </c:pt>
                      <c:pt idx="3178">
                        <c:v>0</c:v>
                      </c:pt>
                      <c:pt idx="3179">
                        <c:v>0</c:v>
                      </c:pt>
                      <c:pt idx="3180">
                        <c:v>0</c:v>
                      </c:pt>
                      <c:pt idx="3181">
                        <c:v>0</c:v>
                      </c:pt>
                      <c:pt idx="3182">
                        <c:v>0</c:v>
                      </c:pt>
                      <c:pt idx="3183">
                        <c:v>0</c:v>
                      </c:pt>
                      <c:pt idx="3184">
                        <c:v>0</c:v>
                      </c:pt>
                      <c:pt idx="3185">
                        <c:v>0</c:v>
                      </c:pt>
                      <c:pt idx="3186">
                        <c:v>0</c:v>
                      </c:pt>
                      <c:pt idx="3187">
                        <c:v>0</c:v>
                      </c:pt>
                      <c:pt idx="3188">
                        <c:v>0</c:v>
                      </c:pt>
                      <c:pt idx="3189">
                        <c:v>0</c:v>
                      </c:pt>
                      <c:pt idx="3190">
                        <c:v>0</c:v>
                      </c:pt>
                      <c:pt idx="3191">
                        <c:v>0</c:v>
                      </c:pt>
                      <c:pt idx="3192">
                        <c:v>0</c:v>
                      </c:pt>
                      <c:pt idx="3193">
                        <c:v>0</c:v>
                      </c:pt>
                      <c:pt idx="3194">
                        <c:v>0</c:v>
                      </c:pt>
                      <c:pt idx="3195">
                        <c:v>0</c:v>
                      </c:pt>
                      <c:pt idx="3196">
                        <c:v>0</c:v>
                      </c:pt>
                      <c:pt idx="3197">
                        <c:v>0</c:v>
                      </c:pt>
                      <c:pt idx="3198">
                        <c:v>0</c:v>
                      </c:pt>
                      <c:pt idx="3199">
                        <c:v>0</c:v>
                      </c:pt>
                      <c:pt idx="3200">
                        <c:v>0</c:v>
                      </c:pt>
                      <c:pt idx="3201">
                        <c:v>0</c:v>
                      </c:pt>
                      <c:pt idx="3202">
                        <c:v>0</c:v>
                      </c:pt>
                      <c:pt idx="3203">
                        <c:v>0</c:v>
                      </c:pt>
                      <c:pt idx="3204">
                        <c:v>0</c:v>
                      </c:pt>
                      <c:pt idx="3205">
                        <c:v>0</c:v>
                      </c:pt>
                      <c:pt idx="3206">
                        <c:v>0</c:v>
                      </c:pt>
                      <c:pt idx="3207">
                        <c:v>0</c:v>
                      </c:pt>
                      <c:pt idx="3208">
                        <c:v>0</c:v>
                      </c:pt>
                      <c:pt idx="3209">
                        <c:v>0</c:v>
                      </c:pt>
                      <c:pt idx="3210">
                        <c:v>0</c:v>
                      </c:pt>
                      <c:pt idx="3211">
                        <c:v>0</c:v>
                      </c:pt>
                      <c:pt idx="3212">
                        <c:v>0</c:v>
                      </c:pt>
                      <c:pt idx="3213">
                        <c:v>0</c:v>
                      </c:pt>
                      <c:pt idx="3214">
                        <c:v>0</c:v>
                      </c:pt>
                      <c:pt idx="3215">
                        <c:v>0</c:v>
                      </c:pt>
                      <c:pt idx="3216">
                        <c:v>0</c:v>
                      </c:pt>
                      <c:pt idx="3217">
                        <c:v>0</c:v>
                      </c:pt>
                      <c:pt idx="3218">
                        <c:v>0</c:v>
                      </c:pt>
                      <c:pt idx="3219">
                        <c:v>0</c:v>
                      </c:pt>
                      <c:pt idx="3220">
                        <c:v>0</c:v>
                      </c:pt>
                      <c:pt idx="3221">
                        <c:v>0</c:v>
                      </c:pt>
                      <c:pt idx="3222">
                        <c:v>0</c:v>
                      </c:pt>
                      <c:pt idx="3223">
                        <c:v>0</c:v>
                      </c:pt>
                      <c:pt idx="3224">
                        <c:v>0</c:v>
                      </c:pt>
                      <c:pt idx="3225">
                        <c:v>0</c:v>
                      </c:pt>
                      <c:pt idx="3226">
                        <c:v>0</c:v>
                      </c:pt>
                      <c:pt idx="3227">
                        <c:v>0</c:v>
                      </c:pt>
                      <c:pt idx="3228">
                        <c:v>0</c:v>
                      </c:pt>
                      <c:pt idx="3229">
                        <c:v>0</c:v>
                      </c:pt>
                      <c:pt idx="3230">
                        <c:v>0</c:v>
                      </c:pt>
                      <c:pt idx="3231">
                        <c:v>0</c:v>
                      </c:pt>
                      <c:pt idx="3232">
                        <c:v>0</c:v>
                      </c:pt>
                      <c:pt idx="3233">
                        <c:v>0</c:v>
                      </c:pt>
                      <c:pt idx="3234">
                        <c:v>0</c:v>
                      </c:pt>
                      <c:pt idx="3235">
                        <c:v>0</c:v>
                      </c:pt>
                      <c:pt idx="3236">
                        <c:v>0</c:v>
                      </c:pt>
                      <c:pt idx="3237">
                        <c:v>0</c:v>
                      </c:pt>
                      <c:pt idx="3238">
                        <c:v>0</c:v>
                      </c:pt>
                      <c:pt idx="3239">
                        <c:v>0</c:v>
                      </c:pt>
                      <c:pt idx="3240">
                        <c:v>0</c:v>
                      </c:pt>
                      <c:pt idx="3241">
                        <c:v>0</c:v>
                      </c:pt>
                      <c:pt idx="3242">
                        <c:v>0</c:v>
                      </c:pt>
                      <c:pt idx="3243">
                        <c:v>0</c:v>
                      </c:pt>
                      <c:pt idx="3244">
                        <c:v>0</c:v>
                      </c:pt>
                      <c:pt idx="3245">
                        <c:v>0</c:v>
                      </c:pt>
                      <c:pt idx="3246">
                        <c:v>0</c:v>
                      </c:pt>
                      <c:pt idx="3247">
                        <c:v>0</c:v>
                      </c:pt>
                      <c:pt idx="3248">
                        <c:v>0</c:v>
                      </c:pt>
                      <c:pt idx="3249">
                        <c:v>0</c:v>
                      </c:pt>
                      <c:pt idx="3250">
                        <c:v>0</c:v>
                      </c:pt>
                      <c:pt idx="3251">
                        <c:v>0</c:v>
                      </c:pt>
                      <c:pt idx="3252">
                        <c:v>0</c:v>
                      </c:pt>
                      <c:pt idx="3253">
                        <c:v>0</c:v>
                      </c:pt>
                      <c:pt idx="3254">
                        <c:v>0</c:v>
                      </c:pt>
                      <c:pt idx="3255">
                        <c:v>0</c:v>
                      </c:pt>
                      <c:pt idx="3256">
                        <c:v>0</c:v>
                      </c:pt>
                      <c:pt idx="3257">
                        <c:v>0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</c:v>
                      </c:pt>
                      <c:pt idx="3265">
                        <c:v>0</c:v>
                      </c:pt>
                      <c:pt idx="3266">
                        <c:v>0</c:v>
                      </c:pt>
                      <c:pt idx="3267">
                        <c:v>0</c:v>
                      </c:pt>
                      <c:pt idx="3268">
                        <c:v>0</c:v>
                      </c:pt>
                      <c:pt idx="3269">
                        <c:v>0</c:v>
                      </c:pt>
                      <c:pt idx="3270">
                        <c:v>0</c:v>
                      </c:pt>
                      <c:pt idx="3271">
                        <c:v>0</c:v>
                      </c:pt>
                      <c:pt idx="3272">
                        <c:v>0</c:v>
                      </c:pt>
                      <c:pt idx="3273">
                        <c:v>0</c:v>
                      </c:pt>
                      <c:pt idx="3274">
                        <c:v>0</c:v>
                      </c:pt>
                      <c:pt idx="3275">
                        <c:v>0</c:v>
                      </c:pt>
                      <c:pt idx="3276">
                        <c:v>0</c:v>
                      </c:pt>
                      <c:pt idx="3277">
                        <c:v>0</c:v>
                      </c:pt>
                      <c:pt idx="3278">
                        <c:v>0</c:v>
                      </c:pt>
                      <c:pt idx="3279">
                        <c:v>0</c:v>
                      </c:pt>
                      <c:pt idx="3280">
                        <c:v>0</c:v>
                      </c:pt>
                      <c:pt idx="3281">
                        <c:v>0</c:v>
                      </c:pt>
                      <c:pt idx="3282">
                        <c:v>0</c:v>
                      </c:pt>
                      <c:pt idx="3283">
                        <c:v>0</c:v>
                      </c:pt>
                      <c:pt idx="3284">
                        <c:v>0</c:v>
                      </c:pt>
                      <c:pt idx="3285">
                        <c:v>0</c:v>
                      </c:pt>
                      <c:pt idx="3286">
                        <c:v>0</c:v>
                      </c:pt>
                      <c:pt idx="3287">
                        <c:v>0</c:v>
                      </c:pt>
                      <c:pt idx="3288">
                        <c:v>0</c:v>
                      </c:pt>
                      <c:pt idx="3289">
                        <c:v>0</c:v>
                      </c:pt>
                      <c:pt idx="3290">
                        <c:v>0</c:v>
                      </c:pt>
                      <c:pt idx="3291">
                        <c:v>0</c:v>
                      </c:pt>
                      <c:pt idx="3292">
                        <c:v>0</c:v>
                      </c:pt>
                      <c:pt idx="3293">
                        <c:v>0</c:v>
                      </c:pt>
                      <c:pt idx="3294">
                        <c:v>0</c:v>
                      </c:pt>
                      <c:pt idx="3295">
                        <c:v>0</c:v>
                      </c:pt>
                      <c:pt idx="3296">
                        <c:v>0</c:v>
                      </c:pt>
                      <c:pt idx="3297">
                        <c:v>0</c:v>
                      </c:pt>
                      <c:pt idx="3298">
                        <c:v>0</c:v>
                      </c:pt>
                      <c:pt idx="3299">
                        <c:v>0</c:v>
                      </c:pt>
                      <c:pt idx="3300">
                        <c:v>0</c:v>
                      </c:pt>
                      <c:pt idx="3301">
                        <c:v>0</c:v>
                      </c:pt>
                      <c:pt idx="3302">
                        <c:v>0</c:v>
                      </c:pt>
                      <c:pt idx="3303">
                        <c:v>0</c:v>
                      </c:pt>
                      <c:pt idx="3304">
                        <c:v>0</c:v>
                      </c:pt>
                      <c:pt idx="3305">
                        <c:v>0</c:v>
                      </c:pt>
                      <c:pt idx="3306">
                        <c:v>0</c:v>
                      </c:pt>
                      <c:pt idx="3307">
                        <c:v>0</c:v>
                      </c:pt>
                      <c:pt idx="3308">
                        <c:v>0</c:v>
                      </c:pt>
                      <c:pt idx="3309">
                        <c:v>0</c:v>
                      </c:pt>
                      <c:pt idx="3310">
                        <c:v>0</c:v>
                      </c:pt>
                      <c:pt idx="3311">
                        <c:v>0</c:v>
                      </c:pt>
                      <c:pt idx="3312">
                        <c:v>0</c:v>
                      </c:pt>
                      <c:pt idx="3313">
                        <c:v>0</c:v>
                      </c:pt>
                      <c:pt idx="3314">
                        <c:v>0</c:v>
                      </c:pt>
                      <c:pt idx="3315">
                        <c:v>0</c:v>
                      </c:pt>
                      <c:pt idx="3316">
                        <c:v>0</c:v>
                      </c:pt>
                      <c:pt idx="3317">
                        <c:v>0</c:v>
                      </c:pt>
                      <c:pt idx="3318">
                        <c:v>0</c:v>
                      </c:pt>
                      <c:pt idx="3319">
                        <c:v>0</c:v>
                      </c:pt>
                      <c:pt idx="3320">
                        <c:v>0</c:v>
                      </c:pt>
                      <c:pt idx="3321">
                        <c:v>0</c:v>
                      </c:pt>
                      <c:pt idx="3322">
                        <c:v>0</c:v>
                      </c:pt>
                      <c:pt idx="3323">
                        <c:v>0</c:v>
                      </c:pt>
                      <c:pt idx="3324">
                        <c:v>0</c:v>
                      </c:pt>
                      <c:pt idx="3325">
                        <c:v>0</c:v>
                      </c:pt>
                      <c:pt idx="3326">
                        <c:v>0</c:v>
                      </c:pt>
                      <c:pt idx="3327">
                        <c:v>0</c:v>
                      </c:pt>
                      <c:pt idx="3328">
                        <c:v>0</c:v>
                      </c:pt>
                      <c:pt idx="3329">
                        <c:v>0</c:v>
                      </c:pt>
                      <c:pt idx="3330">
                        <c:v>0</c:v>
                      </c:pt>
                      <c:pt idx="3331">
                        <c:v>0</c:v>
                      </c:pt>
                      <c:pt idx="3332">
                        <c:v>0</c:v>
                      </c:pt>
                      <c:pt idx="3333">
                        <c:v>0</c:v>
                      </c:pt>
                      <c:pt idx="3334">
                        <c:v>0</c:v>
                      </c:pt>
                      <c:pt idx="3335">
                        <c:v>0</c:v>
                      </c:pt>
                      <c:pt idx="3336">
                        <c:v>0</c:v>
                      </c:pt>
                      <c:pt idx="3337">
                        <c:v>0</c:v>
                      </c:pt>
                      <c:pt idx="3338">
                        <c:v>0</c:v>
                      </c:pt>
                      <c:pt idx="3339">
                        <c:v>0</c:v>
                      </c:pt>
                      <c:pt idx="3340">
                        <c:v>0</c:v>
                      </c:pt>
                      <c:pt idx="3341">
                        <c:v>0</c:v>
                      </c:pt>
                      <c:pt idx="3342">
                        <c:v>0</c:v>
                      </c:pt>
                      <c:pt idx="3343">
                        <c:v>0</c:v>
                      </c:pt>
                      <c:pt idx="3344">
                        <c:v>0</c:v>
                      </c:pt>
                      <c:pt idx="3345">
                        <c:v>0</c:v>
                      </c:pt>
                      <c:pt idx="3346">
                        <c:v>0</c:v>
                      </c:pt>
                      <c:pt idx="3347">
                        <c:v>0</c:v>
                      </c:pt>
                      <c:pt idx="3348">
                        <c:v>0</c:v>
                      </c:pt>
                      <c:pt idx="3349">
                        <c:v>0</c:v>
                      </c:pt>
                      <c:pt idx="3350">
                        <c:v>0</c:v>
                      </c:pt>
                      <c:pt idx="3351">
                        <c:v>0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</c:v>
                      </c:pt>
                      <c:pt idx="3357">
                        <c:v>0</c:v>
                      </c:pt>
                      <c:pt idx="3358">
                        <c:v>0</c:v>
                      </c:pt>
                      <c:pt idx="3359">
                        <c:v>0</c:v>
                      </c:pt>
                      <c:pt idx="3360">
                        <c:v>0</c:v>
                      </c:pt>
                      <c:pt idx="3361">
                        <c:v>0</c:v>
                      </c:pt>
                      <c:pt idx="3362">
                        <c:v>0</c:v>
                      </c:pt>
                      <c:pt idx="3363">
                        <c:v>0</c:v>
                      </c:pt>
                      <c:pt idx="3364">
                        <c:v>0</c:v>
                      </c:pt>
                      <c:pt idx="3365">
                        <c:v>0</c:v>
                      </c:pt>
                      <c:pt idx="3366">
                        <c:v>0</c:v>
                      </c:pt>
                      <c:pt idx="3367">
                        <c:v>0</c:v>
                      </c:pt>
                      <c:pt idx="3368">
                        <c:v>0</c:v>
                      </c:pt>
                      <c:pt idx="3369">
                        <c:v>0</c:v>
                      </c:pt>
                      <c:pt idx="3370">
                        <c:v>0</c:v>
                      </c:pt>
                      <c:pt idx="3371">
                        <c:v>0</c:v>
                      </c:pt>
                      <c:pt idx="3372">
                        <c:v>0</c:v>
                      </c:pt>
                      <c:pt idx="3373">
                        <c:v>0</c:v>
                      </c:pt>
                      <c:pt idx="3374">
                        <c:v>0</c:v>
                      </c:pt>
                      <c:pt idx="3375">
                        <c:v>0</c:v>
                      </c:pt>
                      <c:pt idx="3376">
                        <c:v>0</c:v>
                      </c:pt>
                      <c:pt idx="3377">
                        <c:v>0</c:v>
                      </c:pt>
                      <c:pt idx="3378">
                        <c:v>0</c:v>
                      </c:pt>
                      <c:pt idx="3379">
                        <c:v>0</c:v>
                      </c:pt>
                      <c:pt idx="3380">
                        <c:v>0</c:v>
                      </c:pt>
                      <c:pt idx="3381">
                        <c:v>0</c:v>
                      </c:pt>
                      <c:pt idx="3382">
                        <c:v>0</c:v>
                      </c:pt>
                      <c:pt idx="3383">
                        <c:v>0</c:v>
                      </c:pt>
                      <c:pt idx="3384">
                        <c:v>0</c:v>
                      </c:pt>
                      <c:pt idx="3385">
                        <c:v>0</c:v>
                      </c:pt>
                      <c:pt idx="3386">
                        <c:v>0</c:v>
                      </c:pt>
                      <c:pt idx="3387">
                        <c:v>0</c:v>
                      </c:pt>
                      <c:pt idx="3388">
                        <c:v>0</c:v>
                      </c:pt>
                      <c:pt idx="3389">
                        <c:v>0</c:v>
                      </c:pt>
                      <c:pt idx="3390">
                        <c:v>0</c:v>
                      </c:pt>
                      <c:pt idx="3391">
                        <c:v>0</c:v>
                      </c:pt>
                      <c:pt idx="3392">
                        <c:v>0</c:v>
                      </c:pt>
                      <c:pt idx="3393">
                        <c:v>0</c:v>
                      </c:pt>
                      <c:pt idx="3394">
                        <c:v>0</c:v>
                      </c:pt>
                      <c:pt idx="3395">
                        <c:v>0</c:v>
                      </c:pt>
                      <c:pt idx="3396">
                        <c:v>0</c:v>
                      </c:pt>
                      <c:pt idx="3397">
                        <c:v>0</c:v>
                      </c:pt>
                      <c:pt idx="3398">
                        <c:v>0</c:v>
                      </c:pt>
                      <c:pt idx="3399">
                        <c:v>0</c:v>
                      </c:pt>
                      <c:pt idx="3400">
                        <c:v>0</c:v>
                      </c:pt>
                      <c:pt idx="3401">
                        <c:v>0</c:v>
                      </c:pt>
                      <c:pt idx="3402">
                        <c:v>0</c:v>
                      </c:pt>
                      <c:pt idx="3403">
                        <c:v>0</c:v>
                      </c:pt>
                      <c:pt idx="3404">
                        <c:v>0</c:v>
                      </c:pt>
                      <c:pt idx="3405">
                        <c:v>0</c:v>
                      </c:pt>
                      <c:pt idx="3406">
                        <c:v>0</c:v>
                      </c:pt>
                      <c:pt idx="3407">
                        <c:v>0</c:v>
                      </c:pt>
                      <c:pt idx="3408">
                        <c:v>0</c:v>
                      </c:pt>
                      <c:pt idx="3409">
                        <c:v>0</c:v>
                      </c:pt>
                      <c:pt idx="3410">
                        <c:v>0</c:v>
                      </c:pt>
                      <c:pt idx="3411">
                        <c:v>0</c:v>
                      </c:pt>
                      <c:pt idx="3412">
                        <c:v>0</c:v>
                      </c:pt>
                      <c:pt idx="3413">
                        <c:v>0</c:v>
                      </c:pt>
                      <c:pt idx="3414">
                        <c:v>0</c:v>
                      </c:pt>
                      <c:pt idx="3415">
                        <c:v>0</c:v>
                      </c:pt>
                      <c:pt idx="3416">
                        <c:v>0</c:v>
                      </c:pt>
                      <c:pt idx="3417">
                        <c:v>0</c:v>
                      </c:pt>
                      <c:pt idx="3418">
                        <c:v>0</c:v>
                      </c:pt>
                      <c:pt idx="3419">
                        <c:v>0</c:v>
                      </c:pt>
                      <c:pt idx="3420">
                        <c:v>0</c:v>
                      </c:pt>
                      <c:pt idx="3421">
                        <c:v>0</c:v>
                      </c:pt>
                      <c:pt idx="3422">
                        <c:v>0</c:v>
                      </c:pt>
                      <c:pt idx="3423">
                        <c:v>0</c:v>
                      </c:pt>
                      <c:pt idx="3424">
                        <c:v>0</c:v>
                      </c:pt>
                      <c:pt idx="3425">
                        <c:v>0</c:v>
                      </c:pt>
                      <c:pt idx="3426">
                        <c:v>0</c:v>
                      </c:pt>
                      <c:pt idx="3427">
                        <c:v>0</c:v>
                      </c:pt>
                      <c:pt idx="3428">
                        <c:v>0</c:v>
                      </c:pt>
                      <c:pt idx="3429">
                        <c:v>0</c:v>
                      </c:pt>
                      <c:pt idx="3430">
                        <c:v>0</c:v>
                      </c:pt>
                      <c:pt idx="3431">
                        <c:v>0</c:v>
                      </c:pt>
                      <c:pt idx="3432">
                        <c:v>0</c:v>
                      </c:pt>
                      <c:pt idx="3433">
                        <c:v>0</c:v>
                      </c:pt>
                      <c:pt idx="3434">
                        <c:v>0</c:v>
                      </c:pt>
                      <c:pt idx="3435">
                        <c:v>0</c:v>
                      </c:pt>
                      <c:pt idx="3436">
                        <c:v>0</c:v>
                      </c:pt>
                      <c:pt idx="3437">
                        <c:v>0</c:v>
                      </c:pt>
                      <c:pt idx="3438">
                        <c:v>0</c:v>
                      </c:pt>
                      <c:pt idx="3439">
                        <c:v>0</c:v>
                      </c:pt>
                      <c:pt idx="3440">
                        <c:v>0</c:v>
                      </c:pt>
                      <c:pt idx="3441">
                        <c:v>0</c:v>
                      </c:pt>
                      <c:pt idx="3442">
                        <c:v>0</c:v>
                      </c:pt>
                      <c:pt idx="3443">
                        <c:v>0</c:v>
                      </c:pt>
                      <c:pt idx="3444">
                        <c:v>0</c:v>
                      </c:pt>
                      <c:pt idx="3445">
                        <c:v>0</c:v>
                      </c:pt>
                      <c:pt idx="3446">
                        <c:v>0</c:v>
                      </c:pt>
                      <c:pt idx="3447">
                        <c:v>0</c:v>
                      </c:pt>
                      <c:pt idx="3448">
                        <c:v>0</c:v>
                      </c:pt>
                      <c:pt idx="3449">
                        <c:v>0</c:v>
                      </c:pt>
                      <c:pt idx="3450">
                        <c:v>0</c:v>
                      </c:pt>
                      <c:pt idx="3451">
                        <c:v>0</c:v>
                      </c:pt>
                      <c:pt idx="3452">
                        <c:v>0</c:v>
                      </c:pt>
                      <c:pt idx="3453">
                        <c:v>0</c:v>
                      </c:pt>
                      <c:pt idx="3454">
                        <c:v>0</c:v>
                      </c:pt>
                      <c:pt idx="3455">
                        <c:v>0</c:v>
                      </c:pt>
                      <c:pt idx="3456">
                        <c:v>0</c:v>
                      </c:pt>
                      <c:pt idx="3457">
                        <c:v>0</c:v>
                      </c:pt>
                      <c:pt idx="3458">
                        <c:v>0</c:v>
                      </c:pt>
                      <c:pt idx="3459">
                        <c:v>0</c:v>
                      </c:pt>
                      <c:pt idx="3460">
                        <c:v>0</c:v>
                      </c:pt>
                      <c:pt idx="3461">
                        <c:v>0</c:v>
                      </c:pt>
                      <c:pt idx="3462">
                        <c:v>0</c:v>
                      </c:pt>
                      <c:pt idx="3463">
                        <c:v>0</c:v>
                      </c:pt>
                      <c:pt idx="3464">
                        <c:v>0</c:v>
                      </c:pt>
                      <c:pt idx="3465">
                        <c:v>0</c:v>
                      </c:pt>
                      <c:pt idx="3466">
                        <c:v>0</c:v>
                      </c:pt>
                      <c:pt idx="3467">
                        <c:v>0</c:v>
                      </c:pt>
                      <c:pt idx="3468">
                        <c:v>0</c:v>
                      </c:pt>
                      <c:pt idx="3469">
                        <c:v>0</c:v>
                      </c:pt>
                      <c:pt idx="3470">
                        <c:v>0</c:v>
                      </c:pt>
                      <c:pt idx="3471">
                        <c:v>0</c:v>
                      </c:pt>
                      <c:pt idx="3472">
                        <c:v>0</c:v>
                      </c:pt>
                      <c:pt idx="3473">
                        <c:v>0</c:v>
                      </c:pt>
                      <c:pt idx="3474">
                        <c:v>0</c:v>
                      </c:pt>
                      <c:pt idx="3475">
                        <c:v>0</c:v>
                      </c:pt>
                      <c:pt idx="3476">
                        <c:v>0</c:v>
                      </c:pt>
                      <c:pt idx="3477">
                        <c:v>0</c:v>
                      </c:pt>
                      <c:pt idx="3478">
                        <c:v>0</c:v>
                      </c:pt>
                      <c:pt idx="3479">
                        <c:v>0</c:v>
                      </c:pt>
                      <c:pt idx="3480">
                        <c:v>0</c:v>
                      </c:pt>
                      <c:pt idx="3481">
                        <c:v>0</c:v>
                      </c:pt>
                      <c:pt idx="3482">
                        <c:v>0</c:v>
                      </c:pt>
                      <c:pt idx="3483">
                        <c:v>0</c:v>
                      </c:pt>
                      <c:pt idx="3484">
                        <c:v>0</c:v>
                      </c:pt>
                      <c:pt idx="3485">
                        <c:v>0</c:v>
                      </c:pt>
                      <c:pt idx="3486">
                        <c:v>0</c:v>
                      </c:pt>
                      <c:pt idx="3487">
                        <c:v>0</c:v>
                      </c:pt>
                      <c:pt idx="3488">
                        <c:v>0</c:v>
                      </c:pt>
                      <c:pt idx="3489">
                        <c:v>0</c:v>
                      </c:pt>
                      <c:pt idx="3490">
                        <c:v>0</c:v>
                      </c:pt>
                      <c:pt idx="3491">
                        <c:v>0</c:v>
                      </c:pt>
                      <c:pt idx="3492">
                        <c:v>0</c:v>
                      </c:pt>
                      <c:pt idx="3493">
                        <c:v>0</c:v>
                      </c:pt>
                      <c:pt idx="3494">
                        <c:v>0</c:v>
                      </c:pt>
                      <c:pt idx="3495">
                        <c:v>0</c:v>
                      </c:pt>
                      <c:pt idx="3496">
                        <c:v>0</c:v>
                      </c:pt>
                      <c:pt idx="3497">
                        <c:v>0</c:v>
                      </c:pt>
                      <c:pt idx="3498">
                        <c:v>0</c:v>
                      </c:pt>
                      <c:pt idx="3499">
                        <c:v>0</c:v>
                      </c:pt>
                      <c:pt idx="3500">
                        <c:v>0</c:v>
                      </c:pt>
                      <c:pt idx="3501">
                        <c:v>0</c:v>
                      </c:pt>
                      <c:pt idx="3502">
                        <c:v>0</c:v>
                      </c:pt>
                      <c:pt idx="3503">
                        <c:v>0</c:v>
                      </c:pt>
                      <c:pt idx="3504">
                        <c:v>0</c:v>
                      </c:pt>
                      <c:pt idx="3505">
                        <c:v>0</c:v>
                      </c:pt>
                      <c:pt idx="3506">
                        <c:v>0</c:v>
                      </c:pt>
                      <c:pt idx="3507">
                        <c:v>0</c:v>
                      </c:pt>
                      <c:pt idx="3508">
                        <c:v>0</c:v>
                      </c:pt>
                      <c:pt idx="3509">
                        <c:v>0</c:v>
                      </c:pt>
                      <c:pt idx="3510">
                        <c:v>0</c:v>
                      </c:pt>
                      <c:pt idx="3511">
                        <c:v>0</c:v>
                      </c:pt>
                      <c:pt idx="3512">
                        <c:v>0</c:v>
                      </c:pt>
                      <c:pt idx="3513">
                        <c:v>0</c:v>
                      </c:pt>
                      <c:pt idx="3514">
                        <c:v>0</c:v>
                      </c:pt>
                      <c:pt idx="3515">
                        <c:v>0</c:v>
                      </c:pt>
                      <c:pt idx="3516">
                        <c:v>0</c:v>
                      </c:pt>
                      <c:pt idx="3517">
                        <c:v>0</c:v>
                      </c:pt>
                      <c:pt idx="3518">
                        <c:v>0</c:v>
                      </c:pt>
                      <c:pt idx="3519">
                        <c:v>0</c:v>
                      </c:pt>
                      <c:pt idx="3520">
                        <c:v>0</c:v>
                      </c:pt>
                      <c:pt idx="3521">
                        <c:v>0</c:v>
                      </c:pt>
                      <c:pt idx="3522">
                        <c:v>0</c:v>
                      </c:pt>
                      <c:pt idx="3523">
                        <c:v>0</c:v>
                      </c:pt>
                      <c:pt idx="3524">
                        <c:v>0</c:v>
                      </c:pt>
                      <c:pt idx="3525">
                        <c:v>0</c:v>
                      </c:pt>
                      <c:pt idx="3526">
                        <c:v>0</c:v>
                      </c:pt>
                      <c:pt idx="3527">
                        <c:v>0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0</c:v>
                      </c:pt>
                      <c:pt idx="3533">
                        <c:v>0</c:v>
                      </c:pt>
                      <c:pt idx="3534">
                        <c:v>0</c:v>
                      </c:pt>
                      <c:pt idx="3535">
                        <c:v>0</c:v>
                      </c:pt>
                      <c:pt idx="3536">
                        <c:v>0</c:v>
                      </c:pt>
                      <c:pt idx="3537">
                        <c:v>0</c:v>
                      </c:pt>
                      <c:pt idx="3538">
                        <c:v>0</c:v>
                      </c:pt>
                      <c:pt idx="3539">
                        <c:v>0</c:v>
                      </c:pt>
                      <c:pt idx="3540">
                        <c:v>0</c:v>
                      </c:pt>
                      <c:pt idx="3541">
                        <c:v>0</c:v>
                      </c:pt>
                      <c:pt idx="3542">
                        <c:v>0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</c:v>
                      </c:pt>
                      <c:pt idx="3550">
                        <c:v>0</c:v>
                      </c:pt>
                      <c:pt idx="3551">
                        <c:v>0</c:v>
                      </c:pt>
                      <c:pt idx="3552">
                        <c:v>0</c:v>
                      </c:pt>
                      <c:pt idx="3553">
                        <c:v>0</c:v>
                      </c:pt>
                      <c:pt idx="3554">
                        <c:v>0</c:v>
                      </c:pt>
                      <c:pt idx="3555">
                        <c:v>0</c:v>
                      </c:pt>
                      <c:pt idx="3556">
                        <c:v>0</c:v>
                      </c:pt>
                      <c:pt idx="3557">
                        <c:v>0</c:v>
                      </c:pt>
                      <c:pt idx="3558">
                        <c:v>0</c:v>
                      </c:pt>
                      <c:pt idx="3559">
                        <c:v>0</c:v>
                      </c:pt>
                      <c:pt idx="3560">
                        <c:v>0</c:v>
                      </c:pt>
                      <c:pt idx="3561">
                        <c:v>0</c:v>
                      </c:pt>
                      <c:pt idx="3562">
                        <c:v>0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0</c:v>
                      </c:pt>
                      <c:pt idx="3568">
                        <c:v>0</c:v>
                      </c:pt>
                      <c:pt idx="3569">
                        <c:v>0</c:v>
                      </c:pt>
                      <c:pt idx="3570">
                        <c:v>0</c:v>
                      </c:pt>
                      <c:pt idx="3571">
                        <c:v>0</c:v>
                      </c:pt>
                      <c:pt idx="3572">
                        <c:v>0</c:v>
                      </c:pt>
                      <c:pt idx="3573">
                        <c:v>0</c:v>
                      </c:pt>
                      <c:pt idx="3574">
                        <c:v>0</c:v>
                      </c:pt>
                      <c:pt idx="3575">
                        <c:v>0</c:v>
                      </c:pt>
                      <c:pt idx="3576">
                        <c:v>0</c:v>
                      </c:pt>
                      <c:pt idx="3577">
                        <c:v>0</c:v>
                      </c:pt>
                      <c:pt idx="3578">
                        <c:v>0</c:v>
                      </c:pt>
                      <c:pt idx="3579">
                        <c:v>0</c:v>
                      </c:pt>
                      <c:pt idx="3580">
                        <c:v>0</c:v>
                      </c:pt>
                      <c:pt idx="3581">
                        <c:v>0</c:v>
                      </c:pt>
                      <c:pt idx="3582">
                        <c:v>0</c:v>
                      </c:pt>
                      <c:pt idx="3583">
                        <c:v>0</c:v>
                      </c:pt>
                      <c:pt idx="3584">
                        <c:v>0</c:v>
                      </c:pt>
                      <c:pt idx="3585">
                        <c:v>0</c:v>
                      </c:pt>
                      <c:pt idx="3586">
                        <c:v>0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</c:v>
                      </c:pt>
                      <c:pt idx="3594">
                        <c:v>0</c:v>
                      </c:pt>
                      <c:pt idx="3595">
                        <c:v>0</c:v>
                      </c:pt>
                      <c:pt idx="3596">
                        <c:v>0</c:v>
                      </c:pt>
                      <c:pt idx="3597">
                        <c:v>0</c:v>
                      </c:pt>
                      <c:pt idx="3598">
                        <c:v>0</c:v>
                      </c:pt>
                      <c:pt idx="3599">
                        <c:v>0</c:v>
                      </c:pt>
                      <c:pt idx="3600">
                        <c:v>0</c:v>
                      </c:pt>
                      <c:pt idx="3601">
                        <c:v>0</c:v>
                      </c:pt>
                      <c:pt idx="3602">
                        <c:v>0</c:v>
                      </c:pt>
                      <c:pt idx="3603">
                        <c:v>0</c:v>
                      </c:pt>
                      <c:pt idx="3604">
                        <c:v>0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</c:v>
                      </c:pt>
                      <c:pt idx="3619">
                        <c:v>0</c:v>
                      </c:pt>
                      <c:pt idx="3620">
                        <c:v>0</c:v>
                      </c:pt>
                      <c:pt idx="3621">
                        <c:v>0</c:v>
                      </c:pt>
                      <c:pt idx="3622">
                        <c:v>0</c:v>
                      </c:pt>
                      <c:pt idx="3623">
                        <c:v>0</c:v>
                      </c:pt>
                      <c:pt idx="3624">
                        <c:v>0</c:v>
                      </c:pt>
                      <c:pt idx="3625">
                        <c:v>0</c:v>
                      </c:pt>
                      <c:pt idx="3626">
                        <c:v>0</c:v>
                      </c:pt>
                      <c:pt idx="3627">
                        <c:v>0</c:v>
                      </c:pt>
                      <c:pt idx="3628">
                        <c:v>0</c:v>
                      </c:pt>
                      <c:pt idx="3629">
                        <c:v>0</c:v>
                      </c:pt>
                      <c:pt idx="3630">
                        <c:v>0</c:v>
                      </c:pt>
                      <c:pt idx="3631">
                        <c:v>0</c:v>
                      </c:pt>
                      <c:pt idx="3632">
                        <c:v>0</c:v>
                      </c:pt>
                      <c:pt idx="3633">
                        <c:v>0</c:v>
                      </c:pt>
                      <c:pt idx="3634">
                        <c:v>0</c:v>
                      </c:pt>
                      <c:pt idx="3635">
                        <c:v>0</c:v>
                      </c:pt>
                      <c:pt idx="3636">
                        <c:v>0</c:v>
                      </c:pt>
                      <c:pt idx="3637">
                        <c:v>0</c:v>
                      </c:pt>
                      <c:pt idx="3638">
                        <c:v>0</c:v>
                      </c:pt>
                      <c:pt idx="3639">
                        <c:v>0</c:v>
                      </c:pt>
                      <c:pt idx="3640">
                        <c:v>0</c:v>
                      </c:pt>
                      <c:pt idx="3641">
                        <c:v>0</c:v>
                      </c:pt>
                      <c:pt idx="3642">
                        <c:v>0</c:v>
                      </c:pt>
                      <c:pt idx="3643">
                        <c:v>0</c:v>
                      </c:pt>
                      <c:pt idx="3644">
                        <c:v>0</c:v>
                      </c:pt>
                      <c:pt idx="3645">
                        <c:v>0</c:v>
                      </c:pt>
                      <c:pt idx="3646">
                        <c:v>0</c:v>
                      </c:pt>
                      <c:pt idx="3647">
                        <c:v>0</c:v>
                      </c:pt>
                      <c:pt idx="3648">
                        <c:v>0</c:v>
                      </c:pt>
                      <c:pt idx="3649">
                        <c:v>0</c:v>
                      </c:pt>
                      <c:pt idx="3650">
                        <c:v>0</c:v>
                      </c:pt>
                      <c:pt idx="3651">
                        <c:v>0</c:v>
                      </c:pt>
                      <c:pt idx="3652">
                        <c:v>0</c:v>
                      </c:pt>
                      <c:pt idx="3653">
                        <c:v>0</c:v>
                      </c:pt>
                      <c:pt idx="3654">
                        <c:v>0</c:v>
                      </c:pt>
                      <c:pt idx="3655">
                        <c:v>0</c:v>
                      </c:pt>
                      <c:pt idx="3656">
                        <c:v>0</c:v>
                      </c:pt>
                      <c:pt idx="3657">
                        <c:v>0</c:v>
                      </c:pt>
                      <c:pt idx="3658">
                        <c:v>0</c:v>
                      </c:pt>
                      <c:pt idx="3659">
                        <c:v>0</c:v>
                      </c:pt>
                      <c:pt idx="3660">
                        <c:v>0</c:v>
                      </c:pt>
                      <c:pt idx="3661">
                        <c:v>0</c:v>
                      </c:pt>
                      <c:pt idx="3662">
                        <c:v>0</c:v>
                      </c:pt>
                      <c:pt idx="3663">
                        <c:v>0</c:v>
                      </c:pt>
                      <c:pt idx="3664">
                        <c:v>0</c:v>
                      </c:pt>
                      <c:pt idx="3665">
                        <c:v>0</c:v>
                      </c:pt>
                      <c:pt idx="3666">
                        <c:v>0</c:v>
                      </c:pt>
                      <c:pt idx="3667">
                        <c:v>0</c:v>
                      </c:pt>
                      <c:pt idx="3668">
                        <c:v>0</c:v>
                      </c:pt>
                      <c:pt idx="3669">
                        <c:v>0</c:v>
                      </c:pt>
                      <c:pt idx="3670">
                        <c:v>0</c:v>
                      </c:pt>
                      <c:pt idx="3671">
                        <c:v>0</c:v>
                      </c:pt>
                      <c:pt idx="3672">
                        <c:v>0</c:v>
                      </c:pt>
                      <c:pt idx="3673">
                        <c:v>0</c:v>
                      </c:pt>
                      <c:pt idx="3674">
                        <c:v>0</c:v>
                      </c:pt>
                      <c:pt idx="3675">
                        <c:v>0</c:v>
                      </c:pt>
                      <c:pt idx="3676">
                        <c:v>0</c:v>
                      </c:pt>
                      <c:pt idx="3677">
                        <c:v>0</c:v>
                      </c:pt>
                      <c:pt idx="3678">
                        <c:v>0</c:v>
                      </c:pt>
                      <c:pt idx="3679">
                        <c:v>0</c:v>
                      </c:pt>
                      <c:pt idx="3680">
                        <c:v>0</c:v>
                      </c:pt>
                      <c:pt idx="3681">
                        <c:v>0</c:v>
                      </c:pt>
                      <c:pt idx="3682">
                        <c:v>0</c:v>
                      </c:pt>
                      <c:pt idx="3683">
                        <c:v>0</c:v>
                      </c:pt>
                      <c:pt idx="3684">
                        <c:v>0</c:v>
                      </c:pt>
                      <c:pt idx="3685">
                        <c:v>0</c:v>
                      </c:pt>
                      <c:pt idx="3686">
                        <c:v>0</c:v>
                      </c:pt>
                      <c:pt idx="3687">
                        <c:v>0</c:v>
                      </c:pt>
                      <c:pt idx="3688">
                        <c:v>0</c:v>
                      </c:pt>
                      <c:pt idx="3689">
                        <c:v>0</c:v>
                      </c:pt>
                      <c:pt idx="3690">
                        <c:v>0</c:v>
                      </c:pt>
                      <c:pt idx="3691">
                        <c:v>0</c:v>
                      </c:pt>
                      <c:pt idx="3692">
                        <c:v>0</c:v>
                      </c:pt>
                      <c:pt idx="3693">
                        <c:v>0</c:v>
                      </c:pt>
                      <c:pt idx="3694">
                        <c:v>0</c:v>
                      </c:pt>
                      <c:pt idx="3695">
                        <c:v>0</c:v>
                      </c:pt>
                      <c:pt idx="3696">
                        <c:v>0</c:v>
                      </c:pt>
                      <c:pt idx="3697">
                        <c:v>0</c:v>
                      </c:pt>
                      <c:pt idx="3698">
                        <c:v>0</c:v>
                      </c:pt>
                      <c:pt idx="3699">
                        <c:v>0</c:v>
                      </c:pt>
                      <c:pt idx="3700">
                        <c:v>0</c:v>
                      </c:pt>
                      <c:pt idx="3701">
                        <c:v>0</c:v>
                      </c:pt>
                      <c:pt idx="3702">
                        <c:v>0</c:v>
                      </c:pt>
                      <c:pt idx="3703">
                        <c:v>0</c:v>
                      </c:pt>
                      <c:pt idx="3704">
                        <c:v>0</c:v>
                      </c:pt>
                      <c:pt idx="3705">
                        <c:v>0</c:v>
                      </c:pt>
                      <c:pt idx="3706">
                        <c:v>0</c:v>
                      </c:pt>
                      <c:pt idx="3707">
                        <c:v>0</c:v>
                      </c:pt>
                      <c:pt idx="3708">
                        <c:v>0</c:v>
                      </c:pt>
                      <c:pt idx="3709">
                        <c:v>0</c:v>
                      </c:pt>
                      <c:pt idx="3710">
                        <c:v>0</c:v>
                      </c:pt>
                      <c:pt idx="3711">
                        <c:v>0</c:v>
                      </c:pt>
                      <c:pt idx="3712">
                        <c:v>0</c:v>
                      </c:pt>
                      <c:pt idx="3713">
                        <c:v>0</c:v>
                      </c:pt>
                      <c:pt idx="3714">
                        <c:v>0</c:v>
                      </c:pt>
                      <c:pt idx="3715">
                        <c:v>0</c:v>
                      </c:pt>
                      <c:pt idx="3716">
                        <c:v>0</c:v>
                      </c:pt>
                      <c:pt idx="3717">
                        <c:v>0</c:v>
                      </c:pt>
                      <c:pt idx="3718">
                        <c:v>0</c:v>
                      </c:pt>
                      <c:pt idx="3719">
                        <c:v>0</c:v>
                      </c:pt>
                      <c:pt idx="3720">
                        <c:v>0</c:v>
                      </c:pt>
                      <c:pt idx="3721">
                        <c:v>0</c:v>
                      </c:pt>
                      <c:pt idx="3722">
                        <c:v>0</c:v>
                      </c:pt>
                      <c:pt idx="3723">
                        <c:v>0</c:v>
                      </c:pt>
                      <c:pt idx="3724">
                        <c:v>0</c:v>
                      </c:pt>
                      <c:pt idx="3725">
                        <c:v>0</c:v>
                      </c:pt>
                      <c:pt idx="3726">
                        <c:v>0</c:v>
                      </c:pt>
                      <c:pt idx="3727">
                        <c:v>0</c:v>
                      </c:pt>
                      <c:pt idx="3728">
                        <c:v>0</c:v>
                      </c:pt>
                      <c:pt idx="3729">
                        <c:v>0</c:v>
                      </c:pt>
                      <c:pt idx="3730">
                        <c:v>0</c:v>
                      </c:pt>
                      <c:pt idx="3731">
                        <c:v>0</c:v>
                      </c:pt>
                      <c:pt idx="3732">
                        <c:v>0</c:v>
                      </c:pt>
                      <c:pt idx="3733">
                        <c:v>0</c:v>
                      </c:pt>
                      <c:pt idx="3734">
                        <c:v>0</c:v>
                      </c:pt>
                      <c:pt idx="3735">
                        <c:v>0</c:v>
                      </c:pt>
                      <c:pt idx="3736">
                        <c:v>0</c:v>
                      </c:pt>
                      <c:pt idx="3737">
                        <c:v>0</c:v>
                      </c:pt>
                      <c:pt idx="3738">
                        <c:v>0</c:v>
                      </c:pt>
                      <c:pt idx="3739">
                        <c:v>0</c:v>
                      </c:pt>
                      <c:pt idx="3740">
                        <c:v>0</c:v>
                      </c:pt>
                      <c:pt idx="3741">
                        <c:v>0</c:v>
                      </c:pt>
                      <c:pt idx="3742">
                        <c:v>0</c:v>
                      </c:pt>
                      <c:pt idx="3743">
                        <c:v>0</c:v>
                      </c:pt>
                      <c:pt idx="3744">
                        <c:v>0</c:v>
                      </c:pt>
                      <c:pt idx="3745">
                        <c:v>0</c:v>
                      </c:pt>
                      <c:pt idx="3746">
                        <c:v>0</c:v>
                      </c:pt>
                      <c:pt idx="3747">
                        <c:v>0</c:v>
                      </c:pt>
                      <c:pt idx="3748">
                        <c:v>0</c:v>
                      </c:pt>
                      <c:pt idx="3749">
                        <c:v>0</c:v>
                      </c:pt>
                      <c:pt idx="3750">
                        <c:v>0</c:v>
                      </c:pt>
                      <c:pt idx="3751">
                        <c:v>0</c:v>
                      </c:pt>
                      <c:pt idx="3752">
                        <c:v>0</c:v>
                      </c:pt>
                      <c:pt idx="3753">
                        <c:v>0</c:v>
                      </c:pt>
                      <c:pt idx="3754">
                        <c:v>0</c:v>
                      </c:pt>
                      <c:pt idx="3755">
                        <c:v>0</c:v>
                      </c:pt>
                      <c:pt idx="3756">
                        <c:v>0</c:v>
                      </c:pt>
                      <c:pt idx="3757">
                        <c:v>0</c:v>
                      </c:pt>
                      <c:pt idx="3758">
                        <c:v>0</c:v>
                      </c:pt>
                      <c:pt idx="3759">
                        <c:v>0</c:v>
                      </c:pt>
                      <c:pt idx="3760">
                        <c:v>0</c:v>
                      </c:pt>
                      <c:pt idx="3761">
                        <c:v>0</c:v>
                      </c:pt>
                      <c:pt idx="3762">
                        <c:v>0</c:v>
                      </c:pt>
                      <c:pt idx="3763">
                        <c:v>0</c:v>
                      </c:pt>
                      <c:pt idx="3764">
                        <c:v>0</c:v>
                      </c:pt>
                      <c:pt idx="3765">
                        <c:v>0</c:v>
                      </c:pt>
                      <c:pt idx="3766">
                        <c:v>0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</c:v>
                      </c:pt>
                      <c:pt idx="3774">
                        <c:v>0</c:v>
                      </c:pt>
                      <c:pt idx="3775">
                        <c:v>0</c:v>
                      </c:pt>
                      <c:pt idx="3776">
                        <c:v>0</c:v>
                      </c:pt>
                      <c:pt idx="3777">
                        <c:v>0</c:v>
                      </c:pt>
                      <c:pt idx="3778">
                        <c:v>0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0</c:v>
                      </c:pt>
                      <c:pt idx="3783">
                        <c:v>0</c:v>
                      </c:pt>
                      <c:pt idx="3784">
                        <c:v>0</c:v>
                      </c:pt>
                      <c:pt idx="3785">
                        <c:v>0</c:v>
                      </c:pt>
                      <c:pt idx="3786">
                        <c:v>0</c:v>
                      </c:pt>
                      <c:pt idx="3787">
                        <c:v>0</c:v>
                      </c:pt>
                      <c:pt idx="3788">
                        <c:v>0</c:v>
                      </c:pt>
                      <c:pt idx="3789">
                        <c:v>0</c:v>
                      </c:pt>
                      <c:pt idx="3790">
                        <c:v>0</c:v>
                      </c:pt>
                      <c:pt idx="3791">
                        <c:v>0</c:v>
                      </c:pt>
                      <c:pt idx="3792">
                        <c:v>0</c:v>
                      </c:pt>
                      <c:pt idx="3793">
                        <c:v>0</c:v>
                      </c:pt>
                      <c:pt idx="3794">
                        <c:v>0</c:v>
                      </c:pt>
                      <c:pt idx="3795">
                        <c:v>0</c:v>
                      </c:pt>
                      <c:pt idx="3796">
                        <c:v>0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0</c:v>
                      </c:pt>
                      <c:pt idx="3807">
                        <c:v>0</c:v>
                      </c:pt>
                      <c:pt idx="3808">
                        <c:v>0</c:v>
                      </c:pt>
                      <c:pt idx="3809">
                        <c:v>0</c:v>
                      </c:pt>
                      <c:pt idx="3810">
                        <c:v>0</c:v>
                      </c:pt>
                      <c:pt idx="3811">
                        <c:v>0</c:v>
                      </c:pt>
                      <c:pt idx="3812">
                        <c:v>0</c:v>
                      </c:pt>
                      <c:pt idx="3813">
                        <c:v>0</c:v>
                      </c:pt>
                      <c:pt idx="3814">
                        <c:v>0</c:v>
                      </c:pt>
                      <c:pt idx="3815">
                        <c:v>0</c:v>
                      </c:pt>
                      <c:pt idx="3816">
                        <c:v>0</c:v>
                      </c:pt>
                      <c:pt idx="3817">
                        <c:v>0</c:v>
                      </c:pt>
                      <c:pt idx="3818">
                        <c:v>0</c:v>
                      </c:pt>
                      <c:pt idx="3819">
                        <c:v>0</c:v>
                      </c:pt>
                      <c:pt idx="3820">
                        <c:v>0</c:v>
                      </c:pt>
                      <c:pt idx="3821">
                        <c:v>0</c:v>
                      </c:pt>
                      <c:pt idx="3822">
                        <c:v>0</c:v>
                      </c:pt>
                      <c:pt idx="3823">
                        <c:v>0</c:v>
                      </c:pt>
                      <c:pt idx="3824">
                        <c:v>0</c:v>
                      </c:pt>
                      <c:pt idx="3825">
                        <c:v>0</c:v>
                      </c:pt>
                      <c:pt idx="3826">
                        <c:v>0</c:v>
                      </c:pt>
                      <c:pt idx="3827">
                        <c:v>0</c:v>
                      </c:pt>
                      <c:pt idx="3828">
                        <c:v>0</c:v>
                      </c:pt>
                      <c:pt idx="3829">
                        <c:v>0</c:v>
                      </c:pt>
                      <c:pt idx="3830">
                        <c:v>0</c:v>
                      </c:pt>
                      <c:pt idx="3831">
                        <c:v>0</c:v>
                      </c:pt>
                      <c:pt idx="3832">
                        <c:v>0</c:v>
                      </c:pt>
                      <c:pt idx="3833">
                        <c:v>0</c:v>
                      </c:pt>
                      <c:pt idx="3834">
                        <c:v>0</c:v>
                      </c:pt>
                      <c:pt idx="3835">
                        <c:v>0</c:v>
                      </c:pt>
                      <c:pt idx="3836">
                        <c:v>0</c:v>
                      </c:pt>
                      <c:pt idx="3837">
                        <c:v>0</c:v>
                      </c:pt>
                      <c:pt idx="3838">
                        <c:v>0</c:v>
                      </c:pt>
                      <c:pt idx="3839">
                        <c:v>0</c:v>
                      </c:pt>
                      <c:pt idx="3840">
                        <c:v>0</c:v>
                      </c:pt>
                      <c:pt idx="3841">
                        <c:v>0</c:v>
                      </c:pt>
                      <c:pt idx="3842">
                        <c:v>0</c:v>
                      </c:pt>
                      <c:pt idx="3843">
                        <c:v>0</c:v>
                      </c:pt>
                      <c:pt idx="3844">
                        <c:v>0</c:v>
                      </c:pt>
                      <c:pt idx="3845">
                        <c:v>0</c:v>
                      </c:pt>
                      <c:pt idx="3846">
                        <c:v>0</c:v>
                      </c:pt>
                      <c:pt idx="3847">
                        <c:v>0</c:v>
                      </c:pt>
                      <c:pt idx="3848">
                        <c:v>0</c:v>
                      </c:pt>
                      <c:pt idx="3849">
                        <c:v>0</c:v>
                      </c:pt>
                      <c:pt idx="3850">
                        <c:v>0</c:v>
                      </c:pt>
                      <c:pt idx="3851">
                        <c:v>0</c:v>
                      </c:pt>
                      <c:pt idx="3852">
                        <c:v>0</c:v>
                      </c:pt>
                      <c:pt idx="3853">
                        <c:v>0</c:v>
                      </c:pt>
                      <c:pt idx="3854">
                        <c:v>0</c:v>
                      </c:pt>
                      <c:pt idx="3855">
                        <c:v>0</c:v>
                      </c:pt>
                      <c:pt idx="3856">
                        <c:v>0</c:v>
                      </c:pt>
                      <c:pt idx="3857">
                        <c:v>0</c:v>
                      </c:pt>
                      <c:pt idx="3858">
                        <c:v>0</c:v>
                      </c:pt>
                      <c:pt idx="3859">
                        <c:v>0</c:v>
                      </c:pt>
                      <c:pt idx="3860">
                        <c:v>0</c:v>
                      </c:pt>
                      <c:pt idx="3861">
                        <c:v>0</c:v>
                      </c:pt>
                      <c:pt idx="3862">
                        <c:v>0</c:v>
                      </c:pt>
                      <c:pt idx="3863">
                        <c:v>0</c:v>
                      </c:pt>
                      <c:pt idx="3864">
                        <c:v>0</c:v>
                      </c:pt>
                      <c:pt idx="3865">
                        <c:v>0</c:v>
                      </c:pt>
                      <c:pt idx="3866">
                        <c:v>0</c:v>
                      </c:pt>
                      <c:pt idx="3867">
                        <c:v>0</c:v>
                      </c:pt>
                      <c:pt idx="3868">
                        <c:v>0</c:v>
                      </c:pt>
                      <c:pt idx="3869">
                        <c:v>0</c:v>
                      </c:pt>
                      <c:pt idx="3870">
                        <c:v>0</c:v>
                      </c:pt>
                      <c:pt idx="3871">
                        <c:v>0</c:v>
                      </c:pt>
                      <c:pt idx="3872">
                        <c:v>0</c:v>
                      </c:pt>
                      <c:pt idx="3873">
                        <c:v>0</c:v>
                      </c:pt>
                      <c:pt idx="3874">
                        <c:v>0</c:v>
                      </c:pt>
                      <c:pt idx="3875">
                        <c:v>0</c:v>
                      </c:pt>
                      <c:pt idx="3876">
                        <c:v>0</c:v>
                      </c:pt>
                      <c:pt idx="3877">
                        <c:v>0</c:v>
                      </c:pt>
                      <c:pt idx="3878">
                        <c:v>0</c:v>
                      </c:pt>
                      <c:pt idx="3879">
                        <c:v>0</c:v>
                      </c:pt>
                      <c:pt idx="3880">
                        <c:v>0</c:v>
                      </c:pt>
                      <c:pt idx="3881">
                        <c:v>0</c:v>
                      </c:pt>
                      <c:pt idx="3882">
                        <c:v>0</c:v>
                      </c:pt>
                      <c:pt idx="3883">
                        <c:v>0</c:v>
                      </c:pt>
                      <c:pt idx="3884">
                        <c:v>0</c:v>
                      </c:pt>
                      <c:pt idx="3885">
                        <c:v>0</c:v>
                      </c:pt>
                      <c:pt idx="3886">
                        <c:v>0</c:v>
                      </c:pt>
                      <c:pt idx="3887">
                        <c:v>0</c:v>
                      </c:pt>
                      <c:pt idx="3888">
                        <c:v>0</c:v>
                      </c:pt>
                      <c:pt idx="3889">
                        <c:v>0</c:v>
                      </c:pt>
                      <c:pt idx="3890">
                        <c:v>0</c:v>
                      </c:pt>
                      <c:pt idx="3891">
                        <c:v>0</c:v>
                      </c:pt>
                      <c:pt idx="3892">
                        <c:v>0</c:v>
                      </c:pt>
                      <c:pt idx="3893">
                        <c:v>0</c:v>
                      </c:pt>
                      <c:pt idx="3894">
                        <c:v>0</c:v>
                      </c:pt>
                      <c:pt idx="3895">
                        <c:v>0</c:v>
                      </c:pt>
                      <c:pt idx="3896">
                        <c:v>0</c:v>
                      </c:pt>
                      <c:pt idx="3897">
                        <c:v>0</c:v>
                      </c:pt>
                      <c:pt idx="3898">
                        <c:v>0</c:v>
                      </c:pt>
                      <c:pt idx="3899">
                        <c:v>0</c:v>
                      </c:pt>
                      <c:pt idx="3900">
                        <c:v>0</c:v>
                      </c:pt>
                      <c:pt idx="3901">
                        <c:v>0</c:v>
                      </c:pt>
                      <c:pt idx="3902">
                        <c:v>0</c:v>
                      </c:pt>
                      <c:pt idx="3903">
                        <c:v>0</c:v>
                      </c:pt>
                      <c:pt idx="3904">
                        <c:v>0</c:v>
                      </c:pt>
                      <c:pt idx="3905">
                        <c:v>0</c:v>
                      </c:pt>
                      <c:pt idx="3906">
                        <c:v>0</c:v>
                      </c:pt>
                      <c:pt idx="3907">
                        <c:v>0</c:v>
                      </c:pt>
                      <c:pt idx="3908">
                        <c:v>0</c:v>
                      </c:pt>
                      <c:pt idx="3909">
                        <c:v>0</c:v>
                      </c:pt>
                      <c:pt idx="3910">
                        <c:v>0</c:v>
                      </c:pt>
                      <c:pt idx="3911">
                        <c:v>0</c:v>
                      </c:pt>
                      <c:pt idx="3912">
                        <c:v>0</c:v>
                      </c:pt>
                      <c:pt idx="3913">
                        <c:v>0</c:v>
                      </c:pt>
                      <c:pt idx="3914">
                        <c:v>0</c:v>
                      </c:pt>
                      <c:pt idx="3915">
                        <c:v>0</c:v>
                      </c:pt>
                      <c:pt idx="3916">
                        <c:v>0</c:v>
                      </c:pt>
                      <c:pt idx="3917">
                        <c:v>0</c:v>
                      </c:pt>
                      <c:pt idx="3918">
                        <c:v>0</c:v>
                      </c:pt>
                      <c:pt idx="3919">
                        <c:v>0</c:v>
                      </c:pt>
                      <c:pt idx="3920">
                        <c:v>0</c:v>
                      </c:pt>
                      <c:pt idx="3921">
                        <c:v>0</c:v>
                      </c:pt>
                      <c:pt idx="3922">
                        <c:v>0</c:v>
                      </c:pt>
                      <c:pt idx="3923">
                        <c:v>0</c:v>
                      </c:pt>
                      <c:pt idx="3924">
                        <c:v>0</c:v>
                      </c:pt>
                      <c:pt idx="3925">
                        <c:v>0</c:v>
                      </c:pt>
                      <c:pt idx="3926">
                        <c:v>0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0</c:v>
                      </c:pt>
                      <c:pt idx="3931">
                        <c:v>0</c:v>
                      </c:pt>
                      <c:pt idx="3932">
                        <c:v>0</c:v>
                      </c:pt>
                      <c:pt idx="3933">
                        <c:v>0</c:v>
                      </c:pt>
                      <c:pt idx="3934">
                        <c:v>0</c:v>
                      </c:pt>
                      <c:pt idx="3935">
                        <c:v>0</c:v>
                      </c:pt>
                      <c:pt idx="3936">
                        <c:v>0</c:v>
                      </c:pt>
                      <c:pt idx="3937">
                        <c:v>0</c:v>
                      </c:pt>
                      <c:pt idx="3938">
                        <c:v>0</c:v>
                      </c:pt>
                      <c:pt idx="3939">
                        <c:v>0</c:v>
                      </c:pt>
                      <c:pt idx="3940">
                        <c:v>0</c:v>
                      </c:pt>
                      <c:pt idx="3941">
                        <c:v>0</c:v>
                      </c:pt>
                      <c:pt idx="3942">
                        <c:v>0</c:v>
                      </c:pt>
                      <c:pt idx="3943">
                        <c:v>0</c:v>
                      </c:pt>
                      <c:pt idx="3944">
                        <c:v>0</c:v>
                      </c:pt>
                      <c:pt idx="3945">
                        <c:v>0</c:v>
                      </c:pt>
                      <c:pt idx="3946">
                        <c:v>0</c:v>
                      </c:pt>
                      <c:pt idx="3947">
                        <c:v>0</c:v>
                      </c:pt>
                      <c:pt idx="3948">
                        <c:v>0</c:v>
                      </c:pt>
                      <c:pt idx="3949">
                        <c:v>0</c:v>
                      </c:pt>
                      <c:pt idx="3950">
                        <c:v>0</c:v>
                      </c:pt>
                      <c:pt idx="3951">
                        <c:v>0</c:v>
                      </c:pt>
                      <c:pt idx="3952">
                        <c:v>0</c:v>
                      </c:pt>
                      <c:pt idx="3953">
                        <c:v>0</c:v>
                      </c:pt>
                      <c:pt idx="3954">
                        <c:v>0</c:v>
                      </c:pt>
                      <c:pt idx="3955">
                        <c:v>0</c:v>
                      </c:pt>
                      <c:pt idx="3956">
                        <c:v>0</c:v>
                      </c:pt>
                      <c:pt idx="3957">
                        <c:v>0</c:v>
                      </c:pt>
                      <c:pt idx="3958">
                        <c:v>0</c:v>
                      </c:pt>
                      <c:pt idx="3959">
                        <c:v>0</c:v>
                      </c:pt>
                      <c:pt idx="3960">
                        <c:v>0</c:v>
                      </c:pt>
                      <c:pt idx="3961">
                        <c:v>0</c:v>
                      </c:pt>
                      <c:pt idx="3962">
                        <c:v>0</c:v>
                      </c:pt>
                      <c:pt idx="3963">
                        <c:v>0</c:v>
                      </c:pt>
                      <c:pt idx="3964">
                        <c:v>0</c:v>
                      </c:pt>
                      <c:pt idx="3965">
                        <c:v>0</c:v>
                      </c:pt>
                      <c:pt idx="3966">
                        <c:v>0</c:v>
                      </c:pt>
                      <c:pt idx="3967">
                        <c:v>0</c:v>
                      </c:pt>
                      <c:pt idx="3968">
                        <c:v>0</c:v>
                      </c:pt>
                      <c:pt idx="3969">
                        <c:v>0</c:v>
                      </c:pt>
                      <c:pt idx="3970">
                        <c:v>0</c:v>
                      </c:pt>
                      <c:pt idx="3971">
                        <c:v>0</c:v>
                      </c:pt>
                      <c:pt idx="3972">
                        <c:v>0</c:v>
                      </c:pt>
                      <c:pt idx="3973">
                        <c:v>0</c:v>
                      </c:pt>
                      <c:pt idx="3974">
                        <c:v>0</c:v>
                      </c:pt>
                      <c:pt idx="3975">
                        <c:v>0</c:v>
                      </c:pt>
                      <c:pt idx="3976">
                        <c:v>0</c:v>
                      </c:pt>
                      <c:pt idx="3977">
                        <c:v>0</c:v>
                      </c:pt>
                      <c:pt idx="3978">
                        <c:v>0</c:v>
                      </c:pt>
                      <c:pt idx="3979">
                        <c:v>0</c:v>
                      </c:pt>
                      <c:pt idx="3980">
                        <c:v>0</c:v>
                      </c:pt>
                      <c:pt idx="3981">
                        <c:v>0</c:v>
                      </c:pt>
                      <c:pt idx="3982">
                        <c:v>0</c:v>
                      </c:pt>
                      <c:pt idx="3983">
                        <c:v>0</c:v>
                      </c:pt>
                      <c:pt idx="3984">
                        <c:v>0</c:v>
                      </c:pt>
                      <c:pt idx="3985">
                        <c:v>0</c:v>
                      </c:pt>
                      <c:pt idx="3986">
                        <c:v>0</c:v>
                      </c:pt>
                      <c:pt idx="3987">
                        <c:v>0</c:v>
                      </c:pt>
                      <c:pt idx="3988">
                        <c:v>0</c:v>
                      </c:pt>
                      <c:pt idx="3989">
                        <c:v>0</c:v>
                      </c:pt>
                      <c:pt idx="3990">
                        <c:v>0</c:v>
                      </c:pt>
                      <c:pt idx="3991">
                        <c:v>0</c:v>
                      </c:pt>
                      <c:pt idx="3992">
                        <c:v>0</c:v>
                      </c:pt>
                      <c:pt idx="3993">
                        <c:v>0</c:v>
                      </c:pt>
                      <c:pt idx="3994">
                        <c:v>0</c:v>
                      </c:pt>
                      <c:pt idx="3995">
                        <c:v>0</c:v>
                      </c:pt>
                      <c:pt idx="3996">
                        <c:v>0</c:v>
                      </c:pt>
                      <c:pt idx="3997">
                        <c:v>0</c:v>
                      </c:pt>
                      <c:pt idx="3998">
                        <c:v>0</c:v>
                      </c:pt>
                      <c:pt idx="3999">
                        <c:v>0</c:v>
                      </c:pt>
                      <c:pt idx="4000">
                        <c:v>0</c:v>
                      </c:pt>
                      <c:pt idx="4001">
                        <c:v>0</c:v>
                      </c:pt>
                      <c:pt idx="4002">
                        <c:v>0</c:v>
                      </c:pt>
                      <c:pt idx="4003">
                        <c:v>0</c:v>
                      </c:pt>
                      <c:pt idx="4004">
                        <c:v>0</c:v>
                      </c:pt>
                      <c:pt idx="4005">
                        <c:v>0</c:v>
                      </c:pt>
                      <c:pt idx="4006">
                        <c:v>0</c:v>
                      </c:pt>
                      <c:pt idx="4007">
                        <c:v>0</c:v>
                      </c:pt>
                      <c:pt idx="4008">
                        <c:v>0</c:v>
                      </c:pt>
                      <c:pt idx="4009">
                        <c:v>0</c:v>
                      </c:pt>
                      <c:pt idx="4010">
                        <c:v>0</c:v>
                      </c:pt>
                      <c:pt idx="4011">
                        <c:v>0</c:v>
                      </c:pt>
                      <c:pt idx="4012">
                        <c:v>0</c:v>
                      </c:pt>
                      <c:pt idx="4013">
                        <c:v>0</c:v>
                      </c:pt>
                      <c:pt idx="4014">
                        <c:v>0</c:v>
                      </c:pt>
                      <c:pt idx="4015">
                        <c:v>0</c:v>
                      </c:pt>
                      <c:pt idx="4016">
                        <c:v>0</c:v>
                      </c:pt>
                      <c:pt idx="4017">
                        <c:v>0</c:v>
                      </c:pt>
                      <c:pt idx="4018">
                        <c:v>0</c:v>
                      </c:pt>
                      <c:pt idx="4019">
                        <c:v>0</c:v>
                      </c:pt>
                      <c:pt idx="4020">
                        <c:v>0</c:v>
                      </c:pt>
                      <c:pt idx="4021">
                        <c:v>0</c:v>
                      </c:pt>
                      <c:pt idx="4022">
                        <c:v>0</c:v>
                      </c:pt>
                      <c:pt idx="4023">
                        <c:v>0</c:v>
                      </c:pt>
                      <c:pt idx="4024">
                        <c:v>0</c:v>
                      </c:pt>
                      <c:pt idx="4025">
                        <c:v>0</c:v>
                      </c:pt>
                      <c:pt idx="4026">
                        <c:v>0</c:v>
                      </c:pt>
                      <c:pt idx="4027">
                        <c:v>0</c:v>
                      </c:pt>
                      <c:pt idx="4028">
                        <c:v>0</c:v>
                      </c:pt>
                      <c:pt idx="4029">
                        <c:v>0</c:v>
                      </c:pt>
                      <c:pt idx="4030">
                        <c:v>0</c:v>
                      </c:pt>
                      <c:pt idx="4031">
                        <c:v>0</c:v>
                      </c:pt>
                      <c:pt idx="4032">
                        <c:v>0</c:v>
                      </c:pt>
                      <c:pt idx="4033">
                        <c:v>0</c:v>
                      </c:pt>
                      <c:pt idx="4034">
                        <c:v>0</c:v>
                      </c:pt>
                      <c:pt idx="4035">
                        <c:v>0</c:v>
                      </c:pt>
                      <c:pt idx="4036">
                        <c:v>0</c:v>
                      </c:pt>
                      <c:pt idx="4037">
                        <c:v>0</c:v>
                      </c:pt>
                      <c:pt idx="4038">
                        <c:v>0</c:v>
                      </c:pt>
                      <c:pt idx="4039">
                        <c:v>0</c:v>
                      </c:pt>
                      <c:pt idx="4040">
                        <c:v>0</c:v>
                      </c:pt>
                      <c:pt idx="4041">
                        <c:v>0</c:v>
                      </c:pt>
                      <c:pt idx="4042">
                        <c:v>0</c:v>
                      </c:pt>
                      <c:pt idx="4043">
                        <c:v>0</c:v>
                      </c:pt>
                      <c:pt idx="4044">
                        <c:v>0</c:v>
                      </c:pt>
                      <c:pt idx="4045">
                        <c:v>0</c:v>
                      </c:pt>
                      <c:pt idx="4046">
                        <c:v>0</c:v>
                      </c:pt>
                      <c:pt idx="4047">
                        <c:v>0</c:v>
                      </c:pt>
                      <c:pt idx="4048">
                        <c:v>0</c:v>
                      </c:pt>
                      <c:pt idx="4049">
                        <c:v>0</c:v>
                      </c:pt>
                      <c:pt idx="4050">
                        <c:v>0</c:v>
                      </c:pt>
                      <c:pt idx="4051">
                        <c:v>0</c:v>
                      </c:pt>
                      <c:pt idx="4052">
                        <c:v>0</c:v>
                      </c:pt>
                      <c:pt idx="4053">
                        <c:v>0</c:v>
                      </c:pt>
                      <c:pt idx="4054">
                        <c:v>0</c:v>
                      </c:pt>
                      <c:pt idx="4055">
                        <c:v>0</c:v>
                      </c:pt>
                      <c:pt idx="4056">
                        <c:v>0</c:v>
                      </c:pt>
                      <c:pt idx="4057">
                        <c:v>0</c:v>
                      </c:pt>
                      <c:pt idx="4058">
                        <c:v>0</c:v>
                      </c:pt>
                      <c:pt idx="4059">
                        <c:v>0</c:v>
                      </c:pt>
                      <c:pt idx="4060">
                        <c:v>0</c:v>
                      </c:pt>
                      <c:pt idx="4061">
                        <c:v>0</c:v>
                      </c:pt>
                      <c:pt idx="4062">
                        <c:v>0</c:v>
                      </c:pt>
                      <c:pt idx="4063">
                        <c:v>0</c:v>
                      </c:pt>
                      <c:pt idx="4064">
                        <c:v>0</c:v>
                      </c:pt>
                      <c:pt idx="4065">
                        <c:v>0</c:v>
                      </c:pt>
                      <c:pt idx="4066">
                        <c:v>0</c:v>
                      </c:pt>
                      <c:pt idx="4067">
                        <c:v>0</c:v>
                      </c:pt>
                      <c:pt idx="4068">
                        <c:v>0</c:v>
                      </c:pt>
                      <c:pt idx="4069">
                        <c:v>0</c:v>
                      </c:pt>
                      <c:pt idx="4070">
                        <c:v>0</c:v>
                      </c:pt>
                      <c:pt idx="4071">
                        <c:v>0</c:v>
                      </c:pt>
                      <c:pt idx="4072">
                        <c:v>0</c:v>
                      </c:pt>
                      <c:pt idx="4073">
                        <c:v>0</c:v>
                      </c:pt>
                      <c:pt idx="4074">
                        <c:v>0</c:v>
                      </c:pt>
                      <c:pt idx="4075">
                        <c:v>0</c:v>
                      </c:pt>
                      <c:pt idx="4076">
                        <c:v>0</c:v>
                      </c:pt>
                      <c:pt idx="4077">
                        <c:v>0</c:v>
                      </c:pt>
                      <c:pt idx="4078">
                        <c:v>0</c:v>
                      </c:pt>
                      <c:pt idx="4079">
                        <c:v>0</c:v>
                      </c:pt>
                      <c:pt idx="4080">
                        <c:v>0</c:v>
                      </c:pt>
                      <c:pt idx="4081">
                        <c:v>0</c:v>
                      </c:pt>
                      <c:pt idx="4082">
                        <c:v>0</c:v>
                      </c:pt>
                      <c:pt idx="4083">
                        <c:v>0</c:v>
                      </c:pt>
                      <c:pt idx="4084">
                        <c:v>0</c:v>
                      </c:pt>
                      <c:pt idx="4085">
                        <c:v>0</c:v>
                      </c:pt>
                      <c:pt idx="4086">
                        <c:v>0</c:v>
                      </c:pt>
                      <c:pt idx="4087">
                        <c:v>0</c:v>
                      </c:pt>
                      <c:pt idx="4088">
                        <c:v>0</c:v>
                      </c:pt>
                      <c:pt idx="4089">
                        <c:v>0</c:v>
                      </c:pt>
                      <c:pt idx="4090">
                        <c:v>0</c:v>
                      </c:pt>
                      <c:pt idx="4091">
                        <c:v>0</c:v>
                      </c:pt>
                      <c:pt idx="4092">
                        <c:v>0</c:v>
                      </c:pt>
                      <c:pt idx="4093">
                        <c:v>0</c:v>
                      </c:pt>
                      <c:pt idx="4094">
                        <c:v>0</c:v>
                      </c:pt>
                      <c:pt idx="4095">
                        <c:v>0</c:v>
                      </c:pt>
                      <c:pt idx="4096">
                        <c:v>0</c:v>
                      </c:pt>
                      <c:pt idx="4097">
                        <c:v>0</c:v>
                      </c:pt>
                      <c:pt idx="4098">
                        <c:v>0</c:v>
                      </c:pt>
                      <c:pt idx="4099">
                        <c:v>0</c:v>
                      </c:pt>
                      <c:pt idx="4100">
                        <c:v>0</c:v>
                      </c:pt>
                      <c:pt idx="4101">
                        <c:v>0</c:v>
                      </c:pt>
                      <c:pt idx="4102">
                        <c:v>0</c:v>
                      </c:pt>
                      <c:pt idx="4103">
                        <c:v>0</c:v>
                      </c:pt>
                      <c:pt idx="4104">
                        <c:v>0</c:v>
                      </c:pt>
                      <c:pt idx="4105">
                        <c:v>0</c:v>
                      </c:pt>
                      <c:pt idx="4106">
                        <c:v>0</c:v>
                      </c:pt>
                      <c:pt idx="4107">
                        <c:v>0</c:v>
                      </c:pt>
                      <c:pt idx="4108">
                        <c:v>0</c:v>
                      </c:pt>
                      <c:pt idx="4109">
                        <c:v>0</c:v>
                      </c:pt>
                      <c:pt idx="4110">
                        <c:v>0</c:v>
                      </c:pt>
                      <c:pt idx="4111">
                        <c:v>0</c:v>
                      </c:pt>
                      <c:pt idx="4112">
                        <c:v>0</c:v>
                      </c:pt>
                      <c:pt idx="4113">
                        <c:v>0</c:v>
                      </c:pt>
                      <c:pt idx="4114">
                        <c:v>0</c:v>
                      </c:pt>
                      <c:pt idx="4115">
                        <c:v>0</c:v>
                      </c:pt>
                      <c:pt idx="4116">
                        <c:v>0</c:v>
                      </c:pt>
                      <c:pt idx="4117">
                        <c:v>0</c:v>
                      </c:pt>
                      <c:pt idx="4118">
                        <c:v>0</c:v>
                      </c:pt>
                      <c:pt idx="4119">
                        <c:v>0</c:v>
                      </c:pt>
                      <c:pt idx="4120">
                        <c:v>0</c:v>
                      </c:pt>
                      <c:pt idx="4121">
                        <c:v>0</c:v>
                      </c:pt>
                      <c:pt idx="4122">
                        <c:v>0</c:v>
                      </c:pt>
                      <c:pt idx="4123">
                        <c:v>0</c:v>
                      </c:pt>
                      <c:pt idx="4124">
                        <c:v>0</c:v>
                      </c:pt>
                      <c:pt idx="4125">
                        <c:v>0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0</c:v>
                      </c:pt>
                      <c:pt idx="4132">
                        <c:v>0</c:v>
                      </c:pt>
                      <c:pt idx="4133">
                        <c:v>0</c:v>
                      </c:pt>
                      <c:pt idx="4134">
                        <c:v>0</c:v>
                      </c:pt>
                      <c:pt idx="4135">
                        <c:v>0</c:v>
                      </c:pt>
                      <c:pt idx="4136">
                        <c:v>0</c:v>
                      </c:pt>
                      <c:pt idx="4137">
                        <c:v>0</c:v>
                      </c:pt>
                      <c:pt idx="4138">
                        <c:v>0</c:v>
                      </c:pt>
                      <c:pt idx="4139">
                        <c:v>0</c:v>
                      </c:pt>
                      <c:pt idx="4140">
                        <c:v>0</c:v>
                      </c:pt>
                      <c:pt idx="4141">
                        <c:v>0</c:v>
                      </c:pt>
                      <c:pt idx="4142">
                        <c:v>0</c:v>
                      </c:pt>
                      <c:pt idx="4143">
                        <c:v>0</c:v>
                      </c:pt>
                      <c:pt idx="4144">
                        <c:v>0</c:v>
                      </c:pt>
                      <c:pt idx="4145">
                        <c:v>0</c:v>
                      </c:pt>
                      <c:pt idx="4146">
                        <c:v>0</c:v>
                      </c:pt>
                      <c:pt idx="4147">
                        <c:v>0</c:v>
                      </c:pt>
                      <c:pt idx="4148">
                        <c:v>0</c:v>
                      </c:pt>
                      <c:pt idx="4149">
                        <c:v>0</c:v>
                      </c:pt>
                      <c:pt idx="4150">
                        <c:v>0</c:v>
                      </c:pt>
                      <c:pt idx="4151">
                        <c:v>0</c:v>
                      </c:pt>
                      <c:pt idx="4152">
                        <c:v>0</c:v>
                      </c:pt>
                      <c:pt idx="4153">
                        <c:v>0</c:v>
                      </c:pt>
                      <c:pt idx="4154">
                        <c:v>0</c:v>
                      </c:pt>
                      <c:pt idx="4155">
                        <c:v>0</c:v>
                      </c:pt>
                      <c:pt idx="4156">
                        <c:v>0</c:v>
                      </c:pt>
                      <c:pt idx="4157">
                        <c:v>0</c:v>
                      </c:pt>
                      <c:pt idx="4158">
                        <c:v>0</c:v>
                      </c:pt>
                      <c:pt idx="4159">
                        <c:v>0</c:v>
                      </c:pt>
                      <c:pt idx="4160">
                        <c:v>0</c:v>
                      </c:pt>
                      <c:pt idx="4161">
                        <c:v>0</c:v>
                      </c:pt>
                      <c:pt idx="4162">
                        <c:v>0</c:v>
                      </c:pt>
                      <c:pt idx="4163">
                        <c:v>0</c:v>
                      </c:pt>
                      <c:pt idx="4164">
                        <c:v>0</c:v>
                      </c:pt>
                      <c:pt idx="4165">
                        <c:v>0</c:v>
                      </c:pt>
                      <c:pt idx="4166">
                        <c:v>0</c:v>
                      </c:pt>
                      <c:pt idx="4167">
                        <c:v>0</c:v>
                      </c:pt>
                      <c:pt idx="4168">
                        <c:v>0</c:v>
                      </c:pt>
                      <c:pt idx="4169">
                        <c:v>0</c:v>
                      </c:pt>
                      <c:pt idx="4170">
                        <c:v>0</c:v>
                      </c:pt>
                      <c:pt idx="4171">
                        <c:v>0</c:v>
                      </c:pt>
                      <c:pt idx="4172">
                        <c:v>0</c:v>
                      </c:pt>
                      <c:pt idx="4173">
                        <c:v>0</c:v>
                      </c:pt>
                      <c:pt idx="4174">
                        <c:v>0</c:v>
                      </c:pt>
                      <c:pt idx="4175">
                        <c:v>0</c:v>
                      </c:pt>
                      <c:pt idx="4176">
                        <c:v>0</c:v>
                      </c:pt>
                      <c:pt idx="4177">
                        <c:v>0</c:v>
                      </c:pt>
                      <c:pt idx="4178">
                        <c:v>0</c:v>
                      </c:pt>
                      <c:pt idx="4179">
                        <c:v>0</c:v>
                      </c:pt>
                      <c:pt idx="4180">
                        <c:v>0</c:v>
                      </c:pt>
                      <c:pt idx="4181">
                        <c:v>0</c:v>
                      </c:pt>
                      <c:pt idx="4182">
                        <c:v>0</c:v>
                      </c:pt>
                      <c:pt idx="4183">
                        <c:v>0</c:v>
                      </c:pt>
                      <c:pt idx="4184">
                        <c:v>0</c:v>
                      </c:pt>
                      <c:pt idx="4185">
                        <c:v>0</c:v>
                      </c:pt>
                      <c:pt idx="4186">
                        <c:v>0</c:v>
                      </c:pt>
                      <c:pt idx="4187">
                        <c:v>0</c:v>
                      </c:pt>
                      <c:pt idx="4188">
                        <c:v>0</c:v>
                      </c:pt>
                      <c:pt idx="4189">
                        <c:v>0</c:v>
                      </c:pt>
                      <c:pt idx="4190">
                        <c:v>0</c:v>
                      </c:pt>
                      <c:pt idx="4191">
                        <c:v>0</c:v>
                      </c:pt>
                      <c:pt idx="4192">
                        <c:v>0</c:v>
                      </c:pt>
                      <c:pt idx="4193">
                        <c:v>0</c:v>
                      </c:pt>
                      <c:pt idx="4194">
                        <c:v>0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</c:v>
                      </c:pt>
                      <c:pt idx="4203">
                        <c:v>0</c:v>
                      </c:pt>
                      <c:pt idx="4204">
                        <c:v>0</c:v>
                      </c:pt>
                      <c:pt idx="4205">
                        <c:v>0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0</c:v>
                      </c:pt>
                      <c:pt idx="5193">
                        <c:v>0</c:v>
                      </c:pt>
                      <c:pt idx="5194">
                        <c:v>0</c:v>
                      </c:pt>
                      <c:pt idx="5195">
                        <c:v>0</c:v>
                      </c:pt>
                      <c:pt idx="5196">
                        <c:v>0</c:v>
                      </c:pt>
                      <c:pt idx="5197">
                        <c:v>0</c:v>
                      </c:pt>
                      <c:pt idx="5198">
                        <c:v>0</c:v>
                      </c:pt>
                      <c:pt idx="5199">
                        <c:v>0</c:v>
                      </c:pt>
                      <c:pt idx="5200">
                        <c:v>0</c:v>
                      </c:pt>
                      <c:pt idx="5201">
                        <c:v>0</c:v>
                      </c:pt>
                      <c:pt idx="5202">
                        <c:v>0</c:v>
                      </c:pt>
                      <c:pt idx="5203">
                        <c:v>0</c:v>
                      </c:pt>
                      <c:pt idx="5204">
                        <c:v>0</c:v>
                      </c:pt>
                      <c:pt idx="5205">
                        <c:v>0</c:v>
                      </c:pt>
                      <c:pt idx="5206">
                        <c:v>0</c:v>
                      </c:pt>
                      <c:pt idx="5207">
                        <c:v>0</c:v>
                      </c:pt>
                      <c:pt idx="5208">
                        <c:v>0</c:v>
                      </c:pt>
                      <c:pt idx="5209">
                        <c:v>0</c:v>
                      </c:pt>
                      <c:pt idx="5210">
                        <c:v>0</c:v>
                      </c:pt>
                      <c:pt idx="5211">
                        <c:v>0</c:v>
                      </c:pt>
                      <c:pt idx="5212">
                        <c:v>0</c:v>
                      </c:pt>
                      <c:pt idx="5213">
                        <c:v>0</c:v>
                      </c:pt>
                      <c:pt idx="5214">
                        <c:v>0</c:v>
                      </c:pt>
                      <c:pt idx="5215">
                        <c:v>0</c:v>
                      </c:pt>
                      <c:pt idx="5216">
                        <c:v>0</c:v>
                      </c:pt>
                      <c:pt idx="5217">
                        <c:v>0</c:v>
                      </c:pt>
                      <c:pt idx="5218">
                        <c:v>0</c:v>
                      </c:pt>
                      <c:pt idx="5219">
                        <c:v>0</c:v>
                      </c:pt>
                      <c:pt idx="5220">
                        <c:v>0</c:v>
                      </c:pt>
                      <c:pt idx="5221">
                        <c:v>0</c:v>
                      </c:pt>
                      <c:pt idx="5222">
                        <c:v>0</c:v>
                      </c:pt>
                      <c:pt idx="5223">
                        <c:v>0</c:v>
                      </c:pt>
                      <c:pt idx="5224">
                        <c:v>0</c:v>
                      </c:pt>
                      <c:pt idx="5225">
                        <c:v>0</c:v>
                      </c:pt>
                      <c:pt idx="5226">
                        <c:v>0</c:v>
                      </c:pt>
                      <c:pt idx="5227">
                        <c:v>0</c:v>
                      </c:pt>
                      <c:pt idx="5228">
                        <c:v>0</c:v>
                      </c:pt>
                      <c:pt idx="5229">
                        <c:v>0</c:v>
                      </c:pt>
                      <c:pt idx="5230">
                        <c:v>0</c:v>
                      </c:pt>
                      <c:pt idx="5231">
                        <c:v>0</c:v>
                      </c:pt>
                      <c:pt idx="5232">
                        <c:v>0</c:v>
                      </c:pt>
                      <c:pt idx="5233">
                        <c:v>0</c:v>
                      </c:pt>
                      <c:pt idx="5234">
                        <c:v>0</c:v>
                      </c:pt>
                      <c:pt idx="5235">
                        <c:v>0</c:v>
                      </c:pt>
                      <c:pt idx="5236">
                        <c:v>0</c:v>
                      </c:pt>
                      <c:pt idx="5237">
                        <c:v>0</c:v>
                      </c:pt>
                      <c:pt idx="5238">
                        <c:v>0</c:v>
                      </c:pt>
                      <c:pt idx="5239">
                        <c:v>0</c:v>
                      </c:pt>
                      <c:pt idx="5240">
                        <c:v>0</c:v>
                      </c:pt>
                      <c:pt idx="5241">
                        <c:v>0</c:v>
                      </c:pt>
                      <c:pt idx="5242">
                        <c:v>0</c:v>
                      </c:pt>
                      <c:pt idx="5243">
                        <c:v>0</c:v>
                      </c:pt>
                      <c:pt idx="5244">
                        <c:v>0</c:v>
                      </c:pt>
                      <c:pt idx="5245">
                        <c:v>0</c:v>
                      </c:pt>
                      <c:pt idx="5246">
                        <c:v>0</c:v>
                      </c:pt>
                      <c:pt idx="5247">
                        <c:v>0</c:v>
                      </c:pt>
                      <c:pt idx="5248">
                        <c:v>0</c:v>
                      </c:pt>
                      <c:pt idx="5249">
                        <c:v>0</c:v>
                      </c:pt>
                      <c:pt idx="5250">
                        <c:v>0</c:v>
                      </c:pt>
                      <c:pt idx="5251">
                        <c:v>0</c:v>
                      </c:pt>
                      <c:pt idx="5252">
                        <c:v>0</c:v>
                      </c:pt>
                      <c:pt idx="5253">
                        <c:v>0</c:v>
                      </c:pt>
                      <c:pt idx="5254">
                        <c:v>0</c:v>
                      </c:pt>
                      <c:pt idx="5255">
                        <c:v>0</c:v>
                      </c:pt>
                      <c:pt idx="5256">
                        <c:v>0</c:v>
                      </c:pt>
                      <c:pt idx="5257">
                        <c:v>0</c:v>
                      </c:pt>
                      <c:pt idx="5258">
                        <c:v>0</c:v>
                      </c:pt>
                      <c:pt idx="5259">
                        <c:v>0</c:v>
                      </c:pt>
                      <c:pt idx="5260">
                        <c:v>0</c:v>
                      </c:pt>
                      <c:pt idx="5261">
                        <c:v>0</c:v>
                      </c:pt>
                      <c:pt idx="5262">
                        <c:v>0</c:v>
                      </c:pt>
                      <c:pt idx="5263">
                        <c:v>0</c:v>
                      </c:pt>
                      <c:pt idx="5264">
                        <c:v>0</c:v>
                      </c:pt>
                      <c:pt idx="5265">
                        <c:v>0</c:v>
                      </c:pt>
                      <c:pt idx="5266">
                        <c:v>0</c:v>
                      </c:pt>
                      <c:pt idx="5267">
                        <c:v>0</c:v>
                      </c:pt>
                      <c:pt idx="5268">
                        <c:v>0</c:v>
                      </c:pt>
                      <c:pt idx="5269">
                        <c:v>0</c:v>
                      </c:pt>
                      <c:pt idx="5270">
                        <c:v>0</c:v>
                      </c:pt>
                      <c:pt idx="5271">
                        <c:v>0</c:v>
                      </c:pt>
                      <c:pt idx="5272">
                        <c:v>0</c:v>
                      </c:pt>
                      <c:pt idx="5273">
                        <c:v>0</c:v>
                      </c:pt>
                      <c:pt idx="5274">
                        <c:v>0</c:v>
                      </c:pt>
                      <c:pt idx="5275">
                        <c:v>0</c:v>
                      </c:pt>
                      <c:pt idx="5276">
                        <c:v>0</c:v>
                      </c:pt>
                      <c:pt idx="5277">
                        <c:v>0</c:v>
                      </c:pt>
                      <c:pt idx="5278">
                        <c:v>0</c:v>
                      </c:pt>
                      <c:pt idx="5279">
                        <c:v>0</c:v>
                      </c:pt>
                      <c:pt idx="5280">
                        <c:v>0</c:v>
                      </c:pt>
                      <c:pt idx="5281">
                        <c:v>0</c:v>
                      </c:pt>
                      <c:pt idx="5282">
                        <c:v>0</c:v>
                      </c:pt>
                      <c:pt idx="5283">
                        <c:v>0</c:v>
                      </c:pt>
                      <c:pt idx="5284">
                        <c:v>0</c:v>
                      </c:pt>
                      <c:pt idx="5285">
                        <c:v>0</c:v>
                      </c:pt>
                      <c:pt idx="5286">
                        <c:v>0</c:v>
                      </c:pt>
                      <c:pt idx="5287">
                        <c:v>0</c:v>
                      </c:pt>
                      <c:pt idx="5288">
                        <c:v>0</c:v>
                      </c:pt>
                      <c:pt idx="5289">
                        <c:v>0</c:v>
                      </c:pt>
                      <c:pt idx="5290">
                        <c:v>0</c:v>
                      </c:pt>
                      <c:pt idx="5291">
                        <c:v>0</c:v>
                      </c:pt>
                      <c:pt idx="5292">
                        <c:v>0</c:v>
                      </c:pt>
                      <c:pt idx="5293">
                        <c:v>0</c:v>
                      </c:pt>
                      <c:pt idx="5294">
                        <c:v>0</c:v>
                      </c:pt>
                      <c:pt idx="5295">
                        <c:v>0</c:v>
                      </c:pt>
                      <c:pt idx="5296">
                        <c:v>0</c:v>
                      </c:pt>
                      <c:pt idx="5297">
                        <c:v>0</c:v>
                      </c:pt>
                      <c:pt idx="5298">
                        <c:v>0</c:v>
                      </c:pt>
                      <c:pt idx="5299">
                        <c:v>0</c:v>
                      </c:pt>
                      <c:pt idx="5300">
                        <c:v>0</c:v>
                      </c:pt>
                      <c:pt idx="5301">
                        <c:v>0</c:v>
                      </c:pt>
                      <c:pt idx="5302">
                        <c:v>0</c:v>
                      </c:pt>
                      <c:pt idx="5303">
                        <c:v>0</c:v>
                      </c:pt>
                      <c:pt idx="5304">
                        <c:v>0</c:v>
                      </c:pt>
                      <c:pt idx="5305">
                        <c:v>0</c:v>
                      </c:pt>
                      <c:pt idx="5306">
                        <c:v>0</c:v>
                      </c:pt>
                      <c:pt idx="5307">
                        <c:v>0</c:v>
                      </c:pt>
                      <c:pt idx="5308">
                        <c:v>0</c:v>
                      </c:pt>
                      <c:pt idx="5309">
                        <c:v>0</c:v>
                      </c:pt>
                      <c:pt idx="5310">
                        <c:v>0</c:v>
                      </c:pt>
                      <c:pt idx="5311">
                        <c:v>0</c:v>
                      </c:pt>
                      <c:pt idx="5312">
                        <c:v>0</c:v>
                      </c:pt>
                      <c:pt idx="5313">
                        <c:v>0</c:v>
                      </c:pt>
                      <c:pt idx="5314">
                        <c:v>0</c:v>
                      </c:pt>
                      <c:pt idx="5315">
                        <c:v>0</c:v>
                      </c:pt>
                      <c:pt idx="5316">
                        <c:v>0</c:v>
                      </c:pt>
                      <c:pt idx="5317">
                        <c:v>0</c:v>
                      </c:pt>
                      <c:pt idx="5318">
                        <c:v>0</c:v>
                      </c:pt>
                      <c:pt idx="5319">
                        <c:v>0</c:v>
                      </c:pt>
                      <c:pt idx="5320">
                        <c:v>0</c:v>
                      </c:pt>
                      <c:pt idx="5321">
                        <c:v>0</c:v>
                      </c:pt>
                      <c:pt idx="5322">
                        <c:v>0</c:v>
                      </c:pt>
                      <c:pt idx="5323">
                        <c:v>0</c:v>
                      </c:pt>
                      <c:pt idx="5324">
                        <c:v>0</c:v>
                      </c:pt>
                      <c:pt idx="5325">
                        <c:v>0</c:v>
                      </c:pt>
                      <c:pt idx="5326">
                        <c:v>0</c:v>
                      </c:pt>
                      <c:pt idx="5327">
                        <c:v>0</c:v>
                      </c:pt>
                      <c:pt idx="5328">
                        <c:v>0</c:v>
                      </c:pt>
                      <c:pt idx="5329">
                        <c:v>0</c:v>
                      </c:pt>
                      <c:pt idx="5330">
                        <c:v>0</c:v>
                      </c:pt>
                      <c:pt idx="5331">
                        <c:v>0</c:v>
                      </c:pt>
                      <c:pt idx="5332">
                        <c:v>0</c:v>
                      </c:pt>
                      <c:pt idx="5333">
                        <c:v>0</c:v>
                      </c:pt>
                      <c:pt idx="5334">
                        <c:v>0</c:v>
                      </c:pt>
                      <c:pt idx="5335">
                        <c:v>0</c:v>
                      </c:pt>
                      <c:pt idx="5336">
                        <c:v>0</c:v>
                      </c:pt>
                      <c:pt idx="5337">
                        <c:v>0</c:v>
                      </c:pt>
                      <c:pt idx="5338">
                        <c:v>0</c:v>
                      </c:pt>
                      <c:pt idx="5339">
                        <c:v>0</c:v>
                      </c:pt>
                      <c:pt idx="5340">
                        <c:v>0</c:v>
                      </c:pt>
                      <c:pt idx="5341">
                        <c:v>0</c:v>
                      </c:pt>
                      <c:pt idx="5342">
                        <c:v>0</c:v>
                      </c:pt>
                      <c:pt idx="5343">
                        <c:v>0</c:v>
                      </c:pt>
                      <c:pt idx="5344">
                        <c:v>0</c:v>
                      </c:pt>
                      <c:pt idx="5345">
                        <c:v>0</c:v>
                      </c:pt>
                      <c:pt idx="5346">
                        <c:v>0</c:v>
                      </c:pt>
                      <c:pt idx="5347">
                        <c:v>0</c:v>
                      </c:pt>
                      <c:pt idx="5348">
                        <c:v>0</c:v>
                      </c:pt>
                      <c:pt idx="5349">
                        <c:v>0</c:v>
                      </c:pt>
                      <c:pt idx="5350">
                        <c:v>0</c:v>
                      </c:pt>
                      <c:pt idx="5351">
                        <c:v>0</c:v>
                      </c:pt>
                      <c:pt idx="5352">
                        <c:v>0</c:v>
                      </c:pt>
                      <c:pt idx="5353">
                        <c:v>0</c:v>
                      </c:pt>
                      <c:pt idx="5354">
                        <c:v>0</c:v>
                      </c:pt>
                      <c:pt idx="5355">
                        <c:v>0</c:v>
                      </c:pt>
                      <c:pt idx="5356">
                        <c:v>0</c:v>
                      </c:pt>
                      <c:pt idx="5357">
                        <c:v>0</c:v>
                      </c:pt>
                      <c:pt idx="5358">
                        <c:v>0</c:v>
                      </c:pt>
                      <c:pt idx="5359">
                        <c:v>0</c:v>
                      </c:pt>
                      <c:pt idx="5360">
                        <c:v>0</c:v>
                      </c:pt>
                      <c:pt idx="5361">
                        <c:v>0</c:v>
                      </c:pt>
                      <c:pt idx="5362">
                        <c:v>0</c:v>
                      </c:pt>
                      <c:pt idx="5363">
                        <c:v>0</c:v>
                      </c:pt>
                      <c:pt idx="5364">
                        <c:v>0</c:v>
                      </c:pt>
                      <c:pt idx="5365">
                        <c:v>0</c:v>
                      </c:pt>
                      <c:pt idx="5366">
                        <c:v>0</c:v>
                      </c:pt>
                      <c:pt idx="5367">
                        <c:v>0</c:v>
                      </c:pt>
                      <c:pt idx="5368">
                        <c:v>0</c:v>
                      </c:pt>
                      <c:pt idx="5369">
                        <c:v>0</c:v>
                      </c:pt>
                      <c:pt idx="5370">
                        <c:v>0</c:v>
                      </c:pt>
                      <c:pt idx="5371">
                        <c:v>0</c:v>
                      </c:pt>
                      <c:pt idx="5372">
                        <c:v>0</c:v>
                      </c:pt>
                      <c:pt idx="5373">
                        <c:v>0</c:v>
                      </c:pt>
                      <c:pt idx="5374">
                        <c:v>0</c:v>
                      </c:pt>
                      <c:pt idx="5375">
                        <c:v>0</c:v>
                      </c:pt>
                      <c:pt idx="5376">
                        <c:v>0</c:v>
                      </c:pt>
                      <c:pt idx="5377">
                        <c:v>0</c:v>
                      </c:pt>
                      <c:pt idx="5378">
                        <c:v>0</c:v>
                      </c:pt>
                      <c:pt idx="5379">
                        <c:v>0</c:v>
                      </c:pt>
                      <c:pt idx="5380">
                        <c:v>0</c:v>
                      </c:pt>
                      <c:pt idx="5381">
                        <c:v>0</c:v>
                      </c:pt>
                      <c:pt idx="5382">
                        <c:v>0</c:v>
                      </c:pt>
                      <c:pt idx="5383">
                        <c:v>0</c:v>
                      </c:pt>
                      <c:pt idx="5384">
                        <c:v>0</c:v>
                      </c:pt>
                      <c:pt idx="5385">
                        <c:v>0</c:v>
                      </c:pt>
                      <c:pt idx="5386">
                        <c:v>0</c:v>
                      </c:pt>
                      <c:pt idx="5387">
                        <c:v>0</c:v>
                      </c:pt>
                      <c:pt idx="5388">
                        <c:v>0</c:v>
                      </c:pt>
                      <c:pt idx="5389">
                        <c:v>0</c:v>
                      </c:pt>
                      <c:pt idx="5390">
                        <c:v>0</c:v>
                      </c:pt>
                      <c:pt idx="5391">
                        <c:v>0</c:v>
                      </c:pt>
                      <c:pt idx="5392">
                        <c:v>0</c:v>
                      </c:pt>
                      <c:pt idx="5393">
                        <c:v>0</c:v>
                      </c:pt>
                      <c:pt idx="5394">
                        <c:v>0</c:v>
                      </c:pt>
                      <c:pt idx="5395">
                        <c:v>0</c:v>
                      </c:pt>
                      <c:pt idx="5396">
                        <c:v>0</c:v>
                      </c:pt>
                      <c:pt idx="5397">
                        <c:v>0</c:v>
                      </c:pt>
                      <c:pt idx="5398">
                        <c:v>0</c:v>
                      </c:pt>
                      <c:pt idx="5399">
                        <c:v>0</c:v>
                      </c:pt>
                      <c:pt idx="5400">
                        <c:v>0</c:v>
                      </c:pt>
                      <c:pt idx="5401">
                        <c:v>0</c:v>
                      </c:pt>
                      <c:pt idx="5402">
                        <c:v>0</c:v>
                      </c:pt>
                      <c:pt idx="5403">
                        <c:v>0</c:v>
                      </c:pt>
                      <c:pt idx="5404">
                        <c:v>0</c:v>
                      </c:pt>
                      <c:pt idx="5405">
                        <c:v>0</c:v>
                      </c:pt>
                      <c:pt idx="5406">
                        <c:v>0</c:v>
                      </c:pt>
                      <c:pt idx="5407">
                        <c:v>0</c:v>
                      </c:pt>
                      <c:pt idx="5408">
                        <c:v>0</c:v>
                      </c:pt>
                      <c:pt idx="5409">
                        <c:v>0</c:v>
                      </c:pt>
                      <c:pt idx="5410">
                        <c:v>0</c:v>
                      </c:pt>
                      <c:pt idx="5411">
                        <c:v>0</c:v>
                      </c:pt>
                      <c:pt idx="5412">
                        <c:v>0</c:v>
                      </c:pt>
                      <c:pt idx="5413">
                        <c:v>0</c:v>
                      </c:pt>
                      <c:pt idx="5414">
                        <c:v>0</c:v>
                      </c:pt>
                      <c:pt idx="5415">
                        <c:v>0</c:v>
                      </c:pt>
                      <c:pt idx="5416">
                        <c:v>0</c:v>
                      </c:pt>
                      <c:pt idx="5417">
                        <c:v>0</c:v>
                      </c:pt>
                      <c:pt idx="5418">
                        <c:v>0</c:v>
                      </c:pt>
                      <c:pt idx="5419">
                        <c:v>0</c:v>
                      </c:pt>
                      <c:pt idx="5420">
                        <c:v>0</c:v>
                      </c:pt>
                      <c:pt idx="5421">
                        <c:v>0</c:v>
                      </c:pt>
                      <c:pt idx="5422">
                        <c:v>0</c:v>
                      </c:pt>
                      <c:pt idx="5423">
                        <c:v>0</c:v>
                      </c:pt>
                      <c:pt idx="5424">
                        <c:v>0</c:v>
                      </c:pt>
                      <c:pt idx="5425">
                        <c:v>0</c:v>
                      </c:pt>
                      <c:pt idx="5426">
                        <c:v>0</c:v>
                      </c:pt>
                      <c:pt idx="5427">
                        <c:v>0</c:v>
                      </c:pt>
                      <c:pt idx="5428">
                        <c:v>0</c:v>
                      </c:pt>
                      <c:pt idx="5429">
                        <c:v>0</c:v>
                      </c:pt>
                      <c:pt idx="5430">
                        <c:v>0</c:v>
                      </c:pt>
                      <c:pt idx="5431">
                        <c:v>0</c:v>
                      </c:pt>
                      <c:pt idx="5432">
                        <c:v>0</c:v>
                      </c:pt>
                      <c:pt idx="5433">
                        <c:v>0</c:v>
                      </c:pt>
                      <c:pt idx="5434">
                        <c:v>0</c:v>
                      </c:pt>
                      <c:pt idx="5435">
                        <c:v>0</c:v>
                      </c:pt>
                      <c:pt idx="5436">
                        <c:v>0</c:v>
                      </c:pt>
                      <c:pt idx="5437">
                        <c:v>0</c:v>
                      </c:pt>
                      <c:pt idx="5438">
                        <c:v>0</c:v>
                      </c:pt>
                      <c:pt idx="5439">
                        <c:v>0</c:v>
                      </c:pt>
                      <c:pt idx="5440">
                        <c:v>0</c:v>
                      </c:pt>
                      <c:pt idx="5441">
                        <c:v>0</c:v>
                      </c:pt>
                      <c:pt idx="5442">
                        <c:v>0</c:v>
                      </c:pt>
                      <c:pt idx="5443">
                        <c:v>0</c:v>
                      </c:pt>
                      <c:pt idx="5444">
                        <c:v>0</c:v>
                      </c:pt>
                      <c:pt idx="5445">
                        <c:v>0</c:v>
                      </c:pt>
                      <c:pt idx="5446">
                        <c:v>0</c:v>
                      </c:pt>
                      <c:pt idx="5447">
                        <c:v>0</c:v>
                      </c:pt>
                      <c:pt idx="5448">
                        <c:v>0</c:v>
                      </c:pt>
                      <c:pt idx="5449">
                        <c:v>0</c:v>
                      </c:pt>
                      <c:pt idx="5450">
                        <c:v>0</c:v>
                      </c:pt>
                      <c:pt idx="5451">
                        <c:v>0</c:v>
                      </c:pt>
                      <c:pt idx="5452">
                        <c:v>0</c:v>
                      </c:pt>
                      <c:pt idx="5453">
                        <c:v>0</c:v>
                      </c:pt>
                      <c:pt idx="5454">
                        <c:v>0</c:v>
                      </c:pt>
                      <c:pt idx="5455">
                        <c:v>0</c:v>
                      </c:pt>
                      <c:pt idx="5456">
                        <c:v>0</c:v>
                      </c:pt>
                      <c:pt idx="5457">
                        <c:v>0</c:v>
                      </c:pt>
                      <c:pt idx="5458">
                        <c:v>0</c:v>
                      </c:pt>
                      <c:pt idx="5459">
                        <c:v>0</c:v>
                      </c:pt>
                      <c:pt idx="5460">
                        <c:v>0</c:v>
                      </c:pt>
                      <c:pt idx="5461">
                        <c:v>0</c:v>
                      </c:pt>
                      <c:pt idx="5462">
                        <c:v>0</c:v>
                      </c:pt>
                      <c:pt idx="5463">
                        <c:v>0</c:v>
                      </c:pt>
                      <c:pt idx="5464">
                        <c:v>0</c:v>
                      </c:pt>
                      <c:pt idx="5465">
                        <c:v>0</c:v>
                      </c:pt>
                      <c:pt idx="5466">
                        <c:v>0</c:v>
                      </c:pt>
                      <c:pt idx="5467">
                        <c:v>0</c:v>
                      </c:pt>
                      <c:pt idx="5468">
                        <c:v>0</c:v>
                      </c:pt>
                      <c:pt idx="5469">
                        <c:v>0</c:v>
                      </c:pt>
                      <c:pt idx="5470">
                        <c:v>0</c:v>
                      </c:pt>
                      <c:pt idx="5471">
                        <c:v>0</c:v>
                      </c:pt>
                      <c:pt idx="5472">
                        <c:v>0</c:v>
                      </c:pt>
                      <c:pt idx="5473">
                        <c:v>0</c:v>
                      </c:pt>
                      <c:pt idx="5474">
                        <c:v>0</c:v>
                      </c:pt>
                      <c:pt idx="5475">
                        <c:v>0</c:v>
                      </c:pt>
                      <c:pt idx="5476">
                        <c:v>0</c:v>
                      </c:pt>
                      <c:pt idx="5477">
                        <c:v>0</c:v>
                      </c:pt>
                      <c:pt idx="5478">
                        <c:v>0</c:v>
                      </c:pt>
                      <c:pt idx="5479">
                        <c:v>0</c:v>
                      </c:pt>
                      <c:pt idx="5480">
                        <c:v>0</c:v>
                      </c:pt>
                      <c:pt idx="5481">
                        <c:v>0</c:v>
                      </c:pt>
                      <c:pt idx="5482">
                        <c:v>0</c:v>
                      </c:pt>
                      <c:pt idx="5483">
                        <c:v>0</c:v>
                      </c:pt>
                      <c:pt idx="5484">
                        <c:v>0</c:v>
                      </c:pt>
                      <c:pt idx="5485">
                        <c:v>0</c:v>
                      </c:pt>
                      <c:pt idx="5486">
                        <c:v>0</c:v>
                      </c:pt>
                      <c:pt idx="5487">
                        <c:v>0</c:v>
                      </c:pt>
                      <c:pt idx="5488">
                        <c:v>0</c:v>
                      </c:pt>
                      <c:pt idx="5489">
                        <c:v>0</c:v>
                      </c:pt>
                      <c:pt idx="5490">
                        <c:v>0</c:v>
                      </c:pt>
                      <c:pt idx="5491">
                        <c:v>0</c:v>
                      </c:pt>
                      <c:pt idx="5492">
                        <c:v>0</c:v>
                      </c:pt>
                      <c:pt idx="5493">
                        <c:v>0</c:v>
                      </c:pt>
                      <c:pt idx="5494">
                        <c:v>0</c:v>
                      </c:pt>
                      <c:pt idx="5495">
                        <c:v>0</c:v>
                      </c:pt>
                      <c:pt idx="5496">
                        <c:v>0</c:v>
                      </c:pt>
                      <c:pt idx="5497">
                        <c:v>0</c:v>
                      </c:pt>
                      <c:pt idx="5498">
                        <c:v>0</c:v>
                      </c:pt>
                      <c:pt idx="5499">
                        <c:v>0</c:v>
                      </c:pt>
                      <c:pt idx="5500">
                        <c:v>0</c:v>
                      </c:pt>
                      <c:pt idx="5501">
                        <c:v>0</c:v>
                      </c:pt>
                      <c:pt idx="5502">
                        <c:v>0</c:v>
                      </c:pt>
                      <c:pt idx="5503">
                        <c:v>0</c:v>
                      </c:pt>
                      <c:pt idx="5504">
                        <c:v>0</c:v>
                      </c:pt>
                      <c:pt idx="5505">
                        <c:v>0</c:v>
                      </c:pt>
                      <c:pt idx="5506">
                        <c:v>0</c:v>
                      </c:pt>
                      <c:pt idx="5507">
                        <c:v>0</c:v>
                      </c:pt>
                      <c:pt idx="5508">
                        <c:v>0</c:v>
                      </c:pt>
                      <c:pt idx="5509">
                        <c:v>0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</c:v>
                      </c:pt>
                      <c:pt idx="5514">
                        <c:v>0</c:v>
                      </c:pt>
                      <c:pt idx="5515">
                        <c:v>0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</c:v>
                      </c:pt>
                      <c:pt idx="5538">
                        <c:v>0</c:v>
                      </c:pt>
                      <c:pt idx="5539">
                        <c:v>0</c:v>
                      </c:pt>
                      <c:pt idx="5540">
                        <c:v>0</c:v>
                      </c:pt>
                      <c:pt idx="5541">
                        <c:v>0</c:v>
                      </c:pt>
                      <c:pt idx="5542">
                        <c:v>0</c:v>
                      </c:pt>
                      <c:pt idx="5543">
                        <c:v>0</c:v>
                      </c:pt>
                      <c:pt idx="5544">
                        <c:v>0</c:v>
                      </c:pt>
                      <c:pt idx="5545">
                        <c:v>0</c:v>
                      </c:pt>
                      <c:pt idx="5546">
                        <c:v>0</c:v>
                      </c:pt>
                      <c:pt idx="5547">
                        <c:v>0</c:v>
                      </c:pt>
                      <c:pt idx="5548">
                        <c:v>0</c:v>
                      </c:pt>
                      <c:pt idx="5549">
                        <c:v>0</c:v>
                      </c:pt>
                      <c:pt idx="5550">
                        <c:v>0</c:v>
                      </c:pt>
                      <c:pt idx="5551">
                        <c:v>0</c:v>
                      </c:pt>
                      <c:pt idx="5552">
                        <c:v>0</c:v>
                      </c:pt>
                      <c:pt idx="5553">
                        <c:v>0</c:v>
                      </c:pt>
                      <c:pt idx="5554">
                        <c:v>0</c:v>
                      </c:pt>
                      <c:pt idx="5555">
                        <c:v>0</c:v>
                      </c:pt>
                      <c:pt idx="5556">
                        <c:v>0</c:v>
                      </c:pt>
                      <c:pt idx="5557">
                        <c:v>0</c:v>
                      </c:pt>
                      <c:pt idx="5558">
                        <c:v>0</c:v>
                      </c:pt>
                      <c:pt idx="5559">
                        <c:v>0</c:v>
                      </c:pt>
                      <c:pt idx="5560">
                        <c:v>0</c:v>
                      </c:pt>
                      <c:pt idx="5561">
                        <c:v>0</c:v>
                      </c:pt>
                      <c:pt idx="5562">
                        <c:v>0</c:v>
                      </c:pt>
                      <c:pt idx="5563">
                        <c:v>0</c:v>
                      </c:pt>
                      <c:pt idx="5564">
                        <c:v>0</c:v>
                      </c:pt>
                      <c:pt idx="5565">
                        <c:v>0</c:v>
                      </c:pt>
                      <c:pt idx="5566">
                        <c:v>0</c:v>
                      </c:pt>
                      <c:pt idx="5567">
                        <c:v>0</c:v>
                      </c:pt>
                      <c:pt idx="5568">
                        <c:v>0</c:v>
                      </c:pt>
                      <c:pt idx="5569">
                        <c:v>0</c:v>
                      </c:pt>
                      <c:pt idx="5570">
                        <c:v>0</c:v>
                      </c:pt>
                      <c:pt idx="5571">
                        <c:v>0</c:v>
                      </c:pt>
                      <c:pt idx="5572">
                        <c:v>0</c:v>
                      </c:pt>
                      <c:pt idx="5573">
                        <c:v>0</c:v>
                      </c:pt>
                      <c:pt idx="5574">
                        <c:v>0</c:v>
                      </c:pt>
                      <c:pt idx="5575">
                        <c:v>0</c:v>
                      </c:pt>
                      <c:pt idx="5576">
                        <c:v>0</c:v>
                      </c:pt>
                      <c:pt idx="5577">
                        <c:v>0</c:v>
                      </c:pt>
                      <c:pt idx="5578">
                        <c:v>0</c:v>
                      </c:pt>
                      <c:pt idx="5579">
                        <c:v>0</c:v>
                      </c:pt>
                      <c:pt idx="5580">
                        <c:v>0</c:v>
                      </c:pt>
                      <c:pt idx="5581">
                        <c:v>0</c:v>
                      </c:pt>
                      <c:pt idx="5582">
                        <c:v>0</c:v>
                      </c:pt>
                      <c:pt idx="5583">
                        <c:v>0</c:v>
                      </c:pt>
                      <c:pt idx="5584">
                        <c:v>0</c:v>
                      </c:pt>
                      <c:pt idx="5585">
                        <c:v>0</c:v>
                      </c:pt>
                      <c:pt idx="5586">
                        <c:v>0</c:v>
                      </c:pt>
                      <c:pt idx="5587">
                        <c:v>0</c:v>
                      </c:pt>
                      <c:pt idx="5588">
                        <c:v>0</c:v>
                      </c:pt>
                      <c:pt idx="5589">
                        <c:v>0</c:v>
                      </c:pt>
                      <c:pt idx="5590">
                        <c:v>0</c:v>
                      </c:pt>
                      <c:pt idx="5591">
                        <c:v>0</c:v>
                      </c:pt>
                      <c:pt idx="5592">
                        <c:v>0</c:v>
                      </c:pt>
                      <c:pt idx="5593">
                        <c:v>0</c:v>
                      </c:pt>
                      <c:pt idx="5594">
                        <c:v>0</c:v>
                      </c:pt>
                      <c:pt idx="5595">
                        <c:v>0</c:v>
                      </c:pt>
                      <c:pt idx="5596">
                        <c:v>0</c:v>
                      </c:pt>
                      <c:pt idx="5597">
                        <c:v>0</c:v>
                      </c:pt>
                      <c:pt idx="5598">
                        <c:v>0</c:v>
                      </c:pt>
                      <c:pt idx="5599">
                        <c:v>0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0</c:v>
                      </c:pt>
                      <c:pt idx="5605">
                        <c:v>0</c:v>
                      </c:pt>
                      <c:pt idx="5606">
                        <c:v>0</c:v>
                      </c:pt>
                      <c:pt idx="5607">
                        <c:v>0</c:v>
                      </c:pt>
                      <c:pt idx="5608">
                        <c:v>0</c:v>
                      </c:pt>
                      <c:pt idx="5609">
                        <c:v>0</c:v>
                      </c:pt>
                      <c:pt idx="5610">
                        <c:v>0</c:v>
                      </c:pt>
                      <c:pt idx="5611">
                        <c:v>0</c:v>
                      </c:pt>
                      <c:pt idx="5612">
                        <c:v>0</c:v>
                      </c:pt>
                      <c:pt idx="5613">
                        <c:v>0</c:v>
                      </c:pt>
                      <c:pt idx="5614">
                        <c:v>0</c:v>
                      </c:pt>
                      <c:pt idx="5615">
                        <c:v>0</c:v>
                      </c:pt>
                      <c:pt idx="5616">
                        <c:v>0</c:v>
                      </c:pt>
                      <c:pt idx="5617">
                        <c:v>0</c:v>
                      </c:pt>
                      <c:pt idx="5618">
                        <c:v>0</c:v>
                      </c:pt>
                      <c:pt idx="5619">
                        <c:v>0</c:v>
                      </c:pt>
                      <c:pt idx="5620">
                        <c:v>0</c:v>
                      </c:pt>
                      <c:pt idx="5621">
                        <c:v>0</c:v>
                      </c:pt>
                      <c:pt idx="5622">
                        <c:v>0</c:v>
                      </c:pt>
                      <c:pt idx="5623">
                        <c:v>0</c:v>
                      </c:pt>
                      <c:pt idx="5624">
                        <c:v>0</c:v>
                      </c:pt>
                      <c:pt idx="5625">
                        <c:v>0</c:v>
                      </c:pt>
                      <c:pt idx="5626">
                        <c:v>0</c:v>
                      </c:pt>
                      <c:pt idx="5627">
                        <c:v>0</c:v>
                      </c:pt>
                      <c:pt idx="5628">
                        <c:v>0</c:v>
                      </c:pt>
                      <c:pt idx="5629">
                        <c:v>0</c:v>
                      </c:pt>
                      <c:pt idx="5630">
                        <c:v>0</c:v>
                      </c:pt>
                      <c:pt idx="5631">
                        <c:v>0</c:v>
                      </c:pt>
                      <c:pt idx="5632">
                        <c:v>0</c:v>
                      </c:pt>
                      <c:pt idx="5633">
                        <c:v>0</c:v>
                      </c:pt>
                      <c:pt idx="5634">
                        <c:v>0</c:v>
                      </c:pt>
                      <c:pt idx="5635">
                        <c:v>0</c:v>
                      </c:pt>
                      <c:pt idx="5636">
                        <c:v>0</c:v>
                      </c:pt>
                      <c:pt idx="5637">
                        <c:v>0</c:v>
                      </c:pt>
                      <c:pt idx="5638">
                        <c:v>0</c:v>
                      </c:pt>
                      <c:pt idx="5639">
                        <c:v>0</c:v>
                      </c:pt>
                      <c:pt idx="5640">
                        <c:v>0</c:v>
                      </c:pt>
                      <c:pt idx="5641">
                        <c:v>0</c:v>
                      </c:pt>
                      <c:pt idx="5642">
                        <c:v>0</c:v>
                      </c:pt>
                      <c:pt idx="5643">
                        <c:v>0</c:v>
                      </c:pt>
                      <c:pt idx="5644">
                        <c:v>0</c:v>
                      </c:pt>
                      <c:pt idx="5645">
                        <c:v>0</c:v>
                      </c:pt>
                      <c:pt idx="5646">
                        <c:v>0</c:v>
                      </c:pt>
                      <c:pt idx="5647">
                        <c:v>0</c:v>
                      </c:pt>
                      <c:pt idx="5648">
                        <c:v>0</c:v>
                      </c:pt>
                      <c:pt idx="5649">
                        <c:v>0</c:v>
                      </c:pt>
                      <c:pt idx="5650">
                        <c:v>0</c:v>
                      </c:pt>
                      <c:pt idx="5651">
                        <c:v>0</c:v>
                      </c:pt>
                      <c:pt idx="5652">
                        <c:v>0</c:v>
                      </c:pt>
                      <c:pt idx="5653">
                        <c:v>0</c:v>
                      </c:pt>
                      <c:pt idx="5654">
                        <c:v>0</c:v>
                      </c:pt>
                      <c:pt idx="5655">
                        <c:v>0</c:v>
                      </c:pt>
                      <c:pt idx="5656">
                        <c:v>0</c:v>
                      </c:pt>
                      <c:pt idx="5657">
                        <c:v>0</c:v>
                      </c:pt>
                      <c:pt idx="5658">
                        <c:v>0</c:v>
                      </c:pt>
                      <c:pt idx="5659">
                        <c:v>0</c:v>
                      </c:pt>
                      <c:pt idx="5660">
                        <c:v>0</c:v>
                      </c:pt>
                      <c:pt idx="5661">
                        <c:v>0</c:v>
                      </c:pt>
                      <c:pt idx="5662">
                        <c:v>0</c:v>
                      </c:pt>
                      <c:pt idx="5663">
                        <c:v>0</c:v>
                      </c:pt>
                      <c:pt idx="5664">
                        <c:v>0</c:v>
                      </c:pt>
                      <c:pt idx="5665">
                        <c:v>0</c:v>
                      </c:pt>
                      <c:pt idx="5666">
                        <c:v>0</c:v>
                      </c:pt>
                      <c:pt idx="5667">
                        <c:v>0</c:v>
                      </c:pt>
                      <c:pt idx="5668">
                        <c:v>0</c:v>
                      </c:pt>
                      <c:pt idx="5669">
                        <c:v>0</c:v>
                      </c:pt>
                      <c:pt idx="5670">
                        <c:v>0</c:v>
                      </c:pt>
                      <c:pt idx="5671">
                        <c:v>0</c:v>
                      </c:pt>
                      <c:pt idx="5672">
                        <c:v>0</c:v>
                      </c:pt>
                      <c:pt idx="5673">
                        <c:v>0</c:v>
                      </c:pt>
                      <c:pt idx="5674">
                        <c:v>0</c:v>
                      </c:pt>
                      <c:pt idx="5675">
                        <c:v>0</c:v>
                      </c:pt>
                      <c:pt idx="5676">
                        <c:v>0</c:v>
                      </c:pt>
                      <c:pt idx="5677">
                        <c:v>0</c:v>
                      </c:pt>
                      <c:pt idx="5678">
                        <c:v>0</c:v>
                      </c:pt>
                      <c:pt idx="5679">
                        <c:v>0</c:v>
                      </c:pt>
                      <c:pt idx="5680">
                        <c:v>0</c:v>
                      </c:pt>
                      <c:pt idx="5681">
                        <c:v>0</c:v>
                      </c:pt>
                      <c:pt idx="5682">
                        <c:v>0</c:v>
                      </c:pt>
                      <c:pt idx="5683">
                        <c:v>0</c:v>
                      </c:pt>
                      <c:pt idx="5684">
                        <c:v>0</c:v>
                      </c:pt>
                      <c:pt idx="5685">
                        <c:v>0</c:v>
                      </c:pt>
                      <c:pt idx="5686">
                        <c:v>0</c:v>
                      </c:pt>
                      <c:pt idx="5687">
                        <c:v>0</c:v>
                      </c:pt>
                      <c:pt idx="5688">
                        <c:v>0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0</c:v>
                      </c:pt>
                      <c:pt idx="5699">
                        <c:v>0</c:v>
                      </c:pt>
                      <c:pt idx="5700">
                        <c:v>0</c:v>
                      </c:pt>
                      <c:pt idx="5701">
                        <c:v>0</c:v>
                      </c:pt>
                      <c:pt idx="5702">
                        <c:v>0</c:v>
                      </c:pt>
                      <c:pt idx="5703">
                        <c:v>0</c:v>
                      </c:pt>
                      <c:pt idx="5704">
                        <c:v>0</c:v>
                      </c:pt>
                      <c:pt idx="5705">
                        <c:v>0</c:v>
                      </c:pt>
                      <c:pt idx="5706">
                        <c:v>0</c:v>
                      </c:pt>
                      <c:pt idx="5707">
                        <c:v>0</c:v>
                      </c:pt>
                      <c:pt idx="5708">
                        <c:v>0</c:v>
                      </c:pt>
                      <c:pt idx="5709">
                        <c:v>0</c:v>
                      </c:pt>
                      <c:pt idx="5710">
                        <c:v>0</c:v>
                      </c:pt>
                      <c:pt idx="5711">
                        <c:v>0</c:v>
                      </c:pt>
                      <c:pt idx="5712">
                        <c:v>0</c:v>
                      </c:pt>
                      <c:pt idx="5713">
                        <c:v>0</c:v>
                      </c:pt>
                      <c:pt idx="5714">
                        <c:v>0</c:v>
                      </c:pt>
                      <c:pt idx="5715">
                        <c:v>0</c:v>
                      </c:pt>
                      <c:pt idx="5716">
                        <c:v>0</c:v>
                      </c:pt>
                      <c:pt idx="5717">
                        <c:v>0</c:v>
                      </c:pt>
                      <c:pt idx="5718">
                        <c:v>0</c:v>
                      </c:pt>
                      <c:pt idx="5719">
                        <c:v>0</c:v>
                      </c:pt>
                      <c:pt idx="5720">
                        <c:v>0</c:v>
                      </c:pt>
                      <c:pt idx="5721">
                        <c:v>0</c:v>
                      </c:pt>
                      <c:pt idx="5722">
                        <c:v>0</c:v>
                      </c:pt>
                      <c:pt idx="5723">
                        <c:v>0</c:v>
                      </c:pt>
                      <c:pt idx="5724">
                        <c:v>0</c:v>
                      </c:pt>
                      <c:pt idx="5725">
                        <c:v>0</c:v>
                      </c:pt>
                      <c:pt idx="5726">
                        <c:v>0</c:v>
                      </c:pt>
                      <c:pt idx="5727">
                        <c:v>0</c:v>
                      </c:pt>
                      <c:pt idx="5728">
                        <c:v>0</c:v>
                      </c:pt>
                      <c:pt idx="5729">
                        <c:v>0</c:v>
                      </c:pt>
                      <c:pt idx="5730">
                        <c:v>0</c:v>
                      </c:pt>
                      <c:pt idx="5731">
                        <c:v>0</c:v>
                      </c:pt>
                      <c:pt idx="5732">
                        <c:v>0</c:v>
                      </c:pt>
                      <c:pt idx="5733">
                        <c:v>0</c:v>
                      </c:pt>
                      <c:pt idx="5734">
                        <c:v>0</c:v>
                      </c:pt>
                      <c:pt idx="5735">
                        <c:v>0</c:v>
                      </c:pt>
                      <c:pt idx="5736">
                        <c:v>0</c:v>
                      </c:pt>
                      <c:pt idx="5737">
                        <c:v>0</c:v>
                      </c:pt>
                      <c:pt idx="5738">
                        <c:v>0</c:v>
                      </c:pt>
                      <c:pt idx="5739">
                        <c:v>0</c:v>
                      </c:pt>
                      <c:pt idx="5740">
                        <c:v>0</c:v>
                      </c:pt>
                      <c:pt idx="5741">
                        <c:v>0</c:v>
                      </c:pt>
                      <c:pt idx="5742">
                        <c:v>0</c:v>
                      </c:pt>
                      <c:pt idx="5743">
                        <c:v>0</c:v>
                      </c:pt>
                      <c:pt idx="5744">
                        <c:v>0</c:v>
                      </c:pt>
                      <c:pt idx="5745">
                        <c:v>0</c:v>
                      </c:pt>
                      <c:pt idx="5746">
                        <c:v>0</c:v>
                      </c:pt>
                      <c:pt idx="5747">
                        <c:v>0</c:v>
                      </c:pt>
                      <c:pt idx="5748">
                        <c:v>0</c:v>
                      </c:pt>
                      <c:pt idx="5749">
                        <c:v>0</c:v>
                      </c:pt>
                      <c:pt idx="5750">
                        <c:v>0</c:v>
                      </c:pt>
                      <c:pt idx="5751">
                        <c:v>0</c:v>
                      </c:pt>
                      <c:pt idx="5752">
                        <c:v>0</c:v>
                      </c:pt>
                      <c:pt idx="5753">
                        <c:v>0</c:v>
                      </c:pt>
                      <c:pt idx="5754">
                        <c:v>0</c:v>
                      </c:pt>
                      <c:pt idx="5755">
                        <c:v>0</c:v>
                      </c:pt>
                      <c:pt idx="5756">
                        <c:v>0</c:v>
                      </c:pt>
                      <c:pt idx="5757">
                        <c:v>0</c:v>
                      </c:pt>
                      <c:pt idx="5758">
                        <c:v>0</c:v>
                      </c:pt>
                      <c:pt idx="5759">
                        <c:v>0</c:v>
                      </c:pt>
                      <c:pt idx="5760">
                        <c:v>0</c:v>
                      </c:pt>
                      <c:pt idx="5761">
                        <c:v>0</c:v>
                      </c:pt>
                      <c:pt idx="5762">
                        <c:v>0</c:v>
                      </c:pt>
                      <c:pt idx="5763">
                        <c:v>0</c:v>
                      </c:pt>
                      <c:pt idx="5764">
                        <c:v>0</c:v>
                      </c:pt>
                      <c:pt idx="5765">
                        <c:v>0</c:v>
                      </c:pt>
                      <c:pt idx="5766">
                        <c:v>0</c:v>
                      </c:pt>
                      <c:pt idx="5767">
                        <c:v>0</c:v>
                      </c:pt>
                      <c:pt idx="5768">
                        <c:v>0</c:v>
                      </c:pt>
                      <c:pt idx="5769">
                        <c:v>0</c:v>
                      </c:pt>
                      <c:pt idx="5770">
                        <c:v>0</c:v>
                      </c:pt>
                      <c:pt idx="5771">
                        <c:v>0</c:v>
                      </c:pt>
                      <c:pt idx="5772">
                        <c:v>0</c:v>
                      </c:pt>
                      <c:pt idx="5773">
                        <c:v>0</c:v>
                      </c:pt>
                      <c:pt idx="5774">
                        <c:v>0</c:v>
                      </c:pt>
                      <c:pt idx="5775">
                        <c:v>0</c:v>
                      </c:pt>
                      <c:pt idx="5776">
                        <c:v>0</c:v>
                      </c:pt>
                      <c:pt idx="5777">
                        <c:v>0</c:v>
                      </c:pt>
                      <c:pt idx="5778">
                        <c:v>0</c:v>
                      </c:pt>
                      <c:pt idx="5779">
                        <c:v>0</c:v>
                      </c:pt>
                      <c:pt idx="5780">
                        <c:v>0</c:v>
                      </c:pt>
                      <c:pt idx="5781">
                        <c:v>0</c:v>
                      </c:pt>
                      <c:pt idx="5782">
                        <c:v>0</c:v>
                      </c:pt>
                      <c:pt idx="5783">
                        <c:v>0</c:v>
                      </c:pt>
                      <c:pt idx="5784">
                        <c:v>0</c:v>
                      </c:pt>
                      <c:pt idx="5785">
                        <c:v>0</c:v>
                      </c:pt>
                      <c:pt idx="5786">
                        <c:v>0</c:v>
                      </c:pt>
                      <c:pt idx="5787">
                        <c:v>0</c:v>
                      </c:pt>
                      <c:pt idx="5788">
                        <c:v>0</c:v>
                      </c:pt>
                      <c:pt idx="5789">
                        <c:v>0</c:v>
                      </c:pt>
                      <c:pt idx="5790">
                        <c:v>0</c:v>
                      </c:pt>
                      <c:pt idx="5791">
                        <c:v>0</c:v>
                      </c:pt>
                      <c:pt idx="5792">
                        <c:v>0</c:v>
                      </c:pt>
                      <c:pt idx="5793">
                        <c:v>0</c:v>
                      </c:pt>
                      <c:pt idx="5794">
                        <c:v>0</c:v>
                      </c:pt>
                      <c:pt idx="5795">
                        <c:v>0</c:v>
                      </c:pt>
                      <c:pt idx="5796">
                        <c:v>0</c:v>
                      </c:pt>
                      <c:pt idx="5797">
                        <c:v>0</c:v>
                      </c:pt>
                      <c:pt idx="5798">
                        <c:v>0</c:v>
                      </c:pt>
                      <c:pt idx="5799">
                        <c:v>0</c:v>
                      </c:pt>
                      <c:pt idx="5800">
                        <c:v>0</c:v>
                      </c:pt>
                      <c:pt idx="5801">
                        <c:v>0</c:v>
                      </c:pt>
                      <c:pt idx="5802">
                        <c:v>0</c:v>
                      </c:pt>
                      <c:pt idx="5803">
                        <c:v>0</c:v>
                      </c:pt>
                      <c:pt idx="5804">
                        <c:v>0</c:v>
                      </c:pt>
                      <c:pt idx="5805">
                        <c:v>0</c:v>
                      </c:pt>
                      <c:pt idx="5806">
                        <c:v>0</c:v>
                      </c:pt>
                      <c:pt idx="5807">
                        <c:v>0</c:v>
                      </c:pt>
                      <c:pt idx="5808">
                        <c:v>0</c:v>
                      </c:pt>
                      <c:pt idx="5809">
                        <c:v>0</c:v>
                      </c:pt>
                      <c:pt idx="5810">
                        <c:v>0</c:v>
                      </c:pt>
                      <c:pt idx="5811">
                        <c:v>0</c:v>
                      </c:pt>
                      <c:pt idx="5812">
                        <c:v>0</c:v>
                      </c:pt>
                      <c:pt idx="5813">
                        <c:v>0</c:v>
                      </c:pt>
                      <c:pt idx="5814">
                        <c:v>0</c:v>
                      </c:pt>
                      <c:pt idx="5815">
                        <c:v>0</c:v>
                      </c:pt>
                      <c:pt idx="5816">
                        <c:v>0</c:v>
                      </c:pt>
                      <c:pt idx="5817">
                        <c:v>0</c:v>
                      </c:pt>
                      <c:pt idx="5818">
                        <c:v>0</c:v>
                      </c:pt>
                      <c:pt idx="5819">
                        <c:v>0</c:v>
                      </c:pt>
                      <c:pt idx="5820">
                        <c:v>0</c:v>
                      </c:pt>
                      <c:pt idx="5821">
                        <c:v>0</c:v>
                      </c:pt>
                      <c:pt idx="5822">
                        <c:v>0</c:v>
                      </c:pt>
                      <c:pt idx="5823">
                        <c:v>0</c:v>
                      </c:pt>
                      <c:pt idx="5824">
                        <c:v>0</c:v>
                      </c:pt>
                      <c:pt idx="5825">
                        <c:v>0</c:v>
                      </c:pt>
                      <c:pt idx="5826">
                        <c:v>0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</c:v>
                      </c:pt>
                      <c:pt idx="5833">
                        <c:v>0</c:v>
                      </c:pt>
                      <c:pt idx="5834">
                        <c:v>0</c:v>
                      </c:pt>
                      <c:pt idx="5835">
                        <c:v>0</c:v>
                      </c:pt>
                      <c:pt idx="5836">
                        <c:v>0</c:v>
                      </c:pt>
                      <c:pt idx="5837">
                        <c:v>0</c:v>
                      </c:pt>
                      <c:pt idx="5838">
                        <c:v>0</c:v>
                      </c:pt>
                      <c:pt idx="5839">
                        <c:v>0</c:v>
                      </c:pt>
                      <c:pt idx="5840">
                        <c:v>0</c:v>
                      </c:pt>
                      <c:pt idx="5841">
                        <c:v>0</c:v>
                      </c:pt>
                      <c:pt idx="5842">
                        <c:v>0</c:v>
                      </c:pt>
                      <c:pt idx="5843">
                        <c:v>0</c:v>
                      </c:pt>
                      <c:pt idx="5844">
                        <c:v>0</c:v>
                      </c:pt>
                      <c:pt idx="5845">
                        <c:v>0</c:v>
                      </c:pt>
                      <c:pt idx="5846">
                        <c:v>0</c:v>
                      </c:pt>
                      <c:pt idx="5847">
                        <c:v>0</c:v>
                      </c:pt>
                      <c:pt idx="5848">
                        <c:v>0</c:v>
                      </c:pt>
                      <c:pt idx="5849">
                        <c:v>0</c:v>
                      </c:pt>
                      <c:pt idx="5850">
                        <c:v>0</c:v>
                      </c:pt>
                      <c:pt idx="5851">
                        <c:v>0</c:v>
                      </c:pt>
                      <c:pt idx="5852">
                        <c:v>0</c:v>
                      </c:pt>
                      <c:pt idx="5853">
                        <c:v>0</c:v>
                      </c:pt>
                      <c:pt idx="5854">
                        <c:v>0</c:v>
                      </c:pt>
                      <c:pt idx="5855">
                        <c:v>0</c:v>
                      </c:pt>
                      <c:pt idx="5856">
                        <c:v>0</c:v>
                      </c:pt>
                      <c:pt idx="5857">
                        <c:v>0</c:v>
                      </c:pt>
                      <c:pt idx="5858">
                        <c:v>0</c:v>
                      </c:pt>
                      <c:pt idx="5859">
                        <c:v>0</c:v>
                      </c:pt>
                      <c:pt idx="5860">
                        <c:v>0</c:v>
                      </c:pt>
                      <c:pt idx="5861">
                        <c:v>0</c:v>
                      </c:pt>
                      <c:pt idx="5862">
                        <c:v>0</c:v>
                      </c:pt>
                      <c:pt idx="5863">
                        <c:v>0</c:v>
                      </c:pt>
                      <c:pt idx="5864">
                        <c:v>0</c:v>
                      </c:pt>
                      <c:pt idx="5865">
                        <c:v>0</c:v>
                      </c:pt>
                      <c:pt idx="5866">
                        <c:v>0</c:v>
                      </c:pt>
                      <c:pt idx="5867">
                        <c:v>0</c:v>
                      </c:pt>
                      <c:pt idx="5868">
                        <c:v>0</c:v>
                      </c:pt>
                      <c:pt idx="5869">
                        <c:v>0</c:v>
                      </c:pt>
                      <c:pt idx="5870">
                        <c:v>0</c:v>
                      </c:pt>
                      <c:pt idx="5871">
                        <c:v>0</c:v>
                      </c:pt>
                      <c:pt idx="5872">
                        <c:v>0</c:v>
                      </c:pt>
                      <c:pt idx="5873">
                        <c:v>0</c:v>
                      </c:pt>
                      <c:pt idx="5874">
                        <c:v>0</c:v>
                      </c:pt>
                      <c:pt idx="5875">
                        <c:v>0</c:v>
                      </c:pt>
                      <c:pt idx="5876">
                        <c:v>0</c:v>
                      </c:pt>
                      <c:pt idx="5877">
                        <c:v>0</c:v>
                      </c:pt>
                      <c:pt idx="5878">
                        <c:v>0</c:v>
                      </c:pt>
                      <c:pt idx="5879">
                        <c:v>0</c:v>
                      </c:pt>
                      <c:pt idx="5880">
                        <c:v>0</c:v>
                      </c:pt>
                      <c:pt idx="5881">
                        <c:v>0</c:v>
                      </c:pt>
                      <c:pt idx="5882">
                        <c:v>0</c:v>
                      </c:pt>
                      <c:pt idx="5883">
                        <c:v>0</c:v>
                      </c:pt>
                      <c:pt idx="5884">
                        <c:v>0</c:v>
                      </c:pt>
                      <c:pt idx="5885">
                        <c:v>0</c:v>
                      </c:pt>
                      <c:pt idx="5886">
                        <c:v>0</c:v>
                      </c:pt>
                      <c:pt idx="5887">
                        <c:v>0</c:v>
                      </c:pt>
                      <c:pt idx="5888">
                        <c:v>0</c:v>
                      </c:pt>
                      <c:pt idx="5889">
                        <c:v>0</c:v>
                      </c:pt>
                      <c:pt idx="5890">
                        <c:v>0</c:v>
                      </c:pt>
                      <c:pt idx="5891">
                        <c:v>0</c:v>
                      </c:pt>
                      <c:pt idx="5892">
                        <c:v>0</c:v>
                      </c:pt>
                      <c:pt idx="5893">
                        <c:v>0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0</c:v>
                      </c:pt>
                      <c:pt idx="5898">
                        <c:v>0</c:v>
                      </c:pt>
                      <c:pt idx="5899">
                        <c:v>0</c:v>
                      </c:pt>
                      <c:pt idx="5900">
                        <c:v>0</c:v>
                      </c:pt>
                      <c:pt idx="5901">
                        <c:v>0</c:v>
                      </c:pt>
                      <c:pt idx="5902">
                        <c:v>0</c:v>
                      </c:pt>
                      <c:pt idx="5903">
                        <c:v>0</c:v>
                      </c:pt>
                      <c:pt idx="5904">
                        <c:v>0</c:v>
                      </c:pt>
                      <c:pt idx="5905">
                        <c:v>0</c:v>
                      </c:pt>
                      <c:pt idx="5906">
                        <c:v>0</c:v>
                      </c:pt>
                      <c:pt idx="5907">
                        <c:v>0</c:v>
                      </c:pt>
                      <c:pt idx="5908">
                        <c:v>0</c:v>
                      </c:pt>
                      <c:pt idx="5909">
                        <c:v>0</c:v>
                      </c:pt>
                      <c:pt idx="5910">
                        <c:v>0</c:v>
                      </c:pt>
                      <c:pt idx="5911">
                        <c:v>0</c:v>
                      </c:pt>
                      <c:pt idx="5912">
                        <c:v>0</c:v>
                      </c:pt>
                      <c:pt idx="5913">
                        <c:v>0</c:v>
                      </c:pt>
                      <c:pt idx="5914">
                        <c:v>0</c:v>
                      </c:pt>
                      <c:pt idx="5915">
                        <c:v>0</c:v>
                      </c:pt>
                      <c:pt idx="5916">
                        <c:v>0</c:v>
                      </c:pt>
                      <c:pt idx="5917">
                        <c:v>0</c:v>
                      </c:pt>
                      <c:pt idx="5918">
                        <c:v>0</c:v>
                      </c:pt>
                      <c:pt idx="5919">
                        <c:v>0</c:v>
                      </c:pt>
                      <c:pt idx="5920">
                        <c:v>0</c:v>
                      </c:pt>
                      <c:pt idx="5921">
                        <c:v>0</c:v>
                      </c:pt>
                      <c:pt idx="5922">
                        <c:v>0</c:v>
                      </c:pt>
                      <c:pt idx="5923">
                        <c:v>0</c:v>
                      </c:pt>
                      <c:pt idx="5924">
                        <c:v>0</c:v>
                      </c:pt>
                      <c:pt idx="5925">
                        <c:v>0</c:v>
                      </c:pt>
                      <c:pt idx="5926">
                        <c:v>0</c:v>
                      </c:pt>
                      <c:pt idx="5927">
                        <c:v>0</c:v>
                      </c:pt>
                      <c:pt idx="5928">
                        <c:v>0</c:v>
                      </c:pt>
                      <c:pt idx="5929">
                        <c:v>0</c:v>
                      </c:pt>
                      <c:pt idx="5930">
                        <c:v>0</c:v>
                      </c:pt>
                      <c:pt idx="5931">
                        <c:v>0</c:v>
                      </c:pt>
                      <c:pt idx="5932">
                        <c:v>0</c:v>
                      </c:pt>
                      <c:pt idx="5933">
                        <c:v>0</c:v>
                      </c:pt>
                      <c:pt idx="5934">
                        <c:v>0</c:v>
                      </c:pt>
                      <c:pt idx="5935">
                        <c:v>0</c:v>
                      </c:pt>
                      <c:pt idx="5936">
                        <c:v>0</c:v>
                      </c:pt>
                      <c:pt idx="5937">
                        <c:v>0</c:v>
                      </c:pt>
                      <c:pt idx="5938">
                        <c:v>0</c:v>
                      </c:pt>
                      <c:pt idx="5939">
                        <c:v>0</c:v>
                      </c:pt>
                      <c:pt idx="5940">
                        <c:v>0</c:v>
                      </c:pt>
                      <c:pt idx="5941">
                        <c:v>0</c:v>
                      </c:pt>
                      <c:pt idx="5942">
                        <c:v>0</c:v>
                      </c:pt>
                      <c:pt idx="5943">
                        <c:v>0</c:v>
                      </c:pt>
                      <c:pt idx="5944">
                        <c:v>0</c:v>
                      </c:pt>
                      <c:pt idx="5945">
                        <c:v>0</c:v>
                      </c:pt>
                      <c:pt idx="5946">
                        <c:v>0</c:v>
                      </c:pt>
                      <c:pt idx="5947">
                        <c:v>0</c:v>
                      </c:pt>
                      <c:pt idx="5948">
                        <c:v>0</c:v>
                      </c:pt>
                      <c:pt idx="5949">
                        <c:v>0</c:v>
                      </c:pt>
                      <c:pt idx="5950">
                        <c:v>0</c:v>
                      </c:pt>
                      <c:pt idx="5951">
                        <c:v>0</c:v>
                      </c:pt>
                      <c:pt idx="5952">
                        <c:v>0</c:v>
                      </c:pt>
                      <c:pt idx="5953">
                        <c:v>0</c:v>
                      </c:pt>
                      <c:pt idx="5954">
                        <c:v>0</c:v>
                      </c:pt>
                      <c:pt idx="5955">
                        <c:v>0</c:v>
                      </c:pt>
                      <c:pt idx="5956">
                        <c:v>0</c:v>
                      </c:pt>
                      <c:pt idx="5957">
                        <c:v>0</c:v>
                      </c:pt>
                      <c:pt idx="5958">
                        <c:v>0</c:v>
                      </c:pt>
                      <c:pt idx="5959">
                        <c:v>0</c:v>
                      </c:pt>
                      <c:pt idx="5960">
                        <c:v>0</c:v>
                      </c:pt>
                      <c:pt idx="5961">
                        <c:v>0</c:v>
                      </c:pt>
                      <c:pt idx="5962">
                        <c:v>0</c:v>
                      </c:pt>
                      <c:pt idx="5963">
                        <c:v>0</c:v>
                      </c:pt>
                      <c:pt idx="5964">
                        <c:v>0</c:v>
                      </c:pt>
                      <c:pt idx="5965">
                        <c:v>0</c:v>
                      </c:pt>
                      <c:pt idx="5966">
                        <c:v>0</c:v>
                      </c:pt>
                      <c:pt idx="5967">
                        <c:v>0</c:v>
                      </c:pt>
                      <c:pt idx="5968">
                        <c:v>0</c:v>
                      </c:pt>
                      <c:pt idx="5969">
                        <c:v>0</c:v>
                      </c:pt>
                      <c:pt idx="5970">
                        <c:v>0</c:v>
                      </c:pt>
                      <c:pt idx="5971">
                        <c:v>0</c:v>
                      </c:pt>
                      <c:pt idx="5972">
                        <c:v>0</c:v>
                      </c:pt>
                      <c:pt idx="5973">
                        <c:v>0</c:v>
                      </c:pt>
                      <c:pt idx="5974">
                        <c:v>0</c:v>
                      </c:pt>
                      <c:pt idx="5975">
                        <c:v>0</c:v>
                      </c:pt>
                      <c:pt idx="5976">
                        <c:v>0</c:v>
                      </c:pt>
                      <c:pt idx="5977">
                        <c:v>0</c:v>
                      </c:pt>
                      <c:pt idx="5978">
                        <c:v>0</c:v>
                      </c:pt>
                      <c:pt idx="5979">
                        <c:v>0</c:v>
                      </c:pt>
                      <c:pt idx="5980">
                        <c:v>0</c:v>
                      </c:pt>
                      <c:pt idx="5981">
                        <c:v>0</c:v>
                      </c:pt>
                      <c:pt idx="5982">
                        <c:v>0</c:v>
                      </c:pt>
                      <c:pt idx="5983">
                        <c:v>0</c:v>
                      </c:pt>
                      <c:pt idx="5984">
                        <c:v>0</c:v>
                      </c:pt>
                      <c:pt idx="5985">
                        <c:v>0</c:v>
                      </c:pt>
                      <c:pt idx="5986">
                        <c:v>0</c:v>
                      </c:pt>
                      <c:pt idx="5987">
                        <c:v>0</c:v>
                      </c:pt>
                      <c:pt idx="5988">
                        <c:v>0</c:v>
                      </c:pt>
                      <c:pt idx="5989">
                        <c:v>0</c:v>
                      </c:pt>
                      <c:pt idx="5990">
                        <c:v>0</c:v>
                      </c:pt>
                      <c:pt idx="5991">
                        <c:v>0</c:v>
                      </c:pt>
                      <c:pt idx="5992">
                        <c:v>0</c:v>
                      </c:pt>
                      <c:pt idx="5993">
                        <c:v>0</c:v>
                      </c:pt>
                      <c:pt idx="5994">
                        <c:v>0</c:v>
                      </c:pt>
                      <c:pt idx="5995">
                        <c:v>0</c:v>
                      </c:pt>
                      <c:pt idx="5996">
                        <c:v>0</c:v>
                      </c:pt>
                      <c:pt idx="5997">
                        <c:v>0</c:v>
                      </c:pt>
                      <c:pt idx="5998">
                        <c:v>0</c:v>
                      </c:pt>
                      <c:pt idx="5999">
                        <c:v>0</c:v>
                      </c:pt>
                      <c:pt idx="6000">
                        <c:v>0</c:v>
                      </c:pt>
                      <c:pt idx="6001">
                        <c:v>0</c:v>
                      </c:pt>
                      <c:pt idx="6002">
                        <c:v>0</c:v>
                      </c:pt>
                      <c:pt idx="6003">
                        <c:v>0</c:v>
                      </c:pt>
                      <c:pt idx="6004">
                        <c:v>0</c:v>
                      </c:pt>
                      <c:pt idx="6005">
                        <c:v>0</c:v>
                      </c:pt>
                      <c:pt idx="6006">
                        <c:v>0</c:v>
                      </c:pt>
                      <c:pt idx="6007">
                        <c:v>0</c:v>
                      </c:pt>
                      <c:pt idx="6008">
                        <c:v>0</c:v>
                      </c:pt>
                      <c:pt idx="6009">
                        <c:v>0</c:v>
                      </c:pt>
                      <c:pt idx="6010">
                        <c:v>0</c:v>
                      </c:pt>
                      <c:pt idx="6011">
                        <c:v>0</c:v>
                      </c:pt>
                      <c:pt idx="6012">
                        <c:v>0</c:v>
                      </c:pt>
                      <c:pt idx="6013">
                        <c:v>0</c:v>
                      </c:pt>
                      <c:pt idx="6014">
                        <c:v>0</c:v>
                      </c:pt>
                      <c:pt idx="6015">
                        <c:v>0</c:v>
                      </c:pt>
                      <c:pt idx="6016">
                        <c:v>0</c:v>
                      </c:pt>
                      <c:pt idx="6017">
                        <c:v>0</c:v>
                      </c:pt>
                      <c:pt idx="6018">
                        <c:v>0</c:v>
                      </c:pt>
                      <c:pt idx="6019">
                        <c:v>0</c:v>
                      </c:pt>
                      <c:pt idx="6020">
                        <c:v>0</c:v>
                      </c:pt>
                      <c:pt idx="6021">
                        <c:v>0</c:v>
                      </c:pt>
                      <c:pt idx="6022">
                        <c:v>0</c:v>
                      </c:pt>
                      <c:pt idx="6023">
                        <c:v>0</c:v>
                      </c:pt>
                      <c:pt idx="6024">
                        <c:v>0</c:v>
                      </c:pt>
                      <c:pt idx="6025">
                        <c:v>0</c:v>
                      </c:pt>
                      <c:pt idx="6026">
                        <c:v>0</c:v>
                      </c:pt>
                      <c:pt idx="6027">
                        <c:v>0</c:v>
                      </c:pt>
                      <c:pt idx="6028">
                        <c:v>0</c:v>
                      </c:pt>
                      <c:pt idx="6029">
                        <c:v>0</c:v>
                      </c:pt>
                      <c:pt idx="6030">
                        <c:v>0</c:v>
                      </c:pt>
                      <c:pt idx="6031">
                        <c:v>0</c:v>
                      </c:pt>
                      <c:pt idx="6032">
                        <c:v>0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0</c:v>
                      </c:pt>
                      <c:pt idx="6055">
                        <c:v>0</c:v>
                      </c:pt>
                      <c:pt idx="6056">
                        <c:v>0</c:v>
                      </c:pt>
                      <c:pt idx="6057">
                        <c:v>0</c:v>
                      </c:pt>
                      <c:pt idx="6058">
                        <c:v>0</c:v>
                      </c:pt>
                      <c:pt idx="6059">
                        <c:v>0</c:v>
                      </c:pt>
                      <c:pt idx="6060">
                        <c:v>0</c:v>
                      </c:pt>
                      <c:pt idx="6061">
                        <c:v>0</c:v>
                      </c:pt>
                      <c:pt idx="6062">
                        <c:v>0</c:v>
                      </c:pt>
                      <c:pt idx="6063">
                        <c:v>0</c:v>
                      </c:pt>
                      <c:pt idx="6064">
                        <c:v>0</c:v>
                      </c:pt>
                      <c:pt idx="6065">
                        <c:v>0</c:v>
                      </c:pt>
                      <c:pt idx="6066">
                        <c:v>0</c:v>
                      </c:pt>
                      <c:pt idx="6067">
                        <c:v>0</c:v>
                      </c:pt>
                      <c:pt idx="6068">
                        <c:v>0</c:v>
                      </c:pt>
                      <c:pt idx="6069">
                        <c:v>0</c:v>
                      </c:pt>
                      <c:pt idx="6070">
                        <c:v>0</c:v>
                      </c:pt>
                      <c:pt idx="6071">
                        <c:v>0</c:v>
                      </c:pt>
                      <c:pt idx="6072">
                        <c:v>0</c:v>
                      </c:pt>
                      <c:pt idx="6073">
                        <c:v>0</c:v>
                      </c:pt>
                      <c:pt idx="6074">
                        <c:v>0</c:v>
                      </c:pt>
                      <c:pt idx="6075">
                        <c:v>0</c:v>
                      </c:pt>
                      <c:pt idx="6076">
                        <c:v>0</c:v>
                      </c:pt>
                      <c:pt idx="6077">
                        <c:v>0</c:v>
                      </c:pt>
                      <c:pt idx="6078">
                        <c:v>0</c:v>
                      </c:pt>
                      <c:pt idx="6079">
                        <c:v>0</c:v>
                      </c:pt>
                      <c:pt idx="6080">
                        <c:v>0</c:v>
                      </c:pt>
                      <c:pt idx="6081">
                        <c:v>0</c:v>
                      </c:pt>
                      <c:pt idx="6082">
                        <c:v>0</c:v>
                      </c:pt>
                      <c:pt idx="6083">
                        <c:v>0</c:v>
                      </c:pt>
                      <c:pt idx="6084">
                        <c:v>0</c:v>
                      </c:pt>
                      <c:pt idx="6085">
                        <c:v>0</c:v>
                      </c:pt>
                      <c:pt idx="6086">
                        <c:v>0</c:v>
                      </c:pt>
                      <c:pt idx="6087">
                        <c:v>0</c:v>
                      </c:pt>
                      <c:pt idx="6088">
                        <c:v>0</c:v>
                      </c:pt>
                      <c:pt idx="6089">
                        <c:v>0</c:v>
                      </c:pt>
                      <c:pt idx="6090">
                        <c:v>0</c:v>
                      </c:pt>
                      <c:pt idx="6091">
                        <c:v>0</c:v>
                      </c:pt>
                      <c:pt idx="6092">
                        <c:v>0</c:v>
                      </c:pt>
                      <c:pt idx="6093">
                        <c:v>0</c:v>
                      </c:pt>
                      <c:pt idx="6094">
                        <c:v>0</c:v>
                      </c:pt>
                      <c:pt idx="6095">
                        <c:v>0</c:v>
                      </c:pt>
                      <c:pt idx="6096">
                        <c:v>0</c:v>
                      </c:pt>
                      <c:pt idx="6097">
                        <c:v>0</c:v>
                      </c:pt>
                      <c:pt idx="6098">
                        <c:v>0</c:v>
                      </c:pt>
                      <c:pt idx="6099">
                        <c:v>0</c:v>
                      </c:pt>
                      <c:pt idx="6100">
                        <c:v>0</c:v>
                      </c:pt>
                      <c:pt idx="6101">
                        <c:v>0</c:v>
                      </c:pt>
                      <c:pt idx="6102">
                        <c:v>0</c:v>
                      </c:pt>
                      <c:pt idx="6103">
                        <c:v>0</c:v>
                      </c:pt>
                      <c:pt idx="6104">
                        <c:v>0</c:v>
                      </c:pt>
                      <c:pt idx="6105">
                        <c:v>0</c:v>
                      </c:pt>
                      <c:pt idx="6106">
                        <c:v>0</c:v>
                      </c:pt>
                      <c:pt idx="6107">
                        <c:v>0</c:v>
                      </c:pt>
                      <c:pt idx="6108">
                        <c:v>0</c:v>
                      </c:pt>
                      <c:pt idx="6109">
                        <c:v>0</c:v>
                      </c:pt>
                      <c:pt idx="6110">
                        <c:v>0</c:v>
                      </c:pt>
                      <c:pt idx="6111">
                        <c:v>0</c:v>
                      </c:pt>
                      <c:pt idx="6112">
                        <c:v>0</c:v>
                      </c:pt>
                      <c:pt idx="6113">
                        <c:v>0</c:v>
                      </c:pt>
                      <c:pt idx="6114">
                        <c:v>0</c:v>
                      </c:pt>
                      <c:pt idx="6115">
                        <c:v>0</c:v>
                      </c:pt>
                      <c:pt idx="6116">
                        <c:v>0</c:v>
                      </c:pt>
                      <c:pt idx="6117">
                        <c:v>0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0</c:v>
                      </c:pt>
                      <c:pt idx="6125">
                        <c:v>0</c:v>
                      </c:pt>
                      <c:pt idx="6126">
                        <c:v>0</c:v>
                      </c:pt>
                      <c:pt idx="6127">
                        <c:v>0</c:v>
                      </c:pt>
                      <c:pt idx="6128">
                        <c:v>0</c:v>
                      </c:pt>
                      <c:pt idx="6129">
                        <c:v>0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0</c:v>
                      </c:pt>
                      <c:pt idx="6135">
                        <c:v>0</c:v>
                      </c:pt>
                      <c:pt idx="6136">
                        <c:v>0</c:v>
                      </c:pt>
                      <c:pt idx="6137">
                        <c:v>0</c:v>
                      </c:pt>
                      <c:pt idx="6138">
                        <c:v>0</c:v>
                      </c:pt>
                      <c:pt idx="6139">
                        <c:v>0</c:v>
                      </c:pt>
                      <c:pt idx="6140">
                        <c:v>0</c:v>
                      </c:pt>
                      <c:pt idx="6141">
                        <c:v>0</c:v>
                      </c:pt>
                      <c:pt idx="6142">
                        <c:v>0</c:v>
                      </c:pt>
                      <c:pt idx="6143">
                        <c:v>0</c:v>
                      </c:pt>
                      <c:pt idx="6144">
                        <c:v>0</c:v>
                      </c:pt>
                      <c:pt idx="6145">
                        <c:v>0</c:v>
                      </c:pt>
                      <c:pt idx="6146">
                        <c:v>0</c:v>
                      </c:pt>
                      <c:pt idx="6147">
                        <c:v>0</c:v>
                      </c:pt>
                      <c:pt idx="6148">
                        <c:v>0</c:v>
                      </c:pt>
                      <c:pt idx="6149">
                        <c:v>0</c:v>
                      </c:pt>
                      <c:pt idx="6150">
                        <c:v>0</c:v>
                      </c:pt>
                      <c:pt idx="6151">
                        <c:v>0</c:v>
                      </c:pt>
                      <c:pt idx="6152">
                        <c:v>0</c:v>
                      </c:pt>
                      <c:pt idx="6153">
                        <c:v>0</c:v>
                      </c:pt>
                      <c:pt idx="6154">
                        <c:v>0</c:v>
                      </c:pt>
                      <c:pt idx="6155">
                        <c:v>0</c:v>
                      </c:pt>
                      <c:pt idx="6156">
                        <c:v>0</c:v>
                      </c:pt>
                      <c:pt idx="6157">
                        <c:v>0</c:v>
                      </c:pt>
                      <c:pt idx="6158">
                        <c:v>0</c:v>
                      </c:pt>
                      <c:pt idx="6159">
                        <c:v>0</c:v>
                      </c:pt>
                      <c:pt idx="6160">
                        <c:v>0</c:v>
                      </c:pt>
                      <c:pt idx="6161">
                        <c:v>0</c:v>
                      </c:pt>
                      <c:pt idx="6162">
                        <c:v>0</c:v>
                      </c:pt>
                      <c:pt idx="6163">
                        <c:v>0</c:v>
                      </c:pt>
                      <c:pt idx="6164">
                        <c:v>0</c:v>
                      </c:pt>
                      <c:pt idx="6165">
                        <c:v>0</c:v>
                      </c:pt>
                      <c:pt idx="6166">
                        <c:v>0</c:v>
                      </c:pt>
                      <c:pt idx="6167">
                        <c:v>0</c:v>
                      </c:pt>
                      <c:pt idx="6168">
                        <c:v>0</c:v>
                      </c:pt>
                      <c:pt idx="6169">
                        <c:v>0</c:v>
                      </c:pt>
                      <c:pt idx="6170">
                        <c:v>0</c:v>
                      </c:pt>
                      <c:pt idx="6171">
                        <c:v>0</c:v>
                      </c:pt>
                      <c:pt idx="6172">
                        <c:v>0</c:v>
                      </c:pt>
                      <c:pt idx="6173">
                        <c:v>0</c:v>
                      </c:pt>
                      <c:pt idx="6174">
                        <c:v>0</c:v>
                      </c:pt>
                      <c:pt idx="6175">
                        <c:v>0</c:v>
                      </c:pt>
                      <c:pt idx="6176">
                        <c:v>0</c:v>
                      </c:pt>
                      <c:pt idx="6177">
                        <c:v>0</c:v>
                      </c:pt>
                      <c:pt idx="6178">
                        <c:v>0</c:v>
                      </c:pt>
                      <c:pt idx="6179">
                        <c:v>0</c:v>
                      </c:pt>
                      <c:pt idx="6180">
                        <c:v>0</c:v>
                      </c:pt>
                      <c:pt idx="6181">
                        <c:v>0</c:v>
                      </c:pt>
                      <c:pt idx="6182">
                        <c:v>0</c:v>
                      </c:pt>
                      <c:pt idx="6183">
                        <c:v>0</c:v>
                      </c:pt>
                      <c:pt idx="6184">
                        <c:v>0</c:v>
                      </c:pt>
                      <c:pt idx="6185">
                        <c:v>0</c:v>
                      </c:pt>
                      <c:pt idx="6186">
                        <c:v>0</c:v>
                      </c:pt>
                      <c:pt idx="6187">
                        <c:v>0</c:v>
                      </c:pt>
                      <c:pt idx="6188">
                        <c:v>0</c:v>
                      </c:pt>
                      <c:pt idx="6189">
                        <c:v>0</c:v>
                      </c:pt>
                      <c:pt idx="6190">
                        <c:v>0</c:v>
                      </c:pt>
                      <c:pt idx="6191">
                        <c:v>0</c:v>
                      </c:pt>
                      <c:pt idx="6192">
                        <c:v>0</c:v>
                      </c:pt>
                      <c:pt idx="6193">
                        <c:v>0</c:v>
                      </c:pt>
                      <c:pt idx="6194">
                        <c:v>0</c:v>
                      </c:pt>
                      <c:pt idx="6195">
                        <c:v>0</c:v>
                      </c:pt>
                      <c:pt idx="6196">
                        <c:v>0</c:v>
                      </c:pt>
                      <c:pt idx="6197">
                        <c:v>0</c:v>
                      </c:pt>
                      <c:pt idx="6198">
                        <c:v>0</c:v>
                      </c:pt>
                      <c:pt idx="6199">
                        <c:v>0</c:v>
                      </c:pt>
                      <c:pt idx="6200">
                        <c:v>0</c:v>
                      </c:pt>
                      <c:pt idx="6201">
                        <c:v>0</c:v>
                      </c:pt>
                      <c:pt idx="6202">
                        <c:v>0</c:v>
                      </c:pt>
                      <c:pt idx="6203">
                        <c:v>0</c:v>
                      </c:pt>
                      <c:pt idx="6204">
                        <c:v>0</c:v>
                      </c:pt>
                      <c:pt idx="6205">
                        <c:v>0</c:v>
                      </c:pt>
                      <c:pt idx="6206">
                        <c:v>0</c:v>
                      </c:pt>
                      <c:pt idx="6207">
                        <c:v>0</c:v>
                      </c:pt>
                      <c:pt idx="6208">
                        <c:v>0</c:v>
                      </c:pt>
                      <c:pt idx="6209">
                        <c:v>0</c:v>
                      </c:pt>
                      <c:pt idx="6210">
                        <c:v>0</c:v>
                      </c:pt>
                      <c:pt idx="6211">
                        <c:v>0</c:v>
                      </c:pt>
                      <c:pt idx="6212">
                        <c:v>0</c:v>
                      </c:pt>
                      <c:pt idx="6213">
                        <c:v>0</c:v>
                      </c:pt>
                      <c:pt idx="6214">
                        <c:v>0</c:v>
                      </c:pt>
                      <c:pt idx="6215">
                        <c:v>0</c:v>
                      </c:pt>
                      <c:pt idx="6216">
                        <c:v>0</c:v>
                      </c:pt>
                      <c:pt idx="6217">
                        <c:v>0</c:v>
                      </c:pt>
                      <c:pt idx="6218">
                        <c:v>0</c:v>
                      </c:pt>
                      <c:pt idx="6219">
                        <c:v>0</c:v>
                      </c:pt>
                      <c:pt idx="6220">
                        <c:v>0</c:v>
                      </c:pt>
                      <c:pt idx="6221">
                        <c:v>0</c:v>
                      </c:pt>
                      <c:pt idx="6222">
                        <c:v>0</c:v>
                      </c:pt>
                      <c:pt idx="6223">
                        <c:v>0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0</c:v>
                      </c:pt>
                      <c:pt idx="6229">
                        <c:v>0</c:v>
                      </c:pt>
                      <c:pt idx="6230">
                        <c:v>0</c:v>
                      </c:pt>
                      <c:pt idx="6231">
                        <c:v>0</c:v>
                      </c:pt>
                      <c:pt idx="6232">
                        <c:v>0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</c:v>
                      </c:pt>
                      <c:pt idx="6252">
                        <c:v>0</c:v>
                      </c:pt>
                      <c:pt idx="6253">
                        <c:v>0</c:v>
                      </c:pt>
                      <c:pt idx="6254">
                        <c:v>0</c:v>
                      </c:pt>
                      <c:pt idx="6255">
                        <c:v>0</c:v>
                      </c:pt>
                      <c:pt idx="6256">
                        <c:v>0</c:v>
                      </c:pt>
                      <c:pt idx="6257">
                        <c:v>0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0</c:v>
                      </c:pt>
                      <c:pt idx="6389">
                        <c:v>0</c:v>
                      </c:pt>
                      <c:pt idx="6390">
                        <c:v>0</c:v>
                      </c:pt>
                      <c:pt idx="6391">
                        <c:v>0</c:v>
                      </c:pt>
                      <c:pt idx="6392">
                        <c:v>0</c:v>
                      </c:pt>
                      <c:pt idx="6393">
                        <c:v>0</c:v>
                      </c:pt>
                      <c:pt idx="6394">
                        <c:v>0</c:v>
                      </c:pt>
                      <c:pt idx="6395">
                        <c:v>0</c:v>
                      </c:pt>
                      <c:pt idx="6396">
                        <c:v>0</c:v>
                      </c:pt>
                      <c:pt idx="6397">
                        <c:v>0</c:v>
                      </c:pt>
                      <c:pt idx="6398">
                        <c:v>0</c:v>
                      </c:pt>
                      <c:pt idx="6399">
                        <c:v>0</c:v>
                      </c:pt>
                      <c:pt idx="6400">
                        <c:v>0</c:v>
                      </c:pt>
                      <c:pt idx="6401">
                        <c:v>0</c:v>
                      </c:pt>
                      <c:pt idx="6402">
                        <c:v>0</c:v>
                      </c:pt>
                      <c:pt idx="6403">
                        <c:v>0</c:v>
                      </c:pt>
                      <c:pt idx="6404">
                        <c:v>0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0</c:v>
                      </c:pt>
                      <c:pt idx="6418">
                        <c:v>0</c:v>
                      </c:pt>
                      <c:pt idx="6419">
                        <c:v>0</c:v>
                      </c:pt>
                      <c:pt idx="6420">
                        <c:v>0</c:v>
                      </c:pt>
                      <c:pt idx="6421">
                        <c:v>0</c:v>
                      </c:pt>
                      <c:pt idx="6422">
                        <c:v>0</c:v>
                      </c:pt>
                      <c:pt idx="6423">
                        <c:v>0</c:v>
                      </c:pt>
                      <c:pt idx="6424">
                        <c:v>0</c:v>
                      </c:pt>
                      <c:pt idx="6425">
                        <c:v>0</c:v>
                      </c:pt>
                      <c:pt idx="6426">
                        <c:v>0</c:v>
                      </c:pt>
                      <c:pt idx="6427">
                        <c:v>0</c:v>
                      </c:pt>
                      <c:pt idx="6428">
                        <c:v>0</c:v>
                      </c:pt>
                      <c:pt idx="6429">
                        <c:v>0</c:v>
                      </c:pt>
                      <c:pt idx="6430">
                        <c:v>0</c:v>
                      </c:pt>
                      <c:pt idx="6431">
                        <c:v>0</c:v>
                      </c:pt>
                      <c:pt idx="6432">
                        <c:v>0</c:v>
                      </c:pt>
                      <c:pt idx="6433">
                        <c:v>0</c:v>
                      </c:pt>
                      <c:pt idx="6434">
                        <c:v>0</c:v>
                      </c:pt>
                      <c:pt idx="6435">
                        <c:v>0</c:v>
                      </c:pt>
                      <c:pt idx="6436">
                        <c:v>0</c:v>
                      </c:pt>
                      <c:pt idx="6437">
                        <c:v>0</c:v>
                      </c:pt>
                      <c:pt idx="6438">
                        <c:v>0</c:v>
                      </c:pt>
                      <c:pt idx="6439">
                        <c:v>0</c:v>
                      </c:pt>
                      <c:pt idx="6440">
                        <c:v>0</c:v>
                      </c:pt>
                      <c:pt idx="6441">
                        <c:v>0</c:v>
                      </c:pt>
                      <c:pt idx="6442">
                        <c:v>0</c:v>
                      </c:pt>
                      <c:pt idx="6443">
                        <c:v>0</c:v>
                      </c:pt>
                      <c:pt idx="6444">
                        <c:v>0</c:v>
                      </c:pt>
                      <c:pt idx="6445">
                        <c:v>0</c:v>
                      </c:pt>
                      <c:pt idx="6446">
                        <c:v>0</c:v>
                      </c:pt>
                      <c:pt idx="6447">
                        <c:v>0</c:v>
                      </c:pt>
                      <c:pt idx="6448">
                        <c:v>0</c:v>
                      </c:pt>
                      <c:pt idx="6449">
                        <c:v>0</c:v>
                      </c:pt>
                      <c:pt idx="6450">
                        <c:v>0</c:v>
                      </c:pt>
                      <c:pt idx="6451">
                        <c:v>0</c:v>
                      </c:pt>
                      <c:pt idx="6452">
                        <c:v>0</c:v>
                      </c:pt>
                      <c:pt idx="6453">
                        <c:v>0</c:v>
                      </c:pt>
                      <c:pt idx="6454">
                        <c:v>0</c:v>
                      </c:pt>
                      <c:pt idx="6455">
                        <c:v>0</c:v>
                      </c:pt>
                      <c:pt idx="6456">
                        <c:v>0</c:v>
                      </c:pt>
                      <c:pt idx="6457">
                        <c:v>0</c:v>
                      </c:pt>
                      <c:pt idx="6458">
                        <c:v>0</c:v>
                      </c:pt>
                      <c:pt idx="6459">
                        <c:v>0</c:v>
                      </c:pt>
                      <c:pt idx="6460">
                        <c:v>0</c:v>
                      </c:pt>
                      <c:pt idx="6461">
                        <c:v>0</c:v>
                      </c:pt>
                      <c:pt idx="6462">
                        <c:v>0</c:v>
                      </c:pt>
                      <c:pt idx="6463">
                        <c:v>0</c:v>
                      </c:pt>
                      <c:pt idx="6464">
                        <c:v>0</c:v>
                      </c:pt>
                      <c:pt idx="6465">
                        <c:v>0</c:v>
                      </c:pt>
                      <c:pt idx="6466">
                        <c:v>0</c:v>
                      </c:pt>
                      <c:pt idx="6467">
                        <c:v>0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0</c:v>
                      </c:pt>
                      <c:pt idx="6483">
                        <c:v>0</c:v>
                      </c:pt>
                      <c:pt idx="6484">
                        <c:v>0</c:v>
                      </c:pt>
                      <c:pt idx="6485">
                        <c:v>0</c:v>
                      </c:pt>
                      <c:pt idx="6486">
                        <c:v>0</c:v>
                      </c:pt>
                      <c:pt idx="6487">
                        <c:v>0</c:v>
                      </c:pt>
                      <c:pt idx="6488">
                        <c:v>0</c:v>
                      </c:pt>
                      <c:pt idx="6489">
                        <c:v>0</c:v>
                      </c:pt>
                      <c:pt idx="6490">
                        <c:v>0</c:v>
                      </c:pt>
                      <c:pt idx="6491">
                        <c:v>0</c:v>
                      </c:pt>
                      <c:pt idx="6492">
                        <c:v>0</c:v>
                      </c:pt>
                      <c:pt idx="6493">
                        <c:v>0</c:v>
                      </c:pt>
                      <c:pt idx="6494">
                        <c:v>0</c:v>
                      </c:pt>
                      <c:pt idx="6495">
                        <c:v>0</c:v>
                      </c:pt>
                      <c:pt idx="6496">
                        <c:v>0</c:v>
                      </c:pt>
                      <c:pt idx="6497">
                        <c:v>0</c:v>
                      </c:pt>
                      <c:pt idx="6498">
                        <c:v>0</c:v>
                      </c:pt>
                      <c:pt idx="6499">
                        <c:v>0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0</c:v>
                      </c:pt>
                      <c:pt idx="6540">
                        <c:v>0</c:v>
                      </c:pt>
                      <c:pt idx="6541">
                        <c:v>0</c:v>
                      </c:pt>
                      <c:pt idx="6542">
                        <c:v>0</c:v>
                      </c:pt>
                      <c:pt idx="6543">
                        <c:v>0</c:v>
                      </c:pt>
                      <c:pt idx="6544">
                        <c:v>0</c:v>
                      </c:pt>
                      <c:pt idx="6545">
                        <c:v>0</c:v>
                      </c:pt>
                      <c:pt idx="6546">
                        <c:v>0</c:v>
                      </c:pt>
                      <c:pt idx="6547">
                        <c:v>0</c:v>
                      </c:pt>
                      <c:pt idx="6548">
                        <c:v>0</c:v>
                      </c:pt>
                      <c:pt idx="6549">
                        <c:v>0</c:v>
                      </c:pt>
                      <c:pt idx="6550">
                        <c:v>0</c:v>
                      </c:pt>
                      <c:pt idx="6551">
                        <c:v>0</c:v>
                      </c:pt>
                      <c:pt idx="6552">
                        <c:v>0</c:v>
                      </c:pt>
                      <c:pt idx="6553">
                        <c:v>0</c:v>
                      </c:pt>
                      <c:pt idx="6554">
                        <c:v>0</c:v>
                      </c:pt>
                      <c:pt idx="6555">
                        <c:v>0</c:v>
                      </c:pt>
                      <c:pt idx="6556">
                        <c:v>0</c:v>
                      </c:pt>
                      <c:pt idx="6557">
                        <c:v>0</c:v>
                      </c:pt>
                      <c:pt idx="6558">
                        <c:v>0</c:v>
                      </c:pt>
                      <c:pt idx="6559">
                        <c:v>0</c:v>
                      </c:pt>
                      <c:pt idx="6560">
                        <c:v>0</c:v>
                      </c:pt>
                      <c:pt idx="6561">
                        <c:v>0</c:v>
                      </c:pt>
                      <c:pt idx="6562">
                        <c:v>0</c:v>
                      </c:pt>
                      <c:pt idx="6563">
                        <c:v>0</c:v>
                      </c:pt>
                      <c:pt idx="6564">
                        <c:v>0</c:v>
                      </c:pt>
                      <c:pt idx="6565">
                        <c:v>0</c:v>
                      </c:pt>
                      <c:pt idx="6566">
                        <c:v>0</c:v>
                      </c:pt>
                      <c:pt idx="6567">
                        <c:v>0</c:v>
                      </c:pt>
                      <c:pt idx="6568">
                        <c:v>0</c:v>
                      </c:pt>
                      <c:pt idx="6569">
                        <c:v>0</c:v>
                      </c:pt>
                      <c:pt idx="6570">
                        <c:v>0</c:v>
                      </c:pt>
                      <c:pt idx="6571">
                        <c:v>0</c:v>
                      </c:pt>
                      <c:pt idx="6572">
                        <c:v>0</c:v>
                      </c:pt>
                      <c:pt idx="6573">
                        <c:v>0</c:v>
                      </c:pt>
                      <c:pt idx="6574">
                        <c:v>0</c:v>
                      </c:pt>
                      <c:pt idx="6575">
                        <c:v>0</c:v>
                      </c:pt>
                      <c:pt idx="6576">
                        <c:v>0</c:v>
                      </c:pt>
                      <c:pt idx="6577">
                        <c:v>0</c:v>
                      </c:pt>
                      <c:pt idx="6578">
                        <c:v>0</c:v>
                      </c:pt>
                      <c:pt idx="6579">
                        <c:v>0</c:v>
                      </c:pt>
                      <c:pt idx="6580">
                        <c:v>0</c:v>
                      </c:pt>
                      <c:pt idx="6581">
                        <c:v>0</c:v>
                      </c:pt>
                      <c:pt idx="6582">
                        <c:v>0</c:v>
                      </c:pt>
                      <c:pt idx="6583">
                        <c:v>0</c:v>
                      </c:pt>
                      <c:pt idx="6584">
                        <c:v>0</c:v>
                      </c:pt>
                      <c:pt idx="6585">
                        <c:v>0</c:v>
                      </c:pt>
                      <c:pt idx="6586">
                        <c:v>0</c:v>
                      </c:pt>
                      <c:pt idx="6587">
                        <c:v>0</c:v>
                      </c:pt>
                      <c:pt idx="6588">
                        <c:v>0</c:v>
                      </c:pt>
                      <c:pt idx="6589">
                        <c:v>0</c:v>
                      </c:pt>
                      <c:pt idx="6590">
                        <c:v>0</c:v>
                      </c:pt>
                      <c:pt idx="6591">
                        <c:v>0</c:v>
                      </c:pt>
                      <c:pt idx="6592">
                        <c:v>0</c:v>
                      </c:pt>
                      <c:pt idx="6593">
                        <c:v>0</c:v>
                      </c:pt>
                      <c:pt idx="6594">
                        <c:v>0</c:v>
                      </c:pt>
                      <c:pt idx="6595">
                        <c:v>0</c:v>
                      </c:pt>
                      <c:pt idx="6596">
                        <c:v>0</c:v>
                      </c:pt>
                      <c:pt idx="6597">
                        <c:v>0</c:v>
                      </c:pt>
                      <c:pt idx="6598">
                        <c:v>0</c:v>
                      </c:pt>
                      <c:pt idx="6599">
                        <c:v>0</c:v>
                      </c:pt>
                      <c:pt idx="6600">
                        <c:v>0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0</c:v>
                      </c:pt>
                      <c:pt idx="6617">
                        <c:v>0</c:v>
                      </c:pt>
                      <c:pt idx="6618">
                        <c:v>0</c:v>
                      </c:pt>
                      <c:pt idx="6619">
                        <c:v>0</c:v>
                      </c:pt>
                      <c:pt idx="6620">
                        <c:v>0</c:v>
                      </c:pt>
                      <c:pt idx="6621">
                        <c:v>0</c:v>
                      </c:pt>
                      <c:pt idx="6622">
                        <c:v>0</c:v>
                      </c:pt>
                      <c:pt idx="6623">
                        <c:v>0</c:v>
                      </c:pt>
                      <c:pt idx="6624">
                        <c:v>0</c:v>
                      </c:pt>
                      <c:pt idx="6625">
                        <c:v>0</c:v>
                      </c:pt>
                      <c:pt idx="6626">
                        <c:v>0</c:v>
                      </c:pt>
                      <c:pt idx="6627">
                        <c:v>0</c:v>
                      </c:pt>
                      <c:pt idx="6628">
                        <c:v>0</c:v>
                      </c:pt>
                      <c:pt idx="6629">
                        <c:v>0</c:v>
                      </c:pt>
                      <c:pt idx="6630">
                        <c:v>0</c:v>
                      </c:pt>
                      <c:pt idx="6631">
                        <c:v>0</c:v>
                      </c:pt>
                      <c:pt idx="6632">
                        <c:v>0</c:v>
                      </c:pt>
                      <c:pt idx="6633">
                        <c:v>0</c:v>
                      </c:pt>
                      <c:pt idx="6634">
                        <c:v>0</c:v>
                      </c:pt>
                      <c:pt idx="6635">
                        <c:v>0</c:v>
                      </c:pt>
                      <c:pt idx="6636">
                        <c:v>0</c:v>
                      </c:pt>
                      <c:pt idx="6637">
                        <c:v>0</c:v>
                      </c:pt>
                      <c:pt idx="6638">
                        <c:v>0</c:v>
                      </c:pt>
                      <c:pt idx="6639">
                        <c:v>0</c:v>
                      </c:pt>
                      <c:pt idx="6640">
                        <c:v>0</c:v>
                      </c:pt>
                      <c:pt idx="6641">
                        <c:v>0</c:v>
                      </c:pt>
                      <c:pt idx="6642">
                        <c:v>0</c:v>
                      </c:pt>
                      <c:pt idx="6643">
                        <c:v>0</c:v>
                      </c:pt>
                      <c:pt idx="6644">
                        <c:v>0</c:v>
                      </c:pt>
                      <c:pt idx="6645">
                        <c:v>0</c:v>
                      </c:pt>
                      <c:pt idx="6646">
                        <c:v>0</c:v>
                      </c:pt>
                      <c:pt idx="6647">
                        <c:v>0</c:v>
                      </c:pt>
                      <c:pt idx="6648">
                        <c:v>0</c:v>
                      </c:pt>
                      <c:pt idx="6649">
                        <c:v>0</c:v>
                      </c:pt>
                      <c:pt idx="6650">
                        <c:v>0</c:v>
                      </c:pt>
                      <c:pt idx="6651">
                        <c:v>0</c:v>
                      </c:pt>
                      <c:pt idx="6652">
                        <c:v>0</c:v>
                      </c:pt>
                      <c:pt idx="6653">
                        <c:v>0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</c:v>
                      </c:pt>
                      <c:pt idx="6664">
                        <c:v>0</c:v>
                      </c:pt>
                      <c:pt idx="6665">
                        <c:v>0</c:v>
                      </c:pt>
                      <c:pt idx="6666">
                        <c:v>0</c:v>
                      </c:pt>
                      <c:pt idx="6667">
                        <c:v>0</c:v>
                      </c:pt>
                      <c:pt idx="6668">
                        <c:v>0</c:v>
                      </c:pt>
                      <c:pt idx="6669">
                        <c:v>0</c:v>
                      </c:pt>
                      <c:pt idx="6670">
                        <c:v>0</c:v>
                      </c:pt>
                      <c:pt idx="6671">
                        <c:v>0</c:v>
                      </c:pt>
                      <c:pt idx="6672">
                        <c:v>0</c:v>
                      </c:pt>
                      <c:pt idx="6673">
                        <c:v>0</c:v>
                      </c:pt>
                      <c:pt idx="6674">
                        <c:v>0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</c:v>
                      </c:pt>
                      <c:pt idx="6696">
                        <c:v>0</c:v>
                      </c:pt>
                      <c:pt idx="6697">
                        <c:v>0</c:v>
                      </c:pt>
                      <c:pt idx="6698">
                        <c:v>0</c:v>
                      </c:pt>
                      <c:pt idx="6699">
                        <c:v>0</c:v>
                      </c:pt>
                      <c:pt idx="6700">
                        <c:v>0</c:v>
                      </c:pt>
                      <c:pt idx="6701">
                        <c:v>0</c:v>
                      </c:pt>
                      <c:pt idx="6702">
                        <c:v>0</c:v>
                      </c:pt>
                      <c:pt idx="6703">
                        <c:v>0</c:v>
                      </c:pt>
                      <c:pt idx="6704">
                        <c:v>0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0</c:v>
                      </c:pt>
                      <c:pt idx="6722">
                        <c:v>0</c:v>
                      </c:pt>
                      <c:pt idx="6723">
                        <c:v>0</c:v>
                      </c:pt>
                      <c:pt idx="6724">
                        <c:v>0</c:v>
                      </c:pt>
                      <c:pt idx="6725">
                        <c:v>0</c:v>
                      </c:pt>
                      <c:pt idx="6726">
                        <c:v>0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</c:v>
                      </c:pt>
                      <c:pt idx="6753">
                        <c:v>0</c:v>
                      </c:pt>
                      <c:pt idx="6754">
                        <c:v>0</c:v>
                      </c:pt>
                      <c:pt idx="6755">
                        <c:v>0</c:v>
                      </c:pt>
                      <c:pt idx="6756">
                        <c:v>0</c:v>
                      </c:pt>
                      <c:pt idx="6757">
                        <c:v>0</c:v>
                      </c:pt>
                      <c:pt idx="6758">
                        <c:v>0</c:v>
                      </c:pt>
                      <c:pt idx="6759">
                        <c:v>0</c:v>
                      </c:pt>
                      <c:pt idx="6760">
                        <c:v>0</c:v>
                      </c:pt>
                      <c:pt idx="6761">
                        <c:v>0</c:v>
                      </c:pt>
                      <c:pt idx="6762">
                        <c:v>0</c:v>
                      </c:pt>
                      <c:pt idx="6763">
                        <c:v>0</c:v>
                      </c:pt>
                      <c:pt idx="6764">
                        <c:v>0</c:v>
                      </c:pt>
                      <c:pt idx="6765">
                        <c:v>0</c:v>
                      </c:pt>
                      <c:pt idx="6766">
                        <c:v>0</c:v>
                      </c:pt>
                      <c:pt idx="6767">
                        <c:v>0</c:v>
                      </c:pt>
                      <c:pt idx="6768">
                        <c:v>0</c:v>
                      </c:pt>
                      <c:pt idx="6769">
                        <c:v>0</c:v>
                      </c:pt>
                      <c:pt idx="6770">
                        <c:v>0</c:v>
                      </c:pt>
                      <c:pt idx="6771">
                        <c:v>0</c:v>
                      </c:pt>
                      <c:pt idx="6772">
                        <c:v>0</c:v>
                      </c:pt>
                      <c:pt idx="6773">
                        <c:v>0</c:v>
                      </c:pt>
                      <c:pt idx="6774">
                        <c:v>0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0</c:v>
                      </c:pt>
                      <c:pt idx="6786">
                        <c:v>0</c:v>
                      </c:pt>
                      <c:pt idx="6787">
                        <c:v>0</c:v>
                      </c:pt>
                      <c:pt idx="6788">
                        <c:v>0</c:v>
                      </c:pt>
                      <c:pt idx="6789">
                        <c:v>0</c:v>
                      </c:pt>
                      <c:pt idx="6790">
                        <c:v>0</c:v>
                      </c:pt>
                      <c:pt idx="6791">
                        <c:v>0</c:v>
                      </c:pt>
                      <c:pt idx="6792">
                        <c:v>0</c:v>
                      </c:pt>
                      <c:pt idx="6793">
                        <c:v>0</c:v>
                      </c:pt>
                      <c:pt idx="6794">
                        <c:v>0</c:v>
                      </c:pt>
                      <c:pt idx="6795">
                        <c:v>0</c:v>
                      </c:pt>
                      <c:pt idx="6796">
                        <c:v>0</c:v>
                      </c:pt>
                      <c:pt idx="6797">
                        <c:v>0</c:v>
                      </c:pt>
                      <c:pt idx="6798">
                        <c:v>0</c:v>
                      </c:pt>
                      <c:pt idx="6799">
                        <c:v>0</c:v>
                      </c:pt>
                      <c:pt idx="6800">
                        <c:v>0</c:v>
                      </c:pt>
                      <c:pt idx="6801">
                        <c:v>0</c:v>
                      </c:pt>
                      <c:pt idx="6802">
                        <c:v>0</c:v>
                      </c:pt>
                      <c:pt idx="6803">
                        <c:v>0</c:v>
                      </c:pt>
                      <c:pt idx="6804">
                        <c:v>0</c:v>
                      </c:pt>
                      <c:pt idx="6805">
                        <c:v>0</c:v>
                      </c:pt>
                      <c:pt idx="6806">
                        <c:v>0</c:v>
                      </c:pt>
                      <c:pt idx="6807">
                        <c:v>0</c:v>
                      </c:pt>
                      <c:pt idx="6808">
                        <c:v>0</c:v>
                      </c:pt>
                      <c:pt idx="6809">
                        <c:v>0</c:v>
                      </c:pt>
                      <c:pt idx="6810">
                        <c:v>0</c:v>
                      </c:pt>
                      <c:pt idx="6811">
                        <c:v>0</c:v>
                      </c:pt>
                      <c:pt idx="6812">
                        <c:v>0</c:v>
                      </c:pt>
                      <c:pt idx="6813">
                        <c:v>0</c:v>
                      </c:pt>
                      <c:pt idx="6814">
                        <c:v>0</c:v>
                      </c:pt>
                      <c:pt idx="6815">
                        <c:v>0</c:v>
                      </c:pt>
                      <c:pt idx="6816">
                        <c:v>0</c:v>
                      </c:pt>
                      <c:pt idx="6817">
                        <c:v>0</c:v>
                      </c:pt>
                      <c:pt idx="6818">
                        <c:v>0</c:v>
                      </c:pt>
                      <c:pt idx="6819">
                        <c:v>0</c:v>
                      </c:pt>
                      <c:pt idx="6820">
                        <c:v>0</c:v>
                      </c:pt>
                      <c:pt idx="6821">
                        <c:v>0</c:v>
                      </c:pt>
                      <c:pt idx="6822">
                        <c:v>0</c:v>
                      </c:pt>
                      <c:pt idx="6823">
                        <c:v>0</c:v>
                      </c:pt>
                      <c:pt idx="6824">
                        <c:v>0</c:v>
                      </c:pt>
                      <c:pt idx="6825">
                        <c:v>0</c:v>
                      </c:pt>
                      <c:pt idx="6826">
                        <c:v>0</c:v>
                      </c:pt>
                      <c:pt idx="6827">
                        <c:v>0</c:v>
                      </c:pt>
                      <c:pt idx="6828">
                        <c:v>0</c:v>
                      </c:pt>
                      <c:pt idx="6829">
                        <c:v>0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0</c:v>
                      </c:pt>
                      <c:pt idx="6846">
                        <c:v>0</c:v>
                      </c:pt>
                      <c:pt idx="6847">
                        <c:v>0</c:v>
                      </c:pt>
                      <c:pt idx="6848">
                        <c:v>0</c:v>
                      </c:pt>
                      <c:pt idx="6849">
                        <c:v>0</c:v>
                      </c:pt>
                      <c:pt idx="6850">
                        <c:v>0</c:v>
                      </c:pt>
                      <c:pt idx="6851">
                        <c:v>0</c:v>
                      </c:pt>
                      <c:pt idx="6852">
                        <c:v>0</c:v>
                      </c:pt>
                      <c:pt idx="6853">
                        <c:v>0</c:v>
                      </c:pt>
                      <c:pt idx="6854">
                        <c:v>0</c:v>
                      </c:pt>
                      <c:pt idx="6855">
                        <c:v>0</c:v>
                      </c:pt>
                      <c:pt idx="6856">
                        <c:v>0</c:v>
                      </c:pt>
                      <c:pt idx="6857">
                        <c:v>0</c:v>
                      </c:pt>
                      <c:pt idx="6858">
                        <c:v>0</c:v>
                      </c:pt>
                      <c:pt idx="6859">
                        <c:v>0</c:v>
                      </c:pt>
                      <c:pt idx="6860">
                        <c:v>0</c:v>
                      </c:pt>
                      <c:pt idx="6861">
                        <c:v>0</c:v>
                      </c:pt>
                      <c:pt idx="6862">
                        <c:v>0</c:v>
                      </c:pt>
                      <c:pt idx="6863">
                        <c:v>0</c:v>
                      </c:pt>
                      <c:pt idx="6864">
                        <c:v>0</c:v>
                      </c:pt>
                      <c:pt idx="6865">
                        <c:v>0</c:v>
                      </c:pt>
                      <c:pt idx="6866">
                        <c:v>0</c:v>
                      </c:pt>
                      <c:pt idx="6867">
                        <c:v>0</c:v>
                      </c:pt>
                      <c:pt idx="6868">
                        <c:v>0</c:v>
                      </c:pt>
                      <c:pt idx="6869">
                        <c:v>0</c:v>
                      </c:pt>
                      <c:pt idx="6870">
                        <c:v>0</c:v>
                      </c:pt>
                      <c:pt idx="6871">
                        <c:v>0</c:v>
                      </c:pt>
                      <c:pt idx="6872">
                        <c:v>0</c:v>
                      </c:pt>
                      <c:pt idx="6873">
                        <c:v>0</c:v>
                      </c:pt>
                      <c:pt idx="6874">
                        <c:v>0</c:v>
                      </c:pt>
                      <c:pt idx="6875">
                        <c:v>0</c:v>
                      </c:pt>
                      <c:pt idx="6876">
                        <c:v>0</c:v>
                      </c:pt>
                      <c:pt idx="6877">
                        <c:v>0</c:v>
                      </c:pt>
                      <c:pt idx="6878">
                        <c:v>0</c:v>
                      </c:pt>
                      <c:pt idx="6879">
                        <c:v>0</c:v>
                      </c:pt>
                      <c:pt idx="6880">
                        <c:v>0</c:v>
                      </c:pt>
                      <c:pt idx="6881">
                        <c:v>0</c:v>
                      </c:pt>
                      <c:pt idx="6882">
                        <c:v>0</c:v>
                      </c:pt>
                      <c:pt idx="6883">
                        <c:v>0</c:v>
                      </c:pt>
                      <c:pt idx="6884">
                        <c:v>0</c:v>
                      </c:pt>
                      <c:pt idx="6885">
                        <c:v>0</c:v>
                      </c:pt>
                      <c:pt idx="6886">
                        <c:v>0</c:v>
                      </c:pt>
                      <c:pt idx="6887">
                        <c:v>0</c:v>
                      </c:pt>
                      <c:pt idx="6888">
                        <c:v>0</c:v>
                      </c:pt>
                      <c:pt idx="6889">
                        <c:v>0</c:v>
                      </c:pt>
                      <c:pt idx="6890">
                        <c:v>0</c:v>
                      </c:pt>
                      <c:pt idx="6891">
                        <c:v>0</c:v>
                      </c:pt>
                      <c:pt idx="6892">
                        <c:v>0</c:v>
                      </c:pt>
                      <c:pt idx="6893">
                        <c:v>0</c:v>
                      </c:pt>
                      <c:pt idx="6894">
                        <c:v>0</c:v>
                      </c:pt>
                      <c:pt idx="6895">
                        <c:v>0</c:v>
                      </c:pt>
                      <c:pt idx="6896">
                        <c:v>0</c:v>
                      </c:pt>
                      <c:pt idx="6897">
                        <c:v>0</c:v>
                      </c:pt>
                      <c:pt idx="6898">
                        <c:v>0</c:v>
                      </c:pt>
                      <c:pt idx="6899">
                        <c:v>0</c:v>
                      </c:pt>
                      <c:pt idx="6900">
                        <c:v>0</c:v>
                      </c:pt>
                      <c:pt idx="6901">
                        <c:v>0</c:v>
                      </c:pt>
                      <c:pt idx="6902">
                        <c:v>0</c:v>
                      </c:pt>
                      <c:pt idx="6903">
                        <c:v>0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</c:v>
                      </c:pt>
                      <c:pt idx="6919">
                        <c:v>0</c:v>
                      </c:pt>
                      <c:pt idx="6920">
                        <c:v>0</c:v>
                      </c:pt>
                      <c:pt idx="6921">
                        <c:v>0</c:v>
                      </c:pt>
                      <c:pt idx="6922">
                        <c:v>0</c:v>
                      </c:pt>
                      <c:pt idx="6923">
                        <c:v>0</c:v>
                      </c:pt>
                      <c:pt idx="6924">
                        <c:v>0</c:v>
                      </c:pt>
                      <c:pt idx="6925">
                        <c:v>0</c:v>
                      </c:pt>
                      <c:pt idx="6926">
                        <c:v>0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0</c:v>
                      </c:pt>
                      <c:pt idx="6949">
                        <c:v>0</c:v>
                      </c:pt>
                      <c:pt idx="6950">
                        <c:v>0</c:v>
                      </c:pt>
                      <c:pt idx="6951">
                        <c:v>0</c:v>
                      </c:pt>
                      <c:pt idx="6952">
                        <c:v>0</c:v>
                      </c:pt>
                      <c:pt idx="6953">
                        <c:v>0</c:v>
                      </c:pt>
                      <c:pt idx="6954">
                        <c:v>0</c:v>
                      </c:pt>
                      <c:pt idx="6955">
                        <c:v>0</c:v>
                      </c:pt>
                      <c:pt idx="6956">
                        <c:v>0</c:v>
                      </c:pt>
                      <c:pt idx="6957">
                        <c:v>0</c:v>
                      </c:pt>
                      <c:pt idx="6958">
                        <c:v>0</c:v>
                      </c:pt>
                      <c:pt idx="6959">
                        <c:v>0</c:v>
                      </c:pt>
                      <c:pt idx="6960">
                        <c:v>0</c:v>
                      </c:pt>
                      <c:pt idx="6961">
                        <c:v>0</c:v>
                      </c:pt>
                      <c:pt idx="6962">
                        <c:v>0</c:v>
                      </c:pt>
                      <c:pt idx="6963">
                        <c:v>0</c:v>
                      </c:pt>
                      <c:pt idx="6964">
                        <c:v>0</c:v>
                      </c:pt>
                      <c:pt idx="6965">
                        <c:v>0</c:v>
                      </c:pt>
                      <c:pt idx="6966">
                        <c:v>0</c:v>
                      </c:pt>
                      <c:pt idx="6967">
                        <c:v>0</c:v>
                      </c:pt>
                      <c:pt idx="6968">
                        <c:v>0</c:v>
                      </c:pt>
                      <c:pt idx="6969">
                        <c:v>0</c:v>
                      </c:pt>
                      <c:pt idx="6970">
                        <c:v>0</c:v>
                      </c:pt>
                      <c:pt idx="6971">
                        <c:v>0</c:v>
                      </c:pt>
                      <c:pt idx="6972">
                        <c:v>0</c:v>
                      </c:pt>
                      <c:pt idx="6973">
                        <c:v>0</c:v>
                      </c:pt>
                      <c:pt idx="6974">
                        <c:v>0</c:v>
                      </c:pt>
                      <c:pt idx="6975">
                        <c:v>0</c:v>
                      </c:pt>
                      <c:pt idx="6976">
                        <c:v>0</c:v>
                      </c:pt>
                      <c:pt idx="6977">
                        <c:v>0</c:v>
                      </c:pt>
                      <c:pt idx="6978">
                        <c:v>0</c:v>
                      </c:pt>
                      <c:pt idx="6979">
                        <c:v>0</c:v>
                      </c:pt>
                      <c:pt idx="6980">
                        <c:v>0</c:v>
                      </c:pt>
                      <c:pt idx="6981">
                        <c:v>0</c:v>
                      </c:pt>
                      <c:pt idx="6982">
                        <c:v>0</c:v>
                      </c:pt>
                      <c:pt idx="6983">
                        <c:v>0</c:v>
                      </c:pt>
                      <c:pt idx="6984">
                        <c:v>0</c:v>
                      </c:pt>
                      <c:pt idx="6985">
                        <c:v>0</c:v>
                      </c:pt>
                      <c:pt idx="6986">
                        <c:v>0</c:v>
                      </c:pt>
                      <c:pt idx="6987">
                        <c:v>0</c:v>
                      </c:pt>
                      <c:pt idx="6988">
                        <c:v>0</c:v>
                      </c:pt>
                      <c:pt idx="6989">
                        <c:v>0</c:v>
                      </c:pt>
                      <c:pt idx="6990">
                        <c:v>0</c:v>
                      </c:pt>
                      <c:pt idx="6991">
                        <c:v>0</c:v>
                      </c:pt>
                      <c:pt idx="6992">
                        <c:v>0</c:v>
                      </c:pt>
                      <c:pt idx="6993">
                        <c:v>0</c:v>
                      </c:pt>
                      <c:pt idx="6994">
                        <c:v>0</c:v>
                      </c:pt>
                      <c:pt idx="6995">
                        <c:v>0</c:v>
                      </c:pt>
                      <c:pt idx="6996">
                        <c:v>0</c:v>
                      </c:pt>
                      <c:pt idx="6997">
                        <c:v>0</c:v>
                      </c:pt>
                      <c:pt idx="6998">
                        <c:v>0</c:v>
                      </c:pt>
                      <c:pt idx="6999">
                        <c:v>0</c:v>
                      </c:pt>
                      <c:pt idx="7000">
                        <c:v>0</c:v>
                      </c:pt>
                      <c:pt idx="7001">
                        <c:v>0</c:v>
                      </c:pt>
                      <c:pt idx="7002">
                        <c:v>0</c:v>
                      </c:pt>
                      <c:pt idx="7003">
                        <c:v>0</c:v>
                      </c:pt>
                      <c:pt idx="7004">
                        <c:v>0</c:v>
                      </c:pt>
                      <c:pt idx="7005">
                        <c:v>0</c:v>
                      </c:pt>
                      <c:pt idx="7006">
                        <c:v>0</c:v>
                      </c:pt>
                      <c:pt idx="7007">
                        <c:v>0</c:v>
                      </c:pt>
                      <c:pt idx="7008">
                        <c:v>0</c:v>
                      </c:pt>
                      <c:pt idx="7009">
                        <c:v>0</c:v>
                      </c:pt>
                      <c:pt idx="7010">
                        <c:v>0</c:v>
                      </c:pt>
                      <c:pt idx="7011">
                        <c:v>0</c:v>
                      </c:pt>
                      <c:pt idx="7012">
                        <c:v>0</c:v>
                      </c:pt>
                      <c:pt idx="7013">
                        <c:v>0</c:v>
                      </c:pt>
                      <c:pt idx="7014">
                        <c:v>0</c:v>
                      </c:pt>
                      <c:pt idx="7015">
                        <c:v>0</c:v>
                      </c:pt>
                      <c:pt idx="7016">
                        <c:v>0</c:v>
                      </c:pt>
                      <c:pt idx="7017">
                        <c:v>0</c:v>
                      </c:pt>
                      <c:pt idx="7018">
                        <c:v>0</c:v>
                      </c:pt>
                      <c:pt idx="7019">
                        <c:v>0</c:v>
                      </c:pt>
                      <c:pt idx="7020">
                        <c:v>0</c:v>
                      </c:pt>
                      <c:pt idx="7021">
                        <c:v>0</c:v>
                      </c:pt>
                      <c:pt idx="7022">
                        <c:v>0</c:v>
                      </c:pt>
                      <c:pt idx="7023">
                        <c:v>0</c:v>
                      </c:pt>
                      <c:pt idx="7024">
                        <c:v>0</c:v>
                      </c:pt>
                      <c:pt idx="7025">
                        <c:v>0</c:v>
                      </c:pt>
                      <c:pt idx="7026">
                        <c:v>0</c:v>
                      </c:pt>
                      <c:pt idx="7027">
                        <c:v>0</c:v>
                      </c:pt>
                      <c:pt idx="7028">
                        <c:v>0</c:v>
                      </c:pt>
                      <c:pt idx="7029">
                        <c:v>0</c:v>
                      </c:pt>
                      <c:pt idx="7030">
                        <c:v>0</c:v>
                      </c:pt>
                      <c:pt idx="7031">
                        <c:v>0</c:v>
                      </c:pt>
                      <c:pt idx="7032">
                        <c:v>0</c:v>
                      </c:pt>
                      <c:pt idx="7033">
                        <c:v>0</c:v>
                      </c:pt>
                      <c:pt idx="7034">
                        <c:v>0</c:v>
                      </c:pt>
                      <c:pt idx="7035">
                        <c:v>0</c:v>
                      </c:pt>
                      <c:pt idx="7036">
                        <c:v>0</c:v>
                      </c:pt>
                      <c:pt idx="7037">
                        <c:v>0</c:v>
                      </c:pt>
                      <c:pt idx="7038">
                        <c:v>0</c:v>
                      </c:pt>
                      <c:pt idx="7039">
                        <c:v>0</c:v>
                      </c:pt>
                      <c:pt idx="7040">
                        <c:v>0</c:v>
                      </c:pt>
                      <c:pt idx="7041">
                        <c:v>0</c:v>
                      </c:pt>
                      <c:pt idx="7042">
                        <c:v>0</c:v>
                      </c:pt>
                      <c:pt idx="7043">
                        <c:v>0</c:v>
                      </c:pt>
                      <c:pt idx="7044">
                        <c:v>0</c:v>
                      </c:pt>
                      <c:pt idx="7045">
                        <c:v>0</c:v>
                      </c:pt>
                      <c:pt idx="7046">
                        <c:v>0</c:v>
                      </c:pt>
                      <c:pt idx="7047">
                        <c:v>0</c:v>
                      </c:pt>
                      <c:pt idx="7048">
                        <c:v>0</c:v>
                      </c:pt>
                      <c:pt idx="7049">
                        <c:v>0</c:v>
                      </c:pt>
                      <c:pt idx="7050">
                        <c:v>0</c:v>
                      </c:pt>
                      <c:pt idx="7051">
                        <c:v>0</c:v>
                      </c:pt>
                      <c:pt idx="7052">
                        <c:v>0</c:v>
                      </c:pt>
                      <c:pt idx="7053">
                        <c:v>0</c:v>
                      </c:pt>
                      <c:pt idx="7054">
                        <c:v>0</c:v>
                      </c:pt>
                      <c:pt idx="7055">
                        <c:v>0</c:v>
                      </c:pt>
                      <c:pt idx="7056">
                        <c:v>0</c:v>
                      </c:pt>
                      <c:pt idx="7057">
                        <c:v>0</c:v>
                      </c:pt>
                      <c:pt idx="7058">
                        <c:v>0</c:v>
                      </c:pt>
                      <c:pt idx="7059">
                        <c:v>0</c:v>
                      </c:pt>
                      <c:pt idx="7060">
                        <c:v>0</c:v>
                      </c:pt>
                      <c:pt idx="7061">
                        <c:v>0</c:v>
                      </c:pt>
                      <c:pt idx="7062">
                        <c:v>0</c:v>
                      </c:pt>
                      <c:pt idx="7063">
                        <c:v>0</c:v>
                      </c:pt>
                      <c:pt idx="7064">
                        <c:v>0</c:v>
                      </c:pt>
                      <c:pt idx="7065">
                        <c:v>0</c:v>
                      </c:pt>
                      <c:pt idx="7066">
                        <c:v>0</c:v>
                      </c:pt>
                      <c:pt idx="7067">
                        <c:v>0</c:v>
                      </c:pt>
                      <c:pt idx="7068">
                        <c:v>0</c:v>
                      </c:pt>
                      <c:pt idx="7069">
                        <c:v>0</c:v>
                      </c:pt>
                      <c:pt idx="7070">
                        <c:v>0</c:v>
                      </c:pt>
                      <c:pt idx="7071">
                        <c:v>0</c:v>
                      </c:pt>
                      <c:pt idx="7072">
                        <c:v>0</c:v>
                      </c:pt>
                      <c:pt idx="7073">
                        <c:v>0</c:v>
                      </c:pt>
                      <c:pt idx="7074">
                        <c:v>0</c:v>
                      </c:pt>
                      <c:pt idx="7075">
                        <c:v>0</c:v>
                      </c:pt>
                      <c:pt idx="7076">
                        <c:v>0</c:v>
                      </c:pt>
                      <c:pt idx="7077">
                        <c:v>0</c:v>
                      </c:pt>
                      <c:pt idx="7078">
                        <c:v>0</c:v>
                      </c:pt>
                      <c:pt idx="7079">
                        <c:v>0</c:v>
                      </c:pt>
                      <c:pt idx="7080">
                        <c:v>0</c:v>
                      </c:pt>
                      <c:pt idx="7081">
                        <c:v>0</c:v>
                      </c:pt>
                      <c:pt idx="7082">
                        <c:v>0</c:v>
                      </c:pt>
                      <c:pt idx="7083">
                        <c:v>0</c:v>
                      </c:pt>
                      <c:pt idx="7084">
                        <c:v>0</c:v>
                      </c:pt>
                      <c:pt idx="7085">
                        <c:v>0</c:v>
                      </c:pt>
                      <c:pt idx="7086">
                        <c:v>0</c:v>
                      </c:pt>
                      <c:pt idx="7087">
                        <c:v>0</c:v>
                      </c:pt>
                      <c:pt idx="7088">
                        <c:v>0</c:v>
                      </c:pt>
                      <c:pt idx="7089">
                        <c:v>0</c:v>
                      </c:pt>
                      <c:pt idx="7090">
                        <c:v>0</c:v>
                      </c:pt>
                      <c:pt idx="7091">
                        <c:v>0</c:v>
                      </c:pt>
                      <c:pt idx="7092">
                        <c:v>0</c:v>
                      </c:pt>
                      <c:pt idx="7093">
                        <c:v>0</c:v>
                      </c:pt>
                      <c:pt idx="7094">
                        <c:v>0</c:v>
                      </c:pt>
                      <c:pt idx="7095">
                        <c:v>0</c:v>
                      </c:pt>
                      <c:pt idx="7096">
                        <c:v>0</c:v>
                      </c:pt>
                      <c:pt idx="7097">
                        <c:v>0</c:v>
                      </c:pt>
                      <c:pt idx="7098">
                        <c:v>0</c:v>
                      </c:pt>
                      <c:pt idx="7099">
                        <c:v>0</c:v>
                      </c:pt>
                      <c:pt idx="7100">
                        <c:v>0</c:v>
                      </c:pt>
                      <c:pt idx="7101">
                        <c:v>0</c:v>
                      </c:pt>
                      <c:pt idx="7102">
                        <c:v>0</c:v>
                      </c:pt>
                      <c:pt idx="7103">
                        <c:v>0</c:v>
                      </c:pt>
                      <c:pt idx="7104">
                        <c:v>0</c:v>
                      </c:pt>
                      <c:pt idx="7105">
                        <c:v>0</c:v>
                      </c:pt>
                      <c:pt idx="7106">
                        <c:v>0</c:v>
                      </c:pt>
                      <c:pt idx="7107">
                        <c:v>0</c:v>
                      </c:pt>
                      <c:pt idx="7108">
                        <c:v>0</c:v>
                      </c:pt>
                      <c:pt idx="7109">
                        <c:v>0</c:v>
                      </c:pt>
                      <c:pt idx="7110">
                        <c:v>0</c:v>
                      </c:pt>
                      <c:pt idx="7111">
                        <c:v>0</c:v>
                      </c:pt>
                      <c:pt idx="7112">
                        <c:v>0</c:v>
                      </c:pt>
                      <c:pt idx="7113">
                        <c:v>0</c:v>
                      </c:pt>
                      <c:pt idx="7114">
                        <c:v>0</c:v>
                      </c:pt>
                      <c:pt idx="7115">
                        <c:v>0</c:v>
                      </c:pt>
                      <c:pt idx="7116">
                        <c:v>0</c:v>
                      </c:pt>
                      <c:pt idx="7117">
                        <c:v>0</c:v>
                      </c:pt>
                      <c:pt idx="7118">
                        <c:v>0</c:v>
                      </c:pt>
                      <c:pt idx="7119">
                        <c:v>0</c:v>
                      </c:pt>
                      <c:pt idx="7120">
                        <c:v>0</c:v>
                      </c:pt>
                      <c:pt idx="7121">
                        <c:v>0</c:v>
                      </c:pt>
                      <c:pt idx="7122">
                        <c:v>0</c:v>
                      </c:pt>
                      <c:pt idx="7123">
                        <c:v>0</c:v>
                      </c:pt>
                      <c:pt idx="7124">
                        <c:v>0</c:v>
                      </c:pt>
                      <c:pt idx="7125">
                        <c:v>0</c:v>
                      </c:pt>
                      <c:pt idx="7126">
                        <c:v>0</c:v>
                      </c:pt>
                      <c:pt idx="7127">
                        <c:v>0</c:v>
                      </c:pt>
                      <c:pt idx="7128">
                        <c:v>0</c:v>
                      </c:pt>
                      <c:pt idx="7129">
                        <c:v>0</c:v>
                      </c:pt>
                      <c:pt idx="7130">
                        <c:v>0</c:v>
                      </c:pt>
                      <c:pt idx="7131">
                        <c:v>0</c:v>
                      </c:pt>
                      <c:pt idx="7132">
                        <c:v>0</c:v>
                      </c:pt>
                      <c:pt idx="7133">
                        <c:v>0</c:v>
                      </c:pt>
                      <c:pt idx="7134">
                        <c:v>0</c:v>
                      </c:pt>
                      <c:pt idx="7135">
                        <c:v>0</c:v>
                      </c:pt>
                      <c:pt idx="7136">
                        <c:v>0</c:v>
                      </c:pt>
                      <c:pt idx="7137">
                        <c:v>0</c:v>
                      </c:pt>
                      <c:pt idx="7138">
                        <c:v>0</c:v>
                      </c:pt>
                      <c:pt idx="7139">
                        <c:v>0</c:v>
                      </c:pt>
                      <c:pt idx="7140">
                        <c:v>0</c:v>
                      </c:pt>
                      <c:pt idx="7141">
                        <c:v>0</c:v>
                      </c:pt>
                      <c:pt idx="7142">
                        <c:v>0</c:v>
                      </c:pt>
                      <c:pt idx="7143">
                        <c:v>0</c:v>
                      </c:pt>
                      <c:pt idx="7144">
                        <c:v>0</c:v>
                      </c:pt>
                      <c:pt idx="7145">
                        <c:v>0</c:v>
                      </c:pt>
                      <c:pt idx="7146">
                        <c:v>0</c:v>
                      </c:pt>
                      <c:pt idx="7147">
                        <c:v>0</c:v>
                      </c:pt>
                      <c:pt idx="7148">
                        <c:v>0</c:v>
                      </c:pt>
                      <c:pt idx="7149">
                        <c:v>0</c:v>
                      </c:pt>
                      <c:pt idx="7150">
                        <c:v>0</c:v>
                      </c:pt>
                      <c:pt idx="7151">
                        <c:v>0</c:v>
                      </c:pt>
                      <c:pt idx="7152">
                        <c:v>0</c:v>
                      </c:pt>
                      <c:pt idx="7153">
                        <c:v>0</c:v>
                      </c:pt>
                      <c:pt idx="7154">
                        <c:v>0</c:v>
                      </c:pt>
                      <c:pt idx="7155">
                        <c:v>0</c:v>
                      </c:pt>
                      <c:pt idx="7156">
                        <c:v>0</c:v>
                      </c:pt>
                      <c:pt idx="7157">
                        <c:v>0</c:v>
                      </c:pt>
                      <c:pt idx="7158">
                        <c:v>0</c:v>
                      </c:pt>
                      <c:pt idx="7159">
                        <c:v>0</c:v>
                      </c:pt>
                      <c:pt idx="7160">
                        <c:v>0</c:v>
                      </c:pt>
                      <c:pt idx="7161">
                        <c:v>0</c:v>
                      </c:pt>
                      <c:pt idx="7162">
                        <c:v>0</c:v>
                      </c:pt>
                      <c:pt idx="7163">
                        <c:v>0</c:v>
                      </c:pt>
                      <c:pt idx="7164">
                        <c:v>0</c:v>
                      </c:pt>
                      <c:pt idx="7165">
                        <c:v>0</c:v>
                      </c:pt>
                      <c:pt idx="7166">
                        <c:v>0</c:v>
                      </c:pt>
                      <c:pt idx="7167">
                        <c:v>0</c:v>
                      </c:pt>
                      <c:pt idx="7168">
                        <c:v>0</c:v>
                      </c:pt>
                      <c:pt idx="7169">
                        <c:v>0</c:v>
                      </c:pt>
                      <c:pt idx="7170">
                        <c:v>0</c:v>
                      </c:pt>
                      <c:pt idx="7171">
                        <c:v>0</c:v>
                      </c:pt>
                      <c:pt idx="7172">
                        <c:v>0</c:v>
                      </c:pt>
                      <c:pt idx="7173">
                        <c:v>0</c:v>
                      </c:pt>
                      <c:pt idx="7174">
                        <c:v>0</c:v>
                      </c:pt>
                      <c:pt idx="7175">
                        <c:v>0</c:v>
                      </c:pt>
                      <c:pt idx="7176">
                        <c:v>0</c:v>
                      </c:pt>
                      <c:pt idx="7177">
                        <c:v>0</c:v>
                      </c:pt>
                      <c:pt idx="7178">
                        <c:v>0</c:v>
                      </c:pt>
                      <c:pt idx="7179">
                        <c:v>0</c:v>
                      </c:pt>
                      <c:pt idx="7180">
                        <c:v>0</c:v>
                      </c:pt>
                      <c:pt idx="7181">
                        <c:v>0</c:v>
                      </c:pt>
                      <c:pt idx="7182">
                        <c:v>0</c:v>
                      </c:pt>
                      <c:pt idx="7183">
                        <c:v>0</c:v>
                      </c:pt>
                      <c:pt idx="7184">
                        <c:v>0</c:v>
                      </c:pt>
                      <c:pt idx="7185">
                        <c:v>0</c:v>
                      </c:pt>
                      <c:pt idx="7186">
                        <c:v>0</c:v>
                      </c:pt>
                      <c:pt idx="7187">
                        <c:v>0</c:v>
                      </c:pt>
                      <c:pt idx="7188">
                        <c:v>0</c:v>
                      </c:pt>
                      <c:pt idx="7189">
                        <c:v>0</c:v>
                      </c:pt>
                      <c:pt idx="7190">
                        <c:v>0</c:v>
                      </c:pt>
                      <c:pt idx="7191">
                        <c:v>0</c:v>
                      </c:pt>
                      <c:pt idx="7192">
                        <c:v>0</c:v>
                      </c:pt>
                      <c:pt idx="7193">
                        <c:v>0</c:v>
                      </c:pt>
                      <c:pt idx="7194">
                        <c:v>0</c:v>
                      </c:pt>
                      <c:pt idx="7195">
                        <c:v>0</c:v>
                      </c:pt>
                      <c:pt idx="7196">
                        <c:v>0</c:v>
                      </c:pt>
                      <c:pt idx="7197">
                        <c:v>0</c:v>
                      </c:pt>
                      <c:pt idx="7198">
                        <c:v>0</c:v>
                      </c:pt>
                      <c:pt idx="7199">
                        <c:v>0</c:v>
                      </c:pt>
                      <c:pt idx="7200">
                        <c:v>0</c:v>
                      </c:pt>
                      <c:pt idx="7201">
                        <c:v>0</c:v>
                      </c:pt>
                      <c:pt idx="7202">
                        <c:v>0</c:v>
                      </c:pt>
                      <c:pt idx="7203">
                        <c:v>0</c:v>
                      </c:pt>
                      <c:pt idx="7204">
                        <c:v>0</c:v>
                      </c:pt>
                      <c:pt idx="7205">
                        <c:v>0</c:v>
                      </c:pt>
                      <c:pt idx="7206">
                        <c:v>0</c:v>
                      </c:pt>
                      <c:pt idx="7207">
                        <c:v>0</c:v>
                      </c:pt>
                      <c:pt idx="7208">
                        <c:v>0</c:v>
                      </c:pt>
                      <c:pt idx="7209">
                        <c:v>0</c:v>
                      </c:pt>
                      <c:pt idx="7210">
                        <c:v>0</c:v>
                      </c:pt>
                      <c:pt idx="7211">
                        <c:v>0</c:v>
                      </c:pt>
                      <c:pt idx="7212">
                        <c:v>0</c:v>
                      </c:pt>
                      <c:pt idx="7213">
                        <c:v>0</c:v>
                      </c:pt>
                      <c:pt idx="7214">
                        <c:v>0</c:v>
                      </c:pt>
                      <c:pt idx="7215">
                        <c:v>0</c:v>
                      </c:pt>
                      <c:pt idx="7216">
                        <c:v>0</c:v>
                      </c:pt>
                      <c:pt idx="7217">
                        <c:v>0</c:v>
                      </c:pt>
                      <c:pt idx="7218">
                        <c:v>0</c:v>
                      </c:pt>
                      <c:pt idx="7219">
                        <c:v>0</c:v>
                      </c:pt>
                      <c:pt idx="7220">
                        <c:v>0</c:v>
                      </c:pt>
                      <c:pt idx="7221">
                        <c:v>0</c:v>
                      </c:pt>
                      <c:pt idx="7222">
                        <c:v>0</c:v>
                      </c:pt>
                      <c:pt idx="7223">
                        <c:v>0</c:v>
                      </c:pt>
                      <c:pt idx="7224">
                        <c:v>0</c:v>
                      </c:pt>
                      <c:pt idx="7225">
                        <c:v>0</c:v>
                      </c:pt>
                      <c:pt idx="7226">
                        <c:v>0</c:v>
                      </c:pt>
                      <c:pt idx="7227">
                        <c:v>0</c:v>
                      </c:pt>
                      <c:pt idx="7228">
                        <c:v>0</c:v>
                      </c:pt>
                      <c:pt idx="7229">
                        <c:v>0</c:v>
                      </c:pt>
                      <c:pt idx="7230">
                        <c:v>0</c:v>
                      </c:pt>
                      <c:pt idx="7231">
                        <c:v>0</c:v>
                      </c:pt>
                      <c:pt idx="7232">
                        <c:v>0</c:v>
                      </c:pt>
                      <c:pt idx="7233">
                        <c:v>0</c:v>
                      </c:pt>
                      <c:pt idx="7234">
                        <c:v>0</c:v>
                      </c:pt>
                      <c:pt idx="7235">
                        <c:v>0</c:v>
                      </c:pt>
                      <c:pt idx="7236">
                        <c:v>0</c:v>
                      </c:pt>
                      <c:pt idx="7237">
                        <c:v>0</c:v>
                      </c:pt>
                      <c:pt idx="7238">
                        <c:v>0</c:v>
                      </c:pt>
                      <c:pt idx="7239">
                        <c:v>0</c:v>
                      </c:pt>
                      <c:pt idx="7240">
                        <c:v>0</c:v>
                      </c:pt>
                      <c:pt idx="7241">
                        <c:v>0</c:v>
                      </c:pt>
                      <c:pt idx="7242">
                        <c:v>0</c:v>
                      </c:pt>
                      <c:pt idx="7243">
                        <c:v>0</c:v>
                      </c:pt>
                      <c:pt idx="7244">
                        <c:v>0</c:v>
                      </c:pt>
                      <c:pt idx="7245">
                        <c:v>0</c:v>
                      </c:pt>
                      <c:pt idx="7246">
                        <c:v>0</c:v>
                      </c:pt>
                      <c:pt idx="7247">
                        <c:v>0</c:v>
                      </c:pt>
                      <c:pt idx="7248">
                        <c:v>0</c:v>
                      </c:pt>
                      <c:pt idx="7249">
                        <c:v>0</c:v>
                      </c:pt>
                      <c:pt idx="7250">
                        <c:v>0</c:v>
                      </c:pt>
                      <c:pt idx="7251">
                        <c:v>0</c:v>
                      </c:pt>
                      <c:pt idx="7252">
                        <c:v>0</c:v>
                      </c:pt>
                      <c:pt idx="7253">
                        <c:v>0</c:v>
                      </c:pt>
                      <c:pt idx="7254">
                        <c:v>0</c:v>
                      </c:pt>
                      <c:pt idx="7255">
                        <c:v>0</c:v>
                      </c:pt>
                      <c:pt idx="7256">
                        <c:v>0</c:v>
                      </c:pt>
                      <c:pt idx="7257">
                        <c:v>0</c:v>
                      </c:pt>
                      <c:pt idx="7258">
                        <c:v>0</c:v>
                      </c:pt>
                      <c:pt idx="7259">
                        <c:v>0</c:v>
                      </c:pt>
                      <c:pt idx="7260">
                        <c:v>0</c:v>
                      </c:pt>
                      <c:pt idx="7261">
                        <c:v>0</c:v>
                      </c:pt>
                      <c:pt idx="7262">
                        <c:v>0</c:v>
                      </c:pt>
                      <c:pt idx="7263">
                        <c:v>0</c:v>
                      </c:pt>
                      <c:pt idx="7264">
                        <c:v>0</c:v>
                      </c:pt>
                      <c:pt idx="7265">
                        <c:v>0</c:v>
                      </c:pt>
                      <c:pt idx="7266">
                        <c:v>0</c:v>
                      </c:pt>
                      <c:pt idx="7267">
                        <c:v>0</c:v>
                      </c:pt>
                      <c:pt idx="7268">
                        <c:v>0</c:v>
                      </c:pt>
                      <c:pt idx="7269">
                        <c:v>0</c:v>
                      </c:pt>
                      <c:pt idx="7270">
                        <c:v>0</c:v>
                      </c:pt>
                      <c:pt idx="7271">
                        <c:v>0</c:v>
                      </c:pt>
                      <c:pt idx="7272">
                        <c:v>0</c:v>
                      </c:pt>
                      <c:pt idx="7273">
                        <c:v>0</c:v>
                      </c:pt>
                      <c:pt idx="7274">
                        <c:v>0</c:v>
                      </c:pt>
                      <c:pt idx="7275">
                        <c:v>0</c:v>
                      </c:pt>
                      <c:pt idx="7276">
                        <c:v>0</c:v>
                      </c:pt>
                      <c:pt idx="7277">
                        <c:v>0</c:v>
                      </c:pt>
                      <c:pt idx="7278">
                        <c:v>0</c:v>
                      </c:pt>
                      <c:pt idx="7279">
                        <c:v>0</c:v>
                      </c:pt>
                      <c:pt idx="7280">
                        <c:v>0</c:v>
                      </c:pt>
                      <c:pt idx="7281">
                        <c:v>0</c:v>
                      </c:pt>
                      <c:pt idx="7282">
                        <c:v>0</c:v>
                      </c:pt>
                      <c:pt idx="7283">
                        <c:v>0</c:v>
                      </c:pt>
                      <c:pt idx="7284">
                        <c:v>0</c:v>
                      </c:pt>
                      <c:pt idx="7285">
                        <c:v>0</c:v>
                      </c:pt>
                      <c:pt idx="7286">
                        <c:v>0</c:v>
                      </c:pt>
                      <c:pt idx="7287">
                        <c:v>0</c:v>
                      </c:pt>
                      <c:pt idx="7288">
                        <c:v>0</c:v>
                      </c:pt>
                      <c:pt idx="7289">
                        <c:v>0</c:v>
                      </c:pt>
                      <c:pt idx="7290">
                        <c:v>0</c:v>
                      </c:pt>
                      <c:pt idx="7291">
                        <c:v>0</c:v>
                      </c:pt>
                      <c:pt idx="7292">
                        <c:v>0</c:v>
                      </c:pt>
                      <c:pt idx="7293">
                        <c:v>0</c:v>
                      </c:pt>
                      <c:pt idx="7294">
                        <c:v>0</c:v>
                      </c:pt>
                      <c:pt idx="7295">
                        <c:v>0</c:v>
                      </c:pt>
                      <c:pt idx="7296">
                        <c:v>0</c:v>
                      </c:pt>
                      <c:pt idx="7297">
                        <c:v>0</c:v>
                      </c:pt>
                      <c:pt idx="7298">
                        <c:v>0</c:v>
                      </c:pt>
                      <c:pt idx="7299">
                        <c:v>0</c:v>
                      </c:pt>
                      <c:pt idx="7300">
                        <c:v>0</c:v>
                      </c:pt>
                      <c:pt idx="7301">
                        <c:v>0</c:v>
                      </c:pt>
                      <c:pt idx="7302">
                        <c:v>0</c:v>
                      </c:pt>
                      <c:pt idx="7303">
                        <c:v>0</c:v>
                      </c:pt>
                      <c:pt idx="7304">
                        <c:v>0</c:v>
                      </c:pt>
                      <c:pt idx="7305">
                        <c:v>0</c:v>
                      </c:pt>
                      <c:pt idx="7306">
                        <c:v>0</c:v>
                      </c:pt>
                      <c:pt idx="7307">
                        <c:v>0</c:v>
                      </c:pt>
                      <c:pt idx="7308">
                        <c:v>0</c:v>
                      </c:pt>
                      <c:pt idx="7309">
                        <c:v>0</c:v>
                      </c:pt>
                      <c:pt idx="7310">
                        <c:v>0</c:v>
                      </c:pt>
                      <c:pt idx="7311">
                        <c:v>0</c:v>
                      </c:pt>
                      <c:pt idx="7312">
                        <c:v>0</c:v>
                      </c:pt>
                      <c:pt idx="7313">
                        <c:v>0</c:v>
                      </c:pt>
                      <c:pt idx="7314">
                        <c:v>0</c:v>
                      </c:pt>
                      <c:pt idx="7315">
                        <c:v>0</c:v>
                      </c:pt>
                      <c:pt idx="7316">
                        <c:v>0</c:v>
                      </c:pt>
                      <c:pt idx="7317">
                        <c:v>0</c:v>
                      </c:pt>
                      <c:pt idx="7318">
                        <c:v>0</c:v>
                      </c:pt>
                      <c:pt idx="7319">
                        <c:v>0</c:v>
                      </c:pt>
                      <c:pt idx="7320">
                        <c:v>0</c:v>
                      </c:pt>
                      <c:pt idx="7321">
                        <c:v>0</c:v>
                      </c:pt>
                      <c:pt idx="7322">
                        <c:v>0</c:v>
                      </c:pt>
                      <c:pt idx="7323">
                        <c:v>0</c:v>
                      </c:pt>
                      <c:pt idx="7324">
                        <c:v>0</c:v>
                      </c:pt>
                      <c:pt idx="7325">
                        <c:v>0</c:v>
                      </c:pt>
                      <c:pt idx="7326">
                        <c:v>0</c:v>
                      </c:pt>
                      <c:pt idx="7327">
                        <c:v>0</c:v>
                      </c:pt>
                      <c:pt idx="7328">
                        <c:v>0</c:v>
                      </c:pt>
                      <c:pt idx="7329">
                        <c:v>0</c:v>
                      </c:pt>
                      <c:pt idx="7330">
                        <c:v>0</c:v>
                      </c:pt>
                      <c:pt idx="7331">
                        <c:v>0</c:v>
                      </c:pt>
                      <c:pt idx="7332">
                        <c:v>0</c:v>
                      </c:pt>
                      <c:pt idx="7333">
                        <c:v>0</c:v>
                      </c:pt>
                      <c:pt idx="7334">
                        <c:v>0</c:v>
                      </c:pt>
                      <c:pt idx="7335">
                        <c:v>0</c:v>
                      </c:pt>
                      <c:pt idx="7336">
                        <c:v>0</c:v>
                      </c:pt>
                      <c:pt idx="7337">
                        <c:v>0</c:v>
                      </c:pt>
                      <c:pt idx="7338">
                        <c:v>0</c:v>
                      </c:pt>
                      <c:pt idx="7339">
                        <c:v>0</c:v>
                      </c:pt>
                      <c:pt idx="7340">
                        <c:v>0</c:v>
                      </c:pt>
                      <c:pt idx="7341">
                        <c:v>0</c:v>
                      </c:pt>
                      <c:pt idx="7342">
                        <c:v>0</c:v>
                      </c:pt>
                      <c:pt idx="7343">
                        <c:v>0</c:v>
                      </c:pt>
                      <c:pt idx="7344">
                        <c:v>0</c:v>
                      </c:pt>
                      <c:pt idx="7345">
                        <c:v>0</c:v>
                      </c:pt>
                      <c:pt idx="7346">
                        <c:v>0</c:v>
                      </c:pt>
                      <c:pt idx="7347">
                        <c:v>0</c:v>
                      </c:pt>
                      <c:pt idx="7348">
                        <c:v>0</c:v>
                      </c:pt>
                      <c:pt idx="7349">
                        <c:v>0</c:v>
                      </c:pt>
                      <c:pt idx="7350">
                        <c:v>0</c:v>
                      </c:pt>
                      <c:pt idx="7351">
                        <c:v>0</c:v>
                      </c:pt>
                      <c:pt idx="7352">
                        <c:v>0</c:v>
                      </c:pt>
                      <c:pt idx="7353">
                        <c:v>0</c:v>
                      </c:pt>
                      <c:pt idx="7354">
                        <c:v>0</c:v>
                      </c:pt>
                      <c:pt idx="7355">
                        <c:v>0</c:v>
                      </c:pt>
                      <c:pt idx="7356">
                        <c:v>0</c:v>
                      </c:pt>
                      <c:pt idx="7357">
                        <c:v>0</c:v>
                      </c:pt>
                      <c:pt idx="7358">
                        <c:v>0</c:v>
                      </c:pt>
                      <c:pt idx="7359">
                        <c:v>0</c:v>
                      </c:pt>
                      <c:pt idx="7360">
                        <c:v>0</c:v>
                      </c:pt>
                      <c:pt idx="7361">
                        <c:v>0</c:v>
                      </c:pt>
                      <c:pt idx="7362">
                        <c:v>0</c:v>
                      </c:pt>
                      <c:pt idx="7363">
                        <c:v>0</c:v>
                      </c:pt>
                      <c:pt idx="7364">
                        <c:v>0</c:v>
                      </c:pt>
                      <c:pt idx="7365">
                        <c:v>0</c:v>
                      </c:pt>
                      <c:pt idx="7366">
                        <c:v>0</c:v>
                      </c:pt>
                      <c:pt idx="7367">
                        <c:v>0</c:v>
                      </c:pt>
                      <c:pt idx="7368">
                        <c:v>0</c:v>
                      </c:pt>
                      <c:pt idx="7369">
                        <c:v>0</c:v>
                      </c:pt>
                      <c:pt idx="7370">
                        <c:v>0</c:v>
                      </c:pt>
                      <c:pt idx="7371">
                        <c:v>0</c:v>
                      </c:pt>
                      <c:pt idx="7372">
                        <c:v>0</c:v>
                      </c:pt>
                      <c:pt idx="7373">
                        <c:v>0</c:v>
                      </c:pt>
                      <c:pt idx="7374">
                        <c:v>0</c:v>
                      </c:pt>
                      <c:pt idx="7375">
                        <c:v>0</c:v>
                      </c:pt>
                      <c:pt idx="7376">
                        <c:v>0</c:v>
                      </c:pt>
                      <c:pt idx="7377">
                        <c:v>0</c:v>
                      </c:pt>
                      <c:pt idx="7378">
                        <c:v>0</c:v>
                      </c:pt>
                      <c:pt idx="7379">
                        <c:v>0</c:v>
                      </c:pt>
                      <c:pt idx="7380">
                        <c:v>0</c:v>
                      </c:pt>
                      <c:pt idx="7381">
                        <c:v>0</c:v>
                      </c:pt>
                      <c:pt idx="7382">
                        <c:v>0</c:v>
                      </c:pt>
                      <c:pt idx="7383">
                        <c:v>0</c:v>
                      </c:pt>
                      <c:pt idx="7384">
                        <c:v>0</c:v>
                      </c:pt>
                      <c:pt idx="7385">
                        <c:v>0</c:v>
                      </c:pt>
                      <c:pt idx="7386">
                        <c:v>0</c:v>
                      </c:pt>
                      <c:pt idx="7387">
                        <c:v>0</c:v>
                      </c:pt>
                      <c:pt idx="7388">
                        <c:v>0</c:v>
                      </c:pt>
                      <c:pt idx="7389">
                        <c:v>0</c:v>
                      </c:pt>
                      <c:pt idx="7390">
                        <c:v>0</c:v>
                      </c:pt>
                      <c:pt idx="7391">
                        <c:v>0</c:v>
                      </c:pt>
                      <c:pt idx="7392">
                        <c:v>0</c:v>
                      </c:pt>
                      <c:pt idx="7393">
                        <c:v>0</c:v>
                      </c:pt>
                      <c:pt idx="7394">
                        <c:v>0</c:v>
                      </c:pt>
                      <c:pt idx="7395">
                        <c:v>0</c:v>
                      </c:pt>
                      <c:pt idx="7396">
                        <c:v>0</c:v>
                      </c:pt>
                      <c:pt idx="7397">
                        <c:v>0</c:v>
                      </c:pt>
                      <c:pt idx="7398">
                        <c:v>0</c:v>
                      </c:pt>
                      <c:pt idx="7399">
                        <c:v>0</c:v>
                      </c:pt>
                      <c:pt idx="7400">
                        <c:v>0</c:v>
                      </c:pt>
                      <c:pt idx="7401">
                        <c:v>0</c:v>
                      </c:pt>
                      <c:pt idx="7402">
                        <c:v>0</c:v>
                      </c:pt>
                      <c:pt idx="7403">
                        <c:v>0</c:v>
                      </c:pt>
                      <c:pt idx="7404">
                        <c:v>0</c:v>
                      </c:pt>
                      <c:pt idx="7405">
                        <c:v>0</c:v>
                      </c:pt>
                      <c:pt idx="7406">
                        <c:v>0</c:v>
                      </c:pt>
                      <c:pt idx="7407">
                        <c:v>0</c:v>
                      </c:pt>
                      <c:pt idx="7408">
                        <c:v>0</c:v>
                      </c:pt>
                      <c:pt idx="7409">
                        <c:v>0</c:v>
                      </c:pt>
                      <c:pt idx="7410">
                        <c:v>0</c:v>
                      </c:pt>
                      <c:pt idx="7411">
                        <c:v>0</c:v>
                      </c:pt>
                      <c:pt idx="7412">
                        <c:v>0</c:v>
                      </c:pt>
                      <c:pt idx="7413">
                        <c:v>0</c:v>
                      </c:pt>
                      <c:pt idx="7414">
                        <c:v>0</c:v>
                      </c:pt>
                      <c:pt idx="7415">
                        <c:v>0</c:v>
                      </c:pt>
                      <c:pt idx="7416">
                        <c:v>0</c:v>
                      </c:pt>
                      <c:pt idx="7417">
                        <c:v>0</c:v>
                      </c:pt>
                      <c:pt idx="7418">
                        <c:v>0</c:v>
                      </c:pt>
                      <c:pt idx="7419">
                        <c:v>0</c:v>
                      </c:pt>
                      <c:pt idx="7420">
                        <c:v>0</c:v>
                      </c:pt>
                      <c:pt idx="7421">
                        <c:v>0</c:v>
                      </c:pt>
                      <c:pt idx="7422">
                        <c:v>0</c:v>
                      </c:pt>
                      <c:pt idx="7423">
                        <c:v>0</c:v>
                      </c:pt>
                      <c:pt idx="7424">
                        <c:v>0</c:v>
                      </c:pt>
                      <c:pt idx="7425">
                        <c:v>0</c:v>
                      </c:pt>
                      <c:pt idx="7426">
                        <c:v>0</c:v>
                      </c:pt>
                      <c:pt idx="7427">
                        <c:v>0</c:v>
                      </c:pt>
                      <c:pt idx="7428">
                        <c:v>0</c:v>
                      </c:pt>
                      <c:pt idx="7429">
                        <c:v>0</c:v>
                      </c:pt>
                      <c:pt idx="7430">
                        <c:v>0</c:v>
                      </c:pt>
                      <c:pt idx="7431">
                        <c:v>0</c:v>
                      </c:pt>
                      <c:pt idx="7432">
                        <c:v>0</c:v>
                      </c:pt>
                      <c:pt idx="7433">
                        <c:v>0</c:v>
                      </c:pt>
                      <c:pt idx="7434">
                        <c:v>0</c:v>
                      </c:pt>
                      <c:pt idx="7435">
                        <c:v>0</c:v>
                      </c:pt>
                      <c:pt idx="7436">
                        <c:v>0</c:v>
                      </c:pt>
                      <c:pt idx="7437">
                        <c:v>0</c:v>
                      </c:pt>
                      <c:pt idx="7438">
                        <c:v>0</c:v>
                      </c:pt>
                      <c:pt idx="7439">
                        <c:v>0</c:v>
                      </c:pt>
                      <c:pt idx="7440">
                        <c:v>0</c:v>
                      </c:pt>
                      <c:pt idx="7441">
                        <c:v>0</c:v>
                      </c:pt>
                      <c:pt idx="7442">
                        <c:v>0</c:v>
                      </c:pt>
                      <c:pt idx="7443">
                        <c:v>0</c:v>
                      </c:pt>
                      <c:pt idx="7444">
                        <c:v>0</c:v>
                      </c:pt>
                      <c:pt idx="7445">
                        <c:v>0</c:v>
                      </c:pt>
                      <c:pt idx="7446">
                        <c:v>0</c:v>
                      </c:pt>
                      <c:pt idx="7447">
                        <c:v>0</c:v>
                      </c:pt>
                      <c:pt idx="7448">
                        <c:v>0</c:v>
                      </c:pt>
                      <c:pt idx="7449">
                        <c:v>0</c:v>
                      </c:pt>
                      <c:pt idx="7450">
                        <c:v>0</c:v>
                      </c:pt>
                      <c:pt idx="7451">
                        <c:v>0</c:v>
                      </c:pt>
                      <c:pt idx="7452">
                        <c:v>0</c:v>
                      </c:pt>
                      <c:pt idx="7453">
                        <c:v>0</c:v>
                      </c:pt>
                      <c:pt idx="7454">
                        <c:v>0</c:v>
                      </c:pt>
                      <c:pt idx="7455">
                        <c:v>0</c:v>
                      </c:pt>
                      <c:pt idx="7456">
                        <c:v>0</c:v>
                      </c:pt>
                      <c:pt idx="7457">
                        <c:v>0</c:v>
                      </c:pt>
                      <c:pt idx="7458">
                        <c:v>0</c:v>
                      </c:pt>
                      <c:pt idx="7459">
                        <c:v>0</c:v>
                      </c:pt>
                      <c:pt idx="7460">
                        <c:v>0</c:v>
                      </c:pt>
                      <c:pt idx="7461">
                        <c:v>0</c:v>
                      </c:pt>
                      <c:pt idx="7462">
                        <c:v>0</c:v>
                      </c:pt>
                      <c:pt idx="7463">
                        <c:v>0</c:v>
                      </c:pt>
                      <c:pt idx="7464">
                        <c:v>0</c:v>
                      </c:pt>
                      <c:pt idx="7465">
                        <c:v>0</c:v>
                      </c:pt>
                      <c:pt idx="7466">
                        <c:v>0</c:v>
                      </c:pt>
                      <c:pt idx="7467">
                        <c:v>0</c:v>
                      </c:pt>
                      <c:pt idx="7468">
                        <c:v>0</c:v>
                      </c:pt>
                      <c:pt idx="7469">
                        <c:v>0</c:v>
                      </c:pt>
                      <c:pt idx="7470">
                        <c:v>0</c:v>
                      </c:pt>
                      <c:pt idx="7471">
                        <c:v>0</c:v>
                      </c:pt>
                      <c:pt idx="7472">
                        <c:v>0</c:v>
                      </c:pt>
                      <c:pt idx="7473">
                        <c:v>0</c:v>
                      </c:pt>
                      <c:pt idx="7474">
                        <c:v>0</c:v>
                      </c:pt>
                      <c:pt idx="7475">
                        <c:v>0</c:v>
                      </c:pt>
                      <c:pt idx="7476">
                        <c:v>0</c:v>
                      </c:pt>
                      <c:pt idx="7477">
                        <c:v>0</c:v>
                      </c:pt>
                      <c:pt idx="7478">
                        <c:v>0</c:v>
                      </c:pt>
                      <c:pt idx="7479">
                        <c:v>0</c:v>
                      </c:pt>
                      <c:pt idx="7480">
                        <c:v>0</c:v>
                      </c:pt>
                      <c:pt idx="7481">
                        <c:v>0</c:v>
                      </c:pt>
                      <c:pt idx="7482">
                        <c:v>0</c:v>
                      </c:pt>
                      <c:pt idx="7483">
                        <c:v>0</c:v>
                      </c:pt>
                      <c:pt idx="7484">
                        <c:v>0</c:v>
                      </c:pt>
                      <c:pt idx="7485">
                        <c:v>0</c:v>
                      </c:pt>
                      <c:pt idx="7486">
                        <c:v>0</c:v>
                      </c:pt>
                      <c:pt idx="7487">
                        <c:v>0</c:v>
                      </c:pt>
                      <c:pt idx="7488">
                        <c:v>0</c:v>
                      </c:pt>
                      <c:pt idx="7489">
                        <c:v>0</c:v>
                      </c:pt>
                      <c:pt idx="7490">
                        <c:v>0</c:v>
                      </c:pt>
                      <c:pt idx="7491">
                        <c:v>0</c:v>
                      </c:pt>
                      <c:pt idx="7492">
                        <c:v>0</c:v>
                      </c:pt>
                      <c:pt idx="7493">
                        <c:v>0</c:v>
                      </c:pt>
                      <c:pt idx="7494">
                        <c:v>0</c:v>
                      </c:pt>
                      <c:pt idx="7495">
                        <c:v>0</c:v>
                      </c:pt>
                      <c:pt idx="7496">
                        <c:v>0</c:v>
                      </c:pt>
                      <c:pt idx="7497">
                        <c:v>0</c:v>
                      </c:pt>
                      <c:pt idx="7498">
                        <c:v>0</c:v>
                      </c:pt>
                      <c:pt idx="7499">
                        <c:v>0</c:v>
                      </c:pt>
                      <c:pt idx="7500">
                        <c:v>0</c:v>
                      </c:pt>
                      <c:pt idx="7501">
                        <c:v>0</c:v>
                      </c:pt>
                      <c:pt idx="7502">
                        <c:v>0</c:v>
                      </c:pt>
                      <c:pt idx="7503">
                        <c:v>0</c:v>
                      </c:pt>
                      <c:pt idx="7504">
                        <c:v>0</c:v>
                      </c:pt>
                      <c:pt idx="7505">
                        <c:v>0</c:v>
                      </c:pt>
                      <c:pt idx="7506">
                        <c:v>0</c:v>
                      </c:pt>
                      <c:pt idx="7507">
                        <c:v>0</c:v>
                      </c:pt>
                      <c:pt idx="7508">
                        <c:v>0</c:v>
                      </c:pt>
                      <c:pt idx="7509">
                        <c:v>0</c:v>
                      </c:pt>
                      <c:pt idx="7510">
                        <c:v>0</c:v>
                      </c:pt>
                      <c:pt idx="7511">
                        <c:v>0</c:v>
                      </c:pt>
                      <c:pt idx="7512">
                        <c:v>0</c:v>
                      </c:pt>
                      <c:pt idx="7513">
                        <c:v>0</c:v>
                      </c:pt>
                      <c:pt idx="7514">
                        <c:v>0</c:v>
                      </c:pt>
                      <c:pt idx="7515">
                        <c:v>0</c:v>
                      </c:pt>
                      <c:pt idx="7516">
                        <c:v>0</c:v>
                      </c:pt>
                      <c:pt idx="7517">
                        <c:v>0</c:v>
                      </c:pt>
                      <c:pt idx="7518">
                        <c:v>0</c:v>
                      </c:pt>
                      <c:pt idx="7519">
                        <c:v>0</c:v>
                      </c:pt>
                      <c:pt idx="7520">
                        <c:v>0</c:v>
                      </c:pt>
                      <c:pt idx="7521">
                        <c:v>0</c:v>
                      </c:pt>
                      <c:pt idx="7522">
                        <c:v>0</c:v>
                      </c:pt>
                      <c:pt idx="7523">
                        <c:v>0</c:v>
                      </c:pt>
                      <c:pt idx="7524">
                        <c:v>0</c:v>
                      </c:pt>
                      <c:pt idx="7525">
                        <c:v>0</c:v>
                      </c:pt>
                      <c:pt idx="7526">
                        <c:v>0</c:v>
                      </c:pt>
                      <c:pt idx="7527">
                        <c:v>0</c:v>
                      </c:pt>
                      <c:pt idx="7528">
                        <c:v>0</c:v>
                      </c:pt>
                      <c:pt idx="7529">
                        <c:v>0</c:v>
                      </c:pt>
                      <c:pt idx="7530">
                        <c:v>0</c:v>
                      </c:pt>
                      <c:pt idx="7531">
                        <c:v>0</c:v>
                      </c:pt>
                      <c:pt idx="7532">
                        <c:v>0</c:v>
                      </c:pt>
                      <c:pt idx="7533">
                        <c:v>0</c:v>
                      </c:pt>
                      <c:pt idx="7534">
                        <c:v>0</c:v>
                      </c:pt>
                      <c:pt idx="7535">
                        <c:v>0</c:v>
                      </c:pt>
                      <c:pt idx="7536">
                        <c:v>0</c:v>
                      </c:pt>
                      <c:pt idx="7537">
                        <c:v>0</c:v>
                      </c:pt>
                      <c:pt idx="7538">
                        <c:v>0</c:v>
                      </c:pt>
                      <c:pt idx="7539">
                        <c:v>0</c:v>
                      </c:pt>
                      <c:pt idx="7540">
                        <c:v>0</c:v>
                      </c:pt>
                      <c:pt idx="7541">
                        <c:v>0</c:v>
                      </c:pt>
                      <c:pt idx="7542">
                        <c:v>0</c:v>
                      </c:pt>
                      <c:pt idx="7543">
                        <c:v>0</c:v>
                      </c:pt>
                      <c:pt idx="7544">
                        <c:v>0</c:v>
                      </c:pt>
                      <c:pt idx="7545">
                        <c:v>0</c:v>
                      </c:pt>
                      <c:pt idx="7546">
                        <c:v>0</c:v>
                      </c:pt>
                      <c:pt idx="7547">
                        <c:v>0</c:v>
                      </c:pt>
                      <c:pt idx="7548">
                        <c:v>0</c:v>
                      </c:pt>
                      <c:pt idx="7549">
                        <c:v>0</c:v>
                      </c:pt>
                      <c:pt idx="7550">
                        <c:v>0</c:v>
                      </c:pt>
                      <c:pt idx="7551">
                        <c:v>0</c:v>
                      </c:pt>
                      <c:pt idx="7552">
                        <c:v>0</c:v>
                      </c:pt>
                      <c:pt idx="7553">
                        <c:v>0</c:v>
                      </c:pt>
                      <c:pt idx="7554">
                        <c:v>0</c:v>
                      </c:pt>
                      <c:pt idx="7555">
                        <c:v>0</c:v>
                      </c:pt>
                      <c:pt idx="7556">
                        <c:v>0</c:v>
                      </c:pt>
                      <c:pt idx="7557">
                        <c:v>0</c:v>
                      </c:pt>
                      <c:pt idx="7558">
                        <c:v>0</c:v>
                      </c:pt>
                      <c:pt idx="7559">
                        <c:v>0</c:v>
                      </c:pt>
                      <c:pt idx="7560">
                        <c:v>0</c:v>
                      </c:pt>
                      <c:pt idx="7561">
                        <c:v>0</c:v>
                      </c:pt>
                      <c:pt idx="7562">
                        <c:v>0</c:v>
                      </c:pt>
                      <c:pt idx="7563">
                        <c:v>0</c:v>
                      </c:pt>
                      <c:pt idx="7564">
                        <c:v>0</c:v>
                      </c:pt>
                      <c:pt idx="7565">
                        <c:v>0</c:v>
                      </c:pt>
                      <c:pt idx="7566">
                        <c:v>0</c:v>
                      </c:pt>
                      <c:pt idx="7567">
                        <c:v>0</c:v>
                      </c:pt>
                      <c:pt idx="7568">
                        <c:v>0</c:v>
                      </c:pt>
                      <c:pt idx="7569">
                        <c:v>0</c:v>
                      </c:pt>
                      <c:pt idx="7570">
                        <c:v>0</c:v>
                      </c:pt>
                      <c:pt idx="7571">
                        <c:v>0</c:v>
                      </c:pt>
                      <c:pt idx="7572">
                        <c:v>0</c:v>
                      </c:pt>
                      <c:pt idx="7573">
                        <c:v>0</c:v>
                      </c:pt>
                      <c:pt idx="7574">
                        <c:v>0</c:v>
                      </c:pt>
                      <c:pt idx="7575">
                        <c:v>0</c:v>
                      </c:pt>
                      <c:pt idx="7576">
                        <c:v>0</c:v>
                      </c:pt>
                      <c:pt idx="7577">
                        <c:v>0</c:v>
                      </c:pt>
                      <c:pt idx="7578">
                        <c:v>0</c:v>
                      </c:pt>
                      <c:pt idx="7579">
                        <c:v>0</c:v>
                      </c:pt>
                      <c:pt idx="7580">
                        <c:v>0</c:v>
                      </c:pt>
                      <c:pt idx="7581">
                        <c:v>0</c:v>
                      </c:pt>
                      <c:pt idx="7582">
                        <c:v>0</c:v>
                      </c:pt>
                      <c:pt idx="7583">
                        <c:v>0</c:v>
                      </c:pt>
                      <c:pt idx="7584">
                        <c:v>0</c:v>
                      </c:pt>
                      <c:pt idx="7585">
                        <c:v>0</c:v>
                      </c:pt>
                      <c:pt idx="7586">
                        <c:v>0</c:v>
                      </c:pt>
                      <c:pt idx="7587">
                        <c:v>0</c:v>
                      </c:pt>
                      <c:pt idx="7588">
                        <c:v>0</c:v>
                      </c:pt>
                      <c:pt idx="7589">
                        <c:v>0</c:v>
                      </c:pt>
                      <c:pt idx="7590">
                        <c:v>0</c:v>
                      </c:pt>
                      <c:pt idx="7591">
                        <c:v>0</c:v>
                      </c:pt>
                      <c:pt idx="7592">
                        <c:v>0</c:v>
                      </c:pt>
                      <c:pt idx="7593">
                        <c:v>0</c:v>
                      </c:pt>
                      <c:pt idx="7594">
                        <c:v>0</c:v>
                      </c:pt>
                      <c:pt idx="7595">
                        <c:v>0</c:v>
                      </c:pt>
                      <c:pt idx="7596">
                        <c:v>0</c:v>
                      </c:pt>
                      <c:pt idx="7597">
                        <c:v>0</c:v>
                      </c:pt>
                      <c:pt idx="7598">
                        <c:v>0</c:v>
                      </c:pt>
                      <c:pt idx="7599">
                        <c:v>0</c:v>
                      </c:pt>
                      <c:pt idx="7600">
                        <c:v>0</c:v>
                      </c:pt>
                      <c:pt idx="7601">
                        <c:v>0</c:v>
                      </c:pt>
                      <c:pt idx="7602">
                        <c:v>0</c:v>
                      </c:pt>
                      <c:pt idx="7603">
                        <c:v>0</c:v>
                      </c:pt>
                      <c:pt idx="7604">
                        <c:v>0</c:v>
                      </c:pt>
                      <c:pt idx="7605">
                        <c:v>0</c:v>
                      </c:pt>
                      <c:pt idx="7606">
                        <c:v>0</c:v>
                      </c:pt>
                      <c:pt idx="7607">
                        <c:v>0</c:v>
                      </c:pt>
                      <c:pt idx="7608">
                        <c:v>0</c:v>
                      </c:pt>
                      <c:pt idx="7609">
                        <c:v>0</c:v>
                      </c:pt>
                      <c:pt idx="7610">
                        <c:v>0</c:v>
                      </c:pt>
                      <c:pt idx="7611">
                        <c:v>0</c:v>
                      </c:pt>
                      <c:pt idx="7612">
                        <c:v>0</c:v>
                      </c:pt>
                      <c:pt idx="7613">
                        <c:v>0</c:v>
                      </c:pt>
                      <c:pt idx="7614">
                        <c:v>0</c:v>
                      </c:pt>
                      <c:pt idx="7615">
                        <c:v>0</c:v>
                      </c:pt>
                      <c:pt idx="7616">
                        <c:v>0</c:v>
                      </c:pt>
                      <c:pt idx="7617">
                        <c:v>0</c:v>
                      </c:pt>
                      <c:pt idx="7618">
                        <c:v>0</c:v>
                      </c:pt>
                      <c:pt idx="7619">
                        <c:v>0</c:v>
                      </c:pt>
                      <c:pt idx="7620">
                        <c:v>0</c:v>
                      </c:pt>
                      <c:pt idx="7621">
                        <c:v>0</c:v>
                      </c:pt>
                      <c:pt idx="7622">
                        <c:v>0</c:v>
                      </c:pt>
                      <c:pt idx="7623">
                        <c:v>0</c:v>
                      </c:pt>
                      <c:pt idx="7624">
                        <c:v>0</c:v>
                      </c:pt>
                      <c:pt idx="7625">
                        <c:v>0</c:v>
                      </c:pt>
                      <c:pt idx="7626">
                        <c:v>0</c:v>
                      </c:pt>
                      <c:pt idx="7627">
                        <c:v>0</c:v>
                      </c:pt>
                      <c:pt idx="7628">
                        <c:v>0</c:v>
                      </c:pt>
                      <c:pt idx="7629">
                        <c:v>0</c:v>
                      </c:pt>
                      <c:pt idx="7630">
                        <c:v>0</c:v>
                      </c:pt>
                      <c:pt idx="7631">
                        <c:v>0</c:v>
                      </c:pt>
                      <c:pt idx="7632">
                        <c:v>0</c:v>
                      </c:pt>
                      <c:pt idx="7633">
                        <c:v>0</c:v>
                      </c:pt>
                      <c:pt idx="7634">
                        <c:v>0</c:v>
                      </c:pt>
                      <c:pt idx="7635">
                        <c:v>0</c:v>
                      </c:pt>
                      <c:pt idx="7636">
                        <c:v>0</c:v>
                      </c:pt>
                      <c:pt idx="7637">
                        <c:v>0</c:v>
                      </c:pt>
                      <c:pt idx="7638">
                        <c:v>0</c:v>
                      </c:pt>
                      <c:pt idx="7639">
                        <c:v>0</c:v>
                      </c:pt>
                      <c:pt idx="7640">
                        <c:v>0</c:v>
                      </c:pt>
                      <c:pt idx="7641">
                        <c:v>0</c:v>
                      </c:pt>
                      <c:pt idx="7642">
                        <c:v>0</c:v>
                      </c:pt>
                      <c:pt idx="7643">
                        <c:v>0</c:v>
                      </c:pt>
                      <c:pt idx="7644">
                        <c:v>0</c:v>
                      </c:pt>
                      <c:pt idx="7645">
                        <c:v>0</c:v>
                      </c:pt>
                      <c:pt idx="7646">
                        <c:v>0</c:v>
                      </c:pt>
                      <c:pt idx="7647">
                        <c:v>0</c:v>
                      </c:pt>
                      <c:pt idx="7648">
                        <c:v>0</c:v>
                      </c:pt>
                      <c:pt idx="7649">
                        <c:v>0</c:v>
                      </c:pt>
                      <c:pt idx="7650">
                        <c:v>0</c:v>
                      </c:pt>
                      <c:pt idx="7651">
                        <c:v>0</c:v>
                      </c:pt>
                      <c:pt idx="7652">
                        <c:v>0</c:v>
                      </c:pt>
                      <c:pt idx="7653">
                        <c:v>0</c:v>
                      </c:pt>
                      <c:pt idx="7654">
                        <c:v>0</c:v>
                      </c:pt>
                      <c:pt idx="7655">
                        <c:v>0</c:v>
                      </c:pt>
                      <c:pt idx="7656">
                        <c:v>0</c:v>
                      </c:pt>
                      <c:pt idx="7657">
                        <c:v>0</c:v>
                      </c:pt>
                      <c:pt idx="7658">
                        <c:v>0</c:v>
                      </c:pt>
                      <c:pt idx="7659">
                        <c:v>0</c:v>
                      </c:pt>
                      <c:pt idx="7660">
                        <c:v>0</c:v>
                      </c:pt>
                      <c:pt idx="7661">
                        <c:v>0</c:v>
                      </c:pt>
                      <c:pt idx="7662">
                        <c:v>0</c:v>
                      </c:pt>
                      <c:pt idx="7663">
                        <c:v>0</c:v>
                      </c:pt>
                      <c:pt idx="7664">
                        <c:v>0</c:v>
                      </c:pt>
                      <c:pt idx="7665">
                        <c:v>0</c:v>
                      </c:pt>
                      <c:pt idx="7666">
                        <c:v>0</c:v>
                      </c:pt>
                      <c:pt idx="7667">
                        <c:v>0</c:v>
                      </c:pt>
                      <c:pt idx="7668">
                        <c:v>0</c:v>
                      </c:pt>
                      <c:pt idx="7669">
                        <c:v>0</c:v>
                      </c:pt>
                      <c:pt idx="7670">
                        <c:v>0</c:v>
                      </c:pt>
                      <c:pt idx="7671">
                        <c:v>0</c:v>
                      </c:pt>
                      <c:pt idx="7672">
                        <c:v>0</c:v>
                      </c:pt>
                      <c:pt idx="7673">
                        <c:v>0</c:v>
                      </c:pt>
                      <c:pt idx="7674">
                        <c:v>0</c:v>
                      </c:pt>
                      <c:pt idx="7675">
                        <c:v>0</c:v>
                      </c:pt>
                      <c:pt idx="7676">
                        <c:v>0</c:v>
                      </c:pt>
                      <c:pt idx="7677">
                        <c:v>0</c:v>
                      </c:pt>
                      <c:pt idx="7678">
                        <c:v>0</c:v>
                      </c:pt>
                      <c:pt idx="7679">
                        <c:v>0</c:v>
                      </c:pt>
                      <c:pt idx="7680">
                        <c:v>0</c:v>
                      </c:pt>
                      <c:pt idx="7681">
                        <c:v>0</c:v>
                      </c:pt>
                      <c:pt idx="7682">
                        <c:v>0</c:v>
                      </c:pt>
                      <c:pt idx="7683">
                        <c:v>0</c:v>
                      </c:pt>
                      <c:pt idx="7684">
                        <c:v>0</c:v>
                      </c:pt>
                      <c:pt idx="7685">
                        <c:v>0</c:v>
                      </c:pt>
                      <c:pt idx="7686">
                        <c:v>0</c:v>
                      </c:pt>
                      <c:pt idx="7687">
                        <c:v>0</c:v>
                      </c:pt>
                      <c:pt idx="7688">
                        <c:v>0</c:v>
                      </c:pt>
                      <c:pt idx="7689">
                        <c:v>0</c:v>
                      </c:pt>
                      <c:pt idx="7690">
                        <c:v>0</c:v>
                      </c:pt>
                      <c:pt idx="7691">
                        <c:v>0</c:v>
                      </c:pt>
                      <c:pt idx="7692">
                        <c:v>0</c:v>
                      </c:pt>
                      <c:pt idx="7693">
                        <c:v>0</c:v>
                      </c:pt>
                      <c:pt idx="7694">
                        <c:v>0</c:v>
                      </c:pt>
                      <c:pt idx="7695">
                        <c:v>0</c:v>
                      </c:pt>
                      <c:pt idx="7696">
                        <c:v>0</c:v>
                      </c:pt>
                      <c:pt idx="7697">
                        <c:v>0</c:v>
                      </c:pt>
                      <c:pt idx="7698">
                        <c:v>0</c:v>
                      </c:pt>
                      <c:pt idx="7699">
                        <c:v>0</c:v>
                      </c:pt>
                      <c:pt idx="7700">
                        <c:v>0</c:v>
                      </c:pt>
                      <c:pt idx="7701">
                        <c:v>0</c:v>
                      </c:pt>
                      <c:pt idx="7702">
                        <c:v>0</c:v>
                      </c:pt>
                      <c:pt idx="7703">
                        <c:v>0</c:v>
                      </c:pt>
                      <c:pt idx="7704">
                        <c:v>0</c:v>
                      </c:pt>
                      <c:pt idx="7705">
                        <c:v>0</c:v>
                      </c:pt>
                      <c:pt idx="7706">
                        <c:v>0</c:v>
                      </c:pt>
                      <c:pt idx="7707">
                        <c:v>0</c:v>
                      </c:pt>
                      <c:pt idx="7708">
                        <c:v>0</c:v>
                      </c:pt>
                      <c:pt idx="7709">
                        <c:v>0</c:v>
                      </c:pt>
                      <c:pt idx="7710">
                        <c:v>0</c:v>
                      </c:pt>
                      <c:pt idx="7711">
                        <c:v>0</c:v>
                      </c:pt>
                      <c:pt idx="7712">
                        <c:v>0</c:v>
                      </c:pt>
                      <c:pt idx="7713">
                        <c:v>0</c:v>
                      </c:pt>
                      <c:pt idx="7714">
                        <c:v>0</c:v>
                      </c:pt>
                      <c:pt idx="7715">
                        <c:v>0</c:v>
                      </c:pt>
                      <c:pt idx="7716">
                        <c:v>0</c:v>
                      </c:pt>
                      <c:pt idx="7717">
                        <c:v>0</c:v>
                      </c:pt>
                      <c:pt idx="7718">
                        <c:v>0</c:v>
                      </c:pt>
                      <c:pt idx="7719">
                        <c:v>0</c:v>
                      </c:pt>
                      <c:pt idx="7720">
                        <c:v>0</c:v>
                      </c:pt>
                      <c:pt idx="7721">
                        <c:v>0</c:v>
                      </c:pt>
                      <c:pt idx="7722">
                        <c:v>0</c:v>
                      </c:pt>
                      <c:pt idx="7723">
                        <c:v>0</c:v>
                      </c:pt>
                      <c:pt idx="7724">
                        <c:v>0</c:v>
                      </c:pt>
                      <c:pt idx="7725">
                        <c:v>0</c:v>
                      </c:pt>
                      <c:pt idx="7726">
                        <c:v>0</c:v>
                      </c:pt>
                      <c:pt idx="7727">
                        <c:v>0</c:v>
                      </c:pt>
                      <c:pt idx="7728">
                        <c:v>0</c:v>
                      </c:pt>
                      <c:pt idx="7729">
                        <c:v>0</c:v>
                      </c:pt>
                      <c:pt idx="7730">
                        <c:v>0</c:v>
                      </c:pt>
                      <c:pt idx="7731">
                        <c:v>0</c:v>
                      </c:pt>
                      <c:pt idx="7732">
                        <c:v>0</c:v>
                      </c:pt>
                      <c:pt idx="7733">
                        <c:v>0</c:v>
                      </c:pt>
                      <c:pt idx="7734">
                        <c:v>0</c:v>
                      </c:pt>
                      <c:pt idx="7735">
                        <c:v>0</c:v>
                      </c:pt>
                      <c:pt idx="7736">
                        <c:v>0</c:v>
                      </c:pt>
                      <c:pt idx="7737">
                        <c:v>0</c:v>
                      </c:pt>
                      <c:pt idx="7738">
                        <c:v>0</c:v>
                      </c:pt>
                      <c:pt idx="7739">
                        <c:v>0</c:v>
                      </c:pt>
                      <c:pt idx="7740">
                        <c:v>0</c:v>
                      </c:pt>
                      <c:pt idx="7741">
                        <c:v>0</c:v>
                      </c:pt>
                      <c:pt idx="7742">
                        <c:v>0</c:v>
                      </c:pt>
                      <c:pt idx="7743">
                        <c:v>0</c:v>
                      </c:pt>
                      <c:pt idx="7744">
                        <c:v>0</c:v>
                      </c:pt>
                      <c:pt idx="7745">
                        <c:v>0</c:v>
                      </c:pt>
                      <c:pt idx="7746">
                        <c:v>0</c:v>
                      </c:pt>
                      <c:pt idx="7747">
                        <c:v>0</c:v>
                      </c:pt>
                      <c:pt idx="7748">
                        <c:v>0</c:v>
                      </c:pt>
                      <c:pt idx="7749">
                        <c:v>0</c:v>
                      </c:pt>
                      <c:pt idx="7750">
                        <c:v>0</c:v>
                      </c:pt>
                      <c:pt idx="7751">
                        <c:v>0</c:v>
                      </c:pt>
                      <c:pt idx="7752">
                        <c:v>0</c:v>
                      </c:pt>
                      <c:pt idx="7753">
                        <c:v>0</c:v>
                      </c:pt>
                      <c:pt idx="7754">
                        <c:v>0</c:v>
                      </c:pt>
                      <c:pt idx="7755">
                        <c:v>0</c:v>
                      </c:pt>
                      <c:pt idx="7756">
                        <c:v>0</c:v>
                      </c:pt>
                      <c:pt idx="7757">
                        <c:v>0</c:v>
                      </c:pt>
                      <c:pt idx="7758">
                        <c:v>0</c:v>
                      </c:pt>
                      <c:pt idx="7759">
                        <c:v>0</c:v>
                      </c:pt>
                      <c:pt idx="7760">
                        <c:v>0</c:v>
                      </c:pt>
                      <c:pt idx="7761">
                        <c:v>0</c:v>
                      </c:pt>
                      <c:pt idx="7762">
                        <c:v>0</c:v>
                      </c:pt>
                      <c:pt idx="7763">
                        <c:v>0</c:v>
                      </c:pt>
                      <c:pt idx="7764">
                        <c:v>0</c:v>
                      </c:pt>
                      <c:pt idx="7765">
                        <c:v>0</c:v>
                      </c:pt>
                      <c:pt idx="7766">
                        <c:v>0</c:v>
                      </c:pt>
                      <c:pt idx="7767">
                        <c:v>0</c:v>
                      </c:pt>
                      <c:pt idx="7768">
                        <c:v>0</c:v>
                      </c:pt>
                      <c:pt idx="7769">
                        <c:v>0</c:v>
                      </c:pt>
                      <c:pt idx="7770">
                        <c:v>0</c:v>
                      </c:pt>
                      <c:pt idx="7771">
                        <c:v>0</c:v>
                      </c:pt>
                      <c:pt idx="7772">
                        <c:v>0</c:v>
                      </c:pt>
                      <c:pt idx="7773">
                        <c:v>0</c:v>
                      </c:pt>
                      <c:pt idx="7774">
                        <c:v>0</c:v>
                      </c:pt>
                      <c:pt idx="7775">
                        <c:v>0</c:v>
                      </c:pt>
                      <c:pt idx="7776">
                        <c:v>0</c:v>
                      </c:pt>
                      <c:pt idx="7777">
                        <c:v>0</c:v>
                      </c:pt>
                      <c:pt idx="7778">
                        <c:v>0</c:v>
                      </c:pt>
                      <c:pt idx="7779">
                        <c:v>0</c:v>
                      </c:pt>
                      <c:pt idx="7780">
                        <c:v>0</c:v>
                      </c:pt>
                      <c:pt idx="7781">
                        <c:v>0</c:v>
                      </c:pt>
                      <c:pt idx="7782">
                        <c:v>0</c:v>
                      </c:pt>
                      <c:pt idx="7783">
                        <c:v>0</c:v>
                      </c:pt>
                      <c:pt idx="7784">
                        <c:v>0</c:v>
                      </c:pt>
                      <c:pt idx="7785">
                        <c:v>0</c:v>
                      </c:pt>
                      <c:pt idx="7786">
                        <c:v>0</c:v>
                      </c:pt>
                      <c:pt idx="7787">
                        <c:v>0</c:v>
                      </c:pt>
                      <c:pt idx="7788">
                        <c:v>0</c:v>
                      </c:pt>
                      <c:pt idx="7789">
                        <c:v>0</c:v>
                      </c:pt>
                      <c:pt idx="7790">
                        <c:v>0</c:v>
                      </c:pt>
                      <c:pt idx="7791">
                        <c:v>0</c:v>
                      </c:pt>
                      <c:pt idx="7792">
                        <c:v>0</c:v>
                      </c:pt>
                      <c:pt idx="7793">
                        <c:v>0</c:v>
                      </c:pt>
                      <c:pt idx="7794">
                        <c:v>0</c:v>
                      </c:pt>
                      <c:pt idx="7795">
                        <c:v>0</c:v>
                      </c:pt>
                      <c:pt idx="7796">
                        <c:v>0</c:v>
                      </c:pt>
                      <c:pt idx="7797">
                        <c:v>0</c:v>
                      </c:pt>
                      <c:pt idx="7798">
                        <c:v>0</c:v>
                      </c:pt>
                      <c:pt idx="7799">
                        <c:v>0</c:v>
                      </c:pt>
                      <c:pt idx="7800">
                        <c:v>0</c:v>
                      </c:pt>
                      <c:pt idx="7801">
                        <c:v>0</c:v>
                      </c:pt>
                      <c:pt idx="7802">
                        <c:v>0</c:v>
                      </c:pt>
                      <c:pt idx="7803">
                        <c:v>0</c:v>
                      </c:pt>
                      <c:pt idx="7804">
                        <c:v>0</c:v>
                      </c:pt>
                      <c:pt idx="7805">
                        <c:v>0</c:v>
                      </c:pt>
                      <c:pt idx="7806">
                        <c:v>0</c:v>
                      </c:pt>
                      <c:pt idx="7807">
                        <c:v>0</c:v>
                      </c:pt>
                      <c:pt idx="7808">
                        <c:v>0</c:v>
                      </c:pt>
                      <c:pt idx="7809">
                        <c:v>0</c:v>
                      </c:pt>
                      <c:pt idx="7810">
                        <c:v>0</c:v>
                      </c:pt>
                      <c:pt idx="7811">
                        <c:v>0</c:v>
                      </c:pt>
                      <c:pt idx="7812">
                        <c:v>0</c:v>
                      </c:pt>
                      <c:pt idx="7813">
                        <c:v>0</c:v>
                      </c:pt>
                      <c:pt idx="7814">
                        <c:v>0</c:v>
                      </c:pt>
                      <c:pt idx="7815">
                        <c:v>0</c:v>
                      </c:pt>
                      <c:pt idx="7816">
                        <c:v>0</c:v>
                      </c:pt>
                      <c:pt idx="7817">
                        <c:v>0</c:v>
                      </c:pt>
                      <c:pt idx="7818">
                        <c:v>0</c:v>
                      </c:pt>
                      <c:pt idx="7819">
                        <c:v>0</c:v>
                      </c:pt>
                      <c:pt idx="7820">
                        <c:v>0</c:v>
                      </c:pt>
                      <c:pt idx="7821">
                        <c:v>0</c:v>
                      </c:pt>
                      <c:pt idx="7822">
                        <c:v>0</c:v>
                      </c:pt>
                      <c:pt idx="7823">
                        <c:v>0</c:v>
                      </c:pt>
                      <c:pt idx="7824">
                        <c:v>0</c:v>
                      </c:pt>
                      <c:pt idx="7825">
                        <c:v>0</c:v>
                      </c:pt>
                      <c:pt idx="7826">
                        <c:v>0</c:v>
                      </c:pt>
                      <c:pt idx="7827">
                        <c:v>0</c:v>
                      </c:pt>
                      <c:pt idx="7828">
                        <c:v>0</c:v>
                      </c:pt>
                      <c:pt idx="7829">
                        <c:v>0</c:v>
                      </c:pt>
                      <c:pt idx="7830">
                        <c:v>0</c:v>
                      </c:pt>
                      <c:pt idx="7831">
                        <c:v>0</c:v>
                      </c:pt>
                      <c:pt idx="7832">
                        <c:v>0</c:v>
                      </c:pt>
                      <c:pt idx="7833">
                        <c:v>0</c:v>
                      </c:pt>
                      <c:pt idx="7834">
                        <c:v>0</c:v>
                      </c:pt>
                      <c:pt idx="7835">
                        <c:v>0</c:v>
                      </c:pt>
                      <c:pt idx="7836">
                        <c:v>0</c:v>
                      </c:pt>
                      <c:pt idx="7837">
                        <c:v>0</c:v>
                      </c:pt>
                      <c:pt idx="7838">
                        <c:v>0</c:v>
                      </c:pt>
                      <c:pt idx="7839">
                        <c:v>0</c:v>
                      </c:pt>
                      <c:pt idx="7840">
                        <c:v>0</c:v>
                      </c:pt>
                      <c:pt idx="7841">
                        <c:v>0</c:v>
                      </c:pt>
                      <c:pt idx="7842">
                        <c:v>0</c:v>
                      </c:pt>
                      <c:pt idx="7843">
                        <c:v>0</c:v>
                      </c:pt>
                      <c:pt idx="7844">
                        <c:v>0</c:v>
                      </c:pt>
                      <c:pt idx="7845">
                        <c:v>0</c:v>
                      </c:pt>
                      <c:pt idx="7846">
                        <c:v>0</c:v>
                      </c:pt>
                      <c:pt idx="7847">
                        <c:v>0</c:v>
                      </c:pt>
                      <c:pt idx="7848">
                        <c:v>0</c:v>
                      </c:pt>
                      <c:pt idx="7849">
                        <c:v>0</c:v>
                      </c:pt>
                      <c:pt idx="7850">
                        <c:v>0</c:v>
                      </c:pt>
                      <c:pt idx="7851">
                        <c:v>0</c:v>
                      </c:pt>
                      <c:pt idx="7852">
                        <c:v>0</c:v>
                      </c:pt>
                      <c:pt idx="7853">
                        <c:v>0</c:v>
                      </c:pt>
                      <c:pt idx="7854">
                        <c:v>0</c:v>
                      </c:pt>
                      <c:pt idx="7855">
                        <c:v>0</c:v>
                      </c:pt>
                      <c:pt idx="7856">
                        <c:v>0</c:v>
                      </c:pt>
                      <c:pt idx="7857">
                        <c:v>0</c:v>
                      </c:pt>
                      <c:pt idx="7858">
                        <c:v>0</c:v>
                      </c:pt>
                      <c:pt idx="7859">
                        <c:v>0</c:v>
                      </c:pt>
                      <c:pt idx="7860">
                        <c:v>0</c:v>
                      </c:pt>
                      <c:pt idx="7861">
                        <c:v>0</c:v>
                      </c:pt>
                      <c:pt idx="7862">
                        <c:v>0</c:v>
                      </c:pt>
                      <c:pt idx="7863">
                        <c:v>0</c:v>
                      </c:pt>
                      <c:pt idx="7864">
                        <c:v>0</c:v>
                      </c:pt>
                      <c:pt idx="7865">
                        <c:v>0</c:v>
                      </c:pt>
                      <c:pt idx="7866">
                        <c:v>0</c:v>
                      </c:pt>
                      <c:pt idx="7867">
                        <c:v>0</c:v>
                      </c:pt>
                      <c:pt idx="7868">
                        <c:v>0</c:v>
                      </c:pt>
                      <c:pt idx="7869">
                        <c:v>0</c:v>
                      </c:pt>
                      <c:pt idx="7870">
                        <c:v>0</c:v>
                      </c:pt>
                      <c:pt idx="7871">
                        <c:v>0</c:v>
                      </c:pt>
                      <c:pt idx="7872">
                        <c:v>0</c:v>
                      </c:pt>
                      <c:pt idx="7873">
                        <c:v>0</c:v>
                      </c:pt>
                      <c:pt idx="7874">
                        <c:v>0</c:v>
                      </c:pt>
                      <c:pt idx="7875">
                        <c:v>0</c:v>
                      </c:pt>
                      <c:pt idx="7876">
                        <c:v>0</c:v>
                      </c:pt>
                      <c:pt idx="7877">
                        <c:v>0</c:v>
                      </c:pt>
                      <c:pt idx="7878">
                        <c:v>0</c:v>
                      </c:pt>
                      <c:pt idx="7879">
                        <c:v>0</c:v>
                      </c:pt>
                      <c:pt idx="7880">
                        <c:v>0</c:v>
                      </c:pt>
                      <c:pt idx="7881">
                        <c:v>0</c:v>
                      </c:pt>
                      <c:pt idx="7882">
                        <c:v>0</c:v>
                      </c:pt>
                      <c:pt idx="7883">
                        <c:v>0</c:v>
                      </c:pt>
                      <c:pt idx="7884">
                        <c:v>0</c:v>
                      </c:pt>
                      <c:pt idx="7885">
                        <c:v>0</c:v>
                      </c:pt>
                      <c:pt idx="7886">
                        <c:v>0</c:v>
                      </c:pt>
                      <c:pt idx="7887">
                        <c:v>0</c:v>
                      </c:pt>
                      <c:pt idx="7888">
                        <c:v>0</c:v>
                      </c:pt>
                      <c:pt idx="7889">
                        <c:v>0</c:v>
                      </c:pt>
                      <c:pt idx="7890">
                        <c:v>0</c:v>
                      </c:pt>
                      <c:pt idx="7891">
                        <c:v>0</c:v>
                      </c:pt>
                      <c:pt idx="7892">
                        <c:v>0</c:v>
                      </c:pt>
                      <c:pt idx="7893">
                        <c:v>0</c:v>
                      </c:pt>
                      <c:pt idx="7894">
                        <c:v>0</c:v>
                      </c:pt>
                      <c:pt idx="7895">
                        <c:v>0</c:v>
                      </c:pt>
                      <c:pt idx="7896">
                        <c:v>0</c:v>
                      </c:pt>
                      <c:pt idx="7897">
                        <c:v>0</c:v>
                      </c:pt>
                      <c:pt idx="7898">
                        <c:v>0</c:v>
                      </c:pt>
                      <c:pt idx="7899">
                        <c:v>0</c:v>
                      </c:pt>
                      <c:pt idx="7900">
                        <c:v>0</c:v>
                      </c:pt>
                      <c:pt idx="7901">
                        <c:v>0</c:v>
                      </c:pt>
                      <c:pt idx="7902">
                        <c:v>0</c:v>
                      </c:pt>
                      <c:pt idx="7903">
                        <c:v>0</c:v>
                      </c:pt>
                      <c:pt idx="7904">
                        <c:v>0</c:v>
                      </c:pt>
                      <c:pt idx="7905">
                        <c:v>0</c:v>
                      </c:pt>
                      <c:pt idx="7906">
                        <c:v>0</c:v>
                      </c:pt>
                      <c:pt idx="7907">
                        <c:v>0</c:v>
                      </c:pt>
                      <c:pt idx="7908">
                        <c:v>0</c:v>
                      </c:pt>
                      <c:pt idx="7909">
                        <c:v>0</c:v>
                      </c:pt>
                      <c:pt idx="7910">
                        <c:v>0</c:v>
                      </c:pt>
                      <c:pt idx="7911">
                        <c:v>0</c:v>
                      </c:pt>
                      <c:pt idx="7912">
                        <c:v>0</c:v>
                      </c:pt>
                      <c:pt idx="7913">
                        <c:v>0</c:v>
                      </c:pt>
                      <c:pt idx="7914">
                        <c:v>0</c:v>
                      </c:pt>
                      <c:pt idx="7915">
                        <c:v>0</c:v>
                      </c:pt>
                      <c:pt idx="7916">
                        <c:v>0</c:v>
                      </c:pt>
                      <c:pt idx="7917">
                        <c:v>0</c:v>
                      </c:pt>
                      <c:pt idx="7918">
                        <c:v>0</c:v>
                      </c:pt>
                      <c:pt idx="7919">
                        <c:v>0</c:v>
                      </c:pt>
                      <c:pt idx="7920">
                        <c:v>0</c:v>
                      </c:pt>
                      <c:pt idx="7921">
                        <c:v>0</c:v>
                      </c:pt>
                      <c:pt idx="7922">
                        <c:v>0</c:v>
                      </c:pt>
                      <c:pt idx="7923">
                        <c:v>0</c:v>
                      </c:pt>
                      <c:pt idx="7924">
                        <c:v>0</c:v>
                      </c:pt>
                      <c:pt idx="7925">
                        <c:v>0</c:v>
                      </c:pt>
                      <c:pt idx="7926">
                        <c:v>0</c:v>
                      </c:pt>
                      <c:pt idx="7927">
                        <c:v>0</c:v>
                      </c:pt>
                      <c:pt idx="7928">
                        <c:v>0</c:v>
                      </c:pt>
                      <c:pt idx="7929">
                        <c:v>0</c:v>
                      </c:pt>
                      <c:pt idx="7930">
                        <c:v>0</c:v>
                      </c:pt>
                      <c:pt idx="7931">
                        <c:v>0</c:v>
                      </c:pt>
                      <c:pt idx="7932">
                        <c:v>0</c:v>
                      </c:pt>
                      <c:pt idx="7933">
                        <c:v>0</c:v>
                      </c:pt>
                      <c:pt idx="7934">
                        <c:v>0</c:v>
                      </c:pt>
                      <c:pt idx="7935">
                        <c:v>0</c:v>
                      </c:pt>
                      <c:pt idx="7936">
                        <c:v>0</c:v>
                      </c:pt>
                      <c:pt idx="7937">
                        <c:v>0</c:v>
                      </c:pt>
                      <c:pt idx="7938">
                        <c:v>0</c:v>
                      </c:pt>
                      <c:pt idx="7939">
                        <c:v>0</c:v>
                      </c:pt>
                      <c:pt idx="7940">
                        <c:v>0</c:v>
                      </c:pt>
                      <c:pt idx="7941">
                        <c:v>0</c:v>
                      </c:pt>
                      <c:pt idx="7942">
                        <c:v>0</c:v>
                      </c:pt>
                      <c:pt idx="7943">
                        <c:v>0</c:v>
                      </c:pt>
                      <c:pt idx="7944">
                        <c:v>0</c:v>
                      </c:pt>
                      <c:pt idx="7945">
                        <c:v>0</c:v>
                      </c:pt>
                      <c:pt idx="7946">
                        <c:v>0</c:v>
                      </c:pt>
                      <c:pt idx="7947">
                        <c:v>0</c:v>
                      </c:pt>
                      <c:pt idx="7948">
                        <c:v>0</c:v>
                      </c:pt>
                      <c:pt idx="7949">
                        <c:v>0</c:v>
                      </c:pt>
                      <c:pt idx="7950">
                        <c:v>0</c:v>
                      </c:pt>
                      <c:pt idx="7951">
                        <c:v>0</c:v>
                      </c:pt>
                      <c:pt idx="7952">
                        <c:v>0</c:v>
                      </c:pt>
                      <c:pt idx="7953">
                        <c:v>0</c:v>
                      </c:pt>
                      <c:pt idx="7954">
                        <c:v>0</c:v>
                      </c:pt>
                      <c:pt idx="7955">
                        <c:v>0</c:v>
                      </c:pt>
                      <c:pt idx="7956">
                        <c:v>0</c:v>
                      </c:pt>
                      <c:pt idx="7957">
                        <c:v>0</c:v>
                      </c:pt>
                      <c:pt idx="7958">
                        <c:v>0</c:v>
                      </c:pt>
                      <c:pt idx="7959">
                        <c:v>0</c:v>
                      </c:pt>
                      <c:pt idx="7960">
                        <c:v>0</c:v>
                      </c:pt>
                      <c:pt idx="7961">
                        <c:v>0</c:v>
                      </c:pt>
                      <c:pt idx="7962">
                        <c:v>0</c:v>
                      </c:pt>
                      <c:pt idx="7963">
                        <c:v>0</c:v>
                      </c:pt>
                      <c:pt idx="7964">
                        <c:v>0</c:v>
                      </c:pt>
                      <c:pt idx="7965">
                        <c:v>0</c:v>
                      </c:pt>
                      <c:pt idx="7966">
                        <c:v>0</c:v>
                      </c:pt>
                      <c:pt idx="7967">
                        <c:v>0</c:v>
                      </c:pt>
                      <c:pt idx="7968">
                        <c:v>0</c:v>
                      </c:pt>
                      <c:pt idx="7969">
                        <c:v>0</c:v>
                      </c:pt>
                      <c:pt idx="7970">
                        <c:v>0</c:v>
                      </c:pt>
                      <c:pt idx="7971">
                        <c:v>0</c:v>
                      </c:pt>
                      <c:pt idx="7972">
                        <c:v>0</c:v>
                      </c:pt>
                      <c:pt idx="7973">
                        <c:v>0</c:v>
                      </c:pt>
                      <c:pt idx="7974">
                        <c:v>0</c:v>
                      </c:pt>
                      <c:pt idx="7975">
                        <c:v>0</c:v>
                      </c:pt>
                      <c:pt idx="7976">
                        <c:v>0</c:v>
                      </c:pt>
                      <c:pt idx="7977">
                        <c:v>0</c:v>
                      </c:pt>
                      <c:pt idx="7978">
                        <c:v>0</c:v>
                      </c:pt>
                      <c:pt idx="7979">
                        <c:v>0</c:v>
                      </c:pt>
                      <c:pt idx="7980">
                        <c:v>0</c:v>
                      </c:pt>
                      <c:pt idx="7981">
                        <c:v>0</c:v>
                      </c:pt>
                      <c:pt idx="7982">
                        <c:v>0</c:v>
                      </c:pt>
                      <c:pt idx="7983">
                        <c:v>0</c:v>
                      </c:pt>
                      <c:pt idx="7984">
                        <c:v>0</c:v>
                      </c:pt>
                      <c:pt idx="7985">
                        <c:v>0</c:v>
                      </c:pt>
                      <c:pt idx="7986">
                        <c:v>0</c:v>
                      </c:pt>
                      <c:pt idx="7987">
                        <c:v>0</c:v>
                      </c:pt>
                      <c:pt idx="7988">
                        <c:v>0</c:v>
                      </c:pt>
                      <c:pt idx="7989">
                        <c:v>0</c:v>
                      </c:pt>
                      <c:pt idx="7990">
                        <c:v>0</c:v>
                      </c:pt>
                      <c:pt idx="7991">
                        <c:v>0</c:v>
                      </c:pt>
                      <c:pt idx="7992">
                        <c:v>0</c:v>
                      </c:pt>
                      <c:pt idx="7993">
                        <c:v>0</c:v>
                      </c:pt>
                      <c:pt idx="7994">
                        <c:v>0</c:v>
                      </c:pt>
                      <c:pt idx="7995">
                        <c:v>0</c:v>
                      </c:pt>
                      <c:pt idx="7996">
                        <c:v>0</c:v>
                      </c:pt>
                      <c:pt idx="7997">
                        <c:v>0</c:v>
                      </c:pt>
                      <c:pt idx="7998">
                        <c:v>0</c:v>
                      </c:pt>
                      <c:pt idx="7999">
                        <c:v>0</c:v>
                      </c:pt>
                      <c:pt idx="8000">
                        <c:v>0</c:v>
                      </c:pt>
                      <c:pt idx="8001">
                        <c:v>0</c:v>
                      </c:pt>
                      <c:pt idx="8002">
                        <c:v>0</c:v>
                      </c:pt>
                      <c:pt idx="8003">
                        <c:v>0</c:v>
                      </c:pt>
                      <c:pt idx="8004">
                        <c:v>0</c:v>
                      </c:pt>
                      <c:pt idx="8005">
                        <c:v>0</c:v>
                      </c:pt>
                      <c:pt idx="8006">
                        <c:v>0</c:v>
                      </c:pt>
                      <c:pt idx="8007">
                        <c:v>0</c:v>
                      </c:pt>
                      <c:pt idx="8008">
                        <c:v>0</c:v>
                      </c:pt>
                      <c:pt idx="8009">
                        <c:v>0</c:v>
                      </c:pt>
                      <c:pt idx="8010">
                        <c:v>0</c:v>
                      </c:pt>
                      <c:pt idx="8011">
                        <c:v>0</c:v>
                      </c:pt>
                      <c:pt idx="8012">
                        <c:v>0</c:v>
                      </c:pt>
                      <c:pt idx="8013">
                        <c:v>0</c:v>
                      </c:pt>
                      <c:pt idx="8014">
                        <c:v>0</c:v>
                      </c:pt>
                      <c:pt idx="8015">
                        <c:v>0</c:v>
                      </c:pt>
                      <c:pt idx="8016">
                        <c:v>0</c:v>
                      </c:pt>
                      <c:pt idx="8017">
                        <c:v>0</c:v>
                      </c:pt>
                      <c:pt idx="8018">
                        <c:v>0</c:v>
                      </c:pt>
                      <c:pt idx="8019">
                        <c:v>0</c:v>
                      </c:pt>
                      <c:pt idx="8020">
                        <c:v>0</c:v>
                      </c:pt>
                      <c:pt idx="8021">
                        <c:v>0</c:v>
                      </c:pt>
                      <c:pt idx="8022">
                        <c:v>0</c:v>
                      </c:pt>
                      <c:pt idx="8023">
                        <c:v>0</c:v>
                      </c:pt>
                      <c:pt idx="8024">
                        <c:v>0</c:v>
                      </c:pt>
                      <c:pt idx="8025">
                        <c:v>0</c:v>
                      </c:pt>
                      <c:pt idx="8026">
                        <c:v>0</c:v>
                      </c:pt>
                      <c:pt idx="8027">
                        <c:v>0</c:v>
                      </c:pt>
                      <c:pt idx="8028">
                        <c:v>0</c:v>
                      </c:pt>
                      <c:pt idx="8029">
                        <c:v>0</c:v>
                      </c:pt>
                      <c:pt idx="8030">
                        <c:v>0</c:v>
                      </c:pt>
                      <c:pt idx="8031">
                        <c:v>0</c:v>
                      </c:pt>
                      <c:pt idx="8032">
                        <c:v>0</c:v>
                      </c:pt>
                      <c:pt idx="8033">
                        <c:v>0</c:v>
                      </c:pt>
                      <c:pt idx="8034">
                        <c:v>0</c:v>
                      </c:pt>
                      <c:pt idx="8035">
                        <c:v>0</c:v>
                      </c:pt>
                      <c:pt idx="8036">
                        <c:v>0</c:v>
                      </c:pt>
                      <c:pt idx="8037">
                        <c:v>0</c:v>
                      </c:pt>
                      <c:pt idx="8038">
                        <c:v>0</c:v>
                      </c:pt>
                      <c:pt idx="8039">
                        <c:v>0</c:v>
                      </c:pt>
                      <c:pt idx="8040">
                        <c:v>0</c:v>
                      </c:pt>
                      <c:pt idx="8041">
                        <c:v>0</c:v>
                      </c:pt>
                      <c:pt idx="8042">
                        <c:v>0</c:v>
                      </c:pt>
                      <c:pt idx="8043">
                        <c:v>0</c:v>
                      </c:pt>
                      <c:pt idx="8044">
                        <c:v>0</c:v>
                      </c:pt>
                      <c:pt idx="8045">
                        <c:v>0</c:v>
                      </c:pt>
                      <c:pt idx="8046">
                        <c:v>0</c:v>
                      </c:pt>
                      <c:pt idx="8047">
                        <c:v>0</c:v>
                      </c:pt>
                      <c:pt idx="8048">
                        <c:v>0</c:v>
                      </c:pt>
                      <c:pt idx="8049">
                        <c:v>0</c:v>
                      </c:pt>
                      <c:pt idx="8050">
                        <c:v>0</c:v>
                      </c:pt>
                      <c:pt idx="8051">
                        <c:v>0</c:v>
                      </c:pt>
                      <c:pt idx="8052">
                        <c:v>0</c:v>
                      </c:pt>
                      <c:pt idx="8053">
                        <c:v>0</c:v>
                      </c:pt>
                      <c:pt idx="8054">
                        <c:v>0</c:v>
                      </c:pt>
                      <c:pt idx="8055">
                        <c:v>0</c:v>
                      </c:pt>
                      <c:pt idx="8056">
                        <c:v>0</c:v>
                      </c:pt>
                      <c:pt idx="8057">
                        <c:v>0</c:v>
                      </c:pt>
                      <c:pt idx="8058">
                        <c:v>0</c:v>
                      </c:pt>
                      <c:pt idx="8059">
                        <c:v>0</c:v>
                      </c:pt>
                      <c:pt idx="8060">
                        <c:v>0</c:v>
                      </c:pt>
                      <c:pt idx="8061">
                        <c:v>0</c:v>
                      </c:pt>
                      <c:pt idx="8062">
                        <c:v>0</c:v>
                      </c:pt>
                      <c:pt idx="8063">
                        <c:v>0</c:v>
                      </c:pt>
                      <c:pt idx="8064">
                        <c:v>0</c:v>
                      </c:pt>
                      <c:pt idx="8065">
                        <c:v>0</c:v>
                      </c:pt>
                      <c:pt idx="8066">
                        <c:v>0</c:v>
                      </c:pt>
                      <c:pt idx="8067">
                        <c:v>0</c:v>
                      </c:pt>
                      <c:pt idx="8068">
                        <c:v>0</c:v>
                      </c:pt>
                      <c:pt idx="8069">
                        <c:v>0</c:v>
                      </c:pt>
                      <c:pt idx="8070">
                        <c:v>0</c:v>
                      </c:pt>
                      <c:pt idx="8071">
                        <c:v>0</c:v>
                      </c:pt>
                      <c:pt idx="8072">
                        <c:v>0</c:v>
                      </c:pt>
                      <c:pt idx="8073">
                        <c:v>0</c:v>
                      </c:pt>
                      <c:pt idx="8074">
                        <c:v>0</c:v>
                      </c:pt>
                      <c:pt idx="8075">
                        <c:v>0</c:v>
                      </c:pt>
                      <c:pt idx="8076">
                        <c:v>0</c:v>
                      </c:pt>
                      <c:pt idx="8077">
                        <c:v>0</c:v>
                      </c:pt>
                      <c:pt idx="8078">
                        <c:v>0</c:v>
                      </c:pt>
                      <c:pt idx="8079">
                        <c:v>0</c:v>
                      </c:pt>
                      <c:pt idx="8080">
                        <c:v>0</c:v>
                      </c:pt>
                      <c:pt idx="8081">
                        <c:v>0</c:v>
                      </c:pt>
                      <c:pt idx="8082">
                        <c:v>0</c:v>
                      </c:pt>
                      <c:pt idx="8083">
                        <c:v>0</c:v>
                      </c:pt>
                      <c:pt idx="8084">
                        <c:v>0</c:v>
                      </c:pt>
                      <c:pt idx="8085">
                        <c:v>0</c:v>
                      </c:pt>
                      <c:pt idx="8086">
                        <c:v>0</c:v>
                      </c:pt>
                      <c:pt idx="8087">
                        <c:v>0</c:v>
                      </c:pt>
                      <c:pt idx="8088">
                        <c:v>0</c:v>
                      </c:pt>
                      <c:pt idx="8089">
                        <c:v>0</c:v>
                      </c:pt>
                      <c:pt idx="8090">
                        <c:v>0</c:v>
                      </c:pt>
                      <c:pt idx="8091">
                        <c:v>0</c:v>
                      </c:pt>
                      <c:pt idx="8092">
                        <c:v>0</c:v>
                      </c:pt>
                      <c:pt idx="8093">
                        <c:v>0</c:v>
                      </c:pt>
                      <c:pt idx="8094">
                        <c:v>0</c:v>
                      </c:pt>
                      <c:pt idx="8095">
                        <c:v>0</c:v>
                      </c:pt>
                      <c:pt idx="8096">
                        <c:v>0</c:v>
                      </c:pt>
                      <c:pt idx="8097">
                        <c:v>0</c:v>
                      </c:pt>
                      <c:pt idx="8098">
                        <c:v>0</c:v>
                      </c:pt>
                      <c:pt idx="8099">
                        <c:v>0</c:v>
                      </c:pt>
                      <c:pt idx="8100">
                        <c:v>0</c:v>
                      </c:pt>
                      <c:pt idx="8101">
                        <c:v>0</c:v>
                      </c:pt>
                      <c:pt idx="8102">
                        <c:v>0</c:v>
                      </c:pt>
                      <c:pt idx="8103">
                        <c:v>0</c:v>
                      </c:pt>
                      <c:pt idx="8104">
                        <c:v>0</c:v>
                      </c:pt>
                      <c:pt idx="8105">
                        <c:v>0</c:v>
                      </c:pt>
                      <c:pt idx="8106">
                        <c:v>0</c:v>
                      </c:pt>
                      <c:pt idx="8107">
                        <c:v>0</c:v>
                      </c:pt>
                      <c:pt idx="8108">
                        <c:v>0</c:v>
                      </c:pt>
                      <c:pt idx="8109">
                        <c:v>0</c:v>
                      </c:pt>
                      <c:pt idx="8110">
                        <c:v>0</c:v>
                      </c:pt>
                      <c:pt idx="8111">
                        <c:v>0</c:v>
                      </c:pt>
                      <c:pt idx="8112">
                        <c:v>0</c:v>
                      </c:pt>
                      <c:pt idx="8113">
                        <c:v>0</c:v>
                      </c:pt>
                      <c:pt idx="8114">
                        <c:v>0</c:v>
                      </c:pt>
                      <c:pt idx="8115">
                        <c:v>0</c:v>
                      </c:pt>
                      <c:pt idx="8116">
                        <c:v>0</c:v>
                      </c:pt>
                      <c:pt idx="8117">
                        <c:v>0</c:v>
                      </c:pt>
                      <c:pt idx="8118">
                        <c:v>0</c:v>
                      </c:pt>
                      <c:pt idx="8119">
                        <c:v>0</c:v>
                      </c:pt>
                      <c:pt idx="8120">
                        <c:v>0</c:v>
                      </c:pt>
                      <c:pt idx="8121">
                        <c:v>0</c:v>
                      </c:pt>
                      <c:pt idx="8122">
                        <c:v>0</c:v>
                      </c:pt>
                      <c:pt idx="8123">
                        <c:v>0</c:v>
                      </c:pt>
                      <c:pt idx="8124">
                        <c:v>0</c:v>
                      </c:pt>
                      <c:pt idx="8125">
                        <c:v>0</c:v>
                      </c:pt>
                      <c:pt idx="8126">
                        <c:v>0</c:v>
                      </c:pt>
                      <c:pt idx="8127">
                        <c:v>0</c:v>
                      </c:pt>
                      <c:pt idx="8128">
                        <c:v>0</c:v>
                      </c:pt>
                      <c:pt idx="8129">
                        <c:v>0</c:v>
                      </c:pt>
                      <c:pt idx="8130">
                        <c:v>0</c:v>
                      </c:pt>
                      <c:pt idx="8131">
                        <c:v>0</c:v>
                      </c:pt>
                      <c:pt idx="8132">
                        <c:v>0</c:v>
                      </c:pt>
                      <c:pt idx="8133">
                        <c:v>0</c:v>
                      </c:pt>
                      <c:pt idx="8134">
                        <c:v>0</c:v>
                      </c:pt>
                      <c:pt idx="8135">
                        <c:v>0</c:v>
                      </c:pt>
                      <c:pt idx="8136">
                        <c:v>0</c:v>
                      </c:pt>
                      <c:pt idx="8137">
                        <c:v>0</c:v>
                      </c:pt>
                      <c:pt idx="8138">
                        <c:v>0</c:v>
                      </c:pt>
                      <c:pt idx="8139">
                        <c:v>0</c:v>
                      </c:pt>
                      <c:pt idx="8140">
                        <c:v>0</c:v>
                      </c:pt>
                      <c:pt idx="8141">
                        <c:v>0</c:v>
                      </c:pt>
                      <c:pt idx="8142">
                        <c:v>0</c:v>
                      </c:pt>
                      <c:pt idx="8143">
                        <c:v>0</c:v>
                      </c:pt>
                      <c:pt idx="8144">
                        <c:v>0</c:v>
                      </c:pt>
                      <c:pt idx="8145">
                        <c:v>0</c:v>
                      </c:pt>
                      <c:pt idx="8146">
                        <c:v>0</c:v>
                      </c:pt>
                      <c:pt idx="8147">
                        <c:v>0</c:v>
                      </c:pt>
                      <c:pt idx="8148">
                        <c:v>0</c:v>
                      </c:pt>
                      <c:pt idx="8149">
                        <c:v>0</c:v>
                      </c:pt>
                      <c:pt idx="8150">
                        <c:v>0</c:v>
                      </c:pt>
                      <c:pt idx="8151">
                        <c:v>0</c:v>
                      </c:pt>
                      <c:pt idx="8152">
                        <c:v>0</c:v>
                      </c:pt>
                      <c:pt idx="8153">
                        <c:v>0</c:v>
                      </c:pt>
                      <c:pt idx="8154">
                        <c:v>0</c:v>
                      </c:pt>
                      <c:pt idx="8155">
                        <c:v>0</c:v>
                      </c:pt>
                      <c:pt idx="8156">
                        <c:v>0</c:v>
                      </c:pt>
                      <c:pt idx="8157">
                        <c:v>0</c:v>
                      </c:pt>
                      <c:pt idx="8158">
                        <c:v>0</c:v>
                      </c:pt>
                      <c:pt idx="8159">
                        <c:v>0</c:v>
                      </c:pt>
                      <c:pt idx="8160">
                        <c:v>0</c:v>
                      </c:pt>
                      <c:pt idx="8161">
                        <c:v>0</c:v>
                      </c:pt>
                      <c:pt idx="8162">
                        <c:v>0</c:v>
                      </c:pt>
                      <c:pt idx="8163">
                        <c:v>0</c:v>
                      </c:pt>
                      <c:pt idx="8164">
                        <c:v>0</c:v>
                      </c:pt>
                      <c:pt idx="8165">
                        <c:v>0</c:v>
                      </c:pt>
                      <c:pt idx="8166">
                        <c:v>0</c:v>
                      </c:pt>
                      <c:pt idx="8167">
                        <c:v>0</c:v>
                      </c:pt>
                      <c:pt idx="8168">
                        <c:v>0</c:v>
                      </c:pt>
                      <c:pt idx="8169">
                        <c:v>0</c:v>
                      </c:pt>
                      <c:pt idx="8170">
                        <c:v>0</c:v>
                      </c:pt>
                      <c:pt idx="8171">
                        <c:v>0</c:v>
                      </c:pt>
                      <c:pt idx="8172">
                        <c:v>0</c:v>
                      </c:pt>
                      <c:pt idx="8173">
                        <c:v>0</c:v>
                      </c:pt>
                      <c:pt idx="8174">
                        <c:v>0</c:v>
                      </c:pt>
                      <c:pt idx="8175">
                        <c:v>0</c:v>
                      </c:pt>
                      <c:pt idx="8176">
                        <c:v>0</c:v>
                      </c:pt>
                      <c:pt idx="8177">
                        <c:v>0</c:v>
                      </c:pt>
                      <c:pt idx="8178">
                        <c:v>0</c:v>
                      </c:pt>
                      <c:pt idx="8179">
                        <c:v>0</c:v>
                      </c:pt>
                      <c:pt idx="8180">
                        <c:v>0</c:v>
                      </c:pt>
                      <c:pt idx="8181">
                        <c:v>0</c:v>
                      </c:pt>
                      <c:pt idx="8182">
                        <c:v>0</c:v>
                      </c:pt>
                      <c:pt idx="8183">
                        <c:v>0</c:v>
                      </c:pt>
                      <c:pt idx="8184">
                        <c:v>0</c:v>
                      </c:pt>
                      <c:pt idx="8185">
                        <c:v>0</c:v>
                      </c:pt>
                      <c:pt idx="8186">
                        <c:v>0</c:v>
                      </c:pt>
                      <c:pt idx="8187">
                        <c:v>0</c:v>
                      </c:pt>
                      <c:pt idx="8188">
                        <c:v>0</c:v>
                      </c:pt>
                      <c:pt idx="8189">
                        <c:v>0</c:v>
                      </c:pt>
                      <c:pt idx="8190">
                        <c:v>0</c:v>
                      </c:pt>
                      <c:pt idx="8191">
                        <c:v>0</c:v>
                      </c:pt>
                      <c:pt idx="8192">
                        <c:v>0</c:v>
                      </c:pt>
                      <c:pt idx="8193">
                        <c:v>0</c:v>
                      </c:pt>
                      <c:pt idx="8194">
                        <c:v>0</c:v>
                      </c:pt>
                      <c:pt idx="8195">
                        <c:v>0</c:v>
                      </c:pt>
                      <c:pt idx="8196">
                        <c:v>0</c:v>
                      </c:pt>
                      <c:pt idx="8197">
                        <c:v>0</c:v>
                      </c:pt>
                      <c:pt idx="8198">
                        <c:v>0</c:v>
                      </c:pt>
                      <c:pt idx="8199">
                        <c:v>0</c:v>
                      </c:pt>
                      <c:pt idx="8200">
                        <c:v>0</c:v>
                      </c:pt>
                      <c:pt idx="8201">
                        <c:v>0</c:v>
                      </c:pt>
                      <c:pt idx="8202">
                        <c:v>0</c:v>
                      </c:pt>
                      <c:pt idx="8203">
                        <c:v>0</c:v>
                      </c:pt>
                      <c:pt idx="8204">
                        <c:v>0</c:v>
                      </c:pt>
                      <c:pt idx="8205">
                        <c:v>0</c:v>
                      </c:pt>
                      <c:pt idx="8206">
                        <c:v>0</c:v>
                      </c:pt>
                      <c:pt idx="8207">
                        <c:v>0</c:v>
                      </c:pt>
                      <c:pt idx="8208">
                        <c:v>0</c:v>
                      </c:pt>
                      <c:pt idx="8209">
                        <c:v>0</c:v>
                      </c:pt>
                      <c:pt idx="8210">
                        <c:v>0</c:v>
                      </c:pt>
                      <c:pt idx="8211">
                        <c:v>0</c:v>
                      </c:pt>
                      <c:pt idx="8212">
                        <c:v>0</c:v>
                      </c:pt>
                      <c:pt idx="8213">
                        <c:v>0</c:v>
                      </c:pt>
                      <c:pt idx="8214">
                        <c:v>0</c:v>
                      </c:pt>
                      <c:pt idx="8215">
                        <c:v>0</c:v>
                      </c:pt>
                      <c:pt idx="8216">
                        <c:v>0</c:v>
                      </c:pt>
                      <c:pt idx="8217">
                        <c:v>0</c:v>
                      </c:pt>
                      <c:pt idx="8218">
                        <c:v>0</c:v>
                      </c:pt>
                      <c:pt idx="8219">
                        <c:v>0</c:v>
                      </c:pt>
                      <c:pt idx="8220">
                        <c:v>0</c:v>
                      </c:pt>
                      <c:pt idx="8221">
                        <c:v>0</c:v>
                      </c:pt>
                      <c:pt idx="8222">
                        <c:v>0</c:v>
                      </c:pt>
                      <c:pt idx="8223">
                        <c:v>0</c:v>
                      </c:pt>
                      <c:pt idx="8224">
                        <c:v>0</c:v>
                      </c:pt>
                      <c:pt idx="8225">
                        <c:v>0</c:v>
                      </c:pt>
                      <c:pt idx="8226">
                        <c:v>0</c:v>
                      </c:pt>
                      <c:pt idx="8227">
                        <c:v>0</c:v>
                      </c:pt>
                      <c:pt idx="8228">
                        <c:v>0</c:v>
                      </c:pt>
                      <c:pt idx="8229">
                        <c:v>0</c:v>
                      </c:pt>
                      <c:pt idx="8230">
                        <c:v>0</c:v>
                      </c:pt>
                      <c:pt idx="8231">
                        <c:v>0</c:v>
                      </c:pt>
                      <c:pt idx="8232">
                        <c:v>0</c:v>
                      </c:pt>
                      <c:pt idx="8233">
                        <c:v>0</c:v>
                      </c:pt>
                      <c:pt idx="8234">
                        <c:v>0</c:v>
                      </c:pt>
                      <c:pt idx="8235">
                        <c:v>0</c:v>
                      </c:pt>
                      <c:pt idx="8236">
                        <c:v>0</c:v>
                      </c:pt>
                      <c:pt idx="8237">
                        <c:v>0</c:v>
                      </c:pt>
                      <c:pt idx="8238">
                        <c:v>0</c:v>
                      </c:pt>
                      <c:pt idx="8239">
                        <c:v>0</c:v>
                      </c:pt>
                      <c:pt idx="8240">
                        <c:v>0</c:v>
                      </c:pt>
                      <c:pt idx="8241">
                        <c:v>0</c:v>
                      </c:pt>
                      <c:pt idx="8242">
                        <c:v>0</c:v>
                      </c:pt>
                      <c:pt idx="8243">
                        <c:v>0</c:v>
                      </c:pt>
                      <c:pt idx="8244">
                        <c:v>0</c:v>
                      </c:pt>
                      <c:pt idx="8245">
                        <c:v>0</c:v>
                      </c:pt>
                      <c:pt idx="8246">
                        <c:v>0</c:v>
                      </c:pt>
                      <c:pt idx="8247">
                        <c:v>0</c:v>
                      </c:pt>
                      <c:pt idx="8248">
                        <c:v>0</c:v>
                      </c:pt>
                      <c:pt idx="8249">
                        <c:v>0</c:v>
                      </c:pt>
                      <c:pt idx="8250">
                        <c:v>0</c:v>
                      </c:pt>
                      <c:pt idx="8251">
                        <c:v>0</c:v>
                      </c:pt>
                      <c:pt idx="8252">
                        <c:v>0</c:v>
                      </c:pt>
                      <c:pt idx="8253">
                        <c:v>0</c:v>
                      </c:pt>
                      <c:pt idx="8254">
                        <c:v>0</c:v>
                      </c:pt>
                      <c:pt idx="8255">
                        <c:v>0</c:v>
                      </c:pt>
                      <c:pt idx="8256">
                        <c:v>0</c:v>
                      </c:pt>
                      <c:pt idx="8257">
                        <c:v>0</c:v>
                      </c:pt>
                      <c:pt idx="8258">
                        <c:v>0</c:v>
                      </c:pt>
                      <c:pt idx="8259">
                        <c:v>0</c:v>
                      </c:pt>
                      <c:pt idx="8260">
                        <c:v>0</c:v>
                      </c:pt>
                      <c:pt idx="8261">
                        <c:v>0</c:v>
                      </c:pt>
                      <c:pt idx="8262">
                        <c:v>0</c:v>
                      </c:pt>
                      <c:pt idx="8263">
                        <c:v>0</c:v>
                      </c:pt>
                      <c:pt idx="8264">
                        <c:v>0</c:v>
                      </c:pt>
                      <c:pt idx="8265">
                        <c:v>0</c:v>
                      </c:pt>
                      <c:pt idx="8266">
                        <c:v>0</c:v>
                      </c:pt>
                      <c:pt idx="8267">
                        <c:v>0</c:v>
                      </c:pt>
                      <c:pt idx="8268">
                        <c:v>0</c:v>
                      </c:pt>
                      <c:pt idx="8269">
                        <c:v>0</c:v>
                      </c:pt>
                      <c:pt idx="8270">
                        <c:v>0</c:v>
                      </c:pt>
                      <c:pt idx="8271">
                        <c:v>0</c:v>
                      </c:pt>
                      <c:pt idx="8272">
                        <c:v>0</c:v>
                      </c:pt>
                      <c:pt idx="8273">
                        <c:v>0</c:v>
                      </c:pt>
                      <c:pt idx="8274">
                        <c:v>0</c:v>
                      </c:pt>
                      <c:pt idx="8275">
                        <c:v>0</c:v>
                      </c:pt>
                      <c:pt idx="8276">
                        <c:v>0</c:v>
                      </c:pt>
                      <c:pt idx="8277">
                        <c:v>0</c:v>
                      </c:pt>
                      <c:pt idx="8278">
                        <c:v>0</c:v>
                      </c:pt>
                      <c:pt idx="8279">
                        <c:v>0</c:v>
                      </c:pt>
                      <c:pt idx="8280">
                        <c:v>0</c:v>
                      </c:pt>
                      <c:pt idx="8281">
                        <c:v>0</c:v>
                      </c:pt>
                      <c:pt idx="8282">
                        <c:v>0</c:v>
                      </c:pt>
                      <c:pt idx="8283">
                        <c:v>0</c:v>
                      </c:pt>
                      <c:pt idx="8284">
                        <c:v>0</c:v>
                      </c:pt>
                      <c:pt idx="8285">
                        <c:v>0</c:v>
                      </c:pt>
                      <c:pt idx="8286">
                        <c:v>0</c:v>
                      </c:pt>
                      <c:pt idx="8287">
                        <c:v>0</c:v>
                      </c:pt>
                      <c:pt idx="8288">
                        <c:v>0</c:v>
                      </c:pt>
                      <c:pt idx="8289">
                        <c:v>0</c:v>
                      </c:pt>
                      <c:pt idx="8290">
                        <c:v>0</c:v>
                      </c:pt>
                      <c:pt idx="8291">
                        <c:v>0</c:v>
                      </c:pt>
                      <c:pt idx="8292">
                        <c:v>0</c:v>
                      </c:pt>
                      <c:pt idx="8293">
                        <c:v>0</c:v>
                      </c:pt>
                      <c:pt idx="8294">
                        <c:v>0</c:v>
                      </c:pt>
                      <c:pt idx="8295">
                        <c:v>0</c:v>
                      </c:pt>
                      <c:pt idx="8296">
                        <c:v>0</c:v>
                      </c:pt>
                      <c:pt idx="8297">
                        <c:v>0</c:v>
                      </c:pt>
                      <c:pt idx="8298">
                        <c:v>0</c:v>
                      </c:pt>
                      <c:pt idx="8299">
                        <c:v>0</c:v>
                      </c:pt>
                      <c:pt idx="8300">
                        <c:v>0</c:v>
                      </c:pt>
                      <c:pt idx="8301">
                        <c:v>0</c:v>
                      </c:pt>
                      <c:pt idx="8302">
                        <c:v>0</c:v>
                      </c:pt>
                      <c:pt idx="8303">
                        <c:v>0</c:v>
                      </c:pt>
                      <c:pt idx="8304">
                        <c:v>0</c:v>
                      </c:pt>
                      <c:pt idx="8305">
                        <c:v>0</c:v>
                      </c:pt>
                      <c:pt idx="8306">
                        <c:v>0</c:v>
                      </c:pt>
                      <c:pt idx="8307">
                        <c:v>0</c:v>
                      </c:pt>
                      <c:pt idx="8308">
                        <c:v>0</c:v>
                      </c:pt>
                      <c:pt idx="8309">
                        <c:v>0</c:v>
                      </c:pt>
                      <c:pt idx="8310">
                        <c:v>0</c:v>
                      </c:pt>
                      <c:pt idx="8311">
                        <c:v>0</c:v>
                      </c:pt>
                      <c:pt idx="8312">
                        <c:v>0</c:v>
                      </c:pt>
                      <c:pt idx="8313">
                        <c:v>0</c:v>
                      </c:pt>
                      <c:pt idx="8314">
                        <c:v>0</c:v>
                      </c:pt>
                      <c:pt idx="8315">
                        <c:v>0</c:v>
                      </c:pt>
                      <c:pt idx="8316">
                        <c:v>0</c:v>
                      </c:pt>
                      <c:pt idx="8317">
                        <c:v>0</c:v>
                      </c:pt>
                      <c:pt idx="8318">
                        <c:v>0</c:v>
                      </c:pt>
                      <c:pt idx="8319">
                        <c:v>0</c:v>
                      </c:pt>
                      <c:pt idx="8320">
                        <c:v>0</c:v>
                      </c:pt>
                      <c:pt idx="8321">
                        <c:v>0</c:v>
                      </c:pt>
                      <c:pt idx="8322">
                        <c:v>0</c:v>
                      </c:pt>
                      <c:pt idx="8323">
                        <c:v>0</c:v>
                      </c:pt>
                      <c:pt idx="8324">
                        <c:v>0</c:v>
                      </c:pt>
                      <c:pt idx="8325">
                        <c:v>0</c:v>
                      </c:pt>
                      <c:pt idx="8326">
                        <c:v>0</c:v>
                      </c:pt>
                      <c:pt idx="8327">
                        <c:v>0</c:v>
                      </c:pt>
                      <c:pt idx="8328">
                        <c:v>0</c:v>
                      </c:pt>
                      <c:pt idx="8329">
                        <c:v>0</c:v>
                      </c:pt>
                      <c:pt idx="8330">
                        <c:v>0</c:v>
                      </c:pt>
                      <c:pt idx="8331">
                        <c:v>0</c:v>
                      </c:pt>
                      <c:pt idx="8332">
                        <c:v>0</c:v>
                      </c:pt>
                      <c:pt idx="8333">
                        <c:v>0</c:v>
                      </c:pt>
                      <c:pt idx="8334">
                        <c:v>0</c:v>
                      </c:pt>
                      <c:pt idx="8335">
                        <c:v>0</c:v>
                      </c:pt>
                      <c:pt idx="8336">
                        <c:v>0</c:v>
                      </c:pt>
                      <c:pt idx="8337">
                        <c:v>0</c:v>
                      </c:pt>
                      <c:pt idx="8338">
                        <c:v>0</c:v>
                      </c:pt>
                      <c:pt idx="8339">
                        <c:v>0</c:v>
                      </c:pt>
                      <c:pt idx="8340">
                        <c:v>0</c:v>
                      </c:pt>
                      <c:pt idx="8341">
                        <c:v>0</c:v>
                      </c:pt>
                      <c:pt idx="8342">
                        <c:v>0</c:v>
                      </c:pt>
                      <c:pt idx="8343">
                        <c:v>0</c:v>
                      </c:pt>
                      <c:pt idx="8344">
                        <c:v>0</c:v>
                      </c:pt>
                      <c:pt idx="8345">
                        <c:v>0</c:v>
                      </c:pt>
                      <c:pt idx="8346">
                        <c:v>0</c:v>
                      </c:pt>
                      <c:pt idx="8347">
                        <c:v>0</c:v>
                      </c:pt>
                      <c:pt idx="8348">
                        <c:v>0</c:v>
                      </c:pt>
                      <c:pt idx="8349">
                        <c:v>0</c:v>
                      </c:pt>
                      <c:pt idx="8350">
                        <c:v>0</c:v>
                      </c:pt>
                      <c:pt idx="8351">
                        <c:v>0</c:v>
                      </c:pt>
                      <c:pt idx="8352">
                        <c:v>0</c:v>
                      </c:pt>
                      <c:pt idx="8353">
                        <c:v>0</c:v>
                      </c:pt>
                      <c:pt idx="8354">
                        <c:v>0</c:v>
                      </c:pt>
                      <c:pt idx="8355">
                        <c:v>0</c:v>
                      </c:pt>
                      <c:pt idx="8356">
                        <c:v>0</c:v>
                      </c:pt>
                      <c:pt idx="8357">
                        <c:v>0</c:v>
                      </c:pt>
                      <c:pt idx="8358">
                        <c:v>0</c:v>
                      </c:pt>
                      <c:pt idx="8359">
                        <c:v>0</c:v>
                      </c:pt>
                      <c:pt idx="8360">
                        <c:v>0</c:v>
                      </c:pt>
                      <c:pt idx="8361">
                        <c:v>0</c:v>
                      </c:pt>
                      <c:pt idx="8362">
                        <c:v>0</c:v>
                      </c:pt>
                      <c:pt idx="8363">
                        <c:v>0</c:v>
                      </c:pt>
                      <c:pt idx="8364">
                        <c:v>0</c:v>
                      </c:pt>
                      <c:pt idx="8365">
                        <c:v>0</c:v>
                      </c:pt>
                      <c:pt idx="8366">
                        <c:v>0</c:v>
                      </c:pt>
                      <c:pt idx="8367">
                        <c:v>0</c:v>
                      </c:pt>
                      <c:pt idx="8368">
                        <c:v>0</c:v>
                      </c:pt>
                      <c:pt idx="8369">
                        <c:v>0</c:v>
                      </c:pt>
                      <c:pt idx="8370">
                        <c:v>0</c:v>
                      </c:pt>
                      <c:pt idx="8371">
                        <c:v>0</c:v>
                      </c:pt>
                      <c:pt idx="8372">
                        <c:v>0</c:v>
                      </c:pt>
                      <c:pt idx="8373">
                        <c:v>0</c:v>
                      </c:pt>
                      <c:pt idx="8374">
                        <c:v>0</c:v>
                      </c:pt>
                      <c:pt idx="8375">
                        <c:v>0</c:v>
                      </c:pt>
                      <c:pt idx="8376">
                        <c:v>0</c:v>
                      </c:pt>
                      <c:pt idx="8377">
                        <c:v>0</c:v>
                      </c:pt>
                      <c:pt idx="8378">
                        <c:v>0</c:v>
                      </c:pt>
                      <c:pt idx="8379">
                        <c:v>0</c:v>
                      </c:pt>
                      <c:pt idx="8380">
                        <c:v>0</c:v>
                      </c:pt>
                      <c:pt idx="8381">
                        <c:v>0</c:v>
                      </c:pt>
                      <c:pt idx="8382">
                        <c:v>0</c:v>
                      </c:pt>
                      <c:pt idx="8383">
                        <c:v>0</c:v>
                      </c:pt>
                      <c:pt idx="8384">
                        <c:v>0</c:v>
                      </c:pt>
                      <c:pt idx="8385">
                        <c:v>0</c:v>
                      </c:pt>
                      <c:pt idx="8386">
                        <c:v>0</c:v>
                      </c:pt>
                      <c:pt idx="8387">
                        <c:v>0</c:v>
                      </c:pt>
                      <c:pt idx="8388">
                        <c:v>0</c:v>
                      </c:pt>
                      <c:pt idx="8389">
                        <c:v>0</c:v>
                      </c:pt>
                      <c:pt idx="8390">
                        <c:v>0</c:v>
                      </c:pt>
                      <c:pt idx="8391">
                        <c:v>0</c:v>
                      </c:pt>
                      <c:pt idx="8392">
                        <c:v>0</c:v>
                      </c:pt>
                      <c:pt idx="8393">
                        <c:v>0</c:v>
                      </c:pt>
                      <c:pt idx="8394">
                        <c:v>0</c:v>
                      </c:pt>
                      <c:pt idx="8395">
                        <c:v>0</c:v>
                      </c:pt>
                      <c:pt idx="8396">
                        <c:v>0</c:v>
                      </c:pt>
                      <c:pt idx="8397">
                        <c:v>0</c:v>
                      </c:pt>
                      <c:pt idx="8398">
                        <c:v>0</c:v>
                      </c:pt>
                      <c:pt idx="8399">
                        <c:v>0</c:v>
                      </c:pt>
                      <c:pt idx="8400">
                        <c:v>0</c:v>
                      </c:pt>
                      <c:pt idx="8401">
                        <c:v>0</c:v>
                      </c:pt>
                      <c:pt idx="8402">
                        <c:v>0</c:v>
                      </c:pt>
                      <c:pt idx="8403">
                        <c:v>0</c:v>
                      </c:pt>
                      <c:pt idx="8404">
                        <c:v>0</c:v>
                      </c:pt>
                      <c:pt idx="8405">
                        <c:v>0</c:v>
                      </c:pt>
                      <c:pt idx="8406">
                        <c:v>0</c:v>
                      </c:pt>
                      <c:pt idx="8407">
                        <c:v>0</c:v>
                      </c:pt>
                      <c:pt idx="8408">
                        <c:v>0</c:v>
                      </c:pt>
                      <c:pt idx="8409">
                        <c:v>0</c:v>
                      </c:pt>
                      <c:pt idx="8410">
                        <c:v>0</c:v>
                      </c:pt>
                      <c:pt idx="8411">
                        <c:v>0</c:v>
                      </c:pt>
                      <c:pt idx="8412">
                        <c:v>0</c:v>
                      </c:pt>
                      <c:pt idx="8413">
                        <c:v>0</c:v>
                      </c:pt>
                      <c:pt idx="8414">
                        <c:v>0</c:v>
                      </c:pt>
                      <c:pt idx="8415">
                        <c:v>0</c:v>
                      </c:pt>
                      <c:pt idx="8416">
                        <c:v>0</c:v>
                      </c:pt>
                      <c:pt idx="8417">
                        <c:v>0</c:v>
                      </c:pt>
                      <c:pt idx="8418">
                        <c:v>0</c:v>
                      </c:pt>
                      <c:pt idx="8419">
                        <c:v>0</c:v>
                      </c:pt>
                      <c:pt idx="8420">
                        <c:v>0</c:v>
                      </c:pt>
                      <c:pt idx="8421">
                        <c:v>0</c:v>
                      </c:pt>
                      <c:pt idx="8422">
                        <c:v>0</c:v>
                      </c:pt>
                      <c:pt idx="8423">
                        <c:v>0</c:v>
                      </c:pt>
                      <c:pt idx="8424">
                        <c:v>0</c:v>
                      </c:pt>
                      <c:pt idx="8425">
                        <c:v>0</c:v>
                      </c:pt>
                      <c:pt idx="8426">
                        <c:v>0</c:v>
                      </c:pt>
                      <c:pt idx="8427">
                        <c:v>0</c:v>
                      </c:pt>
                      <c:pt idx="8428">
                        <c:v>0</c:v>
                      </c:pt>
                      <c:pt idx="8429">
                        <c:v>0</c:v>
                      </c:pt>
                      <c:pt idx="8430">
                        <c:v>0</c:v>
                      </c:pt>
                      <c:pt idx="8431">
                        <c:v>0</c:v>
                      </c:pt>
                      <c:pt idx="8432">
                        <c:v>0</c:v>
                      </c:pt>
                      <c:pt idx="8433">
                        <c:v>0</c:v>
                      </c:pt>
                      <c:pt idx="8434">
                        <c:v>0</c:v>
                      </c:pt>
                      <c:pt idx="8435">
                        <c:v>0</c:v>
                      </c:pt>
                      <c:pt idx="8436">
                        <c:v>0</c:v>
                      </c:pt>
                      <c:pt idx="8437">
                        <c:v>0</c:v>
                      </c:pt>
                      <c:pt idx="8438">
                        <c:v>0</c:v>
                      </c:pt>
                      <c:pt idx="8439">
                        <c:v>0</c:v>
                      </c:pt>
                      <c:pt idx="8440">
                        <c:v>0</c:v>
                      </c:pt>
                      <c:pt idx="8441">
                        <c:v>0</c:v>
                      </c:pt>
                      <c:pt idx="8442">
                        <c:v>0</c:v>
                      </c:pt>
                      <c:pt idx="8443">
                        <c:v>0</c:v>
                      </c:pt>
                      <c:pt idx="8444">
                        <c:v>0</c:v>
                      </c:pt>
                      <c:pt idx="8445">
                        <c:v>0</c:v>
                      </c:pt>
                      <c:pt idx="8446">
                        <c:v>0</c:v>
                      </c:pt>
                      <c:pt idx="8447">
                        <c:v>0</c:v>
                      </c:pt>
                      <c:pt idx="8448">
                        <c:v>0</c:v>
                      </c:pt>
                      <c:pt idx="8449">
                        <c:v>0</c:v>
                      </c:pt>
                      <c:pt idx="8450">
                        <c:v>0</c:v>
                      </c:pt>
                      <c:pt idx="8451">
                        <c:v>0</c:v>
                      </c:pt>
                      <c:pt idx="8452">
                        <c:v>0</c:v>
                      </c:pt>
                      <c:pt idx="8453">
                        <c:v>0</c:v>
                      </c:pt>
                      <c:pt idx="8454">
                        <c:v>0</c:v>
                      </c:pt>
                      <c:pt idx="8455">
                        <c:v>0</c:v>
                      </c:pt>
                      <c:pt idx="8456">
                        <c:v>0</c:v>
                      </c:pt>
                      <c:pt idx="8457">
                        <c:v>0</c:v>
                      </c:pt>
                      <c:pt idx="8458">
                        <c:v>0</c:v>
                      </c:pt>
                      <c:pt idx="8459">
                        <c:v>0</c:v>
                      </c:pt>
                      <c:pt idx="8460">
                        <c:v>0</c:v>
                      </c:pt>
                      <c:pt idx="8461">
                        <c:v>0</c:v>
                      </c:pt>
                      <c:pt idx="8462">
                        <c:v>0</c:v>
                      </c:pt>
                      <c:pt idx="8463">
                        <c:v>0</c:v>
                      </c:pt>
                      <c:pt idx="8464">
                        <c:v>0</c:v>
                      </c:pt>
                      <c:pt idx="8465">
                        <c:v>0</c:v>
                      </c:pt>
                      <c:pt idx="8466">
                        <c:v>0</c:v>
                      </c:pt>
                      <c:pt idx="8467">
                        <c:v>0</c:v>
                      </c:pt>
                      <c:pt idx="8468">
                        <c:v>0</c:v>
                      </c:pt>
                      <c:pt idx="8469">
                        <c:v>0</c:v>
                      </c:pt>
                      <c:pt idx="8470">
                        <c:v>0</c:v>
                      </c:pt>
                      <c:pt idx="8471">
                        <c:v>0</c:v>
                      </c:pt>
                      <c:pt idx="8472">
                        <c:v>0</c:v>
                      </c:pt>
                      <c:pt idx="8473">
                        <c:v>0</c:v>
                      </c:pt>
                      <c:pt idx="8474">
                        <c:v>0</c:v>
                      </c:pt>
                      <c:pt idx="8475">
                        <c:v>0</c:v>
                      </c:pt>
                      <c:pt idx="8476">
                        <c:v>0</c:v>
                      </c:pt>
                      <c:pt idx="8477">
                        <c:v>0</c:v>
                      </c:pt>
                      <c:pt idx="8478">
                        <c:v>0</c:v>
                      </c:pt>
                      <c:pt idx="8479">
                        <c:v>0</c:v>
                      </c:pt>
                      <c:pt idx="8480">
                        <c:v>0</c:v>
                      </c:pt>
                      <c:pt idx="8481">
                        <c:v>0</c:v>
                      </c:pt>
                      <c:pt idx="8482">
                        <c:v>0</c:v>
                      </c:pt>
                      <c:pt idx="8483">
                        <c:v>0</c:v>
                      </c:pt>
                      <c:pt idx="8484">
                        <c:v>0</c:v>
                      </c:pt>
                      <c:pt idx="8485">
                        <c:v>0</c:v>
                      </c:pt>
                      <c:pt idx="8486">
                        <c:v>0</c:v>
                      </c:pt>
                      <c:pt idx="8487">
                        <c:v>0</c:v>
                      </c:pt>
                      <c:pt idx="8488">
                        <c:v>0</c:v>
                      </c:pt>
                      <c:pt idx="8489">
                        <c:v>0</c:v>
                      </c:pt>
                      <c:pt idx="8490">
                        <c:v>0</c:v>
                      </c:pt>
                      <c:pt idx="8491">
                        <c:v>0</c:v>
                      </c:pt>
                      <c:pt idx="8492">
                        <c:v>0</c:v>
                      </c:pt>
                      <c:pt idx="8493">
                        <c:v>0</c:v>
                      </c:pt>
                      <c:pt idx="8494">
                        <c:v>0</c:v>
                      </c:pt>
                      <c:pt idx="8495">
                        <c:v>0</c:v>
                      </c:pt>
                      <c:pt idx="8496">
                        <c:v>0</c:v>
                      </c:pt>
                      <c:pt idx="8497">
                        <c:v>0</c:v>
                      </c:pt>
                      <c:pt idx="8498">
                        <c:v>0</c:v>
                      </c:pt>
                      <c:pt idx="8499">
                        <c:v>0</c:v>
                      </c:pt>
                      <c:pt idx="8500">
                        <c:v>0</c:v>
                      </c:pt>
                      <c:pt idx="8501">
                        <c:v>0</c:v>
                      </c:pt>
                      <c:pt idx="8502">
                        <c:v>0</c:v>
                      </c:pt>
                      <c:pt idx="8503">
                        <c:v>0</c:v>
                      </c:pt>
                      <c:pt idx="8504">
                        <c:v>0</c:v>
                      </c:pt>
                      <c:pt idx="8505">
                        <c:v>0</c:v>
                      </c:pt>
                      <c:pt idx="8506">
                        <c:v>0</c:v>
                      </c:pt>
                      <c:pt idx="8507">
                        <c:v>0</c:v>
                      </c:pt>
                      <c:pt idx="8508">
                        <c:v>0</c:v>
                      </c:pt>
                      <c:pt idx="8509">
                        <c:v>0</c:v>
                      </c:pt>
                      <c:pt idx="8510">
                        <c:v>0</c:v>
                      </c:pt>
                      <c:pt idx="8511">
                        <c:v>0</c:v>
                      </c:pt>
                      <c:pt idx="8512">
                        <c:v>0</c:v>
                      </c:pt>
                      <c:pt idx="8513">
                        <c:v>0</c:v>
                      </c:pt>
                      <c:pt idx="8514">
                        <c:v>0</c:v>
                      </c:pt>
                      <c:pt idx="8515">
                        <c:v>0</c:v>
                      </c:pt>
                      <c:pt idx="8516">
                        <c:v>0</c:v>
                      </c:pt>
                      <c:pt idx="8517">
                        <c:v>0</c:v>
                      </c:pt>
                      <c:pt idx="8518">
                        <c:v>0</c:v>
                      </c:pt>
                      <c:pt idx="8519">
                        <c:v>0</c:v>
                      </c:pt>
                      <c:pt idx="8520">
                        <c:v>0</c:v>
                      </c:pt>
                      <c:pt idx="8521">
                        <c:v>0</c:v>
                      </c:pt>
                      <c:pt idx="8522">
                        <c:v>0</c:v>
                      </c:pt>
                      <c:pt idx="8523">
                        <c:v>0</c:v>
                      </c:pt>
                      <c:pt idx="8524">
                        <c:v>0</c:v>
                      </c:pt>
                      <c:pt idx="8525">
                        <c:v>0</c:v>
                      </c:pt>
                      <c:pt idx="8526">
                        <c:v>0</c:v>
                      </c:pt>
                      <c:pt idx="8527">
                        <c:v>0</c:v>
                      </c:pt>
                      <c:pt idx="8528">
                        <c:v>0</c:v>
                      </c:pt>
                      <c:pt idx="8529">
                        <c:v>0</c:v>
                      </c:pt>
                      <c:pt idx="8530">
                        <c:v>0</c:v>
                      </c:pt>
                      <c:pt idx="8531">
                        <c:v>0</c:v>
                      </c:pt>
                      <c:pt idx="8532">
                        <c:v>0</c:v>
                      </c:pt>
                      <c:pt idx="8533">
                        <c:v>0</c:v>
                      </c:pt>
                      <c:pt idx="8534">
                        <c:v>0</c:v>
                      </c:pt>
                      <c:pt idx="8535">
                        <c:v>0</c:v>
                      </c:pt>
                      <c:pt idx="8536">
                        <c:v>0</c:v>
                      </c:pt>
                      <c:pt idx="8537">
                        <c:v>0</c:v>
                      </c:pt>
                      <c:pt idx="8538">
                        <c:v>0</c:v>
                      </c:pt>
                      <c:pt idx="8539">
                        <c:v>0</c:v>
                      </c:pt>
                      <c:pt idx="8540">
                        <c:v>0</c:v>
                      </c:pt>
                      <c:pt idx="8541">
                        <c:v>0</c:v>
                      </c:pt>
                      <c:pt idx="8542">
                        <c:v>0</c:v>
                      </c:pt>
                      <c:pt idx="8543">
                        <c:v>0</c:v>
                      </c:pt>
                      <c:pt idx="8544">
                        <c:v>0</c:v>
                      </c:pt>
                      <c:pt idx="8545">
                        <c:v>0</c:v>
                      </c:pt>
                      <c:pt idx="8546">
                        <c:v>0</c:v>
                      </c:pt>
                      <c:pt idx="8547">
                        <c:v>0</c:v>
                      </c:pt>
                      <c:pt idx="8548">
                        <c:v>0</c:v>
                      </c:pt>
                      <c:pt idx="8549">
                        <c:v>0</c:v>
                      </c:pt>
                      <c:pt idx="8550">
                        <c:v>0</c:v>
                      </c:pt>
                      <c:pt idx="8551">
                        <c:v>0</c:v>
                      </c:pt>
                      <c:pt idx="8552">
                        <c:v>0</c:v>
                      </c:pt>
                      <c:pt idx="8553">
                        <c:v>0</c:v>
                      </c:pt>
                      <c:pt idx="8554">
                        <c:v>0</c:v>
                      </c:pt>
                      <c:pt idx="8555">
                        <c:v>0</c:v>
                      </c:pt>
                      <c:pt idx="8556">
                        <c:v>0</c:v>
                      </c:pt>
                      <c:pt idx="8557">
                        <c:v>0</c:v>
                      </c:pt>
                      <c:pt idx="8558">
                        <c:v>0</c:v>
                      </c:pt>
                      <c:pt idx="8559">
                        <c:v>0</c:v>
                      </c:pt>
                      <c:pt idx="8560">
                        <c:v>0</c:v>
                      </c:pt>
                      <c:pt idx="8561">
                        <c:v>0</c:v>
                      </c:pt>
                      <c:pt idx="8562">
                        <c:v>0</c:v>
                      </c:pt>
                      <c:pt idx="8563">
                        <c:v>0</c:v>
                      </c:pt>
                      <c:pt idx="8564">
                        <c:v>0</c:v>
                      </c:pt>
                      <c:pt idx="8565">
                        <c:v>0</c:v>
                      </c:pt>
                      <c:pt idx="8566">
                        <c:v>0</c:v>
                      </c:pt>
                      <c:pt idx="8567">
                        <c:v>0</c:v>
                      </c:pt>
                      <c:pt idx="8568">
                        <c:v>0</c:v>
                      </c:pt>
                      <c:pt idx="8569">
                        <c:v>0</c:v>
                      </c:pt>
                      <c:pt idx="8570">
                        <c:v>0</c:v>
                      </c:pt>
                      <c:pt idx="8571">
                        <c:v>0</c:v>
                      </c:pt>
                      <c:pt idx="8572">
                        <c:v>0</c:v>
                      </c:pt>
                      <c:pt idx="8573">
                        <c:v>0</c:v>
                      </c:pt>
                      <c:pt idx="8574">
                        <c:v>0</c:v>
                      </c:pt>
                      <c:pt idx="8575">
                        <c:v>0</c:v>
                      </c:pt>
                      <c:pt idx="8576">
                        <c:v>0</c:v>
                      </c:pt>
                      <c:pt idx="8577">
                        <c:v>0</c:v>
                      </c:pt>
                      <c:pt idx="8578">
                        <c:v>0</c:v>
                      </c:pt>
                      <c:pt idx="8579">
                        <c:v>0</c:v>
                      </c:pt>
                      <c:pt idx="8580">
                        <c:v>0</c:v>
                      </c:pt>
                      <c:pt idx="8581">
                        <c:v>0</c:v>
                      </c:pt>
                      <c:pt idx="8582">
                        <c:v>0</c:v>
                      </c:pt>
                      <c:pt idx="8583">
                        <c:v>0</c:v>
                      </c:pt>
                      <c:pt idx="8584">
                        <c:v>0</c:v>
                      </c:pt>
                      <c:pt idx="8585">
                        <c:v>0</c:v>
                      </c:pt>
                      <c:pt idx="8586">
                        <c:v>0</c:v>
                      </c:pt>
                      <c:pt idx="8587">
                        <c:v>0</c:v>
                      </c:pt>
                      <c:pt idx="8588">
                        <c:v>0</c:v>
                      </c:pt>
                      <c:pt idx="8589">
                        <c:v>0</c:v>
                      </c:pt>
                      <c:pt idx="8590">
                        <c:v>0</c:v>
                      </c:pt>
                      <c:pt idx="8591">
                        <c:v>0</c:v>
                      </c:pt>
                      <c:pt idx="8592">
                        <c:v>0</c:v>
                      </c:pt>
                      <c:pt idx="8593">
                        <c:v>0</c:v>
                      </c:pt>
                      <c:pt idx="8594">
                        <c:v>0</c:v>
                      </c:pt>
                      <c:pt idx="8595">
                        <c:v>0</c:v>
                      </c:pt>
                      <c:pt idx="8596">
                        <c:v>0</c:v>
                      </c:pt>
                      <c:pt idx="8597">
                        <c:v>0</c:v>
                      </c:pt>
                      <c:pt idx="8598">
                        <c:v>0</c:v>
                      </c:pt>
                      <c:pt idx="8599">
                        <c:v>0</c:v>
                      </c:pt>
                      <c:pt idx="8600">
                        <c:v>0</c:v>
                      </c:pt>
                      <c:pt idx="8601">
                        <c:v>0</c:v>
                      </c:pt>
                      <c:pt idx="8602">
                        <c:v>0</c:v>
                      </c:pt>
                      <c:pt idx="8603">
                        <c:v>0</c:v>
                      </c:pt>
                      <c:pt idx="8604">
                        <c:v>0</c:v>
                      </c:pt>
                      <c:pt idx="8605">
                        <c:v>0</c:v>
                      </c:pt>
                      <c:pt idx="8606">
                        <c:v>0</c:v>
                      </c:pt>
                      <c:pt idx="8607">
                        <c:v>0</c:v>
                      </c:pt>
                      <c:pt idx="8608">
                        <c:v>0</c:v>
                      </c:pt>
                      <c:pt idx="8609">
                        <c:v>0</c:v>
                      </c:pt>
                      <c:pt idx="8610">
                        <c:v>0</c:v>
                      </c:pt>
                      <c:pt idx="8611">
                        <c:v>0</c:v>
                      </c:pt>
                      <c:pt idx="8612">
                        <c:v>0</c:v>
                      </c:pt>
                      <c:pt idx="8613">
                        <c:v>0</c:v>
                      </c:pt>
                      <c:pt idx="8614">
                        <c:v>0</c:v>
                      </c:pt>
                      <c:pt idx="8615">
                        <c:v>0</c:v>
                      </c:pt>
                      <c:pt idx="8616">
                        <c:v>0</c:v>
                      </c:pt>
                      <c:pt idx="8617">
                        <c:v>0</c:v>
                      </c:pt>
                      <c:pt idx="8618">
                        <c:v>0</c:v>
                      </c:pt>
                      <c:pt idx="8619">
                        <c:v>0</c:v>
                      </c:pt>
                      <c:pt idx="8620">
                        <c:v>0</c:v>
                      </c:pt>
                      <c:pt idx="8621">
                        <c:v>0</c:v>
                      </c:pt>
                      <c:pt idx="8622">
                        <c:v>0</c:v>
                      </c:pt>
                      <c:pt idx="8623">
                        <c:v>0</c:v>
                      </c:pt>
                      <c:pt idx="8624">
                        <c:v>0</c:v>
                      </c:pt>
                      <c:pt idx="8625">
                        <c:v>0</c:v>
                      </c:pt>
                      <c:pt idx="8626">
                        <c:v>0</c:v>
                      </c:pt>
                      <c:pt idx="8627">
                        <c:v>0</c:v>
                      </c:pt>
                      <c:pt idx="8628">
                        <c:v>0</c:v>
                      </c:pt>
                      <c:pt idx="8629">
                        <c:v>0</c:v>
                      </c:pt>
                      <c:pt idx="8630">
                        <c:v>0</c:v>
                      </c:pt>
                      <c:pt idx="8631">
                        <c:v>0</c:v>
                      </c:pt>
                      <c:pt idx="8632">
                        <c:v>0</c:v>
                      </c:pt>
                      <c:pt idx="8633">
                        <c:v>0</c:v>
                      </c:pt>
                      <c:pt idx="8634">
                        <c:v>0</c:v>
                      </c:pt>
                      <c:pt idx="8635">
                        <c:v>0</c:v>
                      </c:pt>
                      <c:pt idx="8636">
                        <c:v>0</c:v>
                      </c:pt>
                      <c:pt idx="8637">
                        <c:v>0</c:v>
                      </c:pt>
                      <c:pt idx="8638">
                        <c:v>0</c:v>
                      </c:pt>
                      <c:pt idx="8639">
                        <c:v>0</c:v>
                      </c:pt>
                      <c:pt idx="8640">
                        <c:v>0</c:v>
                      </c:pt>
                      <c:pt idx="8641">
                        <c:v>0</c:v>
                      </c:pt>
                      <c:pt idx="8642">
                        <c:v>0</c:v>
                      </c:pt>
                      <c:pt idx="8643">
                        <c:v>0</c:v>
                      </c:pt>
                      <c:pt idx="8644">
                        <c:v>0</c:v>
                      </c:pt>
                      <c:pt idx="8645">
                        <c:v>0</c:v>
                      </c:pt>
                      <c:pt idx="8646">
                        <c:v>0</c:v>
                      </c:pt>
                      <c:pt idx="8647">
                        <c:v>0</c:v>
                      </c:pt>
                      <c:pt idx="8648">
                        <c:v>0</c:v>
                      </c:pt>
                      <c:pt idx="8649">
                        <c:v>0</c:v>
                      </c:pt>
                      <c:pt idx="8650">
                        <c:v>0</c:v>
                      </c:pt>
                      <c:pt idx="8651">
                        <c:v>0</c:v>
                      </c:pt>
                      <c:pt idx="8652">
                        <c:v>0</c:v>
                      </c:pt>
                      <c:pt idx="8653">
                        <c:v>0</c:v>
                      </c:pt>
                      <c:pt idx="8654">
                        <c:v>0</c:v>
                      </c:pt>
                      <c:pt idx="8655">
                        <c:v>0</c:v>
                      </c:pt>
                      <c:pt idx="8656">
                        <c:v>0</c:v>
                      </c:pt>
                      <c:pt idx="8657">
                        <c:v>0</c:v>
                      </c:pt>
                      <c:pt idx="8658">
                        <c:v>0</c:v>
                      </c:pt>
                      <c:pt idx="8659">
                        <c:v>0</c:v>
                      </c:pt>
                      <c:pt idx="8660">
                        <c:v>0</c:v>
                      </c:pt>
                      <c:pt idx="8661">
                        <c:v>0</c:v>
                      </c:pt>
                      <c:pt idx="8662">
                        <c:v>0</c:v>
                      </c:pt>
                      <c:pt idx="8663">
                        <c:v>0</c:v>
                      </c:pt>
                      <c:pt idx="8664">
                        <c:v>0</c:v>
                      </c:pt>
                      <c:pt idx="8665">
                        <c:v>0</c:v>
                      </c:pt>
                      <c:pt idx="8666">
                        <c:v>0</c:v>
                      </c:pt>
                      <c:pt idx="8667">
                        <c:v>0</c:v>
                      </c:pt>
                      <c:pt idx="8668">
                        <c:v>0</c:v>
                      </c:pt>
                      <c:pt idx="8669">
                        <c:v>0</c:v>
                      </c:pt>
                      <c:pt idx="8670">
                        <c:v>0</c:v>
                      </c:pt>
                      <c:pt idx="8671">
                        <c:v>0</c:v>
                      </c:pt>
                      <c:pt idx="8672">
                        <c:v>0</c:v>
                      </c:pt>
                      <c:pt idx="8673">
                        <c:v>0</c:v>
                      </c:pt>
                      <c:pt idx="8674">
                        <c:v>0</c:v>
                      </c:pt>
                      <c:pt idx="8675">
                        <c:v>0</c:v>
                      </c:pt>
                      <c:pt idx="8676">
                        <c:v>0</c:v>
                      </c:pt>
                      <c:pt idx="8677">
                        <c:v>0</c:v>
                      </c:pt>
                      <c:pt idx="8678">
                        <c:v>0</c:v>
                      </c:pt>
                      <c:pt idx="8679">
                        <c:v>0</c:v>
                      </c:pt>
                      <c:pt idx="8680">
                        <c:v>0</c:v>
                      </c:pt>
                      <c:pt idx="8681">
                        <c:v>0</c:v>
                      </c:pt>
                      <c:pt idx="8682">
                        <c:v>0</c:v>
                      </c:pt>
                      <c:pt idx="8683">
                        <c:v>0</c:v>
                      </c:pt>
                      <c:pt idx="8684">
                        <c:v>0</c:v>
                      </c:pt>
                      <c:pt idx="8685">
                        <c:v>0</c:v>
                      </c:pt>
                      <c:pt idx="8686">
                        <c:v>0</c:v>
                      </c:pt>
                      <c:pt idx="8687">
                        <c:v>0</c:v>
                      </c:pt>
                      <c:pt idx="8688">
                        <c:v>0</c:v>
                      </c:pt>
                      <c:pt idx="8689">
                        <c:v>0</c:v>
                      </c:pt>
                      <c:pt idx="8690">
                        <c:v>0</c:v>
                      </c:pt>
                      <c:pt idx="8691">
                        <c:v>0</c:v>
                      </c:pt>
                      <c:pt idx="8692">
                        <c:v>0</c:v>
                      </c:pt>
                      <c:pt idx="8693">
                        <c:v>0</c:v>
                      </c:pt>
                      <c:pt idx="8694">
                        <c:v>0</c:v>
                      </c:pt>
                      <c:pt idx="8695">
                        <c:v>0</c:v>
                      </c:pt>
                      <c:pt idx="8696">
                        <c:v>0</c:v>
                      </c:pt>
                      <c:pt idx="8697">
                        <c:v>0</c:v>
                      </c:pt>
                      <c:pt idx="8698">
                        <c:v>0</c:v>
                      </c:pt>
                      <c:pt idx="8699">
                        <c:v>0</c:v>
                      </c:pt>
                      <c:pt idx="8700">
                        <c:v>0</c:v>
                      </c:pt>
                      <c:pt idx="8701">
                        <c:v>0</c:v>
                      </c:pt>
                      <c:pt idx="8702">
                        <c:v>0</c:v>
                      </c:pt>
                      <c:pt idx="8703">
                        <c:v>0</c:v>
                      </c:pt>
                      <c:pt idx="8704">
                        <c:v>0</c:v>
                      </c:pt>
                      <c:pt idx="8705">
                        <c:v>0</c:v>
                      </c:pt>
                      <c:pt idx="8706">
                        <c:v>0</c:v>
                      </c:pt>
                      <c:pt idx="8707">
                        <c:v>0</c:v>
                      </c:pt>
                      <c:pt idx="8708">
                        <c:v>0</c:v>
                      </c:pt>
                      <c:pt idx="8709">
                        <c:v>0</c:v>
                      </c:pt>
                      <c:pt idx="8710">
                        <c:v>0</c:v>
                      </c:pt>
                      <c:pt idx="8711">
                        <c:v>0</c:v>
                      </c:pt>
                      <c:pt idx="8712">
                        <c:v>0</c:v>
                      </c:pt>
                      <c:pt idx="8713">
                        <c:v>0</c:v>
                      </c:pt>
                      <c:pt idx="8714">
                        <c:v>0</c:v>
                      </c:pt>
                      <c:pt idx="8715">
                        <c:v>0</c:v>
                      </c:pt>
                      <c:pt idx="8716">
                        <c:v>0</c:v>
                      </c:pt>
                      <c:pt idx="8717">
                        <c:v>0</c:v>
                      </c:pt>
                      <c:pt idx="8718">
                        <c:v>0</c:v>
                      </c:pt>
                      <c:pt idx="8719">
                        <c:v>0</c:v>
                      </c:pt>
                      <c:pt idx="8720">
                        <c:v>0</c:v>
                      </c:pt>
                      <c:pt idx="8721">
                        <c:v>0</c:v>
                      </c:pt>
                      <c:pt idx="8722">
                        <c:v>0</c:v>
                      </c:pt>
                      <c:pt idx="8723">
                        <c:v>0</c:v>
                      </c:pt>
                      <c:pt idx="8724">
                        <c:v>0</c:v>
                      </c:pt>
                      <c:pt idx="8725">
                        <c:v>0</c:v>
                      </c:pt>
                      <c:pt idx="8726">
                        <c:v>0</c:v>
                      </c:pt>
                      <c:pt idx="8727">
                        <c:v>0</c:v>
                      </c:pt>
                      <c:pt idx="8728">
                        <c:v>0</c:v>
                      </c:pt>
                      <c:pt idx="8729">
                        <c:v>0</c:v>
                      </c:pt>
                      <c:pt idx="8730">
                        <c:v>0</c:v>
                      </c:pt>
                      <c:pt idx="8731">
                        <c:v>0</c:v>
                      </c:pt>
                      <c:pt idx="8732">
                        <c:v>0</c:v>
                      </c:pt>
                      <c:pt idx="8733">
                        <c:v>0</c:v>
                      </c:pt>
                      <c:pt idx="8734">
                        <c:v>0</c:v>
                      </c:pt>
                      <c:pt idx="8735">
                        <c:v>0</c:v>
                      </c:pt>
                      <c:pt idx="8736">
                        <c:v>0</c:v>
                      </c:pt>
                      <c:pt idx="8737">
                        <c:v>0</c:v>
                      </c:pt>
                      <c:pt idx="8738">
                        <c:v>0</c:v>
                      </c:pt>
                      <c:pt idx="8739">
                        <c:v>0</c:v>
                      </c:pt>
                      <c:pt idx="8740">
                        <c:v>0</c:v>
                      </c:pt>
                      <c:pt idx="8741">
                        <c:v>0</c:v>
                      </c:pt>
                      <c:pt idx="8742">
                        <c:v>0</c:v>
                      </c:pt>
                      <c:pt idx="8743">
                        <c:v>0</c:v>
                      </c:pt>
                      <c:pt idx="8744">
                        <c:v>0</c:v>
                      </c:pt>
                      <c:pt idx="8745">
                        <c:v>0</c:v>
                      </c:pt>
                      <c:pt idx="8746">
                        <c:v>0</c:v>
                      </c:pt>
                      <c:pt idx="8747">
                        <c:v>0</c:v>
                      </c:pt>
                      <c:pt idx="8748">
                        <c:v>0</c:v>
                      </c:pt>
                      <c:pt idx="8749">
                        <c:v>0</c:v>
                      </c:pt>
                      <c:pt idx="8750">
                        <c:v>0</c:v>
                      </c:pt>
                      <c:pt idx="8751">
                        <c:v>0</c:v>
                      </c:pt>
                      <c:pt idx="8752">
                        <c:v>0</c:v>
                      </c:pt>
                      <c:pt idx="8753">
                        <c:v>0</c:v>
                      </c:pt>
                      <c:pt idx="8754">
                        <c:v>0</c:v>
                      </c:pt>
                      <c:pt idx="8755">
                        <c:v>0</c:v>
                      </c:pt>
                      <c:pt idx="8756">
                        <c:v>0</c:v>
                      </c:pt>
                      <c:pt idx="8757">
                        <c:v>0</c:v>
                      </c:pt>
                      <c:pt idx="8758">
                        <c:v>0</c:v>
                      </c:pt>
                      <c:pt idx="8759">
                        <c:v>0</c:v>
                      </c:pt>
                      <c:pt idx="8760">
                        <c:v>0</c:v>
                      </c:pt>
                      <c:pt idx="8761">
                        <c:v>0</c:v>
                      </c:pt>
                      <c:pt idx="8762">
                        <c:v>0</c:v>
                      </c:pt>
                      <c:pt idx="8763">
                        <c:v>0</c:v>
                      </c:pt>
                      <c:pt idx="8764">
                        <c:v>0</c:v>
                      </c:pt>
                      <c:pt idx="8765">
                        <c:v>0</c:v>
                      </c:pt>
                      <c:pt idx="8766">
                        <c:v>0</c:v>
                      </c:pt>
                      <c:pt idx="8767">
                        <c:v>0</c:v>
                      </c:pt>
                      <c:pt idx="8768">
                        <c:v>0</c:v>
                      </c:pt>
                      <c:pt idx="8769">
                        <c:v>0</c:v>
                      </c:pt>
                      <c:pt idx="8770">
                        <c:v>0</c:v>
                      </c:pt>
                      <c:pt idx="8771">
                        <c:v>0</c:v>
                      </c:pt>
                      <c:pt idx="8772">
                        <c:v>0</c:v>
                      </c:pt>
                      <c:pt idx="8773">
                        <c:v>0</c:v>
                      </c:pt>
                      <c:pt idx="8774">
                        <c:v>0</c:v>
                      </c:pt>
                      <c:pt idx="8775">
                        <c:v>0</c:v>
                      </c:pt>
                      <c:pt idx="8776">
                        <c:v>0</c:v>
                      </c:pt>
                      <c:pt idx="8777">
                        <c:v>0</c:v>
                      </c:pt>
                      <c:pt idx="8778">
                        <c:v>0</c:v>
                      </c:pt>
                      <c:pt idx="8779">
                        <c:v>0</c:v>
                      </c:pt>
                      <c:pt idx="8780">
                        <c:v>0</c:v>
                      </c:pt>
                      <c:pt idx="8781">
                        <c:v>0</c:v>
                      </c:pt>
                      <c:pt idx="8782">
                        <c:v>0</c:v>
                      </c:pt>
                      <c:pt idx="8783">
                        <c:v>0</c:v>
                      </c:pt>
                      <c:pt idx="8784">
                        <c:v>0</c:v>
                      </c:pt>
                      <c:pt idx="8785">
                        <c:v>0</c:v>
                      </c:pt>
                      <c:pt idx="8786">
                        <c:v>0</c:v>
                      </c:pt>
                      <c:pt idx="8787">
                        <c:v>0</c:v>
                      </c:pt>
                      <c:pt idx="8788">
                        <c:v>0</c:v>
                      </c:pt>
                      <c:pt idx="8789">
                        <c:v>0</c:v>
                      </c:pt>
                      <c:pt idx="8790">
                        <c:v>0</c:v>
                      </c:pt>
                      <c:pt idx="8791">
                        <c:v>0</c:v>
                      </c:pt>
                      <c:pt idx="8792">
                        <c:v>0</c:v>
                      </c:pt>
                      <c:pt idx="8793">
                        <c:v>0</c:v>
                      </c:pt>
                      <c:pt idx="8794">
                        <c:v>0</c:v>
                      </c:pt>
                      <c:pt idx="8795">
                        <c:v>0</c:v>
                      </c:pt>
                      <c:pt idx="8796">
                        <c:v>0</c:v>
                      </c:pt>
                      <c:pt idx="8797">
                        <c:v>0</c:v>
                      </c:pt>
                      <c:pt idx="8798">
                        <c:v>0</c:v>
                      </c:pt>
                      <c:pt idx="8799">
                        <c:v>0</c:v>
                      </c:pt>
                      <c:pt idx="8800">
                        <c:v>0</c:v>
                      </c:pt>
                      <c:pt idx="8801">
                        <c:v>0</c:v>
                      </c:pt>
                      <c:pt idx="8802">
                        <c:v>0</c:v>
                      </c:pt>
                      <c:pt idx="8803">
                        <c:v>0</c:v>
                      </c:pt>
                      <c:pt idx="8804">
                        <c:v>0</c:v>
                      </c:pt>
                      <c:pt idx="8805">
                        <c:v>0</c:v>
                      </c:pt>
                      <c:pt idx="8806">
                        <c:v>0</c:v>
                      </c:pt>
                      <c:pt idx="8807">
                        <c:v>0</c:v>
                      </c:pt>
                      <c:pt idx="8808">
                        <c:v>0</c:v>
                      </c:pt>
                      <c:pt idx="8809">
                        <c:v>0</c:v>
                      </c:pt>
                      <c:pt idx="8810">
                        <c:v>0</c:v>
                      </c:pt>
                      <c:pt idx="8811">
                        <c:v>0</c:v>
                      </c:pt>
                      <c:pt idx="8812">
                        <c:v>0</c:v>
                      </c:pt>
                      <c:pt idx="8813">
                        <c:v>0</c:v>
                      </c:pt>
                      <c:pt idx="8814">
                        <c:v>0</c:v>
                      </c:pt>
                      <c:pt idx="8815">
                        <c:v>0</c:v>
                      </c:pt>
                      <c:pt idx="8816">
                        <c:v>0</c:v>
                      </c:pt>
                      <c:pt idx="8817">
                        <c:v>0</c:v>
                      </c:pt>
                      <c:pt idx="8818">
                        <c:v>0</c:v>
                      </c:pt>
                      <c:pt idx="8819">
                        <c:v>0</c:v>
                      </c:pt>
                      <c:pt idx="8820">
                        <c:v>0</c:v>
                      </c:pt>
                      <c:pt idx="8821">
                        <c:v>0</c:v>
                      </c:pt>
                      <c:pt idx="8822">
                        <c:v>0</c:v>
                      </c:pt>
                      <c:pt idx="8823">
                        <c:v>0</c:v>
                      </c:pt>
                      <c:pt idx="8824">
                        <c:v>0</c:v>
                      </c:pt>
                      <c:pt idx="8825">
                        <c:v>0</c:v>
                      </c:pt>
                      <c:pt idx="8826">
                        <c:v>0</c:v>
                      </c:pt>
                      <c:pt idx="8827">
                        <c:v>0</c:v>
                      </c:pt>
                      <c:pt idx="8828">
                        <c:v>0</c:v>
                      </c:pt>
                      <c:pt idx="8829">
                        <c:v>0</c:v>
                      </c:pt>
                      <c:pt idx="8830">
                        <c:v>0</c:v>
                      </c:pt>
                      <c:pt idx="8831">
                        <c:v>0</c:v>
                      </c:pt>
                      <c:pt idx="8832">
                        <c:v>0</c:v>
                      </c:pt>
                      <c:pt idx="8833">
                        <c:v>0</c:v>
                      </c:pt>
                      <c:pt idx="8834">
                        <c:v>0</c:v>
                      </c:pt>
                      <c:pt idx="8835">
                        <c:v>0</c:v>
                      </c:pt>
                      <c:pt idx="8836">
                        <c:v>0</c:v>
                      </c:pt>
                      <c:pt idx="8837">
                        <c:v>0</c:v>
                      </c:pt>
                      <c:pt idx="8838">
                        <c:v>0</c:v>
                      </c:pt>
                      <c:pt idx="8839">
                        <c:v>0</c:v>
                      </c:pt>
                      <c:pt idx="8840">
                        <c:v>0</c:v>
                      </c:pt>
                      <c:pt idx="8841">
                        <c:v>0</c:v>
                      </c:pt>
                      <c:pt idx="8842">
                        <c:v>0</c:v>
                      </c:pt>
                      <c:pt idx="8843">
                        <c:v>0</c:v>
                      </c:pt>
                      <c:pt idx="8844">
                        <c:v>0</c:v>
                      </c:pt>
                      <c:pt idx="8845">
                        <c:v>0</c:v>
                      </c:pt>
                      <c:pt idx="8846">
                        <c:v>0</c:v>
                      </c:pt>
                      <c:pt idx="8847">
                        <c:v>0</c:v>
                      </c:pt>
                      <c:pt idx="8848">
                        <c:v>0</c:v>
                      </c:pt>
                      <c:pt idx="8849">
                        <c:v>0</c:v>
                      </c:pt>
                      <c:pt idx="8850">
                        <c:v>0</c:v>
                      </c:pt>
                      <c:pt idx="8851">
                        <c:v>0</c:v>
                      </c:pt>
                      <c:pt idx="8852">
                        <c:v>0</c:v>
                      </c:pt>
                      <c:pt idx="8853">
                        <c:v>0</c:v>
                      </c:pt>
                      <c:pt idx="8854">
                        <c:v>0</c:v>
                      </c:pt>
                      <c:pt idx="8855">
                        <c:v>0</c:v>
                      </c:pt>
                      <c:pt idx="8856">
                        <c:v>0</c:v>
                      </c:pt>
                      <c:pt idx="8857">
                        <c:v>0</c:v>
                      </c:pt>
                      <c:pt idx="8858">
                        <c:v>0</c:v>
                      </c:pt>
                      <c:pt idx="8859">
                        <c:v>0</c:v>
                      </c:pt>
                      <c:pt idx="8860">
                        <c:v>0</c:v>
                      </c:pt>
                      <c:pt idx="8861">
                        <c:v>0</c:v>
                      </c:pt>
                      <c:pt idx="8862">
                        <c:v>0</c:v>
                      </c:pt>
                      <c:pt idx="8863">
                        <c:v>0</c:v>
                      </c:pt>
                      <c:pt idx="8864">
                        <c:v>0</c:v>
                      </c:pt>
                      <c:pt idx="8865">
                        <c:v>0</c:v>
                      </c:pt>
                      <c:pt idx="8866">
                        <c:v>0</c:v>
                      </c:pt>
                      <c:pt idx="8867">
                        <c:v>0</c:v>
                      </c:pt>
                      <c:pt idx="8868">
                        <c:v>0</c:v>
                      </c:pt>
                      <c:pt idx="8869">
                        <c:v>0</c:v>
                      </c:pt>
                      <c:pt idx="8870">
                        <c:v>0</c:v>
                      </c:pt>
                      <c:pt idx="8871">
                        <c:v>0</c:v>
                      </c:pt>
                      <c:pt idx="8872">
                        <c:v>0</c:v>
                      </c:pt>
                      <c:pt idx="8873">
                        <c:v>0</c:v>
                      </c:pt>
                      <c:pt idx="8874">
                        <c:v>0</c:v>
                      </c:pt>
                      <c:pt idx="8875">
                        <c:v>0</c:v>
                      </c:pt>
                      <c:pt idx="8876">
                        <c:v>0</c:v>
                      </c:pt>
                      <c:pt idx="8877">
                        <c:v>0</c:v>
                      </c:pt>
                      <c:pt idx="8878">
                        <c:v>0</c:v>
                      </c:pt>
                      <c:pt idx="8879">
                        <c:v>0</c:v>
                      </c:pt>
                      <c:pt idx="8880">
                        <c:v>0</c:v>
                      </c:pt>
                      <c:pt idx="8881">
                        <c:v>0</c:v>
                      </c:pt>
                      <c:pt idx="8882">
                        <c:v>0</c:v>
                      </c:pt>
                      <c:pt idx="8883">
                        <c:v>0</c:v>
                      </c:pt>
                      <c:pt idx="8884">
                        <c:v>0</c:v>
                      </c:pt>
                      <c:pt idx="8885">
                        <c:v>0</c:v>
                      </c:pt>
                      <c:pt idx="8886">
                        <c:v>0</c:v>
                      </c:pt>
                      <c:pt idx="8887">
                        <c:v>0</c:v>
                      </c:pt>
                      <c:pt idx="8888">
                        <c:v>0</c:v>
                      </c:pt>
                      <c:pt idx="8889">
                        <c:v>0</c:v>
                      </c:pt>
                      <c:pt idx="8890">
                        <c:v>0</c:v>
                      </c:pt>
                      <c:pt idx="8891">
                        <c:v>0</c:v>
                      </c:pt>
                      <c:pt idx="8892">
                        <c:v>0</c:v>
                      </c:pt>
                      <c:pt idx="8893">
                        <c:v>0</c:v>
                      </c:pt>
                      <c:pt idx="8894">
                        <c:v>0</c:v>
                      </c:pt>
                      <c:pt idx="8895">
                        <c:v>0</c:v>
                      </c:pt>
                      <c:pt idx="8896">
                        <c:v>0</c:v>
                      </c:pt>
                      <c:pt idx="8897">
                        <c:v>0</c:v>
                      </c:pt>
                      <c:pt idx="8898">
                        <c:v>0</c:v>
                      </c:pt>
                      <c:pt idx="8899">
                        <c:v>0</c:v>
                      </c:pt>
                      <c:pt idx="8900">
                        <c:v>0</c:v>
                      </c:pt>
                      <c:pt idx="8901">
                        <c:v>0</c:v>
                      </c:pt>
                      <c:pt idx="8902">
                        <c:v>0</c:v>
                      </c:pt>
                      <c:pt idx="8903">
                        <c:v>0</c:v>
                      </c:pt>
                      <c:pt idx="8904">
                        <c:v>0</c:v>
                      </c:pt>
                      <c:pt idx="8905">
                        <c:v>0</c:v>
                      </c:pt>
                      <c:pt idx="8906">
                        <c:v>0</c:v>
                      </c:pt>
                      <c:pt idx="8907">
                        <c:v>0</c:v>
                      </c:pt>
                      <c:pt idx="8908">
                        <c:v>0</c:v>
                      </c:pt>
                      <c:pt idx="8909">
                        <c:v>0</c:v>
                      </c:pt>
                      <c:pt idx="8910">
                        <c:v>0</c:v>
                      </c:pt>
                      <c:pt idx="8911">
                        <c:v>0</c:v>
                      </c:pt>
                      <c:pt idx="8912">
                        <c:v>0</c:v>
                      </c:pt>
                      <c:pt idx="8913">
                        <c:v>0</c:v>
                      </c:pt>
                      <c:pt idx="8914">
                        <c:v>0</c:v>
                      </c:pt>
                      <c:pt idx="8915">
                        <c:v>0</c:v>
                      </c:pt>
                      <c:pt idx="8916">
                        <c:v>0</c:v>
                      </c:pt>
                      <c:pt idx="8917">
                        <c:v>0</c:v>
                      </c:pt>
                      <c:pt idx="8918">
                        <c:v>0</c:v>
                      </c:pt>
                      <c:pt idx="8919">
                        <c:v>0</c:v>
                      </c:pt>
                      <c:pt idx="8920">
                        <c:v>0</c:v>
                      </c:pt>
                      <c:pt idx="8921">
                        <c:v>0</c:v>
                      </c:pt>
                      <c:pt idx="8922">
                        <c:v>0</c:v>
                      </c:pt>
                      <c:pt idx="8923">
                        <c:v>0</c:v>
                      </c:pt>
                      <c:pt idx="8924">
                        <c:v>0</c:v>
                      </c:pt>
                      <c:pt idx="8925">
                        <c:v>0</c:v>
                      </c:pt>
                      <c:pt idx="8926">
                        <c:v>0</c:v>
                      </c:pt>
                      <c:pt idx="8927">
                        <c:v>0</c:v>
                      </c:pt>
                      <c:pt idx="8928">
                        <c:v>0</c:v>
                      </c:pt>
                      <c:pt idx="8929">
                        <c:v>0</c:v>
                      </c:pt>
                      <c:pt idx="8930">
                        <c:v>0</c:v>
                      </c:pt>
                      <c:pt idx="8931">
                        <c:v>0</c:v>
                      </c:pt>
                      <c:pt idx="8932">
                        <c:v>0</c:v>
                      </c:pt>
                      <c:pt idx="8933">
                        <c:v>0</c:v>
                      </c:pt>
                      <c:pt idx="8934">
                        <c:v>0</c:v>
                      </c:pt>
                      <c:pt idx="8935">
                        <c:v>0</c:v>
                      </c:pt>
                      <c:pt idx="8936">
                        <c:v>0</c:v>
                      </c:pt>
                      <c:pt idx="8937">
                        <c:v>0</c:v>
                      </c:pt>
                      <c:pt idx="8938">
                        <c:v>0</c:v>
                      </c:pt>
                      <c:pt idx="8939">
                        <c:v>0</c:v>
                      </c:pt>
                      <c:pt idx="8940">
                        <c:v>0</c:v>
                      </c:pt>
                      <c:pt idx="8941">
                        <c:v>0</c:v>
                      </c:pt>
                      <c:pt idx="8942">
                        <c:v>0</c:v>
                      </c:pt>
                      <c:pt idx="8943">
                        <c:v>0</c:v>
                      </c:pt>
                      <c:pt idx="8944">
                        <c:v>0</c:v>
                      </c:pt>
                      <c:pt idx="8945">
                        <c:v>0</c:v>
                      </c:pt>
                      <c:pt idx="8946">
                        <c:v>0</c:v>
                      </c:pt>
                      <c:pt idx="8947">
                        <c:v>0</c:v>
                      </c:pt>
                      <c:pt idx="8948">
                        <c:v>0</c:v>
                      </c:pt>
                      <c:pt idx="8949">
                        <c:v>0</c:v>
                      </c:pt>
                      <c:pt idx="8950">
                        <c:v>0</c:v>
                      </c:pt>
                      <c:pt idx="8951">
                        <c:v>0</c:v>
                      </c:pt>
                      <c:pt idx="8952">
                        <c:v>0</c:v>
                      </c:pt>
                      <c:pt idx="8953">
                        <c:v>0</c:v>
                      </c:pt>
                      <c:pt idx="8954">
                        <c:v>0</c:v>
                      </c:pt>
                      <c:pt idx="8955">
                        <c:v>0</c:v>
                      </c:pt>
                      <c:pt idx="8956">
                        <c:v>0</c:v>
                      </c:pt>
                      <c:pt idx="8957">
                        <c:v>0</c:v>
                      </c:pt>
                      <c:pt idx="8958">
                        <c:v>0</c:v>
                      </c:pt>
                      <c:pt idx="8959">
                        <c:v>0</c:v>
                      </c:pt>
                      <c:pt idx="8960">
                        <c:v>0</c:v>
                      </c:pt>
                      <c:pt idx="8961">
                        <c:v>0</c:v>
                      </c:pt>
                      <c:pt idx="8962">
                        <c:v>0</c:v>
                      </c:pt>
                      <c:pt idx="8963">
                        <c:v>0</c:v>
                      </c:pt>
                      <c:pt idx="8964">
                        <c:v>0</c:v>
                      </c:pt>
                      <c:pt idx="8965">
                        <c:v>0</c:v>
                      </c:pt>
                      <c:pt idx="8966">
                        <c:v>0</c:v>
                      </c:pt>
                      <c:pt idx="8967">
                        <c:v>0</c:v>
                      </c:pt>
                      <c:pt idx="8968">
                        <c:v>0</c:v>
                      </c:pt>
                      <c:pt idx="8969">
                        <c:v>0</c:v>
                      </c:pt>
                      <c:pt idx="8970">
                        <c:v>0</c:v>
                      </c:pt>
                      <c:pt idx="8971">
                        <c:v>0</c:v>
                      </c:pt>
                      <c:pt idx="8972">
                        <c:v>0</c:v>
                      </c:pt>
                      <c:pt idx="8973">
                        <c:v>0</c:v>
                      </c:pt>
                      <c:pt idx="8974">
                        <c:v>0</c:v>
                      </c:pt>
                      <c:pt idx="8975">
                        <c:v>0</c:v>
                      </c:pt>
                      <c:pt idx="8976">
                        <c:v>0</c:v>
                      </c:pt>
                      <c:pt idx="8977">
                        <c:v>0</c:v>
                      </c:pt>
                      <c:pt idx="8978">
                        <c:v>0</c:v>
                      </c:pt>
                      <c:pt idx="8979">
                        <c:v>0</c:v>
                      </c:pt>
                      <c:pt idx="8980">
                        <c:v>0</c:v>
                      </c:pt>
                      <c:pt idx="8981">
                        <c:v>0</c:v>
                      </c:pt>
                      <c:pt idx="8982">
                        <c:v>0</c:v>
                      </c:pt>
                      <c:pt idx="8983">
                        <c:v>0</c:v>
                      </c:pt>
                      <c:pt idx="8984">
                        <c:v>0</c:v>
                      </c:pt>
                      <c:pt idx="8985">
                        <c:v>0</c:v>
                      </c:pt>
                      <c:pt idx="8986">
                        <c:v>0</c:v>
                      </c:pt>
                      <c:pt idx="8987">
                        <c:v>0</c:v>
                      </c:pt>
                      <c:pt idx="8988">
                        <c:v>0</c:v>
                      </c:pt>
                      <c:pt idx="8989">
                        <c:v>0</c:v>
                      </c:pt>
                      <c:pt idx="8990">
                        <c:v>0</c:v>
                      </c:pt>
                      <c:pt idx="8991">
                        <c:v>0</c:v>
                      </c:pt>
                      <c:pt idx="8992">
                        <c:v>0</c:v>
                      </c:pt>
                      <c:pt idx="8993">
                        <c:v>0</c:v>
                      </c:pt>
                      <c:pt idx="8994">
                        <c:v>0</c:v>
                      </c:pt>
                      <c:pt idx="8995">
                        <c:v>0</c:v>
                      </c:pt>
                      <c:pt idx="8996">
                        <c:v>0</c:v>
                      </c:pt>
                      <c:pt idx="8997">
                        <c:v>0</c:v>
                      </c:pt>
                      <c:pt idx="8998">
                        <c:v>0</c:v>
                      </c:pt>
                      <c:pt idx="8999">
                        <c:v>0</c:v>
                      </c:pt>
                      <c:pt idx="9000">
                        <c:v>0</c:v>
                      </c:pt>
                      <c:pt idx="9001">
                        <c:v>0</c:v>
                      </c:pt>
                      <c:pt idx="9002">
                        <c:v>0</c:v>
                      </c:pt>
                      <c:pt idx="9003">
                        <c:v>0</c:v>
                      </c:pt>
                      <c:pt idx="9004">
                        <c:v>0</c:v>
                      </c:pt>
                      <c:pt idx="9005">
                        <c:v>0</c:v>
                      </c:pt>
                      <c:pt idx="9006">
                        <c:v>0</c:v>
                      </c:pt>
                      <c:pt idx="9007">
                        <c:v>0</c:v>
                      </c:pt>
                      <c:pt idx="9008">
                        <c:v>0</c:v>
                      </c:pt>
                      <c:pt idx="9009">
                        <c:v>0</c:v>
                      </c:pt>
                      <c:pt idx="9010">
                        <c:v>0</c:v>
                      </c:pt>
                      <c:pt idx="9011">
                        <c:v>0</c:v>
                      </c:pt>
                      <c:pt idx="9012">
                        <c:v>0</c:v>
                      </c:pt>
                      <c:pt idx="9013">
                        <c:v>0</c:v>
                      </c:pt>
                      <c:pt idx="9014">
                        <c:v>0</c:v>
                      </c:pt>
                      <c:pt idx="9015">
                        <c:v>0</c:v>
                      </c:pt>
                      <c:pt idx="9016">
                        <c:v>0</c:v>
                      </c:pt>
                      <c:pt idx="9017">
                        <c:v>0</c:v>
                      </c:pt>
                      <c:pt idx="9018">
                        <c:v>0</c:v>
                      </c:pt>
                      <c:pt idx="9019">
                        <c:v>0</c:v>
                      </c:pt>
                      <c:pt idx="9020">
                        <c:v>0</c:v>
                      </c:pt>
                      <c:pt idx="9021">
                        <c:v>0</c:v>
                      </c:pt>
                      <c:pt idx="9022">
                        <c:v>0</c:v>
                      </c:pt>
                      <c:pt idx="9023">
                        <c:v>0</c:v>
                      </c:pt>
                      <c:pt idx="9024">
                        <c:v>0</c:v>
                      </c:pt>
                      <c:pt idx="9025">
                        <c:v>0</c:v>
                      </c:pt>
                      <c:pt idx="9026">
                        <c:v>0</c:v>
                      </c:pt>
                      <c:pt idx="9027">
                        <c:v>0</c:v>
                      </c:pt>
                      <c:pt idx="9028">
                        <c:v>0</c:v>
                      </c:pt>
                      <c:pt idx="9029">
                        <c:v>0</c:v>
                      </c:pt>
                      <c:pt idx="9030">
                        <c:v>0</c:v>
                      </c:pt>
                      <c:pt idx="9031">
                        <c:v>0</c:v>
                      </c:pt>
                      <c:pt idx="9032">
                        <c:v>0</c:v>
                      </c:pt>
                      <c:pt idx="9033">
                        <c:v>0</c:v>
                      </c:pt>
                      <c:pt idx="9034">
                        <c:v>0</c:v>
                      </c:pt>
                      <c:pt idx="9035">
                        <c:v>0</c:v>
                      </c:pt>
                      <c:pt idx="9036">
                        <c:v>0</c:v>
                      </c:pt>
                      <c:pt idx="9037">
                        <c:v>0</c:v>
                      </c:pt>
                      <c:pt idx="9038">
                        <c:v>0</c:v>
                      </c:pt>
                      <c:pt idx="9039">
                        <c:v>0</c:v>
                      </c:pt>
                      <c:pt idx="9040">
                        <c:v>0</c:v>
                      </c:pt>
                      <c:pt idx="9041">
                        <c:v>0</c:v>
                      </c:pt>
                      <c:pt idx="9042">
                        <c:v>0</c:v>
                      </c:pt>
                      <c:pt idx="9043">
                        <c:v>0</c:v>
                      </c:pt>
                      <c:pt idx="9044">
                        <c:v>0</c:v>
                      </c:pt>
                      <c:pt idx="9045">
                        <c:v>0</c:v>
                      </c:pt>
                      <c:pt idx="9046">
                        <c:v>0</c:v>
                      </c:pt>
                      <c:pt idx="9047">
                        <c:v>0</c:v>
                      </c:pt>
                      <c:pt idx="9048">
                        <c:v>0</c:v>
                      </c:pt>
                      <c:pt idx="9049">
                        <c:v>0</c:v>
                      </c:pt>
                      <c:pt idx="9050">
                        <c:v>0</c:v>
                      </c:pt>
                      <c:pt idx="9051">
                        <c:v>0</c:v>
                      </c:pt>
                      <c:pt idx="9052">
                        <c:v>0</c:v>
                      </c:pt>
                      <c:pt idx="9053">
                        <c:v>0</c:v>
                      </c:pt>
                      <c:pt idx="9054">
                        <c:v>0</c:v>
                      </c:pt>
                      <c:pt idx="9055">
                        <c:v>0</c:v>
                      </c:pt>
                      <c:pt idx="9056">
                        <c:v>0</c:v>
                      </c:pt>
                      <c:pt idx="9057">
                        <c:v>0</c:v>
                      </c:pt>
                      <c:pt idx="9058">
                        <c:v>0</c:v>
                      </c:pt>
                      <c:pt idx="9059">
                        <c:v>0</c:v>
                      </c:pt>
                      <c:pt idx="9060">
                        <c:v>0</c:v>
                      </c:pt>
                      <c:pt idx="9061">
                        <c:v>0</c:v>
                      </c:pt>
                      <c:pt idx="9062">
                        <c:v>0</c:v>
                      </c:pt>
                      <c:pt idx="9063">
                        <c:v>0</c:v>
                      </c:pt>
                      <c:pt idx="9064">
                        <c:v>0</c:v>
                      </c:pt>
                      <c:pt idx="9065">
                        <c:v>0</c:v>
                      </c:pt>
                      <c:pt idx="9066">
                        <c:v>0</c:v>
                      </c:pt>
                      <c:pt idx="9067">
                        <c:v>0</c:v>
                      </c:pt>
                      <c:pt idx="9068">
                        <c:v>0</c:v>
                      </c:pt>
                      <c:pt idx="9069">
                        <c:v>0</c:v>
                      </c:pt>
                      <c:pt idx="9070">
                        <c:v>0</c:v>
                      </c:pt>
                      <c:pt idx="9071">
                        <c:v>0</c:v>
                      </c:pt>
                      <c:pt idx="9072">
                        <c:v>0</c:v>
                      </c:pt>
                      <c:pt idx="9073">
                        <c:v>0</c:v>
                      </c:pt>
                      <c:pt idx="9074">
                        <c:v>0</c:v>
                      </c:pt>
                      <c:pt idx="9075">
                        <c:v>0</c:v>
                      </c:pt>
                      <c:pt idx="9076">
                        <c:v>0</c:v>
                      </c:pt>
                      <c:pt idx="9077">
                        <c:v>0</c:v>
                      </c:pt>
                      <c:pt idx="9078">
                        <c:v>0</c:v>
                      </c:pt>
                      <c:pt idx="9079">
                        <c:v>0</c:v>
                      </c:pt>
                      <c:pt idx="9080">
                        <c:v>0</c:v>
                      </c:pt>
                      <c:pt idx="9081">
                        <c:v>0</c:v>
                      </c:pt>
                      <c:pt idx="9082">
                        <c:v>0</c:v>
                      </c:pt>
                      <c:pt idx="9083">
                        <c:v>0</c:v>
                      </c:pt>
                      <c:pt idx="9084">
                        <c:v>0</c:v>
                      </c:pt>
                      <c:pt idx="9085">
                        <c:v>0</c:v>
                      </c:pt>
                      <c:pt idx="9086">
                        <c:v>0</c:v>
                      </c:pt>
                      <c:pt idx="9087">
                        <c:v>0</c:v>
                      </c:pt>
                      <c:pt idx="9088">
                        <c:v>0</c:v>
                      </c:pt>
                      <c:pt idx="9089">
                        <c:v>0</c:v>
                      </c:pt>
                      <c:pt idx="9090">
                        <c:v>0</c:v>
                      </c:pt>
                      <c:pt idx="9091">
                        <c:v>0</c:v>
                      </c:pt>
                      <c:pt idx="9092">
                        <c:v>0</c:v>
                      </c:pt>
                      <c:pt idx="9093">
                        <c:v>0</c:v>
                      </c:pt>
                      <c:pt idx="9094">
                        <c:v>0</c:v>
                      </c:pt>
                      <c:pt idx="9095">
                        <c:v>0</c:v>
                      </c:pt>
                      <c:pt idx="9096">
                        <c:v>0</c:v>
                      </c:pt>
                      <c:pt idx="9097">
                        <c:v>0</c:v>
                      </c:pt>
                      <c:pt idx="9098">
                        <c:v>0</c:v>
                      </c:pt>
                      <c:pt idx="9099">
                        <c:v>0</c:v>
                      </c:pt>
                      <c:pt idx="9100">
                        <c:v>0</c:v>
                      </c:pt>
                      <c:pt idx="9101">
                        <c:v>0</c:v>
                      </c:pt>
                      <c:pt idx="9102">
                        <c:v>0</c:v>
                      </c:pt>
                      <c:pt idx="9103">
                        <c:v>0</c:v>
                      </c:pt>
                      <c:pt idx="9104">
                        <c:v>0</c:v>
                      </c:pt>
                      <c:pt idx="9105">
                        <c:v>0</c:v>
                      </c:pt>
                      <c:pt idx="9106">
                        <c:v>0</c:v>
                      </c:pt>
                      <c:pt idx="9107">
                        <c:v>0</c:v>
                      </c:pt>
                      <c:pt idx="9108">
                        <c:v>0</c:v>
                      </c:pt>
                      <c:pt idx="9109">
                        <c:v>0</c:v>
                      </c:pt>
                      <c:pt idx="9110">
                        <c:v>0</c:v>
                      </c:pt>
                      <c:pt idx="9111">
                        <c:v>0</c:v>
                      </c:pt>
                      <c:pt idx="9112">
                        <c:v>0</c:v>
                      </c:pt>
                      <c:pt idx="9113">
                        <c:v>0</c:v>
                      </c:pt>
                      <c:pt idx="9114">
                        <c:v>0</c:v>
                      </c:pt>
                      <c:pt idx="9115">
                        <c:v>0</c:v>
                      </c:pt>
                      <c:pt idx="9116">
                        <c:v>0</c:v>
                      </c:pt>
                      <c:pt idx="9117">
                        <c:v>0</c:v>
                      </c:pt>
                      <c:pt idx="9118">
                        <c:v>0</c:v>
                      </c:pt>
                      <c:pt idx="9119">
                        <c:v>0</c:v>
                      </c:pt>
                      <c:pt idx="9120">
                        <c:v>0</c:v>
                      </c:pt>
                      <c:pt idx="9121">
                        <c:v>0</c:v>
                      </c:pt>
                      <c:pt idx="9122">
                        <c:v>0</c:v>
                      </c:pt>
                      <c:pt idx="9123">
                        <c:v>0</c:v>
                      </c:pt>
                      <c:pt idx="9124">
                        <c:v>0</c:v>
                      </c:pt>
                      <c:pt idx="9125">
                        <c:v>0</c:v>
                      </c:pt>
                      <c:pt idx="9126">
                        <c:v>0</c:v>
                      </c:pt>
                      <c:pt idx="9127">
                        <c:v>0</c:v>
                      </c:pt>
                      <c:pt idx="9128">
                        <c:v>0</c:v>
                      </c:pt>
                      <c:pt idx="9129">
                        <c:v>0</c:v>
                      </c:pt>
                      <c:pt idx="9130">
                        <c:v>0</c:v>
                      </c:pt>
                      <c:pt idx="9131">
                        <c:v>0</c:v>
                      </c:pt>
                      <c:pt idx="9132">
                        <c:v>0</c:v>
                      </c:pt>
                      <c:pt idx="9133">
                        <c:v>0</c:v>
                      </c:pt>
                      <c:pt idx="9134">
                        <c:v>0</c:v>
                      </c:pt>
                      <c:pt idx="9135">
                        <c:v>0</c:v>
                      </c:pt>
                      <c:pt idx="9136">
                        <c:v>0</c:v>
                      </c:pt>
                      <c:pt idx="9137">
                        <c:v>0</c:v>
                      </c:pt>
                      <c:pt idx="9138">
                        <c:v>0</c:v>
                      </c:pt>
                      <c:pt idx="9139">
                        <c:v>0</c:v>
                      </c:pt>
                      <c:pt idx="9140">
                        <c:v>0</c:v>
                      </c:pt>
                      <c:pt idx="9141">
                        <c:v>0</c:v>
                      </c:pt>
                      <c:pt idx="9142">
                        <c:v>0</c:v>
                      </c:pt>
                      <c:pt idx="9143">
                        <c:v>0</c:v>
                      </c:pt>
                      <c:pt idx="9144">
                        <c:v>0</c:v>
                      </c:pt>
                      <c:pt idx="9145">
                        <c:v>0</c:v>
                      </c:pt>
                      <c:pt idx="9146">
                        <c:v>0</c:v>
                      </c:pt>
                      <c:pt idx="9147">
                        <c:v>0</c:v>
                      </c:pt>
                      <c:pt idx="9148">
                        <c:v>0</c:v>
                      </c:pt>
                      <c:pt idx="9149">
                        <c:v>0</c:v>
                      </c:pt>
                      <c:pt idx="9150">
                        <c:v>0</c:v>
                      </c:pt>
                      <c:pt idx="9151">
                        <c:v>0</c:v>
                      </c:pt>
                      <c:pt idx="9152">
                        <c:v>0</c:v>
                      </c:pt>
                      <c:pt idx="9153">
                        <c:v>0</c:v>
                      </c:pt>
                      <c:pt idx="9154">
                        <c:v>0</c:v>
                      </c:pt>
                      <c:pt idx="9155">
                        <c:v>0</c:v>
                      </c:pt>
                      <c:pt idx="9156">
                        <c:v>0</c:v>
                      </c:pt>
                      <c:pt idx="9157">
                        <c:v>0</c:v>
                      </c:pt>
                      <c:pt idx="9158">
                        <c:v>0</c:v>
                      </c:pt>
                      <c:pt idx="9159">
                        <c:v>0</c:v>
                      </c:pt>
                      <c:pt idx="9160">
                        <c:v>0</c:v>
                      </c:pt>
                      <c:pt idx="9161">
                        <c:v>0</c:v>
                      </c:pt>
                      <c:pt idx="9162">
                        <c:v>0</c:v>
                      </c:pt>
                      <c:pt idx="9163">
                        <c:v>0</c:v>
                      </c:pt>
                      <c:pt idx="9164">
                        <c:v>0</c:v>
                      </c:pt>
                      <c:pt idx="9165">
                        <c:v>0</c:v>
                      </c:pt>
                      <c:pt idx="9166">
                        <c:v>0</c:v>
                      </c:pt>
                      <c:pt idx="9167">
                        <c:v>0</c:v>
                      </c:pt>
                      <c:pt idx="9168">
                        <c:v>0</c:v>
                      </c:pt>
                      <c:pt idx="9169">
                        <c:v>0</c:v>
                      </c:pt>
                      <c:pt idx="9170">
                        <c:v>0</c:v>
                      </c:pt>
                      <c:pt idx="9171">
                        <c:v>0</c:v>
                      </c:pt>
                      <c:pt idx="9172">
                        <c:v>0</c:v>
                      </c:pt>
                      <c:pt idx="9173">
                        <c:v>0</c:v>
                      </c:pt>
                      <c:pt idx="9174">
                        <c:v>0</c:v>
                      </c:pt>
                      <c:pt idx="9175">
                        <c:v>0</c:v>
                      </c:pt>
                      <c:pt idx="9176">
                        <c:v>0</c:v>
                      </c:pt>
                      <c:pt idx="9177">
                        <c:v>0</c:v>
                      </c:pt>
                      <c:pt idx="9178">
                        <c:v>0</c:v>
                      </c:pt>
                      <c:pt idx="9179">
                        <c:v>0</c:v>
                      </c:pt>
                      <c:pt idx="9180">
                        <c:v>0</c:v>
                      </c:pt>
                      <c:pt idx="9181">
                        <c:v>0</c:v>
                      </c:pt>
                      <c:pt idx="9182">
                        <c:v>0</c:v>
                      </c:pt>
                      <c:pt idx="9183">
                        <c:v>0</c:v>
                      </c:pt>
                      <c:pt idx="9184">
                        <c:v>0</c:v>
                      </c:pt>
                      <c:pt idx="9185">
                        <c:v>0</c:v>
                      </c:pt>
                      <c:pt idx="9186">
                        <c:v>0</c:v>
                      </c:pt>
                      <c:pt idx="9187">
                        <c:v>0</c:v>
                      </c:pt>
                      <c:pt idx="9188">
                        <c:v>0</c:v>
                      </c:pt>
                      <c:pt idx="9189">
                        <c:v>0</c:v>
                      </c:pt>
                      <c:pt idx="9190">
                        <c:v>0</c:v>
                      </c:pt>
                      <c:pt idx="9191">
                        <c:v>0</c:v>
                      </c:pt>
                      <c:pt idx="9192">
                        <c:v>0</c:v>
                      </c:pt>
                      <c:pt idx="9193">
                        <c:v>0</c:v>
                      </c:pt>
                      <c:pt idx="9194">
                        <c:v>0</c:v>
                      </c:pt>
                      <c:pt idx="9195">
                        <c:v>0</c:v>
                      </c:pt>
                      <c:pt idx="9196">
                        <c:v>0</c:v>
                      </c:pt>
                      <c:pt idx="9197">
                        <c:v>0</c:v>
                      </c:pt>
                      <c:pt idx="9198">
                        <c:v>0</c:v>
                      </c:pt>
                      <c:pt idx="9199">
                        <c:v>0</c:v>
                      </c:pt>
                      <c:pt idx="9200">
                        <c:v>0</c:v>
                      </c:pt>
                      <c:pt idx="9201">
                        <c:v>0</c:v>
                      </c:pt>
                      <c:pt idx="9202">
                        <c:v>0</c:v>
                      </c:pt>
                      <c:pt idx="9203">
                        <c:v>0</c:v>
                      </c:pt>
                      <c:pt idx="9204">
                        <c:v>0</c:v>
                      </c:pt>
                      <c:pt idx="9205">
                        <c:v>0</c:v>
                      </c:pt>
                      <c:pt idx="9206">
                        <c:v>0</c:v>
                      </c:pt>
                      <c:pt idx="9207">
                        <c:v>0</c:v>
                      </c:pt>
                      <c:pt idx="9208">
                        <c:v>0</c:v>
                      </c:pt>
                      <c:pt idx="9209">
                        <c:v>0</c:v>
                      </c:pt>
                      <c:pt idx="9210">
                        <c:v>0</c:v>
                      </c:pt>
                      <c:pt idx="9211">
                        <c:v>0</c:v>
                      </c:pt>
                      <c:pt idx="9212">
                        <c:v>0</c:v>
                      </c:pt>
                      <c:pt idx="9213">
                        <c:v>0</c:v>
                      </c:pt>
                      <c:pt idx="9214">
                        <c:v>0</c:v>
                      </c:pt>
                      <c:pt idx="9215">
                        <c:v>0</c:v>
                      </c:pt>
                      <c:pt idx="9216">
                        <c:v>0</c:v>
                      </c:pt>
                      <c:pt idx="9217">
                        <c:v>0</c:v>
                      </c:pt>
                      <c:pt idx="9218">
                        <c:v>0</c:v>
                      </c:pt>
                      <c:pt idx="9219">
                        <c:v>0</c:v>
                      </c:pt>
                      <c:pt idx="9220">
                        <c:v>0</c:v>
                      </c:pt>
                      <c:pt idx="9221">
                        <c:v>0</c:v>
                      </c:pt>
                      <c:pt idx="9222">
                        <c:v>0</c:v>
                      </c:pt>
                      <c:pt idx="9223">
                        <c:v>0</c:v>
                      </c:pt>
                      <c:pt idx="9224">
                        <c:v>0</c:v>
                      </c:pt>
                      <c:pt idx="9225">
                        <c:v>0</c:v>
                      </c:pt>
                      <c:pt idx="9226">
                        <c:v>0</c:v>
                      </c:pt>
                      <c:pt idx="9227">
                        <c:v>0</c:v>
                      </c:pt>
                      <c:pt idx="9228">
                        <c:v>0</c:v>
                      </c:pt>
                      <c:pt idx="9229">
                        <c:v>0</c:v>
                      </c:pt>
                      <c:pt idx="9230">
                        <c:v>0</c:v>
                      </c:pt>
                      <c:pt idx="9231">
                        <c:v>0</c:v>
                      </c:pt>
                      <c:pt idx="9232">
                        <c:v>0</c:v>
                      </c:pt>
                      <c:pt idx="9233">
                        <c:v>0</c:v>
                      </c:pt>
                      <c:pt idx="9234">
                        <c:v>0</c:v>
                      </c:pt>
                      <c:pt idx="9235">
                        <c:v>0</c:v>
                      </c:pt>
                      <c:pt idx="9236">
                        <c:v>0</c:v>
                      </c:pt>
                      <c:pt idx="9237">
                        <c:v>0</c:v>
                      </c:pt>
                      <c:pt idx="9238">
                        <c:v>0</c:v>
                      </c:pt>
                      <c:pt idx="9239">
                        <c:v>0</c:v>
                      </c:pt>
                      <c:pt idx="9240">
                        <c:v>0</c:v>
                      </c:pt>
                      <c:pt idx="9241">
                        <c:v>0</c:v>
                      </c:pt>
                      <c:pt idx="9242">
                        <c:v>0</c:v>
                      </c:pt>
                      <c:pt idx="9243">
                        <c:v>0</c:v>
                      </c:pt>
                      <c:pt idx="9244">
                        <c:v>0</c:v>
                      </c:pt>
                      <c:pt idx="9245">
                        <c:v>0</c:v>
                      </c:pt>
                      <c:pt idx="9246">
                        <c:v>0</c:v>
                      </c:pt>
                      <c:pt idx="9247">
                        <c:v>0</c:v>
                      </c:pt>
                      <c:pt idx="9248">
                        <c:v>0</c:v>
                      </c:pt>
                      <c:pt idx="9249">
                        <c:v>0</c:v>
                      </c:pt>
                      <c:pt idx="9250">
                        <c:v>0</c:v>
                      </c:pt>
                      <c:pt idx="9251">
                        <c:v>0</c:v>
                      </c:pt>
                      <c:pt idx="9252">
                        <c:v>0</c:v>
                      </c:pt>
                      <c:pt idx="9253">
                        <c:v>0</c:v>
                      </c:pt>
                      <c:pt idx="9254">
                        <c:v>0</c:v>
                      </c:pt>
                      <c:pt idx="9255">
                        <c:v>0</c:v>
                      </c:pt>
                      <c:pt idx="9256">
                        <c:v>0</c:v>
                      </c:pt>
                      <c:pt idx="9257">
                        <c:v>0</c:v>
                      </c:pt>
                      <c:pt idx="9258">
                        <c:v>0</c:v>
                      </c:pt>
                      <c:pt idx="9259">
                        <c:v>0</c:v>
                      </c:pt>
                      <c:pt idx="9260">
                        <c:v>0</c:v>
                      </c:pt>
                      <c:pt idx="9261">
                        <c:v>0</c:v>
                      </c:pt>
                      <c:pt idx="9262">
                        <c:v>0</c:v>
                      </c:pt>
                      <c:pt idx="9263">
                        <c:v>0</c:v>
                      </c:pt>
                      <c:pt idx="9264">
                        <c:v>0</c:v>
                      </c:pt>
                      <c:pt idx="9265">
                        <c:v>0</c:v>
                      </c:pt>
                      <c:pt idx="9266">
                        <c:v>0</c:v>
                      </c:pt>
                      <c:pt idx="9267">
                        <c:v>0</c:v>
                      </c:pt>
                      <c:pt idx="9268">
                        <c:v>0</c:v>
                      </c:pt>
                      <c:pt idx="9269">
                        <c:v>0</c:v>
                      </c:pt>
                      <c:pt idx="9270">
                        <c:v>0</c:v>
                      </c:pt>
                      <c:pt idx="9271">
                        <c:v>0</c:v>
                      </c:pt>
                      <c:pt idx="9272">
                        <c:v>0</c:v>
                      </c:pt>
                      <c:pt idx="9273">
                        <c:v>0</c:v>
                      </c:pt>
                      <c:pt idx="9274">
                        <c:v>0</c:v>
                      </c:pt>
                      <c:pt idx="9275">
                        <c:v>0</c:v>
                      </c:pt>
                      <c:pt idx="9276">
                        <c:v>0</c:v>
                      </c:pt>
                      <c:pt idx="9277">
                        <c:v>0</c:v>
                      </c:pt>
                      <c:pt idx="9278">
                        <c:v>0</c:v>
                      </c:pt>
                      <c:pt idx="9279">
                        <c:v>0</c:v>
                      </c:pt>
                      <c:pt idx="9280">
                        <c:v>0</c:v>
                      </c:pt>
                      <c:pt idx="9281">
                        <c:v>0</c:v>
                      </c:pt>
                      <c:pt idx="9282">
                        <c:v>0</c:v>
                      </c:pt>
                      <c:pt idx="9283">
                        <c:v>0</c:v>
                      </c:pt>
                      <c:pt idx="9284">
                        <c:v>0</c:v>
                      </c:pt>
                      <c:pt idx="9285">
                        <c:v>0</c:v>
                      </c:pt>
                      <c:pt idx="9286">
                        <c:v>0</c:v>
                      </c:pt>
                      <c:pt idx="9287">
                        <c:v>0</c:v>
                      </c:pt>
                      <c:pt idx="9288">
                        <c:v>0</c:v>
                      </c:pt>
                      <c:pt idx="9289">
                        <c:v>0</c:v>
                      </c:pt>
                      <c:pt idx="9290">
                        <c:v>0</c:v>
                      </c:pt>
                      <c:pt idx="9291">
                        <c:v>0</c:v>
                      </c:pt>
                      <c:pt idx="9292">
                        <c:v>0</c:v>
                      </c:pt>
                      <c:pt idx="9293">
                        <c:v>0</c:v>
                      </c:pt>
                      <c:pt idx="9294">
                        <c:v>0</c:v>
                      </c:pt>
                      <c:pt idx="9295">
                        <c:v>0</c:v>
                      </c:pt>
                      <c:pt idx="9296">
                        <c:v>0</c:v>
                      </c:pt>
                      <c:pt idx="9297">
                        <c:v>0</c:v>
                      </c:pt>
                      <c:pt idx="9298">
                        <c:v>0</c:v>
                      </c:pt>
                      <c:pt idx="9299">
                        <c:v>0</c:v>
                      </c:pt>
                      <c:pt idx="9300">
                        <c:v>0</c:v>
                      </c:pt>
                      <c:pt idx="9301">
                        <c:v>0</c:v>
                      </c:pt>
                      <c:pt idx="9302">
                        <c:v>0</c:v>
                      </c:pt>
                      <c:pt idx="9303">
                        <c:v>0</c:v>
                      </c:pt>
                      <c:pt idx="9304">
                        <c:v>0</c:v>
                      </c:pt>
                      <c:pt idx="9305">
                        <c:v>0</c:v>
                      </c:pt>
                      <c:pt idx="9306">
                        <c:v>0</c:v>
                      </c:pt>
                      <c:pt idx="9307">
                        <c:v>0</c:v>
                      </c:pt>
                      <c:pt idx="9308">
                        <c:v>0</c:v>
                      </c:pt>
                      <c:pt idx="9309">
                        <c:v>0</c:v>
                      </c:pt>
                      <c:pt idx="9310">
                        <c:v>0</c:v>
                      </c:pt>
                      <c:pt idx="9311">
                        <c:v>0</c:v>
                      </c:pt>
                      <c:pt idx="9312">
                        <c:v>0</c:v>
                      </c:pt>
                      <c:pt idx="9313">
                        <c:v>0</c:v>
                      </c:pt>
                      <c:pt idx="9314">
                        <c:v>0</c:v>
                      </c:pt>
                      <c:pt idx="9315">
                        <c:v>0</c:v>
                      </c:pt>
                      <c:pt idx="9316">
                        <c:v>0</c:v>
                      </c:pt>
                      <c:pt idx="9317">
                        <c:v>0</c:v>
                      </c:pt>
                      <c:pt idx="9318">
                        <c:v>0</c:v>
                      </c:pt>
                      <c:pt idx="9319">
                        <c:v>0</c:v>
                      </c:pt>
                      <c:pt idx="9320">
                        <c:v>0</c:v>
                      </c:pt>
                      <c:pt idx="9321">
                        <c:v>0</c:v>
                      </c:pt>
                      <c:pt idx="9322">
                        <c:v>0</c:v>
                      </c:pt>
                      <c:pt idx="9323">
                        <c:v>0</c:v>
                      </c:pt>
                      <c:pt idx="9324">
                        <c:v>0</c:v>
                      </c:pt>
                      <c:pt idx="9325">
                        <c:v>0</c:v>
                      </c:pt>
                      <c:pt idx="9326">
                        <c:v>0</c:v>
                      </c:pt>
                      <c:pt idx="9327">
                        <c:v>0</c:v>
                      </c:pt>
                      <c:pt idx="9328">
                        <c:v>0</c:v>
                      </c:pt>
                      <c:pt idx="9329">
                        <c:v>0</c:v>
                      </c:pt>
                      <c:pt idx="9330">
                        <c:v>0</c:v>
                      </c:pt>
                      <c:pt idx="9331">
                        <c:v>0</c:v>
                      </c:pt>
                      <c:pt idx="9332">
                        <c:v>0</c:v>
                      </c:pt>
                      <c:pt idx="9333">
                        <c:v>0</c:v>
                      </c:pt>
                      <c:pt idx="9334">
                        <c:v>0</c:v>
                      </c:pt>
                      <c:pt idx="9335">
                        <c:v>0</c:v>
                      </c:pt>
                      <c:pt idx="9336">
                        <c:v>0</c:v>
                      </c:pt>
                      <c:pt idx="9337">
                        <c:v>0</c:v>
                      </c:pt>
                      <c:pt idx="9338">
                        <c:v>0</c:v>
                      </c:pt>
                      <c:pt idx="9339">
                        <c:v>0</c:v>
                      </c:pt>
                      <c:pt idx="9340">
                        <c:v>0</c:v>
                      </c:pt>
                      <c:pt idx="9341">
                        <c:v>0</c:v>
                      </c:pt>
                      <c:pt idx="9342">
                        <c:v>0</c:v>
                      </c:pt>
                      <c:pt idx="9343">
                        <c:v>0</c:v>
                      </c:pt>
                      <c:pt idx="9344">
                        <c:v>0</c:v>
                      </c:pt>
                      <c:pt idx="9345">
                        <c:v>0</c:v>
                      </c:pt>
                      <c:pt idx="9346">
                        <c:v>0</c:v>
                      </c:pt>
                      <c:pt idx="9347">
                        <c:v>0</c:v>
                      </c:pt>
                      <c:pt idx="9348">
                        <c:v>0</c:v>
                      </c:pt>
                      <c:pt idx="9349">
                        <c:v>0</c:v>
                      </c:pt>
                      <c:pt idx="9350">
                        <c:v>0</c:v>
                      </c:pt>
                      <c:pt idx="9351">
                        <c:v>0</c:v>
                      </c:pt>
                      <c:pt idx="9352">
                        <c:v>0</c:v>
                      </c:pt>
                      <c:pt idx="9353">
                        <c:v>0</c:v>
                      </c:pt>
                      <c:pt idx="9354">
                        <c:v>0</c:v>
                      </c:pt>
                      <c:pt idx="9355">
                        <c:v>0</c:v>
                      </c:pt>
                      <c:pt idx="9356">
                        <c:v>0</c:v>
                      </c:pt>
                      <c:pt idx="9357">
                        <c:v>0</c:v>
                      </c:pt>
                      <c:pt idx="9358">
                        <c:v>0</c:v>
                      </c:pt>
                      <c:pt idx="9359">
                        <c:v>0</c:v>
                      </c:pt>
                      <c:pt idx="9360">
                        <c:v>0</c:v>
                      </c:pt>
                      <c:pt idx="9361">
                        <c:v>0</c:v>
                      </c:pt>
                      <c:pt idx="9362">
                        <c:v>0</c:v>
                      </c:pt>
                      <c:pt idx="9363">
                        <c:v>0</c:v>
                      </c:pt>
                      <c:pt idx="9364">
                        <c:v>0</c:v>
                      </c:pt>
                      <c:pt idx="9365">
                        <c:v>0</c:v>
                      </c:pt>
                      <c:pt idx="9366">
                        <c:v>0</c:v>
                      </c:pt>
                      <c:pt idx="9367">
                        <c:v>0</c:v>
                      </c:pt>
                      <c:pt idx="9368">
                        <c:v>0</c:v>
                      </c:pt>
                      <c:pt idx="9369">
                        <c:v>0</c:v>
                      </c:pt>
                      <c:pt idx="9370">
                        <c:v>0</c:v>
                      </c:pt>
                      <c:pt idx="9371">
                        <c:v>0</c:v>
                      </c:pt>
                      <c:pt idx="9372">
                        <c:v>0</c:v>
                      </c:pt>
                      <c:pt idx="9373">
                        <c:v>0</c:v>
                      </c:pt>
                      <c:pt idx="9374">
                        <c:v>0</c:v>
                      </c:pt>
                      <c:pt idx="9375">
                        <c:v>0</c:v>
                      </c:pt>
                      <c:pt idx="9376">
                        <c:v>0</c:v>
                      </c:pt>
                      <c:pt idx="9377">
                        <c:v>0</c:v>
                      </c:pt>
                      <c:pt idx="9378">
                        <c:v>0</c:v>
                      </c:pt>
                      <c:pt idx="9379">
                        <c:v>0</c:v>
                      </c:pt>
                      <c:pt idx="9380">
                        <c:v>0</c:v>
                      </c:pt>
                      <c:pt idx="9381">
                        <c:v>0</c:v>
                      </c:pt>
                      <c:pt idx="9382">
                        <c:v>0</c:v>
                      </c:pt>
                      <c:pt idx="9383">
                        <c:v>0</c:v>
                      </c:pt>
                      <c:pt idx="9384">
                        <c:v>0</c:v>
                      </c:pt>
                      <c:pt idx="9385">
                        <c:v>0</c:v>
                      </c:pt>
                      <c:pt idx="9386">
                        <c:v>0</c:v>
                      </c:pt>
                      <c:pt idx="9387">
                        <c:v>0</c:v>
                      </c:pt>
                      <c:pt idx="9388">
                        <c:v>0</c:v>
                      </c:pt>
                      <c:pt idx="9389">
                        <c:v>0</c:v>
                      </c:pt>
                      <c:pt idx="9390">
                        <c:v>0</c:v>
                      </c:pt>
                      <c:pt idx="9391">
                        <c:v>0</c:v>
                      </c:pt>
                      <c:pt idx="9392">
                        <c:v>0</c:v>
                      </c:pt>
                      <c:pt idx="9393">
                        <c:v>0</c:v>
                      </c:pt>
                      <c:pt idx="9394">
                        <c:v>0</c:v>
                      </c:pt>
                      <c:pt idx="9395">
                        <c:v>0</c:v>
                      </c:pt>
                      <c:pt idx="9396">
                        <c:v>0</c:v>
                      </c:pt>
                      <c:pt idx="9397">
                        <c:v>0</c:v>
                      </c:pt>
                      <c:pt idx="9398">
                        <c:v>0</c:v>
                      </c:pt>
                      <c:pt idx="9399">
                        <c:v>0</c:v>
                      </c:pt>
                      <c:pt idx="9400">
                        <c:v>0</c:v>
                      </c:pt>
                      <c:pt idx="9401">
                        <c:v>0</c:v>
                      </c:pt>
                      <c:pt idx="9402">
                        <c:v>0</c:v>
                      </c:pt>
                      <c:pt idx="9403">
                        <c:v>0</c:v>
                      </c:pt>
                      <c:pt idx="9404">
                        <c:v>0</c:v>
                      </c:pt>
                      <c:pt idx="9405">
                        <c:v>0</c:v>
                      </c:pt>
                      <c:pt idx="9406">
                        <c:v>0</c:v>
                      </c:pt>
                      <c:pt idx="9407">
                        <c:v>0</c:v>
                      </c:pt>
                      <c:pt idx="9408">
                        <c:v>0</c:v>
                      </c:pt>
                      <c:pt idx="9409">
                        <c:v>0</c:v>
                      </c:pt>
                      <c:pt idx="9410">
                        <c:v>0</c:v>
                      </c:pt>
                      <c:pt idx="9411">
                        <c:v>0</c:v>
                      </c:pt>
                      <c:pt idx="9412">
                        <c:v>0</c:v>
                      </c:pt>
                      <c:pt idx="9413">
                        <c:v>0</c:v>
                      </c:pt>
                      <c:pt idx="9414">
                        <c:v>0</c:v>
                      </c:pt>
                      <c:pt idx="9415">
                        <c:v>0</c:v>
                      </c:pt>
                      <c:pt idx="9416">
                        <c:v>0</c:v>
                      </c:pt>
                      <c:pt idx="9417">
                        <c:v>0</c:v>
                      </c:pt>
                      <c:pt idx="9418">
                        <c:v>0</c:v>
                      </c:pt>
                      <c:pt idx="9419">
                        <c:v>0</c:v>
                      </c:pt>
                      <c:pt idx="9420">
                        <c:v>0</c:v>
                      </c:pt>
                      <c:pt idx="9421">
                        <c:v>0</c:v>
                      </c:pt>
                      <c:pt idx="9422">
                        <c:v>0</c:v>
                      </c:pt>
                      <c:pt idx="9423">
                        <c:v>0</c:v>
                      </c:pt>
                      <c:pt idx="9424">
                        <c:v>0</c:v>
                      </c:pt>
                      <c:pt idx="9425">
                        <c:v>0</c:v>
                      </c:pt>
                      <c:pt idx="9426">
                        <c:v>0</c:v>
                      </c:pt>
                      <c:pt idx="9427">
                        <c:v>0</c:v>
                      </c:pt>
                      <c:pt idx="9428">
                        <c:v>0</c:v>
                      </c:pt>
                      <c:pt idx="9429">
                        <c:v>0</c:v>
                      </c:pt>
                      <c:pt idx="9430">
                        <c:v>0</c:v>
                      </c:pt>
                      <c:pt idx="9431">
                        <c:v>0</c:v>
                      </c:pt>
                      <c:pt idx="9432">
                        <c:v>0</c:v>
                      </c:pt>
                      <c:pt idx="9433">
                        <c:v>0</c:v>
                      </c:pt>
                      <c:pt idx="9434">
                        <c:v>0</c:v>
                      </c:pt>
                      <c:pt idx="9435">
                        <c:v>0</c:v>
                      </c:pt>
                      <c:pt idx="9436">
                        <c:v>0</c:v>
                      </c:pt>
                      <c:pt idx="9437">
                        <c:v>0</c:v>
                      </c:pt>
                      <c:pt idx="9438">
                        <c:v>0</c:v>
                      </c:pt>
                      <c:pt idx="9439">
                        <c:v>0</c:v>
                      </c:pt>
                      <c:pt idx="9440">
                        <c:v>0</c:v>
                      </c:pt>
                      <c:pt idx="9441">
                        <c:v>0</c:v>
                      </c:pt>
                      <c:pt idx="9442">
                        <c:v>0</c:v>
                      </c:pt>
                      <c:pt idx="9443">
                        <c:v>0</c:v>
                      </c:pt>
                      <c:pt idx="9444">
                        <c:v>0</c:v>
                      </c:pt>
                      <c:pt idx="9445">
                        <c:v>0</c:v>
                      </c:pt>
                      <c:pt idx="9446">
                        <c:v>0</c:v>
                      </c:pt>
                      <c:pt idx="9447">
                        <c:v>0</c:v>
                      </c:pt>
                      <c:pt idx="9448">
                        <c:v>0</c:v>
                      </c:pt>
                      <c:pt idx="9449">
                        <c:v>0</c:v>
                      </c:pt>
                      <c:pt idx="9450">
                        <c:v>0</c:v>
                      </c:pt>
                      <c:pt idx="9451">
                        <c:v>0</c:v>
                      </c:pt>
                      <c:pt idx="9452">
                        <c:v>0</c:v>
                      </c:pt>
                      <c:pt idx="9453">
                        <c:v>0</c:v>
                      </c:pt>
                      <c:pt idx="9454">
                        <c:v>0</c:v>
                      </c:pt>
                      <c:pt idx="9455">
                        <c:v>0</c:v>
                      </c:pt>
                      <c:pt idx="9456">
                        <c:v>0</c:v>
                      </c:pt>
                      <c:pt idx="9457">
                        <c:v>0</c:v>
                      </c:pt>
                      <c:pt idx="9458">
                        <c:v>0</c:v>
                      </c:pt>
                      <c:pt idx="9459">
                        <c:v>0</c:v>
                      </c:pt>
                      <c:pt idx="9460">
                        <c:v>0</c:v>
                      </c:pt>
                      <c:pt idx="9461">
                        <c:v>0</c:v>
                      </c:pt>
                      <c:pt idx="9462">
                        <c:v>0</c:v>
                      </c:pt>
                      <c:pt idx="9463">
                        <c:v>0</c:v>
                      </c:pt>
                      <c:pt idx="9464">
                        <c:v>0</c:v>
                      </c:pt>
                      <c:pt idx="9465">
                        <c:v>0</c:v>
                      </c:pt>
                      <c:pt idx="9466">
                        <c:v>0</c:v>
                      </c:pt>
                      <c:pt idx="9467">
                        <c:v>0</c:v>
                      </c:pt>
                      <c:pt idx="9468">
                        <c:v>0</c:v>
                      </c:pt>
                      <c:pt idx="9469">
                        <c:v>0</c:v>
                      </c:pt>
                      <c:pt idx="9470">
                        <c:v>0</c:v>
                      </c:pt>
                      <c:pt idx="9471">
                        <c:v>0</c:v>
                      </c:pt>
                      <c:pt idx="9472">
                        <c:v>0</c:v>
                      </c:pt>
                      <c:pt idx="9473">
                        <c:v>0</c:v>
                      </c:pt>
                      <c:pt idx="9474">
                        <c:v>0</c:v>
                      </c:pt>
                      <c:pt idx="9475">
                        <c:v>0</c:v>
                      </c:pt>
                      <c:pt idx="9476">
                        <c:v>0</c:v>
                      </c:pt>
                      <c:pt idx="9477">
                        <c:v>0</c:v>
                      </c:pt>
                      <c:pt idx="9478">
                        <c:v>0</c:v>
                      </c:pt>
                      <c:pt idx="9479">
                        <c:v>0</c:v>
                      </c:pt>
                      <c:pt idx="9480">
                        <c:v>0</c:v>
                      </c:pt>
                      <c:pt idx="9481">
                        <c:v>0</c:v>
                      </c:pt>
                      <c:pt idx="9482">
                        <c:v>0</c:v>
                      </c:pt>
                      <c:pt idx="9483">
                        <c:v>0</c:v>
                      </c:pt>
                      <c:pt idx="9484">
                        <c:v>0</c:v>
                      </c:pt>
                      <c:pt idx="9485">
                        <c:v>0</c:v>
                      </c:pt>
                      <c:pt idx="9486">
                        <c:v>0</c:v>
                      </c:pt>
                      <c:pt idx="9487">
                        <c:v>0</c:v>
                      </c:pt>
                      <c:pt idx="9488">
                        <c:v>0</c:v>
                      </c:pt>
                      <c:pt idx="9489">
                        <c:v>0</c:v>
                      </c:pt>
                      <c:pt idx="9490">
                        <c:v>0</c:v>
                      </c:pt>
                      <c:pt idx="9491">
                        <c:v>0</c:v>
                      </c:pt>
                      <c:pt idx="9492">
                        <c:v>0</c:v>
                      </c:pt>
                      <c:pt idx="9493">
                        <c:v>0</c:v>
                      </c:pt>
                      <c:pt idx="9494">
                        <c:v>0</c:v>
                      </c:pt>
                      <c:pt idx="9495">
                        <c:v>0</c:v>
                      </c:pt>
                      <c:pt idx="9496">
                        <c:v>0</c:v>
                      </c:pt>
                      <c:pt idx="9497">
                        <c:v>0</c:v>
                      </c:pt>
                      <c:pt idx="9498">
                        <c:v>0</c:v>
                      </c:pt>
                      <c:pt idx="9499">
                        <c:v>0</c:v>
                      </c:pt>
                      <c:pt idx="9500">
                        <c:v>0</c:v>
                      </c:pt>
                      <c:pt idx="9501">
                        <c:v>0</c:v>
                      </c:pt>
                      <c:pt idx="9502">
                        <c:v>0</c:v>
                      </c:pt>
                      <c:pt idx="9503">
                        <c:v>0</c:v>
                      </c:pt>
                      <c:pt idx="9504">
                        <c:v>0</c:v>
                      </c:pt>
                      <c:pt idx="9505">
                        <c:v>0</c:v>
                      </c:pt>
                      <c:pt idx="9506">
                        <c:v>0</c:v>
                      </c:pt>
                      <c:pt idx="9507">
                        <c:v>0</c:v>
                      </c:pt>
                      <c:pt idx="9508">
                        <c:v>0</c:v>
                      </c:pt>
                      <c:pt idx="9509">
                        <c:v>0</c:v>
                      </c:pt>
                      <c:pt idx="9510">
                        <c:v>0</c:v>
                      </c:pt>
                      <c:pt idx="9511">
                        <c:v>0</c:v>
                      </c:pt>
                      <c:pt idx="9512">
                        <c:v>0</c:v>
                      </c:pt>
                      <c:pt idx="9513">
                        <c:v>0</c:v>
                      </c:pt>
                      <c:pt idx="9514">
                        <c:v>0</c:v>
                      </c:pt>
                      <c:pt idx="9515">
                        <c:v>0</c:v>
                      </c:pt>
                      <c:pt idx="9516">
                        <c:v>0</c:v>
                      </c:pt>
                      <c:pt idx="9517">
                        <c:v>0</c:v>
                      </c:pt>
                      <c:pt idx="9518">
                        <c:v>0</c:v>
                      </c:pt>
                      <c:pt idx="9519">
                        <c:v>0</c:v>
                      </c:pt>
                      <c:pt idx="9520">
                        <c:v>0</c:v>
                      </c:pt>
                      <c:pt idx="9521">
                        <c:v>0</c:v>
                      </c:pt>
                      <c:pt idx="9522">
                        <c:v>0</c:v>
                      </c:pt>
                      <c:pt idx="9523">
                        <c:v>0</c:v>
                      </c:pt>
                      <c:pt idx="9524">
                        <c:v>0</c:v>
                      </c:pt>
                      <c:pt idx="9525">
                        <c:v>0</c:v>
                      </c:pt>
                      <c:pt idx="9526">
                        <c:v>0</c:v>
                      </c:pt>
                      <c:pt idx="9527">
                        <c:v>0</c:v>
                      </c:pt>
                      <c:pt idx="9528">
                        <c:v>0</c:v>
                      </c:pt>
                      <c:pt idx="9529">
                        <c:v>0</c:v>
                      </c:pt>
                      <c:pt idx="9530">
                        <c:v>0</c:v>
                      </c:pt>
                      <c:pt idx="9531">
                        <c:v>0</c:v>
                      </c:pt>
                      <c:pt idx="9532">
                        <c:v>0</c:v>
                      </c:pt>
                      <c:pt idx="9533">
                        <c:v>0</c:v>
                      </c:pt>
                      <c:pt idx="9534">
                        <c:v>0</c:v>
                      </c:pt>
                      <c:pt idx="9535">
                        <c:v>0</c:v>
                      </c:pt>
                      <c:pt idx="9536">
                        <c:v>0</c:v>
                      </c:pt>
                      <c:pt idx="9537">
                        <c:v>0</c:v>
                      </c:pt>
                      <c:pt idx="9538">
                        <c:v>0</c:v>
                      </c:pt>
                      <c:pt idx="9539">
                        <c:v>0</c:v>
                      </c:pt>
                      <c:pt idx="9540">
                        <c:v>0</c:v>
                      </c:pt>
                      <c:pt idx="9541">
                        <c:v>0</c:v>
                      </c:pt>
                      <c:pt idx="9542">
                        <c:v>0</c:v>
                      </c:pt>
                      <c:pt idx="9543">
                        <c:v>0</c:v>
                      </c:pt>
                      <c:pt idx="9544">
                        <c:v>0</c:v>
                      </c:pt>
                      <c:pt idx="9545">
                        <c:v>0</c:v>
                      </c:pt>
                      <c:pt idx="9546">
                        <c:v>0</c:v>
                      </c:pt>
                      <c:pt idx="9547">
                        <c:v>0</c:v>
                      </c:pt>
                      <c:pt idx="9548">
                        <c:v>0</c:v>
                      </c:pt>
                      <c:pt idx="9549">
                        <c:v>0</c:v>
                      </c:pt>
                      <c:pt idx="9550">
                        <c:v>0</c:v>
                      </c:pt>
                      <c:pt idx="9551">
                        <c:v>0</c:v>
                      </c:pt>
                      <c:pt idx="9552">
                        <c:v>0</c:v>
                      </c:pt>
                      <c:pt idx="9553">
                        <c:v>0</c:v>
                      </c:pt>
                      <c:pt idx="9554">
                        <c:v>0</c:v>
                      </c:pt>
                      <c:pt idx="9555">
                        <c:v>0</c:v>
                      </c:pt>
                      <c:pt idx="9556">
                        <c:v>0</c:v>
                      </c:pt>
                      <c:pt idx="9557">
                        <c:v>0</c:v>
                      </c:pt>
                      <c:pt idx="9558">
                        <c:v>0</c:v>
                      </c:pt>
                      <c:pt idx="9559">
                        <c:v>0</c:v>
                      </c:pt>
                      <c:pt idx="9560">
                        <c:v>0</c:v>
                      </c:pt>
                      <c:pt idx="9561">
                        <c:v>0</c:v>
                      </c:pt>
                      <c:pt idx="9562">
                        <c:v>0</c:v>
                      </c:pt>
                      <c:pt idx="9563">
                        <c:v>0</c:v>
                      </c:pt>
                      <c:pt idx="9564">
                        <c:v>0</c:v>
                      </c:pt>
                      <c:pt idx="9565">
                        <c:v>0</c:v>
                      </c:pt>
                      <c:pt idx="9566">
                        <c:v>0</c:v>
                      </c:pt>
                      <c:pt idx="9567">
                        <c:v>0</c:v>
                      </c:pt>
                      <c:pt idx="9568">
                        <c:v>0</c:v>
                      </c:pt>
                      <c:pt idx="9569">
                        <c:v>0</c:v>
                      </c:pt>
                      <c:pt idx="9570">
                        <c:v>0</c:v>
                      </c:pt>
                      <c:pt idx="9571">
                        <c:v>0</c:v>
                      </c:pt>
                      <c:pt idx="9572">
                        <c:v>0</c:v>
                      </c:pt>
                      <c:pt idx="9573">
                        <c:v>0</c:v>
                      </c:pt>
                      <c:pt idx="9574">
                        <c:v>0</c:v>
                      </c:pt>
                      <c:pt idx="9575">
                        <c:v>0</c:v>
                      </c:pt>
                      <c:pt idx="9576">
                        <c:v>0</c:v>
                      </c:pt>
                      <c:pt idx="9577">
                        <c:v>0</c:v>
                      </c:pt>
                      <c:pt idx="9578">
                        <c:v>0</c:v>
                      </c:pt>
                      <c:pt idx="9579">
                        <c:v>0</c:v>
                      </c:pt>
                      <c:pt idx="9580">
                        <c:v>0</c:v>
                      </c:pt>
                      <c:pt idx="9581">
                        <c:v>0</c:v>
                      </c:pt>
                      <c:pt idx="9582">
                        <c:v>0</c:v>
                      </c:pt>
                      <c:pt idx="9583">
                        <c:v>0</c:v>
                      </c:pt>
                      <c:pt idx="9584">
                        <c:v>0</c:v>
                      </c:pt>
                      <c:pt idx="9585">
                        <c:v>0</c:v>
                      </c:pt>
                      <c:pt idx="9586">
                        <c:v>0</c:v>
                      </c:pt>
                      <c:pt idx="9587">
                        <c:v>0</c:v>
                      </c:pt>
                      <c:pt idx="9588">
                        <c:v>0</c:v>
                      </c:pt>
                      <c:pt idx="9589">
                        <c:v>0</c:v>
                      </c:pt>
                      <c:pt idx="9590">
                        <c:v>0</c:v>
                      </c:pt>
                      <c:pt idx="9591">
                        <c:v>0</c:v>
                      </c:pt>
                      <c:pt idx="9592">
                        <c:v>0</c:v>
                      </c:pt>
                      <c:pt idx="9593">
                        <c:v>0</c:v>
                      </c:pt>
                      <c:pt idx="9594">
                        <c:v>0</c:v>
                      </c:pt>
                      <c:pt idx="9595">
                        <c:v>0</c:v>
                      </c:pt>
                      <c:pt idx="9596">
                        <c:v>0</c:v>
                      </c:pt>
                      <c:pt idx="9597">
                        <c:v>0</c:v>
                      </c:pt>
                      <c:pt idx="9598">
                        <c:v>0</c:v>
                      </c:pt>
                      <c:pt idx="9599">
                        <c:v>0</c:v>
                      </c:pt>
                      <c:pt idx="9600">
                        <c:v>0</c:v>
                      </c:pt>
                      <c:pt idx="9601">
                        <c:v>0</c:v>
                      </c:pt>
                      <c:pt idx="9602">
                        <c:v>0</c:v>
                      </c:pt>
                      <c:pt idx="9603">
                        <c:v>0</c:v>
                      </c:pt>
                      <c:pt idx="9604">
                        <c:v>0</c:v>
                      </c:pt>
                      <c:pt idx="9605">
                        <c:v>0</c:v>
                      </c:pt>
                      <c:pt idx="9606">
                        <c:v>0</c:v>
                      </c:pt>
                      <c:pt idx="9607">
                        <c:v>0</c:v>
                      </c:pt>
                      <c:pt idx="9608">
                        <c:v>0</c:v>
                      </c:pt>
                      <c:pt idx="9609">
                        <c:v>0</c:v>
                      </c:pt>
                      <c:pt idx="9610">
                        <c:v>0</c:v>
                      </c:pt>
                      <c:pt idx="9611">
                        <c:v>0</c:v>
                      </c:pt>
                      <c:pt idx="9612">
                        <c:v>0</c:v>
                      </c:pt>
                      <c:pt idx="9613">
                        <c:v>0</c:v>
                      </c:pt>
                      <c:pt idx="9614">
                        <c:v>0</c:v>
                      </c:pt>
                      <c:pt idx="9615">
                        <c:v>0</c:v>
                      </c:pt>
                      <c:pt idx="9616">
                        <c:v>0</c:v>
                      </c:pt>
                      <c:pt idx="9617">
                        <c:v>0</c:v>
                      </c:pt>
                      <c:pt idx="9618">
                        <c:v>0</c:v>
                      </c:pt>
                      <c:pt idx="9619">
                        <c:v>0</c:v>
                      </c:pt>
                      <c:pt idx="9620">
                        <c:v>0</c:v>
                      </c:pt>
                      <c:pt idx="9621">
                        <c:v>0</c:v>
                      </c:pt>
                      <c:pt idx="9622">
                        <c:v>0</c:v>
                      </c:pt>
                      <c:pt idx="9623">
                        <c:v>0</c:v>
                      </c:pt>
                      <c:pt idx="9624">
                        <c:v>0</c:v>
                      </c:pt>
                      <c:pt idx="9625">
                        <c:v>0</c:v>
                      </c:pt>
                      <c:pt idx="9626">
                        <c:v>0</c:v>
                      </c:pt>
                      <c:pt idx="9627">
                        <c:v>0</c:v>
                      </c:pt>
                      <c:pt idx="9628">
                        <c:v>0</c:v>
                      </c:pt>
                      <c:pt idx="9629">
                        <c:v>0</c:v>
                      </c:pt>
                      <c:pt idx="9630">
                        <c:v>0</c:v>
                      </c:pt>
                      <c:pt idx="9631">
                        <c:v>0</c:v>
                      </c:pt>
                      <c:pt idx="9632">
                        <c:v>0</c:v>
                      </c:pt>
                      <c:pt idx="9633">
                        <c:v>0</c:v>
                      </c:pt>
                      <c:pt idx="9634">
                        <c:v>0</c:v>
                      </c:pt>
                      <c:pt idx="9635">
                        <c:v>0</c:v>
                      </c:pt>
                      <c:pt idx="9636">
                        <c:v>0</c:v>
                      </c:pt>
                      <c:pt idx="9637">
                        <c:v>0</c:v>
                      </c:pt>
                      <c:pt idx="9638">
                        <c:v>0</c:v>
                      </c:pt>
                      <c:pt idx="9639">
                        <c:v>0</c:v>
                      </c:pt>
                      <c:pt idx="9640">
                        <c:v>0</c:v>
                      </c:pt>
                      <c:pt idx="9641">
                        <c:v>0</c:v>
                      </c:pt>
                      <c:pt idx="9642">
                        <c:v>0</c:v>
                      </c:pt>
                      <c:pt idx="9643">
                        <c:v>0</c:v>
                      </c:pt>
                      <c:pt idx="9644">
                        <c:v>0</c:v>
                      </c:pt>
                      <c:pt idx="9645">
                        <c:v>0</c:v>
                      </c:pt>
                      <c:pt idx="9646">
                        <c:v>0</c:v>
                      </c:pt>
                      <c:pt idx="9647">
                        <c:v>0</c:v>
                      </c:pt>
                      <c:pt idx="9648">
                        <c:v>0</c:v>
                      </c:pt>
                      <c:pt idx="9649">
                        <c:v>0</c:v>
                      </c:pt>
                      <c:pt idx="9650">
                        <c:v>0</c:v>
                      </c:pt>
                      <c:pt idx="9651">
                        <c:v>0</c:v>
                      </c:pt>
                      <c:pt idx="9652">
                        <c:v>0</c:v>
                      </c:pt>
                      <c:pt idx="9653">
                        <c:v>0</c:v>
                      </c:pt>
                      <c:pt idx="9654">
                        <c:v>0</c:v>
                      </c:pt>
                      <c:pt idx="9655">
                        <c:v>0</c:v>
                      </c:pt>
                      <c:pt idx="9656">
                        <c:v>0</c:v>
                      </c:pt>
                      <c:pt idx="9657">
                        <c:v>0</c:v>
                      </c:pt>
                      <c:pt idx="9658">
                        <c:v>0</c:v>
                      </c:pt>
                      <c:pt idx="9659">
                        <c:v>0</c:v>
                      </c:pt>
                      <c:pt idx="9660">
                        <c:v>0</c:v>
                      </c:pt>
                      <c:pt idx="9661">
                        <c:v>0</c:v>
                      </c:pt>
                      <c:pt idx="9662">
                        <c:v>0</c:v>
                      </c:pt>
                      <c:pt idx="9663">
                        <c:v>0</c:v>
                      </c:pt>
                      <c:pt idx="9664">
                        <c:v>0</c:v>
                      </c:pt>
                      <c:pt idx="9665">
                        <c:v>0</c:v>
                      </c:pt>
                      <c:pt idx="9666">
                        <c:v>0</c:v>
                      </c:pt>
                      <c:pt idx="9667">
                        <c:v>0</c:v>
                      </c:pt>
                      <c:pt idx="9668">
                        <c:v>0</c:v>
                      </c:pt>
                      <c:pt idx="9669">
                        <c:v>0</c:v>
                      </c:pt>
                      <c:pt idx="9670">
                        <c:v>0</c:v>
                      </c:pt>
                      <c:pt idx="9671">
                        <c:v>0</c:v>
                      </c:pt>
                      <c:pt idx="9672">
                        <c:v>0</c:v>
                      </c:pt>
                      <c:pt idx="9673">
                        <c:v>0</c:v>
                      </c:pt>
                      <c:pt idx="9674">
                        <c:v>0</c:v>
                      </c:pt>
                      <c:pt idx="9675">
                        <c:v>0</c:v>
                      </c:pt>
                      <c:pt idx="9676">
                        <c:v>0</c:v>
                      </c:pt>
                      <c:pt idx="9677">
                        <c:v>0</c:v>
                      </c:pt>
                      <c:pt idx="9678">
                        <c:v>0</c:v>
                      </c:pt>
                      <c:pt idx="9679">
                        <c:v>0</c:v>
                      </c:pt>
                      <c:pt idx="9680">
                        <c:v>0</c:v>
                      </c:pt>
                      <c:pt idx="9681">
                        <c:v>0</c:v>
                      </c:pt>
                      <c:pt idx="9682">
                        <c:v>0</c:v>
                      </c:pt>
                      <c:pt idx="9683">
                        <c:v>0</c:v>
                      </c:pt>
                      <c:pt idx="9684">
                        <c:v>0</c:v>
                      </c:pt>
                      <c:pt idx="9685">
                        <c:v>0</c:v>
                      </c:pt>
                      <c:pt idx="9686">
                        <c:v>0</c:v>
                      </c:pt>
                      <c:pt idx="9687">
                        <c:v>0</c:v>
                      </c:pt>
                      <c:pt idx="9688">
                        <c:v>0</c:v>
                      </c:pt>
                      <c:pt idx="9689">
                        <c:v>0</c:v>
                      </c:pt>
                      <c:pt idx="9690">
                        <c:v>0</c:v>
                      </c:pt>
                      <c:pt idx="9691">
                        <c:v>0</c:v>
                      </c:pt>
                      <c:pt idx="9692">
                        <c:v>0</c:v>
                      </c:pt>
                      <c:pt idx="9693">
                        <c:v>0</c:v>
                      </c:pt>
                      <c:pt idx="9694">
                        <c:v>0</c:v>
                      </c:pt>
                      <c:pt idx="9695">
                        <c:v>0</c:v>
                      </c:pt>
                      <c:pt idx="9696">
                        <c:v>0</c:v>
                      </c:pt>
                      <c:pt idx="9697">
                        <c:v>0</c:v>
                      </c:pt>
                      <c:pt idx="9698">
                        <c:v>0</c:v>
                      </c:pt>
                      <c:pt idx="9699">
                        <c:v>0</c:v>
                      </c:pt>
                      <c:pt idx="9700">
                        <c:v>0</c:v>
                      </c:pt>
                      <c:pt idx="9701">
                        <c:v>0</c:v>
                      </c:pt>
                      <c:pt idx="9702">
                        <c:v>0</c:v>
                      </c:pt>
                      <c:pt idx="9703">
                        <c:v>0</c:v>
                      </c:pt>
                      <c:pt idx="9704">
                        <c:v>0</c:v>
                      </c:pt>
                      <c:pt idx="9705">
                        <c:v>0</c:v>
                      </c:pt>
                      <c:pt idx="9706">
                        <c:v>0</c:v>
                      </c:pt>
                      <c:pt idx="9707">
                        <c:v>0</c:v>
                      </c:pt>
                      <c:pt idx="9708">
                        <c:v>0</c:v>
                      </c:pt>
                      <c:pt idx="9709">
                        <c:v>0</c:v>
                      </c:pt>
                      <c:pt idx="9710">
                        <c:v>0</c:v>
                      </c:pt>
                      <c:pt idx="9711">
                        <c:v>0</c:v>
                      </c:pt>
                      <c:pt idx="9712">
                        <c:v>0</c:v>
                      </c:pt>
                      <c:pt idx="9713">
                        <c:v>0</c:v>
                      </c:pt>
                      <c:pt idx="9714">
                        <c:v>0</c:v>
                      </c:pt>
                      <c:pt idx="9715">
                        <c:v>0</c:v>
                      </c:pt>
                      <c:pt idx="9716">
                        <c:v>0</c:v>
                      </c:pt>
                      <c:pt idx="9717">
                        <c:v>0</c:v>
                      </c:pt>
                      <c:pt idx="9718">
                        <c:v>0</c:v>
                      </c:pt>
                      <c:pt idx="9719">
                        <c:v>0</c:v>
                      </c:pt>
                      <c:pt idx="9720">
                        <c:v>0</c:v>
                      </c:pt>
                      <c:pt idx="9721">
                        <c:v>0</c:v>
                      </c:pt>
                      <c:pt idx="9722">
                        <c:v>0</c:v>
                      </c:pt>
                      <c:pt idx="9723">
                        <c:v>0</c:v>
                      </c:pt>
                      <c:pt idx="9724">
                        <c:v>0</c:v>
                      </c:pt>
                      <c:pt idx="9725">
                        <c:v>0</c:v>
                      </c:pt>
                      <c:pt idx="9726">
                        <c:v>0</c:v>
                      </c:pt>
                      <c:pt idx="9727">
                        <c:v>0</c:v>
                      </c:pt>
                      <c:pt idx="9728">
                        <c:v>0</c:v>
                      </c:pt>
                      <c:pt idx="9729">
                        <c:v>0</c:v>
                      </c:pt>
                      <c:pt idx="9730">
                        <c:v>0</c:v>
                      </c:pt>
                      <c:pt idx="9731">
                        <c:v>0</c:v>
                      </c:pt>
                      <c:pt idx="9732">
                        <c:v>0</c:v>
                      </c:pt>
                      <c:pt idx="9733">
                        <c:v>0</c:v>
                      </c:pt>
                      <c:pt idx="9734">
                        <c:v>0</c:v>
                      </c:pt>
                      <c:pt idx="9735">
                        <c:v>0</c:v>
                      </c:pt>
                      <c:pt idx="9736">
                        <c:v>0</c:v>
                      </c:pt>
                      <c:pt idx="9737">
                        <c:v>0</c:v>
                      </c:pt>
                      <c:pt idx="9738">
                        <c:v>0</c:v>
                      </c:pt>
                      <c:pt idx="9739">
                        <c:v>0</c:v>
                      </c:pt>
                      <c:pt idx="9740">
                        <c:v>0</c:v>
                      </c:pt>
                      <c:pt idx="9741">
                        <c:v>0</c:v>
                      </c:pt>
                      <c:pt idx="9742">
                        <c:v>0</c:v>
                      </c:pt>
                      <c:pt idx="9743">
                        <c:v>0</c:v>
                      </c:pt>
                      <c:pt idx="9744">
                        <c:v>0</c:v>
                      </c:pt>
                      <c:pt idx="9745">
                        <c:v>0</c:v>
                      </c:pt>
                      <c:pt idx="9746">
                        <c:v>0</c:v>
                      </c:pt>
                      <c:pt idx="9747">
                        <c:v>0</c:v>
                      </c:pt>
                      <c:pt idx="9748">
                        <c:v>0</c:v>
                      </c:pt>
                      <c:pt idx="9749">
                        <c:v>0</c:v>
                      </c:pt>
                      <c:pt idx="9750">
                        <c:v>0</c:v>
                      </c:pt>
                      <c:pt idx="9751">
                        <c:v>0</c:v>
                      </c:pt>
                      <c:pt idx="9752">
                        <c:v>0</c:v>
                      </c:pt>
                      <c:pt idx="9753">
                        <c:v>0</c:v>
                      </c:pt>
                      <c:pt idx="9754">
                        <c:v>0</c:v>
                      </c:pt>
                      <c:pt idx="9755">
                        <c:v>0</c:v>
                      </c:pt>
                      <c:pt idx="9756">
                        <c:v>0</c:v>
                      </c:pt>
                      <c:pt idx="9757">
                        <c:v>0</c:v>
                      </c:pt>
                      <c:pt idx="9758">
                        <c:v>0</c:v>
                      </c:pt>
                      <c:pt idx="9759">
                        <c:v>0</c:v>
                      </c:pt>
                      <c:pt idx="9760">
                        <c:v>0</c:v>
                      </c:pt>
                      <c:pt idx="9761">
                        <c:v>0</c:v>
                      </c:pt>
                      <c:pt idx="9762">
                        <c:v>0</c:v>
                      </c:pt>
                      <c:pt idx="9763">
                        <c:v>0</c:v>
                      </c:pt>
                      <c:pt idx="9764">
                        <c:v>0</c:v>
                      </c:pt>
                      <c:pt idx="9765">
                        <c:v>0</c:v>
                      </c:pt>
                      <c:pt idx="9766">
                        <c:v>0</c:v>
                      </c:pt>
                      <c:pt idx="9767">
                        <c:v>0</c:v>
                      </c:pt>
                      <c:pt idx="9768">
                        <c:v>0</c:v>
                      </c:pt>
                      <c:pt idx="9769">
                        <c:v>0</c:v>
                      </c:pt>
                      <c:pt idx="9770">
                        <c:v>0</c:v>
                      </c:pt>
                      <c:pt idx="9771">
                        <c:v>0</c:v>
                      </c:pt>
                      <c:pt idx="9772">
                        <c:v>0</c:v>
                      </c:pt>
                      <c:pt idx="9773">
                        <c:v>0</c:v>
                      </c:pt>
                      <c:pt idx="9774">
                        <c:v>0</c:v>
                      </c:pt>
                      <c:pt idx="9775">
                        <c:v>0</c:v>
                      </c:pt>
                      <c:pt idx="9776">
                        <c:v>0</c:v>
                      </c:pt>
                      <c:pt idx="9777">
                        <c:v>0</c:v>
                      </c:pt>
                      <c:pt idx="9778">
                        <c:v>0</c:v>
                      </c:pt>
                      <c:pt idx="9779">
                        <c:v>0</c:v>
                      </c:pt>
                      <c:pt idx="9780">
                        <c:v>0</c:v>
                      </c:pt>
                      <c:pt idx="9781">
                        <c:v>0</c:v>
                      </c:pt>
                      <c:pt idx="9782">
                        <c:v>0</c:v>
                      </c:pt>
                      <c:pt idx="9783">
                        <c:v>0</c:v>
                      </c:pt>
                      <c:pt idx="9784">
                        <c:v>0</c:v>
                      </c:pt>
                      <c:pt idx="9785">
                        <c:v>0</c:v>
                      </c:pt>
                      <c:pt idx="9786">
                        <c:v>0</c:v>
                      </c:pt>
                      <c:pt idx="9787">
                        <c:v>0</c:v>
                      </c:pt>
                      <c:pt idx="9788">
                        <c:v>0</c:v>
                      </c:pt>
                      <c:pt idx="9789">
                        <c:v>0</c:v>
                      </c:pt>
                      <c:pt idx="9790">
                        <c:v>0</c:v>
                      </c:pt>
                      <c:pt idx="9791">
                        <c:v>0</c:v>
                      </c:pt>
                      <c:pt idx="9792">
                        <c:v>0</c:v>
                      </c:pt>
                      <c:pt idx="9793">
                        <c:v>0</c:v>
                      </c:pt>
                      <c:pt idx="9794">
                        <c:v>0</c:v>
                      </c:pt>
                      <c:pt idx="9795">
                        <c:v>0</c:v>
                      </c:pt>
                      <c:pt idx="9796">
                        <c:v>0</c:v>
                      </c:pt>
                      <c:pt idx="9797">
                        <c:v>0</c:v>
                      </c:pt>
                      <c:pt idx="9798">
                        <c:v>0</c:v>
                      </c:pt>
                      <c:pt idx="9799">
                        <c:v>0</c:v>
                      </c:pt>
                      <c:pt idx="9800">
                        <c:v>0</c:v>
                      </c:pt>
                      <c:pt idx="9801">
                        <c:v>0</c:v>
                      </c:pt>
                      <c:pt idx="9802">
                        <c:v>0</c:v>
                      </c:pt>
                      <c:pt idx="9803">
                        <c:v>0</c:v>
                      </c:pt>
                      <c:pt idx="9804">
                        <c:v>0</c:v>
                      </c:pt>
                      <c:pt idx="9805">
                        <c:v>0</c:v>
                      </c:pt>
                      <c:pt idx="9806">
                        <c:v>0</c:v>
                      </c:pt>
                      <c:pt idx="9807">
                        <c:v>0</c:v>
                      </c:pt>
                      <c:pt idx="9808">
                        <c:v>0</c:v>
                      </c:pt>
                      <c:pt idx="9809">
                        <c:v>0</c:v>
                      </c:pt>
                      <c:pt idx="9810">
                        <c:v>0</c:v>
                      </c:pt>
                      <c:pt idx="9811">
                        <c:v>0</c:v>
                      </c:pt>
                      <c:pt idx="9812">
                        <c:v>0</c:v>
                      </c:pt>
                      <c:pt idx="9813">
                        <c:v>0</c:v>
                      </c:pt>
                      <c:pt idx="9814">
                        <c:v>0</c:v>
                      </c:pt>
                      <c:pt idx="9815">
                        <c:v>0</c:v>
                      </c:pt>
                      <c:pt idx="9816">
                        <c:v>0</c:v>
                      </c:pt>
                      <c:pt idx="9817">
                        <c:v>0</c:v>
                      </c:pt>
                      <c:pt idx="9818">
                        <c:v>0</c:v>
                      </c:pt>
                      <c:pt idx="9819">
                        <c:v>0</c:v>
                      </c:pt>
                      <c:pt idx="9820">
                        <c:v>0</c:v>
                      </c:pt>
                      <c:pt idx="9821">
                        <c:v>0</c:v>
                      </c:pt>
                      <c:pt idx="9822">
                        <c:v>0</c:v>
                      </c:pt>
                      <c:pt idx="9823">
                        <c:v>0</c:v>
                      </c:pt>
                      <c:pt idx="9824">
                        <c:v>0</c:v>
                      </c:pt>
                      <c:pt idx="9825">
                        <c:v>0</c:v>
                      </c:pt>
                      <c:pt idx="9826">
                        <c:v>0</c:v>
                      </c:pt>
                      <c:pt idx="9827">
                        <c:v>0</c:v>
                      </c:pt>
                      <c:pt idx="9828">
                        <c:v>0</c:v>
                      </c:pt>
                      <c:pt idx="9829">
                        <c:v>0</c:v>
                      </c:pt>
                      <c:pt idx="9830">
                        <c:v>0</c:v>
                      </c:pt>
                      <c:pt idx="9831">
                        <c:v>0</c:v>
                      </c:pt>
                      <c:pt idx="9832">
                        <c:v>0</c:v>
                      </c:pt>
                      <c:pt idx="9833">
                        <c:v>0</c:v>
                      </c:pt>
                      <c:pt idx="9834">
                        <c:v>0</c:v>
                      </c:pt>
                      <c:pt idx="9835">
                        <c:v>0</c:v>
                      </c:pt>
                      <c:pt idx="9836">
                        <c:v>0</c:v>
                      </c:pt>
                      <c:pt idx="9837">
                        <c:v>0</c:v>
                      </c:pt>
                      <c:pt idx="9838">
                        <c:v>0</c:v>
                      </c:pt>
                      <c:pt idx="9839">
                        <c:v>0</c:v>
                      </c:pt>
                      <c:pt idx="9840">
                        <c:v>0</c:v>
                      </c:pt>
                      <c:pt idx="9841">
                        <c:v>0</c:v>
                      </c:pt>
                      <c:pt idx="9842">
                        <c:v>0</c:v>
                      </c:pt>
                      <c:pt idx="9843">
                        <c:v>0</c:v>
                      </c:pt>
                      <c:pt idx="9844">
                        <c:v>0</c:v>
                      </c:pt>
                      <c:pt idx="9845">
                        <c:v>0</c:v>
                      </c:pt>
                      <c:pt idx="9846">
                        <c:v>0</c:v>
                      </c:pt>
                      <c:pt idx="9847">
                        <c:v>0</c:v>
                      </c:pt>
                      <c:pt idx="9848">
                        <c:v>0</c:v>
                      </c:pt>
                      <c:pt idx="9849">
                        <c:v>0</c:v>
                      </c:pt>
                      <c:pt idx="9850">
                        <c:v>0</c:v>
                      </c:pt>
                      <c:pt idx="9851">
                        <c:v>0</c:v>
                      </c:pt>
                      <c:pt idx="9852">
                        <c:v>0</c:v>
                      </c:pt>
                      <c:pt idx="9853">
                        <c:v>0</c:v>
                      </c:pt>
                      <c:pt idx="9854">
                        <c:v>0</c:v>
                      </c:pt>
                      <c:pt idx="9855">
                        <c:v>0</c:v>
                      </c:pt>
                      <c:pt idx="9856">
                        <c:v>0</c:v>
                      </c:pt>
                      <c:pt idx="9857">
                        <c:v>0</c:v>
                      </c:pt>
                      <c:pt idx="9858">
                        <c:v>0</c:v>
                      </c:pt>
                      <c:pt idx="9859">
                        <c:v>0</c:v>
                      </c:pt>
                      <c:pt idx="9860">
                        <c:v>0</c:v>
                      </c:pt>
                      <c:pt idx="9861">
                        <c:v>0</c:v>
                      </c:pt>
                      <c:pt idx="9862">
                        <c:v>0</c:v>
                      </c:pt>
                      <c:pt idx="9863">
                        <c:v>0</c:v>
                      </c:pt>
                      <c:pt idx="9864">
                        <c:v>0</c:v>
                      </c:pt>
                      <c:pt idx="9865">
                        <c:v>0</c:v>
                      </c:pt>
                      <c:pt idx="9866">
                        <c:v>0</c:v>
                      </c:pt>
                      <c:pt idx="9867">
                        <c:v>0</c:v>
                      </c:pt>
                      <c:pt idx="9868">
                        <c:v>0</c:v>
                      </c:pt>
                      <c:pt idx="9869">
                        <c:v>0</c:v>
                      </c:pt>
                      <c:pt idx="9870">
                        <c:v>0</c:v>
                      </c:pt>
                      <c:pt idx="9871">
                        <c:v>0</c:v>
                      </c:pt>
                      <c:pt idx="9872">
                        <c:v>0</c:v>
                      </c:pt>
                      <c:pt idx="9873">
                        <c:v>0</c:v>
                      </c:pt>
                      <c:pt idx="9874">
                        <c:v>0</c:v>
                      </c:pt>
                      <c:pt idx="9875">
                        <c:v>0</c:v>
                      </c:pt>
                      <c:pt idx="9876">
                        <c:v>0</c:v>
                      </c:pt>
                      <c:pt idx="9877">
                        <c:v>0</c:v>
                      </c:pt>
                      <c:pt idx="9878">
                        <c:v>0</c:v>
                      </c:pt>
                      <c:pt idx="9879">
                        <c:v>0</c:v>
                      </c:pt>
                      <c:pt idx="9880">
                        <c:v>0</c:v>
                      </c:pt>
                      <c:pt idx="9881">
                        <c:v>0</c:v>
                      </c:pt>
                      <c:pt idx="9882">
                        <c:v>0</c:v>
                      </c:pt>
                      <c:pt idx="9883">
                        <c:v>0</c:v>
                      </c:pt>
                      <c:pt idx="9884">
                        <c:v>0</c:v>
                      </c:pt>
                      <c:pt idx="9885">
                        <c:v>0</c:v>
                      </c:pt>
                      <c:pt idx="9886">
                        <c:v>0</c:v>
                      </c:pt>
                      <c:pt idx="9887">
                        <c:v>0</c:v>
                      </c:pt>
                      <c:pt idx="9888">
                        <c:v>0</c:v>
                      </c:pt>
                      <c:pt idx="9889">
                        <c:v>0</c:v>
                      </c:pt>
                      <c:pt idx="9890">
                        <c:v>0</c:v>
                      </c:pt>
                      <c:pt idx="9891">
                        <c:v>0</c:v>
                      </c:pt>
                      <c:pt idx="9892">
                        <c:v>0</c:v>
                      </c:pt>
                      <c:pt idx="9893">
                        <c:v>0</c:v>
                      </c:pt>
                      <c:pt idx="9894">
                        <c:v>0</c:v>
                      </c:pt>
                      <c:pt idx="9895">
                        <c:v>0</c:v>
                      </c:pt>
                      <c:pt idx="9896">
                        <c:v>0</c:v>
                      </c:pt>
                      <c:pt idx="9897">
                        <c:v>0</c:v>
                      </c:pt>
                      <c:pt idx="9898">
                        <c:v>0</c:v>
                      </c:pt>
                      <c:pt idx="9899">
                        <c:v>0</c:v>
                      </c:pt>
                      <c:pt idx="9900">
                        <c:v>0</c:v>
                      </c:pt>
                      <c:pt idx="9901">
                        <c:v>0</c:v>
                      </c:pt>
                      <c:pt idx="9902">
                        <c:v>0</c:v>
                      </c:pt>
                      <c:pt idx="9903">
                        <c:v>0</c:v>
                      </c:pt>
                      <c:pt idx="9904">
                        <c:v>0</c:v>
                      </c:pt>
                      <c:pt idx="9905">
                        <c:v>0</c:v>
                      </c:pt>
                      <c:pt idx="9906">
                        <c:v>0</c:v>
                      </c:pt>
                      <c:pt idx="9907">
                        <c:v>0</c:v>
                      </c:pt>
                      <c:pt idx="9908">
                        <c:v>0</c:v>
                      </c:pt>
                      <c:pt idx="9909">
                        <c:v>0</c:v>
                      </c:pt>
                      <c:pt idx="9910">
                        <c:v>0</c:v>
                      </c:pt>
                      <c:pt idx="9911">
                        <c:v>0</c:v>
                      </c:pt>
                      <c:pt idx="9912">
                        <c:v>0</c:v>
                      </c:pt>
                      <c:pt idx="9913">
                        <c:v>0</c:v>
                      </c:pt>
                      <c:pt idx="9914">
                        <c:v>0</c:v>
                      </c:pt>
                      <c:pt idx="9915">
                        <c:v>0</c:v>
                      </c:pt>
                      <c:pt idx="9916">
                        <c:v>0</c:v>
                      </c:pt>
                      <c:pt idx="9917">
                        <c:v>0</c:v>
                      </c:pt>
                      <c:pt idx="9918">
                        <c:v>0</c:v>
                      </c:pt>
                      <c:pt idx="9919">
                        <c:v>0</c:v>
                      </c:pt>
                      <c:pt idx="9920">
                        <c:v>0</c:v>
                      </c:pt>
                      <c:pt idx="9921">
                        <c:v>0</c:v>
                      </c:pt>
                      <c:pt idx="9922">
                        <c:v>0</c:v>
                      </c:pt>
                      <c:pt idx="9923">
                        <c:v>0</c:v>
                      </c:pt>
                      <c:pt idx="9924">
                        <c:v>0</c:v>
                      </c:pt>
                      <c:pt idx="9925">
                        <c:v>0</c:v>
                      </c:pt>
                      <c:pt idx="9926">
                        <c:v>0</c:v>
                      </c:pt>
                      <c:pt idx="9927">
                        <c:v>0</c:v>
                      </c:pt>
                      <c:pt idx="9928">
                        <c:v>0</c:v>
                      </c:pt>
                      <c:pt idx="9929">
                        <c:v>0</c:v>
                      </c:pt>
                      <c:pt idx="9930">
                        <c:v>0</c:v>
                      </c:pt>
                      <c:pt idx="9931">
                        <c:v>0</c:v>
                      </c:pt>
                      <c:pt idx="9932">
                        <c:v>0</c:v>
                      </c:pt>
                      <c:pt idx="9933">
                        <c:v>0</c:v>
                      </c:pt>
                      <c:pt idx="9934">
                        <c:v>0</c:v>
                      </c:pt>
                      <c:pt idx="9935">
                        <c:v>0</c:v>
                      </c:pt>
                      <c:pt idx="9936">
                        <c:v>0</c:v>
                      </c:pt>
                      <c:pt idx="9937">
                        <c:v>0</c:v>
                      </c:pt>
                      <c:pt idx="9938">
                        <c:v>0</c:v>
                      </c:pt>
                      <c:pt idx="9939">
                        <c:v>0</c:v>
                      </c:pt>
                      <c:pt idx="9940">
                        <c:v>0</c:v>
                      </c:pt>
                      <c:pt idx="9941">
                        <c:v>0</c:v>
                      </c:pt>
                      <c:pt idx="9942">
                        <c:v>0</c:v>
                      </c:pt>
                      <c:pt idx="9943">
                        <c:v>0</c:v>
                      </c:pt>
                      <c:pt idx="9944">
                        <c:v>0</c:v>
                      </c:pt>
                      <c:pt idx="9945">
                        <c:v>0</c:v>
                      </c:pt>
                      <c:pt idx="9946">
                        <c:v>0</c:v>
                      </c:pt>
                      <c:pt idx="9947">
                        <c:v>0</c:v>
                      </c:pt>
                      <c:pt idx="9948">
                        <c:v>0</c:v>
                      </c:pt>
                      <c:pt idx="9949">
                        <c:v>0</c:v>
                      </c:pt>
                      <c:pt idx="9950">
                        <c:v>0</c:v>
                      </c:pt>
                      <c:pt idx="9951">
                        <c:v>0</c:v>
                      </c:pt>
                      <c:pt idx="9952">
                        <c:v>0</c:v>
                      </c:pt>
                      <c:pt idx="9953">
                        <c:v>0</c:v>
                      </c:pt>
                      <c:pt idx="9954">
                        <c:v>0</c:v>
                      </c:pt>
                      <c:pt idx="9955">
                        <c:v>0</c:v>
                      </c:pt>
                      <c:pt idx="9956">
                        <c:v>0</c:v>
                      </c:pt>
                      <c:pt idx="9957">
                        <c:v>0</c:v>
                      </c:pt>
                      <c:pt idx="9958">
                        <c:v>0</c:v>
                      </c:pt>
                      <c:pt idx="9959">
                        <c:v>0</c:v>
                      </c:pt>
                      <c:pt idx="9960">
                        <c:v>0</c:v>
                      </c:pt>
                      <c:pt idx="9961">
                        <c:v>0</c:v>
                      </c:pt>
                      <c:pt idx="9962">
                        <c:v>0</c:v>
                      </c:pt>
                      <c:pt idx="9963">
                        <c:v>0</c:v>
                      </c:pt>
                      <c:pt idx="9964">
                        <c:v>0</c:v>
                      </c:pt>
                      <c:pt idx="9965">
                        <c:v>0</c:v>
                      </c:pt>
                      <c:pt idx="9966">
                        <c:v>0</c:v>
                      </c:pt>
                      <c:pt idx="9967">
                        <c:v>0</c:v>
                      </c:pt>
                      <c:pt idx="9968">
                        <c:v>0</c:v>
                      </c:pt>
                      <c:pt idx="9969">
                        <c:v>0</c:v>
                      </c:pt>
                      <c:pt idx="9970">
                        <c:v>0</c:v>
                      </c:pt>
                      <c:pt idx="9971">
                        <c:v>0</c:v>
                      </c:pt>
                      <c:pt idx="9972">
                        <c:v>0</c:v>
                      </c:pt>
                      <c:pt idx="9973">
                        <c:v>0</c:v>
                      </c:pt>
                      <c:pt idx="9974">
                        <c:v>0</c:v>
                      </c:pt>
                      <c:pt idx="9975">
                        <c:v>0</c:v>
                      </c:pt>
                      <c:pt idx="9976">
                        <c:v>0</c:v>
                      </c:pt>
                      <c:pt idx="9977">
                        <c:v>0</c:v>
                      </c:pt>
                      <c:pt idx="9978">
                        <c:v>0</c:v>
                      </c:pt>
                      <c:pt idx="9979">
                        <c:v>0</c:v>
                      </c:pt>
                      <c:pt idx="9980">
                        <c:v>0</c:v>
                      </c:pt>
                      <c:pt idx="9981">
                        <c:v>0</c:v>
                      </c:pt>
                      <c:pt idx="9982">
                        <c:v>0</c:v>
                      </c:pt>
                      <c:pt idx="9983">
                        <c:v>0</c:v>
                      </c:pt>
                      <c:pt idx="9984">
                        <c:v>0</c:v>
                      </c:pt>
                      <c:pt idx="9985">
                        <c:v>0</c:v>
                      </c:pt>
                      <c:pt idx="9986">
                        <c:v>0</c:v>
                      </c:pt>
                      <c:pt idx="9987">
                        <c:v>0</c:v>
                      </c:pt>
                      <c:pt idx="9988">
                        <c:v>0</c:v>
                      </c:pt>
                      <c:pt idx="9989">
                        <c:v>0</c:v>
                      </c:pt>
                      <c:pt idx="9990">
                        <c:v>0</c:v>
                      </c:pt>
                      <c:pt idx="9991">
                        <c:v>0</c:v>
                      </c:pt>
                      <c:pt idx="9992">
                        <c:v>0</c:v>
                      </c:pt>
                      <c:pt idx="9993">
                        <c:v>0</c:v>
                      </c:pt>
                      <c:pt idx="9994">
                        <c:v>0</c:v>
                      </c:pt>
                      <c:pt idx="9995">
                        <c:v>0</c:v>
                      </c:pt>
                      <c:pt idx="9996">
                        <c:v>0</c:v>
                      </c:pt>
                      <c:pt idx="9997">
                        <c:v>0</c:v>
                      </c:pt>
                      <c:pt idx="9998">
                        <c:v>0</c:v>
                      </c:pt>
                      <c:pt idx="9999">
                        <c:v>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Data!$C$3:$C$10002</c15:sqref>
                        </c15:formulaRef>
                      </c:ext>
                    </c:extLst>
                    <c:numCache>
                      <c:formatCode>General</c:formatCode>
                      <c:ptCount val="1000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0</c:v>
                      </c:pt>
                      <c:pt idx="1151">
                        <c:v>0</c:v>
                      </c:pt>
                      <c:pt idx="1152">
                        <c:v>0</c:v>
                      </c:pt>
                      <c:pt idx="1153">
                        <c:v>0</c:v>
                      </c:pt>
                      <c:pt idx="1154">
                        <c:v>0</c:v>
                      </c:pt>
                      <c:pt idx="1155">
                        <c:v>0</c:v>
                      </c:pt>
                      <c:pt idx="1156">
                        <c:v>0</c:v>
                      </c:pt>
                      <c:pt idx="1157">
                        <c:v>0</c:v>
                      </c:pt>
                      <c:pt idx="1158">
                        <c:v>0</c:v>
                      </c:pt>
                      <c:pt idx="1159">
                        <c:v>0</c:v>
                      </c:pt>
                      <c:pt idx="1160">
                        <c:v>0</c:v>
                      </c:pt>
                      <c:pt idx="1161">
                        <c:v>0</c:v>
                      </c:pt>
                      <c:pt idx="1162">
                        <c:v>0</c:v>
                      </c:pt>
                      <c:pt idx="1163">
                        <c:v>0</c:v>
                      </c:pt>
                      <c:pt idx="1164">
                        <c:v>0</c:v>
                      </c:pt>
                      <c:pt idx="1165">
                        <c:v>0</c:v>
                      </c:pt>
                      <c:pt idx="1166">
                        <c:v>0</c:v>
                      </c:pt>
                      <c:pt idx="1167">
                        <c:v>0</c:v>
                      </c:pt>
                      <c:pt idx="1168">
                        <c:v>0</c:v>
                      </c:pt>
                      <c:pt idx="1169">
                        <c:v>0</c:v>
                      </c:pt>
                      <c:pt idx="1170">
                        <c:v>0</c:v>
                      </c:pt>
                      <c:pt idx="1171">
                        <c:v>0</c:v>
                      </c:pt>
                      <c:pt idx="1172">
                        <c:v>0</c:v>
                      </c:pt>
                      <c:pt idx="1173">
                        <c:v>0</c:v>
                      </c:pt>
                      <c:pt idx="1174">
                        <c:v>0</c:v>
                      </c:pt>
                      <c:pt idx="1175">
                        <c:v>0</c:v>
                      </c:pt>
                      <c:pt idx="1176">
                        <c:v>0</c:v>
                      </c:pt>
                      <c:pt idx="1177">
                        <c:v>0</c:v>
                      </c:pt>
                      <c:pt idx="1178">
                        <c:v>0</c:v>
                      </c:pt>
                      <c:pt idx="1179">
                        <c:v>0</c:v>
                      </c:pt>
                      <c:pt idx="1180">
                        <c:v>0</c:v>
                      </c:pt>
                      <c:pt idx="1181">
                        <c:v>0</c:v>
                      </c:pt>
                      <c:pt idx="1182">
                        <c:v>0</c:v>
                      </c:pt>
                      <c:pt idx="1183">
                        <c:v>0</c:v>
                      </c:pt>
                      <c:pt idx="1184">
                        <c:v>0</c:v>
                      </c:pt>
                      <c:pt idx="1185">
                        <c:v>0</c:v>
                      </c:pt>
                      <c:pt idx="1186">
                        <c:v>0</c:v>
                      </c:pt>
                      <c:pt idx="1187">
                        <c:v>0</c:v>
                      </c:pt>
                      <c:pt idx="1188">
                        <c:v>0</c:v>
                      </c:pt>
                      <c:pt idx="1189">
                        <c:v>0</c:v>
                      </c:pt>
                      <c:pt idx="1190">
                        <c:v>0</c:v>
                      </c:pt>
                      <c:pt idx="1191">
                        <c:v>0</c:v>
                      </c:pt>
                      <c:pt idx="1192">
                        <c:v>0</c:v>
                      </c:pt>
                      <c:pt idx="1193">
                        <c:v>0</c:v>
                      </c:pt>
                      <c:pt idx="1194">
                        <c:v>0</c:v>
                      </c:pt>
                      <c:pt idx="1195">
                        <c:v>0</c:v>
                      </c:pt>
                      <c:pt idx="1196">
                        <c:v>0</c:v>
                      </c:pt>
                      <c:pt idx="1197">
                        <c:v>0</c:v>
                      </c:pt>
                      <c:pt idx="1198">
                        <c:v>0</c:v>
                      </c:pt>
                      <c:pt idx="1199">
                        <c:v>0</c:v>
                      </c:pt>
                      <c:pt idx="1200">
                        <c:v>0</c:v>
                      </c:pt>
                      <c:pt idx="1201">
                        <c:v>0</c:v>
                      </c:pt>
                      <c:pt idx="1202">
                        <c:v>0</c:v>
                      </c:pt>
                      <c:pt idx="1203">
                        <c:v>0</c:v>
                      </c:pt>
                      <c:pt idx="1204">
                        <c:v>0</c:v>
                      </c:pt>
                      <c:pt idx="1205">
                        <c:v>0</c:v>
                      </c:pt>
                      <c:pt idx="1206">
                        <c:v>0</c:v>
                      </c:pt>
                      <c:pt idx="1207">
                        <c:v>0</c:v>
                      </c:pt>
                      <c:pt idx="1208">
                        <c:v>0</c:v>
                      </c:pt>
                      <c:pt idx="1209">
                        <c:v>0</c:v>
                      </c:pt>
                      <c:pt idx="1210">
                        <c:v>0</c:v>
                      </c:pt>
                      <c:pt idx="1211">
                        <c:v>0</c:v>
                      </c:pt>
                      <c:pt idx="1212">
                        <c:v>0</c:v>
                      </c:pt>
                      <c:pt idx="1213">
                        <c:v>0</c:v>
                      </c:pt>
                      <c:pt idx="1214">
                        <c:v>0</c:v>
                      </c:pt>
                      <c:pt idx="1215">
                        <c:v>0</c:v>
                      </c:pt>
                      <c:pt idx="1216">
                        <c:v>0</c:v>
                      </c:pt>
                      <c:pt idx="1217">
                        <c:v>0</c:v>
                      </c:pt>
                      <c:pt idx="1218">
                        <c:v>0</c:v>
                      </c:pt>
                      <c:pt idx="1219">
                        <c:v>0</c:v>
                      </c:pt>
                      <c:pt idx="1220">
                        <c:v>0</c:v>
                      </c:pt>
                      <c:pt idx="1221">
                        <c:v>0</c:v>
                      </c:pt>
                      <c:pt idx="1222">
                        <c:v>0</c:v>
                      </c:pt>
                      <c:pt idx="1223">
                        <c:v>0</c:v>
                      </c:pt>
                      <c:pt idx="1224">
                        <c:v>0</c:v>
                      </c:pt>
                      <c:pt idx="1225">
                        <c:v>0</c:v>
                      </c:pt>
                      <c:pt idx="1226">
                        <c:v>0</c:v>
                      </c:pt>
                      <c:pt idx="1227">
                        <c:v>0</c:v>
                      </c:pt>
                      <c:pt idx="1228">
                        <c:v>0</c:v>
                      </c:pt>
                      <c:pt idx="1229">
                        <c:v>0</c:v>
                      </c:pt>
                      <c:pt idx="1230">
                        <c:v>0</c:v>
                      </c:pt>
                      <c:pt idx="1231">
                        <c:v>0</c:v>
                      </c:pt>
                      <c:pt idx="1232">
                        <c:v>0</c:v>
                      </c:pt>
                      <c:pt idx="1233">
                        <c:v>0</c:v>
                      </c:pt>
                      <c:pt idx="1234">
                        <c:v>0</c:v>
                      </c:pt>
                      <c:pt idx="1235">
                        <c:v>0</c:v>
                      </c:pt>
                      <c:pt idx="1236">
                        <c:v>0</c:v>
                      </c:pt>
                      <c:pt idx="1237">
                        <c:v>0</c:v>
                      </c:pt>
                      <c:pt idx="1238">
                        <c:v>0</c:v>
                      </c:pt>
                      <c:pt idx="1239">
                        <c:v>0</c:v>
                      </c:pt>
                      <c:pt idx="1240">
                        <c:v>0</c:v>
                      </c:pt>
                      <c:pt idx="1241">
                        <c:v>0</c:v>
                      </c:pt>
                      <c:pt idx="1242">
                        <c:v>0</c:v>
                      </c:pt>
                      <c:pt idx="1243">
                        <c:v>0</c:v>
                      </c:pt>
                      <c:pt idx="1244">
                        <c:v>0</c:v>
                      </c:pt>
                      <c:pt idx="1245">
                        <c:v>0</c:v>
                      </c:pt>
                      <c:pt idx="1246">
                        <c:v>0</c:v>
                      </c:pt>
                      <c:pt idx="1247">
                        <c:v>0</c:v>
                      </c:pt>
                      <c:pt idx="1248">
                        <c:v>0</c:v>
                      </c:pt>
                      <c:pt idx="1249">
                        <c:v>0</c:v>
                      </c:pt>
                      <c:pt idx="1250">
                        <c:v>0</c:v>
                      </c:pt>
                      <c:pt idx="1251">
                        <c:v>0</c:v>
                      </c:pt>
                      <c:pt idx="1252">
                        <c:v>0</c:v>
                      </c:pt>
                      <c:pt idx="1253">
                        <c:v>0</c:v>
                      </c:pt>
                      <c:pt idx="1254">
                        <c:v>0</c:v>
                      </c:pt>
                      <c:pt idx="1255">
                        <c:v>0</c:v>
                      </c:pt>
                      <c:pt idx="1256">
                        <c:v>0</c:v>
                      </c:pt>
                      <c:pt idx="1257">
                        <c:v>0</c:v>
                      </c:pt>
                      <c:pt idx="1258">
                        <c:v>0</c:v>
                      </c:pt>
                      <c:pt idx="1259">
                        <c:v>0</c:v>
                      </c:pt>
                      <c:pt idx="1260">
                        <c:v>0</c:v>
                      </c:pt>
                      <c:pt idx="1261">
                        <c:v>0</c:v>
                      </c:pt>
                      <c:pt idx="1262">
                        <c:v>0</c:v>
                      </c:pt>
                      <c:pt idx="1263">
                        <c:v>0</c:v>
                      </c:pt>
                      <c:pt idx="1264">
                        <c:v>0</c:v>
                      </c:pt>
                      <c:pt idx="1265">
                        <c:v>0</c:v>
                      </c:pt>
                      <c:pt idx="1266">
                        <c:v>0</c:v>
                      </c:pt>
                      <c:pt idx="1267">
                        <c:v>0</c:v>
                      </c:pt>
                      <c:pt idx="1268">
                        <c:v>0</c:v>
                      </c:pt>
                      <c:pt idx="1269">
                        <c:v>0</c:v>
                      </c:pt>
                      <c:pt idx="1270">
                        <c:v>0</c:v>
                      </c:pt>
                      <c:pt idx="1271">
                        <c:v>0</c:v>
                      </c:pt>
                      <c:pt idx="1272">
                        <c:v>0</c:v>
                      </c:pt>
                      <c:pt idx="1273">
                        <c:v>0</c:v>
                      </c:pt>
                      <c:pt idx="1274">
                        <c:v>0</c:v>
                      </c:pt>
                      <c:pt idx="1275">
                        <c:v>0</c:v>
                      </c:pt>
                      <c:pt idx="1276">
                        <c:v>0</c:v>
                      </c:pt>
                      <c:pt idx="1277">
                        <c:v>0</c:v>
                      </c:pt>
                      <c:pt idx="1278">
                        <c:v>0</c:v>
                      </c:pt>
                      <c:pt idx="1279">
                        <c:v>0</c:v>
                      </c:pt>
                      <c:pt idx="1280">
                        <c:v>0</c:v>
                      </c:pt>
                      <c:pt idx="1281">
                        <c:v>0</c:v>
                      </c:pt>
                      <c:pt idx="1282">
                        <c:v>0</c:v>
                      </c:pt>
                      <c:pt idx="1283">
                        <c:v>0</c:v>
                      </c:pt>
                      <c:pt idx="1284">
                        <c:v>0</c:v>
                      </c:pt>
                      <c:pt idx="1285">
                        <c:v>0</c:v>
                      </c:pt>
                      <c:pt idx="1286">
                        <c:v>0</c:v>
                      </c:pt>
                      <c:pt idx="1287">
                        <c:v>0</c:v>
                      </c:pt>
                      <c:pt idx="1288">
                        <c:v>0</c:v>
                      </c:pt>
                      <c:pt idx="1289">
                        <c:v>0</c:v>
                      </c:pt>
                      <c:pt idx="1290">
                        <c:v>0</c:v>
                      </c:pt>
                      <c:pt idx="1291">
                        <c:v>0</c:v>
                      </c:pt>
                      <c:pt idx="1292">
                        <c:v>0</c:v>
                      </c:pt>
                      <c:pt idx="1293">
                        <c:v>0</c:v>
                      </c:pt>
                      <c:pt idx="1294">
                        <c:v>0</c:v>
                      </c:pt>
                      <c:pt idx="1295">
                        <c:v>0</c:v>
                      </c:pt>
                      <c:pt idx="1296">
                        <c:v>0</c:v>
                      </c:pt>
                      <c:pt idx="1297">
                        <c:v>0</c:v>
                      </c:pt>
                      <c:pt idx="1298">
                        <c:v>0</c:v>
                      </c:pt>
                      <c:pt idx="1299">
                        <c:v>0</c:v>
                      </c:pt>
                      <c:pt idx="1300">
                        <c:v>0</c:v>
                      </c:pt>
                      <c:pt idx="1301">
                        <c:v>0</c:v>
                      </c:pt>
                      <c:pt idx="1302">
                        <c:v>0</c:v>
                      </c:pt>
                      <c:pt idx="1303">
                        <c:v>0</c:v>
                      </c:pt>
                      <c:pt idx="1304">
                        <c:v>0</c:v>
                      </c:pt>
                      <c:pt idx="1305">
                        <c:v>0</c:v>
                      </c:pt>
                      <c:pt idx="1306">
                        <c:v>0</c:v>
                      </c:pt>
                      <c:pt idx="1307">
                        <c:v>0</c:v>
                      </c:pt>
                      <c:pt idx="1308">
                        <c:v>0</c:v>
                      </c:pt>
                      <c:pt idx="1309">
                        <c:v>0</c:v>
                      </c:pt>
                      <c:pt idx="1310">
                        <c:v>0</c:v>
                      </c:pt>
                      <c:pt idx="1311">
                        <c:v>0</c:v>
                      </c:pt>
                      <c:pt idx="1312">
                        <c:v>0</c:v>
                      </c:pt>
                      <c:pt idx="1313">
                        <c:v>0</c:v>
                      </c:pt>
                      <c:pt idx="1314">
                        <c:v>0</c:v>
                      </c:pt>
                      <c:pt idx="1315">
                        <c:v>0</c:v>
                      </c:pt>
                      <c:pt idx="1316">
                        <c:v>0</c:v>
                      </c:pt>
                      <c:pt idx="1317">
                        <c:v>0</c:v>
                      </c:pt>
                      <c:pt idx="1318">
                        <c:v>0</c:v>
                      </c:pt>
                      <c:pt idx="1319">
                        <c:v>0</c:v>
                      </c:pt>
                      <c:pt idx="1320">
                        <c:v>0</c:v>
                      </c:pt>
                      <c:pt idx="1321">
                        <c:v>0</c:v>
                      </c:pt>
                      <c:pt idx="1322">
                        <c:v>0</c:v>
                      </c:pt>
                      <c:pt idx="1323">
                        <c:v>0</c:v>
                      </c:pt>
                      <c:pt idx="1324">
                        <c:v>0</c:v>
                      </c:pt>
                      <c:pt idx="1325">
                        <c:v>0</c:v>
                      </c:pt>
                      <c:pt idx="1326">
                        <c:v>0</c:v>
                      </c:pt>
                      <c:pt idx="1327">
                        <c:v>0</c:v>
                      </c:pt>
                      <c:pt idx="1328">
                        <c:v>0</c:v>
                      </c:pt>
                      <c:pt idx="1329">
                        <c:v>0</c:v>
                      </c:pt>
                      <c:pt idx="1330">
                        <c:v>0</c:v>
                      </c:pt>
                      <c:pt idx="1331">
                        <c:v>0</c:v>
                      </c:pt>
                      <c:pt idx="1332">
                        <c:v>0</c:v>
                      </c:pt>
                      <c:pt idx="1333">
                        <c:v>0</c:v>
                      </c:pt>
                      <c:pt idx="1334">
                        <c:v>0</c:v>
                      </c:pt>
                      <c:pt idx="1335">
                        <c:v>0</c:v>
                      </c:pt>
                      <c:pt idx="1336">
                        <c:v>0</c:v>
                      </c:pt>
                      <c:pt idx="1337">
                        <c:v>0</c:v>
                      </c:pt>
                      <c:pt idx="1338">
                        <c:v>0</c:v>
                      </c:pt>
                      <c:pt idx="1339">
                        <c:v>0</c:v>
                      </c:pt>
                      <c:pt idx="1340">
                        <c:v>0</c:v>
                      </c:pt>
                      <c:pt idx="1341">
                        <c:v>0</c:v>
                      </c:pt>
                      <c:pt idx="1342">
                        <c:v>0</c:v>
                      </c:pt>
                      <c:pt idx="1343">
                        <c:v>0</c:v>
                      </c:pt>
                      <c:pt idx="1344">
                        <c:v>0</c:v>
                      </c:pt>
                      <c:pt idx="1345">
                        <c:v>0</c:v>
                      </c:pt>
                      <c:pt idx="1346">
                        <c:v>0</c:v>
                      </c:pt>
                      <c:pt idx="1347">
                        <c:v>0</c:v>
                      </c:pt>
                      <c:pt idx="1348">
                        <c:v>0</c:v>
                      </c:pt>
                      <c:pt idx="1349">
                        <c:v>0</c:v>
                      </c:pt>
                      <c:pt idx="1350">
                        <c:v>0</c:v>
                      </c:pt>
                      <c:pt idx="1351">
                        <c:v>0</c:v>
                      </c:pt>
                      <c:pt idx="1352">
                        <c:v>0</c:v>
                      </c:pt>
                      <c:pt idx="1353">
                        <c:v>0</c:v>
                      </c:pt>
                      <c:pt idx="1354">
                        <c:v>0</c:v>
                      </c:pt>
                      <c:pt idx="1355">
                        <c:v>0</c:v>
                      </c:pt>
                      <c:pt idx="1356">
                        <c:v>0</c:v>
                      </c:pt>
                      <c:pt idx="1357">
                        <c:v>0</c:v>
                      </c:pt>
                      <c:pt idx="1358">
                        <c:v>0</c:v>
                      </c:pt>
                      <c:pt idx="1359">
                        <c:v>0</c:v>
                      </c:pt>
                      <c:pt idx="1360">
                        <c:v>0</c:v>
                      </c:pt>
                      <c:pt idx="1361">
                        <c:v>0</c:v>
                      </c:pt>
                      <c:pt idx="1362">
                        <c:v>0</c:v>
                      </c:pt>
                      <c:pt idx="1363">
                        <c:v>0</c:v>
                      </c:pt>
                      <c:pt idx="1364">
                        <c:v>0</c:v>
                      </c:pt>
                      <c:pt idx="1365">
                        <c:v>0</c:v>
                      </c:pt>
                      <c:pt idx="1366">
                        <c:v>0</c:v>
                      </c:pt>
                      <c:pt idx="1367">
                        <c:v>0</c:v>
                      </c:pt>
                      <c:pt idx="1368">
                        <c:v>0</c:v>
                      </c:pt>
                      <c:pt idx="1369">
                        <c:v>0</c:v>
                      </c:pt>
                      <c:pt idx="1370">
                        <c:v>0</c:v>
                      </c:pt>
                      <c:pt idx="1371">
                        <c:v>0</c:v>
                      </c:pt>
                      <c:pt idx="1372">
                        <c:v>0</c:v>
                      </c:pt>
                      <c:pt idx="1373">
                        <c:v>0</c:v>
                      </c:pt>
                      <c:pt idx="1374">
                        <c:v>0</c:v>
                      </c:pt>
                      <c:pt idx="1375">
                        <c:v>0</c:v>
                      </c:pt>
                      <c:pt idx="1376">
                        <c:v>0</c:v>
                      </c:pt>
                      <c:pt idx="1377">
                        <c:v>0</c:v>
                      </c:pt>
                      <c:pt idx="1378">
                        <c:v>0</c:v>
                      </c:pt>
                      <c:pt idx="1379">
                        <c:v>0</c:v>
                      </c:pt>
                      <c:pt idx="1380">
                        <c:v>0</c:v>
                      </c:pt>
                      <c:pt idx="1381">
                        <c:v>0</c:v>
                      </c:pt>
                      <c:pt idx="1382">
                        <c:v>0</c:v>
                      </c:pt>
                      <c:pt idx="1383">
                        <c:v>0</c:v>
                      </c:pt>
                      <c:pt idx="1384">
                        <c:v>0</c:v>
                      </c:pt>
                      <c:pt idx="1385">
                        <c:v>0</c:v>
                      </c:pt>
                      <c:pt idx="1386">
                        <c:v>0</c:v>
                      </c:pt>
                      <c:pt idx="1387">
                        <c:v>0</c:v>
                      </c:pt>
                      <c:pt idx="1388">
                        <c:v>0</c:v>
                      </c:pt>
                      <c:pt idx="1389">
                        <c:v>0</c:v>
                      </c:pt>
                      <c:pt idx="1390">
                        <c:v>0</c:v>
                      </c:pt>
                      <c:pt idx="1391">
                        <c:v>0</c:v>
                      </c:pt>
                      <c:pt idx="1392">
                        <c:v>0</c:v>
                      </c:pt>
                      <c:pt idx="1393">
                        <c:v>0</c:v>
                      </c:pt>
                      <c:pt idx="1394">
                        <c:v>0</c:v>
                      </c:pt>
                      <c:pt idx="1395">
                        <c:v>0</c:v>
                      </c:pt>
                      <c:pt idx="1396">
                        <c:v>0</c:v>
                      </c:pt>
                      <c:pt idx="1397">
                        <c:v>0</c:v>
                      </c:pt>
                      <c:pt idx="1398">
                        <c:v>0</c:v>
                      </c:pt>
                      <c:pt idx="1399">
                        <c:v>0</c:v>
                      </c:pt>
                      <c:pt idx="1400">
                        <c:v>0</c:v>
                      </c:pt>
                      <c:pt idx="1401">
                        <c:v>0</c:v>
                      </c:pt>
                      <c:pt idx="1402">
                        <c:v>0</c:v>
                      </c:pt>
                      <c:pt idx="1403">
                        <c:v>0</c:v>
                      </c:pt>
                      <c:pt idx="1404">
                        <c:v>0</c:v>
                      </c:pt>
                      <c:pt idx="1405">
                        <c:v>0</c:v>
                      </c:pt>
                      <c:pt idx="1406">
                        <c:v>0</c:v>
                      </c:pt>
                      <c:pt idx="1407">
                        <c:v>0</c:v>
                      </c:pt>
                      <c:pt idx="1408">
                        <c:v>0</c:v>
                      </c:pt>
                      <c:pt idx="1409">
                        <c:v>0</c:v>
                      </c:pt>
                      <c:pt idx="1410">
                        <c:v>0</c:v>
                      </c:pt>
                      <c:pt idx="1411">
                        <c:v>0</c:v>
                      </c:pt>
                      <c:pt idx="1412">
                        <c:v>0</c:v>
                      </c:pt>
                      <c:pt idx="1413">
                        <c:v>0</c:v>
                      </c:pt>
                      <c:pt idx="1414">
                        <c:v>0</c:v>
                      </c:pt>
                      <c:pt idx="1415">
                        <c:v>0</c:v>
                      </c:pt>
                      <c:pt idx="1416">
                        <c:v>0</c:v>
                      </c:pt>
                      <c:pt idx="1417">
                        <c:v>0</c:v>
                      </c:pt>
                      <c:pt idx="1418">
                        <c:v>0</c:v>
                      </c:pt>
                      <c:pt idx="1419">
                        <c:v>0</c:v>
                      </c:pt>
                      <c:pt idx="1420">
                        <c:v>0</c:v>
                      </c:pt>
                      <c:pt idx="1421">
                        <c:v>0</c:v>
                      </c:pt>
                      <c:pt idx="1422">
                        <c:v>0</c:v>
                      </c:pt>
                      <c:pt idx="1423">
                        <c:v>0</c:v>
                      </c:pt>
                      <c:pt idx="1424">
                        <c:v>0</c:v>
                      </c:pt>
                      <c:pt idx="1425">
                        <c:v>0</c:v>
                      </c:pt>
                      <c:pt idx="1426">
                        <c:v>0</c:v>
                      </c:pt>
                      <c:pt idx="1427">
                        <c:v>0</c:v>
                      </c:pt>
                      <c:pt idx="1428">
                        <c:v>0</c:v>
                      </c:pt>
                      <c:pt idx="1429">
                        <c:v>0</c:v>
                      </c:pt>
                      <c:pt idx="1430">
                        <c:v>0</c:v>
                      </c:pt>
                      <c:pt idx="1431">
                        <c:v>0</c:v>
                      </c:pt>
                      <c:pt idx="1432">
                        <c:v>0</c:v>
                      </c:pt>
                      <c:pt idx="1433">
                        <c:v>0</c:v>
                      </c:pt>
                      <c:pt idx="1434">
                        <c:v>0</c:v>
                      </c:pt>
                      <c:pt idx="1435">
                        <c:v>0</c:v>
                      </c:pt>
                      <c:pt idx="1436">
                        <c:v>0</c:v>
                      </c:pt>
                      <c:pt idx="1437">
                        <c:v>0</c:v>
                      </c:pt>
                      <c:pt idx="1438">
                        <c:v>0</c:v>
                      </c:pt>
                      <c:pt idx="1439">
                        <c:v>0</c:v>
                      </c:pt>
                      <c:pt idx="1440">
                        <c:v>0</c:v>
                      </c:pt>
                      <c:pt idx="1441">
                        <c:v>0</c:v>
                      </c:pt>
                      <c:pt idx="1442">
                        <c:v>0</c:v>
                      </c:pt>
                      <c:pt idx="1443">
                        <c:v>0</c:v>
                      </c:pt>
                      <c:pt idx="1444">
                        <c:v>0</c:v>
                      </c:pt>
                      <c:pt idx="1445">
                        <c:v>0</c:v>
                      </c:pt>
                      <c:pt idx="1446">
                        <c:v>0</c:v>
                      </c:pt>
                      <c:pt idx="1447">
                        <c:v>0</c:v>
                      </c:pt>
                      <c:pt idx="1448">
                        <c:v>0</c:v>
                      </c:pt>
                      <c:pt idx="1449">
                        <c:v>0</c:v>
                      </c:pt>
                      <c:pt idx="1450">
                        <c:v>0</c:v>
                      </c:pt>
                      <c:pt idx="1451">
                        <c:v>0</c:v>
                      </c:pt>
                      <c:pt idx="1452">
                        <c:v>0</c:v>
                      </c:pt>
                      <c:pt idx="1453">
                        <c:v>0</c:v>
                      </c:pt>
                      <c:pt idx="1454">
                        <c:v>0</c:v>
                      </c:pt>
                      <c:pt idx="1455">
                        <c:v>0</c:v>
                      </c:pt>
                      <c:pt idx="1456">
                        <c:v>0</c:v>
                      </c:pt>
                      <c:pt idx="1457">
                        <c:v>0</c:v>
                      </c:pt>
                      <c:pt idx="1458">
                        <c:v>0</c:v>
                      </c:pt>
                      <c:pt idx="1459">
                        <c:v>0</c:v>
                      </c:pt>
                      <c:pt idx="1460">
                        <c:v>0</c:v>
                      </c:pt>
                      <c:pt idx="1461">
                        <c:v>0</c:v>
                      </c:pt>
                      <c:pt idx="1462">
                        <c:v>0</c:v>
                      </c:pt>
                      <c:pt idx="1463">
                        <c:v>0</c:v>
                      </c:pt>
                      <c:pt idx="1464">
                        <c:v>0</c:v>
                      </c:pt>
                      <c:pt idx="1465">
                        <c:v>0</c:v>
                      </c:pt>
                      <c:pt idx="1466">
                        <c:v>0</c:v>
                      </c:pt>
                      <c:pt idx="1467">
                        <c:v>0</c:v>
                      </c:pt>
                      <c:pt idx="1468">
                        <c:v>0</c:v>
                      </c:pt>
                      <c:pt idx="1469">
                        <c:v>0</c:v>
                      </c:pt>
                      <c:pt idx="1470">
                        <c:v>0</c:v>
                      </c:pt>
                      <c:pt idx="1471">
                        <c:v>0</c:v>
                      </c:pt>
                      <c:pt idx="1472">
                        <c:v>0</c:v>
                      </c:pt>
                      <c:pt idx="1473">
                        <c:v>0</c:v>
                      </c:pt>
                      <c:pt idx="1474">
                        <c:v>0</c:v>
                      </c:pt>
                      <c:pt idx="1475">
                        <c:v>0</c:v>
                      </c:pt>
                      <c:pt idx="1476">
                        <c:v>0</c:v>
                      </c:pt>
                      <c:pt idx="1477">
                        <c:v>0</c:v>
                      </c:pt>
                      <c:pt idx="1478">
                        <c:v>0</c:v>
                      </c:pt>
                      <c:pt idx="1479">
                        <c:v>0</c:v>
                      </c:pt>
                      <c:pt idx="1480">
                        <c:v>0</c:v>
                      </c:pt>
                      <c:pt idx="1481">
                        <c:v>0</c:v>
                      </c:pt>
                      <c:pt idx="1482">
                        <c:v>0</c:v>
                      </c:pt>
                      <c:pt idx="1483">
                        <c:v>0</c:v>
                      </c:pt>
                      <c:pt idx="1484">
                        <c:v>0</c:v>
                      </c:pt>
                      <c:pt idx="1485">
                        <c:v>0</c:v>
                      </c:pt>
                      <c:pt idx="1486">
                        <c:v>0</c:v>
                      </c:pt>
                      <c:pt idx="1487">
                        <c:v>0</c:v>
                      </c:pt>
                      <c:pt idx="1488">
                        <c:v>0</c:v>
                      </c:pt>
                      <c:pt idx="1489">
                        <c:v>0</c:v>
                      </c:pt>
                      <c:pt idx="1490">
                        <c:v>0</c:v>
                      </c:pt>
                      <c:pt idx="1491">
                        <c:v>0</c:v>
                      </c:pt>
                      <c:pt idx="1492">
                        <c:v>0</c:v>
                      </c:pt>
                      <c:pt idx="1493">
                        <c:v>0</c:v>
                      </c:pt>
                      <c:pt idx="1494">
                        <c:v>0</c:v>
                      </c:pt>
                      <c:pt idx="1495">
                        <c:v>0</c:v>
                      </c:pt>
                      <c:pt idx="1496">
                        <c:v>0</c:v>
                      </c:pt>
                      <c:pt idx="1497">
                        <c:v>0</c:v>
                      </c:pt>
                      <c:pt idx="1498">
                        <c:v>0</c:v>
                      </c:pt>
                      <c:pt idx="1499">
                        <c:v>0</c:v>
                      </c:pt>
                      <c:pt idx="1500">
                        <c:v>0</c:v>
                      </c:pt>
                      <c:pt idx="1501">
                        <c:v>0</c:v>
                      </c:pt>
                      <c:pt idx="1502">
                        <c:v>0</c:v>
                      </c:pt>
                      <c:pt idx="1503">
                        <c:v>0</c:v>
                      </c:pt>
                      <c:pt idx="1504">
                        <c:v>0</c:v>
                      </c:pt>
                      <c:pt idx="1505">
                        <c:v>0</c:v>
                      </c:pt>
                      <c:pt idx="1506">
                        <c:v>0</c:v>
                      </c:pt>
                      <c:pt idx="1507">
                        <c:v>0</c:v>
                      </c:pt>
                      <c:pt idx="1508">
                        <c:v>0</c:v>
                      </c:pt>
                      <c:pt idx="1509">
                        <c:v>0</c:v>
                      </c:pt>
                      <c:pt idx="1510">
                        <c:v>0</c:v>
                      </c:pt>
                      <c:pt idx="1511">
                        <c:v>0</c:v>
                      </c:pt>
                      <c:pt idx="1512">
                        <c:v>0</c:v>
                      </c:pt>
                      <c:pt idx="1513">
                        <c:v>0</c:v>
                      </c:pt>
                      <c:pt idx="1514">
                        <c:v>0</c:v>
                      </c:pt>
                      <c:pt idx="1515">
                        <c:v>0</c:v>
                      </c:pt>
                      <c:pt idx="1516">
                        <c:v>0</c:v>
                      </c:pt>
                      <c:pt idx="1517">
                        <c:v>0</c:v>
                      </c:pt>
                      <c:pt idx="1518">
                        <c:v>0</c:v>
                      </c:pt>
                      <c:pt idx="1519">
                        <c:v>0</c:v>
                      </c:pt>
                      <c:pt idx="1520">
                        <c:v>0</c:v>
                      </c:pt>
                      <c:pt idx="1521">
                        <c:v>0</c:v>
                      </c:pt>
                      <c:pt idx="1522">
                        <c:v>0</c:v>
                      </c:pt>
                      <c:pt idx="1523">
                        <c:v>0</c:v>
                      </c:pt>
                      <c:pt idx="1524">
                        <c:v>0</c:v>
                      </c:pt>
                      <c:pt idx="1525">
                        <c:v>0</c:v>
                      </c:pt>
                      <c:pt idx="1526">
                        <c:v>0</c:v>
                      </c:pt>
                      <c:pt idx="1527">
                        <c:v>0</c:v>
                      </c:pt>
                      <c:pt idx="1528">
                        <c:v>0</c:v>
                      </c:pt>
                      <c:pt idx="1529">
                        <c:v>0</c:v>
                      </c:pt>
                      <c:pt idx="1530">
                        <c:v>0</c:v>
                      </c:pt>
                      <c:pt idx="1531">
                        <c:v>0</c:v>
                      </c:pt>
                      <c:pt idx="1532">
                        <c:v>0</c:v>
                      </c:pt>
                      <c:pt idx="1533">
                        <c:v>0</c:v>
                      </c:pt>
                      <c:pt idx="1534">
                        <c:v>0</c:v>
                      </c:pt>
                      <c:pt idx="1535">
                        <c:v>0</c:v>
                      </c:pt>
                      <c:pt idx="1536">
                        <c:v>0</c:v>
                      </c:pt>
                      <c:pt idx="1537">
                        <c:v>0</c:v>
                      </c:pt>
                      <c:pt idx="1538">
                        <c:v>0</c:v>
                      </c:pt>
                      <c:pt idx="1539">
                        <c:v>0</c:v>
                      </c:pt>
                      <c:pt idx="1540">
                        <c:v>0</c:v>
                      </c:pt>
                      <c:pt idx="1541">
                        <c:v>0</c:v>
                      </c:pt>
                      <c:pt idx="1542">
                        <c:v>0</c:v>
                      </c:pt>
                      <c:pt idx="1543">
                        <c:v>0</c:v>
                      </c:pt>
                      <c:pt idx="1544">
                        <c:v>0</c:v>
                      </c:pt>
                      <c:pt idx="1545">
                        <c:v>0</c:v>
                      </c:pt>
                      <c:pt idx="1546">
                        <c:v>0</c:v>
                      </c:pt>
                      <c:pt idx="1547">
                        <c:v>0</c:v>
                      </c:pt>
                      <c:pt idx="1548">
                        <c:v>0</c:v>
                      </c:pt>
                      <c:pt idx="1549">
                        <c:v>0</c:v>
                      </c:pt>
                      <c:pt idx="1550">
                        <c:v>0</c:v>
                      </c:pt>
                      <c:pt idx="1551">
                        <c:v>0</c:v>
                      </c:pt>
                      <c:pt idx="1552">
                        <c:v>0</c:v>
                      </c:pt>
                      <c:pt idx="1553">
                        <c:v>0</c:v>
                      </c:pt>
                      <c:pt idx="1554">
                        <c:v>0</c:v>
                      </c:pt>
                      <c:pt idx="1555">
                        <c:v>0</c:v>
                      </c:pt>
                      <c:pt idx="1556">
                        <c:v>0</c:v>
                      </c:pt>
                      <c:pt idx="1557">
                        <c:v>0</c:v>
                      </c:pt>
                      <c:pt idx="1558">
                        <c:v>0</c:v>
                      </c:pt>
                      <c:pt idx="1559">
                        <c:v>0</c:v>
                      </c:pt>
                      <c:pt idx="1560">
                        <c:v>0</c:v>
                      </c:pt>
                      <c:pt idx="1561">
                        <c:v>0</c:v>
                      </c:pt>
                      <c:pt idx="1562">
                        <c:v>0</c:v>
                      </c:pt>
                      <c:pt idx="1563">
                        <c:v>0</c:v>
                      </c:pt>
                      <c:pt idx="1564">
                        <c:v>0</c:v>
                      </c:pt>
                      <c:pt idx="1565">
                        <c:v>0</c:v>
                      </c:pt>
                      <c:pt idx="1566">
                        <c:v>0</c:v>
                      </c:pt>
                      <c:pt idx="1567">
                        <c:v>0</c:v>
                      </c:pt>
                      <c:pt idx="1568">
                        <c:v>0</c:v>
                      </c:pt>
                      <c:pt idx="1569">
                        <c:v>0</c:v>
                      </c:pt>
                      <c:pt idx="1570">
                        <c:v>0</c:v>
                      </c:pt>
                      <c:pt idx="1571">
                        <c:v>0</c:v>
                      </c:pt>
                      <c:pt idx="1572">
                        <c:v>0</c:v>
                      </c:pt>
                      <c:pt idx="1573">
                        <c:v>0</c:v>
                      </c:pt>
                      <c:pt idx="1574">
                        <c:v>0</c:v>
                      </c:pt>
                      <c:pt idx="1575">
                        <c:v>0</c:v>
                      </c:pt>
                      <c:pt idx="1576">
                        <c:v>0</c:v>
                      </c:pt>
                      <c:pt idx="1577">
                        <c:v>0</c:v>
                      </c:pt>
                      <c:pt idx="1578">
                        <c:v>0</c:v>
                      </c:pt>
                      <c:pt idx="1579">
                        <c:v>0</c:v>
                      </c:pt>
                      <c:pt idx="1580">
                        <c:v>0</c:v>
                      </c:pt>
                      <c:pt idx="1581">
                        <c:v>0</c:v>
                      </c:pt>
                      <c:pt idx="1582">
                        <c:v>0</c:v>
                      </c:pt>
                      <c:pt idx="1583">
                        <c:v>0</c:v>
                      </c:pt>
                      <c:pt idx="1584">
                        <c:v>0</c:v>
                      </c:pt>
                      <c:pt idx="1585">
                        <c:v>0</c:v>
                      </c:pt>
                      <c:pt idx="1586">
                        <c:v>0</c:v>
                      </c:pt>
                      <c:pt idx="1587">
                        <c:v>0</c:v>
                      </c:pt>
                      <c:pt idx="1588">
                        <c:v>0</c:v>
                      </c:pt>
                      <c:pt idx="1589">
                        <c:v>0</c:v>
                      </c:pt>
                      <c:pt idx="1590">
                        <c:v>0</c:v>
                      </c:pt>
                      <c:pt idx="1591">
                        <c:v>0</c:v>
                      </c:pt>
                      <c:pt idx="1592">
                        <c:v>0</c:v>
                      </c:pt>
                      <c:pt idx="1593">
                        <c:v>0</c:v>
                      </c:pt>
                      <c:pt idx="1594">
                        <c:v>0</c:v>
                      </c:pt>
                      <c:pt idx="1595">
                        <c:v>0</c:v>
                      </c:pt>
                      <c:pt idx="1596">
                        <c:v>0</c:v>
                      </c:pt>
                      <c:pt idx="1597">
                        <c:v>0</c:v>
                      </c:pt>
                      <c:pt idx="1598">
                        <c:v>0</c:v>
                      </c:pt>
                      <c:pt idx="1599">
                        <c:v>0</c:v>
                      </c:pt>
                      <c:pt idx="1600">
                        <c:v>0</c:v>
                      </c:pt>
                      <c:pt idx="1601">
                        <c:v>0</c:v>
                      </c:pt>
                      <c:pt idx="1602">
                        <c:v>0</c:v>
                      </c:pt>
                      <c:pt idx="1603">
                        <c:v>0</c:v>
                      </c:pt>
                      <c:pt idx="1604">
                        <c:v>0</c:v>
                      </c:pt>
                      <c:pt idx="1605">
                        <c:v>0</c:v>
                      </c:pt>
                      <c:pt idx="1606">
                        <c:v>0</c:v>
                      </c:pt>
                      <c:pt idx="1607">
                        <c:v>0</c:v>
                      </c:pt>
                      <c:pt idx="1608">
                        <c:v>0</c:v>
                      </c:pt>
                      <c:pt idx="1609">
                        <c:v>0</c:v>
                      </c:pt>
                      <c:pt idx="1610">
                        <c:v>0</c:v>
                      </c:pt>
                      <c:pt idx="1611">
                        <c:v>0</c:v>
                      </c:pt>
                      <c:pt idx="1612">
                        <c:v>0</c:v>
                      </c:pt>
                      <c:pt idx="1613">
                        <c:v>0</c:v>
                      </c:pt>
                      <c:pt idx="1614">
                        <c:v>0</c:v>
                      </c:pt>
                      <c:pt idx="1615">
                        <c:v>0</c:v>
                      </c:pt>
                      <c:pt idx="1616">
                        <c:v>0</c:v>
                      </c:pt>
                      <c:pt idx="1617">
                        <c:v>0</c:v>
                      </c:pt>
                      <c:pt idx="1618">
                        <c:v>0</c:v>
                      </c:pt>
                      <c:pt idx="1619">
                        <c:v>0</c:v>
                      </c:pt>
                      <c:pt idx="1620">
                        <c:v>0</c:v>
                      </c:pt>
                      <c:pt idx="1621">
                        <c:v>0</c:v>
                      </c:pt>
                      <c:pt idx="1622">
                        <c:v>0</c:v>
                      </c:pt>
                      <c:pt idx="1623">
                        <c:v>0</c:v>
                      </c:pt>
                      <c:pt idx="1624">
                        <c:v>0</c:v>
                      </c:pt>
                      <c:pt idx="1625">
                        <c:v>0</c:v>
                      </c:pt>
                      <c:pt idx="1626">
                        <c:v>0</c:v>
                      </c:pt>
                      <c:pt idx="1627">
                        <c:v>0</c:v>
                      </c:pt>
                      <c:pt idx="1628">
                        <c:v>0</c:v>
                      </c:pt>
                      <c:pt idx="1629">
                        <c:v>0</c:v>
                      </c:pt>
                      <c:pt idx="1630">
                        <c:v>0</c:v>
                      </c:pt>
                      <c:pt idx="1631">
                        <c:v>0</c:v>
                      </c:pt>
                      <c:pt idx="1632">
                        <c:v>0</c:v>
                      </c:pt>
                      <c:pt idx="1633">
                        <c:v>0</c:v>
                      </c:pt>
                      <c:pt idx="1634">
                        <c:v>0</c:v>
                      </c:pt>
                      <c:pt idx="1635">
                        <c:v>0</c:v>
                      </c:pt>
                      <c:pt idx="1636">
                        <c:v>0</c:v>
                      </c:pt>
                      <c:pt idx="1637">
                        <c:v>0</c:v>
                      </c:pt>
                      <c:pt idx="1638">
                        <c:v>0</c:v>
                      </c:pt>
                      <c:pt idx="1639">
                        <c:v>0</c:v>
                      </c:pt>
                      <c:pt idx="1640">
                        <c:v>0</c:v>
                      </c:pt>
                      <c:pt idx="1641">
                        <c:v>0</c:v>
                      </c:pt>
                      <c:pt idx="1642">
                        <c:v>0</c:v>
                      </c:pt>
                      <c:pt idx="1643">
                        <c:v>0</c:v>
                      </c:pt>
                      <c:pt idx="1644">
                        <c:v>0</c:v>
                      </c:pt>
                      <c:pt idx="1645">
                        <c:v>0</c:v>
                      </c:pt>
                      <c:pt idx="1646">
                        <c:v>0</c:v>
                      </c:pt>
                      <c:pt idx="1647">
                        <c:v>0</c:v>
                      </c:pt>
                      <c:pt idx="1648">
                        <c:v>0</c:v>
                      </c:pt>
                      <c:pt idx="1649">
                        <c:v>0</c:v>
                      </c:pt>
                      <c:pt idx="1650">
                        <c:v>0</c:v>
                      </c:pt>
                      <c:pt idx="1651">
                        <c:v>0</c:v>
                      </c:pt>
                      <c:pt idx="1652">
                        <c:v>0</c:v>
                      </c:pt>
                      <c:pt idx="1653">
                        <c:v>0</c:v>
                      </c:pt>
                      <c:pt idx="1654">
                        <c:v>0</c:v>
                      </c:pt>
                      <c:pt idx="1655">
                        <c:v>0</c:v>
                      </c:pt>
                      <c:pt idx="1656">
                        <c:v>0</c:v>
                      </c:pt>
                      <c:pt idx="1657">
                        <c:v>0</c:v>
                      </c:pt>
                      <c:pt idx="1658">
                        <c:v>0</c:v>
                      </c:pt>
                      <c:pt idx="1659">
                        <c:v>0</c:v>
                      </c:pt>
                      <c:pt idx="1660">
                        <c:v>0</c:v>
                      </c:pt>
                      <c:pt idx="1661">
                        <c:v>0</c:v>
                      </c:pt>
                      <c:pt idx="1662">
                        <c:v>0</c:v>
                      </c:pt>
                      <c:pt idx="1663">
                        <c:v>0</c:v>
                      </c:pt>
                      <c:pt idx="1664">
                        <c:v>0</c:v>
                      </c:pt>
                      <c:pt idx="1665">
                        <c:v>0</c:v>
                      </c:pt>
                      <c:pt idx="1666">
                        <c:v>0</c:v>
                      </c:pt>
                      <c:pt idx="1667">
                        <c:v>0</c:v>
                      </c:pt>
                      <c:pt idx="1668">
                        <c:v>0</c:v>
                      </c:pt>
                      <c:pt idx="1669">
                        <c:v>0</c:v>
                      </c:pt>
                      <c:pt idx="1670">
                        <c:v>0</c:v>
                      </c:pt>
                      <c:pt idx="1671">
                        <c:v>0</c:v>
                      </c:pt>
                      <c:pt idx="1672">
                        <c:v>0</c:v>
                      </c:pt>
                      <c:pt idx="1673">
                        <c:v>0</c:v>
                      </c:pt>
                      <c:pt idx="1674">
                        <c:v>0</c:v>
                      </c:pt>
                      <c:pt idx="1675">
                        <c:v>0</c:v>
                      </c:pt>
                      <c:pt idx="1676">
                        <c:v>0</c:v>
                      </c:pt>
                      <c:pt idx="1677">
                        <c:v>0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0</c:v>
                      </c:pt>
                      <c:pt idx="1717">
                        <c:v>0</c:v>
                      </c:pt>
                      <c:pt idx="1718">
                        <c:v>0</c:v>
                      </c:pt>
                      <c:pt idx="1719">
                        <c:v>0</c:v>
                      </c:pt>
                      <c:pt idx="1720">
                        <c:v>0</c:v>
                      </c:pt>
                      <c:pt idx="1721">
                        <c:v>0</c:v>
                      </c:pt>
                      <c:pt idx="1722">
                        <c:v>0</c:v>
                      </c:pt>
                      <c:pt idx="1723">
                        <c:v>0</c:v>
                      </c:pt>
                      <c:pt idx="1724">
                        <c:v>0</c:v>
                      </c:pt>
                      <c:pt idx="1725">
                        <c:v>0</c:v>
                      </c:pt>
                      <c:pt idx="1726">
                        <c:v>0</c:v>
                      </c:pt>
                      <c:pt idx="1727">
                        <c:v>0</c:v>
                      </c:pt>
                      <c:pt idx="1728">
                        <c:v>0</c:v>
                      </c:pt>
                      <c:pt idx="1729">
                        <c:v>0</c:v>
                      </c:pt>
                      <c:pt idx="1730">
                        <c:v>0</c:v>
                      </c:pt>
                      <c:pt idx="1731">
                        <c:v>0</c:v>
                      </c:pt>
                      <c:pt idx="1732">
                        <c:v>0</c:v>
                      </c:pt>
                      <c:pt idx="1733">
                        <c:v>0</c:v>
                      </c:pt>
                      <c:pt idx="1734">
                        <c:v>0</c:v>
                      </c:pt>
                      <c:pt idx="1735">
                        <c:v>0</c:v>
                      </c:pt>
                      <c:pt idx="1736">
                        <c:v>0</c:v>
                      </c:pt>
                      <c:pt idx="1737">
                        <c:v>0</c:v>
                      </c:pt>
                      <c:pt idx="1738">
                        <c:v>0</c:v>
                      </c:pt>
                      <c:pt idx="1739">
                        <c:v>0</c:v>
                      </c:pt>
                      <c:pt idx="1740">
                        <c:v>0</c:v>
                      </c:pt>
                      <c:pt idx="1741">
                        <c:v>0</c:v>
                      </c:pt>
                      <c:pt idx="1742">
                        <c:v>0</c:v>
                      </c:pt>
                      <c:pt idx="1743">
                        <c:v>0</c:v>
                      </c:pt>
                      <c:pt idx="1744">
                        <c:v>0</c:v>
                      </c:pt>
                      <c:pt idx="1745">
                        <c:v>0</c:v>
                      </c:pt>
                      <c:pt idx="1746">
                        <c:v>0</c:v>
                      </c:pt>
                      <c:pt idx="1747">
                        <c:v>0</c:v>
                      </c:pt>
                      <c:pt idx="1748">
                        <c:v>0</c:v>
                      </c:pt>
                      <c:pt idx="1749">
                        <c:v>0</c:v>
                      </c:pt>
                      <c:pt idx="1750">
                        <c:v>0</c:v>
                      </c:pt>
                      <c:pt idx="1751">
                        <c:v>0</c:v>
                      </c:pt>
                      <c:pt idx="1752">
                        <c:v>0</c:v>
                      </c:pt>
                      <c:pt idx="1753">
                        <c:v>0</c:v>
                      </c:pt>
                      <c:pt idx="1754">
                        <c:v>0</c:v>
                      </c:pt>
                      <c:pt idx="1755">
                        <c:v>0</c:v>
                      </c:pt>
                      <c:pt idx="1756">
                        <c:v>0</c:v>
                      </c:pt>
                      <c:pt idx="1757">
                        <c:v>0</c:v>
                      </c:pt>
                      <c:pt idx="1758">
                        <c:v>0</c:v>
                      </c:pt>
                      <c:pt idx="1759">
                        <c:v>0</c:v>
                      </c:pt>
                      <c:pt idx="1760">
                        <c:v>0</c:v>
                      </c:pt>
                      <c:pt idx="1761">
                        <c:v>0</c:v>
                      </c:pt>
                      <c:pt idx="1762">
                        <c:v>0</c:v>
                      </c:pt>
                      <c:pt idx="1763">
                        <c:v>0</c:v>
                      </c:pt>
                      <c:pt idx="1764">
                        <c:v>0</c:v>
                      </c:pt>
                      <c:pt idx="1765">
                        <c:v>0</c:v>
                      </c:pt>
                      <c:pt idx="1766">
                        <c:v>0</c:v>
                      </c:pt>
                      <c:pt idx="1767">
                        <c:v>0</c:v>
                      </c:pt>
                      <c:pt idx="1768">
                        <c:v>0</c:v>
                      </c:pt>
                      <c:pt idx="1769">
                        <c:v>0</c:v>
                      </c:pt>
                      <c:pt idx="1770">
                        <c:v>0</c:v>
                      </c:pt>
                      <c:pt idx="1771">
                        <c:v>0</c:v>
                      </c:pt>
                      <c:pt idx="1772">
                        <c:v>0</c:v>
                      </c:pt>
                      <c:pt idx="1773">
                        <c:v>0</c:v>
                      </c:pt>
                      <c:pt idx="1774">
                        <c:v>0</c:v>
                      </c:pt>
                      <c:pt idx="1775">
                        <c:v>0</c:v>
                      </c:pt>
                      <c:pt idx="1776">
                        <c:v>0</c:v>
                      </c:pt>
                      <c:pt idx="1777">
                        <c:v>0</c:v>
                      </c:pt>
                      <c:pt idx="1778">
                        <c:v>0</c:v>
                      </c:pt>
                      <c:pt idx="1779">
                        <c:v>0</c:v>
                      </c:pt>
                      <c:pt idx="1780">
                        <c:v>0</c:v>
                      </c:pt>
                      <c:pt idx="1781">
                        <c:v>0</c:v>
                      </c:pt>
                      <c:pt idx="1782">
                        <c:v>0</c:v>
                      </c:pt>
                      <c:pt idx="1783">
                        <c:v>0</c:v>
                      </c:pt>
                      <c:pt idx="1784">
                        <c:v>0</c:v>
                      </c:pt>
                      <c:pt idx="1785">
                        <c:v>0</c:v>
                      </c:pt>
                      <c:pt idx="1786">
                        <c:v>0</c:v>
                      </c:pt>
                      <c:pt idx="1787">
                        <c:v>0</c:v>
                      </c:pt>
                      <c:pt idx="1788">
                        <c:v>0</c:v>
                      </c:pt>
                      <c:pt idx="1789">
                        <c:v>0</c:v>
                      </c:pt>
                      <c:pt idx="1790">
                        <c:v>0</c:v>
                      </c:pt>
                      <c:pt idx="1791">
                        <c:v>0</c:v>
                      </c:pt>
                      <c:pt idx="1792">
                        <c:v>0</c:v>
                      </c:pt>
                      <c:pt idx="1793">
                        <c:v>0</c:v>
                      </c:pt>
                      <c:pt idx="1794">
                        <c:v>0</c:v>
                      </c:pt>
                      <c:pt idx="1795">
                        <c:v>0</c:v>
                      </c:pt>
                      <c:pt idx="1796">
                        <c:v>0</c:v>
                      </c:pt>
                      <c:pt idx="1797">
                        <c:v>0</c:v>
                      </c:pt>
                      <c:pt idx="1798">
                        <c:v>0</c:v>
                      </c:pt>
                      <c:pt idx="1799">
                        <c:v>0</c:v>
                      </c:pt>
                      <c:pt idx="1800">
                        <c:v>0</c:v>
                      </c:pt>
                      <c:pt idx="1801">
                        <c:v>0</c:v>
                      </c:pt>
                      <c:pt idx="1802">
                        <c:v>0</c:v>
                      </c:pt>
                      <c:pt idx="1803">
                        <c:v>0</c:v>
                      </c:pt>
                      <c:pt idx="1804">
                        <c:v>0</c:v>
                      </c:pt>
                      <c:pt idx="1805">
                        <c:v>0</c:v>
                      </c:pt>
                      <c:pt idx="1806">
                        <c:v>0</c:v>
                      </c:pt>
                      <c:pt idx="1807">
                        <c:v>0</c:v>
                      </c:pt>
                      <c:pt idx="1808">
                        <c:v>0</c:v>
                      </c:pt>
                      <c:pt idx="1809">
                        <c:v>0</c:v>
                      </c:pt>
                      <c:pt idx="1810">
                        <c:v>0</c:v>
                      </c:pt>
                      <c:pt idx="1811">
                        <c:v>0</c:v>
                      </c:pt>
                      <c:pt idx="1812">
                        <c:v>0</c:v>
                      </c:pt>
                      <c:pt idx="1813">
                        <c:v>0</c:v>
                      </c:pt>
                      <c:pt idx="1814">
                        <c:v>0</c:v>
                      </c:pt>
                      <c:pt idx="1815">
                        <c:v>0</c:v>
                      </c:pt>
                      <c:pt idx="1816">
                        <c:v>0</c:v>
                      </c:pt>
                      <c:pt idx="1817">
                        <c:v>0</c:v>
                      </c:pt>
                      <c:pt idx="1818">
                        <c:v>0</c:v>
                      </c:pt>
                      <c:pt idx="1819">
                        <c:v>0</c:v>
                      </c:pt>
                      <c:pt idx="1820">
                        <c:v>0</c:v>
                      </c:pt>
                      <c:pt idx="1821">
                        <c:v>0</c:v>
                      </c:pt>
                      <c:pt idx="1822">
                        <c:v>0</c:v>
                      </c:pt>
                      <c:pt idx="1823">
                        <c:v>0</c:v>
                      </c:pt>
                      <c:pt idx="1824">
                        <c:v>0</c:v>
                      </c:pt>
                      <c:pt idx="1825">
                        <c:v>0</c:v>
                      </c:pt>
                      <c:pt idx="1826">
                        <c:v>0</c:v>
                      </c:pt>
                      <c:pt idx="1827">
                        <c:v>0</c:v>
                      </c:pt>
                      <c:pt idx="1828">
                        <c:v>0</c:v>
                      </c:pt>
                      <c:pt idx="1829">
                        <c:v>0</c:v>
                      </c:pt>
                      <c:pt idx="1830">
                        <c:v>0</c:v>
                      </c:pt>
                      <c:pt idx="1831">
                        <c:v>0</c:v>
                      </c:pt>
                      <c:pt idx="1832">
                        <c:v>0</c:v>
                      </c:pt>
                      <c:pt idx="1833">
                        <c:v>0</c:v>
                      </c:pt>
                      <c:pt idx="1834">
                        <c:v>0</c:v>
                      </c:pt>
                      <c:pt idx="1835">
                        <c:v>0</c:v>
                      </c:pt>
                      <c:pt idx="1836">
                        <c:v>0</c:v>
                      </c:pt>
                      <c:pt idx="1837">
                        <c:v>0</c:v>
                      </c:pt>
                      <c:pt idx="1838">
                        <c:v>0</c:v>
                      </c:pt>
                      <c:pt idx="1839">
                        <c:v>0</c:v>
                      </c:pt>
                      <c:pt idx="1840">
                        <c:v>0</c:v>
                      </c:pt>
                      <c:pt idx="1841">
                        <c:v>0</c:v>
                      </c:pt>
                      <c:pt idx="1842">
                        <c:v>0</c:v>
                      </c:pt>
                      <c:pt idx="1843">
                        <c:v>0</c:v>
                      </c:pt>
                      <c:pt idx="1844">
                        <c:v>0</c:v>
                      </c:pt>
                      <c:pt idx="1845">
                        <c:v>0</c:v>
                      </c:pt>
                      <c:pt idx="1846">
                        <c:v>0</c:v>
                      </c:pt>
                      <c:pt idx="1847">
                        <c:v>0</c:v>
                      </c:pt>
                      <c:pt idx="1848">
                        <c:v>0</c:v>
                      </c:pt>
                      <c:pt idx="1849">
                        <c:v>0</c:v>
                      </c:pt>
                      <c:pt idx="1850">
                        <c:v>0</c:v>
                      </c:pt>
                      <c:pt idx="1851">
                        <c:v>0</c:v>
                      </c:pt>
                      <c:pt idx="1852">
                        <c:v>0</c:v>
                      </c:pt>
                      <c:pt idx="1853">
                        <c:v>0</c:v>
                      </c:pt>
                      <c:pt idx="1854">
                        <c:v>0</c:v>
                      </c:pt>
                      <c:pt idx="1855">
                        <c:v>0</c:v>
                      </c:pt>
                      <c:pt idx="1856">
                        <c:v>0</c:v>
                      </c:pt>
                      <c:pt idx="1857">
                        <c:v>0</c:v>
                      </c:pt>
                      <c:pt idx="1858">
                        <c:v>0</c:v>
                      </c:pt>
                      <c:pt idx="1859">
                        <c:v>0</c:v>
                      </c:pt>
                      <c:pt idx="1860">
                        <c:v>0</c:v>
                      </c:pt>
                      <c:pt idx="1861">
                        <c:v>0</c:v>
                      </c:pt>
                      <c:pt idx="1862">
                        <c:v>0</c:v>
                      </c:pt>
                      <c:pt idx="1863">
                        <c:v>0</c:v>
                      </c:pt>
                      <c:pt idx="1864">
                        <c:v>0</c:v>
                      </c:pt>
                      <c:pt idx="1865">
                        <c:v>0</c:v>
                      </c:pt>
                      <c:pt idx="1866">
                        <c:v>0</c:v>
                      </c:pt>
                      <c:pt idx="1867">
                        <c:v>0</c:v>
                      </c:pt>
                      <c:pt idx="1868">
                        <c:v>0</c:v>
                      </c:pt>
                      <c:pt idx="1869">
                        <c:v>0</c:v>
                      </c:pt>
                      <c:pt idx="1870">
                        <c:v>0</c:v>
                      </c:pt>
                      <c:pt idx="1871">
                        <c:v>0</c:v>
                      </c:pt>
                      <c:pt idx="1872">
                        <c:v>0</c:v>
                      </c:pt>
                      <c:pt idx="1873">
                        <c:v>0</c:v>
                      </c:pt>
                      <c:pt idx="1874">
                        <c:v>0</c:v>
                      </c:pt>
                      <c:pt idx="1875">
                        <c:v>0</c:v>
                      </c:pt>
                      <c:pt idx="1876">
                        <c:v>0</c:v>
                      </c:pt>
                      <c:pt idx="1877">
                        <c:v>0</c:v>
                      </c:pt>
                      <c:pt idx="1878">
                        <c:v>0</c:v>
                      </c:pt>
                      <c:pt idx="1879">
                        <c:v>0</c:v>
                      </c:pt>
                      <c:pt idx="1880">
                        <c:v>0</c:v>
                      </c:pt>
                      <c:pt idx="1881">
                        <c:v>0</c:v>
                      </c:pt>
                      <c:pt idx="1882">
                        <c:v>0</c:v>
                      </c:pt>
                      <c:pt idx="1883">
                        <c:v>0</c:v>
                      </c:pt>
                      <c:pt idx="1884">
                        <c:v>0</c:v>
                      </c:pt>
                      <c:pt idx="1885">
                        <c:v>0</c:v>
                      </c:pt>
                      <c:pt idx="1886">
                        <c:v>0</c:v>
                      </c:pt>
                      <c:pt idx="1887">
                        <c:v>0</c:v>
                      </c:pt>
                      <c:pt idx="1888">
                        <c:v>0</c:v>
                      </c:pt>
                      <c:pt idx="1889">
                        <c:v>0</c:v>
                      </c:pt>
                      <c:pt idx="1890">
                        <c:v>0</c:v>
                      </c:pt>
                      <c:pt idx="1891">
                        <c:v>0</c:v>
                      </c:pt>
                      <c:pt idx="1892">
                        <c:v>0</c:v>
                      </c:pt>
                      <c:pt idx="1893">
                        <c:v>0</c:v>
                      </c:pt>
                      <c:pt idx="1894">
                        <c:v>0</c:v>
                      </c:pt>
                      <c:pt idx="1895">
                        <c:v>0</c:v>
                      </c:pt>
                      <c:pt idx="1896">
                        <c:v>0</c:v>
                      </c:pt>
                      <c:pt idx="1897">
                        <c:v>0</c:v>
                      </c:pt>
                      <c:pt idx="1898">
                        <c:v>0</c:v>
                      </c:pt>
                      <c:pt idx="1899">
                        <c:v>0</c:v>
                      </c:pt>
                      <c:pt idx="1900">
                        <c:v>0</c:v>
                      </c:pt>
                      <c:pt idx="1901">
                        <c:v>0</c:v>
                      </c:pt>
                      <c:pt idx="1902">
                        <c:v>0</c:v>
                      </c:pt>
                      <c:pt idx="1903">
                        <c:v>0</c:v>
                      </c:pt>
                      <c:pt idx="1904">
                        <c:v>0</c:v>
                      </c:pt>
                      <c:pt idx="1905">
                        <c:v>0</c:v>
                      </c:pt>
                      <c:pt idx="1906">
                        <c:v>0</c:v>
                      </c:pt>
                      <c:pt idx="1907">
                        <c:v>0</c:v>
                      </c:pt>
                      <c:pt idx="1908">
                        <c:v>0</c:v>
                      </c:pt>
                      <c:pt idx="1909">
                        <c:v>0</c:v>
                      </c:pt>
                      <c:pt idx="1910">
                        <c:v>0</c:v>
                      </c:pt>
                      <c:pt idx="1911">
                        <c:v>0</c:v>
                      </c:pt>
                      <c:pt idx="1912">
                        <c:v>0</c:v>
                      </c:pt>
                      <c:pt idx="1913">
                        <c:v>0</c:v>
                      </c:pt>
                      <c:pt idx="1914">
                        <c:v>0</c:v>
                      </c:pt>
                      <c:pt idx="1915">
                        <c:v>0</c:v>
                      </c:pt>
                      <c:pt idx="1916">
                        <c:v>0</c:v>
                      </c:pt>
                      <c:pt idx="1917">
                        <c:v>0</c:v>
                      </c:pt>
                      <c:pt idx="1918">
                        <c:v>0</c:v>
                      </c:pt>
                      <c:pt idx="1919">
                        <c:v>0</c:v>
                      </c:pt>
                      <c:pt idx="1920">
                        <c:v>0</c:v>
                      </c:pt>
                      <c:pt idx="1921">
                        <c:v>0</c:v>
                      </c:pt>
                      <c:pt idx="1922">
                        <c:v>0</c:v>
                      </c:pt>
                      <c:pt idx="1923">
                        <c:v>0</c:v>
                      </c:pt>
                      <c:pt idx="1924">
                        <c:v>0</c:v>
                      </c:pt>
                      <c:pt idx="1925">
                        <c:v>0</c:v>
                      </c:pt>
                      <c:pt idx="1926">
                        <c:v>0</c:v>
                      </c:pt>
                      <c:pt idx="1927">
                        <c:v>0</c:v>
                      </c:pt>
                      <c:pt idx="1928">
                        <c:v>0</c:v>
                      </c:pt>
                      <c:pt idx="1929">
                        <c:v>0</c:v>
                      </c:pt>
                      <c:pt idx="1930">
                        <c:v>0</c:v>
                      </c:pt>
                      <c:pt idx="1931">
                        <c:v>0</c:v>
                      </c:pt>
                      <c:pt idx="1932">
                        <c:v>0</c:v>
                      </c:pt>
                      <c:pt idx="1933">
                        <c:v>0</c:v>
                      </c:pt>
                      <c:pt idx="1934">
                        <c:v>0</c:v>
                      </c:pt>
                      <c:pt idx="1935">
                        <c:v>0</c:v>
                      </c:pt>
                      <c:pt idx="1936">
                        <c:v>0</c:v>
                      </c:pt>
                      <c:pt idx="1937">
                        <c:v>0</c:v>
                      </c:pt>
                      <c:pt idx="1938">
                        <c:v>0</c:v>
                      </c:pt>
                      <c:pt idx="1939">
                        <c:v>0</c:v>
                      </c:pt>
                      <c:pt idx="1940">
                        <c:v>0</c:v>
                      </c:pt>
                      <c:pt idx="1941">
                        <c:v>0</c:v>
                      </c:pt>
                      <c:pt idx="1942">
                        <c:v>0</c:v>
                      </c:pt>
                      <c:pt idx="1943">
                        <c:v>0</c:v>
                      </c:pt>
                      <c:pt idx="1944">
                        <c:v>0</c:v>
                      </c:pt>
                      <c:pt idx="1945">
                        <c:v>0</c:v>
                      </c:pt>
                      <c:pt idx="1946">
                        <c:v>0</c:v>
                      </c:pt>
                      <c:pt idx="1947">
                        <c:v>0</c:v>
                      </c:pt>
                      <c:pt idx="1948">
                        <c:v>0</c:v>
                      </c:pt>
                      <c:pt idx="1949">
                        <c:v>0</c:v>
                      </c:pt>
                      <c:pt idx="1950">
                        <c:v>0</c:v>
                      </c:pt>
                      <c:pt idx="1951">
                        <c:v>0</c:v>
                      </c:pt>
                      <c:pt idx="1952">
                        <c:v>0</c:v>
                      </c:pt>
                      <c:pt idx="1953">
                        <c:v>0</c:v>
                      </c:pt>
                      <c:pt idx="1954">
                        <c:v>0</c:v>
                      </c:pt>
                      <c:pt idx="1955">
                        <c:v>0</c:v>
                      </c:pt>
                      <c:pt idx="1956">
                        <c:v>0</c:v>
                      </c:pt>
                      <c:pt idx="1957">
                        <c:v>0</c:v>
                      </c:pt>
                      <c:pt idx="1958">
                        <c:v>0</c:v>
                      </c:pt>
                      <c:pt idx="1959">
                        <c:v>0</c:v>
                      </c:pt>
                      <c:pt idx="1960">
                        <c:v>0</c:v>
                      </c:pt>
                      <c:pt idx="1961">
                        <c:v>0</c:v>
                      </c:pt>
                      <c:pt idx="1962">
                        <c:v>0</c:v>
                      </c:pt>
                      <c:pt idx="1963">
                        <c:v>0</c:v>
                      </c:pt>
                      <c:pt idx="1964">
                        <c:v>0</c:v>
                      </c:pt>
                      <c:pt idx="1965">
                        <c:v>0</c:v>
                      </c:pt>
                      <c:pt idx="1966">
                        <c:v>0</c:v>
                      </c:pt>
                      <c:pt idx="1967">
                        <c:v>0</c:v>
                      </c:pt>
                      <c:pt idx="1968">
                        <c:v>0</c:v>
                      </c:pt>
                      <c:pt idx="1969">
                        <c:v>0</c:v>
                      </c:pt>
                      <c:pt idx="1970">
                        <c:v>0</c:v>
                      </c:pt>
                      <c:pt idx="1971">
                        <c:v>0</c:v>
                      </c:pt>
                      <c:pt idx="1972">
                        <c:v>0</c:v>
                      </c:pt>
                      <c:pt idx="1973">
                        <c:v>0</c:v>
                      </c:pt>
                      <c:pt idx="1974">
                        <c:v>0</c:v>
                      </c:pt>
                      <c:pt idx="1975">
                        <c:v>0</c:v>
                      </c:pt>
                      <c:pt idx="1976">
                        <c:v>0</c:v>
                      </c:pt>
                      <c:pt idx="1977">
                        <c:v>0</c:v>
                      </c:pt>
                      <c:pt idx="1978">
                        <c:v>0</c:v>
                      </c:pt>
                      <c:pt idx="1979">
                        <c:v>0</c:v>
                      </c:pt>
                      <c:pt idx="1980">
                        <c:v>0</c:v>
                      </c:pt>
                      <c:pt idx="1981">
                        <c:v>0</c:v>
                      </c:pt>
                      <c:pt idx="1982">
                        <c:v>0</c:v>
                      </c:pt>
                      <c:pt idx="1983">
                        <c:v>0</c:v>
                      </c:pt>
                      <c:pt idx="1984">
                        <c:v>0</c:v>
                      </c:pt>
                      <c:pt idx="1985">
                        <c:v>0</c:v>
                      </c:pt>
                      <c:pt idx="1986">
                        <c:v>0</c:v>
                      </c:pt>
                      <c:pt idx="1987">
                        <c:v>0</c:v>
                      </c:pt>
                      <c:pt idx="1988">
                        <c:v>0</c:v>
                      </c:pt>
                      <c:pt idx="1989">
                        <c:v>0</c:v>
                      </c:pt>
                      <c:pt idx="1990">
                        <c:v>0</c:v>
                      </c:pt>
                      <c:pt idx="1991">
                        <c:v>0</c:v>
                      </c:pt>
                      <c:pt idx="1992">
                        <c:v>0</c:v>
                      </c:pt>
                      <c:pt idx="1993">
                        <c:v>0</c:v>
                      </c:pt>
                      <c:pt idx="1994">
                        <c:v>0</c:v>
                      </c:pt>
                      <c:pt idx="1995">
                        <c:v>0</c:v>
                      </c:pt>
                      <c:pt idx="1996">
                        <c:v>0</c:v>
                      </c:pt>
                      <c:pt idx="1997">
                        <c:v>0</c:v>
                      </c:pt>
                      <c:pt idx="1998">
                        <c:v>0</c:v>
                      </c:pt>
                      <c:pt idx="1999">
                        <c:v>0</c:v>
                      </c:pt>
                      <c:pt idx="2000">
                        <c:v>0</c:v>
                      </c:pt>
                      <c:pt idx="2001">
                        <c:v>0</c:v>
                      </c:pt>
                      <c:pt idx="2002">
                        <c:v>0</c:v>
                      </c:pt>
                      <c:pt idx="2003">
                        <c:v>0</c:v>
                      </c:pt>
                      <c:pt idx="2004">
                        <c:v>0</c:v>
                      </c:pt>
                      <c:pt idx="2005">
                        <c:v>0</c:v>
                      </c:pt>
                      <c:pt idx="2006">
                        <c:v>0</c:v>
                      </c:pt>
                      <c:pt idx="2007">
                        <c:v>0</c:v>
                      </c:pt>
                      <c:pt idx="2008">
                        <c:v>0</c:v>
                      </c:pt>
                      <c:pt idx="2009">
                        <c:v>0</c:v>
                      </c:pt>
                      <c:pt idx="2010">
                        <c:v>0</c:v>
                      </c:pt>
                      <c:pt idx="2011">
                        <c:v>0</c:v>
                      </c:pt>
                      <c:pt idx="2012">
                        <c:v>0</c:v>
                      </c:pt>
                      <c:pt idx="2013">
                        <c:v>0</c:v>
                      </c:pt>
                      <c:pt idx="2014">
                        <c:v>0</c:v>
                      </c:pt>
                      <c:pt idx="2015">
                        <c:v>0</c:v>
                      </c:pt>
                      <c:pt idx="2016">
                        <c:v>0</c:v>
                      </c:pt>
                      <c:pt idx="2017">
                        <c:v>0</c:v>
                      </c:pt>
                      <c:pt idx="2018">
                        <c:v>0</c:v>
                      </c:pt>
                      <c:pt idx="2019">
                        <c:v>0</c:v>
                      </c:pt>
                      <c:pt idx="2020">
                        <c:v>0</c:v>
                      </c:pt>
                      <c:pt idx="2021">
                        <c:v>0</c:v>
                      </c:pt>
                      <c:pt idx="2022">
                        <c:v>0</c:v>
                      </c:pt>
                      <c:pt idx="2023">
                        <c:v>0</c:v>
                      </c:pt>
                      <c:pt idx="2024">
                        <c:v>0</c:v>
                      </c:pt>
                      <c:pt idx="2025">
                        <c:v>0</c:v>
                      </c:pt>
                      <c:pt idx="2026">
                        <c:v>0</c:v>
                      </c:pt>
                      <c:pt idx="2027">
                        <c:v>0</c:v>
                      </c:pt>
                      <c:pt idx="2028">
                        <c:v>0</c:v>
                      </c:pt>
                      <c:pt idx="2029">
                        <c:v>0</c:v>
                      </c:pt>
                      <c:pt idx="2030">
                        <c:v>0</c:v>
                      </c:pt>
                      <c:pt idx="2031">
                        <c:v>0</c:v>
                      </c:pt>
                      <c:pt idx="2032">
                        <c:v>0</c:v>
                      </c:pt>
                      <c:pt idx="2033">
                        <c:v>0</c:v>
                      </c:pt>
                      <c:pt idx="2034">
                        <c:v>0</c:v>
                      </c:pt>
                      <c:pt idx="2035">
                        <c:v>0</c:v>
                      </c:pt>
                      <c:pt idx="2036">
                        <c:v>0</c:v>
                      </c:pt>
                      <c:pt idx="2037">
                        <c:v>0</c:v>
                      </c:pt>
                      <c:pt idx="2038">
                        <c:v>0</c:v>
                      </c:pt>
                      <c:pt idx="2039">
                        <c:v>0</c:v>
                      </c:pt>
                      <c:pt idx="2040">
                        <c:v>0</c:v>
                      </c:pt>
                      <c:pt idx="2041">
                        <c:v>0</c:v>
                      </c:pt>
                      <c:pt idx="2042">
                        <c:v>0</c:v>
                      </c:pt>
                      <c:pt idx="2043">
                        <c:v>0</c:v>
                      </c:pt>
                      <c:pt idx="2044">
                        <c:v>0</c:v>
                      </c:pt>
                      <c:pt idx="2045">
                        <c:v>0</c:v>
                      </c:pt>
                      <c:pt idx="2046">
                        <c:v>0</c:v>
                      </c:pt>
                      <c:pt idx="2047">
                        <c:v>0</c:v>
                      </c:pt>
                      <c:pt idx="2048">
                        <c:v>0</c:v>
                      </c:pt>
                      <c:pt idx="2049">
                        <c:v>0</c:v>
                      </c:pt>
                      <c:pt idx="2050">
                        <c:v>0</c:v>
                      </c:pt>
                      <c:pt idx="2051">
                        <c:v>0</c:v>
                      </c:pt>
                      <c:pt idx="2052">
                        <c:v>0</c:v>
                      </c:pt>
                      <c:pt idx="2053">
                        <c:v>0</c:v>
                      </c:pt>
                      <c:pt idx="2054">
                        <c:v>0</c:v>
                      </c:pt>
                      <c:pt idx="2055">
                        <c:v>0</c:v>
                      </c:pt>
                      <c:pt idx="2056">
                        <c:v>0</c:v>
                      </c:pt>
                      <c:pt idx="2057">
                        <c:v>0</c:v>
                      </c:pt>
                      <c:pt idx="2058">
                        <c:v>0</c:v>
                      </c:pt>
                      <c:pt idx="2059">
                        <c:v>0</c:v>
                      </c:pt>
                      <c:pt idx="2060">
                        <c:v>0</c:v>
                      </c:pt>
                      <c:pt idx="2061">
                        <c:v>0</c:v>
                      </c:pt>
                      <c:pt idx="2062">
                        <c:v>0</c:v>
                      </c:pt>
                      <c:pt idx="2063">
                        <c:v>0</c:v>
                      </c:pt>
                      <c:pt idx="2064">
                        <c:v>0</c:v>
                      </c:pt>
                      <c:pt idx="2065">
                        <c:v>0</c:v>
                      </c:pt>
                      <c:pt idx="2066">
                        <c:v>0</c:v>
                      </c:pt>
                      <c:pt idx="2067">
                        <c:v>0</c:v>
                      </c:pt>
                      <c:pt idx="2068">
                        <c:v>0</c:v>
                      </c:pt>
                      <c:pt idx="2069">
                        <c:v>0</c:v>
                      </c:pt>
                      <c:pt idx="2070">
                        <c:v>0</c:v>
                      </c:pt>
                      <c:pt idx="2071">
                        <c:v>0</c:v>
                      </c:pt>
                      <c:pt idx="2072">
                        <c:v>0</c:v>
                      </c:pt>
                      <c:pt idx="2073">
                        <c:v>0</c:v>
                      </c:pt>
                      <c:pt idx="2074">
                        <c:v>0</c:v>
                      </c:pt>
                      <c:pt idx="2075">
                        <c:v>0</c:v>
                      </c:pt>
                      <c:pt idx="2076">
                        <c:v>0</c:v>
                      </c:pt>
                      <c:pt idx="2077">
                        <c:v>0</c:v>
                      </c:pt>
                      <c:pt idx="2078">
                        <c:v>0</c:v>
                      </c:pt>
                      <c:pt idx="2079">
                        <c:v>0</c:v>
                      </c:pt>
                      <c:pt idx="2080">
                        <c:v>0</c:v>
                      </c:pt>
                      <c:pt idx="2081">
                        <c:v>0</c:v>
                      </c:pt>
                      <c:pt idx="2082">
                        <c:v>0</c:v>
                      </c:pt>
                      <c:pt idx="2083">
                        <c:v>0</c:v>
                      </c:pt>
                      <c:pt idx="2084">
                        <c:v>0</c:v>
                      </c:pt>
                      <c:pt idx="2085">
                        <c:v>0</c:v>
                      </c:pt>
                      <c:pt idx="2086">
                        <c:v>0</c:v>
                      </c:pt>
                      <c:pt idx="2087">
                        <c:v>0</c:v>
                      </c:pt>
                      <c:pt idx="2088">
                        <c:v>0</c:v>
                      </c:pt>
                      <c:pt idx="2089">
                        <c:v>0</c:v>
                      </c:pt>
                      <c:pt idx="2090">
                        <c:v>0</c:v>
                      </c:pt>
                      <c:pt idx="2091">
                        <c:v>0</c:v>
                      </c:pt>
                      <c:pt idx="2092">
                        <c:v>0</c:v>
                      </c:pt>
                      <c:pt idx="2093">
                        <c:v>0</c:v>
                      </c:pt>
                      <c:pt idx="2094">
                        <c:v>0</c:v>
                      </c:pt>
                      <c:pt idx="2095">
                        <c:v>0</c:v>
                      </c:pt>
                      <c:pt idx="2096">
                        <c:v>0</c:v>
                      </c:pt>
                      <c:pt idx="2097">
                        <c:v>0</c:v>
                      </c:pt>
                      <c:pt idx="2098">
                        <c:v>0</c:v>
                      </c:pt>
                      <c:pt idx="2099">
                        <c:v>0</c:v>
                      </c:pt>
                      <c:pt idx="2100">
                        <c:v>0</c:v>
                      </c:pt>
                      <c:pt idx="2101">
                        <c:v>0</c:v>
                      </c:pt>
                      <c:pt idx="2102">
                        <c:v>0</c:v>
                      </c:pt>
                      <c:pt idx="2103">
                        <c:v>0</c:v>
                      </c:pt>
                      <c:pt idx="2104">
                        <c:v>0</c:v>
                      </c:pt>
                      <c:pt idx="2105">
                        <c:v>0</c:v>
                      </c:pt>
                      <c:pt idx="2106">
                        <c:v>0</c:v>
                      </c:pt>
                      <c:pt idx="2107">
                        <c:v>0</c:v>
                      </c:pt>
                      <c:pt idx="2108">
                        <c:v>0</c:v>
                      </c:pt>
                      <c:pt idx="2109">
                        <c:v>0</c:v>
                      </c:pt>
                      <c:pt idx="2110">
                        <c:v>0</c:v>
                      </c:pt>
                      <c:pt idx="2111">
                        <c:v>0</c:v>
                      </c:pt>
                      <c:pt idx="2112">
                        <c:v>0</c:v>
                      </c:pt>
                      <c:pt idx="2113">
                        <c:v>0</c:v>
                      </c:pt>
                      <c:pt idx="2114">
                        <c:v>0</c:v>
                      </c:pt>
                      <c:pt idx="2115">
                        <c:v>0</c:v>
                      </c:pt>
                      <c:pt idx="2116">
                        <c:v>0</c:v>
                      </c:pt>
                      <c:pt idx="2117">
                        <c:v>0</c:v>
                      </c:pt>
                      <c:pt idx="2118">
                        <c:v>0</c:v>
                      </c:pt>
                      <c:pt idx="2119">
                        <c:v>0</c:v>
                      </c:pt>
                      <c:pt idx="2120">
                        <c:v>0</c:v>
                      </c:pt>
                      <c:pt idx="2121">
                        <c:v>0</c:v>
                      </c:pt>
                      <c:pt idx="2122">
                        <c:v>0</c:v>
                      </c:pt>
                      <c:pt idx="2123">
                        <c:v>0</c:v>
                      </c:pt>
                      <c:pt idx="2124">
                        <c:v>0</c:v>
                      </c:pt>
                      <c:pt idx="2125">
                        <c:v>0</c:v>
                      </c:pt>
                      <c:pt idx="2126">
                        <c:v>0</c:v>
                      </c:pt>
                      <c:pt idx="2127">
                        <c:v>0</c:v>
                      </c:pt>
                      <c:pt idx="2128">
                        <c:v>0</c:v>
                      </c:pt>
                      <c:pt idx="2129">
                        <c:v>0</c:v>
                      </c:pt>
                      <c:pt idx="2130">
                        <c:v>0</c:v>
                      </c:pt>
                      <c:pt idx="2131">
                        <c:v>0</c:v>
                      </c:pt>
                      <c:pt idx="2132">
                        <c:v>0</c:v>
                      </c:pt>
                      <c:pt idx="2133">
                        <c:v>0</c:v>
                      </c:pt>
                      <c:pt idx="2134">
                        <c:v>0</c:v>
                      </c:pt>
                      <c:pt idx="2135">
                        <c:v>0</c:v>
                      </c:pt>
                      <c:pt idx="2136">
                        <c:v>0</c:v>
                      </c:pt>
                      <c:pt idx="2137">
                        <c:v>0</c:v>
                      </c:pt>
                      <c:pt idx="2138">
                        <c:v>0</c:v>
                      </c:pt>
                      <c:pt idx="2139">
                        <c:v>0</c:v>
                      </c:pt>
                      <c:pt idx="2140">
                        <c:v>0</c:v>
                      </c:pt>
                      <c:pt idx="2141">
                        <c:v>0</c:v>
                      </c:pt>
                      <c:pt idx="2142">
                        <c:v>0</c:v>
                      </c:pt>
                      <c:pt idx="2143">
                        <c:v>0</c:v>
                      </c:pt>
                      <c:pt idx="2144">
                        <c:v>0</c:v>
                      </c:pt>
                      <c:pt idx="2145">
                        <c:v>0</c:v>
                      </c:pt>
                      <c:pt idx="2146">
                        <c:v>0</c:v>
                      </c:pt>
                      <c:pt idx="2147">
                        <c:v>0</c:v>
                      </c:pt>
                      <c:pt idx="2148">
                        <c:v>0</c:v>
                      </c:pt>
                      <c:pt idx="2149">
                        <c:v>0</c:v>
                      </c:pt>
                      <c:pt idx="2150">
                        <c:v>0</c:v>
                      </c:pt>
                      <c:pt idx="2151">
                        <c:v>0</c:v>
                      </c:pt>
                      <c:pt idx="2152">
                        <c:v>0</c:v>
                      </c:pt>
                      <c:pt idx="2153">
                        <c:v>0</c:v>
                      </c:pt>
                      <c:pt idx="2154">
                        <c:v>0</c:v>
                      </c:pt>
                      <c:pt idx="2155">
                        <c:v>0</c:v>
                      </c:pt>
                      <c:pt idx="2156">
                        <c:v>0</c:v>
                      </c:pt>
                      <c:pt idx="2157">
                        <c:v>0</c:v>
                      </c:pt>
                      <c:pt idx="2158">
                        <c:v>0</c:v>
                      </c:pt>
                      <c:pt idx="2159">
                        <c:v>0</c:v>
                      </c:pt>
                      <c:pt idx="2160">
                        <c:v>0</c:v>
                      </c:pt>
                      <c:pt idx="2161">
                        <c:v>0</c:v>
                      </c:pt>
                      <c:pt idx="2162">
                        <c:v>0</c:v>
                      </c:pt>
                      <c:pt idx="2163">
                        <c:v>0</c:v>
                      </c:pt>
                      <c:pt idx="2164">
                        <c:v>0</c:v>
                      </c:pt>
                      <c:pt idx="2165">
                        <c:v>0</c:v>
                      </c:pt>
                      <c:pt idx="2166">
                        <c:v>0</c:v>
                      </c:pt>
                      <c:pt idx="2167">
                        <c:v>0</c:v>
                      </c:pt>
                      <c:pt idx="2168">
                        <c:v>0</c:v>
                      </c:pt>
                      <c:pt idx="2169">
                        <c:v>0</c:v>
                      </c:pt>
                      <c:pt idx="2170">
                        <c:v>0</c:v>
                      </c:pt>
                      <c:pt idx="2171">
                        <c:v>0</c:v>
                      </c:pt>
                      <c:pt idx="2172">
                        <c:v>0</c:v>
                      </c:pt>
                      <c:pt idx="2173">
                        <c:v>0</c:v>
                      </c:pt>
                      <c:pt idx="2174">
                        <c:v>0</c:v>
                      </c:pt>
                      <c:pt idx="2175">
                        <c:v>0</c:v>
                      </c:pt>
                      <c:pt idx="2176">
                        <c:v>0</c:v>
                      </c:pt>
                      <c:pt idx="2177">
                        <c:v>0</c:v>
                      </c:pt>
                      <c:pt idx="2178">
                        <c:v>0</c:v>
                      </c:pt>
                      <c:pt idx="2179">
                        <c:v>0</c:v>
                      </c:pt>
                      <c:pt idx="2180">
                        <c:v>0</c:v>
                      </c:pt>
                      <c:pt idx="2181">
                        <c:v>0</c:v>
                      </c:pt>
                      <c:pt idx="2182">
                        <c:v>0</c:v>
                      </c:pt>
                      <c:pt idx="2183">
                        <c:v>0</c:v>
                      </c:pt>
                      <c:pt idx="2184">
                        <c:v>0</c:v>
                      </c:pt>
                      <c:pt idx="2185">
                        <c:v>0</c:v>
                      </c:pt>
                      <c:pt idx="2186">
                        <c:v>0</c:v>
                      </c:pt>
                      <c:pt idx="2187">
                        <c:v>0</c:v>
                      </c:pt>
                      <c:pt idx="2188">
                        <c:v>0</c:v>
                      </c:pt>
                      <c:pt idx="2189">
                        <c:v>0</c:v>
                      </c:pt>
                      <c:pt idx="2190">
                        <c:v>0</c:v>
                      </c:pt>
                      <c:pt idx="2191">
                        <c:v>0</c:v>
                      </c:pt>
                      <c:pt idx="2192">
                        <c:v>0</c:v>
                      </c:pt>
                      <c:pt idx="2193">
                        <c:v>0</c:v>
                      </c:pt>
                      <c:pt idx="2194">
                        <c:v>0</c:v>
                      </c:pt>
                      <c:pt idx="2195">
                        <c:v>0</c:v>
                      </c:pt>
                      <c:pt idx="2196">
                        <c:v>0</c:v>
                      </c:pt>
                      <c:pt idx="2197">
                        <c:v>0</c:v>
                      </c:pt>
                      <c:pt idx="2198">
                        <c:v>0</c:v>
                      </c:pt>
                      <c:pt idx="2199">
                        <c:v>0</c:v>
                      </c:pt>
                      <c:pt idx="2200">
                        <c:v>0</c:v>
                      </c:pt>
                      <c:pt idx="2201">
                        <c:v>0</c:v>
                      </c:pt>
                      <c:pt idx="2202">
                        <c:v>0</c:v>
                      </c:pt>
                      <c:pt idx="2203">
                        <c:v>0</c:v>
                      </c:pt>
                      <c:pt idx="2204">
                        <c:v>0</c:v>
                      </c:pt>
                      <c:pt idx="2205">
                        <c:v>0</c:v>
                      </c:pt>
                      <c:pt idx="2206">
                        <c:v>0</c:v>
                      </c:pt>
                      <c:pt idx="2207">
                        <c:v>0</c:v>
                      </c:pt>
                      <c:pt idx="2208">
                        <c:v>0</c:v>
                      </c:pt>
                      <c:pt idx="2209">
                        <c:v>0</c:v>
                      </c:pt>
                      <c:pt idx="2210">
                        <c:v>0</c:v>
                      </c:pt>
                      <c:pt idx="2211">
                        <c:v>0</c:v>
                      </c:pt>
                      <c:pt idx="2212">
                        <c:v>0</c:v>
                      </c:pt>
                      <c:pt idx="2213">
                        <c:v>0</c:v>
                      </c:pt>
                      <c:pt idx="2214">
                        <c:v>0</c:v>
                      </c:pt>
                      <c:pt idx="2215">
                        <c:v>0</c:v>
                      </c:pt>
                      <c:pt idx="2216">
                        <c:v>0</c:v>
                      </c:pt>
                      <c:pt idx="2217">
                        <c:v>0</c:v>
                      </c:pt>
                      <c:pt idx="2218">
                        <c:v>0</c:v>
                      </c:pt>
                      <c:pt idx="2219">
                        <c:v>0</c:v>
                      </c:pt>
                      <c:pt idx="2220">
                        <c:v>0</c:v>
                      </c:pt>
                      <c:pt idx="2221">
                        <c:v>0</c:v>
                      </c:pt>
                      <c:pt idx="2222">
                        <c:v>0</c:v>
                      </c:pt>
                      <c:pt idx="2223">
                        <c:v>0</c:v>
                      </c:pt>
                      <c:pt idx="2224">
                        <c:v>0</c:v>
                      </c:pt>
                      <c:pt idx="2225">
                        <c:v>0</c:v>
                      </c:pt>
                      <c:pt idx="2226">
                        <c:v>0</c:v>
                      </c:pt>
                      <c:pt idx="2227">
                        <c:v>0</c:v>
                      </c:pt>
                      <c:pt idx="2228">
                        <c:v>0</c:v>
                      </c:pt>
                      <c:pt idx="2229">
                        <c:v>0</c:v>
                      </c:pt>
                      <c:pt idx="2230">
                        <c:v>0</c:v>
                      </c:pt>
                      <c:pt idx="2231">
                        <c:v>0</c:v>
                      </c:pt>
                      <c:pt idx="2232">
                        <c:v>0</c:v>
                      </c:pt>
                      <c:pt idx="2233">
                        <c:v>0</c:v>
                      </c:pt>
                      <c:pt idx="2234">
                        <c:v>0</c:v>
                      </c:pt>
                      <c:pt idx="2235">
                        <c:v>0</c:v>
                      </c:pt>
                      <c:pt idx="2236">
                        <c:v>0</c:v>
                      </c:pt>
                      <c:pt idx="2237">
                        <c:v>0</c:v>
                      </c:pt>
                      <c:pt idx="2238">
                        <c:v>0</c:v>
                      </c:pt>
                      <c:pt idx="2239">
                        <c:v>0</c:v>
                      </c:pt>
                      <c:pt idx="2240">
                        <c:v>0</c:v>
                      </c:pt>
                      <c:pt idx="2241">
                        <c:v>0</c:v>
                      </c:pt>
                      <c:pt idx="2242">
                        <c:v>0</c:v>
                      </c:pt>
                      <c:pt idx="2243">
                        <c:v>0</c:v>
                      </c:pt>
                      <c:pt idx="2244">
                        <c:v>0</c:v>
                      </c:pt>
                      <c:pt idx="2245">
                        <c:v>0</c:v>
                      </c:pt>
                      <c:pt idx="2246">
                        <c:v>0</c:v>
                      </c:pt>
                      <c:pt idx="2247">
                        <c:v>0</c:v>
                      </c:pt>
                      <c:pt idx="2248">
                        <c:v>0</c:v>
                      </c:pt>
                      <c:pt idx="2249">
                        <c:v>0</c:v>
                      </c:pt>
                      <c:pt idx="2250">
                        <c:v>0</c:v>
                      </c:pt>
                      <c:pt idx="2251">
                        <c:v>0</c:v>
                      </c:pt>
                      <c:pt idx="2252">
                        <c:v>0</c:v>
                      </c:pt>
                      <c:pt idx="2253">
                        <c:v>0</c:v>
                      </c:pt>
                      <c:pt idx="2254">
                        <c:v>0</c:v>
                      </c:pt>
                      <c:pt idx="2255">
                        <c:v>0</c:v>
                      </c:pt>
                      <c:pt idx="2256">
                        <c:v>0</c:v>
                      </c:pt>
                      <c:pt idx="2257">
                        <c:v>0</c:v>
                      </c:pt>
                      <c:pt idx="2258">
                        <c:v>0</c:v>
                      </c:pt>
                      <c:pt idx="2259">
                        <c:v>0</c:v>
                      </c:pt>
                      <c:pt idx="2260">
                        <c:v>0</c:v>
                      </c:pt>
                      <c:pt idx="2261">
                        <c:v>0</c:v>
                      </c:pt>
                      <c:pt idx="2262">
                        <c:v>0</c:v>
                      </c:pt>
                      <c:pt idx="2263">
                        <c:v>0</c:v>
                      </c:pt>
                      <c:pt idx="2264">
                        <c:v>0</c:v>
                      </c:pt>
                      <c:pt idx="2265">
                        <c:v>0</c:v>
                      </c:pt>
                      <c:pt idx="2266">
                        <c:v>0</c:v>
                      </c:pt>
                      <c:pt idx="2267">
                        <c:v>0</c:v>
                      </c:pt>
                      <c:pt idx="2268">
                        <c:v>0</c:v>
                      </c:pt>
                      <c:pt idx="2269">
                        <c:v>0</c:v>
                      </c:pt>
                      <c:pt idx="2270">
                        <c:v>0</c:v>
                      </c:pt>
                      <c:pt idx="2271">
                        <c:v>0</c:v>
                      </c:pt>
                      <c:pt idx="2272">
                        <c:v>0</c:v>
                      </c:pt>
                      <c:pt idx="2273">
                        <c:v>0</c:v>
                      </c:pt>
                      <c:pt idx="2274">
                        <c:v>0</c:v>
                      </c:pt>
                      <c:pt idx="2275">
                        <c:v>0</c:v>
                      </c:pt>
                      <c:pt idx="2276">
                        <c:v>0</c:v>
                      </c:pt>
                      <c:pt idx="2277">
                        <c:v>0</c:v>
                      </c:pt>
                      <c:pt idx="2278">
                        <c:v>0</c:v>
                      </c:pt>
                      <c:pt idx="2279">
                        <c:v>0</c:v>
                      </c:pt>
                      <c:pt idx="2280">
                        <c:v>0</c:v>
                      </c:pt>
                      <c:pt idx="2281">
                        <c:v>0</c:v>
                      </c:pt>
                      <c:pt idx="2282">
                        <c:v>0</c:v>
                      </c:pt>
                      <c:pt idx="2283">
                        <c:v>0</c:v>
                      </c:pt>
                      <c:pt idx="2284">
                        <c:v>0</c:v>
                      </c:pt>
                      <c:pt idx="2285">
                        <c:v>0</c:v>
                      </c:pt>
                      <c:pt idx="2286">
                        <c:v>0</c:v>
                      </c:pt>
                      <c:pt idx="2287">
                        <c:v>0</c:v>
                      </c:pt>
                      <c:pt idx="2288">
                        <c:v>0</c:v>
                      </c:pt>
                      <c:pt idx="2289">
                        <c:v>0</c:v>
                      </c:pt>
                      <c:pt idx="2290">
                        <c:v>0</c:v>
                      </c:pt>
                      <c:pt idx="2291">
                        <c:v>0</c:v>
                      </c:pt>
                      <c:pt idx="2292">
                        <c:v>0</c:v>
                      </c:pt>
                      <c:pt idx="2293">
                        <c:v>0</c:v>
                      </c:pt>
                      <c:pt idx="2294">
                        <c:v>0</c:v>
                      </c:pt>
                      <c:pt idx="2295">
                        <c:v>0</c:v>
                      </c:pt>
                      <c:pt idx="2296">
                        <c:v>0</c:v>
                      </c:pt>
                      <c:pt idx="2297">
                        <c:v>0</c:v>
                      </c:pt>
                      <c:pt idx="2298">
                        <c:v>0</c:v>
                      </c:pt>
                      <c:pt idx="2299">
                        <c:v>0</c:v>
                      </c:pt>
                      <c:pt idx="2300">
                        <c:v>0</c:v>
                      </c:pt>
                      <c:pt idx="2301">
                        <c:v>0</c:v>
                      </c:pt>
                      <c:pt idx="2302">
                        <c:v>0</c:v>
                      </c:pt>
                      <c:pt idx="2303">
                        <c:v>0</c:v>
                      </c:pt>
                      <c:pt idx="2304">
                        <c:v>0</c:v>
                      </c:pt>
                      <c:pt idx="2305">
                        <c:v>0</c:v>
                      </c:pt>
                      <c:pt idx="2306">
                        <c:v>0</c:v>
                      </c:pt>
                      <c:pt idx="2307">
                        <c:v>0</c:v>
                      </c:pt>
                      <c:pt idx="2308">
                        <c:v>0</c:v>
                      </c:pt>
                      <c:pt idx="2309">
                        <c:v>0</c:v>
                      </c:pt>
                      <c:pt idx="2310">
                        <c:v>0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0</c:v>
                      </c:pt>
                      <c:pt idx="2336">
                        <c:v>0</c:v>
                      </c:pt>
                      <c:pt idx="2337">
                        <c:v>0</c:v>
                      </c:pt>
                      <c:pt idx="2338">
                        <c:v>0</c:v>
                      </c:pt>
                      <c:pt idx="2339">
                        <c:v>0</c:v>
                      </c:pt>
                      <c:pt idx="2340">
                        <c:v>0</c:v>
                      </c:pt>
                      <c:pt idx="2341">
                        <c:v>0</c:v>
                      </c:pt>
                      <c:pt idx="2342">
                        <c:v>0</c:v>
                      </c:pt>
                      <c:pt idx="2343">
                        <c:v>0</c:v>
                      </c:pt>
                      <c:pt idx="2344">
                        <c:v>0</c:v>
                      </c:pt>
                      <c:pt idx="2345">
                        <c:v>0</c:v>
                      </c:pt>
                      <c:pt idx="2346">
                        <c:v>0</c:v>
                      </c:pt>
                      <c:pt idx="2347">
                        <c:v>0</c:v>
                      </c:pt>
                      <c:pt idx="2348">
                        <c:v>0</c:v>
                      </c:pt>
                      <c:pt idx="2349">
                        <c:v>0</c:v>
                      </c:pt>
                      <c:pt idx="2350">
                        <c:v>0</c:v>
                      </c:pt>
                      <c:pt idx="2351">
                        <c:v>0</c:v>
                      </c:pt>
                      <c:pt idx="2352">
                        <c:v>0</c:v>
                      </c:pt>
                      <c:pt idx="2353">
                        <c:v>0</c:v>
                      </c:pt>
                      <c:pt idx="2354">
                        <c:v>0</c:v>
                      </c:pt>
                      <c:pt idx="2355">
                        <c:v>0</c:v>
                      </c:pt>
                      <c:pt idx="2356">
                        <c:v>0</c:v>
                      </c:pt>
                      <c:pt idx="2357">
                        <c:v>0</c:v>
                      </c:pt>
                      <c:pt idx="2358">
                        <c:v>0</c:v>
                      </c:pt>
                      <c:pt idx="2359">
                        <c:v>0</c:v>
                      </c:pt>
                      <c:pt idx="2360">
                        <c:v>0</c:v>
                      </c:pt>
                      <c:pt idx="2361">
                        <c:v>0</c:v>
                      </c:pt>
                      <c:pt idx="2362">
                        <c:v>0</c:v>
                      </c:pt>
                      <c:pt idx="2363">
                        <c:v>0</c:v>
                      </c:pt>
                      <c:pt idx="2364">
                        <c:v>0</c:v>
                      </c:pt>
                      <c:pt idx="2365">
                        <c:v>0</c:v>
                      </c:pt>
                      <c:pt idx="2366">
                        <c:v>0</c:v>
                      </c:pt>
                      <c:pt idx="2367">
                        <c:v>0</c:v>
                      </c:pt>
                      <c:pt idx="2368">
                        <c:v>0</c:v>
                      </c:pt>
                      <c:pt idx="2369">
                        <c:v>0</c:v>
                      </c:pt>
                      <c:pt idx="2370">
                        <c:v>0</c:v>
                      </c:pt>
                      <c:pt idx="2371">
                        <c:v>0</c:v>
                      </c:pt>
                      <c:pt idx="2372">
                        <c:v>0</c:v>
                      </c:pt>
                      <c:pt idx="2373">
                        <c:v>0</c:v>
                      </c:pt>
                      <c:pt idx="2374">
                        <c:v>0</c:v>
                      </c:pt>
                      <c:pt idx="2375">
                        <c:v>0</c:v>
                      </c:pt>
                      <c:pt idx="2376">
                        <c:v>0</c:v>
                      </c:pt>
                      <c:pt idx="2377">
                        <c:v>0</c:v>
                      </c:pt>
                      <c:pt idx="2378">
                        <c:v>0</c:v>
                      </c:pt>
                      <c:pt idx="2379">
                        <c:v>0</c:v>
                      </c:pt>
                      <c:pt idx="2380">
                        <c:v>0</c:v>
                      </c:pt>
                      <c:pt idx="2381">
                        <c:v>0</c:v>
                      </c:pt>
                      <c:pt idx="2382">
                        <c:v>0</c:v>
                      </c:pt>
                      <c:pt idx="2383">
                        <c:v>0</c:v>
                      </c:pt>
                      <c:pt idx="2384">
                        <c:v>0</c:v>
                      </c:pt>
                      <c:pt idx="2385">
                        <c:v>0</c:v>
                      </c:pt>
                      <c:pt idx="2386">
                        <c:v>0</c:v>
                      </c:pt>
                      <c:pt idx="2387">
                        <c:v>0</c:v>
                      </c:pt>
                      <c:pt idx="2388">
                        <c:v>0</c:v>
                      </c:pt>
                      <c:pt idx="2389">
                        <c:v>0</c:v>
                      </c:pt>
                      <c:pt idx="2390">
                        <c:v>0</c:v>
                      </c:pt>
                      <c:pt idx="2391">
                        <c:v>0</c:v>
                      </c:pt>
                      <c:pt idx="2392">
                        <c:v>0</c:v>
                      </c:pt>
                      <c:pt idx="2393">
                        <c:v>0</c:v>
                      </c:pt>
                      <c:pt idx="2394">
                        <c:v>0</c:v>
                      </c:pt>
                      <c:pt idx="2395">
                        <c:v>0</c:v>
                      </c:pt>
                      <c:pt idx="2396">
                        <c:v>0</c:v>
                      </c:pt>
                      <c:pt idx="2397">
                        <c:v>0</c:v>
                      </c:pt>
                      <c:pt idx="2398">
                        <c:v>0</c:v>
                      </c:pt>
                      <c:pt idx="2399">
                        <c:v>0</c:v>
                      </c:pt>
                      <c:pt idx="2400">
                        <c:v>0</c:v>
                      </c:pt>
                      <c:pt idx="2401">
                        <c:v>0</c:v>
                      </c:pt>
                      <c:pt idx="2402">
                        <c:v>0</c:v>
                      </c:pt>
                      <c:pt idx="2403">
                        <c:v>0</c:v>
                      </c:pt>
                      <c:pt idx="2404">
                        <c:v>0</c:v>
                      </c:pt>
                      <c:pt idx="2405">
                        <c:v>0</c:v>
                      </c:pt>
                      <c:pt idx="2406">
                        <c:v>0</c:v>
                      </c:pt>
                      <c:pt idx="2407">
                        <c:v>0</c:v>
                      </c:pt>
                      <c:pt idx="2408">
                        <c:v>0</c:v>
                      </c:pt>
                      <c:pt idx="2409">
                        <c:v>0</c:v>
                      </c:pt>
                      <c:pt idx="2410">
                        <c:v>0</c:v>
                      </c:pt>
                      <c:pt idx="2411">
                        <c:v>0</c:v>
                      </c:pt>
                      <c:pt idx="2412">
                        <c:v>0</c:v>
                      </c:pt>
                      <c:pt idx="2413">
                        <c:v>0</c:v>
                      </c:pt>
                      <c:pt idx="2414">
                        <c:v>0</c:v>
                      </c:pt>
                      <c:pt idx="2415">
                        <c:v>0</c:v>
                      </c:pt>
                      <c:pt idx="2416">
                        <c:v>0</c:v>
                      </c:pt>
                      <c:pt idx="2417">
                        <c:v>0</c:v>
                      </c:pt>
                      <c:pt idx="2418">
                        <c:v>0</c:v>
                      </c:pt>
                      <c:pt idx="2419">
                        <c:v>0</c:v>
                      </c:pt>
                      <c:pt idx="2420">
                        <c:v>0</c:v>
                      </c:pt>
                      <c:pt idx="2421">
                        <c:v>0</c:v>
                      </c:pt>
                      <c:pt idx="2422">
                        <c:v>0</c:v>
                      </c:pt>
                      <c:pt idx="2423">
                        <c:v>0</c:v>
                      </c:pt>
                      <c:pt idx="2424">
                        <c:v>0</c:v>
                      </c:pt>
                      <c:pt idx="2425">
                        <c:v>0</c:v>
                      </c:pt>
                      <c:pt idx="2426">
                        <c:v>0</c:v>
                      </c:pt>
                      <c:pt idx="2427">
                        <c:v>0</c:v>
                      </c:pt>
                      <c:pt idx="2428">
                        <c:v>0</c:v>
                      </c:pt>
                      <c:pt idx="2429">
                        <c:v>0</c:v>
                      </c:pt>
                      <c:pt idx="2430">
                        <c:v>0</c:v>
                      </c:pt>
                      <c:pt idx="2431">
                        <c:v>0</c:v>
                      </c:pt>
                      <c:pt idx="2432">
                        <c:v>0</c:v>
                      </c:pt>
                      <c:pt idx="2433">
                        <c:v>0</c:v>
                      </c:pt>
                      <c:pt idx="2434">
                        <c:v>0</c:v>
                      </c:pt>
                      <c:pt idx="2435">
                        <c:v>0</c:v>
                      </c:pt>
                      <c:pt idx="2436">
                        <c:v>0</c:v>
                      </c:pt>
                      <c:pt idx="2437">
                        <c:v>0</c:v>
                      </c:pt>
                      <c:pt idx="2438">
                        <c:v>0</c:v>
                      </c:pt>
                      <c:pt idx="2439">
                        <c:v>0</c:v>
                      </c:pt>
                      <c:pt idx="2440">
                        <c:v>0</c:v>
                      </c:pt>
                      <c:pt idx="2441">
                        <c:v>0</c:v>
                      </c:pt>
                      <c:pt idx="2442">
                        <c:v>0</c:v>
                      </c:pt>
                      <c:pt idx="2443">
                        <c:v>0</c:v>
                      </c:pt>
                      <c:pt idx="2444">
                        <c:v>0</c:v>
                      </c:pt>
                      <c:pt idx="2445">
                        <c:v>0</c:v>
                      </c:pt>
                      <c:pt idx="2446">
                        <c:v>0</c:v>
                      </c:pt>
                      <c:pt idx="2447">
                        <c:v>0</c:v>
                      </c:pt>
                      <c:pt idx="2448">
                        <c:v>0</c:v>
                      </c:pt>
                      <c:pt idx="2449">
                        <c:v>0</c:v>
                      </c:pt>
                      <c:pt idx="2450">
                        <c:v>0</c:v>
                      </c:pt>
                      <c:pt idx="2451">
                        <c:v>0</c:v>
                      </c:pt>
                      <c:pt idx="2452">
                        <c:v>0</c:v>
                      </c:pt>
                      <c:pt idx="2453">
                        <c:v>0</c:v>
                      </c:pt>
                      <c:pt idx="2454">
                        <c:v>0</c:v>
                      </c:pt>
                      <c:pt idx="2455">
                        <c:v>0</c:v>
                      </c:pt>
                      <c:pt idx="2456">
                        <c:v>0</c:v>
                      </c:pt>
                      <c:pt idx="2457">
                        <c:v>0</c:v>
                      </c:pt>
                      <c:pt idx="2458">
                        <c:v>0</c:v>
                      </c:pt>
                      <c:pt idx="2459">
                        <c:v>0</c:v>
                      </c:pt>
                      <c:pt idx="2460">
                        <c:v>0</c:v>
                      </c:pt>
                      <c:pt idx="2461">
                        <c:v>0</c:v>
                      </c:pt>
                      <c:pt idx="2462">
                        <c:v>0</c:v>
                      </c:pt>
                      <c:pt idx="2463">
                        <c:v>0</c:v>
                      </c:pt>
                      <c:pt idx="2464">
                        <c:v>0</c:v>
                      </c:pt>
                      <c:pt idx="2465">
                        <c:v>0</c:v>
                      </c:pt>
                      <c:pt idx="2466">
                        <c:v>0</c:v>
                      </c:pt>
                      <c:pt idx="2467">
                        <c:v>0</c:v>
                      </c:pt>
                      <c:pt idx="2468">
                        <c:v>0</c:v>
                      </c:pt>
                      <c:pt idx="2469">
                        <c:v>0</c:v>
                      </c:pt>
                      <c:pt idx="2470">
                        <c:v>0</c:v>
                      </c:pt>
                      <c:pt idx="2471">
                        <c:v>0</c:v>
                      </c:pt>
                      <c:pt idx="2472">
                        <c:v>0</c:v>
                      </c:pt>
                      <c:pt idx="2473">
                        <c:v>0</c:v>
                      </c:pt>
                      <c:pt idx="2474">
                        <c:v>0</c:v>
                      </c:pt>
                      <c:pt idx="2475">
                        <c:v>0</c:v>
                      </c:pt>
                      <c:pt idx="2476">
                        <c:v>0</c:v>
                      </c:pt>
                      <c:pt idx="2477">
                        <c:v>0</c:v>
                      </c:pt>
                      <c:pt idx="2478">
                        <c:v>0</c:v>
                      </c:pt>
                      <c:pt idx="2479">
                        <c:v>0</c:v>
                      </c:pt>
                      <c:pt idx="2480">
                        <c:v>0</c:v>
                      </c:pt>
                      <c:pt idx="2481">
                        <c:v>0</c:v>
                      </c:pt>
                      <c:pt idx="2482">
                        <c:v>0</c:v>
                      </c:pt>
                      <c:pt idx="2483">
                        <c:v>0</c:v>
                      </c:pt>
                      <c:pt idx="2484">
                        <c:v>0</c:v>
                      </c:pt>
                      <c:pt idx="2485">
                        <c:v>0</c:v>
                      </c:pt>
                      <c:pt idx="2486">
                        <c:v>0</c:v>
                      </c:pt>
                      <c:pt idx="2487">
                        <c:v>0</c:v>
                      </c:pt>
                      <c:pt idx="2488">
                        <c:v>0</c:v>
                      </c:pt>
                      <c:pt idx="2489">
                        <c:v>0</c:v>
                      </c:pt>
                      <c:pt idx="2490">
                        <c:v>0</c:v>
                      </c:pt>
                      <c:pt idx="2491">
                        <c:v>0</c:v>
                      </c:pt>
                      <c:pt idx="2492">
                        <c:v>0</c:v>
                      </c:pt>
                      <c:pt idx="2493">
                        <c:v>0</c:v>
                      </c:pt>
                      <c:pt idx="2494">
                        <c:v>0</c:v>
                      </c:pt>
                      <c:pt idx="2495">
                        <c:v>0</c:v>
                      </c:pt>
                      <c:pt idx="2496">
                        <c:v>0</c:v>
                      </c:pt>
                      <c:pt idx="2497">
                        <c:v>0</c:v>
                      </c:pt>
                      <c:pt idx="2498">
                        <c:v>0</c:v>
                      </c:pt>
                      <c:pt idx="2499">
                        <c:v>0</c:v>
                      </c:pt>
                      <c:pt idx="2500">
                        <c:v>0</c:v>
                      </c:pt>
                      <c:pt idx="2501">
                        <c:v>0</c:v>
                      </c:pt>
                      <c:pt idx="2502">
                        <c:v>0</c:v>
                      </c:pt>
                      <c:pt idx="2503">
                        <c:v>0</c:v>
                      </c:pt>
                      <c:pt idx="2504">
                        <c:v>0</c:v>
                      </c:pt>
                      <c:pt idx="2505">
                        <c:v>0</c:v>
                      </c:pt>
                      <c:pt idx="2506">
                        <c:v>0</c:v>
                      </c:pt>
                      <c:pt idx="2507">
                        <c:v>0</c:v>
                      </c:pt>
                      <c:pt idx="2508">
                        <c:v>0</c:v>
                      </c:pt>
                      <c:pt idx="2509">
                        <c:v>0</c:v>
                      </c:pt>
                      <c:pt idx="2510">
                        <c:v>0</c:v>
                      </c:pt>
                      <c:pt idx="2511">
                        <c:v>0</c:v>
                      </c:pt>
                      <c:pt idx="2512">
                        <c:v>0</c:v>
                      </c:pt>
                      <c:pt idx="2513">
                        <c:v>0</c:v>
                      </c:pt>
                      <c:pt idx="2514">
                        <c:v>0</c:v>
                      </c:pt>
                      <c:pt idx="2515">
                        <c:v>0</c:v>
                      </c:pt>
                      <c:pt idx="2516">
                        <c:v>0</c:v>
                      </c:pt>
                      <c:pt idx="2517">
                        <c:v>0</c:v>
                      </c:pt>
                      <c:pt idx="2518">
                        <c:v>0</c:v>
                      </c:pt>
                      <c:pt idx="2519">
                        <c:v>0</c:v>
                      </c:pt>
                      <c:pt idx="2520">
                        <c:v>0</c:v>
                      </c:pt>
                      <c:pt idx="2521">
                        <c:v>0</c:v>
                      </c:pt>
                      <c:pt idx="2522">
                        <c:v>0</c:v>
                      </c:pt>
                      <c:pt idx="2523">
                        <c:v>0</c:v>
                      </c:pt>
                      <c:pt idx="2524">
                        <c:v>0</c:v>
                      </c:pt>
                      <c:pt idx="2525">
                        <c:v>0</c:v>
                      </c:pt>
                      <c:pt idx="2526">
                        <c:v>0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0</c:v>
                      </c:pt>
                      <c:pt idx="2535">
                        <c:v>0</c:v>
                      </c:pt>
                      <c:pt idx="2536">
                        <c:v>0</c:v>
                      </c:pt>
                      <c:pt idx="2537">
                        <c:v>0</c:v>
                      </c:pt>
                      <c:pt idx="2538">
                        <c:v>0</c:v>
                      </c:pt>
                      <c:pt idx="2539">
                        <c:v>0</c:v>
                      </c:pt>
                      <c:pt idx="2540">
                        <c:v>0</c:v>
                      </c:pt>
                      <c:pt idx="2541">
                        <c:v>0</c:v>
                      </c:pt>
                      <c:pt idx="2542">
                        <c:v>0</c:v>
                      </c:pt>
                      <c:pt idx="2543">
                        <c:v>0</c:v>
                      </c:pt>
                      <c:pt idx="2544">
                        <c:v>0</c:v>
                      </c:pt>
                      <c:pt idx="2545">
                        <c:v>0</c:v>
                      </c:pt>
                      <c:pt idx="2546">
                        <c:v>0</c:v>
                      </c:pt>
                      <c:pt idx="2547">
                        <c:v>0</c:v>
                      </c:pt>
                      <c:pt idx="2548">
                        <c:v>0</c:v>
                      </c:pt>
                      <c:pt idx="2549">
                        <c:v>0</c:v>
                      </c:pt>
                      <c:pt idx="2550">
                        <c:v>0</c:v>
                      </c:pt>
                      <c:pt idx="2551">
                        <c:v>0</c:v>
                      </c:pt>
                      <c:pt idx="2552">
                        <c:v>0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0</c:v>
                      </c:pt>
                      <c:pt idx="2559">
                        <c:v>0</c:v>
                      </c:pt>
                      <c:pt idx="2560">
                        <c:v>0</c:v>
                      </c:pt>
                      <c:pt idx="2561">
                        <c:v>0</c:v>
                      </c:pt>
                      <c:pt idx="2562">
                        <c:v>0</c:v>
                      </c:pt>
                      <c:pt idx="2563">
                        <c:v>0</c:v>
                      </c:pt>
                      <c:pt idx="2564">
                        <c:v>0</c:v>
                      </c:pt>
                      <c:pt idx="2565">
                        <c:v>0</c:v>
                      </c:pt>
                      <c:pt idx="2566">
                        <c:v>0</c:v>
                      </c:pt>
                      <c:pt idx="2567">
                        <c:v>0</c:v>
                      </c:pt>
                      <c:pt idx="2568">
                        <c:v>0</c:v>
                      </c:pt>
                      <c:pt idx="2569">
                        <c:v>0</c:v>
                      </c:pt>
                      <c:pt idx="2570">
                        <c:v>0</c:v>
                      </c:pt>
                      <c:pt idx="2571">
                        <c:v>0</c:v>
                      </c:pt>
                      <c:pt idx="2572">
                        <c:v>0</c:v>
                      </c:pt>
                      <c:pt idx="2573">
                        <c:v>0</c:v>
                      </c:pt>
                      <c:pt idx="2574">
                        <c:v>0</c:v>
                      </c:pt>
                      <c:pt idx="2575">
                        <c:v>0</c:v>
                      </c:pt>
                      <c:pt idx="2576">
                        <c:v>0</c:v>
                      </c:pt>
                      <c:pt idx="2577">
                        <c:v>0</c:v>
                      </c:pt>
                      <c:pt idx="2578">
                        <c:v>0</c:v>
                      </c:pt>
                      <c:pt idx="2579">
                        <c:v>0</c:v>
                      </c:pt>
                      <c:pt idx="2580">
                        <c:v>0</c:v>
                      </c:pt>
                      <c:pt idx="2581">
                        <c:v>0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0</c:v>
                      </c:pt>
                      <c:pt idx="2591">
                        <c:v>0</c:v>
                      </c:pt>
                      <c:pt idx="2592">
                        <c:v>0</c:v>
                      </c:pt>
                      <c:pt idx="2593">
                        <c:v>0</c:v>
                      </c:pt>
                      <c:pt idx="2594">
                        <c:v>0</c:v>
                      </c:pt>
                      <c:pt idx="2595">
                        <c:v>0</c:v>
                      </c:pt>
                      <c:pt idx="2596">
                        <c:v>0</c:v>
                      </c:pt>
                      <c:pt idx="2597">
                        <c:v>0</c:v>
                      </c:pt>
                      <c:pt idx="2598">
                        <c:v>0</c:v>
                      </c:pt>
                      <c:pt idx="2599">
                        <c:v>0</c:v>
                      </c:pt>
                      <c:pt idx="2600">
                        <c:v>0</c:v>
                      </c:pt>
                      <c:pt idx="2601">
                        <c:v>0</c:v>
                      </c:pt>
                      <c:pt idx="2602">
                        <c:v>0</c:v>
                      </c:pt>
                      <c:pt idx="2603">
                        <c:v>0</c:v>
                      </c:pt>
                      <c:pt idx="2604">
                        <c:v>0</c:v>
                      </c:pt>
                      <c:pt idx="2605">
                        <c:v>0</c:v>
                      </c:pt>
                      <c:pt idx="2606">
                        <c:v>0</c:v>
                      </c:pt>
                      <c:pt idx="2607">
                        <c:v>0</c:v>
                      </c:pt>
                      <c:pt idx="2608">
                        <c:v>0</c:v>
                      </c:pt>
                      <c:pt idx="2609">
                        <c:v>0</c:v>
                      </c:pt>
                      <c:pt idx="2610">
                        <c:v>0</c:v>
                      </c:pt>
                      <c:pt idx="2611">
                        <c:v>0</c:v>
                      </c:pt>
                      <c:pt idx="2612">
                        <c:v>0</c:v>
                      </c:pt>
                      <c:pt idx="2613">
                        <c:v>0</c:v>
                      </c:pt>
                      <c:pt idx="2614">
                        <c:v>0</c:v>
                      </c:pt>
                      <c:pt idx="2615">
                        <c:v>0</c:v>
                      </c:pt>
                      <c:pt idx="2616">
                        <c:v>0</c:v>
                      </c:pt>
                      <c:pt idx="2617">
                        <c:v>0</c:v>
                      </c:pt>
                      <c:pt idx="2618">
                        <c:v>0</c:v>
                      </c:pt>
                      <c:pt idx="2619">
                        <c:v>0</c:v>
                      </c:pt>
                      <c:pt idx="2620">
                        <c:v>0</c:v>
                      </c:pt>
                      <c:pt idx="2621">
                        <c:v>0</c:v>
                      </c:pt>
                      <c:pt idx="2622">
                        <c:v>0</c:v>
                      </c:pt>
                      <c:pt idx="2623">
                        <c:v>0</c:v>
                      </c:pt>
                      <c:pt idx="2624">
                        <c:v>0</c:v>
                      </c:pt>
                      <c:pt idx="2625">
                        <c:v>0</c:v>
                      </c:pt>
                      <c:pt idx="2626">
                        <c:v>0</c:v>
                      </c:pt>
                      <c:pt idx="2627">
                        <c:v>0</c:v>
                      </c:pt>
                      <c:pt idx="2628">
                        <c:v>0</c:v>
                      </c:pt>
                      <c:pt idx="2629">
                        <c:v>0</c:v>
                      </c:pt>
                      <c:pt idx="2630">
                        <c:v>0</c:v>
                      </c:pt>
                      <c:pt idx="2631">
                        <c:v>0</c:v>
                      </c:pt>
                      <c:pt idx="2632">
                        <c:v>0</c:v>
                      </c:pt>
                      <c:pt idx="2633">
                        <c:v>0</c:v>
                      </c:pt>
                      <c:pt idx="2634">
                        <c:v>0</c:v>
                      </c:pt>
                      <c:pt idx="2635">
                        <c:v>0</c:v>
                      </c:pt>
                      <c:pt idx="2636">
                        <c:v>0</c:v>
                      </c:pt>
                      <c:pt idx="2637">
                        <c:v>0</c:v>
                      </c:pt>
                      <c:pt idx="2638">
                        <c:v>0</c:v>
                      </c:pt>
                      <c:pt idx="2639">
                        <c:v>0</c:v>
                      </c:pt>
                      <c:pt idx="2640">
                        <c:v>0</c:v>
                      </c:pt>
                      <c:pt idx="2641">
                        <c:v>0</c:v>
                      </c:pt>
                      <c:pt idx="2642">
                        <c:v>0</c:v>
                      </c:pt>
                      <c:pt idx="2643">
                        <c:v>0</c:v>
                      </c:pt>
                      <c:pt idx="2644">
                        <c:v>0</c:v>
                      </c:pt>
                      <c:pt idx="2645">
                        <c:v>0</c:v>
                      </c:pt>
                      <c:pt idx="2646">
                        <c:v>0</c:v>
                      </c:pt>
                      <c:pt idx="2647">
                        <c:v>0</c:v>
                      </c:pt>
                      <c:pt idx="2648">
                        <c:v>0</c:v>
                      </c:pt>
                      <c:pt idx="2649">
                        <c:v>0</c:v>
                      </c:pt>
                      <c:pt idx="2650">
                        <c:v>0</c:v>
                      </c:pt>
                      <c:pt idx="2651">
                        <c:v>0</c:v>
                      </c:pt>
                      <c:pt idx="2652">
                        <c:v>0</c:v>
                      </c:pt>
                      <c:pt idx="2653">
                        <c:v>0</c:v>
                      </c:pt>
                      <c:pt idx="2654">
                        <c:v>0</c:v>
                      </c:pt>
                      <c:pt idx="2655">
                        <c:v>0</c:v>
                      </c:pt>
                      <c:pt idx="2656">
                        <c:v>0</c:v>
                      </c:pt>
                      <c:pt idx="2657">
                        <c:v>0</c:v>
                      </c:pt>
                      <c:pt idx="2658">
                        <c:v>0</c:v>
                      </c:pt>
                      <c:pt idx="2659">
                        <c:v>0</c:v>
                      </c:pt>
                      <c:pt idx="2660">
                        <c:v>0</c:v>
                      </c:pt>
                      <c:pt idx="2661">
                        <c:v>0</c:v>
                      </c:pt>
                      <c:pt idx="2662">
                        <c:v>0</c:v>
                      </c:pt>
                      <c:pt idx="2663">
                        <c:v>0</c:v>
                      </c:pt>
                      <c:pt idx="2664">
                        <c:v>0</c:v>
                      </c:pt>
                      <c:pt idx="2665">
                        <c:v>0</c:v>
                      </c:pt>
                      <c:pt idx="2666">
                        <c:v>0</c:v>
                      </c:pt>
                      <c:pt idx="2667">
                        <c:v>0</c:v>
                      </c:pt>
                      <c:pt idx="2668">
                        <c:v>0</c:v>
                      </c:pt>
                      <c:pt idx="2669">
                        <c:v>0</c:v>
                      </c:pt>
                      <c:pt idx="2670">
                        <c:v>0</c:v>
                      </c:pt>
                      <c:pt idx="2671">
                        <c:v>0</c:v>
                      </c:pt>
                      <c:pt idx="2672">
                        <c:v>0</c:v>
                      </c:pt>
                      <c:pt idx="2673">
                        <c:v>0</c:v>
                      </c:pt>
                      <c:pt idx="2674">
                        <c:v>0</c:v>
                      </c:pt>
                      <c:pt idx="2675">
                        <c:v>0</c:v>
                      </c:pt>
                      <c:pt idx="2676">
                        <c:v>0</c:v>
                      </c:pt>
                      <c:pt idx="2677">
                        <c:v>0</c:v>
                      </c:pt>
                      <c:pt idx="2678">
                        <c:v>0</c:v>
                      </c:pt>
                      <c:pt idx="2679">
                        <c:v>0</c:v>
                      </c:pt>
                      <c:pt idx="2680">
                        <c:v>0</c:v>
                      </c:pt>
                      <c:pt idx="2681">
                        <c:v>0</c:v>
                      </c:pt>
                      <c:pt idx="2682">
                        <c:v>0</c:v>
                      </c:pt>
                      <c:pt idx="2683">
                        <c:v>0</c:v>
                      </c:pt>
                      <c:pt idx="2684">
                        <c:v>0</c:v>
                      </c:pt>
                      <c:pt idx="2685">
                        <c:v>0</c:v>
                      </c:pt>
                      <c:pt idx="2686">
                        <c:v>0</c:v>
                      </c:pt>
                      <c:pt idx="2687">
                        <c:v>0</c:v>
                      </c:pt>
                      <c:pt idx="2688">
                        <c:v>0</c:v>
                      </c:pt>
                      <c:pt idx="2689">
                        <c:v>0</c:v>
                      </c:pt>
                      <c:pt idx="2690">
                        <c:v>0</c:v>
                      </c:pt>
                      <c:pt idx="2691">
                        <c:v>0</c:v>
                      </c:pt>
                      <c:pt idx="2692">
                        <c:v>0</c:v>
                      </c:pt>
                      <c:pt idx="2693">
                        <c:v>0</c:v>
                      </c:pt>
                      <c:pt idx="2694">
                        <c:v>0</c:v>
                      </c:pt>
                      <c:pt idx="2695">
                        <c:v>0</c:v>
                      </c:pt>
                      <c:pt idx="2696">
                        <c:v>0</c:v>
                      </c:pt>
                      <c:pt idx="2697">
                        <c:v>0</c:v>
                      </c:pt>
                      <c:pt idx="2698">
                        <c:v>0</c:v>
                      </c:pt>
                      <c:pt idx="2699">
                        <c:v>0</c:v>
                      </c:pt>
                      <c:pt idx="2700">
                        <c:v>0</c:v>
                      </c:pt>
                      <c:pt idx="2701">
                        <c:v>0</c:v>
                      </c:pt>
                      <c:pt idx="2702">
                        <c:v>0</c:v>
                      </c:pt>
                      <c:pt idx="2703">
                        <c:v>0</c:v>
                      </c:pt>
                      <c:pt idx="2704">
                        <c:v>0</c:v>
                      </c:pt>
                      <c:pt idx="2705">
                        <c:v>0</c:v>
                      </c:pt>
                      <c:pt idx="2706">
                        <c:v>0</c:v>
                      </c:pt>
                      <c:pt idx="2707">
                        <c:v>0</c:v>
                      </c:pt>
                      <c:pt idx="2708">
                        <c:v>0</c:v>
                      </c:pt>
                      <c:pt idx="2709">
                        <c:v>0</c:v>
                      </c:pt>
                      <c:pt idx="2710">
                        <c:v>0</c:v>
                      </c:pt>
                      <c:pt idx="2711">
                        <c:v>0</c:v>
                      </c:pt>
                      <c:pt idx="2712">
                        <c:v>0</c:v>
                      </c:pt>
                      <c:pt idx="2713">
                        <c:v>0</c:v>
                      </c:pt>
                      <c:pt idx="2714">
                        <c:v>0</c:v>
                      </c:pt>
                      <c:pt idx="2715">
                        <c:v>0</c:v>
                      </c:pt>
                      <c:pt idx="2716">
                        <c:v>0</c:v>
                      </c:pt>
                      <c:pt idx="2717">
                        <c:v>0</c:v>
                      </c:pt>
                      <c:pt idx="2718">
                        <c:v>0</c:v>
                      </c:pt>
                      <c:pt idx="2719">
                        <c:v>0</c:v>
                      </c:pt>
                      <c:pt idx="2720">
                        <c:v>0</c:v>
                      </c:pt>
                      <c:pt idx="2721">
                        <c:v>0</c:v>
                      </c:pt>
                      <c:pt idx="2722">
                        <c:v>0</c:v>
                      </c:pt>
                      <c:pt idx="2723">
                        <c:v>0</c:v>
                      </c:pt>
                      <c:pt idx="2724">
                        <c:v>0</c:v>
                      </c:pt>
                      <c:pt idx="2725">
                        <c:v>0</c:v>
                      </c:pt>
                      <c:pt idx="2726">
                        <c:v>0</c:v>
                      </c:pt>
                      <c:pt idx="2727">
                        <c:v>0</c:v>
                      </c:pt>
                      <c:pt idx="2728">
                        <c:v>0</c:v>
                      </c:pt>
                      <c:pt idx="2729">
                        <c:v>0</c:v>
                      </c:pt>
                      <c:pt idx="2730">
                        <c:v>0</c:v>
                      </c:pt>
                      <c:pt idx="2731">
                        <c:v>0</c:v>
                      </c:pt>
                      <c:pt idx="2732">
                        <c:v>0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</c:v>
                      </c:pt>
                      <c:pt idx="2743">
                        <c:v>0</c:v>
                      </c:pt>
                      <c:pt idx="2744">
                        <c:v>0</c:v>
                      </c:pt>
                      <c:pt idx="2745">
                        <c:v>0</c:v>
                      </c:pt>
                      <c:pt idx="2746">
                        <c:v>0</c:v>
                      </c:pt>
                      <c:pt idx="2747">
                        <c:v>0</c:v>
                      </c:pt>
                      <c:pt idx="2748">
                        <c:v>0</c:v>
                      </c:pt>
                      <c:pt idx="2749">
                        <c:v>0</c:v>
                      </c:pt>
                      <c:pt idx="2750">
                        <c:v>0</c:v>
                      </c:pt>
                      <c:pt idx="2751">
                        <c:v>0</c:v>
                      </c:pt>
                      <c:pt idx="2752">
                        <c:v>0</c:v>
                      </c:pt>
                      <c:pt idx="2753">
                        <c:v>0</c:v>
                      </c:pt>
                      <c:pt idx="2754">
                        <c:v>0</c:v>
                      </c:pt>
                      <c:pt idx="2755">
                        <c:v>0</c:v>
                      </c:pt>
                      <c:pt idx="2756">
                        <c:v>0</c:v>
                      </c:pt>
                      <c:pt idx="2757">
                        <c:v>0</c:v>
                      </c:pt>
                      <c:pt idx="2758">
                        <c:v>0</c:v>
                      </c:pt>
                      <c:pt idx="2759">
                        <c:v>0</c:v>
                      </c:pt>
                      <c:pt idx="2760">
                        <c:v>0</c:v>
                      </c:pt>
                      <c:pt idx="2761">
                        <c:v>0</c:v>
                      </c:pt>
                      <c:pt idx="2762">
                        <c:v>0</c:v>
                      </c:pt>
                      <c:pt idx="2763">
                        <c:v>0</c:v>
                      </c:pt>
                      <c:pt idx="2764">
                        <c:v>0</c:v>
                      </c:pt>
                      <c:pt idx="2765">
                        <c:v>0</c:v>
                      </c:pt>
                      <c:pt idx="2766">
                        <c:v>0</c:v>
                      </c:pt>
                      <c:pt idx="2767">
                        <c:v>0</c:v>
                      </c:pt>
                      <c:pt idx="2768">
                        <c:v>0</c:v>
                      </c:pt>
                      <c:pt idx="2769">
                        <c:v>0</c:v>
                      </c:pt>
                      <c:pt idx="2770">
                        <c:v>0</c:v>
                      </c:pt>
                      <c:pt idx="2771">
                        <c:v>0</c:v>
                      </c:pt>
                      <c:pt idx="2772">
                        <c:v>0</c:v>
                      </c:pt>
                      <c:pt idx="2773">
                        <c:v>0</c:v>
                      </c:pt>
                      <c:pt idx="2774">
                        <c:v>0</c:v>
                      </c:pt>
                      <c:pt idx="2775">
                        <c:v>0</c:v>
                      </c:pt>
                      <c:pt idx="2776">
                        <c:v>0</c:v>
                      </c:pt>
                      <c:pt idx="2777">
                        <c:v>0</c:v>
                      </c:pt>
                      <c:pt idx="2778">
                        <c:v>0</c:v>
                      </c:pt>
                      <c:pt idx="2779">
                        <c:v>0</c:v>
                      </c:pt>
                      <c:pt idx="2780">
                        <c:v>0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0</c:v>
                      </c:pt>
                      <c:pt idx="2791">
                        <c:v>0</c:v>
                      </c:pt>
                      <c:pt idx="2792">
                        <c:v>0</c:v>
                      </c:pt>
                      <c:pt idx="2793">
                        <c:v>0</c:v>
                      </c:pt>
                      <c:pt idx="2794">
                        <c:v>0</c:v>
                      </c:pt>
                      <c:pt idx="2795">
                        <c:v>0</c:v>
                      </c:pt>
                      <c:pt idx="2796">
                        <c:v>0</c:v>
                      </c:pt>
                      <c:pt idx="2797">
                        <c:v>0</c:v>
                      </c:pt>
                      <c:pt idx="2798">
                        <c:v>0</c:v>
                      </c:pt>
                      <c:pt idx="2799">
                        <c:v>0</c:v>
                      </c:pt>
                      <c:pt idx="2800">
                        <c:v>0</c:v>
                      </c:pt>
                      <c:pt idx="2801">
                        <c:v>0</c:v>
                      </c:pt>
                      <c:pt idx="2802">
                        <c:v>0</c:v>
                      </c:pt>
                      <c:pt idx="2803">
                        <c:v>0</c:v>
                      </c:pt>
                      <c:pt idx="2804">
                        <c:v>0</c:v>
                      </c:pt>
                      <c:pt idx="2805">
                        <c:v>0</c:v>
                      </c:pt>
                      <c:pt idx="2806">
                        <c:v>0</c:v>
                      </c:pt>
                      <c:pt idx="2807">
                        <c:v>0</c:v>
                      </c:pt>
                      <c:pt idx="2808">
                        <c:v>0</c:v>
                      </c:pt>
                      <c:pt idx="2809">
                        <c:v>0</c:v>
                      </c:pt>
                      <c:pt idx="2810">
                        <c:v>0</c:v>
                      </c:pt>
                      <c:pt idx="2811">
                        <c:v>0</c:v>
                      </c:pt>
                      <c:pt idx="2812">
                        <c:v>0</c:v>
                      </c:pt>
                      <c:pt idx="2813">
                        <c:v>0</c:v>
                      </c:pt>
                      <c:pt idx="2814">
                        <c:v>0</c:v>
                      </c:pt>
                      <c:pt idx="2815">
                        <c:v>0</c:v>
                      </c:pt>
                      <c:pt idx="2816">
                        <c:v>0</c:v>
                      </c:pt>
                      <c:pt idx="2817">
                        <c:v>0</c:v>
                      </c:pt>
                      <c:pt idx="2818">
                        <c:v>0</c:v>
                      </c:pt>
                      <c:pt idx="2819">
                        <c:v>0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</c:v>
                      </c:pt>
                      <c:pt idx="2826">
                        <c:v>0</c:v>
                      </c:pt>
                      <c:pt idx="2827">
                        <c:v>0</c:v>
                      </c:pt>
                      <c:pt idx="2828">
                        <c:v>0</c:v>
                      </c:pt>
                      <c:pt idx="2829">
                        <c:v>0</c:v>
                      </c:pt>
                      <c:pt idx="2830">
                        <c:v>0</c:v>
                      </c:pt>
                      <c:pt idx="2831">
                        <c:v>0</c:v>
                      </c:pt>
                      <c:pt idx="2832">
                        <c:v>0</c:v>
                      </c:pt>
                      <c:pt idx="2833">
                        <c:v>0</c:v>
                      </c:pt>
                      <c:pt idx="2834">
                        <c:v>0</c:v>
                      </c:pt>
                      <c:pt idx="2835">
                        <c:v>0</c:v>
                      </c:pt>
                      <c:pt idx="2836">
                        <c:v>0</c:v>
                      </c:pt>
                      <c:pt idx="2837">
                        <c:v>0</c:v>
                      </c:pt>
                      <c:pt idx="2838">
                        <c:v>0</c:v>
                      </c:pt>
                      <c:pt idx="2839">
                        <c:v>0</c:v>
                      </c:pt>
                      <c:pt idx="2840">
                        <c:v>0</c:v>
                      </c:pt>
                      <c:pt idx="2841">
                        <c:v>0</c:v>
                      </c:pt>
                      <c:pt idx="2842">
                        <c:v>0</c:v>
                      </c:pt>
                      <c:pt idx="2843">
                        <c:v>0</c:v>
                      </c:pt>
                      <c:pt idx="2844">
                        <c:v>0</c:v>
                      </c:pt>
                      <c:pt idx="2845">
                        <c:v>0</c:v>
                      </c:pt>
                      <c:pt idx="2846">
                        <c:v>0</c:v>
                      </c:pt>
                      <c:pt idx="2847">
                        <c:v>0</c:v>
                      </c:pt>
                      <c:pt idx="2848">
                        <c:v>0</c:v>
                      </c:pt>
                      <c:pt idx="2849">
                        <c:v>0</c:v>
                      </c:pt>
                      <c:pt idx="2850">
                        <c:v>0</c:v>
                      </c:pt>
                      <c:pt idx="2851">
                        <c:v>0</c:v>
                      </c:pt>
                      <c:pt idx="2852">
                        <c:v>0</c:v>
                      </c:pt>
                      <c:pt idx="2853">
                        <c:v>0</c:v>
                      </c:pt>
                      <c:pt idx="2854">
                        <c:v>0</c:v>
                      </c:pt>
                      <c:pt idx="2855">
                        <c:v>0</c:v>
                      </c:pt>
                      <c:pt idx="2856">
                        <c:v>0</c:v>
                      </c:pt>
                      <c:pt idx="2857">
                        <c:v>0</c:v>
                      </c:pt>
                      <c:pt idx="2858">
                        <c:v>0</c:v>
                      </c:pt>
                      <c:pt idx="2859">
                        <c:v>0</c:v>
                      </c:pt>
                      <c:pt idx="2860">
                        <c:v>0</c:v>
                      </c:pt>
                      <c:pt idx="2861">
                        <c:v>0</c:v>
                      </c:pt>
                      <c:pt idx="2862">
                        <c:v>0</c:v>
                      </c:pt>
                      <c:pt idx="2863">
                        <c:v>0</c:v>
                      </c:pt>
                      <c:pt idx="2864">
                        <c:v>0</c:v>
                      </c:pt>
                      <c:pt idx="2865">
                        <c:v>0</c:v>
                      </c:pt>
                      <c:pt idx="2866">
                        <c:v>0</c:v>
                      </c:pt>
                      <c:pt idx="2867">
                        <c:v>0</c:v>
                      </c:pt>
                      <c:pt idx="2868">
                        <c:v>0</c:v>
                      </c:pt>
                      <c:pt idx="2869">
                        <c:v>0</c:v>
                      </c:pt>
                      <c:pt idx="2870">
                        <c:v>0</c:v>
                      </c:pt>
                      <c:pt idx="2871">
                        <c:v>0</c:v>
                      </c:pt>
                      <c:pt idx="2872">
                        <c:v>0</c:v>
                      </c:pt>
                      <c:pt idx="2873">
                        <c:v>0</c:v>
                      </c:pt>
                      <c:pt idx="2874">
                        <c:v>0</c:v>
                      </c:pt>
                      <c:pt idx="2875">
                        <c:v>0</c:v>
                      </c:pt>
                      <c:pt idx="2876">
                        <c:v>0</c:v>
                      </c:pt>
                      <c:pt idx="2877">
                        <c:v>0</c:v>
                      </c:pt>
                      <c:pt idx="2878">
                        <c:v>0</c:v>
                      </c:pt>
                      <c:pt idx="2879">
                        <c:v>0</c:v>
                      </c:pt>
                      <c:pt idx="2880">
                        <c:v>0</c:v>
                      </c:pt>
                      <c:pt idx="2881">
                        <c:v>0</c:v>
                      </c:pt>
                      <c:pt idx="2882">
                        <c:v>0</c:v>
                      </c:pt>
                      <c:pt idx="2883">
                        <c:v>0</c:v>
                      </c:pt>
                      <c:pt idx="2884">
                        <c:v>0</c:v>
                      </c:pt>
                      <c:pt idx="2885">
                        <c:v>0</c:v>
                      </c:pt>
                      <c:pt idx="2886">
                        <c:v>0</c:v>
                      </c:pt>
                      <c:pt idx="2887">
                        <c:v>0</c:v>
                      </c:pt>
                      <c:pt idx="2888">
                        <c:v>0</c:v>
                      </c:pt>
                      <c:pt idx="2889">
                        <c:v>0</c:v>
                      </c:pt>
                      <c:pt idx="2890">
                        <c:v>0</c:v>
                      </c:pt>
                      <c:pt idx="2891">
                        <c:v>0</c:v>
                      </c:pt>
                      <c:pt idx="2892">
                        <c:v>0</c:v>
                      </c:pt>
                      <c:pt idx="2893">
                        <c:v>0</c:v>
                      </c:pt>
                      <c:pt idx="2894">
                        <c:v>0</c:v>
                      </c:pt>
                      <c:pt idx="2895">
                        <c:v>0</c:v>
                      </c:pt>
                      <c:pt idx="2896">
                        <c:v>0</c:v>
                      </c:pt>
                      <c:pt idx="2897">
                        <c:v>0</c:v>
                      </c:pt>
                      <c:pt idx="2898">
                        <c:v>0</c:v>
                      </c:pt>
                      <c:pt idx="2899">
                        <c:v>0</c:v>
                      </c:pt>
                      <c:pt idx="2900">
                        <c:v>0</c:v>
                      </c:pt>
                      <c:pt idx="2901">
                        <c:v>0</c:v>
                      </c:pt>
                      <c:pt idx="2902">
                        <c:v>0</c:v>
                      </c:pt>
                      <c:pt idx="2903">
                        <c:v>0</c:v>
                      </c:pt>
                      <c:pt idx="2904">
                        <c:v>0</c:v>
                      </c:pt>
                      <c:pt idx="2905">
                        <c:v>0</c:v>
                      </c:pt>
                      <c:pt idx="2906">
                        <c:v>0</c:v>
                      </c:pt>
                      <c:pt idx="2907">
                        <c:v>0</c:v>
                      </c:pt>
                      <c:pt idx="2908">
                        <c:v>0</c:v>
                      </c:pt>
                      <c:pt idx="2909">
                        <c:v>0</c:v>
                      </c:pt>
                      <c:pt idx="2910">
                        <c:v>0</c:v>
                      </c:pt>
                      <c:pt idx="2911">
                        <c:v>0</c:v>
                      </c:pt>
                      <c:pt idx="2912">
                        <c:v>0</c:v>
                      </c:pt>
                      <c:pt idx="2913">
                        <c:v>0</c:v>
                      </c:pt>
                      <c:pt idx="2914">
                        <c:v>0</c:v>
                      </c:pt>
                      <c:pt idx="2915">
                        <c:v>0</c:v>
                      </c:pt>
                      <c:pt idx="2916">
                        <c:v>0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</c:v>
                      </c:pt>
                      <c:pt idx="2927">
                        <c:v>0</c:v>
                      </c:pt>
                      <c:pt idx="2928">
                        <c:v>0</c:v>
                      </c:pt>
                      <c:pt idx="2929">
                        <c:v>0</c:v>
                      </c:pt>
                      <c:pt idx="2930">
                        <c:v>0</c:v>
                      </c:pt>
                      <c:pt idx="2931">
                        <c:v>0</c:v>
                      </c:pt>
                      <c:pt idx="2932">
                        <c:v>0</c:v>
                      </c:pt>
                      <c:pt idx="2933">
                        <c:v>0</c:v>
                      </c:pt>
                      <c:pt idx="2934">
                        <c:v>0</c:v>
                      </c:pt>
                      <c:pt idx="2935">
                        <c:v>0</c:v>
                      </c:pt>
                      <c:pt idx="2936">
                        <c:v>0</c:v>
                      </c:pt>
                      <c:pt idx="2937">
                        <c:v>0</c:v>
                      </c:pt>
                      <c:pt idx="2938">
                        <c:v>0</c:v>
                      </c:pt>
                      <c:pt idx="2939">
                        <c:v>0</c:v>
                      </c:pt>
                      <c:pt idx="2940">
                        <c:v>0</c:v>
                      </c:pt>
                      <c:pt idx="2941">
                        <c:v>0</c:v>
                      </c:pt>
                      <c:pt idx="2942">
                        <c:v>0</c:v>
                      </c:pt>
                      <c:pt idx="2943">
                        <c:v>0</c:v>
                      </c:pt>
                      <c:pt idx="2944">
                        <c:v>0</c:v>
                      </c:pt>
                      <c:pt idx="2945">
                        <c:v>0</c:v>
                      </c:pt>
                      <c:pt idx="2946">
                        <c:v>0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</c:v>
                      </c:pt>
                      <c:pt idx="2952">
                        <c:v>0</c:v>
                      </c:pt>
                      <c:pt idx="2953">
                        <c:v>0</c:v>
                      </c:pt>
                      <c:pt idx="2954">
                        <c:v>0</c:v>
                      </c:pt>
                      <c:pt idx="2955">
                        <c:v>0</c:v>
                      </c:pt>
                      <c:pt idx="2956">
                        <c:v>0</c:v>
                      </c:pt>
                      <c:pt idx="2957">
                        <c:v>0</c:v>
                      </c:pt>
                      <c:pt idx="2958">
                        <c:v>0</c:v>
                      </c:pt>
                      <c:pt idx="2959">
                        <c:v>0</c:v>
                      </c:pt>
                      <c:pt idx="2960">
                        <c:v>0</c:v>
                      </c:pt>
                      <c:pt idx="2961">
                        <c:v>0</c:v>
                      </c:pt>
                      <c:pt idx="2962">
                        <c:v>0</c:v>
                      </c:pt>
                      <c:pt idx="2963">
                        <c:v>0</c:v>
                      </c:pt>
                      <c:pt idx="2964">
                        <c:v>0</c:v>
                      </c:pt>
                      <c:pt idx="2965">
                        <c:v>0</c:v>
                      </c:pt>
                      <c:pt idx="2966">
                        <c:v>0</c:v>
                      </c:pt>
                      <c:pt idx="2967">
                        <c:v>0</c:v>
                      </c:pt>
                      <c:pt idx="2968">
                        <c:v>0</c:v>
                      </c:pt>
                      <c:pt idx="2969">
                        <c:v>0</c:v>
                      </c:pt>
                      <c:pt idx="2970">
                        <c:v>0</c:v>
                      </c:pt>
                      <c:pt idx="2971">
                        <c:v>0</c:v>
                      </c:pt>
                      <c:pt idx="2972">
                        <c:v>0</c:v>
                      </c:pt>
                      <c:pt idx="2973">
                        <c:v>0</c:v>
                      </c:pt>
                      <c:pt idx="2974">
                        <c:v>0</c:v>
                      </c:pt>
                      <c:pt idx="2975">
                        <c:v>0</c:v>
                      </c:pt>
                      <c:pt idx="2976">
                        <c:v>0</c:v>
                      </c:pt>
                      <c:pt idx="2977">
                        <c:v>0</c:v>
                      </c:pt>
                      <c:pt idx="2978">
                        <c:v>0</c:v>
                      </c:pt>
                      <c:pt idx="2979">
                        <c:v>0</c:v>
                      </c:pt>
                      <c:pt idx="2980">
                        <c:v>0</c:v>
                      </c:pt>
                      <c:pt idx="2981">
                        <c:v>0</c:v>
                      </c:pt>
                      <c:pt idx="2982">
                        <c:v>0</c:v>
                      </c:pt>
                      <c:pt idx="2983">
                        <c:v>0</c:v>
                      </c:pt>
                      <c:pt idx="2984">
                        <c:v>0</c:v>
                      </c:pt>
                      <c:pt idx="2985">
                        <c:v>0</c:v>
                      </c:pt>
                      <c:pt idx="2986">
                        <c:v>0</c:v>
                      </c:pt>
                      <c:pt idx="2987">
                        <c:v>0</c:v>
                      </c:pt>
                      <c:pt idx="2988">
                        <c:v>0</c:v>
                      </c:pt>
                      <c:pt idx="2989">
                        <c:v>0</c:v>
                      </c:pt>
                      <c:pt idx="2990">
                        <c:v>0</c:v>
                      </c:pt>
                      <c:pt idx="2991">
                        <c:v>0</c:v>
                      </c:pt>
                      <c:pt idx="2992">
                        <c:v>0</c:v>
                      </c:pt>
                      <c:pt idx="2993">
                        <c:v>0</c:v>
                      </c:pt>
                      <c:pt idx="2994">
                        <c:v>0</c:v>
                      </c:pt>
                      <c:pt idx="2995">
                        <c:v>0</c:v>
                      </c:pt>
                      <c:pt idx="2996">
                        <c:v>0</c:v>
                      </c:pt>
                      <c:pt idx="2997">
                        <c:v>0</c:v>
                      </c:pt>
                      <c:pt idx="2998">
                        <c:v>0</c:v>
                      </c:pt>
                      <c:pt idx="2999">
                        <c:v>0</c:v>
                      </c:pt>
                      <c:pt idx="3000">
                        <c:v>0</c:v>
                      </c:pt>
                      <c:pt idx="3001">
                        <c:v>0</c:v>
                      </c:pt>
                      <c:pt idx="3002">
                        <c:v>0</c:v>
                      </c:pt>
                      <c:pt idx="3003">
                        <c:v>0</c:v>
                      </c:pt>
                      <c:pt idx="3004">
                        <c:v>0</c:v>
                      </c:pt>
                      <c:pt idx="3005">
                        <c:v>0</c:v>
                      </c:pt>
                      <c:pt idx="3006">
                        <c:v>0</c:v>
                      </c:pt>
                      <c:pt idx="3007">
                        <c:v>0</c:v>
                      </c:pt>
                      <c:pt idx="3008">
                        <c:v>0</c:v>
                      </c:pt>
                      <c:pt idx="3009">
                        <c:v>0</c:v>
                      </c:pt>
                      <c:pt idx="3010">
                        <c:v>0</c:v>
                      </c:pt>
                      <c:pt idx="3011">
                        <c:v>0</c:v>
                      </c:pt>
                      <c:pt idx="3012">
                        <c:v>0</c:v>
                      </c:pt>
                      <c:pt idx="3013">
                        <c:v>0</c:v>
                      </c:pt>
                      <c:pt idx="3014">
                        <c:v>0</c:v>
                      </c:pt>
                      <c:pt idx="3015">
                        <c:v>0</c:v>
                      </c:pt>
                      <c:pt idx="3016">
                        <c:v>0</c:v>
                      </c:pt>
                      <c:pt idx="3017">
                        <c:v>0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0</c:v>
                      </c:pt>
                      <c:pt idx="3026">
                        <c:v>0</c:v>
                      </c:pt>
                      <c:pt idx="3027">
                        <c:v>0</c:v>
                      </c:pt>
                      <c:pt idx="3028">
                        <c:v>0</c:v>
                      </c:pt>
                      <c:pt idx="3029">
                        <c:v>0</c:v>
                      </c:pt>
                      <c:pt idx="3030">
                        <c:v>0</c:v>
                      </c:pt>
                      <c:pt idx="3031">
                        <c:v>0</c:v>
                      </c:pt>
                      <c:pt idx="3032">
                        <c:v>0</c:v>
                      </c:pt>
                      <c:pt idx="3033">
                        <c:v>0</c:v>
                      </c:pt>
                      <c:pt idx="3034">
                        <c:v>0</c:v>
                      </c:pt>
                      <c:pt idx="3035">
                        <c:v>0</c:v>
                      </c:pt>
                      <c:pt idx="3036">
                        <c:v>0</c:v>
                      </c:pt>
                      <c:pt idx="3037">
                        <c:v>0</c:v>
                      </c:pt>
                      <c:pt idx="3038">
                        <c:v>0</c:v>
                      </c:pt>
                      <c:pt idx="3039">
                        <c:v>0</c:v>
                      </c:pt>
                      <c:pt idx="3040">
                        <c:v>0</c:v>
                      </c:pt>
                      <c:pt idx="3041">
                        <c:v>0</c:v>
                      </c:pt>
                      <c:pt idx="3042">
                        <c:v>0</c:v>
                      </c:pt>
                      <c:pt idx="3043">
                        <c:v>0</c:v>
                      </c:pt>
                      <c:pt idx="3044">
                        <c:v>0</c:v>
                      </c:pt>
                      <c:pt idx="3045">
                        <c:v>0</c:v>
                      </c:pt>
                      <c:pt idx="3046">
                        <c:v>0</c:v>
                      </c:pt>
                      <c:pt idx="3047">
                        <c:v>0</c:v>
                      </c:pt>
                      <c:pt idx="3048">
                        <c:v>0</c:v>
                      </c:pt>
                      <c:pt idx="3049">
                        <c:v>0</c:v>
                      </c:pt>
                      <c:pt idx="3050">
                        <c:v>0</c:v>
                      </c:pt>
                      <c:pt idx="3051">
                        <c:v>0</c:v>
                      </c:pt>
                      <c:pt idx="3052">
                        <c:v>0</c:v>
                      </c:pt>
                      <c:pt idx="3053">
                        <c:v>0</c:v>
                      </c:pt>
                      <c:pt idx="3054">
                        <c:v>0</c:v>
                      </c:pt>
                      <c:pt idx="3055">
                        <c:v>0</c:v>
                      </c:pt>
                      <c:pt idx="3056">
                        <c:v>0</c:v>
                      </c:pt>
                      <c:pt idx="3057">
                        <c:v>0</c:v>
                      </c:pt>
                      <c:pt idx="3058">
                        <c:v>0</c:v>
                      </c:pt>
                      <c:pt idx="3059">
                        <c:v>0</c:v>
                      </c:pt>
                      <c:pt idx="3060">
                        <c:v>0</c:v>
                      </c:pt>
                      <c:pt idx="3061">
                        <c:v>0</c:v>
                      </c:pt>
                      <c:pt idx="3062">
                        <c:v>0</c:v>
                      </c:pt>
                      <c:pt idx="3063">
                        <c:v>0</c:v>
                      </c:pt>
                      <c:pt idx="3064">
                        <c:v>0</c:v>
                      </c:pt>
                      <c:pt idx="3065">
                        <c:v>0</c:v>
                      </c:pt>
                      <c:pt idx="3066">
                        <c:v>0</c:v>
                      </c:pt>
                      <c:pt idx="3067">
                        <c:v>0</c:v>
                      </c:pt>
                      <c:pt idx="3068">
                        <c:v>0</c:v>
                      </c:pt>
                      <c:pt idx="3069">
                        <c:v>0</c:v>
                      </c:pt>
                      <c:pt idx="3070">
                        <c:v>0</c:v>
                      </c:pt>
                      <c:pt idx="3071">
                        <c:v>0</c:v>
                      </c:pt>
                      <c:pt idx="3072">
                        <c:v>0</c:v>
                      </c:pt>
                      <c:pt idx="3073">
                        <c:v>0</c:v>
                      </c:pt>
                      <c:pt idx="3074">
                        <c:v>0</c:v>
                      </c:pt>
                      <c:pt idx="3075">
                        <c:v>0</c:v>
                      </c:pt>
                      <c:pt idx="3076">
                        <c:v>0</c:v>
                      </c:pt>
                      <c:pt idx="3077">
                        <c:v>0</c:v>
                      </c:pt>
                      <c:pt idx="3078">
                        <c:v>0</c:v>
                      </c:pt>
                      <c:pt idx="3079">
                        <c:v>0</c:v>
                      </c:pt>
                      <c:pt idx="3080">
                        <c:v>0</c:v>
                      </c:pt>
                      <c:pt idx="3081">
                        <c:v>0</c:v>
                      </c:pt>
                      <c:pt idx="3082">
                        <c:v>0</c:v>
                      </c:pt>
                      <c:pt idx="3083">
                        <c:v>0</c:v>
                      </c:pt>
                      <c:pt idx="3084">
                        <c:v>0</c:v>
                      </c:pt>
                      <c:pt idx="3085">
                        <c:v>0</c:v>
                      </c:pt>
                      <c:pt idx="3086">
                        <c:v>0</c:v>
                      </c:pt>
                      <c:pt idx="3087">
                        <c:v>0</c:v>
                      </c:pt>
                      <c:pt idx="3088">
                        <c:v>0</c:v>
                      </c:pt>
                      <c:pt idx="3089">
                        <c:v>0</c:v>
                      </c:pt>
                      <c:pt idx="3090">
                        <c:v>0</c:v>
                      </c:pt>
                      <c:pt idx="3091">
                        <c:v>0</c:v>
                      </c:pt>
                      <c:pt idx="3092">
                        <c:v>0</c:v>
                      </c:pt>
                      <c:pt idx="3093">
                        <c:v>0</c:v>
                      </c:pt>
                      <c:pt idx="3094">
                        <c:v>0</c:v>
                      </c:pt>
                      <c:pt idx="3095">
                        <c:v>0</c:v>
                      </c:pt>
                      <c:pt idx="3096">
                        <c:v>0</c:v>
                      </c:pt>
                      <c:pt idx="3097">
                        <c:v>0</c:v>
                      </c:pt>
                      <c:pt idx="3098">
                        <c:v>0</c:v>
                      </c:pt>
                      <c:pt idx="3099">
                        <c:v>0</c:v>
                      </c:pt>
                      <c:pt idx="3100">
                        <c:v>0</c:v>
                      </c:pt>
                      <c:pt idx="3101">
                        <c:v>0</c:v>
                      </c:pt>
                      <c:pt idx="3102">
                        <c:v>0</c:v>
                      </c:pt>
                      <c:pt idx="3103">
                        <c:v>0</c:v>
                      </c:pt>
                      <c:pt idx="3104">
                        <c:v>0</c:v>
                      </c:pt>
                      <c:pt idx="3105">
                        <c:v>0</c:v>
                      </c:pt>
                      <c:pt idx="3106">
                        <c:v>0</c:v>
                      </c:pt>
                      <c:pt idx="3107">
                        <c:v>0</c:v>
                      </c:pt>
                      <c:pt idx="3108">
                        <c:v>0</c:v>
                      </c:pt>
                      <c:pt idx="3109">
                        <c:v>0</c:v>
                      </c:pt>
                      <c:pt idx="3110">
                        <c:v>0</c:v>
                      </c:pt>
                      <c:pt idx="3111">
                        <c:v>0</c:v>
                      </c:pt>
                      <c:pt idx="3112">
                        <c:v>0</c:v>
                      </c:pt>
                      <c:pt idx="3113">
                        <c:v>0</c:v>
                      </c:pt>
                      <c:pt idx="3114">
                        <c:v>0</c:v>
                      </c:pt>
                      <c:pt idx="3115">
                        <c:v>0</c:v>
                      </c:pt>
                      <c:pt idx="3116">
                        <c:v>0</c:v>
                      </c:pt>
                      <c:pt idx="3117">
                        <c:v>0</c:v>
                      </c:pt>
                      <c:pt idx="3118">
                        <c:v>0</c:v>
                      </c:pt>
                      <c:pt idx="3119">
                        <c:v>0</c:v>
                      </c:pt>
                      <c:pt idx="3120">
                        <c:v>0</c:v>
                      </c:pt>
                      <c:pt idx="3121">
                        <c:v>0</c:v>
                      </c:pt>
                      <c:pt idx="3122">
                        <c:v>0</c:v>
                      </c:pt>
                      <c:pt idx="3123">
                        <c:v>0</c:v>
                      </c:pt>
                      <c:pt idx="3124">
                        <c:v>0</c:v>
                      </c:pt>
                      <c:pt idx="3125">
                        <c:v>0</c:v>
                      </c:pt>
                      <c:pt idx="3126">
                        <c:v>0</c:v>
                      </c:pt>
                      <c:pt idx="3127">
                        <c:v>0</c:v>
                      </c:pt>
                      <c:pt idx="3128">
                        <c:v>0</c:v>
                      </c:pt>
                      <c:pt idx="3129">
                        <c:v>0</c:v>
                      </c:pt>
                      <c:pt idx="3130">
                        <c:v>0</c:v>
                      </c:pt>
                      <c:pt idx="3131">
                        <c:v>0</c:v>
                      </c:pt>
                      <c:pt idx="3132">
                        <c:v>0</c:v>
                      </c:pt>
                      <c:pt idx="3133">
                        <c:v>0</c:v>
                      </c:pt>
                      <c:pt idx="3134">
                        <c:v>0</c:v>
                      </c:pt>
                      <c:pt idx="3135">
                        <c:v>0</c:v>
                      </c:pt>
                      <c:pt idx="3136">
                        <c:v>0</c:v>
                      </c:pt>
                      <c:pt idx="3137">
                        <c:v>0</c:v>
                      </c:pt>
                      <c:pt idx="3138">
                        <c:v>0</c:v>
                      </c:pt>
                      <c:pt idx="3139">
                        <c:v>0</c:v>
                      </c:pt>
                      <c:pt idx="3140">
                        <c:v>0</c:v>
                      </c:pt>
                      <c:pt idx="3141">
                        <c:v>0</c:v>
                      </c:pt>
                      <c:pt idx="3142">
                        <c:v>0</c:v>
                      </c:pt>
                      <c:pt idx="3143">
                        <c:v>0</c:v>
                      </c:pt>
                      <c:pt idx="3144">
                        <c:v>0</c:v>
                      </c:pt>
                      <c:pt idx="3145">
                        <c:v>0</c:v>
                      </c:pt>
                      <c:pt idx="3146">
                        <c:v>0</c:v>
                      </c:pt>
                      <c:pt idx="3147">
                        <c:v>0</c:v>
                      </c:pt>
                      <c:pt idx="3148">
                        <c:v>0</c:v>
                      </c:pt>
                      <c:pt idx="3149">
                        <c:v>0</c:v>
                      </c:pt>
                      <c:pt idx="3150">
                        <c:v>0</c:v>
                      </c:pt>
                      <c:pt idx="3151">
                        <c:v>0</c:v>
                      </c:pt>
                      <c:pt idx="3152">
                        <c:v>0</c:v>
                      </c:pt>
                      <c:pt idx="3153">
                        <c:v>0</c:v>
                      </c:pt>
                      <c:pt idx="3154">
                        <c:v>0</c:v>
                      </c:pt>
                      <c:pt idx="3155">
                        <c:v>0</c:v>
                      </c:pt>
                      <c:pt idx="3156">
                        <c:v>0</c:v>
                      </c:pt>
                      <c:pt idx="3157">
                        <c:v>0</c:v>
                      </c:pt>
                      <c:pt idx="3158">
                        <c:v>0</c:v>
                      </c:pt>
                      <c:pt idx="3159">
                        <c:v>0</c:v>
                      </c:pt>
                      <c:pt idx="3160">
                        <c:v>0</c:v>
                      </c:pt>
                      <c:pt idx="3161">
                        <c:v>0</c:v>
                      </c:pt>
                      <c:pt idx="3162">
                        <c:v>0</c:v>
                      </c:pt>
                      <c:pt idx="3163">
                        <c:v>0</c:v>
                      </c:pt>
                      <c:pt idx="3164">
                        <c:v>0</c:v>
                      </c:pt>
                      <c:pt idx="3165">
                        <c:v>0</c:v>
                      </c:pt>
                      <c:pt idx="3166">
                        <c:v>0</c:v>
                      </c:pt>
                      <c:pt idx="3167">
                        <c:v>0</c:v>
                      </c:pt>
                      <c:pt idx="3168">
                        <c:v>0</c:v>
                      </c:pt>
                      <c:pt idx="3169">
                        <c:v>0</c:v>
                      </c:pt>
                      <c:pt idx="3170">
                        <c:v>0</c:v>
                      </c:pt>
                      <c:pt idx="3171">
                        <c:v>0</c:v>
                      </c:pt>
                      <c:pt idx="3172">
                        <c:v>0</c:v>
                      </c:pt>
                      <c:pt idx="3173">
                        <c:v>0</c:v>
                      </c:pt>
                      <c:pt idx="3174">
                        <c:v>0</c:v>
                      </c:pt>
                      <c:pt idx="3175">
                        <c:v>0</c:v>
                      </c:pt>
                      <c:pt idx="3176">
                        <c:v>0</c:v>
                      </c:pt>
                      <c:pt idx="3177">
                        <c:v>0</c:v>
                      </c:pt>
                      <c:pt idx="3178">
                        <c:v>0</c:v>
                      </c:pt>
                      <c:pt idx="3179">
                        <c:v>0</c:v>
                      </c:pt>
                      <c:pt idx="3180">
                        <c:v>0</c:v>
                      </c:pt>
                      <c:pt idx="3181">
                        <c:v>0</c:v>
                      </c:pt>
                      <c:pt idx="3182">
                        <c:v>0</c:v>
                      </c:pt>
                      <c:pt idx="3183">
                        <c:v>0</c:v>
                      </c:pt>
                      <c:pt idx="3184">
                        <c:v>0</c:v>
                      </c:pt>
                      <c:pt idx="3185">
                        <c:v>0</c:v>
                      </c:pt>
                      <c:pt idx="3186">
                        <c:v>0</c:v>
                      </c:pt>
                      <c:pt idx="3187">
                        <c:v>0</c:v>
                      </c:pt>
                      <c:pt idx="3188">
                        <c:v>0</c:v>
                      </c:pt>
                      <c:pt idx="3189">
                        <c:v>0</c:v>
                      </c:pt>
                      <c:pt idx="3190">
                        <c:v>0</c:v>
                      </c:pt>
                      <c:pt idx="3191">
                        <c:v>0</c:v>
                      </c:pt>
                      <c:pt idx="3192">
                        <c:v>0</c:v>
                      </c:pt>
                      <c:pt idx="3193">
                        <c:v>0</c:v>
                      </c:pt>
                      <c:pt idx="3194">
                        <c:v>0</c:v>
                      </c:pt>
                      <c:pt idx="3195">
                        <c:v>0</c:v>
                      </c:pt>
                      <c:pt idx="3196">
                        <c:v>0</c:v>
                      </c:pt>
                      <c:pt idx="3197">
                        <c:v>0</c:v>
                      </c:pt>
                      <c:pt idx="3198">
                        <c:v>0</c:v>
                      </c:pt>
                      <c:pt idx="3199">
                        <c:v>0</c:v>
                      </c:pt>
                      <c:pt idx="3200">
                        <c:v>0</c:v>
                      </c:pt>
                      <c:pt idx="3201">
                        <c:v>0</c:v>
                      </c:pt>
                      <c:pt idx="3202">
                        <c:v>0</c:v>
                      </c:pt>
                      <c:pt idx="3203">
                        <c:v>0</c:v>
                      </c:pt>
                      <c:pt idx="3204">
                        <c:v>0</c:v>
                      </c:pt>
                      <c:pt idx="3205">
                        <c:v>0</c:v>
                      </c:pt>
                      <c:pt idx="3206">
                        <c:v>0</c:v>
                      </c:pt>
                      <c:pt idx="3207">
                        <c:v>0</c:v>
                      </c:pt>
                      <c:pt idx="3208">
                        <c:v>0</c:v>
                      </c:pt>
                      <c:pt idx="3209">
                        <c:v>0</c:v>
                      </c:pt>
                      <c:pt idx="3210">
                        <c:v>0</c:v>
                      </c:pt>
                      <c:pt idx="3211">
                        <c:v>0</c:v>
                      </c:pt>
                      <c:pt idx="3212">
                        <c:v>0</c:v>
                      </c:pt>
                      <c:pt idx="3213">
                        <c:v>0</c:v>
                      </c:pt>
                      <c:pt idx="3214">
                        <c:v>0</c:v>
                      </c:pt>
                      <c:pt idx="3215">
                        <c:v>0</c:v>
                      </c:pt>
                      <c:pt idx="3216">
                        <c:v>0</c:v>
                      </c:pt>
                      <c:pt idx="3217">
                        <c:v>0</c:v>
                      </c:pt>
                      <c:pt idx="3218">
                        <c:v>0</c:v>
                      </c:pt>
                      <c:pt idx="3219">
                        <c:v>0</c:v>
                      </c:pt>
                      <c:pt idx="3220">
                        <c:v>0</c:v>
                      </c:pt>
                      <c:pt idx="3221">
                        <c:v>0</c:v>
                      </c:pt>
                      <c:pt idx="3222">
                        <c:v>0</c:v>
                      </c:pt>
                      <c:pt idx="3223">
                        <c:v>0</c:v>
                      </c:pt>
                      <c:pt idx="3224">
                        <c:v>0</c:v>
                      </c:pt>
                      <c:pt idx="3225">
                        <c:v>0</c:v>
                      </c:pt>
                      <c:pt idx="3226">
                        <c:v>0</c:v>
                      </c:pt>
                      <c:pt idx="3227">
                        <c:v>0</c:v>
                      </c:pt>
                      <c:pt idx="3228">
                        <c:v>0</c:v>
                      </c:pt>
                      <c:pt idx="3229">
                        <c:v>0</c:v>
                      </c:pt>
                      <c:pt idx="3230">
                        <c:v>0</c:v>
                      </c:pt>
                      <c:pt idx="3231">
                        <c:v>0</c:v>
                      </c:pt>
                      <c:pt idx="3232">
                        <c:v>0</c:v>
                      </c:pt>
                      <c:pt idx="3233">
                        <c:v>0</c:v>
                      </c:pt>
                      <c:pt idx="3234">
                        <c:v>0</c:v>
                      </c:pt>
                      <c:pt idx="3235">
                        <c:v>0</c:v>
                      </c:pt>
                      <c:pt idx="3236">
                        <c:v>0</c:v>
                      </c:pt>
                      <c:pt idx="3237">
                        <c:v>0</c:v>
                      </c:pt>
                      <c:pt idx="3238">
                        <c:v>0</c:v>
                      </c:pt>
                      <c:pt idx="3239">
                        <c:v>0</c:v>
                      </c:pt>
                      <c:pt idx="3240">
                        <c:v>0</c:v>
                      </c:pt>
                      <c:pt idx="3241">
                        <c:v>0</c:v>
                      </c:pt>
                      <c:pt idx="3242">
                        <c:v>0</c:v>
                      </c:pt>
                      <c:pt idx="3243">
                        <c:v>0</c:v>
                      </c:pt>
                      <c:pt idx="3244">
                        <c:v>0</c:v>
                      </c:pt>
                      <c:pt idx="3245">
                        <c:v>0</c:v>
                      </c:pt>
                      <c:pt idx="3246">
                        <c:v>0</c:v>
                      </c:pt>
                      <c:pt idx="3247">
                        <c:v>0</c:v>
                      </c:pt>
                      <c:pt idx="3248">
                        <c:v>0</c:v>
                      </c:pt>
                      <c:pt idx="3249">
                        <c:v>0</c:v>
                      </c:pt>
                      <c:pt idx="3250">
                        <c:v>0</c:v>
                      </c:pt>
                      <c:pt idx="3251">
                        <c:v>0</c:v>
                      </c:pt>
                      <c:pt idx="3252">
                        <c:v>0</c:v>
                      </c:pt>
                      <c:pt idx="3253">
                        <c:v>0</c:v>
                      </c:pt>
                      <c:pt idx="3254">
                        <c:v>0</c:v>
                      </c:pt>
                      <c:pt idx="3255">
                        <c:v>0</c:v>
                      </c:pt>
                      <c:pt idx="3256">
                        <c:v>0</c:v>
                      </c:pt>
                      <c:pt idx="3257">
                        <c:v>0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</c:v>
                      </c:pt>
                      <c:pt idx="3265">
                        <c:v>0</c:v>
                      </c:pt>
                      <c:pt idx="3266">
                        <c:v>0</c:v>
                      </c:pt>
                      <c:pt idx="3267">
                        <c:v>0</c:v>
                      </c:pt>
                      <c:pt idx="3268">
                        <c:v>0</c:v>
                      </c:pt>
                      <c:pt idx="3269">
                        <c:v>0</c:v>
                      </c:pt>
                      <c:pt idx="3270">
                        <c:v>0</c:v>
                      </c:pt>
                      <c:pt idx="3271">
                        <c:v>0</c:v>
                      </c:pt>
                      <c:pt idx="3272">
                        <c:v>0</c:v>
                      </c:pt>
                      <c:pt idx="3273">
                        <c:v>0</c:v>
                      </c:pt>
                      <c:pt idx="3274">
                        <c:v>0</c:v>
                      </c:pt>
                      <c:pt idx="3275">
                        <c:v>0</c:v>
                      </c:pt>
                      <c:pt idx="3276">
                        <c:v>0</c:v>
                      </c:pt>
                      <c:pt idx="3277">
                        <c:v>0</c:v>
                      </c:pt>
                      <c:pt idx="3278">
                        <c:v>0</c:v>
                      </c:pt>
                      <c:pt idx="3279">
                        <c:v>0</c:v>
                      </c:pt>
                      <c:pt idx="3280">
                        <c:v>0</c:v>
                      </c:pt>
                      <c:pt idx="3281">
                        <c:v>0</c:v>
                      </c:pt>
                      <c:pt idx="3282">
                        <c:v>0</c:v>
                      </c:pt>
                      <c:pt idx="3283">
                        <c:v>0</c:v>
                      </c:pt>
                      <c:pt idx="3284">
                        <c:v>0</c:v>
                      </c:pt>
                      <c:pt idx="3285">
                        <c:v>0</c:v>
                      </c:pt>
                      <c:pt idx="3286">
                        <c:v>0</c:v>
                      </c:pt>
                      <c:pt idx="3287">
                        <c:v>0</c:v>
                      </c:pt>
                      <c:pt idx="3288">
                        <c:v>0</c:v>
                      </c:pt>
                      <c:pt idx="3289">
                        <c:v>0</c:v>
                      </c:pt>
                      <c:pt idx="3290">
                        <c:v>0</c:v>
                      </c:pt>
                      <c:pt idx="3291">
                        <c:v>0</c:v>
                      </c:pt>
                      <c:pt idx="3292">
                        <c:v>0</c:v>
                      </c:pt>
                      <c:pt idx="3293">
                        <c:v>0</c:v>
                      </c:pt>
                      <c:pt idx="3294">
                        <c:v>0</c:v>
                      </c:pt>
                      <c:pt idx="3295">
                        <c:v>0</c:v>
                      </c:pt>
                      <c:pt idx="3296">
                        <c:v>0</c:v>
                      </c:pt>
                      <c:pt idx="3297">
                        <c:v>0</c:v>
                      </c:pt>
                      <c:pt idx="3298">
                        <c:v>0</c:v>
                      </c:pt>
                      <c:pt idx="3299">
                        <c:v>0</c:v>
                      </c:pt>
                      <c:pt idx="3300">
                        <c:v>0</c:v>
                      </c:pt>
                      <c:pt idx="3301">
                        <c:v>0</c:v>
                      </c:pt>
                      <c:pt idx="3302">
                        <c:v>0</c:v>
                      </c:pt>
                      <c:pt idx="3303">
                        <c:v>0</c:v>
                      </c:pt>
                      <c:pt idx="3304">
                        <c:v>0</c:v>
                      </c:pt>
                      <c:pt idx="3305">
                        <c:v>0</c:v>
                      </c:pt>
                      <c:pt idx="3306">
                        <c:v>0</c:v>
                      </c:pt>
                      <c:pt idx="3307">
                        <c:v>0</c:v>
                      </c:pt>
                      <c:pt idx="3308">
                        <c:v>0</c:v>
                      </c:pt>
                      <c:pt idx="3309">
                        <c:v>0</c:v>
                      </c:pt>
                      <c:pt idx="3310">
                        <c:v>0</c:v>
                      </c:pt>
                      <c:pt idx="3311">
                        <c:v>0</c:v>
                      </c:pt>
                      <c:pt idx="3312">
                        <c:v>0</c:v>
                      </c:pt>
                      <c:pt idx="3313">
                        <c:v>0</c:v>
                      </c:pt>
                      <c:pt idx="3314">
                        <c:v>0</c:v>
                      </c:pt>
                      <c:pt idx="3315">
                        <c:v>0</c:v>
                      </c:pt>
                      <c:pt idx="3316">
                        <c:v>0</c:v>
                      </c:pt>
                      <c:pt idx="3317">
                        <c:v>0</c:v>
                      </c:pt>
                      <c:pt idx="3318">
                        <c:v>0</c:v>
                      </c:pt>
                      <c:pt idx="3319">
                        <c:v>0</c:v>
                      </c:pt>
                      <c:pt idx="3320">
                        <c:v>0</c:v>
                      </c:pt>
                      <c:pt idx="3321">
                        <c:v>0</c:v>
                      </c:pt>
                      <c:pt idx="3322">
                        <c:v>0</c:v>
                      </c:pt>
                      <c:pt idx="3323">
                        <c:v>0</c:v>
                      </c:pt>
                      <c:pt idx="3324">
                        <c:v>0</c:v>
                      </c:pt>
                      <c:pt idx="3325">
                        <c:v>0</c:v>
                      </c:pt>
                      <c:pt idx="3326">
                        <c:v>0</c:v>
                      </c:pt>
                      <c:pt idx="3327">
                        <c:v>0</c:v>
                      </c:pt>
                      <c:pt idx="3328">
                        <c:v>0</c:v>
                      </c:pt>
                      <c:pt idx="3329">
                        <c:v>0</c:v>
                      </c:pt>
                      <c:pt idx="3330">
                        <c:v>0</c:v>
                      </c:pt>
                      <c:pt idx="3331">
                        <c:v>0</c:v>
                      </c:pt>
                      <c:pt idx="3332">
                        <c:v>0</c:v>
                      </c:pt>
                      <c:pt idx="3333">
                        <c:v>0</c:v>
                      </c:pt>
                      <c:pt idx="3334">
                        <c:v>0</c:v>
                      </c:pt>
                      <c:pt idx="3335">
                        <c:v>0</c:v>
                      </c:pt>
                      <c:pt idx="3336">
                        <c:v>0</c:v>
                      </c:pt>
                      <c:pt idx="3337">
                        <c:v>0</c:v>
                      </c:pt>
                      <c:pt idx="3338">
                        <c:v>0</c:v>
                      </c:pt>
                      <c:pt idx="3339">
                        <c:v>0</c:v>
                      </c:pt>
                      <c:pt idx="3340">
                        <c:v>0</c:v>
                      </c:pt>
                      <c:pt idx="3341">
                        <c:v>0</c:v>
                      </c:pt>
                      <c:pt idx="3342">
                        <c:v>0</c:v>
                      </c:pt>
                      <c:pt idx="3343">
                        <c:v>0</c:v>
                      </c:pt>
                      <c:pt idx="3344">
                        <c:v>0</c:v>
                      </c:pt>
                      <c:pt idx="3345">
                        <c:v>0</c:v>
                      </c:pt>
                      <c:pt idx="3346">
                        <c:v>0</c:v>
                      </c:pt>
                      <c:pt idx="3347">
                        <c:v>0</c:v>
                      </c:pt>
                      <c:pt idx="3348">
                        <c:v>0</c:v>
                      </c:pt>
                      <c:pt idx="3349">
                        <c:v>0</c:v>
                      </c:pt>
                      <c:pt idx="3350">
                        <c:v>0</c:v>
                      </c:pt>
                      <c:pt idx="3351">
                        <c:v>0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</c:v>
                      </c:pt>
                      <c:pt idx="3357">
                        <c:v>0</c:v>
                      </c:pt>
                      <c:pt idx="3358">
                        <c:v>0</c:v>
                      </c:pt>
                      <c:pt idx="3359">
                        <c:v>0</c:v>
                      </c:pt>
                      <c:pt idx="3360">
                        <c:v>0</c:v>
                      </c:pt>
                      <c:pt idx="3361">
                        <c:v>0</c:v>
                      </c:pt>
                      <c:pt idx="3362">
                        <c:v>0</c:v>
                      </c:pt>
                      <c:pt idx="3363">
                        <c:v>0</c:v>
                      </c:pt>
                      <c:pt idx="3364">
                        <c:v>0</c:v>
                      </c:pt>
                      <c:pt idx="3365">
                        <c:v>0</c:v>
                      </c:pt>
                      <c:pt idx="3366">
                        <c:v>0</c:v>
                      </c:pt>
                      <c:pt idx="3367">
                        <c:v>0</c:v>
                      </c:pt>
                      <c:pt idx="3368">
                        <c:v>0</c:v>
                      </c:pt>
                      <c:pt idx="3369">
                        <c:v>0</c:v>
                      </c:pt>
                      <c:pt idx="3370">
                        <c:v>0</c:v>
                      </c:pt>
                      <c:pt idx="3371">
                        <c:v>0</c:v>
                      </c:pt>
                      <c:pt idx="3372">
                        <c:v>0</c:v>
                      </c:pt>
                      <c:pt idx="3373">
                        <c:v>0</c:v>
                      </c:pt>
                      <c:pt idx="3374">
                        <c:v>0</c:v>
                      </c:pt>
                      <c:pt idx="3375">
                        <c:v>0</c:v>
                      </c:pt>
                      <c:pt idx="3376">
                        <c:v>0</c:v>
                      </c:pt>
                      <c:pt idx="3377">
                        <c:v>0</c:v>
                      </c:pt>
                      <c:pt idx="3378">
                        <c:v>0</c:v>
                      </c:pt>
                      <c:pt idx="3379">
                        <c:v>0</c:v>
                      </c:pt>
                      <c:pt idx="3380">
                        <c:v>0</c:v>
                      </c:pt>
                      <c:pt idx="3381">
                        <c:v>0</c:v>
                      </c:pt>
                      <c:pt idx="3382">
                        <c:v>0</c:v>
                      </c:pt>
                      <c:pt idx="3383">
                        <c:v>0</c:v>
                      </c:pt>
                      <c:pt idx="3384">
                        <c:v>0</c:v>
                      </c:pt>
                      <c:pt idx="3385">
                        <c:v>0</c:v>
                      </c:pt>
                      <c:pt idx="3386">
                        <c:v>0</c:v>
                      </c:pt>
                      <c:pt idx="3387">
                        <c:v>0</c:v>
                      </c:pt>
                      <c:pt idx="3388">
                        <c:v>0</c:v>
                      </c:pt>
                      <c:pt idx="3389">
                        <c:v>0</c:v>
                      </c:pt>
                      <c:pt idx="3390">
                        <c:v>0</c:v>
                      </c:pt>
                      <c:pt idx="3391">
                        <c:v>0</c:v>
                      </c:pt>
                      <c:pt idx="3392">
                        <c:v>0</c:v>
                      </c:pt>
                      <c:pt idx="3393">
                        <c:v>0</c:v>
                      </c:pt>
                      <c:pt idx="3394">
                        <c:v>0</c:v>
                      </c:pt>
                      <c:pt idx="3395">
                        <c:v>0</c:v>
                      </c:pt>
                      <c:pt idx="3396">
                        <c:v>0</c:v>
                      </c:pt>
                      <c:pt idx="3397">
                        <c:v>0</c:v>
                      </c:pt>
                      <c:pt idx="3398">
                        <c:v>0</c:v>
                      </c:pt>
                      <c:pt idx="3399">
                        <c:v>0</c:v>
                      </c:pt>
                      <c:pt idx="3400">
                        <c:v>0</c:v>
                      </c:pt>
                      <c:pt idx="3401">
                        <c:v>0</c:v>
                      </c:pt>
                      <c:pt idx="3402">
                        <c:v>0</c:v>
                      </c:pt>
                      <c:pt idx="3403">
                        <c:v>0</c:v>
                      </c:pt>
                      <c:pt idx="3404">
                        <c:v>0</c:v>
                      </c:pt>
                      <c:pt idx="3405">
                        <c:v>0</c:v>
                      </c:pt>
                      <c:pt idx="3406">
                        <c:v>0</c:v>
                      </c:pt>
                      <c:pt idx="3407">
                        <c:v>0</c:v>
                      </c:pt>
                      <c:pt idx="3408">
                        <c:v>0</c:v>
                      </c:pt>
                      <c:pt idx="3409">
                        <c:v>0</c:v>
                      </c:pt>
                      <c:pt idx="3410">
                        <c:v>0</c:v>
                      </c:pt>
                      <c:pt idx="3411">
                        <c:v>0</c:v>
                      </c:pt>
                      <c:pt idx="3412">
                        <c:v>0</c:v>
                      </c:pt>
                      <c:pt idx="3413">
                        <c:v>0</c:v>
                      </c:pt>
                      <c:pt idx="3414">
                        <c:v>0</c:v>
                      </c:pt>
                      <c:pt idx="3415">
                        <c:v>0</c:v>
                      </c:pt>
                      <c:pt idx="3416">
                        <c:v>0</c:v>
                      </c:pt>
                      <c:pt idx="3417">
                        <c:v>0</c:v>
                      </c:pt>
                      <c:pt idx="3418">
                        <c:v>0</c:v>
                      </c:pt>
                      <c:pt idx="3419">
                        <c:v>0</c:v>
                      </c:pt>
                      <c:pt idx="3420">
                        <c:v>0</c:v>
                      </c:pt>
                      <c:pt idx="3421">
                        <c:v>0</c:v>
                      </c:pt>
                      <c:pt idx="3422">
                        <c:v>0</c:v>
                      </c:pt>
                      <c:pt idx="3423">
                        <c:v>0</c:v>
                      </c:pt>
                      <c:pt idx="3424">
                        <c:v>0</c:v>
                      </c:pt>
                      <c:pt idx="3425">
                        <c:v>0</c:v>
                      </c:pt>
                      <c:pt idx="3426">
                        <c:v>0</c:v>
                      </c:pt>
                      <c:pt idx="3427">
                        <c:v>0</c:v>
                      </c:pt>
                      <c:pt idx="3428">
                        <c:v>0</c:v>
                      </c:pt>
                      <c:pt idx="3429">
                        <c:v>0</c:v>
                      </c:pt>
                      <c:pt idx="3430">
                        <c:v>0</c:v>
                      </c:pt>
                      <c:pt idx="3431">
                        <c:v>0</c:v>
                      </c:pt>
                      <c:pt idx="3432">
                        <c:v>0</c:v>
                      </c:pt>
                      <c:pt idx="3433">
                        <c:v>0</c:v>
                      </c:pt>
                      <c:pt idx="3434">
                        <c:v>0</c:v>
                      </c:pt>
                      <c:pt idx="3435">
                        <c:v>0</c:v>
                      </c:pt>
                      <c:pt idx="3436">
                        <c:v>0</c:v>
                      </c:pt>
                      <c:pt idx="3437">
                        <c:v>0</c:v>
                      </c:pt>
                      <c:pt idx="3438">
                        <c:v>0</c:v>
                      </c:pt>
                      <c:pt idx="3439">
                        <c:v>0</c:v>
                      </c:pt>
                      <c:pt idx="3440">
                        <c:v>0</c:v>
                      </c:pt>
                      <c:pt idx="3441">
                        <c:v>0</c:v>
                      </c:pt>
                      <c:pt idx="3442">
                        <c:v>0</c:v>
                      </c:pt>
                      <c:pt idx="3443">
                        <c:v>0</c:v>
                      </c:pt>
                      <c:pt idx="3444">
                        <c:v>0</c:v>
                      </c:pt>
                      <c:pt idx="3445">
                        <c:v>0</c:v>
                      </c:pt>
                      <c:pt idx="3446">
                        <c:v>0</c:v>
                      </c:pt>
                      <c:pt idx="3447">
                        <c:v>0</c:v>
                      </c:pt>
                      <c:pt idx="3448">
                        <c:v>0</c:v>
                      </c:pt>
                      <c:pt idx="3449">
                        <c:v>0</c:v>
                      </c:pt>
                      <c:pt idx="3450">
                        <c:v>0</c:v>
                      </c:pt>
                      <c:pt idx="3451">
                        <c:v>0</c:v>
                      </c:pt>
                      <c:pt idx="3452">
                        <c:v>0</c:v>
                      </c:pt>
                      <c:pt idx="3453">
                        <c:v>0</c:v>
                      </c:pt>
                      <c:pt idx="3454">
                        <c:v>0</c:v>
                      </c:pt>
                      <c:pt idx="3455">
                        <c:v>0</c:v>
                      </c:pt>
                      <c:pt idx="3456">
                        <c:v>0</c:v>
                      </c:pt>
                      <c:pt idx="3457">
                        <c:v>0</c:v>
                      </c:pt>
                      <c:pt idx="3458">
                        <c:v>0</c:v>
                      </c:pt>
                      <c:pt idx="3459">
                        <c:v>0</c:v>
                      </c:pt>
                      <c:pt idx="3460">
                        <c:v>0</c:v>
                      </c:pt>
                      <c:pt idx="3461">
                        <c:v>0</c:v>
                      </c:pt>
                      <c:pt idx="3462">
                        <c:v>0</c:v>
                      </c:pt>
                      <c:pt idx="3463">
                        <c:v>0</c:v>
                      </c:pt>
                      <c:pt idx="3464">
                        <c:v>0</c:v>
                      </c:pt>
                      <c:pt idx="3465">
                        <c:v>0</c:v>
                      </c:pt>
                      <c:pt idx="3466">
                        <c:v>0</c:v>
                      </c:pt>
                      <c:pt idx="3467">
                        <c:v>0</c:v>
                      </c:pt>
                      <c:pt idx="3468">
                        <c:v>0</c:v>
                      </c:pt>
                      <c:pt idx="3469">
                        <c:v>0</c:v>
                      </c:pt>
                      <c:pt idx="3470">
                        <c:v>0</c:v>
                      </c:pt>
                      <c:pt idx="3471">
                        <c:v>0</c:v>
                      </c:pt>
                      <c:pt idx="3472">
                        <c:v>0</c:v>
                      </c:pt>
                      <c:pt idx="3473">
                        <c:v>0</c:v>
                      </c:pt>
                      <c:pt idx="3474">
                        <c:v>0</c:v>
                      </c:pt>
                      <c:pt idx="3475">
                        <c:v>0</c:v>
                      </c:pt>
                      <c:pt idx="3476">
                        <c:v>0</c:v>
                      </c:pt>
                      <c:pt idx="3477">
                        <c:v>0</c:v>
                      </c:pt>
                      <c:pt idx="3478">
                        <c:v>0</c:v>
                      </c:pt>
                      <c:pt idx="3479">
                        <c:v>0</c:v>
                      </c:pt>
                      <c:pt idx="3480">
                        <c:v>0</c:v>
                      </c:pt>
                      <c:pt idx="3481">
                        <c:v>0</c:v>
                      </c:pt>
                      <c:pt idx="3482">
                        <c:v>0</c:v>
                      </c:pt>
                      <c:pt idx="3483">
                        <c:v>0</c:v>
                      </c:pt>
                      <c:pt idx="3484">
                        <c:v>0</c:v>
                      </c:pt>
                      <c:pt idx="3485">
                        <c:v>0</c:v>
                      </c:pt>
                      <c:pt idx="3486">
                        <c:v>0</c:v>
                      </c:pt>
                      <c:pt idx="3487">
                        <c:v>0</c:v>
                      </c:pt>
                      <c:pt idx="3488">
                        <c:v>0</c:v>
                      </c:pt>
                      <c:pt idx="3489">
                        <c:v>0</c:v>
                      </c:pt>
                      <c:pt idx="3490">
                        <c:v>0</c:v>
                      </c:pt>
                      <c:pt idx="3491">
                        <c:v>0</c:v>
                      </c:pt>
                      <c:pt idx="3492">
                        <c:v>0</c:v>
                      </c:pt>
                      <c:pt idx="3493">
                        <c:v>0</c:v>
                      </c:pt>
                      <c:pt idx="3494">
                        <c:v>0</c:v>
                      </c:pt>
                      <c:pt idx="3495">
                        <c:v>0</c:v>
                      </c:pt>
                      <c:pt idx="3496">
                        <c:v>0</c:v>
                      </c:pt>
                      <c:pt idx="3497">
                        <c:v>0</c:v>
                      </c:pt>
                      <c:pt idx="3498">
                        <c:v>0</c:v>
                      </c:pt>
                      <c:pt idx="3499">
                        <c:v>0</c:v>
                      </c:pt>
                      <c:pt idx="3500">
                        <c:v>0</c:v>
                      </c:pt>
                      <c:pt idx="3501">
                        <c:v>0</c:v>
                      </c:pt>
                      <c:pt idx="3502">
                        <c:v>0</c:v>
                      </c:pt>
                      <c:pt idx="3503">
                        <c:v>0</c:v>
                      </c:pt>
                      <c:pt idx="3504">
                        <c:v>0</c:v>
                      </c:pt>
                      <c:pt idx="3505">
                        <c:v>0</c:v>
                      </c:pt>
                      <c:pt idx="3506">
                        <c:v>0</c:v>
                      </c:pt>
                      <c:pt idx="3507">
                        <c:v>0</c:v>
                      </c:pt>
                      <c:pt idx="3508">
                        <c:v>0</c:v>
                      </c:pt>
                      <c:pt idx="3509">
                        <c:v>0</c:v>
                      </c:pt>
                      <c:pt idx="3510">
                        <c:v>0</c:v>
                      </c:pt>
                      <c:pt idx="3511">
                        <c:v>0</c:v>
                      </c:pt>
                      <c:pt idx="3512">
                        <c:v>0</c:v>
                      </c:pt>
                      <c:pt idx="3513">
                        <c:v>0</c:v>
                      </c:pt>
                      <c:pt idx="3514">
                        <c:v>0</c:v>
                      </c:pt>
                      <c:pt idx="3515">
                        <c:v>0</c:v>
                      </c:pt>
                      <c:pt idx="3516">
                        <c:v>0</c:v>
                      </c:pt>
                      <c:pt idx="3517">
                        <c:v>0</c:v>
                      </c:pt>
                      <c:pt idx="3518">
                        <c:v>0</c:v>
                      </c:pt>
                      <c:pt idx="3519">
                        <c:v>0</c:v>
                      </c:pt>
                      <c:pt idx="3520">
                        <c:v>0</c:v>
                      </c:pt>
                      <c:pt idx="3521">
                        <c:v>0</c:v>
                      </c:pt>
                      <c:pt idx="3522">
                        <c:v>0</c:v>
                      </c:pt>
                      <c:pt idx="3523">
                        <c:v>0</c:v>
                      </c:pt>
                      <c:pt idx="3524">
                        <c:v>0</c:v>
                      </c:pt>
                      <c:pt idx="3525">
                        <c:v>0</c:v>
                      </c:pt>
                      <c:pt idx="3526">
                        <c:v>0</c:v>
                      </c:pt>
                      <c:pt idx="3527">
                        <c:v>0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0</c:v>
                      </c:pt>
                      <c:pt idx="3533">
                        <c:v>0</c:v>
                      </c:pt>
                      <c:pt idx="3534">
                        <c:v>0</c:v>
                      </c:pt>
                      <c:pt idx="3535">
                        <c:v>0</c:v>
                      </c:pt>
                      <c:pt idx="3536">
                        <c:v>0</c:v>
                      </c:pt>
                      <c:pt idx="3537">
                        <c:v>0</c:v>
                      </c:pt>
                      <c:pt idx="3538">
                        <c:v>0</c:v>
                      </c:pt>
                      <c:pt idx="3539">
                        <c:v>0</c:v>
                      </c:pt>
                      <c:pt idx="3540">
                        <c:v>0</c:v>
                      </c:pt>
                      <c:pt idx="3541">
                        <c:v>0</c:v>
                      </c:pt>
                      <c:pt idx="3542">
                        <c:v>0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</c:v>
                      </c:pt>
                      <c:pt idx="3550">
                        <c:v>0</c:v>
                      </c:pt>
                      <c:pt idx="3551">
                        <c:v>0</c:v>
                      </c:pt>
                      <c:pt idx="3552">
                        <c:v>0</c:v>
                      </c:pt>
                      <c:pt idx="3553">
                        <c:v>0</c:v>
                      </c:pt>
                      <c:pt idx="3554">
                        <c:v>0</c:v>
                      </c:pt>
                      <c:pt idx="3555">
                        <c:v>0</c:v>
                      </c:pt>
                      <c:pt idx="3556">
                        <c:v>0</c:v>
                      </c:pt>
                      <c:pt idx="3557">
                        <c:v>0</c:v>
                      </c:pt>
                      <c:pt idx="3558">
                        <c:v>0</c:v>
                      </c:pt>
                      <c:pt idx="3559">
                        <c:v>0</c:v>
                      </c:pt>
                      <c:pt idx="3560">
                        <c:v>0</c:v>
                      </c:pt>
                      <c:pt idx="3561">
                        <c:v>0</c:v>
                      </c:pt>
                      <c:pt idx="3562">
                        <c:v>0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0</c:v>
                      </c:pt>
                      <c:pt idx="3568">
                        <c:v>0</c:v>
                      </c:pt>
                      <c:pt idx="3569">
                        <c:v>0</c:v>
                      </c:pt>
                      <c:pt idx="3570">
                        <c:v>0</c:v>
                      </c:pt>
                      <c:pt idx="3571">
                        <c:v>0</c:v>
                      </c:pt>
                      <c:pt idx="3572">
                        <c:v>0</c:v>
                      </c:pt>
                      <c:pt idx="3573">
                        <c:v>0</c:v>
                      </c:pt>
                      <c:pt idx="3574">
                        <c:v>0</c:v>
                      </c:pt>
                      <c:pt idx="3575">
                        <c:v>0</c:v>
                      </c:pt>
                      <c:pt idx="3576">
                        <c:v>0</c:v>
                      </c:pt>
                      <c:pt idx="3577">
                        <c:v>0</c:v>
                      </c:pt>
                      <c:pt idx="3578">
                        <c:v>0</c:v>
                      </c:pt>
                      <c:pt idx="3579">
                        <c:v>0</c:v>
                      </c:pt>
                      <c:pt idx="3580">
                        <c:v>0</c:v>
                      </c:pt>
                      <c:pt idx="3581">
                        <c:v>0</c:v>
                      </c:pt>
                      <c:pt idx="3582">
                        <c:v>0</c:v>
                      </c:pt>
                      <c:pt idx="3583">
                        <c:v>0</c:v>
                      </c:pt>
                      <c:pt idx="3584">
                        <c:v>0</c:v>
                      </c:pt>
                      <c:pt idx="3585">
                        <c:v>0</c:v>
                      </c:pt>
                      <c:pt idx="3586">
                        <c:v>0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</c:v>
                      </c:pt>
                      <c:pt idx="3594">
                        <c:v>0</c:v>
                      </c:pt>
                      <c:pt idx="3595">
                        <c:v>0</c:v>
                      </c:pt>
                      <c:pt idx="3596">
                        <c:v>0</c:v>
                      </c:pt>
                      <c:pt idx="3597">
                        <c:v>0</c:v>
                      </c:pt>
                      <c:pt idx="3598">
                        <c:v>0</c:v>
                      </c:pt>
                      <c:pt idx="3599">
                        <c:v>0</c:v>
                      </c:pt>
                      <c:pt idx="3600">
                        <c:v>0</c:v>
                      </c:pt>
                      <c:pt idx="3601">
                        <c:v>0</c:v>
                      </c:pt>
                      <c:pt idx="3602">
                        <c:v>0</c:v>
                      </c:pt>
                      <c:pt idx="3603">
                        <c:v>0</c:v>
                      </c:pt>
                      <c:pt idx="3604">
                        <c:v>0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</c:v>
                      </c:pt>
                      <c:pt idx="3619">
                        <c:v>0</c:v>
                      </c:pt>
                      <c:pt idx="3620">
                        <c:v>0</c:v>
                      </c:pt>
                      <c:pt idx="3621">
                        <c:v>0</c:v>
                      </c:pt>
                      <c:pt idx="3622">
                        <c:v>0</c:v>
                      </c:pt>
                      <c:pt idx="3623">
                        <c:v>0</c:v>
                      </c:pt>
                      <c:pt idx="3624">
                        <c:v>0</c:v>
                      </c:pt>
                      <c:pt idx="3625">
                        <c:v>0</c:v>
                      </c:pt>
                      <c:pt idx="3626">
                        <c:v>0</c:v>
                      </c:pt>
                      <c:pt idx="3627">
                        <c:v>0</c:v>
                      </c:pt>
                      <c:pt idx="3628">
                        <c:v>0</c:v>
                      </c:pt>
                      <c:pt idx="3629">
                        <c:v>0</c:v>
                      </c:pt>
                      <c:pt idx="3630">
                        <c:v>0</c:v>
                      </c:pt>
                      <c:pt idx="3631">
                        <c:v>0</c:v>
                      </c:pt>
                      <c:pt idx="3632">
                        <c:v>0</c:v>
                      </c:pt>
                      <c:pt idx="3633">
                        <c:v>0</c:v>
                      </c:pt>
                      <c:pt idx="3634">
                        <c:v>0</c:v>
                      </c:pt>
                      <c:pt idx="3635">
                        <c:v>0</c:v>
                      </c:pt>
                      <c:pt idx="3636">
                        <c:v>0</c:v>
                      </c:pt>
                      <c:pt idx="3637">
                        <c:v>0</c:v>
                      </c:pt>
                      <c:pt idx="3638">
                        <c:v>0</c:v>
                      </c:pt>
                      <c:pt idx="3639">
                        <c:v>0</c:v>
                      </c:pt>
                      <c:pt idx="3640">
                        <c:v>0</c:v>
                      </c:pt>
                      <c:pt idx="3641">
                        <c:v>0</c:v>
                      </c:pt>
                      <c:pt idx="3642">
                        <c:v>0</c:v>
                      </c:pt>
                      <c:pt idx="3643">
                        <c:v>0</c:v>
                      </c:pt>
                      <c:pt idx="3644">
                        <c:v>0</c:v>
                      </c:pt>
                      <c:pt idx="3645">
                        <c:v>0</c:v>
                      </c:pt>
                      <c:pt idx="3646">
                        <c:v>0</c:v>
                      </c:pt>
                      <c:pt idx="3647">
                        <c:v>0</c:v>
                      </c:pt>
                      <c:pt idx="3648">
                        <c:v>0</c:v>
                      </c:pt>
                      <c:pt idx="3649">
                        <c:v>0</c:v>
                      </c:pt>
                      <c:pt idx="3650">
                        <c:v>0</c:v>
                      </c:pt>
                      <c:pt idx="3651">
                        <c:v>0</c:v>
                      </c:pt>
                      <c:pt idx="3652">
                        <c:v>0</c:v>
                      </c:pt>
                      <c:pt idx="3653">
                        <c:v>0</c:v>
                      </c:pt>
                      <c:pt idx="3654">
                        <c:v>0</c:v>
                      </c:pt>
                      <c:pt idx="3655">
                        <c:v>0</c:v>
                      </c:pt>
                      <c:pt idx="3656">
                        <c:v>0</c:v>
                      </c:pt>
                      <c:pt idx="3657">
                        <c:v>0</c:v>
                      </c:pt>
                      <c:pt idx="3658">
                        <c:v>0</c:v>
                      </c:pt>
                      <c:pt idx="3659">
                        <c:v>0</c:v>
                      </c:pt>
                      <c:pt idx="3660">
                        <c:v>0</c:v>
                      </c:pt>
                      <c:pt idx="3661">
                        <c:v>0</c:v>
                      </c:pt>
                      <c:pt idx="3662">
                        <c:v>0</c:v>
                      </c:pt>
                      <c:pt idx="3663">
                        <c:v>0</c:v>
                      </c:pt>
                      <c:pt idx="3664">
                        <c:v>0</c:v>
                      </c:pt>
                      <c:pt idx="3665">
                        <c:v>0</c:v>
                      </c:pt>
                      <c:pt idx="3666">
                        <c:v>0</c:v>
                      </c:pt>
                      <c:pt idx="3667">
                        <c:v>0</c:v>
                      </c:pt>
                      <c:pt idx="3668">
                        <c:v>0</c:v>
                      </c:pt>
                      <c:pt idx="3669">
                        <c:v>0</c:v>
                      </c:pt>
                      <c:pt idx="3670">
                        <c:v>0</c:v>
                      </c:pt>
                      <c:pt idx="3671">
                        <c:v>0</c:v>
                      </c:pt>
                      <c:pt idx="3672">
                        <c:v>0</c:v>
                      </c:pt>
                      <c:pt idx="3673">
                        <c:v>0</c:v>
                      </c:pt>
                      <c:pt idx="3674">
                        <c:v>0</c:v>
                      </c:pt>
                      <c:pt idx="3675">
                        <c:v>0</c:v>
                      </c:pt>
                      <c:pt idx="3676">
                        <c:v>0</c:v>
                      </c:pt>
                      <c:pt idx="3677">
                        <c:v>0</c:v>
                      </c:pt>
                      <c:pt idx="3678">
                        <c:v>0</c:v>
                      </c:pt>
                      <c:pt idx="3679">
                        <c:v>0</c:v>
                      </c:pt>
                      <c:pt idx="3680">
                        <c:v>0</c:v>
                      </c:pt>
                      <c:pt idx="3681">
                        <c:v>0</c:v>
                      </c:pt>
                      <c:pt idx="3682">
                        <c:v>0</c:v>
                      </c:pt>
                      <c:pt idx="3683">
                        <c:v>0</c:v>
                      </c:pt>
                      <c:pt idx="3684">
                        <c:v>0</c:v>
                      </c:pt>
                      <c:pt idx="3685">
                        <c:v>0</c:v>
                      </c:pt>
                      <c:pt idx="3686">
                        <c:v>0</c:v>
                      </c:pt>
                      <c:pt idx="3687">
                        <c:v>0</c:v>
                      </c:pt>
                      <c:pt idx="3688">
                        <c:v>0</c:v>
                      </c:pt>
                      <c:pt idx="3689">
                        <c:v>0</c:v>
                      </c:pt>
                      <c:pt idx="3690">
                        <c:v>0</c:v>
                      </c:pt>
                      <c:pt idx="3691">
                        <c:v>0</c:v>
                      </c:pt>
                      <c:pt idx="3692">
                        <c:v>0</c:v>
                      </c:pt>
                      <c:pt idx="3693">
                        <c:v>0</c:v>
                      </c:pt>
                      <c:pt idx="3694">
                        <c:v>0</c:v>
                      </c:pt>
                      <c:pt idx="3695">
                        <c:v>0</c:v>
                      </c:pt>
                      <c:pt idx="3696">
                        <c:v>0</c:v>
                      </c:pt>
                      <c:pt idx="3697">
                        <c:v>0</c:v>
                      </c:pt>
                      <c:pt idx="3698">
                        <c:v>0</c:v>
                      </c:pt>
                      <c:pt idx="3699">
                        <c:v>0</c:v>
                      </c:pt>
                      <c:pt idx="3700">
                        <c:v>0</c:v>
                      </c:pt>
                      <c:pt idx="3701">
                        <c:v>0</c:v>
                      </c:pt>
                      <c:pt idx="3702">
                        <c:v>0</c:v>
                      </c:pt>
                      <c:pt idx="3703">
                        <c:v>0</c:v>
                      </c:pt>
                      <c:pt idx="3704">
                        <c:v>0</c:v>
                      </c:pt>
                      <c:pt idx="3705">
                        <c:v>0</c:v>
                      </c:pt>
                      <c:pt idx="3706">
                        <c:v>0</c:v>
                      </c:pt>
                      <c:pt idx="3707">
                        <c:v>0</c:v>
                      </c:pt>
                      <c:pt idx="3708">
                        <c:v>0</c:v>
                      </c:pt>
                      <c:pt idx="3709">
                        <c:v>0</c:v>
                      </c:pt>
                      <c:pt idx="3710">
                        <c:v>0</c:v>
                      </c:pt>
                      <c:pt idx="3711">
                        <c:v>0</c:v>
                      </c:pt>
                      <c:pt idx="3712">
                        <c:v>0</c:v>
                      </c:pt>
                      <c:pt idx="3713">
                        <c:v>0</c:v>
                      </c:pt>
                      <c:pt idx="3714">
                        <c:v>0</c:v>
                      </c:pt>
                      <c:pt idx="3715">
                        <c:v>0</c:v>
                      </c:pt>
                      <c:pt idx="3716">
                        <c:v>0</c:v>
                      </c:pt>
                      <c:pt idx="3717">
                        <c:v>0</c:v>
                      </c:pt>
                      <c:pt idx="3718">
                        <c:v>0</c:v>
                      </c:pt>
                      <c:pt idx="3719">
                        <c:v>0</c:v>
                      </c:pt>
                      <c:pt idx="3720">
                        <c:v>0</c:v>
                      </c:pt>
                      <c:pt idx="3721">
                        <c:v>0</c:v>
                      </c:pt>
                      <c:pt idx="3722">
                        <c:v>0</c:v>
                      </c:pt>
                      <c:pt idx="3723">
                        <c:v>0</c:v>
                      </c:pt>
                      <c:pt idx="3724">
                        <c:v>0</c:v>
                      </c:pt>
                      <c:pt idx="3725">
                        <c:v>0</c:v>
                      </c:pt>
                      <c:pt idx="3726">
                        <c:v>0</c:v>
                      </c:pt>
                      <c:pt idx="3727">
                        <c:v>0</c:v>
                      </c:pt>
                      <c:pt idx="3728">
                        <c:v>0</c:v>
                      </c:pt>
                      <c:pt idx="3729">
                        <c:v>0</c:v>
                      </c:pt>
                      <c:pt idx="3730">
                        <c:v>0</c:v>
                      </c:pt>
                      <c:pt idx="3731">
                        <c:v>0</c:v>
                      </c:pt>
                      <c:pt idx="3732">
                        <c:v>0</c:v>
                      </c:pt>
                      <c:pt idx="3733">
                        <c:v>0</c:v>
                      </c:pt>
                      <c:pt idx="3734">
                        <c:v>0</c:v>
                      </c:pt>
                      <c:pt idx="3735">
                        <c:v>0</c:v>
                      </c:pt>
                      <c:pt idx="3736">
                        <c:v>0</c:v>
                      </c:pt>
                      <c:pt idx="3737">
                        <c:v>0</c:v>
                      </c:pt>
                      <c:pt idx="3738">
                        <c:v>0</c:v>
                      </c:pt>
                      <c:pt idx="3739">
                        <c:v>0</c:v>
                      </c:pt>
                      <c:pt idx="3740">
                        <c:v>0</c:v>
                      </c:pt>
                      <c:pt idx="3741">
                        <c:v>0</c:v>
                      </c:pt>
                      <c:pt idx="3742">
                        <c:v>0</c:v>
                      </c:pt>
                      <c:pt idx="3743">
                        <c:v>0</c:v>
                      </c:pt>
                      <c:pt idx="3744">
                        <c:v>0</c:v>
                      </c:pt>
                      <c:pt idx="3745">
                        <c:v>0</c:v>
                      </c:pt>
                      <c:pt idx="3746">
                        <c:v>0</c:v>
                      </c:pt>
                      <c:pt idx="3747">
                        <c:v>0</c:v>
                      </c:pt>
                      <c:pt idx="3748">
                        <c:v>0</c:v>
                      </c:pt>
                      <c:pt idx="3749">
                        <c:v>0</c:v>
                      </c:pt>
                      <c:pt idx="3750">
                        <c:v>0</c:v>
                      </c:pt>
                      <c:pt idx="3751">
                        <c:v>0</c:v>
                      </c:pt>
                      <c:pt idx="3752">
                        <c:v>0</c:v>
                      </c:pt>
                      <c:pt idx="3753">
                        <c:v>0</c:v>
                      </c:pt>
                      <c:pt idx="3754">
                        <c:v>0</c:v>
                      </c:pt>
                      <c:pt idx="3755">
                        <c:v>0</c:v>
                      </c:pt>
                      <c:pt idx="3756">
                        <c:v>0</c:v>
                      </c:pt>
                      <c:pt idx="3757">
                        <c:v>0</c:v>
                      </c:pt>
                      <c:pt idx="3758">
                        <c:v>0</c:v>
                      </c:pt>
                      <c:pt idx="3759">
                        <c:v>0</c:v>
                      </c:pt>
                      <c:pt idx="3760">
                        <c:v>0</c:v>
                      </c:pt>
                      <c:pt idx="3761">
                        <c:v>0</c:v>
                      </c:pt>
                      <c:pt idx="3762">
                        <c:v>0</c:v>
                      </c:pt>
                      <c:pt idx="3763">
                        <c:v>0</c:v>
                      </c:pt>
                      <c:pt idx="3764">
                        <c:v>0</c:v>
                      </c:pt>
                      <c:pt idx="3765">
                        <c:v>0</c:v>
                      </c:pt>
                      <c:pt idx="3766">
                        <c:v>0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</c:v>
                      </c:pt>
                      <c:pt idx="3774">
                        <c:v>0</c:v>
                      </c:pt>
                      <c:pt idx="3775">
                        <c:v>0</c:v>
                      </c:pt>
                      <c:pt idx="3776">
                        <c:v>0</c:v>
                      </c:pt>
                      <c:pt idx="3777">
                        <c:v>0</c:v>
                      </c:pt>
                      <c:pt idx="3778">
                        <c:v>0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0</c:v>
                      </c:pt>
                      <c:pt idx="3783">
                        <c:v>0</c:v>
                      </c:pt>
                      <c:pt idx="3784">
                        <c:v>0</c:v>
                      </c:pt>
                      <c:pt idx="3785">
                        <c:v>0</c:v>
                      </c:pt>
                      <c:pt idx="3786">
                        <c:v>0</c:v>
                      </c:pt>
                      <c:pt idx="3787">
                        <c:v>0</c:v>
                      </c:pt>
                      <c:pt idx="3788">
                        <c:v>0</c:v>
                      </c:pt>
                      <c:pt idx="3789">
                        <c:v>0</c:v>
                      </c:pt>
                      <c:pt idx="3790">
                        <c:v>0</c:v>
                      </c:pt>
                      <c:pt idx="3791">
                        <c:v>0</c:v>
                      </c:pt>
                      <c:pt idx="3792">
                        <c:v>0</c:v>
                      </c:pt>
                      <c:pt idx="3793">
                        <c:v>0</c:v>
                      </c:pt>
                      <c:pt idx="3794">
                        <c:v>0</c:v>
                      </c:pt>
                      <c:pt idx="3795">
                        <c:v>0</c:v>
                      </c:pt>
                      <c:pt idx="3796">
                        <c:v>0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0</c:v>
                      </c:pt>
                      <c:pt idx="3807">
                        <c:v>0</c:v>
                      </c:pt>
                      <c:pt idx="3808">
                        <c:v>0</c:v>
                      </c:pt>
                      <c:pt idx="3809">
                        <c:v>0</c:v>
                      </c:pt>
                      <c:pt idx="3810">
                        <c:v>0</c:v>
                      </c:pt>
                      <c:pt idx="3811">
                        <c:v>0</c:v>
                      </c:pt>
                      <c:pt idx="3812">
                        <c:v>0</c:v>
                      </c:pt>
                      <c:pt idx="3813">
                        <c:v>0</c:v>
                      </c:pt>
                      <c:pt idx="3814">
                        <c:v>0</c:v>
                      </c:pt>
                      <c:pt idx="3815">
                        <c:v>0</c:v>
                      </c:pt>
                      <c:pt idx="3816">
                        <c:v>0</c:v>
                      </c:pt>
                      <c:pt idx="3817">
                        <c:v>0</c:v>
                      </c:pt>
                      <c:pt idx="3818">
                        <c:v>0</c:v>
                      </c:pt>
                      <c:pt idx="3819">
                        <c:v>0</c:v>
                      </c:pt>
                      <c:pt idx="3820">
                        <c:v>0</c:v>
                      </c:pt>
                      <c:pt idx="3821">
                        <c:v>0</c:v>
                      </c:pt>
                      <c:pt idx="3822">
                        <c:v>0</c:v>
                      </c:pt>
                      <c:pt idx="3823">
                        <c:v>0</c:v>
                      </c:pt>
                      <c:pt idx="3824">
                        <c:v>0</c:v>
                      </c:pt>
                      <c:pt idx="3825">
                        <c:v>0</c:v>
                      </c:pt>
                      <c:pt idx="3826">
                        <c:v>0</c:v>
                      </c:pt>
                      <c:pt idx="3827">
                        <c:v>0</c:v>
                      </c:pt>
                      <c:pt idx="3828">
                        <c:v>0</c:v>
                      </c:pt>
                      <c:pt idx="3829">
                        <c:v>0</c:v>
                      </c:pt>
                      <c:pt idx="3830">
                        <c:v>0</c:v>
                      </c:pt>
                      <c:pt idx="3831">
                        <c:v>0</c:v>
                      </c:pt>
                      <c:pt idx="3832">
                        <c:v>0</c:v>
                      </c:pt>
                      <c:pt idx="3833">
                        <c:v>0</c:v>
                      </c:pt>
                      <c:pt idx="3834">
                        <c:v>0</c:v>
                      </c:pt>
                      <c:pt idx="3835">
                        <c:v>0</c:v>
                      </c:pt>
                      <c:pt idx="3836">
                        <c:v>0</c:v>
                      </c:pt>
                      <c:pt idx="3837">
                        <c:v>0</c:v>
                      </c:pt>
                      <c:pt idx="3838">
                        <c:v>0</c:v>
                      </c:pt>
                      <c:pt idx="3839">
                        <c:v>0</c:v>
                      </c:pt>
                      <c:pt idx="3840">
                        <c:v>0</c:v>
                      </c:pt>
                      <c:pt idx="3841">
                        <c:v>0</c:v>
                      </c:pt>
                      <c:pt idx="3842">
                        <c:v>0</c:v>
                      </c:pt>
                      <c:pt idx="3843">
                        <c:v>0</c:v>
                      </c:pt>
                      <c:pt idx="3844">
                        <c:v>0</c:v>
                      </c:pt>
                      <c:pt idx="3845">
                        <c:v>0</c:v>
                      </c:pt>
                      <c:pt idx="3846">
                        <c:v>0</c:v>
                      </c:pt>
                      <c:pt idx="3847">
                        <c:v>0</c:v>
                      </c:pt>
                      <c:pt idx="3848">
                        <c:v>0</c:v>
                      </c:pt>
                      <c:pt idx="3849">
                        <c:v>0</c:v>
                      </c:pt>
                      <c:pt idx="3850">
                        <c:v>0</c:v>
                      </c:pt>
                      <c:pt idx="3851">
                        <c:v>0</c:v>
                      </c:pt>
                      <c:pt idx="3852">
                        <c:v>0</c:v>
                      </c:pt>
                      <c:pt idx="3853">
                        <c:v>0</c:v>
                      </c:pt>
                      <c:pt idx="3854">
                        <c:v>0</c:v>
                      </c:pt>
                      <c:pt idx="3855">
                        <c:v>0</c:v>
                      </c:pt>
                      <c:pt idx="3856">
                        <c:v>0</c:v>
                      </c:pt>
                      <c:pt idx="3857">
                        <c:v>0</c:v>
                      </c:pt>
                      <c:pt idx="3858">
                        <c:v>0</c:v>
                      </c:pt>
                      <c:pt idx="3859">
                        <c:v>0</c:v>
                      </c:pt>
                      <c:pt idx="3860">
                        <c:v>0</c:v>
                      </c:pt>
                      <c:pt idx="3861">
                        <c:v>0</c:v>
                      </c:pt>
                      <c:pt idx="3862">
                        <c:v>0</c:v>
                      </c:pt>
                      <c:pt idx="3863">
                        <c:v>0</c:v>
                      </c:pt>
                      <c:pt idx="3864">
                        <c:v>0</c:v>
                      </c:pt>
                      <c:pt idx="3865">
                        <c:v>0</c:v>
                      </c:pt>
                      <c:pt idx="3866">
                        <c:v>0</c:v>
                      </c:pt>
                      <c:pt idx="3867">
                        <c:v>0</c:v>
                      </c:pt>
                      <c:pt idx="3868">
                        <c:v>0</c:v>
                      </c:pt>
                      <c:pt idx="3869">
                        <c:v>0</c:v>
                      </c:pt>
                      <c:pt idx="3870">
                        <c:v>0</c:v>
                      </c:pt>
                      <c:pt idx="3871">
                        <c:v>0</c:v>
                      </c:pt>
                      <c:pt idx="3872">
                        <c:v>0</c:v>
                      </c:pt>
                      <c:pt idx="3873">
                        <c:v>0</c:v>
                      </c:pt>
                      <c:pt idx="3874">
                        <c:v>0</c:v>
                      </c:pt>
                      <c:pt idx="3875">
                        <c:v>0</c:v>
                      </c:pt>
                      <c:pt idx="3876">
                        <c:v>0</c:v>
                      </c:pt>
                      <c:pt idx="3877">
                        <c:v>0</c:v>
                      </c:pt>
                      <c:pt idx="3878">
                        <c:v>0</c:v>
                      </c:pt>
                      <c:pt idx="3879">
                        <c:v>0</c:v>
                      </c:pt>
                      <c:pt idx="3880">
                        <c:v>0</c:v>
                      </c:pt>
                      <c:pt idx="3881">
                        <c:v>0</c:v>
                      </c:pt>
                      <c:pt idx="3882">
                        <c:v>0</c:v>
                      </c:pt>
                      <c:pt idx="3883">
                        <c:v>0</c:v>
                      </c:pt>
                      <c:pt idx="3884">
                        <c:v>0</c:v>
                      </c:pt>
                      <c:pt idx="3885">
                        <c:v>0</c:v>
                      </c:pt>
                      <c:pt idx="3886">
                        <c:v>0</c:v>
                      </c:pt>
                      <c:pt idx="3887">
                        <c:v>0</c:v>
                      </c:pt>
                      <c:pt idx="3888">
                        <c:v>0</c:v>
                      </c:pt>
                      <c:pt idx="3889">
                        <c:v>0</c:v>
                      </c:pt>
                      <c:pt idx="3890">
                        <c:v>0</c:v>
                      </c:pt>
                      <c:pt idx="3891">
                        <c:v>0</c:v>
                      </c:pt>
                      <c:pt idx="3892">
                        <c:v>0</c:v>
                      </c:pt>
                      <c:pt idx="3893">
                        <c:v>0</c:v>
                      </c:pt>
                      <c:pt idx="3894">
                        <c:v>0</c:v>
                      </c:pt>
                      <c:pt idx="3895">
                        <c:v>0</c:v>
                      </c:pt>
                      <c:pt idx="3896">
                        <c:v>0</c:v>
                      </c:pt>
                      <c:pt idx="3897">
                        <c:v>0</c:v>
                      </c:pt>
                      <c:pt idx="3898">
                        <c:v>0</c:v>
                      </c:pt>
                      <c:pt idx="3899">
                        <c:v>0</c:v>
                      </c:pt>
                      <c:pt idx="3900">
                        <c:v>0</c:v>
                      </c:pt>
                      <c:pt idx="3901">
                        <c:v>0</c:v>
                      </c:pt>
                      <c:pt idx="3902">
                        <c:v>0</c:v>
                      </c:pt>
                      <c:pt idx="3903">
                        <c:v>0</c:v>
                      </c:pt>
                      <c:pt idx="3904">
                        <c:v>0</c:v>
                      </c:pt>
                      <c:pt idx="3905">
                        <c:v>0</c:v>
                      </c:pt>
                      <c:pt idx="3906">
                        <c:v>0</c:v>
                      </c:pt>
                      <c:pt idx="3907">
                        <c:v>0</c:v>
                      </c:pt>
                      <c:pt idx="3908">
                        <c:v>0</c:v>
                      </c:pt>
                      <c:pt idx="3909">
                        <c:v>0</c:v>
                      </c:pt>
                      <c:pt idx="3910">
                        <c:v>0</c:v>
                      </c:pt>
                      <c:pt idx="3911">
                        <c:v>0</c:v>
                      </c:pt>
                      <c:pt idx="3912">
                        <c:v>0</c:v>
                      </c:pt>
                      <c:pt idx="3913">
                        <c:v>0</c:v>
                      </c:pt>
                      <c:pt idx="3914">
                        <c:v>0</c:v>
                      </c:pt>
                      <c:pt idx="3915">
                        <c:v>0</c:v>
                      </c:pt>
                      <c:pt idx="3916">
                        <c:v>0</c:v>
                      </c:pt>
                      <c:pt idx="3917">
                        <c:v>0</c:v>
                      </c:pt>
                      <c:pt idx="3918">
                        <c:v>0</c:v>
                      </c:pt>
                      <c:pt idx="3919">
                        <c:v>0</c:v>
                      </c:pt>
                      <c:pt idx="3920">
                        <c:v>0</c:v>
                      </c:pt>
                      <c:pt idx="3921">
                        <c:v>0</c:v>
                      </c:pt>
                      <c:pt idx="3922">
                        <c:v>0</c:v>
                      </c:pt>
                      <c:pt idx="3923">
                        <c:v>0</c:v>
                      </c:pt>
                      <c:pt idx="3924">
                        <c:v>0</c:v>
                      </c:pt>
                      <c:pt idx="3925">
                        <c:v>0</c:v>
                      </c:pt>
                      <c:pt idx="3926">
                        <c:v>0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0</c:v>
                      </c:pt>
                      <c:pt idx="3931">
                        <c:v>0</c:v>
                      </c:pt>
                      <c:pt idx="3932">
                        <c:v>0</c:v>
                      </c:pt>
                      <c:pt idx="3933">
                        <c:v>0</c:v>
                      </c:pt>
                      <c:pt idx="3934">
                        <c:v>0</c:v>
                      </c:pt>
                      <c:pt idx="3935">
                        <c:v>0</c:v>
                      </c:pt>
                      <c:pt idx="3936">
                        <c:v>0</c:v>
                      </c:pt>
                      <c:pt idx="3937">
                        <c:v>0</c:v>
                      </c:pt>
                      <c:pt idx="3938">
                        <c:v>0</c:v>
                      </c:pt>
                      <c:pt idx="3939">
                        <c:v>0</c:v>
                      </c:pt>
                      <c:pt idx="3940">
                        <c:v>0</c:v>
                      </c:pt>
                      <c:pt idx="3941">
                        <c:v>0</c:v>
                      </c:pt>
                      <c:pt idx="3942">
                        <c:v>0</c:v>
                      </c:pt>
                      <c:pt idx="3943">
                        <c:v>0</c:v>
                      </c:pt>
                      <c:pt idx="3944">
                        <c:v>0</c:v>
                      </c:pt>
                      <c:pt idx="3945">
                        <c:v>0</c:v>
                      </c:pt>
                      <c:pt idx="3946">
                        <c:v>0</c:v>
                      </c:pt>
                      <c:pt idx="3947">
                        <c:v>0</c:v>
                      </c:pt>
                      <c:pt idx="3948">
                        <c:v>0</c:v>
                      </c:pt>
                      <c:pt idx="3949">
                        <c:v>0</c:v>
                      </c:pt>
                      <c:pt idx="3950">
                        <c:v>0</c:v>
                      </c:pt>
                      <c:pt idx="3951">
                        <c:v>0</c:v>
                      </c:pt>
                      <c:pt idx="3952">
                        <c:v>0</c:v>
                      </c:pt>
                      <c:pt idx="3953">
                        <c:v>0</c:v>
                      </c:pt>
                      <c:pt idx="3954">
                        <c:v>0</c:v>
                      </c:pt>
                      <c:pt idx="3955">
                        <c:v>0</c:v>
                      </c:pt>
                      <c:pt idx="3956">
                        <c:v>0</c:v>
                      </c:pt>
                      <c:pt idx="3957">
                        <c:v>0</c:v>
                      </c:pt>
                      <c:pt idx="3958">
                        <c:v>0</c:v>
                      </c:pt>
                      <c:pt idx="3959">
                        <c:v>0</c:v>
                      </c:pt>
                      <c:pt idx="3960">
                        <c:v>0</c:v>
                      </c:pt>
                      <c:pt idx="3961">
                        <c:v>0</c:v>
                      </c:pt>
                      <c:pt idx="3962">
                        <c:v>0</c:v>
                      </c:pt>
                      <c:pt idx="3963">
                        <c:v>0</c:v>
                      </c:pt>
                      <c:pt idx="3964">
                        <c:v>0</c:v>
                      </c:pt>
                      <c:pt idx="3965">
                        <c:v>0</c:v>
                      </c:pt>
                      <c:pt idx="3966">
                        <c:v>0</c:v>
                      </c:pt>
                      <c:pt idx="3967">
                        <c:v>0</c:v>
                      </c:pt>
                      <c:pt idx="3968">
                        <c:v>0</c:v>
                      </c:pt>
                      <c:pt idx="3969">
                        <c:v>0</c:v>
                      </c:pt>
                      <c:pt idx="3970">
                        <c:v>0</c:v>
                      </c:pt>
                      <c:pt idx="3971">
                        <c:v>0</c:v>
                      </c:pt>
                      <c:pt idx="3972">
                        <c:v>0</c:v>
                      </c:pt>
                      <c:pt idx="3973">
                        <c:v>0</c:v>
                      </c:pt>
                      <c:pt idx="3974">
                        <c:v>0</c:v>
                      </c:pt>
                      <c:pt idx="3975">
                        <c:v>0</c:v>
                      </c:pt>
                      <c:pt idx="3976">
                        <c:v>0</c:v>
                      </c:pt>
                      <c:pt idx="3977">
                        <c:v>0</c:v>
                      </c:pt>
                      <c:pt idx="3978">
                        <c:v>0</c:v>
                      </c:pt>
                      <c:pt idx="3979">
                        <c:v>0</c:v>
                      </c:pt>
                      <c:pt idx="3980">
                        <c:v>0</c:v>
                      </c:pt>
                      <c:pt idx="3981">
                        <c:v>0</c:v>
                      </c:pt>
                      <c:pt idx="3982">
                        <c:v>0</c:v>
                      </c:pt>
                      <c:pt idx="3983">
                        <c:v>0</c:v>
                      </c:pt>
                      <c:pt idx="3984">
                        <c:v>0</c:v>
                      </c:pt>
                      <c:pt idx="3985">
                        <c:v>0</c:v>
                      </c:pt>
                      <c:pt idx="3986">
                        <c:v>0</c:v>
                      </c:pt>
                      <c:pt idx="3987">
                        <c:v>0</c:v>
                      </c:pt>
                      <c:pt idx="3988">
                        <c:v>0</c:v>
                      </c:pt>
                      <c:pt idx="3989">
                        <c:v>0</c:v>
                      </c:pt>
                      <c:pt idx="3990">
                        <c:v>0</c:v>
                      </c:pt>
                      <c:pt idx="3991">
                        <c:v>0</c:v>
                      </c:pt>
                      <c:pt idx="3992">
                        <c:v>0</c:v>
                      </c:pt>
                      <c:pt idx="3993">
                        <c:v>0</c:v>
                      </c:pt>
                      <c:pt idx="3994">
                        <c:v>0</c:v>
                      </c:pt>
                      <c:pt idx="3995">
                        <c:v>0</c:v>
                      </c:pt>
                      <c:pt idx="3996">
                        <c:v>0</c:v>
                      </c:pt>
                      <c:pt idx="3997">
                        <c:v>0</c:v>
                      </c:pt>
                      <c:pt idx="3998">
                        <c:v>0</c:v>
                      </c:pt>
                      <c:pt idx="3999">
                        <c:v>0</c:v>
                      </c:pt>
                      <c:pt idx="4000">
                        <c:v>0</c:v>
                      </c:pt>
                      <c:pt idx="4001">
                        <c:v>0</c:v>
                      </c:pt>
                      <c:pt idx="4002">
                        <c:v>0</c:v>
                      </c:pt>
                      <c:pt idx="4003">
                        <c:v>0</c:v>
                      </c:pt>
                      <c:pt idx="4004">
                        <c:v>0</c:v>
                      </c:pt>
                      <c:pt idx="4005">
                        <c:v>0</c:v>
                      </c:pt>
                      <c:pt idx="4006">
                        <c:v>0</c:v>
                      </c:pt>
                      <c:pt idx="4007">
                        <c:v>0</c:v>
                      </c:pt>
                      <c:pt idx="4008">
                        <c:v>0</c:v>
                      </c:pt>
                      <c:pt idx="4009">
                        <c:v>0</c:v>
                      </c:pt>
                      <c:pt idx="4010">
                        <c:v>0</c:v>
                      </c:pt>
                      <c:pt idx="4011">
                        <c:v>0</c:v>
                      </c:pt>
                      <c:pt idx="4012">
                        <c:v>0</c:v>
                      </c:pt>
                      <c:pt idx="4013">
                        <c:v>0</c:v>
                      </c:pt>
                      <c:pt idx="4014">
                        <c:v>0</c:v>
                      </c:pt>
                      <c:pt idx="4015">
                        <c:v>0</c:v>
                      </c:pt>
                      <c:pt idx="4016">
                        <c:v>0</c:v>
                      </c:pt>
                      <c:pt idx="4017">
                        <c:v>0</c:v>
                      </c:pt>
                      <c:pt idx="4018">
                        <c:v>0</c:v>
                      </c:pt>
                      <c:pt idx="4019">
                        <c:v>0</c:v>
                      </c:pt>
                      <c:pt idx="4020">
                        <c:v>0</c:v>
                      </c:pt>
                      <c:pt idx="4021">
                        <c:v>0</c:v>
                      </c:pt>
                      <c:pt idx="4022">
                        <c:v>0</c:v>
                      </c:pt>
                      <c:pt idx="4023">
                        <c:v>0</c:v>
                      </c:pt>
                      <c:pt idx="4024">
                        <c:v>0</c:v>
                      </c:pt>
                      <c:pt idx="4025">
                        <c:v>0</c:v>
                      </c:pt>
                      <c:pt idx="4026">
                        <c:v>0</c:v>
                      </c:pt>
                      <c:pt idx="4027">
                        <c:v>0</c:v>
                      </c:pt>
                      <c:pt idx="4028">
                        <c:v>0</c:v>
                      </c:pt>
                      <c:pt idx="4029">
                        <c:v>0</c:v>
                      </c:pt>
                      <c:pt idx="4030">
                        <c:v>0</c:v>
                      </c:pt>
                      <c:pt idx="4031">
                        <c:v>0</c:v>
                      </c:pt>
                      <c:pt idx="4032">
                        <c:v>0</c:v>
                      </c:pt>
                      <c:pt idx="4033">
                        <c:v>0</c:v>
                      </c:pt>
                      <c:pt idx="4034">
                        <c:v>0</c:v>
                      </c:pt>
                      <c:pt idx="4035">
                        <c:v>0</c:v>
                      </c:pt>
                      <c:pt idx="4036">
                        <c:v>0</c:v>
                      </c:pt>
                      <c:pt idx="4037">
                        <c:v>0</c:v>
                      </c:pt>
                      <c:pt idx="4038">
                        <c:v>0</c:v>
                      </c:pt>
                      <c:pt idx="4039">
                        <c:v>0</c:v>
                      </c:pt>
                      <c:pt idx="4040">
                        <c:v>0</c:v>
                      </c:pt>
                      <c:pt idx="4041">
                        <c:v>0</c:v>
                      </c:pt>
                      <c:pt idx="4042">
                        <c:v>0</c:v>
                      </c:pt>
                      <c:pt idx="4043">
                        <c:v>0</c:v>
                      </c:pt>
                      <c:pt idx="4044">
                        <c:v>0</c:v>
                      </c:pt>
                      <c:pt idx="4045">
                        <c:v>0</c:v>
                      </c:pt>
                      <c:pt idx="4046">
                        <c:v>0</c:v>
                      </c:pt>
                      <c:pt idx="4047">
                        <c:v>0</c:v>
                      </c:pt>
                      <c:pt idx="4048">
                        <c:v>0</c:v>
                      </c:pt>
                      <c:pt idx="4049">
                        <c:v>0</c:v>
                      </c:pt>
                      <c:pt idx="4050">
                        <c:v>0</c:v>
                      </c:pt>
                      <c:pt idx="4051">
                        <c:v>0</c:v>
                      </c:pt>
                      <c:pt idx="4052">
                        <c:v>0</c:v>
                      </c:pt>
                      <c:pt idx="4053">
                        <c:v>0</c:v>
                      </c:pt>
                      <c:pt idx="4054">
                        <c:v>0</c:v>
                      </c:pt>
                      <c:pt idx="4055">
                        <c:v>0</c:v>
                      </c:pt>
                      <c:pt idx="4056">
                        <c:v>0</c:v>
                      </c:pt>
                      <c:pt idx="4057">
                        <c:v>0</c:v>
                      </c:pt>
                      <c:pt idx="4058">
                        <c:v>0</c:v>
                      </c:pt>
                      <c:pt idx="4059">
                        <c:v>0</c:v>
                      </c:pt>
                      <c:pt idx="4060">
                        <c:v>0</c:v>
                      </c:pt>
                      <c:pt idx="4061">
                        <c:v>0</c:v>
                      </c:pt>
                      <c:pt idx="4062">
                        <c:v>0</c:v>
                      </c:pt>
                      <c:pt idx="4063">
                        <c:v>0</c:v>
                      </c:pt>
                      <c:pt idx="4064">
                        <c:v>0</c:v>
                      </c:pt>
                      <c:pt idx="4065">
                        <c:v>0</c:v>
                      </c:pt>
                      <c:pt idx="4066">
                        <c:v>0</c:v>
                      </c:pt>
                      <c:pt idx="4067">
                        <c:v>0</c:v>
                      </c:pt>
                      <c:pt idx="4068">
                        <c:v>0</c:v>
                      </c:pt>
                      <c:pt idx="4069">
                        <c:v>0</c:v>
                      </c:pt>
                      <c:pt idx="4070">
                        <c:v>0</c:v>
                      </c:pt>
                      <c:pt idx="4071">
                        <c:v>0</c:v>
                      </c:pt>
                      <c:pt idx="4072">
                        <c:v>0</c:v>
                      </c:pt>
                      <c:pt idx="4073">
                        <c:v>0</c:v>
                      </c:pt>
                      <c:pt idx="4074">
                        <c:v>0</c:v>
                      </c:pt>
                      <c:pt idx="4075">
                        <c:v>0</c:v>
                      </c:pt>
                      <c:pt idx="4076">
                        <c:v>0</c:v>
                      </c:pt>
                      <c:pt idx="4077">
                        <c:v>0</c:v>
                      </c:pt>
                      <c:pt idx="4078">
                        <c:v>0</c:v>
                      </c:pt>
                      <c:pt idx="4079">
                        <c:v>0</c:v>
                      </c:pt>
                      <c:pt idx="4080">
                        <c:v>0</c:v>
                      </c:pt>
                      <c:pt idx="4081">
                        <c:v>0</c:v>
                      </c:pt>
                      <c:pt idx="4082">
                        <c:v>0</c:v>
                      </c:pt>
                      <c:pt idx="4083">
                        <c:v>0</c:v>
                      </c:pt>
                      <c:pt idx="4084">
                        <c:v>0</c:v>
                      </c:pt>
                      <c:pt idx="4085">
                        <c:v>0</c:v>
                      </c:pt>
                      <c:pt idx="4086">
                        <c:v>0</c:v>
                      </c:pt>
                      <c:pt idx="4087">
                        <c:v>0</c:v>
                      </c:pt>
                      <c:pt idx="4088">
                        <c:v>0</c:v>
                      </c:pt>
                      <c:pt idx="4089">
                        <c:v>0</c:v>
                      </c:pt>
                      <c:pt idx="4090">
                        <c:v>0</c:v>
                      </c:pt>
                      <c:pt idx="4091">
                        <c:v>0</c:v>
                      </c:pt>
                      <c:pt idx="4092">
                        <c:v>0</c:v>
                      </c:pt>
                      <c:pt idx="4093">
                        <c:v>0</c:v>
                      </c:pt>
                      <c:pt idx="4094">
                        <c:v>0</c:v>
                      </c:pt>
                      <c:pt idx="4095">
                        <c:v>0</c:v>
                      </c:pt>
                      <c:pt idx="4096">
                        <c:v>0</c:v>
                      </c:pt>
                      <c:pt idx="4097">
                        <c:v>0</c:v>
                      </c:pt>
                      <c:pt idx="4098">
                        <c:v>0</c:v>
                      </c:pt>
                      <c:pt idx="4099">
                        <c:v>0</c:v>
                      </c:pt>
                      <c:pt idx="4100">
                        <c:v>0</c:v>
                      </c:pt>
                      <c:pt idx="4101">
                        <c:v>0</c:v>
                      </c:pt>
                      <c:pt idx="4102">
                        <c:v>0</c:v>
                      </c:pt>
                      <c:pt idx="4103">
                        <c:v>0</c:v>
                      </c:pt>
                      <c:pt idx="4104">
                        <c:v>0</c:v>
                      </c:pt>
                      <c:pt idx="4105">
                        <c:v>0</c:v>
                      </c:pt>
                      <c:pt idx="4106">
                        <c:v>0</c:v>
                      </c:pt>
                      <c:pt idx="4107">
                        <c:v>0</c:v>
                      </c:pt>
                      <c:pt idx="4108">
                        <c:v>0</c:v>
                      </c:pt>
                      <c:pt idx="4109">
                        <c:v>0</c:v>
                      </c:pt>
                      <c:pt idx="4110">
                        <c:v>0</c:v>
                      </c:pt>
                      <c:pt idx="4111">
                        <c:v>0</c:v>
                      </c:pt>
                      <c:pt idx="4112">
                        <c:v>0</c:v>
                      </c:pt>
                      <c:pt idx="4113">
                        <c:v>0</c:v>
                      </c:pt>
                      <c:pt idx="4114">
                        <c:v>0</c:v>
                      </c:pt>
                      <c:pt idx="4115">
                        <c:v>0</c:v>
                      </c:pt>
                      <c:pt idx="4116">
                        <c:v>0</c:v>
                      </c:pt>
                      <c:pt idx="4117">
                        <c:v>0</c:v>
                      </c:pt>
                      <c:pt idx="4118">
                        <c:v>0</c:v>
                      </c:pt>
                      <c:pt idx="4119">
                        <c:v>0</c:v>
                      </c:pt>
                      <c:pt idx="4120">
                        <c:v>0</c:v>
                      </c:pt>
                      <c:pt idx="4121">
                        <c:v>0</c:v>
                      </c:pt>
                      <c:pt idx="4122">
                        <c:v>0</c:v>
                      </c:pt>
                      <c:pt idx="4123">
                        <c:v>0</c:v>
                      </c:pt>
                      <c:pt idx="4124">
                        <c:v>0</c:v>
                      </c:pt>
                      <c:pt idx="4125">
                        <c:v>0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0</c:v>
                      </c:pt>
                      <c:pt idx="4132">
                        <c:v>0</c:v>
                      </c:pt>
                      <c:pt idx="4133">
                        <c:v>0</c:v>
                      </c:pt>
                      <c:pt idx="4134">
                        <c:v>0</c:v>
                      </c:pt>
                      <c:pt idx="4135">
                        <c:v>0</c:v>
                      </c:pt>
                      <c:pt idx="4136">
                        <c:v>0</c:v>
                      </c:pt>
                      <c:pt idx="4137">
                        <c:v>0</c:v>
                      </c:pt>
                      <c:pt idx="4138">
                        <c:v>0</c:v>
                      </c:pt>
                      <c:pt idx="4139">
                        <c:v>0</c:v>
                      </c:pt>
                      <c:pt idx="4140">
                        <c:v>0</c:v>
                      </c:pt>
                      <c:pt idx="4141">
                        <c:v>0</c:v>
                      </c:pt>
                      <c:pt idx="4142">
                        <c:v>0</c:v>
                      </c:pt>
                      <c:pt idx="4143">
                        <c:v>0</c:v>
                      </c:pt>
                      <c:pt idx="4144">
                        <c:v>0</c:v>
                      </c:pt>
                      <c:pt idx="4145">
                        <c:v>0</c:v>
                      </c:pt>
                      <c:pt idx="4146">
                        <c:v>0</c:v>
                      </c:pt>
                      <c:pt idx="4147">
                        <c:v>0</c:v>
                      </c:pt>
                      <c:pt idx="4148">
                        <c:v>0</c:v>
                      </c:pt>
                      <c:pt idx="4149">
                        <c:v>0</c:v>
                      </c:pt>
                      <c:pt idx="4150">
                        <c:v>0</c:v>
                      </c:pt>
                      <c:pt idx="4151">
                        <c:v>0</c:v>
                      </c:pt>
                      <c:pt idx="4152">
                        <c:v>0</c:v>
                      </c:pt>
                      <c:pt idx="4153">
                        <c:v>0</c:v>
                      </c:pt>
                      <c:pt idx="4154">
                        <c:v>0</c:v>
                      </c:pt>
                      <c:pt idx="4155">
                        <c:v>0</c:v>
                      </c:pt>
                      <c:pt idx="4156">
                        <c:v>0</c:v>
                      </c:pt>
                      <c:pt idx="4157">
                        <c:v>0</c:v>
                      </c:pt>
                      <c:pt idx="4158">
                        <c:v>0</c:v>
                      </c:pt>
                      <c:pt idx="4159">
                        <c:v>0</c:v>
                      </c:pt>
                      <c:pt idx="4160">
                        <c:v>0</c:v>
                      </c:pt>
                      <c:pt idx="4161">
                        <c:v>0</c:v>
                      </c:pt>
                      <c:pt idx="4162">
                        <c:v>0</c:v>
                      </c:pt>
                      <c:pt idx="4163">
                        <c:v>0</c:v>
                      </c:pt>
                      <c:pt idx="4164">
                        <c:v>0</c:v>
                      </c:pt>
                      <c:pt idx="4165">
                        <c:v>0</c:v>
                      </c:pt>
                      <c:pt idx="4166">
                        <c:v>0</c:v>
                      </c:pt>
                      <c:pt idx="4167">
                        <c:v>0</c:v>
                      </c:pt>
                      <c:pt idx="4168">
                        <c:v>0</c:v>
                      </c:pt>
                      <c:pt idx="4169">
                        <c:v>0</c:v>
                      </c:pt>
                      <c:pt idx="4170">
                        <c:v>0</c:v>
                      </c:pt>
                      <c:pt idx="4171">
                        <c:v>0</c:v>
                      </c:pt>
                      <c:pt idx="4172">
                        <c:v>0</c:v>
                      </c:pt>
                      <c:pt idx="4173">
                        <c:v>0</c:v>
                      </c:pt>
                      <c:pt idx="4174">
                        <c:v>0</c:v>
                      </c:pt>
                      <c:pt idx="4175">
                        <c:v>0</c:v>
                      </c:pt>
                      <c:pt idx="4176">
                        <c:v>0</c:v>
                      </c:pt>
                      <c:pt idx="4177">
                        <c:v>0</c:v>
                      </c:pt>
                      <c:pt idx="4178">
                        <c:v>0</c:v>
                      </c:pt>
                      <c:pt idx="4179">
                        <c:v>0</c:v>
                      </c:pt>
                      <c:pt idx="4180">
                        <c:v>0</c:v>
                      </c:pt>
                      <c:pt idx="4181">
                        <c:v>0</c:v>
                      </c:pt>
                      <c:pt idx="4182">
                        <c:v>0</c:v>
                      </c:pt>
                      <c:pt idx="4183">
                        <c:v>0</c:v>
                      </c:pt>
                      <c:pt idx="4184">
                        <c:v>0</c:v>
                      </c:pt>
                      <c:pt idx="4185">
                        <c:v>0</c:v>
                      </c:pt>
                      <c:pt idx="4186">
                        <c:v>0</c:v>
                      </c:pt>
                      <c:pt idx="4187">
                        <c:v>0</c:v>
                      </c:pt>
                      <c:pt idx="4188">
                        <c:v>0</c:v>
                      </c:pt>
                      <c:pt idx="4189">
                        <c:v>0</c:v>
                      </c:pt>
                      <c:pt idx="4190">
                        <c:v>0</c:v>
                      </c:pt>
                      <c:pt idx="4191">
                        <c:v>0</c:v>
                      </c:pt>
                      <c:pt idx="4192">
                        <c:v>0</c:v>
                      </c:pt>
                      <c:pt idx="4193">
                        <c:v>0</c:v>
                      </c:pt>
                      <c:pt idx="4194">
                        <c:v>0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</c:v>
                      </c:pt>
                      <c:pt idx="4203">
                        <c:v>0</c:v>
                      </c:pt>
                      <c:pt idx="4204">
                        <c:v>0</c:v>
                      </c:pt>
                      <c:pt idx="4205">
                        <c:v>0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0</c:v>
                      </c:pt>
                      <c:pt idx="5193">
                        <c:v>0</c:v>
                      </c:pt>
                      <c:pt idx="5194">
                        <c:v>0</c:v>
                      </c:pt>
                      <c:pt idx="5195">
                        <c:v>0</c:v>
                      </c:pt>
                      <c:pt idx="5196">
                        <c:v>0</c:v>
                      </c:pt>
                      <c:pt idx="5197">
                        <c:v>0</c:v>
                      </c:pt>
                      <c:pt idx="5198">
                        <c:v>0</c:v>
                      </c:pt>
                      <c:pt idx="5199">
                        <c:v>0</c:v>
                      </c:pt>
                      <c:pt idx="5200">
                        <c:v>0</c:v>
                      </c:pt>
                      <c:pt idx="5201">
                        <c:v>0</c:v>
                      </c:pt>
                      <c:pt idx="5202">
                        <c:v>0</c:v>
                      </c:pt>
                      <c:pt idx="5203">
                        <c:v>0</c:v>
                      </c:pt>
                      <c:pt idx="5204">
                        <c:v>0</c:v>
                      </c:pt>
                      <c:pt idx="5205">
                        <c:v>0</c:v>
                      </c:pt>
                      <c:pt idx="5206">
                        <c:v>0</c:v>
                      </c:pt>
                      <c:pt idx="5207">
                        <c:v>0</c:v>
                      </c:pt>
                      <c:pt idx="5208">
                        <c:v>0</c:v>
                      </c:pt>
                      <c:pt idx="5209">
                        <c:v>0</c:v>
                      </c:pt>
                      <c:pt idx="5210">
                        <c:v>0</c:v>
                      </c:pt>
                      <c:pt idx="5211">
                        <c:v>0</c:v>
                      </c:pt>
                      <c:pt idx="5212">
                        <c:v>0</c:v>
                      </c:pt>
                      <c:pt idx="5213">
                        <c:v>0</c:v>
                      </c:pt>
                      <c:pt idx="5214">
                        <c:v>0</c:v>
                      </c:pt>
                      <c:pt idx="5215">
                        <c:v>0</c:v>
                      </c:pt>
                      <c:pt idx="5216">
                        <c:v>0</c:v>
                      </c:pt>
                      <c:pt idx="5217">
                        <c:v>0</c:v>
                      </c:pt>
                      <c:pt idx="5218">
                        <c:v>0</c:v>
                      </c:pt>
                      <c:pt idx="5219">
                        <c:v>0</c:v>
                      </c:pt>
                      <c:pt idx="5220">
                        <c:v>0</c:v>
                      </c:pt>
                      <c:pt idx="5221">
                        <c:v>0</c:v>
                      </c:pt>
                      <c:pt idx="5222">
                        <c:v>0</c:v>
                      </c:pt>
                      <c:pt idx="5223">
                        <c:v>0</c:v>
                      </c:pt>
                      <c:pt idx="5224">
                        <c:v>0</c:v>
                      </c:pt>
                      <c:pt idx="5225">
                        <c:v>0</c:v>
                      </c:pt>
                      <c:pt idx="5226">
                        <c:v>0</c:v>
                      </c:pt>
                      <c:pt idx="5227">
                        <c:v>0</c:v>
                      </c:pt>
                      <c:pt idx="5228">
                        <c:v>0</c:v>
                      </c:pt>
                      <c:pt idx="5229">
                        <c:v>0</c:v>
                      </c:pt>
                      <c:pt idx="5230">
                        <c:v>0</c:v>
                      </c:pt>
                      <c:pt idx="5231">
                        <c:v>0</c:v>
                      </c:pt>
                      <c:pt idx="5232">
                        <c:v>0</c:v>
                      </c:pt>
                      <c:pt idx="5233">
                        <c:v>0</c:v>
                      </c:pt>
                      <c:pt idx="5234">
                        <c:v>0</c:v>
                      </c:pt>
                      <c:pt idx="5235">
                        <c:v>0</c:v>
                      </c:pt>
                      <c:pt idx="5236">
                        <c:v>0</c:v>
                      </c:pt>
                      <c:pt idx="5237">
                        <c:v>0</c:v>
                      </c:pt>
                      <c:pt idx="5238">
                        <c:v>0</c:v>
                      </c:pt>
                      <c:pt idx="5239">
                        <c:v>0</c:v>
                      </c:pt>
                      <c:pt idx="5240">
                        <c:v>0</c:v>
                      </c:pt>
                      <c:pt idx="5241">
                        <c:v>0</c:v>
                      </c:pt>
                      <c:pt idx="5242">
                        <c:v>0</c:v>
                      </c:pt>
                      <c:pt idx="5243">
                        <c:v>0</c:v>
                      </c:pt>
                      <c:pt idx="5244">
                        <c:v>0</c:v>
                      </c:pt>
                      <c:pt idx="5245">
                        <c:v>0</c:v>
                      </c:pt>
                      <c:pt idx="5246">
                        <c:v>0</c:v>
                      </c:pt>
                      <c:pt idx="5247">
                        <c:v>0</c:v>
                      </c:pt>
                      <c:pt idx="5248">
                        <c:v>0</c:v>
                      </c:pt>
                      <c:pt idx="5249">
                        <c:v>0</c:v>
                      </c:pt>
                      <c:pt idx="5250">
                        <c:v>0</c:v>
                      </c:pt>
                      <c:pt idx="5251">
                        <c:v>0</c:v>
                      </c:pt>
                      <c:pt idx="5252">
                        <c:v>0</c:v>
                      </c:pt>
                      <c:pt idx="5253">
                        <c:v>0</c:v>
                      </c:pt>
                      <c:pt idx="5254">
                        <c:v>0</c:v>
                      </c:pt>
                      <c:pt idx="5255">
                        <c:v>0</c:v>
                      </c:pt>
                      <c:pt idx="5256">
                        <c:v>0</c:v>
                      </c:pt>
                      <c:pt idx="5257">
                        <c:v>0</c:v>
                      </c:pt>
                      <c:pt idx="5258">
                        <c:v>0</c:v>
                      </c:pt>
                      <c:pt idx="5259">
                        <c:v>0</c:v>
                      </c:pt>
                      <c:pt idx="5260">
                        <c:v>0</c:v>
                      </c:pt>
                      <c:pt idx="5261">
                        <c:v>0</c:v>
                      </c:pt>
                      <c:pt idx="5262">
                        <c:v>0</c:v>
                      </c:pt>
                      <c:pt idx="5263">
                        <c:v>0</c:v>
                      </c:pt>
                      <c:pt idx="5264">
                        <c:v>0</c:v>
                      </c:pt>
                      <c:pt idx="5265">
                        <c:v>0</c:v>
                      </c:pt>
                      <c:pt idx="5266">
                        <c:v>0</c:v>
                      </c:pt>
                      <c:pt idx="5267">
                        <c:v>0</c:v>
                      </c:pt>
                      <c:pt idx="5268">
                        <c:v>0</c:v>
                      </c:pt>
                      <c:pt idx="5269">
                        <c:v>0</c:v>
                      </c:pt>
                      <c:pt idx="5270">
                        <c:v>0</c:v>
                      </c:pt>
                      <c:pt idx="5271">
                        <c:v>0</c:v>
                      </c:pt>
                      <c:pt idx="5272">
                        <c:v>0</c:v>
                      </c:pt>
                      <c:pt idx="5273">
                        <c:v>0</c:v>
                      </c:pt>
                      <c:pt idx="5274">
                        <c:v>0</c:v>
                      </c:pt>
                      <c:pt idx="5275">
                        <c:v>0</c:v>
                      </c:pt>
                      <c:pt idx="5276">
                        <c:v>0</c:v>
                      </c:pt>
                      <c:pt idx="5277">
                        <c:v>0</c:v>
                      </c:pt>
                      <c:pt idx="5278">
                        <c:v>0</c:v>
                      </c:pt>
                      <c:pt idx="5279">
                        <c:v>0</c:v>
                      </c:pt>
                      <c:pt idx="5280">
                        <c:v>0</c:v>
                      </c:pt>
                      <c:pt idx="5281">
                        <c:v>0</c:v>
                      </c:pt>
                      <c:pt idx="5282">
                        <c:v>0</c:v>
                      </c:pt>
                      <c:pt idx="5283">
                        <c:v>0</c:v>
                      </c:pt>
                      <c:pt idx="5284">
                        <c:v>0</c:v>
                      </c:pt>
                      <c:pt idx="5285">
                        <c:v>0</c:v>
                      </c:pt>
                      <c:pt idx="5286">
                        <c:v>0</c:v>
                      </c:pt>
                      <c:pt idx="5287">
                        <c:v>0</c:v>
                      </c:pt>
                      <c:pt idx="5288">
                        <c:v>0</c:v>
                      </c:pt>
                      <c:pt idx="5289">
                        <c:v>0</c:v>
                      </c:pt>
                      <c:pt idx="5290">
                        <c:v>0</c:v>
                      </c:pt>
                      <c:pt idx="5291">
                        <c:v>0</c:v>
                      </c:pt>
                      <c:pt idx="5292">
                        <c:v>0</c:v>
                      </c:pt>
                      <c:pt idx="5293">
                        <c:v>0</c:v>
                      </c:pt>
                      <c:pt idx="5294">
                        <c:v>0</c:v>
                      </c:pt>
                      <c:pt idx="5295">
                        <c:v>0</c:v>
                      </c:pt>
                      <c:pt idx="5296">
                        <c:v>0</c:v>
                      </c:pt>
                      <c:pt idx="5297">
                        <c:v>0</c:v>
                      </c:pt>
                      <c:pt idx="5298">
                        <c:v>0</c:v>
                      </c:pt>
                      <c:pt idx="5299">
                        <c:v>0</c:v>
                      </c:pt>
                      <c:pt idx="5300">
                        <c:v>0</c:v>
                      </c:pt>
                      <c:pt idx="5301">
                        <c:v>0</c:v>
                      </c:pt>
                      <c:pt idx="5302">
                        <c:v>0</c:v>
                      </c:pt>
                      <c:pt idx="5303">
                        <c:v>0</c:v>
                      </c:pt>
                      <c:pt idx="5304">
                        <c:v>0</c:v>
                      </c:pt>
                      <c:pt idx="5305">
                        <c:v>0</c:v>
                      </c:pt>
                      <c:pt idx="5306">
                        <c:v>0</c:v>
                      </c:pt>
                      <c:pt idx="5307">
                        <c:v>0</c:v>
                      </c:pt>
                      <c:pt idx="5308">
                        <c:v>0</c:v>
                      </c:pt>
                      <c:pt idx="5309">
                        <c:v>0</c:v>
                      </c:pt>
                      <c:pt idx="5310">
                        <c:v>0</c:v>
                      </c:pt>
                      <c:pt idx="5311">
                        <c:v>0</c:v>
                      </c:pt>
                      <c:pt idx="5312">
                        <c:v>0</c:v>
                      </c:pt>
                      <c:pt idx="5313">
                        <c:v>0</c:v>
                      </c:pt>
                      <c:pt idx="5314">
                        <c:v>0</c:v>
                      </c:pt>
                      <c:pt idx="5315">
                        <c:v>0</c:v>
                      </c:pt>
                      <c:pt idx="5316">
                        <c:v>0</c:v>
                      </c:pt>
                      <c:pt idx="5317">
                        <c:v>0</c:v>
                      </c:pt>
                      <c:pt idx="5318">
                        <c:v>0</c:v>
                      </c:pt>
                      <c:pt idx="5319">
                        <c:v>0</c:v>
                      </c:pt>
                      <c:pt idx="5320">
                        <c:v>0</c:v>
                      </c:pt>
                      <c:pt idx="5321">
                        <c:v>0</c:v>
                      </c:pt>
                      <c:pt idx="5322">
                        <c:v>0</c:v>
                      </c:pt>
                      <c:pt idx="5323">
                        <c:v>0</c:v>
                      </c:pt>
                      <c:pt idx="5324">
                        <c:v>0</c:v>
                      </c:pt>
                      <c:pt idx="5325">
                        <c:v>0</c:v>
                      </c:pt>
                      <c:pt idx="5326">
                        <c:v>0</c:v>
                      </c:pt>
                      <c:pt idx="5327">
                        <c:v>0</c:v>
                      </c:pt>
                      <c:pt idx="5328">
                        <c:v>0</c:v>
                      </c:pt>
                      <c:pt idx="5329">
                        <c:v>0</c:v>
                      </c:pt>
                      <c:pt idx="5330">
                        <c:v>0</c:v>
                      </c:pt>
                      <c:pt idx="5331">
                        <c:v>0</c:v>
                      </c:pt>
                      <c:pt idx="5332">
                        <c:v>0</c:v>
                      </c:pt>
                      <c:pt idx="5333">
                        <c:v>0</c:v>
                      </c:pt>
                      <c:pt idx="5334">
                        <c:v>0</c:v>
                      </c:pt>
                      <c:pt idx="5335">
                        <c:v>0</c:v>
                      </c:pt>
                      <c:pt idx="5336">
                        <c:v>0</c:v>
                      </c:pt>
                      <c:pt idx="5337">
                        <c:v>0</c:v>
                      </c:pt>
                      <c:pt idx="5338">
                        <c:v>0</c:v>
                      </c:pt>
                      <c:pt idx="5339">
                        <c:v>0</c:v>
                      </c:pt>
                      <c:pt idx="5340">
                        <c:v>0</c:v>
                      </c:pt>
                      <c:pt idx="5341">
                        <c:v>0</c:v>
                      </c:pt>
                      <c:pt idx="5342">
                        <c:v>0</c:v>
                      </c:pt>
                      <c:pt idx="5343">
                        <c:v>0</c:v>
                      </c:pt>
                      <c:pt idx="5344">
                        <c:v>0</c:v>
                      </c:pt>
                      <c:pt idx="5345">
                        <c:v>0</c:v>
                      </c:pt>
                      <c:pt idx="5346">
                        <c:v>0</c:v>
                      </c:pt>
                      <c:pt idx="5347">
                        <c:v>0</c:v>
                      </c:pt>
                      <c:pt idx="5348">
                        <c:v>0</c:v>
                      </c:pt>
                      <c:pt idx="5349">
                        <c:v>0</c:v>
                      </c:pt>
                      <c:pt idx="5350">
                        <c:v>0</c:v>
                      </c:pt>
                      <c:pt idx="5351">
                        <c:v>0</c:v>
                      </c:pt>
                      <c:pt idx="5352">
                        <c:v>0</c:v>
                      </c:pt>
                      <c:pt idx="5353">
                        <c:v>0</c:v>
                      </c:pt>
                      <c:pt idx="5354">
                        <c:v>0</c:v>
                      </c:pt>
                      <c:pt idx="5355">
                        <c:v>0</c:v>
                      </c:pt>
                      <c:pt idx="5356">
                        <c:v>0</c:v>
                      </c:pt>
                      <c:pt idx="5357">
                        <c:v>0</c:v>
                      </c:pt>
                      <c:pt idx="5358">
                        <c:v>0</c:v>
                      </c:pt>
                      <c:pt idx="5359">
                        <c:v>0</c:v>
                      </c:pt>
                      <c:pt idx="5360">
                        <c:v>0</c:v>
                      </c:pt>
                      <c:pt idx="5361">
                        <c:v>0</c:v>
                      </c:pt>
                      <c:pt idx="5362">
                        <c:v>0</c:v>
                      </c:pt>
                      <c:pt idx="5363">
                        <c:v>0</c:v>
                      </c:pt>
                      <c:pt idx="5364">
                        <c:v>0</c:v>
                      </c:pt>
                      <c:pt idx="5365">
                        <c:v>0</c:v>
                      </c:pt>
                      <c:pt idx="5366">
                        <c:v>0</c:v>
                      </c:pt>
                      <c:pt idx="5367">
                        <c:v>0</c:v>
                      </c:pt>
                      <c:pt idx="5368">
                        <c:v>0</c:v>
                      </c:pt>
                      <c:pt idx="5369">
                        <c:v>0</c:v>
                      </c:pt>
                      <c:pt idx="5370">
                        <c:v>0</c:v>
                      </c:pt>
                      <c:pt idx="5371">
                        <c:v>0</c:v>
                      </c:pt>
                      <c:pt idx="5372">
                        <c:v>0</c:v>
                      </c:pt>
                      <c:pt idx="5373">
                        <c:v>0</c:v>
                      </c:pt>
                      <c:pt idx="5374">
                        <c:v>0</c:v>
                      </c:pt>
                      <c:pt idx="5375">
                        <c:v>0</c:v>
                      </c:pt>
                      <c:pt idx="5376">
                        <c:v>0</c:v>
                      </c:pt>
                      <c:pt idx="5377">
                        <c:v>0</c:v>
                      </c:pt>
                      <c:pt idx="5378">
                        <c:v>0</c:v>
                      </c:pt>
                      <c:pt idx="5379">
                        <c:v>0</c:v>
                      </c:pt>
                      <c:pt idx="5380">
                        <c:v>0</c:v>
                      </c:pt>
                      <c:pt idx="5381">
                        <c:v>0</c:v>
                      </c:pt>
                      <c:pt idx="5382">
                        <c:v>0</c:v>
                      </c:pt>
                      <c:pt idx="5383">
                        <c:v>0</c:v>
                      </c:pt>
                      <c:pt idx="5384">
                        <c:v>0</c:v>
                      </c:pt>
                      <c:pt idx="5385">
                        <c:v>0</c:v>
                      </c:pt>
                      <c:pt idx="5386">
                        <c:v>0</c:v>
                      </c:pt>
                      <c:pt idx="5387">
                        <c:v>0</c:v>
                      </c:pt>
                      <c:pt idx="5388">
                        <c:v>0</c:v>
                      </c:pt>
                      <c:pt idx="5389">
                        <c:v>0</c:v>
                      </c:pt>
                      <c:pt idx="5390">
                        <c:v>0</c:v>
                      </c:pt>
                      <c:pt idx="5391">
                        <c:v>0</c:v>
                      </c:pt>
                      <c:pt idx="5392">
                        <c:v>0</c:v>
                      </c:pt>
                      <c:pt idx="5393">
                        <c:v>0</c:v>
                      </c:pt>
                      <c:pt idx="5394">
                        <c:v>0</c:v>
                      </c:pt>
                      <c:pt idx="5395">
                        <c:v>0</c:v>
                      </c:pt>
                      <c:pt idx="5396">
                        <c:v>0</c:v>
                      </c:pt>
                      <c:pt idx="5397">
                        <c:v>0</c:v>
                      </c:pt>
                      <c:pt idx="5398">
                        <c:v>0</c:v>
                      </c:pt>
                      <c:pt idx="5399">
                        <c:v>0</c:v>
                      </c:pt>
                      <c:pt idx="5400">
                        <c:v>0</c:v>
                      </c:pt>
                      <c:pt idx="5401">
                        <c:v>0</c:v>
                      </c:pt>
                      <c:pt idx="5402">
                        <c:v>0</c:v>
                      </c:pt>
                      <c:pt idx="5403">
                        <c:v>0</c:v>
                      </c:pt>
                      <c:pt idx="5404">
                        <c:v>0</c:v>
                      </c:pt>
                      <c:pt idx="5405">
                        <c:v>0</c:v>
                      </c:pt>
                      <c:pt idx="5406">
                        <c:v>0</c:v>
                      </c:pt>
                      <c:pt idx="5407">
                        <c:v>0</c:v>
                      </c:pt>
                      <c:pt idx="5408">
                        <c:v>0</c:v>
                      </c:pt>
                      <c:pt idx="5409">
                        <c:v>0</c:v>
                      </c:pt>
                      <c:pt idx="5410">
                        <c:v>0</c:v>
                      </c:pt>
                      <c:pt idx="5411">
                        <c:v>0</c:v>
                      </c:pt>
                      <c:pt idx="5412">
                        <c:v>0</c:v>
                      </c:pt>
                      <c:pt idx="5413">
                        <c:v>0</c:v>
                      </c:pt>
                      <c:pt idx="5414">
                        <c:v>0</c:v>
                      </c:pt>
                      <c:pt idx="5415">
                        <c:v>0</c:v>
                      </c:pt>
                      <c:pt idx="5416">
                        <c:v>0</c:v>
                      </c:pt>
                      <c:pt idx="5417">
                        <c:v>0</c:v>
                      </c:pt>
                      <c:pt idx="5418">
                        <c:v>0</c:v>
                      </c:pt>
                      <c:pt idx="5419">
                        <c:v>0</c:v>
                      </c:pt>
                      <c:pt idx="5420">
                        <c:v>0</c:v>
                      </c:pt>
                      <c:pt idx="5421">
                        <c:v>0</c:v>
                      </c:pt>
                      <c:pt idx="5422">
                        <c:v>0</c:v>
                      </c:pt>
                      <c:pt idx="5423">
                        <c:v>0</c:v>
                      </c:pt>
                      <c:pt idx="5424">
                        <c:v>0</c:v>
                      </c:pt>
                      <c:pt idx="5425">
                        <c:v>0</c:v>
                      </c:pt>
                      <c:pt idx="5426">
                        <c:v>0</c:v>
                      </c:pt>
                      <c:pt idx="5427">
                        <c:v>0</c:v>
                      </c:pt>
                      <c:pt idx="5428">
                        <c:v>0</c:v>
                      </c:pt>
                      <c:pt idx="5429">
                        <c:v>0</c:v>
                      </c:pt>
                      <c:pt idx="5430">
                        <c:v>0</c:v>
                      </c:pt>
                      <c:pt idx="5431">
                        <c:v>0</c:v>
                      </c:pt>
                      <c:pt idx="5432">
                        <c:v>0</c:v>
                      </c:pt>
                      <c:pt idx="5433">
                        <c:v>0</c:v>
                      </c:pt>
                      <c:pt idx="5434">
                        <c:v>0</c:v>
                      </c:pt>
                      <c:pt idx="5435">
                        <c:v>0</c:v>
                      </c:pt>
                      <c:pt idx="5436">
                        <c:v>0</c:v>
                      </c:pt>
                      <c:pt idx="5437">
                        <c:v>0</c:v>
                      </c:pt>
                      <c:pt idx="5438">
                        <c:v>0</c:v>
                      </c:pt>
                      <c:pt idx="5439">
                        <c:v>0</c:v>
                      </c:pt>
                      <c:pt idx="5440">
                        <c:v>0</c:v>
                      </c:pt>
                      <c:pt idx="5441">
                        <c:v>0</c:v>
                      </c:pt>
                      <c:pt idx="5442">
                        <c:v>0</c:v>
                      </c:pt>
                      <c:pt idx="5443">
                        <c:v>0</c:v>
                      </c:pt>
                      <c:pt idx="5444">
                        <c:v>0</c:v>
                      </c:pt>
                      <c:pt idx="5445">
                        <c:v>0</c:v>
                      </c:pt>
                      <c:pt idx="5446">
                        <c:v>0</c:v>
                      </c:pt>
                      <c:pt idx="5447">
                        <c:v>0</c:v>
                      </c:pt>
                      <c:pt idx="5448">
                        <c:v>0</c:v>
                      </c:pt>
                      <c:pt idx="5449">
                        <c:v>0</c:v>
                      </c:pt>
                      <c:pt idx="5450">
                        <c:v>0</c:v>
                      </c:pt>
                      <c:pt idx="5451">
                        <c:v>0</c:v>
                      </c:pt>
                      <c:pt idx="5452">
                        <c:v>0</c:v>
                      </c:pt>
                      <c:pt idx="5453">
                        <c:v>0</c:v>
                      </c:pt>
                      <c:pt idx="5454">
                        <c:v>0</c:v>
                      </c:pt>
                      <c:pt idx="5455">
                        <c:v>0</c:v>
                      </c:pt>
                      <c:pt idx="5456">
                        <c:v>0</c:v>
                      </c:pt>
                      <c:pt idx="5457">
                        <c:v>0</c:v>
                      </c:pt>
                      <c:pt idx="5458">
                        <c:v>0</c:v>
                      </c:pt>
                      <c:pt idx="5459">
                        <c:v>0</c:v>
                      </c:pt>
                      <c:pt idx="5460">
                        <c:v>0</c:v>
                      </c:pt>
                      <c:pt idx="5461">
                        <c:v>0</c:v>
                      </c:pt>
                      <c:pt idx="5462">
                        <c:v>0</c:v>
                      </c:pt>
                      <c:pt idx="5463">
                        <c:v>0</c:v>
                      </c:pt>
                      <c:pt idx="5464">
                        <c:v>0</c:v>
                      </c:pt>
                      <c:pt idx="5465">
                        <c:v>0</c:v>
                      </c:pt>
                      <c:pt idx="5466">
                        <c:v>0</c:v>
                      </c:pt>
                      <c:pt idx="5467">
                        <c:v>0</c:v>
                      </c:pt>
                      <c:pt idx="5468">
                        <c:v>0</c:v>
                      </c:pt>
                      <c:pt idx="5469">
                        <c:v>0</c:v>
                      </c:pt>
                      <c:pt idx="5470">
                        <c:v>0</c:v>
                      </c:pt>
                      <c:pt idx="5471">
                        <c:v>0</c:v>
                      </c:pt>
                      <c:pt idx="5472">
                        <c:v>0</c:v>
                      </c:pt>
                      <c:pt idx="5473">
                        <c:v>0</c:v>
                      </c:pt>
                      <c:pt idx="5474">
                        <c:v>0</c:v>
                      </c:pt>
                      <c:pt idx="5475">
                        <c:v>0</c:v>
                      </c:pt>
                      <c:pt idx="5476">
                        <c:v>0</c:v>
                      </c:pt>
                      <c:pt idx="5477">
                        <c:v>0</c:v>
                      </c:pt>
                      <c:pt idx="5478">
                        <c:v>0</c:v>
                      </c:pt>
                      <c:pt idx="5479">
                        <c:v>0</c:v>
                      </c:pt>
                      <c:pt idx="5480">
                        <c:v>0</c:v>
                      </c:pt>
                      <c:pt idx="5481">
                        <c:v>0</c:v>
                      </c:pt>
                      <c:pt idx="5482">
                        <c:v>0</c:v>
                      </c:pt>
                      <c:pt idx="5483">
                        <c:v>0</c:v>
                      </c:pt>
                      <c:pt idx="5484">
                        <c:v>0</c:v>
                      </c:pt>
                      <c:pt idx="5485">
                        <c:v>0</c:v>
                      </c:pt>
                      <c:pt idx="5486">
                        <c:v>0</c:v>
                      </c:pt>
                      <c:pt idx="5487">
                        <c:v>0</c:v>
                      </c:pt>
                      <c:pt idx="5488">
                        <c:v>0</c:v>
                      </c:pt>
                      <c:pt idx="5489">
                        <c:v>0</c:v>
                      </c:pt>
                      <c:pt idx="5490">
                        <c:v>0</c:v>
                      </c:pt>
                      <c:pt idx="5491">
                        <c:v>0</c:v>
                      </c:pt>
                      <c:pt idx="5492">
                        <c:v>0</c:v>
                      </c:pt>
                      <c:pt idx="5493">
                        <c:v>0</c:v>
                      </c:pt>
                      <c:pt idx="5494">
                        <c:v>0</c:v>
                      </c:pt>
                      <c:pt idx="5495">
                        <c:v>0</c:v>
                      </c:pt>
                      <c:pt idx="5496">
                        <c:v>0</c:v>
                      </c:pt>
                      <c:pt idx="5497">
                        <c:v>0</c:v>
                      </c:pt>
                      <c:pt idx="5498">
                        <c:v>0</c:v>
                      </c:pt>
                      <c:pt idx="5499">
                        <c:v>0</c:v>
                      </c:pt>
                      <c:pt idx="5500">
                        <c:v>0</c:v>
                      </c:pt>
                      <c:pt idx="5501">
                        <c:v>0</c:v>
                      </c:pt>
                      <c:pt idx="5502">
                        <c:v>0</c:v>
                      </c:pt>
                      <c:pt idx="5503">
                        <c:v>0</c:v>
                      </c:pt>
                      <c:pt idx="5504">
                        <c:v>0</c:v>
                      </c:pt>
                      <c:pt idx="5505">
                        <c:v>0</c:v>
                      </c:pt>
                      <c:pt idx="5506">
                        <c:v>0</c:v>
                      </c:pt>
                      <c:pt idx="5507">
                        <c:v>0</c:v>
                      </c:pt>
                      <c:pt idx="5508">
                        <c:v>0</c:v>
                      </c:pt>
                      <c:pt idx="5509">
                        <c:v>0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</c:v>
                      </c:pt>
                      <c:pt idx="5514">
                        <c:v>0</c:v>
                      </c:pt>
                      <c:pt idx="5515">
                        <c:v>0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</c:v>
                      </c:pt>
                      <c:pt idx="5538">
                        <c:v>0</c:v>
                      </c:pt>
                      <c:pt idx="5539">
                        <c:v>0</c:v>
                      </c:pt>
                      <c:pt idx="5540">
                        <c:v>0</c:v>
                      </c:pt>
                      <c:pt idx="5541">
                        <c:v>0</c:v>
                      </c:pt>
                      <c:pt idx="5542">
                        <c:v>0</c:v>
                      </c:pt>
                      <c:pt idx="5543">
                        <c:v>0</c:v>
                      </c:pt>
                      <c:pt idx="5544">
                        <c:v>0</c:v>
                      </c:pt>
                      <c:pt idx="5545">
                        <c:v>0</c:v>
                      </c:pt>
                      <c:pt idx="5546">
                        <c:v>0</c:v>
                      </c:pt>
                      <c:pt idx="5547">
                        <c:v>0</c:v>
                      </c:pt>
                      <c:pt idx="5548">
                        <c:v>0</c:v>
                      </c:pt>
                      <c:pt idx="5549">
                        <c:v>0</c:v>
                      </c:pt>
                      <c:pt idx="5550">
                        <c:v>0</c:v>
                      </c:pt>
                      <c:pt idx="5551">
                        <c:v>0</c:v>
                      </c:pt>
                      <c:pt idx="5552">
                        <c:v>0</c:v>
                      </c:pt>
                      <c:pt idx="5553">
                        <c:v>0</c:v>
                      </c:pt>
                      <c:pt idx="5554">
                        <c:v>0</c:v>
                      </c:pt>
                      <c:pt idx="5555">
                        <c:v>0</c:v>
                      </c:pt>
                      <c:pt idx="5556">
                        <c:v>0</c:v>
                      </c:pt>
                      <c:pt idx="5557">
                        <c:v>0</c:v>
                      </c:pt>
                      <c:pt idx="5558">
                        <c:v>0</c:v>
                      </c:pt>
                      <c:pt idx="5559">
                        <c:v>0</c:v>
                      </c:pt>
                      <c:pt idx="5560">
                        <c:v>0</c:v>
                      </c:pt>
                      <c:pt idx="5561">
                        <c:v>0</c:v>
                      </c:pt>
                      <c:pt idx="5562">
                        <c:v>0</c:v>
                      </c:pt>
                      <c:pt idx="5563">
                        <c:v>0</c:v>
                      </c:pt>
                      <c:pt idx="5564">
                        <c:v>0</c:v>
                      </c:pt>
                      <c:pt idx="5565">
                        <c:v>0</c:v>
                      </c:pt>
                      <c:pt idx="5566">
                        <c:v>0</c:v>
                      </c:pt>
                      <c:pt idx="5567">
                        <c:v>0</c:v>
                      </c:pt>
                      <c:pt idx="5568">
                        <c:v>0</c:v>
                      </c:pt>
                      <c:pt idx="5569">
                        <c:v>0</c:v>
                      </c:pt>
                      <c:pt idx="5570">
                        <c:v>0</c:v>
                      </c:pt>
                      <c:pt idx="5571">
                        <c:v>0</c:v>
                      </c:pt>
                      <c:pt idx="5572">
                        <c:v>0</c:v>
                      </c:pt>
                      <c:pt idx="5573">
                        <c:v>0</c:v>
                      </c:pt>
                      <c:pt idx="5574">
                        <c:v>0</c:v>
                      </c:pt>
                      <c:pt idx="5575">
                        <c:v>0</c:v>
                      </c:pt>
                      <c:pt idx="5576">
                        <c:v>0</c:v>
                      </c:pt>
                      <c:pt idx="5577">
                        <c:v>0</c:v>
                      </c:pt>
                      <c:pt idx="5578">
                        <c:v>0</c:v>
                      </c:pt>
                      <c:pt idx="5579">
                        <c:v>0</c:v>
                      </c:pt>
                      <c:pt idx="5580">
                        <c:v>0</c:v>
                      </c:pt>
                      <c:pt idx="5581">
                        <c:v>0</c:v>
                      </c:pt>
                      <c:pt idx="5582">
                        <c:v>0</c:v>
                      </c:pt>
                      <c:pt idx="5583">
                        <c:v>0</c:v>
                      </c:pt>
                      <c:pt idx="5584">
                        <c:v>0</c:v>
                      </c:pt>
                      <c:pt idx="5585">
                        <c:v>0</c:v>
                      </c:pt>
                      <c:pt idx="5586">
                        <c:v>0</c:v>
                      </c:pt>
                      <c:pt idx="5587">
                        <c:v>0</c:v>
                      </c:pt>
                      <c:pt idx="5588">
                        <c:v>0</c:v>
                      </c:pt>
                      <c:pt idx="5589">
                        <c:v>0</c:v>
                      </c:pt>
                      <c:pt idx="5590">
                        <c:v>0</c:v>
                      </c:pt>
                      <c:pt idx="5591">
                        <c:v>0</c:v>
                      </c:pt>
                      <c:pt idx="5592">
                        <c:v>0</c:v>
                      </c:pt>
                      <c:pt idx="5593">
                        <c:v>0</c:v>
                      </c:pt>
                      <c:pt idx="5594">
                        <c:v>0</c:v>
                      </c:pt>
                      <c:pt idx="5595">
                        <c:v>0</c:v>
                      </c:pt>
                      <c:pt idx="5596">
                        <c:v>0</c:v>
                      </c:pt>
                      <c:pt idx="5597">
                        <c:v>0</c:v>
                      </c:pt>
                      <c:pt idx="5598">
                        <c:v>0</c:v>
                      </c:pt>
                      <c:pt idx="5599">
                        <c:v>0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0</c:v>
                      </c:pt>
                      <c:pt idx="5605">
                        <c:v>0</c:v>
                      </c:pt>
                      <c:pt idx="5606">
                        <c:v>0</c:v>
                      </c:pt>
                      <c:pt idx="5607">
                        <c:v>0</c:v>
                      </c:pt>
                      <c:pt idx="5608">
                        <c:v>0</c:v>
                      </c:pt>
                      <c:pt idx="5609">
                        <c:v>0</c:v>
                      </c:pt>
                      <c:pt idx="5610">
                        <c:v>0</c:v>
                      </c:pt>
                      <c:pt idx="5611">
                        <c:v>0</c:v>
                      </c:pt>
                      <c:pt idx="5612">
                        <c:v>0</c:v>
                      </c:pt>
                      <c:pt idx="5613">
                        <c:v>0</c:v>
                      </c:pt>
                      <c:pt idx="5614">
                        <c:v>0</c:v>
                      </c:pt>
                      <c:pt idx="5615">
                        <c:v>0</c:v>
                      </c:pt>
                      <c:pt idx="5616">
                        <c:v>0</c:v>
                      </c:pt>
                      <c:pt idx="5617">
                        <c:v>0</c:v>
                      </c:pt>
                      <c:pt idx="5618">
                        <c:v>0</c:v>
                      </c:pt>
                      <c:pt idx="5619">
                        <c:v>0</c:v>
                      </c:pt>
                      <c:pt idx="5620">
                        <c:v>0</c:v>
                      </c:pt>
                      <c:pt idx="5621">
                        <c:v>0</c:v>
                      </c:pt>
                      <c:pt idx="5622">
                        <c:v>0</c:v>
                      </c:pt>
                      <c:pt idx="5623">
                        <c:v>0</c:v>
                      </c:pt>
                      <c:pt idx="5624">
                        <c:v>0</c:v>
                      </c:pt>
                      <c:pt idx="5625">
                        <c:v>0</c:v>
                      </c:pt>
                      <c:pt idx="5626">
                        <c:v>0</c:v>
                      </c:pt>
                      <c:pt idx="5627">
                        <c:v>0</c:v>
                      </c:pt>
                      <c:pt idx="5628">
                        <c:v>0</c:v>
                      </c:pt>
                      <c:pt idx="5629">
                        <c:v>0</c:v>
                      </c:pt>
                      <c:pt idx="5630">
                        <c:v>0</c:v>
                      </c:pt>
                      <c:pt idx="5631">
                        <c:v>0</c:v>
                      </c:pt>
                      <c:pt idx="5632">
                        <c:v>0</c:v>
                      </c:pt>
                      <c:pt idx="5633">
                        <c:v>0</c:v>
                      </c:pt>
                      <c:pt idx="5634">
                        <c:v>0</c:v>
                      </c:pt>
                      <c:pt idx="5635">
                        <c:v>0</c:v>
                      </c:pt>
                      <c:pt idx="5636">
                        <c:v>0</c:v>
                      </c:pt>
                      <c:pt idx="5637">
                        <c:v>0</c:v>
                      </c:pt>
                      <c:pt idx="5638">
                        <c:v>0</c:v>
                      </c:pt>
                      <c:pt idx="5639">
                        <c:v>0</c:v>
                      </c:pt>
                      <c:pt idx="5640">
                        <c:v>0</c:v>
                      </c:pt>
                      <c:pt idx="5641">
                        <c:v>0</c:v>
                      </c:pt>
                      <c:pt idx="5642">
                        <c:v>0</c:v>
                      </c:pt>
                      <c:pt idx="5643">
                        <c:v>0</c:v>
                      </c:pt>
                      <c:pt idx="5644">
                        <c:v>0</c:v>
                      </c:pt>
                      <c:pt idx="5645">
                        <c:v>0</c:v>
                      </c:pt>
                      <c:pt idx="5646">
                        <c:v>0</c:v>
                      </c:pt>
                      <c:pt idx="5647">
                        <c:v>0</c:v>
                      </c:pt>
                      <c:pt idx="5648">
                        <c:v>0</c:v>
                      </c:pt>
                      <c:pt idx="5649">
                        <c:v>0</c:v>
                      </c:pt>
                      <c:pt idx="5650">
                        <c:v>0</c:v>
                      </c:pt>
                      <c:pt idx="5651">
                        <c:v>0</c:v>
                      </c:pt>
                      <c:pt idx="5652">
                        <c:v>0</c:v>
                      </c:pt>
                      <c:pt idx="5653">
                        <c:v>0</c:v>
                      </c:pt>
                      <c:pt idx="5654">
                        <c:v>0</c:v>
                      </c:pt>
                      <c:pt idx="5655">
                        <c:v>0</c:v>
                      </c:pt>
                      <c:pt idx="5656">
                        <c:v>0</c:v>
                      </c:pt>
                      <c:pt idx="5657">
                        <c:v>0</c:v>
                      </c:pt>
                      <c:pt idx="5658">
                        <c:v>0</c:v>
                      </c:pt>
                      <c:pt idx="5659">
                        <c:v>0</c:v>
                      </c:pt>
                      <c:pt idx="5660">
                        <c:v>0</c:v>
                      </c:pt>
                      <c:pt idx="5661">
                        <c:v>0</c:v>
                      </c:pt>
                      <c:pt idx="5662">
                        <c:v>0</c:v>
                      </c:pt>
                      <c:pt idx="5663">
                        <c:v>0</c:v>
                      </c:pt>
                      <c:pt idx="5664">
                        <c:v>0</c:v>
                      </c:pt>
                      <c:pt idx="5665">
                        <c:v>0</c:v>
                      </c:pt>
                      <c:pt idx="5666">
                        <c:v>0</c:v>
                      </c:pt>
                      <c:pt idx="5667">
                        <c:v>0</c:v>
                      </c:pt>
                      <c:pt idx="5668">
                        <c:v>0</c:v>
                      </c:pt>
                      <c:pt idx="5669">
                        <c:v>0</c:v>
                      </c:pt>
                      <c:pt idx="5670">
                        <c:v>0</c:v>
                      </c:pt>
                      <c:pt idx="5671">
                        <c:v>0</c:v>
                      </c:pt>
                      <c:pt idx="5672">
                        <c:v>0</c:v>
                      </c:pt>
                      <c:pt idx="5673">
                        <c:v>0</c:v>
                      </c:pt>
                      <c:pt idx="5674">
                        <c:v>0</c:v>
                      </c:pt>
                      <c:pt idx="5675">
                        <c:v>0</c:v>
                      </c:pt>
                      <c:pt idx="5676">
                        <c:v>0</c:v>
                      </c:pt>
                      <c:pt idx="5677">
                        <c:v>0</c:v>
                      </c:pt>
                      <c:pt idx="5678">
                        <c:v>0</c:v>
                      </c:pt>
                      <c:pt idx="5679">
                        <c:v>0</c:v>
                      </c:pt>
                      <c:pt idx="5680">
                        <c:v>0</c:v>
                      </c:pt>
                      <c:pt idx="5681">
                        <c:v>0</c:v>
                      </c:pt>
                      <c:pt idx="5682">
                        <c:v>0</c:v>
                      </c:pt>
                      <c:pt idx="5683">
                        <c:v>0</c:v>
                      </c:pt>
                      <c:pt idx="5684">
                        <c:v>0</c:v>
                      </c:pt>
                      <c:pt idx="5685">
                        <c:v>0</c:v>
                      </c:pt>
                      <c:pt idx="5686">
                        <c:v>0</c:v>
                      </c:pt>
                      <c:pt idx="5687">
                        <c:v>0</c:v>
                      </c:pt>
                      <c:pt idx="5688">
                        <c:v>0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0</c:v>
                      </c:pt>
                      <c:pt idx="5699">
                        <c:v>0</c:v>
                      </c:pt>
                      <c:pt idx="5700">
                        <c:v>0</c:v>
                      </c:pt>
                      <c:pt idx="5701">
                        <c:v>0</c:v>
                      </c:pt>
                      <c:pt idx="5702">
                        <c:v>0</c:v>
                      </c:pt>
                      <c:pt idx="5703">
                        <c:v>0</c:v>
                      </c:pt>
                      <c:pt idx="5704">
                        <c:v>0</c:v>
                      </c:pt>
                      <c:pt idx="5705">
                        <c:v>0</c:v>
                      </c:pt>
                      <c:pt idx="5706">
                        <c:v>0</c:v>
                      </c:pt>
                      <c:pt idx="5707">
                        <c:v>0</c:v>
                      </c:pt>
                      <c:pt idx="5708">
                        <c:v>0</c:v>
                      </c:pt>
                      <c:pt idx="5709">
                        <c:v>0</c:v>
                      </c:pt>
                      <c:pt idx="5710">
                        <c:v>0</c:v>
                      </c:pt>
                      <c:pt idx="5711">
                        <c:v>0</c:v>
                      </c:pt>
                      <c:pt idx="5712">
                        <c:v>0</c:v>
                      </c:pt>
                      <c:pt idx="5713">
                        <c:v>0</c:v>
                      </c:pt>
                      <c:pt idx="5714">
                        <c:v>0</c:v>
                      </c:pt>
                      <c:pt idx="5715">
                        <c:v>0</c:v>
                      </c:pt>
                      <c:pt idx="5716">
                        <c:v>0</c:v>
                      </c:pt>
                      <c:pt idx="5717">
                        <c:v>0</c:v>
                      </c:pt>
                      <c:pt idx="5718">
                        <c:v>0</c:v>
                      </c:pt>
                      <c:pt idx="5719">
                        <c:v>0</c:v>
                      </c:pt>
                      <c:pt idx="5720">
                        <c:v>0</c:v>
                      </c:pt>
                      <c:pt idx="5721">
                        <c:v>0</c:v>
                      </c:pt>
                      <c:pt idx="5722">
                        <c:v>0</c:v>
                      </c:pt>
                      <c:pt idx="5723">
                        <c:v>0</c:v>
                      </c:pt>
                      <c:pt idx="5724">
                        <c:v>0</c:v>
                      </c:pt>
                      <c:pt idx="5725">
                        <c:v>0</c:v>
                      </c:pt>
                      <c:pt idx="5726">
                        <c:v>0</c:v>
                      </c:pt>
                      <c:pt idx="5727">
                        <c:v>0</c:v>
                      </c:pt>
                      <c:pt idx="5728">
                        <c:v>0</c:v>
                      </c:pt>
                      <c:pt idx="5729">
                        <c:v>0</c:v>
                      </c:pt>
                      <c:pt idx="5730">
                        <c:v>0</c:v>
                      </c:pt>
                      <c:pt idx="5731">
                        <c:v>0</c:v>
                      </c:pt>
                      <c:pt idx="5732">
                        <c:v>0</c:v>
                      </c:pt>
                      <c:pt idx="5733">
                        <c:v>0</c:v>
                      </c:pt>
                      <c:pt idx="5734">
                        <c:v>0</c:v>
                      </c:pt>
                      <c:pt idx="5735">
                        <c:v>0</c:v>
                      </c:pt>
                      <c:pt idx="5736">
                        <c:v>0</c:v>
                      </c:pt>
                      <c:pt idx="5737">
                        <c:v>0</c:v>
                      </c:pt>
                      <c:pt idx="5738">
                        <c:v>0</c:v>
                      </c:pt>
                      <c:pt idx="5739">
                        <c:v>0</c:v>
                      </c:pt>
                      <c:pt idx="5740">
                        <c:v>0</c:v>
                      </c:pt>
                      <c:pt idx="5741">
                        <c:v>0</c:v>
                      </c:pt>
                      <c:pt idx="5742">
                        <c:v>0</c:v>
                      </c:pt>
                      <c:pt idx="5743">
                        <c:v>0</c:v>
                      </c:pt>
                      <c:pt idx="5744">
                        <c:v>0</c:v>
                      </c:pt>
                      <c:pt idx="5745">
                        <c:v>0</c:v>
                      </c:pt>
                      <c:pt idx="5746">
                        <c:v>0</c:v>
                      </c:pt>
                      <c:pt idx="5747">
                        <c:v>0</c:v>
                      </c:pt>
                      <c:pt idx="5748">
                        <c:v>0</c:v>
                      </c:pt>
                      <c:pt idx="5749">
                        <c:v>0</c:v>
                      </c:pt>
                      <c:pt idx="5750">
                        <c:v>0</c:v>
                      </c:pt>
                      <c:pt idx="5751">
                        <c:v>0</c:v>
                      </c:pt>
                      <c:pt idx="5752">
                        <c:v>0</c:v>
                      </c:pt>
                      <c:pt idx="5753">
                        <c:v>0</c:v>
                      </c:pt>
                      <c:pt idx="5754">
                        <c:v>0</c:v>
                      </c:pt>
                      <c:pt idx="5755">
                        <c:v>0</c:v>
                      </c:pt>
                      <c:pt idx="5756">
                        <c:v>0</c:v>
                      </c:pt>
                      <c:pt idx="5757">
                        <c:v>0</c:v>
                      </c:pt>
                      <c:pt idx="5758">
                        <c:v>0</c:v>
                      </c:pt>
                      <c:pt idx="5759">
                        <c:v>0</c:v>
                      </c:pt>
                      <c:pt idx="5760">
                        <c:v>0</c:v>
                      </c:pt>
                      <c:pt idx="5761">
                        <c:v>0</c:v>
                      </c:pt>
                      <c:pt idx="5762">
                        <c:v>0</c:v>
                      </c:pt>
                      <c:pt idx="5763">
                        <c:v>0</c:v>
                      </c:pt>
                      <c:pt idx="5764">
                        <c:v>0</c:v>
                      </c:pt>
                      <c:pt idx="5765">
                        <c:v>0</c:v>
                      </c:pt>
                      <c:pt idx="5766">
                        <c:v>0</c:v>
                      </c:pt>
                      <c:pt idx="5767">
                        <c:v>0</c:v>
                      </c:pt>
                      <c:pt idx="5768">
                        <c:v>0</c:v>
                      </c:pt>
                      <c:pt idx="5769">
                        <c:v>0</c:v>
                      </c:pt>
                      <c:pt idx="5770">
                        <c:v>0</c:v>
                      </c:pt>
                      <c:pt idx="5771">
                        <c:v>0</c:v>
                      </c:pt>
                      <c:pt idx="5772">
                        <c:v>0</c:v>
                      </c:pt>
                      <c:pt idx="5773">
                        <c:v>0</c:v>
                      </c:pt>
                      <c:pt idx="5774">
                        <c:v>0</c:v>
                      </c:pt>
                      <c:pt idx="5775">
                        <c:v>0</c:v>
                      </c:pt>
                      <c:pt idx="5776">
                        <c:v>0</c:v>
                      </c:pt>
                      <c:pt idx="5777">
                        <c:v>0</c:v>
                      </c:pt>
                      <c:pt idx="5778">
                        <c:v>0</c:v>
                      </c:pt>
                      <c:pt idx="5779">
                        <c:v>0</c:v>
                      </c:pt>
                      <c:pt idx="5780">
                        <c:v>0</c:v>
                      </c:pt>
                      <c:pt idx="5781">
                        <c:v>0</c:v>
                      </c:pt>
                      <c:pt idx="5782">
                        <c:v>0</c:v>
                      </c:pt>
                      <c:pt idx="5783">
                        <c:v>0</c:v>
                      </c:pt>
                      <c:pt idx="5784">
                        <c:v>0</c:v>
                      </c:pt>
                      <c:pt idx="5785">
                        <c:v>0</c:v>
                      </c:pt>
                      <c:pt idx="5786">
                        <c:v>0</c:v>
                      </c:pt>
                      <c:pt idx="5787">
                        <c:v>0</c:v>
                      </c:pt>
                      <c:pt idx="5788">
                        <c:v>0</c:v>
                      </c:pt>
                      <c:pt idx="5789">
                        <c:v>0</c:v>
                      </c:pt>
                      <c:pt idx="5790">
                        <c:v>0</c:v>
                      </c:pt>
                      <c:pt idx="5791">
                        <c:v>0</c:v>
                      </c:pt>
                      <c:pt idx="5792">
                        <c:v>0</c:v>
                      </c:pt>
                      <c:pt idx="5793">
                        <c:v>0</c:v>
                      </c:pt>
                      <c:pt idx="5794">
                        <c:v>0</c:v>
                      </c:pt>
                      <c:pt idx="5795">
                        <c:v>0</c:v>
                      </c:pt>
                      <c:pt idx="5796">
                        <c:v>0</c:v>
                      </c:pt>
                      <c:pt idx="5797">
                        <c:v>0</c:v>
                      </c:pt>
                      <c:pt idx="5798">
                        <c:v>0</c:v>
                      </c:pt>
                      <c:pt idx="5799">
                        <c:v>0</c:v>
                      </c:pt>
                      <c:pt idx="5800">
                        <c:v>0</c:v>
                      </c:pt>
                      <c:pt idx="5801">
                        <c:v>0</c:v>
                      </c:pt>
                      <c:pt idx="5802">
                        <c:v>0</c:v>
                      </c:pt>
                      <c:pt idx="5803">
                        <c:v>0</c:v>
                      </c:pt>
                      <c:pt idx="5804">
                        <c:v>0</c:v>
                      </c:pt>
                      <c:pt idx="5805">
                        <c:v>0</c:v>
                      </c:pt>
                      <c:pt idx="5806">
                        <c:v>0</c:v>
                      </c:pt>
                      <c:pt idx="5807">
                        <c:v>0</c:v>
                      </c:pt>
                      <c:pt idx="5808">
                        <c:v>0</c:v>
                      </c:pt>
                      <c:pt idx="5809">
                        <c:v>0</c:v>
                      </c:pt>
                      <c:pt idx="5810">
                        <c:v>0</c:v>
                      </c:pt>
                      <c:pt idx="5811">
                        <c:v>0</c:v>
                      </c:pt>
                      <c:pt idx="5812">
                        <c:v>0</c:v>
                      </c:pt>
                      <c:pt idx="5813">
                        <c:v>0</c:v>
                      </c:pt>
                      <c:pt idx="5814">
                        <c:v>0</c:v>
                      </c:pt>
                      <c:pt idx="5815">
                        <c:v>0</c:v>
                      </c:pt>
                      <c:pt idx="5816">
                        <c:v>0</c:v>
                      </c:pt>
                      <c:pt idx="5817">
                        <c:v>0</c:v>
                      </c:pt>
                      <c:pt idx="5818">
                        <c:v>0</c:v>
                      </c:pt>
                      <c:pt idx="5819">
                        <c:v>0</c:v>
                      </c:pt>
                      <c:pt idx="5820">
                        <c:v>0</c:v>
                      </c:pt>
                      <c:pt idx="5821">
                        <c:v>0</c:v>
                      </c:pt>
                      <c:pt idx="5822">
                        <c:v>0</c:v>
                      </c:pt>
                      <c:pt idx="5823">
                        <c:v>0</c:v>
                      </c:pt>
                      <c:pt idx="5824">
                        <c:v>0</c:v>
                      </c:pt>
                      <c:pt idx="5825">
                        <c:v>0</c:v>
                      </c:pt>
                      <c:pt idx="5826">
                        <c:v>0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</c:v>
                      </c:pt>
                      <c:pt idx="5833">
                        <c:v>0</c:v>
                      </c:pt>
                      <c:pt idx="5834">
                        <c:v>0</c:v>
                      </c:pt>
                      <c:pt idx="5835">
                        <c:v>0</c:v>
                      </c:pt>
                      <c:pt idx="5836">
                        <c:v>0</c:v>
                      </c:pt>
                      <c:pt idx="5837">
                        <c:v>0</c:v>
                      </c:pt>
                      <c:pt idx="5838">
                        <c:v>0</c:v>
                      </c:pt>
                      <c:pt idx="5839">
                        <c:v>0</c:v>
                      </c:pt>
                      <c:pt idx="5840">
                        <c:v>0</c:v>
                      </c:pt>
                      <c:pt idx="5841">
                        <c:v>0</c:v>
                      </c:pt>
                      <c:pt idx="5842">
                        <c:v>0</c:v>
                      </c:pt>
                      <c:pt idx="5843">
                        <c:v>0</c:v>
                      </c:pt>
                      <c:pt idx="5844">
                        <c:v>0</c:v>
                      </c:pt>
                      <c:pt idx="5845">
                        <c:v>0</c:v>
                      </c:pt>
                      <c:pt idx="5846">
                        <c:v>0</c:v>
                      </c:pt>
                      <c:pt idx="5847">
                        <c:v>0</c:v>
                      </c:pt>
                      <c:pt idx="5848">
                        <c:v>0</c:v>
                      </c:pt>
                      <c:pt idx="5849">
                        <c:v>0</c:v>
                      </c:pt>
                      <c:pt idx="5850">
                        <c:v>0</c:v>
                      </c:pt>
                      <c:pt idx="5851">
                        <c:v>0</c:v>
                      </c:pt>
                      <c:pt idx="5852">
                        <c:v>0</c:v>
                      </c:pt>
                      <c:pt idx="5853">
                        <c:v>0</c:v>
                      </c:pt>
                      <c:pt idx="5854">
                        <c:v>0</c:v>
                      </c:pt>
                      <c:pt idx="5855">
                        <c:v>0</c:v>
                      </c:pt>
                      <c:pt idx="5856">
                        <c:v>0</c:v>
                      </c:pt>
                      <c:pt idx="5857">
                        <c:v>0</c:v>
                      </c:pt>
                      <c:pt idx="5858">
                        <c:v>0</c:v>
                      </c:pt>
                      <c:pt idx="5859">
                        <c:v>0</c:v>
                      </c:pt>
                      <c:pt idx="5860">
                        <c:v>0</c:v>
                      </c:pt>
                      <c:pt idx="5861">
                        <c:v>0</c:v>
                      </c:pt>
                      <c:pt idx="5862">
                        <c:v>0</c:v>
                      </c:pt>
                      <c:pt idx="5863">
                        <c:v>0</c:v>
                      </c:pt>
                      <c:pt idx="5864">
                        <c:v>0</c:v>
                      </c:pt>
                      <c:pt idx="5865">
                        <c:v>0</c:v>
                      </c:pt>
                      <c:pt idx="5866">
                        <c:v>0</c:v>
                      </c:pt>
                      <c:pt idx="5867">
                        <c:v>0</c:v>
                      </c:pt>
                      <c:pt idx="5868">
                        <c:v>0</c:v>
                      </c:pt>
                      <c:pt idx="5869">
                        <c:v>0</c:v>
                      </c:pt>
                      <c:pt idx="5870">
                        <c:v>0</c:v>
                      </c:pt>
                      <c:pt idx="5871">
                        <c:v>0</c:v>
                      </c:pt>
                      <c:pt idx="5872">
                        <c:v>0</c:v>
                      </c:pt>
                      <c:pt idx="5873">
                        <c:v>0</c:v>
                      </c:pt>
                      <c:pt idx="5874">
                        <c:v>0</c:v>
                      </c:pt>
                      <c:pt idx="5875">
                        <c:v>0</c:v>
                      </c:pt>
                      <c:pt idx="5876">
                        <c:v>0</c:v>
                      </c:pt>
                      <c:pt idx="5877">
                        <c:v>0</c:v>
                      </c:pt>
                      <c:pt idx="5878">
                        <c:v>0</c:v>
                      </c:pt>
                      <c:pt idx="5879">
                        <c:v>0</c:v>
                      </c:pt>
                      <c:pt idx="5880">
                        <c:v>0</c:v>
                      </c:pt>
                      <c:pt idx="5881">
                        <c:v>0</c:v>
                      </c:pt>
                      <c:pt idx="5882">
                        <c:v>0</c:v>
                      </c:pt>
                      <c:pt idx="5883">
                        <c:v>0</c:v>
                      </c:pt>
                      <c:pt idx="5884">
                        <c:v>0</c:v>
                      </c:pt>
                      <c:pt idx="5885">
                        <c:v>0</c:v>
                      </c:pt>
                      <c:pt idx="5886">
                        <c:v>0</c:v>
                      </c:pt>
                      <c:pt idx="5887">
                        <c:v>0</c:v>
                      </c:pt>
                      <c:pt idx="5888">
                        <c:v>0</c:v>
                      </c:pt>
                      <c:pt idx="5889">
                        <c:v>0</c:v>
                      </c:pt>
                      <c:pt idx="5890">
                        <c:v>0</c:v>
                      </c:pt>
                      <c:pt idx="5891">
                        <c:v>0</c:v>
                      </c:pt>
                      <c:pt idx="5892">
                        <c:v>0</c:v>
                      </c:pt>
                      <c:pt idx="5893">
                        <c:v>0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0</c:v>
                      </c:pt>
                      <c:pt idx="5898">
                        <c:v>0</c:v>
                      </c:pt>
                      <c:pt idx="5899">
                        <c:v>0</c:v>
                      </c:pt>
                      <c:pt idx="5900">
                        <c:v>0</c:v>
                      </c:pt>
                      <c:pt idx="5901">
                        <c:v>0</c:v>
                      </c:pt>
                      <c:pt idx="5902">
                        <c:v>0</c:v>
                      </c:pt>
                      <c:pt idx="5903">
                        <c:v>0</c:v>
                      </c:pt>
                      <c:pt idx="5904">
                        <c:v>0</c:v>
                      </c:pt>
                      <c:pt idx="5905">
                        <c:v>0</c:v>
                      </c:pt>
                      <c:pt idx="5906">
                        <c:v>0</c:v>
                      </c:pt>
                      <c:pt idx="5907">
                        <c:v>0</c:v>
                      </c:pt>
                      <c:pt idx="5908">
                        <c:v>0</c:v>
                      </c:pt>
                      <c:pt idx="5909">
                        <c:v>0</c:v>
                      </c:pt>
                      <c:pt idx="5910">
                        <c:v>0</c:v>
                      </c:pt>
                      <c:pt idx="5911">
                        <c:v>0</c:v>
                      </c:pt>
                      <c:pt idx="5912">
                        <c:v>0</c:v>
                      </c:pt>
                      <c:pt idx="5913">
                        <c:v>0</c:v>
                      </c:pt>
                      <c:pt idx="5914">
                        <c:v>0</c:v>
                      </c:pt>
                      <c:pt idx="5915">
                        <c:v>0</c:v>
                      </c:pt>
                      <c:pt idx="5916">
                        <c:v>0</c:v>
                      </c:pt>
                      <c:pt idx="5917">
                        <c:v>0</c:v>
                      </c:pt>
                      <c:pt idx="5918">
                        <c:v>0</c:v>
                      </c:pt>
                      <c:pt idx="5919">
                        <c:v>0</c:v>
                      </c:pt>
                      <c:pt idx="5920">
                        <c:v>0</c:v>
                      </c:pt>
                      <c:pt idx="5921">
                        <c:v>0</c:v>
                      </c:pt>
                      <c:pt idx="5922">
                        <c:v>0</c:v>
                      </c:pt>
                      <c:pt idx="5923">
                        <c:v>0</c:v>
                      </c:pt>
                      <c:pt idx="5924">
                        <c:v>0</c:v>
                      </c:pt>
                      <c:pt idx="5925">
                        <c:v>0</c:v>
                      </c:pt>
                      <c:pt idx="5926">
                        <c:v>0</c:v>
                      </c:pt>
                      <c:pt idx="5927">
                        <c:v>0</c:v>
                      </c:pt>
                      <c:pt idx="5928">
                        <c:v>0</c:v>
                      </c:pt>
                      <c:pt idx="5929">
                        <c:v>0</c:v>
                      </c:pt>
                      <c:pt idx="5930">
                        <c:v>0</c:v>
                      </c:pt>
                      <c:pt idx="5931">
                        <c:v>0</c:v>
                      </c:pt>
                      <c:pt idx="5932">
                        <c:v>0</c:v>
                      </c:pt>
                      <c:pt idx="5933">
                        <c:v>0</c:v>
                      </c:pt>
                      <c:pt idx="5934">
                        <c:v>0</c:v>
                      </c:pt>
                      <c:pt idx="5935">
                        <c:v>0</c:v>
                      </c:pt>
                      <c:pt idx="5936">
                        <c:v>0</c:v>
                      </c:pt>
                      <c:pt idx="5937">
                        <c:v>0</c:v>
                      </c:pt>
                      <c:pt idx="5938">
                        <c:v>0</c:v>
                      </c:pt>
                      <c:pt idx="5939">
                        <c:v>0</c:v>
                      </c:pt>
                      <c:pt idx="5940">
                        <c:v>0</c:v>
                      </c:pt>
                      <c:pt idx="5941">
                        <c:v>0</c:v>
                      </c:pt>
                      <c:pt idx="5942">
                        <c:v>0</c:v>
                      </c:pt>
                      <c:pt idx="5943">
                        <c:v>0</c:v>
                      </c:pt>
                      <c:pt idx="5944">
                        <c:v>0</c:v>
                      </c:pt>
                      <c:pt idx="5945">
                        <c:v>0</c:v>
                      </c:pt>
                      <c:pt idx="5946">
                        <c:v>0</c:v>
                      </c:pt>
                      <c:pt idx="5947">
                        <c:v>0</c:v>
                      </c:pt>
                      <c:pt idx="5948">
                        <c:v>0</c:v>
                      </c:pt>
                      <c:pt idx="5949">
                        <c:v>0</c:v>
                      </c:pt>
                      <c:pt idx="5950">
                        <c:v>0</c:v>
                      </c:pt>
                      <c:pt idx="5951">
                        <c:v>0</c:v>
                      </c:pt>
                      <c:pt idx="5952">
                        <c:v>0</c:v>
                      </c:pt>
                      <c:pt idx="5953">
                        <c:v>0</c:v>
                      </c:pt>
                      <c:pt idx="5954">
                        <c:v>0</c:v>
                      </c:pt>
                      <c:pt idx="5955">
                        <c:v>0</c:v>
                      </c:pt>
                      <c:pt idx="5956">
                        <c:v>0</c:v>
                      </c:pt>
                      <c:pt idx="5957">
                        <c:v>0</c:v>
                      </c:pt>
                      <c:pt idx="5958">
                        <c:v>0</c:v>
                      </c:pt>
                      <c:pt idx="5959">
                        <c:v>0</c:v>
                      </c:pt>
                      <c:pt idx="5960">
                        <c:v>0</c:v>
                      </c:pt>
                      <c:pt idx="5961">
                        <c:v>0</c:v>
                      </c:pt>
                      <c:pt idx="5962">
                        <c:v>0</c:v>
                      </c:pt>
                      <c:pt idx="5963">
                        <c:v>0</c:v>
                      </c:pt>
                      <c:pt idx="5964">
                        <c:v>0</c:v>
                      </c:pt>
                      <c:pt idx="5965">
                        <c:v>0</c:v>
                      </c:pt>
                      <c:pt idx="5966">
                        <c:v>0</c:v>
                      </c:pt>
                      <c:pt idx="5967">
                        <c:v>0</c:v>
                      </c:pt>
                      <c:pt idx="5968">
                        <c:v>0</c:v>
                      </c:pt>
                      <c:pt idx="5969">
                        <c:v>0</c:v>
                      </c:pt>
                      <c:pt idx="5970">
                        <c:v>0</c:v>
                      </c:pt>
                      <c:pt idx="5971">
                        <c:v>0</c:v>
                      </c:pt>
                      <c:pt idx="5972">
                        <c:v>0</c:v>
                      </c:pt>
                      <c:pt idx="5973">
                        <c:v>0</c:v>
                      </c:pt>
                      <c:pt idx="5974">
                        <c:v>0</c:v>
                      </c:pt>
                      <c:pt idx="5975">
                        <c:v>0</c:v>
                      </c:pt>
                      <c:pt idx="5976">
                        <c:v>0</c:v>
                      </c:pt>
                      <c:pt idx="5977">
                        <c:v>0</c:v>
                      </c:pt>
                      <c:pt idx="5978">
                        <c:v>0</c:v>
                      </c:pt>
                      <c:pt idx="5979">
                        <c:v>0</c:v>
                      </c:pt>
                      <c:pt idx="5980">
                        <c:v>0</c:v>
                      </c:pt>
                      <c:pt idx="5981">
                        <c:v>0</c:v>
                      </c:pt>
                      <c:pt idx="5982">
                        <c:v>0</c:v>
                      </c:pt>
                      <c:pt idx="5983">
                        <c:v>0</c:v>
                      </c:pt>
                      <c:pt idx="5984">
                        <c:v>0</c:v>
                      </c:pt>
                      <c:pt idx="5985">
                        <c:v>0</c:v>
                      </c:pt>
                      <c:pt idx="5986">
                        <c:v>0</c:v>
                      </c:pt>
                      <c:pt idx="5987">
                        <c:v>0</c:v>
                      </c:pt>
                      <c:pt idx="5988">
                        <c:v>0</c:v>
                      </c:pt>
                      <c:pt idx="5989">
                        <c:v>0</c:v>
                      </c:pt>
                      <c:pt idx="5990">
                        <c:v>0</c:v>
                      </c:pt>
                      <c:pt idx="5991">
                        <c:v>0</c:v>
                      </c:pt>
                      <c:pt idx="5992">
                        <c:v>0</c:v>
                      </c:pt>
                      <c:pt idx="5993">
                        <c:v>0</c:v>
                      </c:pt>
                      <c:pt idx="5994">
                        <c:v>0</c:v>
                      </c:pt>
                      <c:pt idx="5995">
                        <c:v>0</c:v>
                      </c:pt>
                      <c:pt idx="5996">
                        <c:v>0</c:v>
                      </c:pt>
                      <c:pt idx="5997">
                        <c:v>0</c:v>
                      </c:pt>
                      <c:pt idx="5998">
                        <c:v>0</c:v>
                      </c:pt>
                      <c:pt idx="5999">
                        <c:v>0</c:v>
                      </c:pt>
                      <c:pt idx="6000">
                        <c:v>0</c:v>
                      </c:pt>
                      <c:pt idx="6001">
                        <c:v>0</c:v>
                      </c:pt>
                      <c:pt idx="6002">
                        <c:v>0</c:v>
                      </c:pt>
                      <c:pt idx="6003">
                        <c:v>0</c:v>
                      </c:pt>
                      <c:pt idx="6004">
                        <c:v>0</c:v>
                      </c:pt>
                      <c:pt idx="6005">
                        <c:v>0</c:v>
                      </c:pt>
                      <c:pt idx="6006">
                        <c:v>0</c:v>
                      </c:pt>
                      <c:pt idx="6007">
                        <c:v>0</c:v>
                      </c:pt>
                      <c:pt idx="6008">
                        <c:v>0</c:v>
                      </c:pt>
                      <c:pt idx="6009">
                        <c:v>0</c:v>
                      </c:pt>
                      <c:pt idx="6010">
                        <c:v>0</c:v>
                      </c:pt>
                      <c:pt idx="6011">
                        <c:v>0</c:v>
                      </c:pt>
                      <c:pt idx="6012">
                        <c:v>0</c:v>
                      </c:pt>
                      <c:pt idx="6013">
                        <c:v>0</c:v>
                      </c:pt>
                      <c:pt idx="6014">
                        <c:v>0</c:v>
                      </c:pt>
                      <c:pt idx="6015">
                        <c:v>0</c:v>
                      </c:pt>
                      <c:pt idx="6016">
                        <c:v>0</c:v>
                      </c:pt>
                      <c:pt idx="6017">
                        <c:v>0</c:v>
                      </c:pt>
                      <c:pt idx="6018">
                        <c:v>0</c:v>
                      </c:pt>
                      <c:pt idx="6019">
                        <c:v>0</c:v>
                      </c:pt>
                      <c:pt idx="6020">
                        <c:v>0</c:v>
                      </c:pt>
                      <c:pt idx="6021">
                        <c:v>0</c:v>
                      </c:pt>
                      <c:pt idx="6022">
                        <c:v>0</c:v>
                      </c:pt>
                      <c:pt idx="6023">
                        <c:v>0</c:v>
                      </c:pt>
                      <c:pt idx="6024">
                        <c:v>0</c:v>
                      </c:pt>
                      <c:pt idx="6025">
                        <c:v>0</c:v>
                      </c:pt>
                      <c:pt idx="6026">
                        <c:v>0</c:v>
                      </c:pt>
                      <c:pt idx="6027">
                        <c:v>0</c:v>
                      </c:pt>
                      <c:pt idx="6028">
                        <c:v>0</c:v>
                      </c:pt>
                      <c:pt idx="6029">
                        <c:v>0</c:v>
                      </c:pt>
                      <c:pt idx="6030">
                        <c:v>0</c:v>
                      </c:pt>
                      <c:pt idx="6031">
                        <c:v>0</c:v>
                      </c:pt>
                      <c:pt idx="6032">
                        <c:v>0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0</c:v>
                      </c:pt>
                      <c:pt idx="6055">
                        <c:v>0</c:v>
                      </c:pt>
                      <c:pt idx="6056">
                        <c:v>0</c:v>
                      </c:pt>
                      <c:pt idx="6057">
                        <c:v>0</c:v>
                      </c:pt>
                      <c:pt idx="6058">
                        <c:v>0</c:v>
                      </c:pt>
                      <c:pt idx="6059">
                        <c:v>0</c:v>
                      </c:pt>
                      <c:pt idx="6060">
                        <c:v>0</c:v>
                      </c:pt>
                      <c:pt idx="6061">
                        <c:v>0</c:v>
                      </c:pt>
                      <c:pt idx="6062">
                        <c:v>0</c:v>
                      </c:pt>
                      <c:pt idx="6063">
                        <c:v>0</c:v>
                      </c:pt>
                      <c:pt idx="6064">
                        <c:v>0</c:v>
                      </c:pt>
                      <c:pt idx="6065">
                        <c:v>0</c:v>
                      </c:pt>
                      <c:pt idx="6066">
                        <c:v>0</c:v>
                      </c:pt>
                      <c:pt idx="6067">
                        <c:v>0</c:v>
                      </c:pt>
                      <c:pt idx="6068">
                        <c:v>0</c:v>
                      </c:pt>
                      <c:pt idx="6069">
                        <c:v>0</c:v>
                      </c:pt>
                      <c:pt idx="6070">
                        <c:v>0</c:v>
                      </c:pt>
                      <c:pt idx="6071">
                        <c:v>0</c:v>
                      </c:pt>
                      <c:pt idx="6072">
                        <c:v>0</c:v>
                      </c:pt>
                      <c:pt idx="6073">
                        <c:v>0</c:v>
                      </c:pt>
                      <c:pt idx="6074">
                        <c:v>0</c:v>
                      </c:pt>
                      <c:pt idx="6075">
                        <c:v>0</c:v>
                      </c:pt>
                      <c:pt idx="6076">
                        <c:v>0</c:v>
                      </c:pt>
                      <c:pt idx="6077">
                        <c:v>0</c:v>
                      </c:pt>
                      <c:pt idx="6078">
                        <c:v>0</c:v>
                      </c:pt>
                      <c:pt idx="6079">
                        <c:v>0</c:v>
                      </c:pt>
                      <c:pt idx="6080">
                        <c:v>0</c:v>
                      </c:pt>
                      <c:pt idx="6081">
                        <c:v>0</c:v>
                      </c:pt>
                      <c:pt idx="6082">
                        <c:v>0</c:v>
                      </c:pt>
                      <c:pt idx="6083">
                        <c:v>0</c:v>
                      </c:pt>
                      <c:pt idx="6084">
                        <c:v>0</c:v>
                      </c:pt>
                      <c:pt idx="6085">
                        <c:v>0</c:v>
                      </c:pt>
                      <c:pt idx="6086">
                        <c:v>0</c:v>
                      </c:pt>
                      <c:pt idx="6087">
                        <c:v>0</c:v>
                      </c:pt>
                      <c:pt idx="6088">
                        <c:v>0</c:v>
                      </c:pt>
                      <c:pt idx="6089">
                        <c:v>0</c:v>
                      </c:pt>
                      <c:pt idx="6090">
                        <c:v>0</c:v>
                      </c:pt>
                      <c:pt idx="6091">
                        <c:v>0</c:v>
                      </c:pt>
                      <c:pt idx="6092">
                        <c:v>0</c:v>
                      </c:pt>
                      <c:pt idx="6093">
                        <c:v>0</c:v>
                      </c:pt>
                      <c:pt idx="6094">
                        <c:v>0</c:v>
                      </c:pt>
                      <c:pt idx="6095">
                        <c:v>0</c:v>
                      </c:pt>
                      <c:pt idx="6096">
                        <c:v>0</c:v>
                      </c:pt>
                      <c:pt idx="6097">
                        <c:v>0</c:v>
                      </c:pt>
                      <c:pt idx="6098">
                        <c:v>0</c:v>
                      </c:pt>
                      <c:pt idx="6099">
                        <c:v>0</c:v>
                      </c:pt>
                      <c:pt idx="6100">
                        <c:v>0</c:v>
                      </c:pt>
                      <c:pt idx="6101">
                        <c:v>0</c:v>
                      </c:pt>
                      <c:pt idx="6102">
                        <c:v>0</c:v>
                      </c:pt>
                      <c:pt idx="6103">
                        <c:v>0</c:v>
                      </c:pt>
                      <c:pt idx="6104">
                        <c:v>0</c:v>
                      </c:pt>
                      <c:pt idx="6105">
                        <c:v>0</c:v>
                      </c:pt>
                      <c:pt idx="6106">
                        <c:v>0</c:v>
                      </c:pt>
                      <c:pt idx="6107">
                        <c:v>0</c:v>
                      </c:pt>
                      <c:pt idx="6108">
                        <c:v>0</c:v>
                      </c:pt>
                      <c:pt idx="6109">
                        <c:v>0</c:v>
                      </c:pt>
                      <c:pt idx="6110">
                        <c:v>0</c:v>
                      </c:pt>
                      <c:pt idx="6111">
                        <c:v>0</c:v>
                      </c:pt>
                      <c:pt idx="6112">
                        <c:v>0</c:v>
                      </c:pt>
                      <c:pt idx="6113">
                        <c:v>0</c:v>
                      </c:pt>
                      <c:pt idx="6114">
                        <c:v>0</c:v>
                      </c:pt>
                      <c:pt idx="6115">
                        <c:v>0</c:v>
                      </c:pt>
                      <c:pt idx="6116">
                        <c:v>0</c:v>
                      </c:pt>
                      <c:pt idx="6117">
                        <c:v>0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0</c:v>
                      </c:pt>
                      <c:pt idx="6125">
                        <c:v>0</c:v>
                      </c:pt>
                      <c:pt idx="6126">
                        <c:v>0</c:v>
                      </c:pt>
                      <c:pt idx="6127">
                        <c:v>0</c:v>
                      </c:pt>
                      <c:pt idx="6128">
                        <c:v>0</c:v>
                      </c:pt>
                      <c:pt idx="6129">
                        <c:v>0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0</c:v>
                      </c:pt>
                      <c:pt idx="6135">
                        <c:v>0</c:v>
                      </c:pt>
                      <c:pt idx="6136">
                        <c:v>0</c:v>
                      </c:pt>
                      <c:pt idx="6137">
                        <c:v>0</c:v>
                      </c:pt>
                      <c:pt idx="6138">
                        <c:v>0</c:v>
                      </c:pt>
                      <c:pt idx="6139">
                        <c:v>0</c:v>
                      </c:pt>
                      <c:pt idx="6140">
                        <c:v>0</c:v>
                      </c:pt>
                      <c:pt idx="6141">
                        <c:v>0</c:v>
                      </c:pt>
                      <c:pt idx="6142">
                        <c:v>0</c:v>
                      </c:pt>
                      <c:pt idx="6143">
                        <c:v>0</c:v>
                      </c:pt>
                      <c:pt idx="6144">
                        <c:v>0</c:v>
                      </c:pt>
                      <c:pt idx="6145">
                        <c:v>0</c:v>
                      </c:pt>
                      <c:pt idx="6146">
                        <c:v>0</c:v>
                      </c:pt>
                      <c:pt idx="6147">
                        <c:v>0</c:v>
                      </c:pt>
                      <c:pt idx="6148">
                        <c:v>0</c:v>
                      </c:pt>
                      <c:pt idx="6149">
                        <c:v>0</c:v>
                      </c:pt>
                      <c:pt idx="6150">
                        <c:v>0</c:v>
                      </c:pt>
                      <c:pt idx="6151">
                        <c:v>0</c:v>
                      </c:pt>
                      <c:pt idx="6152">
                        <c:v>0</c:v>
                      </c:pt>
                      <c:pt idx="6153">
                        <c:v>0</c:v>
                      </c:pt>
                      <c:pt idx="6154">
                        <c:v>0</c:v>
                      </c:pt>
                      <c:pt idx="6155">
                        <c:v>0</c:v>
                      </c:pt>
                      <c:pt idx="6156">
                        <c:v>0</c:v>
                      </c:pt>
                      <c:pt idx="6157">
                        <c:v>0</c:v>
                      </c:pt>
                      <c:pt idx="6158">
                        <c:v>0</c:v>
                      </c:pt>
                      <c:pt idx="6159">
                        <c:v>0</c:v>
                      </c:pt>
                      <c:pt idx="6160">
                        <c:v>0</c:v>
                      </c:pt>
                      <c:pt idx="6161">
                        <c:v>0</c:v>
                      </c:pt>
                      <c:pt idx="6162">
                        <c:v>0</c:v>
                      </c:pt>
                      <c:pt idx="6163">
                        <c:v>0</c:v>
                      </c:pt>
                      <c:pt idx="6164">
                        <c:v>0</c:v>
                      </c:pt>
                      <c:pt idx="6165">
                        <c:v>0</c:v>
                      </c:pt>
                      <c:pt idx="6166">
                        <c:v>0</c:v>
                      </c:pt>
                      <c:pt idx="6167">
                        <c:v>0</c:v>
                      </c:pt>
                      <c:pt idx="6168">
                        <c:v>0</c:v>
                      </c:pt>
                      <c:pt idx="6169">
                        <c:v>0</c:v>
                      </c:pt>
                      <c:pt idx="6170">
                        <c:v>0</c:v>
                      </c:pt>
                      <c:pt idx="6171">
                        <c:v>0</c:v>
                      </c:pt>
                      <c:pt idx="6172">
                        <c:v>0</c:v>
                      </c:pt>
                      <c:pt idx="6173">
                        <c:v>0</c:v>
                      </c:pt>
                      <c:pt idx="6174">
                        <c:v>0</c:v>
                      </c:pt>
                      <c:pt idx="6175">
                        <c:v>0</c:v>
                      </c:pt>
                      <c:pt idx="6176">
                        <c:v>0</c:v>
                      </c:pt>
                      <c:pt idx="6177">
                        <c:v>0</c:v>
                      </c:pt>
                      <c:pt idx="6178">
                        <c:v>0</c:v>
                      </c:pt>
                      <c:pt idx="6179">
                        <c:v>0</c:v>
                      </c:pt>
                      <c:pt idx="6180">
                        <c:v>0</c:v>
                      </c:pt>
                      <c:pt idx="6181">
                        <c:v>0</c:v>
                      </c:pt>
                      <c:pt idx="6182">
                        <c:v>0</c:v>
                      </c:pt>
                      <c:pt idx="6183">
                        <c:v>0</c:v>
                      </c:pt>
                      <c:pt idx="6184">
                        <c:v>0</c:v>
                      </c:pt>
                      <c:pt idx="6185">
                        <c:v>0</c:v>
                      </c:pt>
                      <c:pt idx="6186">
                        <c:v>0</c:v>
                      </c:pt>
                      <c:pt idx="6187">
                        <c:v>0</c:v>
                      </c:pt>
                      <c:pt idx="6188">
                        <c:v>0</c:v>
                      </c:pt>
                      <c:pt idx="6189">
                        <c:v>0</c:v>
                      </c:pt>
                      <c:pt idx="6190">
                        <c:v>0</c:v>
                      </c:pt>
                      <c:pt idx="6191">
                        <c:v>0</c:v>
                      </c:pt>
                      <c:pt idx="6192">
                        <c:v>0</c:v>
                      </c:pt>
                      <c:pt idx="6193">
                        <c:v>0</c:v>
                      </c:pt>
                      <c:pt idx="6194">
                        <c:v>0</c:v>
                      </c:pt>
                      <c:pt idx="6195">
                        <c:v>0</c:v>
                      </c:pt>
                      <c:pt idx="6196">
                        <c:v>0</c:v>
                      </c:pt>
                      <c:pt idx="6197">
                        <c:v>0</c:v>
                      </c:pt>
                      <c:pt idx="6198">
                        <c:v>0</c:v>
                      </c:pt>
                      <c:pt idx="6199">
                        <c:v>0</c:v>
                      </c:pt>
                      <c:pt idx="6200">
                        <c:v>0</c:v>
                      </c:pt>
                      <c:pt idx="6201">
                        <c:v>0</c:v>
                      </c:pt>
                      <c:pt idx="6202">
                        <c:v>0</c:v>
                      </c:pt>
                      <c:pt idx="6203">
                        <c:v>0</c:v>
                      </c:pt>
                      <c:pt idx="6204">
                        <c:v>0</c:v>
                      </c:pt>
                      <c:pt idx="6205">
                        <c:v>0</c:v>
                      </c:pt>
                      <c:pt idx="6206">
                        <c:v>0</c:v>
                      </c:pt>
                      <c:pt idx="6207">
                        <c:v>0</c:v>
                      </c:pt>
                      <c:pt idx="6208">
                        <c:v>0</c:v>
                      </c:pt>
                      <c:pt idx="6209">
                        <c:v>0</c:v>
                      </c:pt>
                      <c:pt idx="6210">
                        <c:v>0</c:v>
                      </c:pt>
                      <c:pt idx="6211">
                        <c:v>0</c:v>
                      </c:pt>
                      <c:pt idx="6212">
                        <c:v>0</c:v>
                      </c:pt>
                      <c:pt idx="6213">
                        <c:v>0</c:v>
                      </c:pt>
                      <c:pt idx="6214">
                        <c:v>0</c:v>
                      </c:pt>
                      <c:pt idx="6215">
                        <c:v>0</c:v>
                      </c:pt>
                      <c:pt idx="6216">
                        <c:v>0</c:v>
                      </c:pt>
                      <c:pt idx="6217">
                        <c:v>0</c:v>
                      </c:pt>
                      <c:pt idx="6218">
                        <c:v>0</c:v>
                      </c:pt>
                      <c:pt idx="6219">
                        <c:v>0</c:v>
                      </c:pt>
                      <c:pt idx="6220">
                        <c:v>0</c:v>
                      </c:pt>
                      <c:pt idx="6221">
                        <c:v>0</c:v>
                      </c:pt>
                      <c:pt idx="6222">
                        <c:v>0</c:v>
                      </c:pt>
                      <c:pt idx="6223">
                        <c:v>0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0</c:v>
                      </c:pt>
                      <c:pt idx="6229">
                        <c:v>0</c:v>
                      </c:pt>
                      <c:pt idx="6230">
                        <c:v>0</c:v>
                      </c:pt>
                      <c:pt idx="6231">
                        <c:v>0</c:v>
                      </c:pt>
                      <c:pt idx="6232">
                        <c:v>0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</c:v>
                      </c:pt>
                      <c:pt idx="6252">
                        <c:v>0</c:v>
                      </c:pt>
                      <c:pt idx="6253">
                        <c:v>0</c:v>
                      </c:pt>
                      <c:pt idx="6254">
                        <c:v>0</c:v>
                      </c:pt>
                      <c:pt idx="6255">
                        <c:v>0</c:v>
                      </c:pt>
                      <c:pt idx="6256">
                        <c:v>0</c:v>
                      </c:pt>
                      <c:pt idx="6257">
                        <c:v>0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0</c:v>
                      </c:pt>
                      <c:pt idx="6389">
                        <c:v>0</c:v>
                      </c:pt>
                      <c:pt idx="6390">
                        <c:v>0</c:v>
                      </c:pt>
                      <c:pt idx="6391">
                        <c:v>0</c:v>
                      </c:pt>
                      <c:pt idx="6392">
                        <c:v>0</c:v>
                      </c:pt>
                      <c:pt idx="6393">
                        <c:v>0</c:v>
                      </c:pt>
                      <c:pt idx="6394">
                        <c:v>0</c:v>
                      </c:pt>
                      <c:pt idx="6395">
                        <c:v>0</c:v>
                      </c:pt>
                      <c:pt idx="6396">
                        <c:v>0</c:v>
                      </c:pt>
                      <c:pt idx="6397">
                        <c:v>0</c:v>
                      </c:pt>
                      <c:pt idx="6398">
                        <c:v>0</c:v>
                      </c:pt>
                      <c:pt idx="6399">
                        <c:v>0</c:v>
                      </c:pt>
                      <c:pt idx="6400">
                        <c:v>0</c:v>
                      </c:pt>
                      <c:pt idx="6401">
                        <c:v>0</c:v>
                      </c:pt>
                      <c:pt idx="6402">
                        <c:v>0</c:v>
                      </c:pt>
                      <c:pt idx="6403">
                        <c:v>0</c:v>
                      </c:pt>
                      <c:pt idx="6404">
                        <c:v>0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0</c:v>
                      </c:pt>
                      <c:pt idx="6418">
                        <c:v>0</c:v>
                      </c:pt>
                      <c:pt idx="6419">
                        <c:v>0</c:v>
                      </c:pt>
                      <c:pt idx="6420">
                        <c:v>0</c:v>
                      </c:pt>
                      <c:pt idx="6421">
                        <c:v>0</c:v>
                      </c:pt>
                      <c:pt idx="6422">
                        <c:v>0</c:v>
                      </c:pt>
                      <c:pt idx="6423">
                        <c:v>0</c:v>
                      </c:pt>
                      <c:pt idx="6424">
                        <c:v>0</c:v>
                      </c:pt>
                      <c:pt idx="6425">
                        <c:v>0</c:v>
                      </c:pt>
                      <c:pt idx="6426">
                        <c:v>0</c:v>
                      </c:pt>
                      <c:pt idx="6427">
                        <c:v>0</c:v>
                      </c:pt>
                      <c:pt idx="6428">
                        <c:v>0</c:v>
                      </c:pt>
                      <c:pt idx="6429">
                        <c:v>0</c:v>
                      </c:pt>
                      <c:pt idx="6430">
                        <c:v>0</c:v>
                      </c:pt>
                      <c:pt idx="6431">
                        <c:v>0</c:v>
                      </c:pt>
                      <c:pt idx="6432">
                        <c:v>0</c:v>
                      </c:pt>
                      <c:pt idx="6433">
                        <c:v>0</c:v>
                      </c:pt>
                      <c:pt idx="6434">
                        <c:v>0</c:v>
                      </c:pt>
                      <c:pt idx="6435">
                        <c:v>0</c:v>
                      </c:pt>
                      <c:pt idx="6436">
                        <c:v>0</c:v>
                      </c:pt>
                      <c:pt idx="6437">
                        <c:v>0</c:v>
                      </c:pt>
                      <c:pt idx="6438">
                        <c:v>0</c:v>
                      </c:pt>
                      <c:pt idx="6439">
                        <c:v>0</c:v>
                      </c:pt>
                      <c:pt idx="6440">
                        <c:v>0</c:v>
                      </c:pt>
                      <c:pt idx="6441">
                        <c:v>0</c:v>
                      </c:pt>
                      <c:pt idx="6442">
                        <c:v>0</c:v>
                      </c:pt>
                      <c:pt idx="6443">
                        <c:v>0</c:v>
                      </c:pt>
                      <c:pt idx="6444">
                        <c:v>0</c:v>
                      </c:pt>
                      <c:pt idx="6445">
                        <c:v>0</c:v>
                      </c:pt>
                      <c:pt idx="6446">
                        <c:v>0</c:v>
                      </c:pt>
                      <c:pt idx="6447">
                        <c:v>0</c:v>
                      </c:pt>
                      <c:pt idx="6448">
                        <c:v>0</c:v>
                      </c:pt>
                      <c:pt idx="6449">
                        <c:v>0</c:v>
                      </c:pt>
                      <c:pt idx="6450">
                        <c:v>0</c:v>
                      </c:pt>
                      <c:pt idx="6451">
                        <c:v>0</c:v>
                      </c:pt>
                      <c:pt idx="6452">
                        <c:v>0</c:v>
                      </c:pt>
                      <c:pt idx="6453">
                        <c:v>0</c:v>
                      </c:pt>
                      <c:pt idx="6454">
                        <c:v>0</c:v>
                      </c:pt>
                      <c:pt idx="6455">
                        <c:v>0</c:v>
                      </c:pt>
                      <c:pt idx="6456">
                        <c:v>0</c:v>
                      </c:pt>
                      <c:pt idx="6457">
                        <c:v>0</c:v>
                      </c:pt>
                      <c:pt idx="6458">
                        <c:v>0</c:v>
                      </c:pt>
                      <c:pt idx="6459">
                        <c:v>0</c:v>
                      </c:pt>
                      <c:pt idx="6460">
                        <c:v>0</c:v>
                      </c:pt>
                      <c:pt idx="6461">
                        <c:v>0</c:v>
                      </c:pt>
                      <c:pt idx="6462">
                        <c:v>0</c:v>
                      </c:pt>
                      <c:pt idx="6463">
                        <c:v>0</c:v>
                      </c:pt>
                      <c:pt idx="6464">
                        <c:v>0</c:v>
                      </c:pt>
                      <c:pt idx="6465">
                        <c:v>0</c:v>
                      </c:pt>
                      <c:pt idx="6466">
                        <c:v>0</c:v>
                      </c:pt>
                      <c:pt idx="6467">
                        <c:v>0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0</c:v>
                      </c:pt>
                      <c:pt idx="6483">
                        <c:v>0</c:v>
                      </c:pt>
                      <c:pt idx="6484">
                        <c:v>0</c:v>
                      </c:pt>
                      <c:pt idx="6485">
                        <c:v>0</c:v>
                      </c:pt>
                      <c:pt idx="6486">
                        <c:v>0</c:v>
                      </c:pt>
                      <c:pt idx="6487">
                        <c:v>0</c:v>
                      </c:pt>
                      <c:pt idx="6488">
                        <c:v>0</c:v>
                      </c:pt>
                      <c:pt idx="6489">
                        <c:v>0</c:v>
                      </c:pt>
                      <c:pt idx="6490">
                        <c:v>0</c:v>
                      </c:pt>
                      <c:pt idx="6491">
                        <c:v>0</c:v>
                      </c:pt>
                      <c:pt idx="6492">
                        <c:v>0</c:v>
                      </c:pt>
                      <c:pt idx="6493">
                        <c:v>0</c:v>
                      </c:pt>
                      <c:pt idx="6494">
                        <c:v>0</c:v>
                      </c:pt>
                      <c:pt idx="6495">
                        <c:v>0</c:v>
                      </c:pt>
                      <c:pt idx="6496">
                        <c:v>0</c:v>
                      </c:pt>
                      <c:pt idx="6497">
                        <c:v>0</c:v>
                      </c:pt>
                      <c:pt idx="6498">
                        <c:v>0</c:v>
                      </c:pt>
                      <c:pt idx="6499">
                        <c:v>0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0</c:v>
                      </c:pt>
                      <c:pt idx="6540">
                        <c:v>0</c:v>
                      </c:pt>
                      <c:pt idx="6541">
                        <c:v>0</c:v>
                      </c:pt>
                      <c:pt idx="6542">
                        <c:v>0</c:v>
                      </c:pt>
                      <c:pt idx="6543">
                        <c:v>0</c:v>
                      </c:pt>
                      <c:pt idx="6544">
                        <c:v>0</c:v>
                      </c:pt>
                      <c:pt idx="6545">
                        <c:v>0</c:v>
                      </c:pt>
                      <c:pt idx="6546">
                        <c:v>0</c:v>
                      </c:pt>
                      <c:pt idx="6547">
                        <c:v>0</c:v>
                      </c:pt>
                      <c:pt idx="6548">
                        <c:v>0</c:v>
                      </c:pt>
                      <c:pt idx="6549">
                        <c:v>0</c:v>
                      </c:pt>
                      <c:pt idx="6550">
                        <c:v>0</c:v>
                      </c:pt>
                      <c:pt idx="6551">
                        <c:v>0</c:v>
                      </c:pt>
                      <c:pt idx="6552">
                        <c:v>0</c:v>
                      </c:pt>
                      <c:pt idx="6553">
                        <c:v>0</c:v>
                      </c:pt>
                      <c:pt idx="6554">
                        <c:v>0</c:v>
                      </c:pt>
                      <c:pt idx="6555">
                        <c:v>0</c:v>
                      </c:pt>
                      <c:pt idx="6556">
                        <c:v>0</c:v>
                      </c:pt>
                      <c:pt idx="6557">
                        <c:v>0</c:v>
                      </c:pt>
                      <c:pt idx="6558">
                        <c:v>0</c:v>
                      </c:pt>
                      <c:pt idx="6559">
                        <c:v>0</c:v>
                      </c:pt>
                      <c:pt idx="6560">
                        <c:v>0</c:v>
                      </c:pt>
                      <c:pt idx="6561">
                        <c:v>0</c:v>
                      </c:pt>
                      <c:pt idx="6562">
                        <c:v>0</c:v>
                      </c:pt>
                      <c:pt idx="6563">
                        <c:v>0</c:v>
                      </c:pt>
                      <c:pt idx="6564">
                        <c:v>0</c:v>
                      </c:pt>
                      <c:pt idx="6565">
                        <c:v>0</c:v>
                      </c:pt>
                      <c:pt idx="6566">
                        <c:v>0</c:v>
                      </c:pt>
                      <c:pt idx="6567">
                        <c:v>0</c:v>
                      </c:pt>
                      <c:pt idx="6568">
                        <c:v>0</c:v>
                      </c:pt>
                      <c:pt idx="6569">
                        <c:v>0</c:v>
                      </c:pt>
                      <c:pt idx="6570">
                        <c:v>0</c:v>
                      </c:pt>
                      <c:pt idx="6571">
                        <c:v>0</c:v>
                      </c:pt>
                      <c:pt idx="6572">
                        <c:v>0</c:v>
                      </c:pt>
                      <c:pt idx="6573">
                        <c:v>0</c:v>
                      </c:pt>
                      <c:pt idx="6574">
                        <c:v>0</c:v>
                      </c:pt>
                      <c:pt idx="6575">
                        <c:v>0</c:v>
                      </c:pt>
                      <c:pt idx="6576">
                        <c:v>0</c:v>
                      </c:pt>
                      <c:pt idx="6577">
                        <c:v>0</c:v>
                      </c:pt>
                      <c:pt idx="6578">
                        <c:v>0</c:v>
                      </c:pt>
                      <c:pt idx="6579">
                        <c:v>0</c:v>
                      </c:pt>
                      <c:pt idx="6580">
                        <c:v>0</c:v>
                      </c:pt>
                      <c:pt idx="6581">
                        <c:v>0</c:v>
                      </c:pt>
                      <c:pt idx="6582">
                        <c:v>0</c:v>
                      </c:pt>
                      <c:pt idx="6583">
                        <c:v>0</c:v>
                      </c:pt>
                      <c:pt idx="6584">
                        <c:v>0</c:v>
                      </c:pt>
                      <c:pt idx="6585">
                        <c:v>0</c:v>
                      </c:pt>
                      <c:pt idx="6586">
                        <c:v>0</c:v>
                      </c:pt>
                      <c:pt idx="6587">
                        <c:v>0</c:v>
                      </c:pt>
                      <c:pt idx="6588">
                        <c:v>0</c:v>
                      </c:pt>
                      <c:pt idx="6589">
                        <c:v>0</c:v>
                      </c:pt>
                      <c:pt idx="6590">
                        <c:v>0</c:v>
                      </c:pt>
                      <c:pt idx="6591">
                        <c:v>0</c:v>
                      </c:pt>
                      <c:pt idx="6592">
                        <c:v>0</c:v>
                      </c:pt>
                      <c:pt idx="6593">
                        <c:v>0</c:v>
                      </c:pt>
                      <c:pt idx="6594">
                        <c:v>0</c:v>
                      </c:pt>
                      <c:pt idx="6595">
                        <c:v>0</c:v>
                      </c:pt>
                      <c:pt idx="6596">
                        <c:v>0</c:v>
                      </c:pt>
                      <c:pt idx="6597">
                        <c:v>0</c:v>
                      </c:pt>
                      <c:pt idx="6598">
                        <c:v>0</c:v>
                      </c:pt>
                      <c:pt idx="6599">
                        <c:v>0</c:v>
                      </c:pt>
                      <c:pt idx="6600">
                        <c:v>0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0</c:v>
                      </c:pt>
                      <c:pt idx="6617">
                        <c:v>0</c:v>
                      </c:pt>
                      <c:pt idx="6618">
                        <c:v>0</c:v>
                      </c:pt>
                      <c:pt idx="6619">
                        <c:v>0</c:v>
                      </c:pt>
                      <c:pt idx="6620">
                        <c:v>0</c:v>
                      </c:pt>
                      <c:pt idx="6621">
                        <c:v>0</c:v>
                      </c:pt>
                      <c:pt idx="6622">
                        <c:v>0</c:v>
                      </c:pt>
                      <c:pt idx="6623">
                        <c:v>0</c:v>
                      </c:pt>
                      <c:pt idx="6624">
                        <c:v>0</c:v>
                      </c:pt>
                      <c:pt idx="6625">
                        <c:v>0</c:v>
                      </c:pt>
                      <c:pt idx="6626">
                        <c:v>0</c:v>
                      </c:pt>
                      <c:pt idx="6627">
                        <c:v>0</c:v>
                      </c:pt>
                      <c:pt idx="6628">
                        <c:v>0</c:v>
                      </c:pt>
                      <c:pt idx="6629">
                        <c:v>0</c:v>
                      </c:pt>
                      <c:pt idx="6630">
                        <c:v>0</c:v>
                      </c:pt>
                      <c:pt idx="6631">
                        <c:v>0</c:v>
                      </c:pt>
                      <c:pt idx="6632">
                        <c:v>0</c:v>
                      </c:pt>
                      <c:pt idx="6633">
                        <c:v>0</c:v>
                      </c:pt>
                      <c:pt idx="6634">
                        <c:v>0</c:v>
                      </c:pt>
                      <c:pt idx="6635">
                        <c:v>0</c:v>
                      </c:pt>
                      <c:pt idx="6636">
                        <c:v>0</c:v>
                      </c:pt>
                      <c:pt idx="6637">
                        <c:v>0</c:v>
                      </c:pt>
                      <c:pt idx="6638">
                        <c:v>0</c:v>
                      </c:pt>
                      <c:pt idx="6639">
                        <c:v>0</c:v>
                      </c:pt>
                      <c:pt idx="6640">
                        <c:v>0</c:v>
                      </c:pt>
                      <c:pt idx="6641">
                        <c:v>0</c:v>
                      </c:pt>
                      <c:pt idx="6642">
                        <c:v>0</c:v>
                      </c:pt>
                      <c:pt idx="6643">
                        <c:v>0</c:v>
                      </c:pt>
                      <c:pt idx="6644">
                        <c:v>0</c:v>
                      </c:pt>
                      <c:pt idx="6645">
                        <c:v>0</c:v>
                      </c:pt>
                      <c:pt idx="6646">
                        <c:v>0</c:v>
                      </c:pt>
                      <c:pt idx="6647">
                        <c:v>0</c:v>
                      </c:pt>
                      <c:pt idx="6648">
                        <c:v>0</c:v>
                      </c:pt>
                      <c:pt idx="6649">
                        <c:v>0</c:v>
                      </c:pt>
                      <c:pt idx="6650">
                        <c:v>0</c:v>
                      </c:pt>
                      <c:pt idx="6651">
                        <c:v>0</c:v>
                      </c:pt>
                      <c:pt idx="6652">
                        <c:v>0</c:v>
                      </c:pt>
                      <c:pt idx="6653">
                        <c:v>0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</c:v>
                      </c:pt>
                      <c:pt idx="6664">
                        <c:v>0</c:v>
                      </c:pt>
                      <c:pt idx="6665">
                        <c:v>0</c:v>
                      </c:pt>
                      <c:pt idx="6666">
                        <c:v>0</c:v>
                      </c:pt>
                      <c:pt idx="6667">
                        <c:v>0</c:v>
                      </c:pt>
                      <c:pt idx="6668">
                        <c:v>0</c:v>
                      </c:pt>
                      <c:pt idx="6669">
                        <c:v>0</c:v>
                      </c:pt>
                      <c:pt idx="6670">
                        <c:v>0</c:v>
                      </c:pt>
                      <c:pt idx="6671">
                        <c:v>0</c:v>
                      </c:pt>
                      <c:pt idx="6672">
                        <c:v>0</c:v>
                      </c:pt>
                      <c:pt idx="6673">
                        <c:v>0</c:v>
                      </c:pt>
                      <c:pt idx="6674">
                        <c:v>0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</c:v>
                      </c:pt>
                      <c:pt idx="6696">
                        <c:v>0</c:v>
                      </c:pt>
                      <c:pt idx="6697">
                        <c:v>0</c:v>
                      </c:pt>
                      <c:pt idx="6698">
                        <c:v>0</c:v>
                      </c:pt>
                      <c:pt idx="6699">
                        <c:v>0</c:v>
                      </c:pt>
                      <c:pt idx="6700">
                        <c:v>0</c:v>
                      </c:pt>
                      <c:pt idx="6701">
                        <c:v>0</c:v>
                      </c:pt>
                      <c:pt idx="6702">
                        <c:v>0</c:v>
                      </c:pt>
                      <c:pt idx="6703">
                        <c:v>0</c:v>
                      </c:pt>
                      <c:pt idx="6704">
                        <c:v>0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0</c:v>
                      </c:pt>
                      <c:pt idx="6722">
                        <c:v>0</c:v>
                      </c:pt>
                      <c:pt idx="6723">
                        <c:v>0</c:v>
                      </c:pt>
                      <c:pt idx="6724">
                        <c:v>0</c:v>
                      </c:pt>
                      <c:pt idx="6725">
                        <c:v>0</c:v>
                      </c:pt>
                      <c:pt idx="6726">
                        <c:v>0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</c:v>
                      </c:pt>
                      <c:pt idx="6753">
                        <c:v>0</c:v>
                      </c:pt>
                      <c:pt idx="6754">
                        <c:v>0</c:v>
                      </c:pt>
                      <c:pt idx="6755">
                        <c:v>0</c:v>
                      </c:pt>
                      <c:pt idx="6756">
                        <c:v>0</c:v>
                      </c:pt>
                      <c:pt idx="6757">
                        <c:v>0</c:v>
                      </c:pt>
                      <c:pt idx="6758">
                        <c:v>0</c:v>
                      </c:pt>
                      <c:pt idx="6759">
                        <c:v>0</c:v>
                      </c:pt>
                      <c:pt idx="6760">
                        <c:v>0</c:v>
                      </c:pt>
                      <c:pt idx="6761">
                        <c:v>0</c:v>
                      </c:pt>
                      <c:pt idx="6762">
                        <c:v>0</c:v>
                      </c:pt>
                      <c:pt idx="6763">
                        <c:v>0</c:v>
                      </c:pt>
                      <c:pt idx="6764">
                        <c:v>0</c:v>
                      </c:pt>
                      <c:pt idx="6765">
                        <c:v>0</c:v>
                      </c:pt>
                      <c:pt idx="6766">
                        <c:v>0</c:v>
                      </c:pt>
                      <c:pt idx="6767">
                        <c:v>0</c:v>
                      </c:pt>
                      <c:pt idx="6768">
                        <c:v>0</c:v>
                      </c:pt>
                      <c:pt idx="6769">
                        <c:v>0</c:v>
                      </c:pt>
                      <c:pt idx="6770">
                        <c:v>0</c:v>
                      </c:pt>
                      <c:pt idx="6771">
                        <c:v>0</c:v>
                      </c:pt>
                      <c:pt idx="6772">
                        <c:v>0</c:v>
                      </c:pt>
                      <c:pt idx="6773">
                        <c:v>0</c:v>
                      </c:pt>
                      <c:pt idx="6774">
                        <c:v>0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0</c:v>
                      </c:pt>
                      <c:pt idx="6786">
                        <c:v>0</c:v>
                      </c:pt>
                      <c:pt idx="6787">
                        <c:v>0</c:v>
                      </c:pt>
                      <c:pt idx="6788">
                        <c:v>0</c:v>
                      </c:pt>
                      <c:pt idx="6789">
                        <c:v>0</c:v>
                      </c:pt>
                      <c:pt idx="6790">
                        <c:v>0</c:v>
                      </c:pt>
                      <c:pt idx="6791">
                        <c:v>0</c:v>
                      </c:pt>
                      <c:pt idx="6792">
                        <c:v>0</c:v>
                      </c:pt>
                      <c:pt idx="6793">
                        <c:v>0</c:v>
                      </c:pt>
                      <c:pt idx="6794">
                        <c:v>0</c:v>
                      </c:pt>
                      <c:pt idx="6795">
                        <c:v>0</c:v>
                      </c:pt>
                      <c:pt idx="6796">
                        <c:v>0</c:v>
                      </c:pt>
                      <c:pt idx="6797">
                        <c:v>0</c:v>
                      </c:pt>
                      <c:pt idx="6798">
                        <c:v>0</c:v>
                      </c:pt>
                      <c:pt idx="6799">
                        <c:v>0</c:v>
                      </c:pt>
                      <c:pt idx="6800">
                        <c:v>0</c:v>
                      </c:pt>
                      <c:pt idx="6801">
                        <c:v>0</c:v>
                      </c:pt>
                      <c:pt idx="6802">
                        <c:v>0</c:v>
                      </c:pt>
                      <c:pt idx="6803">
                        <c:v>0</c:v>
                      </c:pt>
                      <c:pt idx="6804">
                        <c:v>0</c:v>
                      </c:pt>
                      <c:pt idx="6805">
                        <c:v>0</c:v>
                      </c:pt>
                      <c:pt idx="6806">
                        <c:v>0</c:v>
                      </c:pt>
                      <c:pt idx="6807">
                        <c:v>0</c:v>
                      </c:pt>
                      <c:pt idx="6808">
                        <c:v>0</c:v>
                      </c:pt>
                      <c:pt idx="6809">
                        <c:v>0</c:v>
                      </c:pt>
                      <c:pt idx="6810">
                        <c:v>0</c:v>
                      </c:pt>
                      <c:pt idx="6811">
                        <c:v>0</c:v>
                      </c:pt>
                      <c:pt idx="6812">
                        <c:v>0</c:v>
                      </c:pt>
                      <c:pt idx="6813">
                        <c:v>0</c:v>
                      </c:pt>
                      <c:pt idx="6814">
                        <c:v>0</c:v>
                      </c:pt>
                      <c:pt idx="6815">
                        <c:v>0</c:v>
                      </c:pt>
                      <c:pt idx="6816">
                        <c:v>0</c:v>
                      </c:pt>
                      <c:pt idx="6817">
                        <c:v>0</c:v>
                      </c:pt>
                      <c:pt idx="6818">
                        <c:v>0</c:v>
                      </c:pt>
                      <c:pt idx="6819">
                        <c:v>0</c:v>
                      </c:pt>
                      <c:pt idx="6820">
                        <c:v>0</c:v>
                      </c:pt>
                      <c:pt idx="6821">
                        <c:v>0</c:v>
                      </c:pt>
                      <c:pt idx="6822">
                        <c:v>0</c:v>
                      </c:pt>
                      <c:pt idx="6823">
                        <c:v>0</c:v>
                      </c:pt>
                      <c:pt idx="6824">
                        <c:v>0</c:v>
                      </c:pt>
                      <c:pt idx="6825">
                        <c:v>0</c:v>
                      </c:pt>
                      <c:pt idx="6826">
                        <c:v>0</c:v>
                      </c:pt>
                      <c:pt idx="6827">
                        <c:v>0</c:v>
                      </c:pt>
                      <c:pt idx="6828">
                        <c:v>0</c:v>
                      </c:pt>
                      <c:pt idx="6829">
                        <c:v>0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0</c:v>
                      </c:pt>
                      <c:pt idx="6846">
                        <c:v>0</c:v>
                      </c:pt>
                      <c:pt idx="6847">
                        <c:v>0</c:v>
                      </c:pt>
                      <c:pt idx="6848">
                        <c:v>0</c:v>
                      </c:pt>
                      <c:pt idx="6849">
                        <c:v>0</c:v>
                      </c:pt>
                      <c:pt idx="6850">
                        <c:v>0</c:v>
                      </c:pt>
                      <c:pt idx="6851">
                        <c:v>0</c:v>
                      </c:pt>
                      <c:pt idx="6852">
                        <c:v>0</c:v>
                      </c:pt>
                      <c:pt idx="6853">
                        <c:v>0</c:v>
                      </c:pt>
                      <c:pt idx="6854">
                        <c:v>0</c:v>
                      </c:pt>
                      <c:pt idx="6855">
                        <c:v>0</c:v>
                      </c:pt>
                      <c:pt idx="6856">
                        <c:v>0</c:v>
                      </c:pt>
                      <c:pt idx="6857">
                        <c:v>0</c:v>
                      </c:pt>
                      <c:pt idx="6858">
                        <c:v>0</c:v>
                      </c:pt>
                      <c:pt idx="6859">
                        <c:v>0</c:v>
                      </c:pt>
                      <c:pt idx="6860">
                        <c:v>0</c:v>
                      </c:pt>
                      <c:pt idx="6861">
                        <c:v>0</c:v>
                      </c:pt>
                      <c:pt idx="6862">
                        <c:v>0</c:v>
                      </c:pt>
                      <c:pt idx="6863">
                        <c:v>0</c:v>
                      </c:pt>
                      <c:pt idx="6864">
                        <c:v>0</c:v>
                      </c:pt>
                      <c:pt idx="6865">
                        <c:v>0</c:v>
                      </c:pt>
                      <c:pt idx="6866">
                        <c:v>0</c:v>
                      </c:pt>
                      <c:pt idx="6867">
                        <c:v>0</c:v>
                      </c:pt>
                      <c:pt idx="6868">
                        <c:v>0</c:v>
                      </c:pt>
                      <c:pt idx="6869">
                        <c:v>0</c:v>
                      </c:pt>
                      <c:pt idx="6870">
                        <c:v>0</c:v>
                      </c:pt>
                      <c:pt idx="6871">
                        <c:v>0</c:v>
                      </c:pt>
                      <c:pt idx="6872">
                        <c:v>0</c:v>
                      </c:pt>
                      <c:pt idx="6873">
                        <c:v>0</c:v>
                      </c:pt>
                      <c:pt idx="6874">
                        <c:v>0</c:v>
                      </c:pt>
                      <c:pt idx="6875">
                        <c:v>0</c:v>
                      </c:pt>
                      <c:pt idx="6876">
                        <c:v>0</c:v>
                      </c:pt>
                      <c:pt idx="6877">
                        <c:v>0</c:v>
                      </c:pt>
                      <c:pt idx="6878">
                        <c:v>0</c:v>
                      </c:pt>
                      <c:pt idx="6879">
                        <c:v>0</c:v>
                      </c:pt>
                      <c:pt idx="6880">
                        <c:v>0</c:v>
                      </c:pt>
                      <c:pt idx="6881">
                        <c:v>0</c:v>
                      </c:pt>
                      <c:pt idx="6882">
                        <c:v>0</c:v>
                      </c:pt>
                      <c:pt idx="6883">
                        <c:v>0</c:v>
                      </c:pt>
                      <c:pt idx="6884">
                        <c:v>0</c:v>
                      </c:pt>
                      <c:pt idx="6885">
                        <c:v>0</c:v>
                      </c:pt>
                      <c:pt idx="6886">
                        <c:v>0</c:v>
                      </c:pt>
                      <c:pt idx="6887">
                        <c:v>0</c:v>
                      </c:pt>
                      <c:pt idx="6888">
                        <c:v>0</c:v>
                      </c:pt>
                      <c:pt idx="6889">
                        <c:v>0</c:v>
                      </c:pt>
                      <c:pt idx="6890">
                        <c:v>0</c:v>
                      </c:pt>
                      <c:pt idx="6891">
                        <c:v>0</c:v>
                      </c:pt>
                      <c:pt idx="6892">
                        <c:v>0</c:v>
                      </c:pt>
                      <c:pt idx="6893">
                        <c:v>0</c:v>
                      </c:pt>
                      <c:pt idx="6894">
                        <c:v>0</c:v>
                      </c:pt>
                      <c:pt idx="6895">
                        <c:v>0</c:v>
                      </c:pt>
                      <c:pt idx="6896">
                        <c:v>0</c:v>
                      </c:pt>
                      <c:pt idx="6897">
                        <c:v>0</c:v>
                      </c:pt>
                      <c:pt idx="6898">
                        <c:v>0</c:v>
                      </c:pt>
                      <c:pt idx="6899">
                        <c:v>0</c:v>
                      </c:pt>
                      <c:pt idx="6900">
                        <c:v>0</c:v>
                      </c:pt>
                      <c:pt idx="6901">
                        <c:v>0</c:v>
                      </c:pt>
                      <c:pt idx="6902">
                        <c:v>0</c:v>
                      </c:pt>
                      <c:pt idx="6903">
                        <c:v>0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</c:v>
                      </c:pt>
                      <c:pt idx="6919">
                        <c:v>0</c:v>
                      </c:pt>
                      <c:pt idx="6920">
                        <c:v>0</c:v>
                      </c:pt>
                      <c:pt idx="6921">
                        <c:v>0</c:v>
                      </c:pt>
                      <c:pt idx="6922">
                        <c:v>0</c:v>
                      </c:pt>
                      <c:pt idx="6923">
                        <c:v>0</c:v>
                      </c:pt>
                      <c:pt idx="6924">
                        <c:v>0</c:v>
                      </c:pt>
                      <c:pt idx="6925">
                        <c:v>0</c:v>
                      </c:pt>
                      <c:pt idx="6926">
                        <c:v>0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0</c:v>
                      </c:pt>
                      <c:pt idx="6949">
                        <c:v>0</c:v>
                      </c:pt>
                      <c:pt idx="6950">
                        <c:v>0</c:v>
                      </c:pt>
                      <c:pt idx="6951">
                        <c:v>0</c:v>
                      </c:pt>
                      <c:pt idx="6952">
                        <c:v>0</c:v>
                      </c:pt>
                      <c:pt idx="6953">
                        <c:v>0</c:v>
                      </c:pt>
                      <c:pt idx="6954">
                        <c:v>0</c:v>
                      </c:pt>
                      <c:pt idx="6955">
                        <c:v>0</c:v>
                      </c:pt>
                      <c:pt idx="6956">
                        <c:v>0</c:v>
                      </c:pt>
                      <c:pt idx="6957">
                        <c:v>0</c:v>
                      </c:pt>
                      <c:pt idx="6958">
                        <c:v>0</c:v>
                      </c:pt>
                      <c:pt idx="6959">
                        <c:v>0</c:v>
                      </c:pt>
                      <c:pt idx="6960">
                        <c:v>0</c:v>
                      </c:pt>
                      <c:pt idx="6961">
                        <c:v>0</c:v>
                      </c:pt>
                      <c:pt idx="6962">
                        <c:v>0</c:v>
                      </c:pt>
                      <c:pt idx="6963">
                        <c:v>0</c:v>
                      </c:pt>
                      <c:pt idx="6964">
                        <c:v>0</c:v>
                      </c:pt>
                      <c:pt idx="6965">
                        <c:v>0</c:v>
                      </c:pt>
                      <c:pt idx="6966">
                        <c:v>0</c:v>
                      </c:pt>
                      <c:pt idx="6967">
                        <c:v>0</c:v>
                      </c:pt>
                      <c:pt idx="6968">
                        <c:v>0</c:v>
                      </c:pt>
                      <c:pt idx="6969">
                        <c:v>0</c:v>
                      </c:pt>
                      <c:pt idx="6970">
                        <c:v>0</c:v>
                      </c:pt>
                      <c:pt idx="6971">
                        <c:v>0</c:v>
                      </c:pt>
                      <c:pt idx="6972">
                        <c:v>0</c:v>
                      </c:pt>
                      <c:pt idx="6973">
                        <c:v>0</c:v>
                      </c:pt>
                      <c:pt idx="6974">
                        <c:v>0</c:v>
                      </c:pt>
                      <c:pt idx="6975">
                        <c:v>0</c:v>
                      </c:pt>
                      <c:pt idx="6976">
                        <c:v>0</c:v>
                      </c:pt>
                      <c:pt idx="6977">
                        <c:v>0</c:v>
                      </c:pt>
                      <c:pt idx="6978">
                        <c:v>0</c:v>
                      </c:pt>
                      <c:pt idx="6979">
                        <c:v>0</c:v>
                      </c:pt>
                      <c:pt idx="6980">
                        <c:v>0</c:v>
                      </c:pt>
                      <c:pt idx="6981">
                        <c:v>0</c:v>
                      </c:pt>
                      <c:pt idx="6982">
                        <c:v>0</c:v>
                      </c:pt>
                      <c:pt idx="6983">
                        <c:v>0</c:v>
                      </c:pt>
                      <c:pt idx="6984">
                        <c:v>0</c:v>
                      </c:pt>
                      <c:pt idx="6985">
                        <c:v>0</c:v>
                      </c:pt>
                      <c:pt idx="6986">
                        <c:v>0</c:v>
                      </c:pt>
                      <c:pt idx="6987">
                        <c:v>0</c:v>
                      </c:pt>
                      <c:pt idx="6988">
                        <c:v>0</c:v>
                      </c:pt>
                      <c:pt idx="6989">
                        <c:v>0</c:v>
                      </c:pt>
                      <c:pt idx="6990">
                        <c:v>0</c:v>
                      </c:pt>
                      <c:pt idx="6991">
                        <c:v>0</c:v>
                      </c:pt>
                      <c:pt idx="6992">
                        <c:v>0</c:v>
                      </c:pt>
                      <c:pt idx="6993">
                        <c:v>0</c:v>
                      </c:pt>
                      <c:pt idx="6994">
                        <c:v>0</c:v>
                      </c:pt>
                      <c:pt idx="6995">
                        <c:v>0</c:v>
                      </c:pt>
                      <c:pt idx="6996">
                        <c:v>0</c:v>
                      </c:pt>
                      <c:pt idx="6997">
                        <c:v>0</c:v>
                      </c:pt>
                      <c:pt idx="6998">
                        <c:v>0</c:v>
                      </c:pt>
                      <c:pt idx="6999">
                        <c:v>0</c:v>
                      </c:pt>
                      <c:pt idx="7000">
                        <c:v>0</c:v>
                      </c:pt>
                      <c:pt idx="7001">
                        <c:v>0</c:v>
                      </c:pt>
                      <c:pt idx="7002">
                        <c:v>0</c:v>
                      </c:pt>
                      <c:pt idx="7003">
                        <c:v>0</c:v>
                      </c:pt>
                      <c:pt idx="7004">
                        <c:v>0</c:v>
                      </c:pt>
                      <c:pt idx="7005">
                        <c:v>0</c:v>
                      </c:pt>
                      <c:pt idx="7006">
                        <c:v>0</c:v>
                      </c:pt>
                      <c:pt idx="7007">
                        <c:v>0</c:v>
                      </c:pt>
                      <c:pt idx="7008">
                        <c:v>0</c:v>
                      </c:pt>
                      <c:pt idx="7009">
                        <c:v>0</c:v>
                      </c:pt>
                      <c:pt idx="7010">
                        <c:v>0</c:v>
                      </c:pt>
                      <c:pt idx="7011">
                        <c:v>0</c:v>
                      </c:pt>
                      <c:pt idx="7012">
                        <c:v>0</c:v>
                      </c:pt>
                      <c:pt idx="7013">
                        <c:v>0</c:v>
                      </c:pt>
                      <c:pt idx="7014">
                        <c:v>0</c:v>
                      </c:pt>
                      <c:pt idx="7015">
                        <c:v>0</c:v>
                      </c:pt>
                      <c:pt idx="7016">
                        <c:v>0</c:v>
                      </c:pt>
                      <c:pt idx="7017">
                        <c:v>0</c:v>
                      </c:pt>
                      <c:pt idx="7018">
                        <c:v>0</c:v>
                      </c:pt>
                      <c:pt idx="7019">
                        <c:v>0</c:v>
                      </c:pt>
                      <c:pt idx="7020">
                        <c:v>0</c:v>
                      </c:pt>
                      <c:pt idx="7021">
                        <c:v>0</c:v>
                      </c:pt>
                      <c:pt idx="7022">
                        <c:v>0</c:v>
                      </c:pt>
                      <c:pt idx="7023">
                        <c:v>0</c:v>
                      </c:pt>
                      <c:pt idx="7024">
                        <c:v>0</c:v>
                      </c:pt>
                      <c:pt idx="7025">
                        <c:v>0</c:v>
                      </c:pt>
                      <c:pt idx="7026">
                        <c:v>0</c:v>
                      </c:pt>
                      <c:pt idx="7027">
                        <c:v>0</c:v>
                      </c:pt>
                      <c:pt idx="7028">
                        <c:v>0</c:v>
                      </c:pt>
                      <c:pt idx="7029">
                        <c:v>0</c:v>
                      </c:pt>
                      <c:pt idx="7030">
                        <c:v>0</c:v>
                      </c:pt>
                      <c:pt idx="7031">
                        <c:v>0</c:v>
                      </c:pt>
                      <c:pt idx="7032">
                        <c:v>0</c:v>
                      </c:pt>
                      <c:pt idx="7033">
                        <c:v>0</c:v>
                      </c:pt>
                      <c:pt idx="7034">
                        <c:v>0</c:v>
                      </c:pt>
                      <c:pt idx="7035">
                        <c:v>0</c:v>
                      </c:pt>
                      <c:pt idx="7036">
                        <c:v>0</c:v>
                      </c:pt>
                      <c:pt idx="7037">
                        <c:v>0</c:v>
                      </c:pt>
                      <c:pt idx="7038">
                        <c:v>0</c:v>
                      </c:pt>
                      <c:pt idx="7039">
                        <c:v>0</c:v>
                      </c:pt>
                      <c:pt idx="7040">
                        <c:v>0</c:v>
                      </c:pt>
                      <c:pt idx="7041">
                        <c:v>0</c:v>
                      </c:pt>
                      <c:pt idx="7042">
                        <c:v>0</c:v>
                      </c:pt>
                      <c:pt idx="7043">
                        <c:v>0</c:v>
                      </c:pt>
                      <c:pt idx="7044">
                        <c:v>0</c:v>
                      </c:pt>
                      <c:pt idx="7045">
                        <c:v>0</c:v>
                      </c:pt>
                      <c:pt idx="7046">
                        <c:v>0</c:v>
                      </c:pt>
                      <c:pt idx="7047">
                        <c:v>0</c:v>
                      </c:pt>
                      <c:pt idx="7048">
                        <c:v>0</c:v>
                      </c:pt>
                      <c:pt idx="7049">
                        <c:v>0</c:v>
                      </c:pt>
                      <c:pt idx="7050">
                        <c:v>0</c:v>
                      </c:pt>
                      <c:pt idx="7051">
                        <c:v>0</c:v>
                      </c:pt>
                      <c:pt idx="7052">
                        <c:v>0</c:v>
                      </c:pt>
                      <c:pt idx="7053">
                        <c:v>0</c:v>
                      </c:pt>
                      <c:pt idx="7054">
                        <c:v>0</c:v>
                      </c:pt>
                      <c:pt idx="7055">
                        <c:v>0</c:v>
                      </c:pt>
                      <c:pt idx="7056">
                        <c:v>0</c:v>
                      </c:pt>
                      <c:pt idx="7057">
                        <c:v>0</c:v>
                      </c:pt>
                      <c:pt idx="7058">
                        <c:v>0</c:v>
                      </c:pt>
                      <c:pt idx="7059">
                        <c:v>0</c:v>
                      </c:pt>
                      <c:pt idx="7060">
                        <c:v>0</c:v>
                      </c:pt>
                      <c:pt idx="7061">
                        <c:v>0</c:v>
                      </c:pt>
                      <c:pt idx="7062">
                        <c:v>0</c:v>
                      </c:pt>
                      <c:pt idx="7063">
                        <c:v>0</c:v>
                      </c:pt>
                      <c:pt idx="7064">
                        <c:v>0</c:v>
                      </c:pt>
                      <c:pt idx="7065">
                        <c:v>0</c:v>
                      </c:pt>
                      <c:pt idx="7066">
                        <c:v>0</c:v>
                      </c:pt>
                      <c:pt idx="7067">
                        <c:v>0</c:v>
                      </c:pt>
                      <c:pt idx="7068">
                        <c:v>0</c:v>
                      </c:pt>
                      <c:pt idx="7069">
                        <c:v>0</c:v>
                      </c:pt>
                      <c:pt idx="7070">
                        <c:v>0</c:v>
                      </c:pt>
                      <c:pt idx="7071">
                        <c:v>0</c:v>
                      </c:pt>
                      <c:pt idx="7072">
                        <c:v>0</c:v>
                      </c:pt>
                      <c:pt idx="7073">
                        <c:v>0</c:v>
                      </c:pt>
                      <c:pt idx="7074">
                        <c:v>0</c:v>
                      </c:pt>
                      <c:pt idx="7075">
                        <c:v>0</c:v>
                      </c:pt>
                      <c:pt idx="7076">
                        <c:v>0</c:v>
                      </c:pt>
                      <c:pt idx="7077">
                        <c:v>0</c:v>
                      </c:pt>
                      <c:pt idx="7078">
                        <c:v>0</c:v>
                      </c:pt>
                      <c:pt idx="7079">
                        <c:v>0</c:v>
                      </c:pt>
                      <c:pt idx="7080">
                        <c:v>0</c:v>
                      </c:pt>
                      <c:pt idx="7081">
                        <c:v>0</c:v>
                      </c:pt>
                      <c:pt idx="7082">
                        <c:v>0</c:v>
                      </c:pt>
                      <c:pt idx="7083">
                        <c:v>0</c:v>
                      </c:pt>
                      <c:pt idx="7084">
                        <c:v>0</c:v>
                      </c:pt>
                      <c:pt idx="7085">
                        <c:v>0</c:v>
                      </c:pt>
                      <c:pt idx="7086">
                        <c:v>0</c:v>
                      </c:pt>
                      <c:pt idx="7087">
                        <c:v>0</c:v>
                      </c:pt>
                      <c:pt idx="7088">
                        <c:v>0</c:v>
                      </c:pt>
                      <c:pt idx="7089">
                        <c:v>0</c:v>
                      </c:pt>
                      <c:pt idx="7090">
                        <c:v>0</c:v>
                      </c:pt>
                      <c:pt idx="7091">
                        <c:v>0</c:v>
                      </c:pt>
                      <c:pt idx="7092">
                        <c:v>0</c:v>
                      </c:pt>
                      <c:pt idx="7093">
                        <c:v>0</c:v>
                      </c:pt>
                      <c:pt idx="7094">
                        <c:v>0</c:v>
                      </c:pt>
                      <c:pt idx="7095">
                        <c:v>0</c:v>
                      </c:pt>
                      <c:pt idx="7096">
                        <c:v>0</c:v>
                      </c:pt>
                      <c:pt idx="7097">
                        <c:v>0</c:v>
                      </c:pt>
                      <c:pt idx="7098">
                        <c:v>0</c:v>
                      </c:pt>
                      <c:pt idx="7099">
                        <c:v>0</c:v>
                      </c:pt>
                      <c:pt idx="7100">
                        <c:v>0</c:v>
                      </c:pt>
                      <c:pt idx="7101">
                        <c:v>0</c:v>
                      </c:pt>
                      <c:pt idx="7102">
                        <c:v>0</c:v>
                      </c:pt>
                      <c:pt idx="7103">
                        <c:v>0</c:v>
                      </c:pt>
                      <c:pt idx="7104">
                        <c:v>0</c:v>
                      </c:pt>
                      <c:pt idx="7105">
                        <c:v>0</c:v>
                      </c:pt>
                      <c:pt idx="7106">
                        <c:v>0</c:v>
                      </c:pt>
                      <c:pt idx="7107">
                        <c:v>0</c:v>
                      </c:pt>
                      <c:pt idx="7108">
                        <c:v>0</c:v>
                      </c:pt>
                      <c:pt idx="7109">
                        <c:v>0</c:v>
                      </c:pt>
                      <c:pt idx="7110">
                        <c:v>0</c:v>
                      </c:pt>
                      <c:pt idx="7111">
                        <c:v>0</c:v>
                      </c:pt>
                      <c:pt idx="7112">
                        <c:v>0</c:v>
                      </c:pt>
                      <c:pt idx="7113">
                        <c:v>0</c:v>
                      </c:pt>
                      <c:pt idx="7114">
                        <c:v>0</c:v>
                      </c:pt>
                      <c:pt idx="7115">
                        <c:v>0</c:v>
                      </c:pt>
                      <c:pt idx="7116">
                        <c:v>0</c:v>
                      </c:pt>
                      <c:pt idx="7117">
                        <c:v>0</c:v>
                      </c:pt>
                      <c:pt idx="7118">
                        <c:v>0</c:v>
                      </c:pt>
                      <c:pt idx="7119">
                        <c:v>0</c:v>
                      </c:pt>
                      <c:pt idx="7120">
                        <c:v>0</c:v>
                      </c:pt>
                      <c:pt idx="7121">
                        <c:v>0</c:v>
                      </c:pt>
                      <c:pt idx="7122">
                        <c:v>0</c:v>
                      </c:pt>
                      <c:pt idx="7123">
                        <c:v>0</c:v>
                      </c:pt>
                      <c:pt idx="7124">
                        <c:v>0</c:v>
                      </c:pt>
                      <c:pt idx="7125">
                        <c:v>0</c:v>
                      </c:pt>
                      <c:pt idx="7126">
                        <c:v>0</c:v>
                      </c:pt>
                      <c:pt idx="7127">
                        <c:v>0</c:v>
                      </c:pt>
                      <c:pt idx="7128">
                        <c:v>0</c:v>
                      </c:pt>
                      <c:pt idx="7129">
                        <c:v>0</c:v>
                      </c:pt>
                      <c:pt idx="7130">
                        <c:v>0</c:v>
                      </c:pt>
                      <c:pt idx="7131">
                        <c:v>0</c:v>
                      </c:pt>
                      <c:pt idx="7132">
                        <c:v>0</c:v>
                      </c:pt>
                      <c:pt idx="7133">
                        <c:v>0</c:v>
                      </c:pt>
                      <c:pt idx="7134">
                        <c:v>0</c:v>
                      </c:pt>
                      <c:pt idx="7135">
                        <c:v>0</c:v>
                      </c:pt>
                      <c:pt idx="7136">
                        <c:v>0</c:v>
                      </c:pt>
                      <c:pt idx="7137">
                        <c:v>0</c:v>
                      </c:pt>
                      <c:pt idx="7138">
                        <c:v>0</c:v>
                      </c:pt>
                      <c:pt idx="7139">
                        <c:v>0</c:v>
                      </c:pt>
                      <c:pt idx="7140">
                        <c:v>0</c:v>
                      </c:pt>
                      <c:pt idx="7141">
                        <c:v>0</c:v>
                      </c:pt>
                      <c:pt idx="7142">
                        <c:v>0</c:v>
                      </c:pt>
                      <c:pt idx="7143">
                        <c:v>0</c:v>
                      </c:pt>
                      <c:pt idx="7144">
                        <c:v>0</c:v>
                      </c:pt>
                      <c:pt idx="7145">
                        <c:v>0</c:v>
                      </c:pt>
                      <c:pt idx="7146">
                        <c:v>0</c:v>
                      </c:pt>
                      <c:pt idx="7147">
                        <c:v>0</c:v>
                      </c:pt>
                      <c:pt idx="7148">
                        <c:v>0</c:v>
                      </c:pt>
                      <c:pt idx="7149">
                        <c:v>0</c:v>
                      </c:pt>
                      <c:pt idx="7150">
                        <c:v>0</c:v>
                      </c:pt>
                      <c:pt idx="7151">
                        <c:v>0</c:v>
                      </c:pt>
                      <c:pt idx="7152">
                        <c:v>0</c:v>
                      </c:pt>
                      <c:pt idx="7153">
                        <c:v>0</c:v>
                      </c:pt>
                      <c:pt idx="7154">
                        <c:v>0</c:v>
                      </c:pt>
                      <c:pt idx="7155">
                        <c:v>0</c:v>
                      </c:pt>
                      <c:pt idx="7156">
                        <c:v>0</c:v>
                      </c:pt>
                      <c:pt idx="7157">
                        <c:v>0</c:v>
                      </c:pt>
                      <c:pt idx="7158">
                        <c:v>0</c:v>
                      </c:pt>
                      <c:pt idx="7159">
                        <c:v>0</c:v>
                      </c:pt>
                      <c:pt idx="7160">
                        <c:v>0</c:v>
                      </c:pt>
                      <c:pt idx="7161">
                        <c:v>0</c:v>
                      </c:pt>
                      <c:pt idx="7162">
                        <c:v>0</c:v>
                      </c:pt>
                      <c:pt idx="7163">
                        <c:v>0</c:v>
                      </c:pt>
                      <c:pt idx="7164">
                        <c:v>0</c:v>
                      </c:pt>
                      <c:pt idx="7165">
                        <c:v>0</c:v>
                      </c:pt>
                      <c:pt idx="7166">
                        <c:v>0</c:v>
                      </c:pt>
                      <c:pt idx="7167">
                        <c:v>0</c:v>
                      </c:pt>
                      <c:pt idx="7168">
                        <c:v>0</c:v>
                      </c:pt>
                      <c:pt idx="7169">
                        <c:v>0</c:v>
                      </c:pt>
                      <c:pt idx="7170">
                        <c:v>0</c:v>
                      </c:pt>
                      <c:pt idx="7171">
                        <c:v>0</c:v>
                      </c:pt>
                      <c:pt idx="7172">
                        <c:v>0</c:v>
                      </c:pt>
                      <c:pt idx="7173">
                        <c:v>0</c:v>
                      </c:pt>
                      <c:pt idx="7174">
                        <c:v>0</c:v>
                      </c:pt>
                      <c:pt idx="7175">
                        <c:v>0</c:v>
                      </c:pt>
                      <c:pt idx="7176">
                        <c:v>0</c:v>
                      </c:pt>
                      <c:pt idx="7177">
                        <c:v>0</c:v>
                      </c:pt>
                      <c:pt idx="7178">
                        <c:v>0</c:v>
                      </c:pt>
                      <c:pt idx="7179">
                        <c:v>0</c:v>
                      </c:pt>
                      <c:pt idx="7180">
                        <c:v>0</c:v>
                      </c:pt>
                      <c:pt idx="7181">
                        <c:v>0</c:v>
                      </c:pt>
                      <c:pt idx="7182">
                        <c:v>0</c:v>
                      </c:pt>
                      <c:pt idx="7183">
                        <c:v>0</c:v>
                      </c:pt>
                      <c:pt idx="7184">
                        <c:v>0</c:v>
                      </c:pt>
                      <c:pt idx="7185">
                        <c:v>0</c:v>
                      </c:pt>
                      <c:pt idx="7186">
                        <c:v>0</c:v>
                      </c:pt>
                      <c:pt idx="7187">
                        <c:v>0</c:v>
                      </c:pt>
                      <c:pt idx="7188">
                        <c:v>0</c:v>
                      </c:pt>
                      <c:pt idx="7189">
                        <c:v>0</c:v>
                      </c:pt>
                      <c:pt idx="7190">
                        <c:v>0</c:v>
                      </c:pt>
                      <c:pt idx="7191">
                        <c:v>0</c:v>
                      </c:pt>
                      <c:pt idx="7192">
                        <c:v>0</c:v>
                      </c:pt>
                      <c:pt idx="7193">
                        <c:v>0</c:v>
                      </c:pt>
                      <c:pt idx="7194">
                        <c:v>0</c:v>
                      </c:pt>
                      <c:pt idx="7195">
                        <c:v>0</c:v>
                      </c:pt>
                      <c:pt idx="7196">
                        <c:v>0</c:v>
                      </c:pt>
                      <c:pt idx="7197">
                        <c:v>0</c:v>
                      </c:pt>
                      <c:pt idx="7198">
                        <c:v>0</c:v>
                      </c:pt>
                      <c:pt idx="7199">
                        <c:v>0</c:v>
                      </c:pt>
                      <c:pt idx="7200">
                        <c:v>0</c:v>
                      </c:pt>
                      <c:pt idx="7201">
                        <c:v>0</c:v>
                      </c:pt>
                      <c:pt idx="7202">
                        <c:v>0</c:v>
                      </c:pt>
                      <c:pt idx="7203">
                        <c:v>0</c:v>
                      </c:pt>
                      <c:pt idx="7204">
                        <c:v>0</c:v>
                      </c:pt>
                      <c:pt idx="7205">
                        <c:v>0</c:v>
                      </c:pt>
                      <c:pt idx="7206">
                        <c:v>0</c:v>
                      </c:pt>
                      <c:pt idx="7207">
                        <c:v>0</c:v>
                      </c:pt>
                      <c:pt idx="7208">
                        <c:v>0</c:v>
                      </c:pt>
                      <c:pt idx="7209">
                        <c:v>0</c:v>
                      </c:pt>
                      <c:pt idx="7210">
                        <c:v>0</c:v>
                      </c:pt>
                      <c:pt idx="7211">
                        <c:v>0</c:v>
                      </c:pt>
                      <c:pt idx="7212">
                        <c:v>0</c:v>
                      </c:pt>
                      <c:pt idx="7213">
                        <c:v>0</c:v>
                      </c:pt>
                      <c:pt idx="7214">
                        <c:v>0</c:v>
                      </c:pt>
                      <c:pt idx="7215">
                        <c:v>0</c:v>
                      </c:pt>
                      <c:pt idx="7216">
                        <c:v>0</c:v>
                      </c:pt>
                      <c:pt idx="7217">
                        <c:v>0</c:v>
                      </c:pt>
                      <c:pt idx="7218">
                        <c:v>0</c:v>
                      </c:pt>
                      <c:pt idx="7219">
                        <c:v>0</c:v>
                      </c:pt>
                      <c:pt idx="7220">
                        <c:v>0</c:v>
                      </c:pt>
                      <c:pt idx="7221">
                        <c:v>0</c:v>
                      </c:pt>
                      <c:pt idx="7222">
                        <c:v>0</c:v>
                      </c:pt>
                      <c:pt idx="7223">
                        <c:v>0</c:v>
                      </c:pt>
                      <c:pt idx="7224">
                        <c:v>0</c:v>
                      </c:pt>
                      <c:pt idx="7225">
                        <c:v>0</c:v>
                      </c:pt>
                      <c:pt idx="7226">
                        <c:v>0</c:v>
                      </c:pt>
                      <c:pt idx="7227">
                        <c:v>0</c:v>
                      </c:pt>
                      <c:pt idx="7228">
                        <c:v>0</c:v>
                      </c:pt>
                      <c:pt idx="7229">
                        <c:v>0</c:v>
                      </c:pt>
                      <c:pt idx="7230">
                        <c:v>0</c:v>
                      </c:pt>
                      <c:pt idx="7231">
                        <c:v>0</c:v>
                      </c:pt>
                      <c:pt idx="7232">
                        <c:v>0</c:v>
                      </c:pt>
                      <c:pt idx="7233">
                        <c:v>0</c:v>
                      </c:pt>
                      <c:pt idx="7234">
                        <c:v>0</c:v>
                      </c:pt>
                      <c:pt idx="7235">
                        <c:v>0</c:v>
                      </c:pt>
                      <c:pt idx="7236">
                        <c:v>0</c:v>
                      </c:pt>
                      <c:pt idx="7237">
                        <c:v>0</c:v>
                      </c:pt>
                      <c:pt idx="7238">
                        <c:v>0</c:v>
                      </c:pt>
                      <c:pt idx="7239">
                        <c:v>0</c:v>
                      </c:pt>
                      <c:pt idx="7240">
                        <c:v>0</c:v>
                      </c:pt>
                      <c:pt idx="7241">
                        <c:v>0</c:v>
                      </c:pt>
                      <c:pt idx="7242">
                        <c:v>0</c:v>
                      </c:pt>
                      <c:pt idx="7243">
                        <c:v>0</c:v>
                      </c:pt>
                      <c:pt idx="7244">
                        <c:v>0</c:v>
                      </c:pt>
                      <c:pt idx="7245">
                        <c:v>0</c:v>
                      </c:pt>
                      <c:pt idx="7246">
                        <c:v>0</c:v>
                      </c:pt>
                      <c:pt idx="7247">
                        <c:v>0</c:v>
                      </c:pt>
                      <c:pt idx="7248">
                        <c:v>0</c:v>
                      </c:pt>
                      <c:pt idx="7249">
                        <c:v>0</c:v>
                      </c:pt>
                      <c:pt idx="7250">
                        <c:v>0</c:v>
                      </c:pt>
                      <c:pt idx="7251">
                        <c:v>0</c:v>
                      </c:pt>
                      <c:pt idx="7252">
                        <c:v>0</c:v>
                      </c:pt>
                      <c:pt idx="7253">
                        <c:v>0</c:v>
                      </c:pt>
                      <c:pt idx="7254">
                        <c:v>0</c:v>
                      </c:pt>
                      <c:pt idx="7255">
                        <c:v>0</c:v>
                      </c:pt>
                      <c:pt idx="7256">
                        <c:v>0</c:v>
                      </c:pt>
                      <c:pt idx="7257">
                        <c:v>0</c:v>
                      </c:pt>
                      <c:pt idx="7258">
                        <c:v>0</c:v>
                      </c:pt>
                      <c:pt idx="7259">
                        <c:v>0</c:v>
                      </c:pt>
                      <c:pt idx="7260">
                        <c:v>0</c:v>
                      </c:pt>
                      <c:pt idx="7261">
                        <c:v>0</c:v>
                      </c:pt>
                      <c:pt idx="7262">
                        <c:v>0</c:v>
                      </c:pt>
                      <c:pt idx="7263">
                        <c:v>0</c:v>
                      </c:pt>
                      <c:pt idx="7264">
                        <c:v>0</c:v>
                      </c:pt>
                      <c:pt idx="7265">
                        <c:v>0</c:v>
                      </c:pt>
                      <c:pt idx="7266">
                        <c:v>0</c:v>
                      </c:pt>
                      <c:pt idx="7267">
                        <c:v>0</c:v>
                      </c:pt>
                      <c:pt idx="7268">
                        <c:v>0</c:v>
                      </c:pt>
                      <c:pt idx="7269">
                        <c:v>0</c:v>
                      </c:pt>
                      <c:pt idx="7270">
                        <c:v>0</c:v>
                      </c:pt>
                      <c:pt idx="7271">
                        <c:v>0</c:v>
                      </c:pt>
                      <c:pt idx="7272">
                        <c:v>0</c:v>
                      </c:pt>
                      <c:pt idx="7273">
                        <c:v>0</c:v>
                      </c:pt>
                      <c:pt idx="7274">
                        <c:v>0</c:v>
                      </c:pt>
                      <c:pt idx="7275">
                        <c:v>0</c:v>
                      </c:pt>
                      <c:pt idx="7276">
                        <c:v>0</c:v>
                      </c:pt>
                      <c:pt idx="7277">
                        <c:v>0</c:v>
                      </c:pt>
                      <c:pt idx="7278">
                        <c:v>0</c:v>
                      </c:pt>
                      <c:pt idx="7279">
                        <c:v>0</c:v>
                      </c:pt>
                      <c:pt idx="7280">
                        <c:v>0</c:v>
                      </c:pt>
                      <c:pt idx="7281">
                        <c:v>0</c:v>
                      </c:pt>
                      <c:pt idx="7282">
                        <c:v>0</c:v>
                      </c:pt>
                      <c:pt idx="7283">
                        <c:v>0</c:v>
                      </c:pt>
                      <c:pt idx="7284">
                        <c:v>0</c:v>
                      </c:pt>
                      <c:pt idx="7285">
                        <c:v>0</c:v>
                      </c:pt>
                      <c:pt idx="7286">
                        <c:v>0</c:v>
                      </c:pt>
                      <c:pt idx="7287">
                        <c:v>0</c:v>
                      </c:pt>
                      <c:pt idx="7288">
                        <c:v>0</c:v>
                      </c:pt>
                      <c:pt idx="7289">
                        <c:v>0</c:v>
                      </c:pt>
                      <c:pt idx="7290">
                        <c:v>0</c:v>
                      </c:pt>
                      <c:pt idx="7291">
                        <c:v>0</c:v>
                      </c:pt>
                      <c:pt idx="7292">
                        <c:v>0</c:v>
                      </c:pt>
                      <c:pt idx="7293">
                        <c:v>0</c:v>
                      </c:pt>
                      <c:pt idx="7294">
                        <c:v>0</c:v>
                      </c:pt>
                      <c:pt idx="7295">
                        <c:v>0</c:v>
                      </c:pt>
                      <c:pt idx="7296">
                        <c:v>0</c:v>
                      </c:pt>
                      <c:pt idx="7297">
                        <c:v>0</c:v>
                      </c:pt>
                      <c:pt idx="7298">
                        <c:v>0</c:v>
                      </c:pt>
                      <c:pt idx="7299">
                        <c:v>0</c:v>
                      </c:pt>
                      <c:pt idx="7300">
                        <c:v>0</c:v>
                      </c:pt>
                      <c:pt idx="7301">
                        <c:v>0</c:v>
                      </c:pt>
                      <c:pt idx="7302">
                        <c:v>0</c:v>
                      </c:pt>
                      <c:pt idx="7303">
                        <c:v>0</c:v>
                      </c:pt>
                      <c:pt idx="7304">
                        <c:v>0</c:v>
                      </c:pt>
                      <c:pt idx="7305">
                        <c:v>0</c:v>
                      </c:pt>
                      <c:pt idx="7306">
                        <c:v>0</c:v>
                      </c:pt>
                      <c:pt idx="7307">
                        <c:v>0</c:v>
                      </c:pt>
                      <c:pt idx="7308">
                        <c:v>0</c:v>
                      </c:pt>
                      <c:pt idx="7309">
                        <c:v>0</c:v>
                      </c:pt>
                      <c:pt idx="7310">
                        <c:v>0</c:v>
                      </c:pt>
                      <c:pt idx="7311">
                        <c:v>0</c:v>
                      </c:pt>
                      <c:pt idx="7312">
                        <c:v>0</c:v>
                      </c:pt>
                      <c:pt idx="7313">
                        <c:v>0</c:v>
                      </c:pt>
                      <c:pt idx="7314">
                        <c:v>0</c:v>
                      </c:pt>
                      <c:pt idx="7315">
                        <c:v>0</c:v>
                      </c:pt>
                      <c:pt idx="7316">
                        <c:v>0</c:v>
                      </c:pt>
                      <c:pt idx="7317">
                        <c:v>0</c:v>
                      </c:pt>
                      <c:pt idx="7318">
                        <c:v>0</c:v>
                      </c:pt>
                      <c:pt idx="7319">
                        <c:v>0</c:v>
                      </c:pt>
                      <c:pt idx="7320">
                        <c:v>0</c:v>
                      </c:pt>
                      <c:pt idx="7321">
                        <c:v>0</c:v>
                      </c:pt>
                      <c:pt idx="7322">
                        <c:v>0</c:v>
                      </c:pt>
                      <c:pt idx="7323">
                        <c:v>0</c:v>
                      </c:pt>
                      <c:pt idx="7324">
                        <c:v>0</c:v>
                      </c:pt>
                      <c:pt idx="7325">
                        <c:v>0</c:v>
                      </c:pt>
                      <c:pt idx="7326">
                        <c:v>0</c:v>
                      </c:pt>
                      <c:pt idx="7327">
                        <c:v>0</c:v>
                      </c:pt>
                      <c:pt idx="7328">
                        <c:v>0</c:v>
                      </c:pt>
                      <c:pt idx="7329">
                        <c:v>0</c:v>
                      </c:pt>
                      <c:pt idx="7330">
                        <c:v>0</c:v>
                      </c:pt>
                      <c:pt idx="7331">
                        <c:v>0</c:v>
                      </c:pt>
                      <c:pt idx="7332">
                        <c:v>0</c:v>
                      </c:pt>
                      <c:pt idx="7333">
                        <c:v>0</c:v>
                      </c:pt>
                      <c:pt idx="7334">
                        <c:v>0</c:v>
                      </c:pt>
                      <c:pt idx="7335">
                        <c:v>0</c:v>
                      </c:pt>
                      <c:pt idx="7336">
                        <c:v>0</c:v>
                      </c:pt>
                      <c:pt idx="7337">
                        <c:v>0</c:v>
                      </c:pt>
                      <c:pt idx="7338">
                        <c:v>0</c:v>
                      </c:pt>
                      <c:pt idx="7339">
                        <c:v>0</c:v>
                      </c:pt>
                      <c:pt idx="7340">
                        <c:v>0</c:v>
                      </c:pt>
                      <c:pt idx="7341">
                        <c:v>0</c:v>
                      </c:pt>
                      <c:pt idx="7342">
                        <c:v>0</c:v>
                      </c:pt>
                      <c:pt idx="7343">
                        <c:v>0</c:v>
                      </c:pt>
                      <c:pt idx="7344">
                        <c:v>0</c:v>
                      </c:pt>
                      <c:pt idx="7345">
                        <c:v>0</c:v>
                      </c:pt>
                      <c:pt idx="7346">
                        <c:v>0</c:v>
                      </c:pt>
                      <c:pt idx="7347">
                        <c:v>0</c:v>
                      </c:pt>
                      <c:pt idx="7348">
                        <c:v>0</c:v>
                      </c:pt>
                      <c:pt idx="7349">
                        <c:v>0</c:v>
                      </c:pt>
                      <c:pt idx="7350">
                        <c:v>0</c:v>
                      </c:pt>
                      <c:pt idx="7351">
                        <c:v>0</c:v>
                      </c:pt>
                      <c:pt idx="7352">
                        <c:v>0</c:v>
                      </c:pt>
                      <c:pt idx="7353">
                        <c:v>0</c:v>
                      </c:pt>
                      <c:pt idx="7354">
                        <c:v>0</c:v>
                      </c:pt>
                      <c:pt idx="7355">
                        <c:v>0</c:v>
                      </c:pt>
                      <c:pt idx="7356">
                        <c:v>0</c:v>
                      </c:pt>
                      <c:pt idx="7357">
                        <c:v>0</c:v>
                      </c:pt>
                      <c:pt idx="7358">
                        <c:v>0</c:v>
                      </c:pt>
                      <c:pt idx="7359">
                        <c:v>0</c:v>
                      </c:pt>
                      <c:pt idx="7360">
                        <c:v>0</c:v>
                      </c:pt>
                      <c:pt idx="7361">
                        <c:v>0</c:v>
                      </c:pt>
                      <c:pt idx="7362">
                        <c:v>0</c:v>
                      </c:pt>
                      <c:pt idx="7363">
                        <c:v>0</c:v>
                      </c:pt>
                      <c:pt idx="7364">
                        <c:v>0</c:v>
                      </c:pt>
                      <c:pt idx="7365">
                        <c:v>0</c:v>
                      </c:pt>
                      <c:pt idx="7366">
                        <c:v>0</c:v>
                      </c:pt>
                      <c:pt idx="7367">
                        <c:v>0</c:v>
                      </c:pt>
                      <c:pt idx="7368">
                        <c:v>0</c:v>
                      </c:pt>
                      <c:pt idx="7369">
                        <c:v>0</c:v>
                      </c:pt>
                      <c:pt idx="7370">
                        <c:v>0</c:v>
                      </c:pt>
                      <c:pt idx="7371">
                        <c:v>0</c:v>
                      </c:pt>
                      <c:pt idx="7372">
                        <c:v>0</c:v>
                      </c:pt>
                      <c:pt idx="7373">
                        <c:v>0</c:v>
                      </c:pt>
                      <c:pt idx="7374">
                        <c:v>0</c:v>
                      </c:pt>
                      <c:pt idx="7375">
                        <c:v>0</c:v>
                      </c:pt>
                      <c:pt idx="7376">
                        <c:v>0</c:v>
                      </c:pt>
                      <c:pt idx="7377">
                        <c:v>0</c:v>
                      </c:pt>
                      <c:pt idx="7378">
                        <c:v>0</c:v>
                      </c:pt>
                      <c:pt idx="7379">
                        <c:v>0</c:v>
                      </c:pt>
                      <c:pt idx="7380">
                        <c:v>0</c:v>
                      </c:pt>
                      <c:pt idx="7381">
                        <c:v>0</c:v>
                      </c:pt>
                      <c:pt idx="7382">
                        <c:v>0</c:v>
                      </c:pt>
                      <c:pt idx="7383">
                        <c:v>0</c:v>
                      </c:pt>
                      <c:pt idx="7384">
                        <c:v>0</c:v>
                      </c:pt>
                      <c:pt idx="7385">
                        <c:v>0</c:v>
                      </c:pt>
                      <c:pt idx="7386">
                        <c:v>0</c:v>
                      </c:pt>
                      <c:pt idx="7387">
                        <c:v>0</c:v>
                      </c:pt>
                      <c:pt idx="7388">
                        <c:v>0</c:v>
                      </c:pt>
                      <c:pt idx="7389">
                        <c:v>0</c:v>
                      </c:pt>
                      <c:pt idx="7390">
                        <c:v>0</c:v>
                      </c:pt>
                      <c:pt idx="7391">
                        <c:v>0</c:v>
                      </c:pt>
                      <c:pt idx="7392">
                        <c:v>0</c:v>
                      </c:pt>
                      <c:pt idx="7393">
                        <c:v>0</c:v>
                      </c:pt>
                      <c:pt idx="7394">
                        <c:v>0</c:v>
                      </c:pt>
                      <c:pt idx="7395">
                        <c:v>0</c:v>
                      </c:pt>
                      <c:pt idx="7396">
                        <c:v>0</c:v>
                      </c:pt>
                      <c:pt idx="7397">
                        <c:v>0</c:v>
                      </c:pt>
                      <c:pt idx="7398">
                        <c:v>0</c:v>
                      </c:pt>
                      <c:pt idx="7399">
                        <c:v>0</c:v>
                      </c:pt>
                      <c:pt idx="7400">
                        <c:v>0</c:v>
                      </c:pt>
                      <c:pt idx="7401">
                        <c:v>0</c:v>
                      </c:pt>
                      <c:pt idx="7402">
                        <c:v>0</c:v>
                      </c:pt>
                      <c:pt idx="7403">
                        <c:v>0</c:v>
                      </c:pt>
                      <c:pt idx="7404">
                        <c:v>0</c:v>
                      </c:pt>
                      <c:pt idx="7405">
                        <c:v>0</c:v>
                      </c:pt>
                      <c:pt idx="7406">
                        <c:v>0</c:v>
                      </c:pt>
                      <c:pt idx="7407">
                        <c:v>0</c:v>
                      </c:pt>
                      <c:pt idx="7408">
                        <c:v>0</c:v>
                      </c:pt>
                      <c:pt idx="7409">
                        <c:v>0</c:v>
                      </c:pt>
                      <c:pt idx="7410">
                        <c:v>0</c:v>
                      </c:pt>
                      <c:pt idx="7411">
                        <c:v>0</c:v>
                      </c:pt>
                      <c:pt idx="7412">
                        <c:v>0</c:v>
                      </c:pt>
                      <c:pt idx="7413">
                        <c:v>0</c:v>
                      </c:pt>
                      <c:pt idx="7414">
                        <c:v>0</c:v>
                      </c:pt>
                      <c:pt idx="7415">
                        <c:v>0</c:v>
                      </c:pt>
                      <c:pt idx="7416">
                        <c:v>0</c:v>
                      </c:pt>
                      <c:pt idx="7417">
                        <c:v>0</c:v>
                      </c:pt>
                      <c:pt idx="7418">
                        <c:v>0</c:v>
                      </c:pt>
                      <c:pt idx="7419">
                        <c:v>0</c:v>
                      </c:pt>
                      <c:pt idx="7420">
                        <c:v>0</c:v>
                      </c:pt>
                      <c:pt idx="7421">
                        <c:v>0</c:v>
                      </c:pt>
                      <c:pt idx="7422">
                        <c:v>0</c:v>
                      </c:pt>
                      <c:pt idx="7423">
                        <c:v>0</c:v>
                      </c:pt>
                      <c:pt idx="7424">
                        <c:v>0</c:v>
                      </c:pt>
                      <c:pt idx="7425">
                        <c:v>0</c:v>
                      </c:pt>
                      <c:pt idx="7426">
                        <c:v>0</c:v>
                      </c:pt>
                      <c:pt idx="7427">
                        <c:v>0</c:v>
                      </c:pt>
                      <c:pt idx="7428">
                        <c:v>0</c:v>
                      </c:pt>
                      <c:pt idx="7429">
                        <c:v>0</c:v>
                      </c:pt>
                      <c:pt idx="7430">
                        <c:v>0</c:v>
                      </c:pt>
                      <c:pt idx="7431">
                        <c:v>0</c:v>
                      </c:pt>
                      <c:pt idx="7432">
                        <c:v>0</c:v>
                      </c:pt>
                      <c:pt idx="7433">
                        <c:v>0</c:v>
                      </c:pt>
                      <c:pt idx="7434">
                        <c:v>0</c:v>
                      </c:pt>
                      <c:pt idx="7435">
                        <c:v>0</c:v>
                      </c:pt>
                      <c:pt idx="7436">
                        <c:v>0</c:v>
                      </c:pt>
                      <c:pt idx="7437">
                        <c:v>0</c:v>
                      </c:pt>
                      <c:pt idx="7438">
                        <c:v>0</c:v>
                      </c:pt>
                      <c:pt idx="7439">
                        <c:v>0</c:v>
                      </c:pt>
                      <c:pt idx="7440">
                        <c:v>0</c:v>
                      </c:pt>
                      <c:pt idx="7441">
                        <c:v>0</c:v>
                      </c:pt>
                      <c:pt idx="7442">
                        <c:v>0</c:v>
                      </c:pt>
                      <c:pt idx="7443">
                        <c:v>0</c:v>
                      </c:pt>
                      <c:pt idx="7444">
                        <c:v>0</c:v>
                      </c:pt>
                      <c:pt idx="7445">
                        <c:v>0</c:v>
                      </c:pt>
                      <c:pt idx="7446">
                        <c:v>0</c:v>
                      </c:pt>
                      <c:pt idx="7447">
                        <c:v>0</c:v>
                      </c:pt>
                      <c:pt idx="7448">
                        <c:v>0</c:v>
                      </c:pt>
                      <c:pt idx="7449">
                        <c:v>0</c:v>
                      </c:pt>
                      <c:pt idx="7450">
                        <c:v>0</c:v>
                      </c:pt>
                      <c:pt idx="7451">
                        <c:v>0</c:v>
                      </c:pt>
                      <c:pt idx="7452">
                        <c:v>0</c:v>
                      </c:pt>
                      <c:pt idx="7453">
                        <c:v>0</c:v>
                      </c:pt>
                      <c:pt idx="7454">
                        <c:v>0</c:v>
                      </c:pt>
                      <c:pt idx="7455">
                        <c:v>0</c:v>
                      </c:pt>
                      <c:pt idx="7456">
                        <c:v>0</c:v>
                      </c:pt>
                      <c:pt idx="7457">
                        <c:v>0</c:v>
                      </c:pt>
                      <c:pt idx="7458">
                        <c:v>0</c:v>
                      </c:pt>
                      <c:pt idx="7459">
                        <c:v>0</c:v>
                      </c:pt>
                      <c:pt idx="7460">
                        <c:v>0</c:v>
                      </c:pt>
                      <c:pt idx="7461">
                        <c:v>0</c:v>
                      </c:pt>
                      <c:pt idx="7462">
                        <c:v>0</c:v>
                      </c:pt>
                      <c:pt idx="7463">
                        <c:v>0</c:v>
                      </c:pt>
                      <c:pt idx="7464">
                        <c:v>0</c:v>
                      </c:pt>
                      <c:pt idx="7465">
                        <c:v>0</c:v>
                      </c:pt>
                      <c:pt idx="7466">
                        <c:v>0</c:v>
                      </c:pt>
                      <c:pt idx="7467">
                        <c:v>0</c:v>
                      </c:pt>
                      <c:pt idx="7468">
                        <c:v>0</c:v>
                      </c:pt>
                      <c:pt idx="7469">
                        <c:v>0</c:v>
                      </c:pt>
                      <c:pt idx="7470">
                        <c:v>0</c:v>
                      </c:pt>
                      <c:pt idx="7471">
                        <c:v>0</c:v>
                      </c:pt>
                      <c:pt idx="7472">
                        <c:v>0</c:v>
                      </c:pt>
                      <c:pt idx="7473">
                        <c:v>0</c:v>
                      </c:pt>
                      <c:pt idx="7474">
                        <c:v>0</c:v>
                      </c:pt>
                      <c:pt idx="7475">
                        <c:v>0</c:v>
                      </c:pt>
                      <c:pt idx="7476">
                        <c:v>0</c:v>
                      </c:pt>
                      <c:pt idx="7477">
                        <c:v>0</c:v>
                      </c:pt>
                      <c:pt idx="7478">
                        <c:v>0</c:v>
                      </c:pt>
                      <c:pt idx="7479">
                        <c:v>0</c:v>
                      </c:pt>
                      <c:pt idx="7480">
                        <c:v>0</c:v>
                      </c:pt>
                      <c:pt idx="7481">
                        <c:v>0</c:v>
                      </c:pt>
                      <c:pt idx="7482">
                        <c:v>0</c:v>
                      </c:pt>
                      <c:pt idx="7483">
                        <c:v>0</c:v>
                      </c:pt>
                      <c:pt idx="7484">
                        <c:v>0</c:v>
                      </c:pt>
                      <c:pt idx="7485">
                        <c:v>0</c:v>
                      </c:pt>
                      <c:pt idx="7486">
                        <c:v>0</c:v>
                      </c:pt>
                      <c:pt idx="7487">
                        <c:v>0</c:v>
                      </c:pt>
                      <c:pt idx="7488">
                        <c:v>0</c:v>
                      </c:pt>
                      <c:pt idx="7489">
                        <c:v>0</c:v>
                      </c:pt>
                      <c:pt idx="7490">
                        <c:v>0</c:v>
                      </c:pt>
                      <c:pt idx="7491">
                        <c:v>0</c:v>
                      </c:pt>
                      <c:pt idx="7492">
                        <c:v>0</c:v>
                      </c:pt>
                      <c:pt idx="7493">
                        <c:v>0</c:v>
                      </c:pt>
                      <c:pt idx="7494">
                        <c:v>0</c:v>
                      </c:pt>
                      <c:pt idx="7495">
                        <c:v>0</c:v>
                      </c:pt>
                      <c:pt idx="7496">
                        <c:v>0</c:v>
                      </c:pt>
                      <c:pt idx="7497">
                        <c:v>0</c:v>
                      </c:pt>
                      <c:pt idx="7498">
                        <c:v>0</c:v>
                      </c:pt>
                      <c:pt idx="7499">
                        <c:v>0</c:v>
                      </c:pt>
                      <c:pt idx="7500">
                        <c:v>0</c:v>
                      </c:pt>
                      <c:pt idx="7501">
                        <c:v>0</c:v>
                      </c:pt>
                      <c:pt idx="7502">
                        <c:v>0</c:v>
                      </c:pt>
                      <c:pt idx="7503">
                        <c:v>0</c:v>
                      </c:pt>
                      <c:pt idx="7504">
                        <c:v>0</c:v>
                      </c:pt>
                      <c:pt idx="7505">
                        <c:v>0</c:v>
                      </c:pt>
                      <c:pt idx="7506">
                        <c:v>0</c:v>
                      </c:pt>
                      <c:pt idx="7507">
                        <c:v>0</c:v>
                      </c:pt>
                      <c:pt idx="7508">
                        <c:v>0</c:v>
                      </c:pt>
                      <c:pt idx="7509">
                        <c:v>0</c:v>
                      </c:pt>
                      <c:pt idx="7510">
                        <c:v>0</c:v>
                      </c:pt>
                      <c:pt idx="7511">
                        <c:v>0</c:v>
                      </c:pt>
                      <c:pt idx="7512">
                        <c:v>0</c:v>
                      </c:pt>
                      <c:pt idx="7513">
                        <c:v>0</c:v>
                      </c:pt>
                      <c:pt idx="7514">
                        <c:v>0</c:v>
                      </c:pt>
                      <c:pt idx="7515">
                        <c:v>0</c:v>
                      </c:pt>
                      <c:pt idx="7516">
                        <c:v>0</c:v>
                      </c:pt>
                      <c:pt idx="7517">
                        <c:v>0</c:v>
                      </c:pt>
                      <c:pt idx="7518">
                        <c:v>0</c:v>
                      </c:pt>
                      <c:pt idx="7519">
                        <c:v>0</c:v>
                      </c:pt>
                      <c:pt idx="7520">
                        <c:v>0</c:v>
                      </c:pt>
                      <c:pt idx="7521">
                        <c:v>0</c:v>
                      </c:pt>
                      <c:pt idx="7522">
                        <c:v>0</c:v>
                      </c:pt>
                      <c:pt idx="7523">
                        <c:v>0</c:v>
                      </c:pt>
                      <c:pt idx="7524">
                        <c:v>0</c:v>
                      </c:pt>
                      <c:pt idx="7525">
                        <c:v>0</c:v>
                      </c:pt>
                      <c:pt idx="7526">
                        <c:v>0</c:v>
                      </c:pt>
                      <c:pt idx="7527">
                        <c:v>0</c:v>
                      </c:pt>
                      <c:pt idx="7528">
                        <c:v>0</c:v>
                      </c:pt>
                      <c:pt idx="7529">
                        <c:v>0</c:v>
                      </c:pt>
                      <c:pt idx="7530">
                        <c:v>0</c:v>
                      </c:pt>
                      <c:pt idx="7531">
                        <c:v>0</c:v>
                      </c:pt>
                      <c:pt idx="7532">
                        <c:v>0</c:v>
                      </c:pt>
                      <c:pt idx="7533">
                        <c:v>0</c:v>
                      </c:pt>
                      <c:pt idx="7534">
                        <c:v>0</c:v>
                      </c:pt>
                      <c:pt idx="7535">
                        <c:v>0</c:v>
                      </c:pt>
                      <c:pt idx="7536">
                        <c:v>0</c:v>
                      </c:pt>
                      <c:pt idx="7537">
                        <c:v>0</c:v>
                      </c:pt>
                      <c:pt idx="7538">
                        <c:v>0</c:v>
                      </c:pt>
                      <c:pt idx="7539">
                        <c:v>0</c:v>
                      </c:pt>
                      <c:pt idx="7540">
                        <c:v>0</c:v>
                      </c:pt>
                      <c:pt idx="7541">
                        <c:v>0</c:v>
                      </c:pt>
                      <c:pt idx="7542">
                        <c:v>0</c:v>
                      </c:pt>
                      <c:pt idx="7543">
                        <c:v>0</c:v>
                      </c:pt>
                      <c:pt idx="7544">
                        <c:v>0</c:v>
                      </c:pt>
                      <c:pt idx="7545">
                        <c:v>0</c:v>
                      </c:pt>
                      <c:pt idx="7546">
                        <c:v>0</c:v>
                      </c:pt>
                      <c:pt idx="7547">
                        <c:v>0</c:v>
                      </c:pt>
                      <c:pt idx="7548">
                        <c:v>0</c:v>
                      </c:pt>
                      <c:pt idx="7549">
                        <c:v>0</c:v>
                      </c:pt>
                      <c:pt idx="7550">
                        <c:v>0</c:v>
                      </c:pt>
                      <c:pt idx="7551">
                        <c:v>0</c:v>
                      </c:pt>
                      <c:pt idx="7552">
                        <c:v>0</c:v>
                      </c:pt>
                      <c:pt idx="7553">
                        <c:v>0</c:v>
                      </c:pt>
                      <c:pt idx="7554">
                        <c:v>0</c:v>
                      </c:pt>
                      <c:pt idx="7555">
                        <c:v>0</c:v>
                      </c:pt>
                      <c:pt idx="7556">
                        <c:v>0</c:v>
                      </c:pt>
                      <c:pt idx="7557">
                        <c:v>0</c:v>
                      </c:pt>
                      <c:pt idx="7558">
                        <c:v>0</c:v>
                      </c:pt>
                      <c:pt idx="7559">
                        <c:v>0</c:v>
                      </c:pt>
                      <c:pt idx="7560">
                        <c:v>0</c:v>
                      </c:pt>
                      <c:pt idx="7561">
                        <c:v>0</c:v>
                      </c:pt>
                      <c:pt idx="7562">
                        <c:v>0</c:v>
                      </c:pt>
                      <c:pt idx="7563">
                        <c:v>0</c:v>
                      </c:pt>
                      <c:pt idx="7564">
                        <c:v>0</c:v>
                      </c:pt>
                      <c:pt idx="7565">
                        <c:v>0</c:v>
                      </c:pt>
                      <c:pt idx="7566">
                        <c:v>0</c:v>
                      </c:pt>
                      <c:pt idx="7567">
                        <c:v>0</c:v>
                      </c:pt>
                      <c:pt idx="7568">
                        <c:v>0</c:v>
                      </c:pt>
                      <c:pt idx="7569">
                        <c:v>0</c:v>
                      </c:pt>
                      <c:pt idx="7570">
                        <c:v>0</c:v>
                      </c:pt>
                      <c:pt idx="7571">
                        <c:v>0</c:v>
                      </c:pt>
                      <c:pt idx="7572">
                        <c:v>0</c:v>
                      </c:pt>
                      <c:pt idx="7573">
                        <c:v>0</c:v>
                      </c:pt>
                      <c:pt idx="7574">
                        <c:v>0</c:v>
                      </c:pt>
                      <c:pt idx="7575">
                        <c:v>0</c:v>
                      </c:pt>
                      <c:pt idx="7576">
                        <c:v>0</c:v>
                      </c:pt>
                      <c:pt idx="7577">
                        <c:v>0</c:v>
                      </c:pt>
                      <c:pt idx="7578">
                        <c:v>0</c:v>
                      </c:pt>
                      <c:pt idx="7579">
                        <c:v>0</c:v>
                      </c:pt>
                      <c:pt idx="7580">
                        <c:v>0</c:v>
                      </c:pt>
                      <c:pt idx="7581">
                        <c:v>0</c:v>
                      </c:pt>
                      <c:pt idx="7582">
                        <c:v>0</c:v>
                      </c:pt>
                      <c:pt idx="7583">
                        <c:v>0</c:v>
                      </c:pt>
                      <c:pt idx="7584">
                        <c:v>0</c:v>
                      </c:pt>
                      <c:pt idx="7585">
                        <c:v>0</c:v>
                      </c:pt>
                      <c:pt idx="7586">
                        <c:v>0</c:v>
                      </c:pt>
                      <c:pt idx="7587">
                        <c:v>0</c:v>
                      </c:pt>
                      <c:pt idx="7588">
                        <c:v>0</c:v>
                      </c:pt>
                      <c:pt idx="7589">
                        <c:v>0</c:v>
                      </c:pt>
                      <c:pt idx="7590">
                        <c:v>0</c:v>
                      </c:pt>
                      <c:pt idx="7591">
                        <c:v>0</c:v>
                      </c:pt>
                      <c:pt idx="7592">
                        <c:v>0</c:v>
                      </c:pt>
                      <c:pt idx="7593">
                        <c:v>0</c:v>
                      </c:pt>
                      <c:pt idx="7594">
                        <c:v>0</c:v>
                      </c:pt>
                      <c:pt idx="7595">
                        <c:v>0</c:v>
                      </c:pt>
                      <c:pt idx="7596">
                        <c:v>0</c:v>
                      </c:pt>
                      <c:pt idx="7597">
                        <c:v>0</c:v>
                      </c:pt>
                      <c:pt idx="7598">
                        <c:v>0</c:v>
                      </c:pt>
                      <c:pt idx="7599">
                        <c:v>0</c:v>
                      </c:pt>
                      <c:pt idx="7600">
                        <c:v>0</c:v>
                      </c:pt>
                      <c:pt idx="7601">
                        <c:v>0</c:v>
                      </c:pt>
                      <c:pt idx="7602">
                        <c:v>0</c:v>
                      </c:pt>
                      <c:pt idx="7603">
                        <c:v>0</c:v>
                      </c:pt>
                      <c:pt idx="7604">
                        <c:v>0</c:v>
                      </c:pt>
                      <c:pt idx="7605">
                        <c:v>0</c:v>
                      </c:pt>
                      <c:pt idx="7606">
                        <c:v>0</c:v>
                      </c:pt>
                      <c:pt idx="7607">
                        <c:v>0</c:v>
                      </c:pt>
                      <c:pt idx="7608">
                        <c:v>0</c:v>
                      </c:pt>
                      <c:pt idx="7609">
                        <c:v>0</c:v>
                      </c:pt>
                      <c:pt idx="7610">
                        <c:v>0</c:v>
                      </c:pt>
                      <c:pt idx="7611">
                        <c:v>0</c:v>
                      </c:pt>
                      <c:pt idx="7612">
                        <c:v>0</c:v>
                      </c:pt>
                      <c:pt idx="7613">
                        <c:v>0</c:v>
                      </c:pt>
                      <c:pt idx="7614">
                        <c:v>0</c:v>
                      </c:pt>
                      <c:pt idx="7615">
                        <c:v>0</c:v>
                      </c:pt>
                      <c:pt idx="7616">
                        <c:v>0</c:v>
                      </c:pt>
                      <c:pt idx="7617">
                        <c:v>0</c:v>
                      </c:pt>
                      <c:pt idx="7618">
                        <c:v>0</c:v>
                      </c:pt>
                      <c:pt idx="7619">
                        <c:v>0</c:v>
                      </c:pt>
                      <c:pt idx="7620">
                        <c:v>0</c:v>
                      </c:pt>
                      <c:pt idx="7621">
                        <c:v>0</c:v>
                      </c:pt>
                      <c:pt idx="7622">
                        <c:v>0</c:v>
                      </c:pt>
                      <c:pt idx="7623">
                        <c:v>0</c:v>
                      </c:pt>
                      <c:pt idx="7624">
                        <c:v>0</c:v>
                      </c:pt>
                      <c:pt idx="7625">
                        <c:v>0</c:v>
                      </c:pt>
                      <c:pt idx="7626">
                        <c:v>0</c:v>
                      </c:pt>
                      <c:pt idx="7627">
                        <c:v>0</c:v>
                      </c:pt>
                      <c:pt idx="7628">
                        <c:v>0</c:v>
                      </c:pt>
                      <c:pt idx="7629">
                        <c:v>0</c:v>
                      </c:pt>
                      <c:pt idx="7630">
                        <c:v>0</c:v>
                      </c:pt>
                      <c:pt idx="7631">
                        <c:v>0</c:v>
                      </c:pt>
                      <c:pt idx="7632">
                        <c:v>0</c:v>
                      </c:pt>
                      <c:pt idx="7633">
                        <c:v>0</c:v>
                      </c:pt>
                      <c:pt idx="7634">
                        <c:v>0</c:v>
                      </c:pt>
                      <c:pt idx="7635">
                        <c:v>0</c:v>
                      </c:pt>
                      <c:pt idx="7636">
                        <c:v>0</c:v>
                      </c:pt>
                      <c:pt idx="7637">
                        <c:v>0</c:v>
                      </c:pt>
                      <c:pt idx="7638">
                        <c:v>0</c:v>
                      </c:pt>
                      <c:pt idx="7639">
                        <c:v>0</c:v>
                      </c:pt>
                      <c:pt idx="7640">
                        <c:v>0</c:v>
                      </c:pt>
                      <c:pt idx="7641">
                        <c:v>0</c:v>
                      </c:pt>
                      <c:pt idx="7642">
                        <c:v>0</c:v>
                      </c:pt>
                      <c:pt idx="7643">
                        <c:v>0</c:v>
                      </c:pt>
                      <c:pt idx="7644">
                        <c:v>0</c:v>
                      </c:pt>
                      <c:pt idx="7645">
                        <c:v>0</c:v>
                      </c:pt>
                      <c:pt idx="7646">
                        <c:v>0</c:v>
                      </c:pt>
                      <c:pt idx="7647">
                        <c:v>0</c:v>
                      </c:pt>
                      <c:pt idx="7648">
                        <c:v>0</c:v>
                      </c:pt>
                      <c:pt idx="7649">
                        <c:v>0</c:v>
                      </c:pt>
                      <c:pt idx="7650">
                        <c:v>0</c:v>
                      </c:pt>
                      <c:pt idx="7651">
                        <c:v>0</c:v>
                      </c:pt>
                      <c:pt idx="7652">
                        <c:v>0</c:v>
                      </c:pt>
                      <c:pt idx="7653">
                        <c:v>0</c:v>
                      </c:pt>
                      <c:pt idx="7654">
                        <c:v>0</c:v>
                      </c:pt>
                      <c:pt idx="7655">
                        <c:v>0</c:v>
                      </c:pt>
                      <c:pt idx="7656">
                        <c:v>0</c:v>
                      </c:pt>
                      <c:pt idx="7657">
                        <c:v>0</c:v>
                      </c:pt>
                      <c:pt idx="7658">
                        <c:v>0</c:v>
                      </c:pt>
                      <c:pt idx="7659">
                        <c:v>0</c:v>
                      </c:pt>
                      <c:pt idx="7660">
                        <c:v>0</c:v>
                      </c:pt>
                      <c:pt idx="7661">
                        <c:v>0</c:v>
                      </c:pt>
                      <c:pt idx="7662">
                        <c:v>0</c:v>
                      </c:pt>
                      <c:pt idx="7663">
                        <c:v>0</c:v>
                      </c:pt>
                      <c:pt idx="7664">
                        <c:v>0</c:v>
                      </c:pt>
                      <c:pt idx="7665">
                        <c:v>0</c:v>
                      </c:pt>
                      <c:pt idx="7666">
                        <c:v>0</c:v>
                      </c:pt>
                      <c:pt idx="7667">
                        <c:v>0</c:v>
                      </c:pt>
                      <c:pt idx="7668">
                        <c:v>0</c:v>
                      </c:pt>
                      <c:pt idx="7669">
                        <c:v>0</c:v>
                      </c:pt>
                      <c:pt idx="7670">
                        <c:v>0</c:v>
                      </c:pt>
                      <c:pt idx="7671">
                        <c:v>0</c:v>
                      </c:pt>
                      <c:pt idx="7672">
                        <c:v>0</c:v>
                      </c:pt>
                      <c:pt idx="7673">
                        <c:v>0</c:v>
                      </c:pt>
                      <c:pt idx="7674">
                        <c:v>0</c:v>
                      </c:pt>
                      <c:pt idx="7675">
                        <c:v>0</c:v>
                      </c:pt>
                      <c:pt idx="7676">
                        <c:v>0</c:v>
                      </c:pt>
                      <c:pt idx="7677">
                        <c:v>0</c:v>
                      </c:pt>
                      <c:pt idx="7678">
                        <c:v>0</c:v>
                      </c:pt>
                      <c:pt idx="7679">
                        <c:v>0</c:v>
                      </c:pt>
                      <c:pt idx="7680">
                        <c:v>0</c:v>
                      </c:pt>
                      <c:pt idx="7681">
                        <c:v>0</c:v>
                      </c:pt>
                      <c:pt idx="7682">
                        <c:v>0</c:v>
                      </c:pt>
                      <c:pt idx="7683">
                        <c:v>0</c:v>
                      </c:pt>
                      <c:pt idx="7684">
                        <c:v>0</c:v>
                      </c:pt>
                      <c:pt idx="7685">
                        <c:v>0</c:v>
                      </c:pt>
                      <c:pt idx="7686">
                        <c:v>0</c:v>
                      </c:pt>
                      <c:pt idx="7687">
                        <c:v>0</c:v>
                      </c:pt>
                      <c:pt idx="7688">
                        <c:v>0</c:v>
                      </c:pt>
                      <c:pt idx="7689">
                        <c:v>0</c:v>
                      </c:pt>
                      <c:pt idx="7690">
                        <c:v>0</c:v>
                      </c:pt>
                      <c:pt idx="7691">
                        <c:v>0</c:v>
                      </c:pt>
                      <c:pt idx="7692">
                        <c:v>0</c:v>
                      </c:pt>
                      <c:pt idx="7693">
                        <c:v>0</c:v>
                      </c:pt>
                      <c:pt idx="7694">
                        <c:v>0</c:v>
                      </c:pt>
                      <c:pt idx="7695">
                        <c:v>0</c:v>
                      </c:pt>
                      <c:pt idx="7696">
                        <c:v>0</c:v>
                      </c:pt>
                      <c:pt idx="7697">
                        <c:v>0</c:v>
                      </c:pt>
                      <c:pt idx="7698">
                        <c:v>0</c:v>
                      </c:pt>
                      <c:pt idx="7699">
                        <c:v>0</c:v>
                      </c:pt>
                      <c:pt idx="7700">
                        <c:v>0</c:v>
                      </c:pt>
                      <c:pt idx="7701">
                        <c:v>0</c:v>
                      </c:pt>
                      <c:pt idx="7702">
                        <c:v>0</c:v>
                      </c:pt>
                      <c:pt idx="7703">
                        <c:v>0</c:v>
                      </c:pt>
                      <c:pt idx="7704">
                        <c:v>0</c:v>
                      </c:pt>
                      <c:pt idx="7705">
                        <c:v>0</c:v>
                      </c:pt>
                      <c:pt idx="7706">
                        <c:v>0</c:v>
                      </c:pt>
                      <c:pt idx="7707">
                        <c:v>0</c:v>
                      </c:pt>
                      <c:pt idx="7708">
                        <c:v>0</c:v>
                      </c:pt>
                      <c:pt idx="7709">
                        <c:v>0</c:v>
                      </c:pt>
                      <c:pt idx="7710">
                        <c:v>0</c:v>
                      </c:pt>
                      <c:pt idx="7711">
                        <c:v>0</c:v>
                      </c:pt>
                      <c:pt idx="7712">
                        <c:v>0</c:v>
                      </c:pt>
                      <c:pt idx="7713">
                        <c:v>0</c:v>
                      </c:pt>
                      <c:pt idx="7714">
                        <c:v>0</c:v>
                      </c:pt>
                      <c:pt idx="7715">
                        <c:v>0</c:v>
                      </c:pt>
                      <c:pt idx="7716">
                        <c:v>0</c:v>
                      </c:pt>
                      <c:pt idx="7717">
                        <c:v>0</c:v>
                      </c:pt>
                      <c:pt idx="7718">
                        <c:v>0</c:v>
                      </c:pt>
                      <c:pt idx="7719">
                        <c:v>0</c:v>
                      </c:pt>
                      <c:pt idx="7720">
                        <c:v>0</c:v>
                      </c:pt>
                      <c:pt idx="7721">
                        <c:v>0</c:v>
                      </c:pt>
                      <c:pt idx="7722">
                        <c:v>0</c:v>
                      </c:pt>
                      <c:pt idx="7723">
                        <c:v>0</c:v>
                      </c:pt>
                      <c:pt idx="7724">
                        <c:v>0</c:v>
                      </c:pt>
                      <c:pt idx="7725">
                        <c:v>0</c:v>
                      </c:pt>
                      <c:pt idx="7726">
                        <c:v>0</c:v>
                      </c:pt>
                      <c:pt idx="7727">
                        <c:v>0</c:v>
                      </c:pt>
                      <c:pt idx="7728">
                        <c:v>0</c:v>
                      </c:pt>
                      <c:pt idx="7729">
                        <c:v>0</c:v>
                      </c:pt>
                      <c:pt idx="7730">
                        <c:v>0</c:v>
                      </c:pt>
                      <c:pt idx="7731">
                        <c:v>0</c:v>
                      </c:pt>
                      <c:pt idx="7732">
                        <c:v>0</c:v>
                      </c:pt>
                      <c:pt idx="7733">
                        <c:v>0</c:v>
                      </c:pt>
                      <c:pt idx="7734">
                        <c:v>0</c:v>
                      </c:pt>
                      <c:pt idx="7735">
                        <c:v>0</c:v>
                      </c:pt>
                      <c:pt idx="7736">
                        <c:v>0</c:v>
                      </c:pt>
                      <c:pt idx="7737">
                        <c:v>0</c:v>
                      </c:pt>
                      <c:pt idx="7738">
                        <c:v>0</c:v>
                      </c:pt>
                      <c:pt idx="7739">
                        <c:v>0</c:v>
                      </c:pt>
                      <c:pt idx="7740">
                        <c:v>0</c:v>
                      </c:pt>
                      <c:pt idx="7741">
                        <c:v>0</c:v>
                      </c:pt>
                      <c:pt idx="7742">
                        <c:v>0</c:v>
                      </c:pt>
                      <c:pt idx="7743">
                        <c:v>0</c:v>
                      </c:pt>
                      <c:pt idx="7744">
                        <c:v>0</c:v>
                      </c:pt>
                      <c:pt idx="7745">
                        <c:v>0</c:v>
                      </c:pt>
                      <c:pt idx="7746">
                        <c:v>0</c:v>
                      </c:pt>
                      <c:pt idx="7747">
                        <c:v>0</c:v>
                      </c:pt>
                      <c:pt idx="7748">
                        <c:v>0</c:v>
                      </c:pt>
                      <c:pt idx="7749">
                        <c:v>0</c:v>
                      </c:pt>
                      <c:pt idx="7750">
                        <c:v>0</c:v>
                      </c:pt>
                      <c:pt idx="7751">
                        <c:v>0</c:v>
                      </c:pt>
                      <c:pt idx="7752">
                        <c:v>0</c:v>
                      </c:pt>
                      <c:pt idx="7753">
                        <c:v>0</c:v>
                      </c:pt>
                      <c:pt idx="7754">
                        <c:v>0</c:v>
                      </c:pt>
                      <c:pt idx="7755">
                        <c:v>0</c:v>
                      </c:pt>
                      <c:pt idx="7756">
                        <c:v>0</c:v>
                      </c:pt>
                      <c:pt idx="7757">
                        <c:v>0</c:v>
                      </c:pt>
                      <c:pt idx="7758">
                        <c:v>0</c:v>
                      </c:pt>
                      <c:pt idx="7759">
                        <c:v>0</c:v>
                      </c:pt>
                      <c:pt idx="7760">
                        <c:v>0</c:v>
                      </c:pt>
                      <c:pt idx="7761">
                        <c:v>0</c:v>
                      </c:pt>
                      <c:pt idx="7762">
                        <c:v>0</c:v>
                      </c:pt>
                      <c:pt idx="7763">
                        <c:v>0</c:v>
                      </c:pt>
                      <c:pt idx="7764">
                        <c:v>0</c:v>
                      </c:pt>
                      <c:pt idx="7765">
                        <c:v>0</c:v>
                      </c:pt>
                      <c:pt idx="7766">
                        <c:v>0</c:v>
                      </c:pt>
                      <c:pt idx="7767">
                        <c:v>0</c:v>
                      </c:pt>
                      <c:pt idx="7768">
                        <c:v>0</c:v>
                      </c:pt>
                      <c:pt idx="7769">
                        <c:v>0</c:v>
                      </c:pt>
                      <c:pt idx="7770">
                        <c:v>0</c:v>
                      </c:pt>
                      <c:pt idx="7771">
                        <c:v>0</c:v>
                      </c:pt>
                      <c:pt idx="7772">
                        <c:v>0</c:v>
                      </c:pt>
                      <c:pt idx="7773">
                        <c:v>0</c:v>
                      </c:pt>
                      <c:pt idx="7774">
                        <c:v>0</c:v>
                      </c:pt>
                      <c:pt idx="7775">
                        <c:v>0</c:v>
                      </c:pt>
                      <c:pt idx="7776">
                        <c:v>0</c:v>
                      </c:pt>
                      <c:pt idx="7777">
                        <c:v>0</c:v>
                      </c:pt>
                      <c:pt idx="7778">
                        <c:v>0</c:v>
                      </c:pt>
                      <c:pt idx="7779">
                        <c:v>0</c:v>
                      </c:pt>
                      <c:pt idx="7780">
                        <c:v>0</c:v>
                      </c:pt>
                      <c:pt idx="7781">
                        <c:v>0</c:v>
                      </c:pt>
                      <c:pt idx="7782">
                        <c:v>0</c:v>
                      </c:pt>
                      <c:pt idx="7783">
                        <c:v>0</c:v>
                      </c:pt>
                      <c:pt idx="7784">
                        <c:v>0</c:v>
                      </c:pt>
                      <c:pt idx="7785">
                        <c:v>0</c:v>
                      </c:pt>
                      <c:pt idx="7786">
                        <c:v>0</c:v>
                      </c:pt>
                      <c:pt idx="7787">
                        <c:v>0</c:v>
                      </c:pt>
                      <c:pt idx="7788">
                        <c:v>0</c:v>
                      </c:pt>
                      <c:pt idx="7789">
                        <c:v>0</c:v>
                      </c:pt>
                      <c:pt idx="7790">
                        <c:v>0</c:v>
                      </c:pt>
                      <c:pt idx="7791">
                        <c:v>0</c:v>
                      </c:pt>
                      <c:pt idx="7792">
                        <c:v>0</c:v>
                      </c:pt>
                      <c:pt idx="7793">
                        <c:v>0</c:v>
                      </c:pt>
                      <c:pt idx="7794">
                        <c:v>0</c:v>
                      </c:pt>
                      <c:pt idx="7795">
                        <c:v>0</c:v>
                      </c:pt>
                      <c:pt idx="7796">
                        <c:v>0</c:v>
                      </c:pt>
                      <c:pt idx="7797">
                        <c:v>0</c:v>
                      </c:pt>
                      <c:pt idx="7798">
                        <c:v>0</c:v>
                      </c:pt>
                      <c:pt idx="7799">
                        <c:v>0</c:v>
                      </c:pt>
                      <c:pt idx="7800">
                        <c:v>0</c:v>
                      </c:pt>
                      <c:pt idx="7801">
                        <c:v>0</c:v>
                      </c:pt>
                      <c:pt idx="7802">
                        <c:v>0</c:v>
                      </c:pt>
                      <c:pt idx="7803">
                        <c:v>0</c:v>
                      </c:pt>
                      <c:pt idx="7804">
                        <c:v>0</c:v>
                      </c:pt>
                      <c:pt idx="7805">
                        <c:v>0</c:v>
                      </c:pt>
                      <c:pt idx="7806">
                        <c:v>0</c:v>
                      </c:pt>
                      <c:pt idx="7807">
                        <c:v>0</c:v>
                      </c:pt>
                      <c:pt idx="7808">
                        <c:v>0</c:v>
                      </c:pt>
                      <c:pt idx="7809">
                        <c:v>0</c:v>
                      </c:pt>
                      <c:pt idx="7810">
                        <c:v>0</c:v>
                      </c:pt>
                      <c:pt idx="7811">
                        <c:v>0</c:v>
                      </c:pt>
                      <c:pt idx="7812">
                        <c:v>0</c:v>
                      </c:pt>
                      <c:pt idx="7813">
                        <c:v>0</c:v>
                      </c:pt>
                      <c:pt idx="7814">
                        <c:v>0</c:v>
                      </c:pt>
                      <c:pt idx="7815">
                        <c:v>0</c:v>
                      </c:pt>
                      <c:pt idx="7816">
                        <c:v>0</c:v>
                      </c:pt>
                      <c:pt idx="7817">
                        <c:v>0</c:v>
                      </c:pt>
                      <c:pt idx="7818">
                        <c:v>0</c:v>
                      </c:pt>
                      <c:pt idx="7819">
                        <c:v>0</c:v>
                      </c:pt>
                      <c:pt idx="7820">
                        <c:v>0</c:v>
                      </c:pt>
                      <c:pt idx="7821">
                        <c:v>0</c:v>
                      </c:pt>
                      <c:pt idx="7822">
                        <c:v>0</c:v>
                      </c:pt>
                      <c:pt idx="7823">
                        <c:v>0</c:v>
                      </c:pt>
                      <c:pt idx="7824">
                        <c:v>0</c:v>
                      </c:pt>
                      <c:pt idx="7825">
                        <c:v>0</c:v>
                      </c:pt>
                      <c:pt idx="7826">
                        <c:v>0</c:v>
                      </c:pt>
                      <c:pt idx="7827">
                        <c:v>0</c:v>
                      </c:pt>
                      <c:pt idx="7828">
                        <c:v>0</c:v>
                      </c:pt>
                      <c:pt idx="7829">
                        <c:v>0</c:v>
                      </c:pt>
                      <c:pt idx="7830">
                        <c:v>0</c:v>
                      </c:pt>
                      <c:pt idx="7831">
                        <c:v>0</c:v>
                      </c:pt>
                      <c:pt idx="7832">
                        <c:v>0</c:v>
                      </c:pt>
                      <c:pt idx="7833">
                        <c:v>0</c:v>
                      </c:pt>
                      <c:pt idx="7834">
                        <c:v>0</c:v>
                      </c:pt>
                      <c:pt idx="7835">
                        <c:v>0</c:v>
                      </c:pt>
                      <c:pt idx="7836">
                        <c:v>0</c:v>
                      </c:pt>
                      <c:pt idx="7837">
                        <c:v>0</c:v>
                      </c:pt>
                      <c:pt idx="7838">
                        <c:v>0</c:v>
                      </c:pt>
                      <c:pt idx="7839">
                        <c:v>0</c:v>
                      </c:pt>
                      <c:pt idx="7840">
                        <c:v>0</c:v>
                      </c:pt>
                      <c:pt idx="7841">
                        <c:v>0</c:v>
                      </c:pt>
                      <c:pt idx="7842">
                        <c:v>0</c:v>
                      </c:pt>
                      <c:pt idx="7843">
                        <c:v>0</c:v>
                      </c:pt>
                      <c:pt idx="7844">
                        <c:v>0</c:v>
                      </c:pt>
                      <c:pt idx="7845">
                        <c:v>0</c:v>
                      </c:pt>
                      <c:pt idx="7846">
                        <c:v>0</c:v>
                      </c:pt>
                      <c:pt idx="7847">
                        <c:v>0</c:v>
                      </c:pt>
                      <c:pt idx="7848">
                        <c:v>0</c:v>
                      </c:pt>
                      <c:pt idx="7849">
                        <c:v>0</c:v>
                      </c:pt>
                      <c:pt idx="7850">
                        <c:v>0</c:v>
                      </c:pt>
                      <c:pt idx="7851">
                        <c:v>0</c:v>
                      </c:pt>
                      <c:pt idx="7852">
                        <c:v>0</c:v>
                      </c:pt>
                      <c:pt idx="7853">
                        <c:v>0</c:v>
                      </c:pt>
                      <c:pt idx="7854">
                        <c:v>0</c:v>
                      </c:pt>
                      <c:pt idx="7855">
                        <c:v>0</c:v>
                      </c:pt>
                      <c:pt idx="7856">
                        <c:v>0</c:v>
                      </c:pt>
                      <c:pt idx="7857">
                        <c:v>0</c:v>
                      </c:pt>
                      <c:pt idx="7858">
                        <c:v>0</c:v>
                      </c:pt>
                      <c:pt idx="7859">
                        <c:v>0</c:v>
                      </c:pt>
                      <c:pt idx="7860">
                        <c:v>0</c:v>
                      </c:pt>
                      <c:pt idx="7861">
                        <c:v>0</c:v>
                      </c:pt>
                      <c:pt idx="7862">
                        <c:v>0</c:v>
                      </c:pt>
                      <c:pt idx="7863">
                        <c:v>0</c:v>
                      </c:pt>
                      <c:pt idx="7864">
                        <c:v>0</c:v>
                      </c:pt>
                      <c:pt idx="7865">
                        <c:v>0</c:v>
                      </c:pt>
                      <c:pt idx="7866">
                        <c:v>0</c:v>
                      </c:pt>
                      <c:pt idx="7867">
                        <c:v>0</c:v>
                      </c:pt>
                      <c:pt idx="7868">
                        <c:v>0</c:v>
                      </c:pt>
                      <c:pt idx="7869">
                        <c:v>0</c:v>
                      </c:pt>
                      <c:pt idx="7870">
                        <c:v>0</c:v>
                      </c:pt>
                      <c:pt idx="7871">
                        <c:v>0</c:v>
                      </c:pt>
                      <c:pt idx="7872">
                        <c:v>0</c:v>
                      </c:pt>
                      <c:pt idx="7873">
                        <c:v>0</c:v>
                      </c:pt>
                      <c:pt idx="7874">
                        <c:v>0</c:v>
                      </c:pt>
                      <c:pt idx="7875">
                        <c:v>0</c:v>
                      </c:pt>
                      <c:pt idx="7876">
                        <c:v>0</c:v>
                      </c:pt>
                      <c:pt idx="7877">
                        <c:v>0</c:v>
                      </c:pt>
                      <c:pt idx="7878">
                        <c:v>0</c:v>
                      </c:pt>
                      <c:pt idx="7879">
                        <c:v>0</c:v>
                      </c:pt>
                      <c:pt idx="7880">
                        <c:v>0</c:v>
                      </c:pt>
                      <c:pt idx="7881">
                        <c:v>0</c:v>
                      </c:pt>
                      <c:pt idx="7882">
                        <c:v>0</c:v>
                      </c:pt>
                      <c:pt idx="7883">
                        <c:v>0</c:v>
                      </c:pt>
                      <c:pt idx="7884">
                        <c:v>0</c:v>
                      </c:pt>
                      <c:pt idx="7885">
                        <c:v>0</c:v>
                      </c:pt>
                      <c:pt idx="7886">
                        <c:v>0</c:v>
                      </c:pt>
                      <c:pt idx="7887">
                        <c:v>0</c:v>
                      </c:pt>
                      <c:pt idx="7888">
                        <c:v>0</c:v>
                      </c:pt>
                      <c:pt idx="7889">
                        <c:v>0</c:v>
                      </c:pt>
                      <c:pt idx="7890">
                        <c:v>0</c:v>
                      </c:pt>
                      <c:pt idx="7891">
                        <c:v>0</c:v>
                      </c:pt>
                      <c:pt idx="7892">
                        <c:v>0</c:v>
                      </c:pt>
                      <c:pt idx="7893">
                        <c:v>0</c:v>
                      </c:pt>
                      <c:pt idx="7894">
                        <c:v>0</c:v>
                      </c:pt>
                      <c:pt idx="7895">
                        <c:v>0</c:v>
                      </c:pt>
                      <c:pt idx="7896">
                        <c:v>0</c:v>
                      </c:pt>
                      <c:pt idx="7897">
                        <c:v>0</c:v>
                      </c:pt>
                      <c:pt idx="7898">
                        <c:v>0</c:v>
                      </c:pt>
                      <c:pt idx="7899">
                        <c:v>0</c:v>
                      </c:pt>
                      <c:pt idx="7900">
                        <c:v>0</c:v>
                      </c:pt>
                      <c:pt idx="7901">
                        <c:v>0</c:v>
                      </c:pt>
                      <c:pt idx="7902">
                        <c:v>0</c:v>
                      </c:pt>
                      <c:pt idx="7903">
                        <c:v>0</c:v>
                      </c:pt>
                      <c:pt idx="7904">
                        <c:v>0</c:v>
                      </c:pt>
                      <c:pt idx="7905">
                        <c:v>0</c:v>
                      </c:pt>
                      <c:pt idx="7906">
                        <c:v>0</c:v>
                      </c:pt>
                      <c:pt idx="7907">
                        <c:v>0</c:v>
                      </c:pt>
                      <c:pt idx="7908">
                        <c:v>0</c:v>
                      </c:pt>
                      <c:pt idx="7909">
                        <c:v>0</c:v>
                      </c:pt>
                      <c:pt idx="7910">
                        <c:v>0</c:v>
                      </c:pt>
                      <c:pt idx="7911">
                        <c:v>0</c:v>
                      </c:pt>
                      <c:pt idx="7912">
                        <c:v>0</c:v>
                      </c:pt>
                      <c:pt idx="7913">
                        <c:v>0</c:v>
                      </c:pt>
                      <c:pt idx="7914">
                        <c:v>0</c:v>
                      </c:pt>
                      <c:pt idx="7915">
                        <c:v>0</c:v>
                      </c:pt>
                      <c:pt idx="7916">
                        <c:v>0</c:v>
                      </c:pt>
                      <c:pt idx="7917">
                        <c:v>0</c:v>
                      </c:pt>
                      <c:pt idx="7918">
                        <c:v>0</c:v>
                      </c:pt>
                      <c:pt idx="7919">
                        <c:v>0</c:v>
                      </c:pt>
                      <c:pt idx="7920">
                        <c:v>0</c:v>
                      </c:pt>
                      <c:pt idx="7921">
                        <c:v>0</c:v>
                      </c:pt>
                      <c:pt idx="7922">
                        <c:v>0</c:v>
                      </c:pt>
                      <c:pt idx="7923">
                        <c:v>0</c:v>
                      </c:pt>
                      <c:pt idx="7924">
                        <c:v>0</c:v>
                      </c:pt>
                      <c:pt idx="7925">
                        <c:v>0</c:v>
                      </c:pt>
                      <c:pt idx="7926">
                        <c:v>0</c:v>
                      </c:pt>
                      <c:pt idx="7927">
                        <c:v>0</c:v>
                      </c:pt>
                      <c:pt idx="7928">
                        <c:v>0</c:v>
                      </c:pt>
                      <c:pt idx="7929">
                        <c:v>0</c:v>
                      </c:pt>
                      <c:pt idx="7930">
                        <c:v>0</c:v>
                      </c:pt>
                      <c:pt idx="7931">
                        <c:v>0</c:v>
                      </c:pt>
                      <c:pt idx="7932">
                        <c:v>0</c:v>
                      </c:pt>
                      <c:pt idx="7933">
                        <c:v>0</c:v>
                      </c:pt>
                      <c:pt idx="7934">
                        <c:v>0</c:v>
                      </c:pt>
                      <c:pt idx="7935">
                        <c:v>0</c:v>
                      </c:pt>
                      <c:pt idx="7936">
                        <c:v>0</c:v>
                      </c:pt>
                      <c:pt idx="7937">
                        <c:v>0</c:v>
                      </c:pt>
                      <c:pt idx="7938">
                        <c:v>0</c:v>
                      </c:pt>
                      <c:pt idx="7939">
                        <c:v>0</c:v>
                      </c:pt>
                      <c:pt idx="7940">
                        <c:v>0</c:v>
                      </c:pt>
                      <c:pt idx="7941">
                        <c:v>0</c:v>
                      </c:pt>
                      <c:pt idx="7942">
                        <c:v>0</c:v>
                      </c:pt>
                      <c:pt idx="7943">
                        <c:v>0</c:v>
                      </c:pt>
                      <c:pt idx="7944">
                        <c:v>0</c:v>
                      </c:pt>
                      <c:pt idx="7945">
                        <c:v>0</c:v>
                      </c:pt>
                      <c:pt idx="7946">
                        <c:v>0</c:v>
                      </c:pt>
                      <c:pt idx="7947">
                        <c:v>0</c:v>
                      </c:pt>
                      <c:pt idx="7948">
                        <c:v>0</c:v>
                      </c:pt>
                      <c:pt idx="7949">
                        <c:v>0</c:v>
                      </c:pt>
                      <c:pt idx="7950">
                        <c:v>0</c:v>
                      </c:pt>
                      <c:pt idx="7951">
                        <c:v>0</c:v>
                      </c:pt>
                      <c:pt idx="7952">
                        <c:v>0</c:v>
                      </c:pt>
                      <c:pt idx="7953">
                        <c:v>0</c:v>
                      </c:pt>
                      <c:pt idx="7954">
                        <c:v>0</c:v>
                      </c:pt>
                      <c:pt idx="7955">
                        <c:v>0</c:v>
                      </c:pt>
                      <c:pt idx="7956">
                        <c:v>0</c:v>
                      </c:pt>
                      <c:pt idx="7957">
                        <c:v>0</c:v>
                      </c:pt>
                      <c:pt idx="7958">
                        <c:v>0</c:v>
                      </c:pt>
                      <c:pt idx="7959">
                        <c:v>0</c:v>
                      </c:pt>
                      <c:pt idx="7960">
                        <c:v>0</c:v>
                      </c:pt>
                      <c:pt idx="7961">
                        <c:v>0</c:v>
                      </c:pt>
                      <c:pt idx="7962">
                        <c:v>0</c:v>
                      </c:pt>
                      <c:pt idx="7963">
                        <c:v>0</c:v>
                      </c:pt>
                      <c:pt idx="7964">
                        <c:v>0</c:v>
                      </c:pt>
                      <c:pt idx="7965">
                        <c:v>0</c:v>
                      </c:pt>
                      <c:pt idx="7966">
                        <c:v>0</c:v>
                      </c:pt>
                      <c:pt idx="7967">
                        <c:v>0</c:v>
                      </c:pt>
                      <c:pt idx="7968">
                        <c:v>0</c:v>
                      </c:pt>
                      <c:pt idx="7969">
                        <c:v>0</c:v>
                      </c:pt>
                      <c:pt idx="7970">
                        <c:v>0</c:v>
                      </c:pt>
                      <c:pt idx="7971">
                        <c:v>0</c:v>
                      </c:pt>
                      <c:pt idx="7972">
                        <c:v>0</c:v>
                      </c:pt>
                      <c:pt idx="7973">
                        <c:v>0</c:v>
                      </c:pt>
                      <c:pt idx="7974">
                        <c:v>0</c:v>
                      </c:pt>
                      <c:pt idx="7975">
                        <c:v>0</c:v>
                      </c:pt>
                      <c:pt idx="7976">
                        <c:v>0</c:v>
                      </c:pt>
                      <c:pt idx="7977">
                        <c:v>0</c:v>
                      </c:pt>
                      <c:pt idx="7978">
                        <c:v>0</c:v>
                      </c:pt>
                      <c:pt idx="7979">
                        <c:v>0</c:v>
                      </c:pt>
                      <c:pt idx="7980">
                        <c:v>0</c:v>
                      </c:pt>
                      <c:pt idx="7981">
                        <c:v>0</c:v>
                      </c:pt>
                      <c:pt idx="7982">
                        <c:v>0</c:v>
                      </c:pt>
                      <c:pt idx="7983">
                        <c:v>0</c:v>
                      </c:pt>
                      <c:pt idx="7984">
                        <c:v>0</c:v>
                      </c:pt>
                      <c:pt idx="7985">
                        <c:v>0</c:v>
                      </c:pt>
                      <c:pt idx="7986">
                        <c:v>0</c:v>
                      </c:pt>
                      <c:pt idx="7987">
                        <c:v>0</c:v>
                      </c:pt>
                      <c:pt idx="7988">
                        <c:v>0</c:v>
                      </c:pt>
                      <c:pt idx="7989">
                        <c:v>0</c:v>
                      </c:pt>
                      <c:pt idx="7990">
                        <c:v>0</c:v>
                      </c:pt>
                      <c:pt idx="7991">
                        <c:v>0</c:v>
                      </c:pt>
                      <c:pt idx="7992">
                        <c:v>0</c:v>
                      </c:pt>
                      <c:pt idx="7993">
                        <c:v>0</c:v>
                      </c:pt>
                      <c:pt idx="7994">
                        <c:v>0</c:v>
                      </c:pt>
                      <c:pt idx="7995">
                        <c:v>0</c:v>
                      </c:pt>
                      <c:pt idx="7996">
                        <c:v>0</c:v>
                      </c:pt>
                      <c:pt idx="7997">
                        <c:v>0</c:v>
                      </c:pt>
                      <c:pt idx="7998">
                        <c:v>0</c:v>
                      </c:pt>
                      <c:pt idx="7999">
                        <c:v>0</c:v>
                      </c:pt>
                      <c:pt idx="8000">
                        <c:v>0</c:v>
                      </c:pt>
                      <c:pt idx="8001">
                        <c:v>0</c:v>
                      </c:pt>
                      <c:pt idx="8002">
                        <c:v>0</c:v>
                      </c:pt>
                      <c:pt idx="8003">
                        <c:v>0</c:v>
                      </c:pt>
                      <c:pt idx="8004">
                        <c:v>0</c:v>
                      </c:pt>
                      <c:pt idx="8005">
                        <c:v>0</c:v>
                      </c:pt>
                      <c:pt idx="8006">
                        <c:v>0</c:v>
                      </c:pt>
                      <c:pt idx="8007">
                        <c:v>0</c:v>
                      </c:pt>
                      <c:pt idx="8008">
                        <c:v>0</c:v>
                      </c:pt>
                      <c:pt idx="8009">
                        <c:v>0</c:v>
                      </c:pt>
                      <c:pt idx="8010">
                        <c:v>0</c:v>
                      </c:pt>
                      <c:pt idx="8011">
                        <c:v>0</c:v>
                      </c:pt>
                      <c:pt idx="8012">
                        <c:v>0</c:v>
                      </c:pt>
                      <c:pt idx="8013">
                        <c:v>0</c:v>
                      </c:pt>
                      <c:pt idx="8014">
                        <c:v>0</c:v>
                      </c:pt>
                      <c:pt idx="8015">
                        <c:v>0</c:v>
                      </c:pt>
                      <c:pt idx="8016">
                        <c:v>0</c:v>
                      </c:pt>
                      <c:pt idx="8017">
                        <c:v>0</c:v>
                      </c:pt>
                      <c:pt idx="8018">
                        <c:v>0</c:v>
                      </c:pt>
                      <c:pt idx="8019">
                        <c:v>0</c:v>
                      </c:pt>
                      <c:pt idx="8020">
                        <c:v>0</c:v>
                      </c:pt>
                      <c:pt idx="8021">
                        <c:v>0</c:v>
                      </c:pt>
                      <c:pt idx="8022">
                        <c:v>0</c:v>
                      </c:pt>
                      <c:pt idx="8023">
                        <c:v>0</c:v>
                      </c:pt>
                      <c:pt idx="8024">
                        <c:v>0</c:v>
                      </c:pt>
                      <c:pt idx="8025">
                        <c:v>0</c:v>
                      </c:pt>
                      <c:pt idx="8026">
                        <c:v>0</c:v>
                      </c:pt>
                      <c:pt idx="8027">
                        <c:v>0</c:v>
                      </c:pt>
                      <c:pt idx="8028">
                        <c:v>0</c:v>
                      </c:pt>
                      <c:pt idx="8029">
                        <c:v>0</c:v>
                      </c:pt>
                      <c:pt idx="8030">
                        <c:v>0</c:v>
                      </c:pt>
                      <c:pt idx="8031">
                        <c:v>0</c:v>
                      </c:pt>
                      <c:pt idx="8032">
                        <c:v>0</c:v>
                      </c:pt>
                      <c:pt idx="8033">
                        <c:v>0</c:v>
                      </c:pt>
                      <c:pt idx="8034">
                        <c:v>0</c:v>
                      </c:pt>
                      <c:pt idx="8035">
                        <c:v>0</c:v>
                      </c:pt>
                      <c:pt idx="8036">
                        <c:v>0</c:v>
                      </c:pt>
                      <c:pt idx="8037">
                        <c:v>0</c:v>
                      </c:pt>
                      <c:pt idx="8038">
                        <c:v>0</c:v>
                      </c:pt>
                      <c:pt idx="8039">
                        <c:v>0</c:v>
                      </c:pt>
                      <c:pt idx="8040">
                        <c:v>0</c:v>
                      </c:pt>
                      <c:pt idx="8041">
                        <c:v>0</c:v>
                      </c:pt>
                      <c:pt idx="8042">
                        <c:v>0</c:v>
                      </c:pt>
                      <c:pt idx="8043">
                        <c:v>0</c:v>
                      </c:pt>
                      <c:pt idx="8044">
                        <c:v>0</c:v>
                      </c:pt>
                      <c:pt idx="8045">
                        <c:v>0</c:v>
                      </c:pt>
                      <c:pt idx="8046">
                        <c:v>0</c:v>
                      </c:pt>
                      <c:pt idx="8047">
                        <c:v>0</c:v>
                      </c:pt>
                      <c:pt idx="8048">
                        <c:v>0</c:v>
                      </c:pt>
                      <c:pt idx="8049">
                        <c:v>0</c:v>
                      </c:pt>
                      <c:pt idx="8050">
                        <c:v>0</c:v>
                      </c:pt>
                      <c:pt idx="8051">
                        <c:v>0</c:v>
                      </c:pt>
                      <c:pt idx="8052">
                        <c:v>0</c:v>
                      </c:pt>
                      <c:pt idx="8053">
                        <c:v>0</c:v>
                      </c:pt>
                      <c:pt idx="8054">
                        <c:v>0</c:v>
                      </c:pt>
                      <c:pt idx="8055">
                        <c:v>0</c:v>
                      </c:pt>
                      <c:pt idx="8056">
                        <c:v>0</c:v>
                      </c:pt>
                      <c:pt idx="8057">
                        <c:v>0</c:v>
                      </c:pt>
                      <c:pt idx="8058">
                        <c:v>0</c:v>
                      </c:pt>
                      <c:pt idx="8059">
                        <c:v>0</c:v>
                      </c:pt>
                      <c:pt idx="8060">
                        <c:v>0</c:v>
                      </c:pt>
                      <c:pt idx="8061">
                        <c:v>0</c:v>
                      </c:pt>
                      <c:pt idx="8062">
                        <c:v>0</c:v>
                      </c:pt>
                      <c:pt idx="8063">
                        <c:v>0</c:v>
                      </c:pt>
                      <c:pt idx="8064">
                        <c:v>0</c:v>
                      </c:pt>
                      <c:pt idx="8065">
                        <c:v>0</c:v>
                      </c:pt>
                      <c:pt idx="8066">
                        <c:v>0</c:v>
                      </c:pt>
                      <c:pt idx="8067">
                        <c:v>0</c:v>
                      </c:pt>
                      <c:pt idx="8068">
                        <c:v>0</c:v>
                      </c:pt>
                      <c:pt idx="8069">
                        <c:v>0</c:v>
                      </c:pt>
                      <c:pt idx="8070">
                        <c:v>0</c:v>
                      </c:pt>
                      <c:pt idx="8071">
                        <c:v>0</c:v>
                      </c:pt>
                      <c:pt idx="8072">
                        <c:v>0</c:v>
                      </c:pt>
                      <c:pt idx="8073">
                        <c:v>0</c:v>
                      </c:pt>
                      <c:pt idx="8074">
                        <c:v>0</c:v>
                      </c:pt>
                      <c:pt idx="8075">
                        <c:v>0</c:v>
                      </c:pt>
                      <c:pt idx="8076">
                        <c:v>0</c:v>
                      </c:pt>
                      <c:pt idx="8077">
                        <c:v>0</c:v>
                      </c:pt>
                      <c:pt idx="8078">
                        <c:v>0</c:v>
                      </c:pt>
                      <c:pt idx="8079">
                        <c:v>0</c:v>
                      </c:pt>
                      <c:pt idx="8080">
                        <c:v>0</c:v>
                      </c:pt>
                      <c:pt idx="8081">
                        <c:v>0</c:v>
                      </c:pt>
                      <c:pt idx="8082">
                        <c:v>0</c:v>
                      </c:pt>
                      <c:pt idx="8083">
                        <c:v>0</c:v>
                      </c:pt>
                      <c:pt idx="8084">
                        <c:v>0</c:v>
                      </c:pt>
                      <c:pt idx="8085">
                        <c:v>0</c:v>
                      </c:pt>
                      <c:pt idx="8086">
                        <c:v>0</c:v>
                      </c:pt>
                      <c:pt idx="8087">
                        <c:v>0</c:v>
                      </c:pt>
                      <c:pt idx="8088">
                        <c:v>0</c:v>
                      </c:pt>
                      <c:pt idx="8089">
                        <c:v>0</c:v>
                      </c:pt>
                      <c:pt idx="8090">
                        <c:v>0</c:v>
                      </c:pt>
                      <c:pt idx="8091">
                        <c:v>0</c:v>
                      </c:pt>
                      <c:pt idx="8092">
                        <c:v>0</c:v>
                      </c:pt>
                      <c:pt idx="8093">
                        <c:v>0</c:v>
                      </c:pt>
                      <c:pt idx="8094">
                        <c:v>0</c:v>
                      </c:pt>
                      <c:pt idx="8095">
                        <c:v>0</c:v>
                      </c:pt>
                      <c:pt idx="8096">
                        <c:v>0</c:v>
                      </c:pt>
                      <c:pt idx="8097">
                        <c:v>0</c:v>
                      </c:pt>
                      <c:pt idx="8098">
                        <c:v>0</c:v>
                      </c:pt>
                      <c:pt idx="8099">
                        <c:v>0</c:v>
                      </c:pt>
                      <c:pt idx="8100">
                        <c:v>0</c:v>
                      </c:pt>
                      <c:pt idx="8101">
                        <c:v>0</c:v>
                      </c:pt>
                      <c:pt idx="8102">
                        <c:v>0</c:v>
                      </c:pt>
                      <c:pt idx="8103">
                        <c:v>0</c:v>
                      </c:pt>
                      <c:pt idx="8104">
                        <c:v>0</c:v>
                      </c:pt>
                      <c:pt idx="8105">
                        <c:v>0</c:v>
                      </c:pt>
                      <c:pt idx="8106">
                        <c:v>0</c:v>
                      </c:pt>
                      <c:pt idx="8107">
                        <c:v>0</c:v>
                      </c:pt>
                      <c:pt idx="8108">
                        <c:v>0</c:v>
                      </c:pt>
                      <c:pt idx="8109">
                        <c:v>0</c:v>
                      </c:pt>
                      <c:pt idx="8110">
                        <c:v>0</c:v>
                      </c:pt>
                      <c:pt idx="8111">
                        <c:v>0</c:v>
                      </c:pt>
                      <c:pt idx="8112">
                        <c:v>0</c:v>
                      </c:pt>
                      <c:pt idx="8113">
                        <c:v>0</c:v>
                      </c:pt>
                      <c:pt idx="8114">
                        <c:v>0</c:v>
                      </c:pt>
                      <c:pt idx="8115">
                        <c:v>0</c:v>
                      </c:pt>
                      <c:pt idx="8116">
                        <c:v>0</c:v>
                      </c:pt>
                      <c:pt idx="8117">
                        <c:v>0</c:v>
                      </c:pt>
                      <c:pt idx="8118">
                        <c:v>0</c:v>
                      </c:pt>
                      <c:pt idx="8119">
                        <c:v>0</c:v>
                      </c:pt>
                      <c:pt idx="8120">
                        <c:v>0</c:v>
                      </c:pt>
                      <c:pt idx="8121">
                        <c:v>0</c:v>
                      </c:pt>
                      <c:pt idx="8122">
                        <c:v>0</c:v>
                      </c:pt>
                      <c:pt idx="8123">
                        <c:v>0</c:v>
                      </c:pt>
                      <c:pt idx="8124">
                        <c:v>0</c:v>
                      </c:pt>
                      <c:pt idx="8125">
                        <c:v>0</c:v>
                      </c:pt>
                      <c:pt idx="8126">
                        <c:v>0</c:v>
                      </c:pt>
                      <c:pt idx="8127">
                        <c:v>0</c:v>
                      </c:pt>
                      <c:pt idx="8128">
                        <c:v>0</c:v>
                      </c:pt>
                      <c:pt idx="8129">
                        <c:v>0</c:v>
                      </c:pt>
                      <c:pt idx="8130">
                        <c:v>0</c:v>
                      </c:pt>
                      <c:pt idx="8131">
                        <c:v>0</c:v>
                      </c:pt>
                      <c:pt idx="8132">
                        <c:v>0</c:v>
                      </c:pt>
                      <c:pt idx="8133">
                        <c:v>0</c:v>
                      </c:pt>
                      <c:pt idx="8134">
                        <c:v>0</c:v>
                      </c:pt>
                      <c:pt idx="8135">
                        <c:v>0</c:v>
                      </c:pt>
                      <c:pt idx="8136">
                        <c:v>0</c:v>
                      </c:pt>
                      <c:pt idx="8137">
                        <c:v>0</c:v>
                      </c:pt>
                      <c:pt idx="8138">
                        <c:v>0</c:v>
                      </c:pt>
                      <c:pt idx="8139">
                        <c:v>0</c:v>
                      </c:pt>
                      <c:pt idx="8140">
                        <c:v>0</c:v>
                      </c:pt>
                      <c:pt idx="8141">
                        <c:v>0</c:v>
                      </c:pt>
                      <c:pt idx="8142">
                        <c:v>0</c:v>
                      </c:pt>
                      <c:pt idx="8143">
                        <c:v>0</c:v>
                      </c:pt>
                      <c:pt idx="8144">
                        <c:v>0</c:v>
                      </c:pt>
                      <c:pt idx="8145">
                        <c:v>0</c:v>
                      </c:pt>
                      <c:pt idx="8146">
                        <c:v>0</c:v>
                      </c:pt>
                      <c:pt idx="8147">
                        <c:v>0</c:v>
                      </c:pt>
                      <c:pt idx="8148">
                        <c:v>0</c:v>
                      </c:pt>
                      <c:pt idx="8149">
                        <c:v>0</c:v>
                      </c:pt>
                      <c:pt idx="8150">
                        <c:v>0</c:v>
                      </c:pt>
                      <c:pt idx="8151">
                        <c:v>0</c:v>
                      </c:pt>
                      <c:pt idx="8152">
                        <c:v>0</c:v>
                      </c:pt>
                      <c:pt idx="8153">
                        <c:v>0</c:v>
                      </c:pt>
                      <c:pt idx="8154">
                        <c:v>0</c:v>
                      </c:pt>
                      <c:pt idx="8155">
                        <c:v>0</c:v>
                      </c:pt>
                      <c:pt idx="8156">
                        <c:v>0</c:v>
                      </c:pt>
                      <c:pt idx="8157">
                        <c:v>0</c:v>
                      </c:pt>
                      <c:pt idx="8158">
                        <c:v>0</c:v>
                      </c:pt>
                      <c:pt idx="8159">
                        <c:v>0</c:v>
                      </c:pt>
                      <c:pt idx="8160">
                        <c:v>0</c:v>
                      </c:pt>
                      <c:pt idx="8161">
                        <c:v>0</c:v>
                      </c:pt>
                      <c:pt idx="8162">
                        <c:v>0</c:v>
                      </c:pt>
                      <c:pt idx="8163">
                        <c:v>0</c:v>
                      </c:pt>
                      <c:pt idx="8164">
                        <c:v>0</c:v>
                      </c:pt>
                      <c:pt idx="8165">
                        <c:v>0</c:v>
                      </c:pt>
                      <c:pt idx="8166">
                        <c:v>0</c:v>
                      </c:pt>
                      <c:pt idx="8167">
                        <c:v>0</c:v>
                      </c:pt>
                      <c:pt idx="8168">
                        <c:v>0</c:v>
                      </c:pt>
                      <c:pt idx="8169">
                        <c:v>0</c:v>
                      </c:pt>
                      <c:pt idx="8170">
                        <c:v>0</c:v>
                      </c:pt>
                      <c:pt idx="8171">
                        <c:v>0</c:v>
                      </c:pt>
                      <c:pt idx="8172">
                        <c:v>0</c:v>
                      </c:pt>
                      <c:pt idx="8173">
                        <c:v>0</c:v>
                      </c:pt>
                      <c:pt idx="8174">
                        <c:v>0</c:v>
                      </c:pt>
                      <c:pt idx="8175">
                        <c:v>0</c:v>
                      </c:pt>
                      <c:pt idx="8176">
                        <c:v>0</c:v>
                      </c:pt>
                      <c:pt idx="8177">
                        <c:v>0</c:v>
                      </c:pt>
                      <c:pt idx="8178">
                        <c:v>0</c:v>
                      </c:pt>
                      <c:pt idx="8179">
                        <c:v>0</c:v>
                      </c:pt>
                      <c:pt idx="8180">
                        <c:v>0</c:v>
                      </c:pt>
                      <c:pt idx="8181">
                        <c:v>0</c:v>
                      </c:pt>
                      <c:pt idx="8182">
                        <c:v>0</c:v>
                      </c:pt>
                      <c:pt idx="8183">
                        <c:v>0</c:v>
                      </c:pt>
                      <c:pt idx="8184">
                        <c:v>0</c:v>
                      </c:pt>
                      <c:pt idx="8185">
                        <c:v>0</c:v>
                      </c:pt>
                      <c:pt idx="8186">
                        <c:v>0</c:v>
                      </c:pt>
                      <c:pt idx="8187">
                        <c:v>0</c:v>
                      </c:pt>
                      <c:pt idx="8188">
                        <c:v>0</c:v>
                      </c:pt>
                      <c:pt idx="8189">
                        <c:v>0</c:v>
                      </c:pt>
                      <c:pt idx="8190">
                        <c:v>0</c:v>
                      </c:pt>
                      <c:pt idx="8191">
                        <c:v>0</c:v>
                      </c:pt>
                      <c:pt idx="8192">
                        <c:v>0</c:v>
                      </c:pt>
                      <c:pt idx="8193">
                        <c:v>0</c:v>
                      </c:pt>
                      <c:pt idx="8194">
                        <c:v>0</c:v>
                      </c:pt>
                      <c:pt idx="8195">
                        <c:v>0</c:v>
                      </c:pt>
                      <c:pt idx="8196">
                        <c:v>0</c:v>
                      </c:pt>
                      <c:pt idx="8197">
                        <c:v>0</c:v>
                      </c:pt>
                      <c:pt idx="8198">
                        <c:v>0</c:v>
                      </c:pt>
                      <c:pt idx="8199">
                        <c:v>0</c:v>
                      </c:pt>
                      <c:pt idx="8200">
                        <c:v>0</c:v>
                      </c:pt>
                      <c:pt idx="8201">
                        <c:v>0</c:v>
                      </c:pt>
                      <c:pt idx="8202">
                        <c:v>0</c:v>
                      </c:pt>
                      <c:pt idx="8203">
                        <c:v>0</c:v>
                      </c:pt>
                      <c:pt idx="8204">
                        <c:v>0</c:v>
                      </c:pt>
                      <c:pt idx="8205">
                        <c:v>0</c:v>
                      </c:pt>
                      <c:pt idx="8206">
                        <c:v>0</c:v>
                      </c:pt>
                      <c:pt idx="8207">
                        <c:v>0</c:v>
                      </c:pt>
                      <c:pt idx="8208">
                        <c:v>0</c:v>
                      </c:pt>
                      <c:pt idx="8209">
                        <c:v>0</c:v>
                      </c:pt>
                      <c:pt idx="8210">
                        <c:v>0</c:v>
                      </c:pt>
                      <c:pt idx="8211">
                        <c:v>0</c:v>
                      </c:pt>
                      <c:pt idx="8212">
                        <c:v>0</c:v>
                      </c:pt>
                      <c:pt idx="8213">
                        <c:v>0</c:v>
                      </c:pt>
                      <c:pt idx="8214">
                        <c:v>0</c:v>
                      </c:pt>
                      <c:pt idx="8215">
                        <c:v>0</c:v>
                      </c:pt>
                      <c:pt idx="8216">
                        <c:v>0</c:v>
                      </c:pt>
                      <c:pt idx="8217">
                        <c:v>0</c:v>
                      </c:pt>
                      <c:pt idx="8218">
                        <c:v>0</c:v>
                      </c:pt>
                      <c:pt idx="8219">
                        <c:v>0</c:v>
                      </c:pt>
                      <c:pt idx="8220">
                        <c:v>0</c:v>
                      </c:pt>
                      <c:pt idx="8221">
                        <c:v>0</c:v>
                      </c:pt>
                      <c:pt idx="8222">
                        <c:v>0</c:v>
                      </c:pt>
                      <c:pt idx="8223">
                        <c:v>0</c:v>
                      </c:pt>
                      <c:pt idx="8224">
                        <c:v>0</c:v>
                      </c:pt>
                      <c:pt idx="8225">
                        <c:v>0</c:v>
                      </c:pt>
                      <c:pt idx="8226">
                        <c:v>0</c:v>
                      </c:pt>
                      <c:pt idx="8227">
                        <c:v>0</c:v>
                      </c:pt>
                      <c:pt idx="8228">
                        <c:v>0</c:v>
                      </c:pt>
                      <c:pt idx="8229">
                        <c:v>0</c:v>
                      </c:pt>
                      <c:pt idx="8230">
                        <c:v>0</c:v>
                      </c:pt>
                      <c:pt idx="8231">
                        <c:v>0</c:v>
                      </c:pt>
                      <c:pt idx="8232">
                        <c:v>0</c:v>
                      </c:pt>
                      <c:pt idx="8233">
                        <c:v>0</c:v>
                      </c:pt>
                      <c:pt idx="8234">
                        <c:v>0</c:v>
                      </c:pt>
                      <c:pt idx="8235">
                        <c:v>0</c:v>
                      </c:pt>
                      <c:pt idx="8236">
                        <c:v>0</c:v>
                      </c:pt>
                      <c:pt idx="8237">
                        <c:v>0</c:v>
                      </c:pt>
                      <c:pt idx="8238">
                        <c:v>0</c:v>
                      </c:pt>
                      <c:pt idx="8239">
                        <c:v>0</c:v>
                      </c:pt>
                      <c:pt idx="8240">
                        <c:v>0</c:v>
                      </c:pt>
                      <c:pt idx="8241">
                        <c:v>0</c:v>
                      </c:pt>
                      <c:pt idx="8242">
                        <c:v>0</c:v>
                      </c:pt>
                      <c:pt idx="8243">
                        <c:v>0</c:v>
                      </c:pt>
                      <c:pt idx="8244">
                        <c:v>0</c:v>
                      </c:pt>
                      <c:pt idx="8245">
                        <c:v>0</c:v>
                      </c:pt>
                      <c:pt idx="8246">
                        <c:v>0</c:v>
                      </c:pt>
                      <c:pt idx="8247">
                        <c:v>0</c:v>
                      </c:pt>
                      <c:pt idx="8248">
                        <c:v>0</c:v>
                      </c:pt>
                      <c:pt idx="8249">
                        <c:v>0</c:v>
                      </c:pt>
                      <c:pt idx="8250">
                        <c:v>0</c:v>
                      </c:pt>
                      <c:pt idx="8251">
                        <c:v>0</c:v>
                      </c:pt>
                      <c:pt idx="8252">
                        <c:v>0</c:v>
                      </c:pt>
                      <c:pt idx="8253">
                        <c:v>0</c:v>
                      </c:pt>
                      <c:pt idx="8254">
                        <c:v>0</c:v>
                      </c:pt>
                      <c:pt idx="8255">
                        <c:v>0</c:v>
                      </c:pt>
                      <c:pt idx="8256">
                        <c:v>0</c:v>
                      </c:pt>
                      <c:pt idx="8257">
                        <c:v>0</c:v>
                      </c:pt>
                      <c:pt idx="8258">
                        <c:v>0</c:v>
                      </c:pt>
                      <c:pt idx="8259">
                        <c:v>0</c:v>
                      </c:pt>
                      <c:pt idx="8260">
                        <c:v>0</c:v>
                      </c:pt>
                      <c:pt idx="8261">
                        <c:v>0</c:v>
                      </c:pt>
                      <c:pt idx="8262">
                        <c:v>0</c:v>
                      </c:pt>
                      <c:pt idx="8263">
                        <c:v>0</c:v>
                      </c:pt>
                      <c:pt idx="8264">
                        <c:v>0</c:v>
                      </c:pt>
                      <c:pt idx="8265">
                        <c:v>0</c:v>
                      </c:pt>
                      <c:pt idx="8266">
                        <c:v>0</c:v>
                      </c:pt>
                      <c:pt idx="8267">
                        <c:v>0</c:v>
                      </c:pt>
                      <c:pt idx="8268">
                        <c:v>0</c:v>
                      </c:pt>
                      <c:pt idx="8269">
                        <c:v>0</c:v>
                      </c:pt>
                      <c:pt idx="8270">
                        <c:v>0</c:v>
                      </c:pt>
                      <c:pt idx="8271">
                        <c:v>0</c:v>
                      </c:pt>
                      <c:pt idx="8272">
                        <c:v>0</c:v>
                      </c:pt>
                      <c:pt idx="8273">
                        <c:v>0</c:v>
                      </c:pt>
                      <c:pt idx="8274">
                        <c:v>0</c:v>
                      </c:pt>
                      <c:pt idx="8275">
                        <c:v>0</c:v>
                      </c:pt>
                      <c:pt idx="8276">
                        <c:v>0</c:v>
                      </c:pt>
                      <c:pt idx="8277">
                        <c:v>0</c:v>
                      </c:pt>
                      <c:pt idx="8278">
                        <c:v>0</c:v>
                      </c:pt>
                      <c:pt idx="8279">
                        <c:v>0</c:v>
                      </c:pt>
                      <c:pt idx="8280">
                        <c:v>0</c:v>
                      </c:pt>
                      <c:pt idx="8281">
                        <c:v>0</c:v>
                      </c:pt>
                      <c:pt idx="8282">
                        <c:v>0</c:v>
                      </c:pt>
                      <c:pt idx="8283">
                        <c:v>0</c:v>
                      </c:pt>
                      <c:pt idx="8284">
                        <c:v>0</c:v>
                      </c:pt>
                      <c:pt idx="8285">
                        <c:v>0</c:v>
                      </c:pt>
                      <c:pt idx="8286">
                        <c:v>0</c:v>
                      </c:pt>
                      <c:pt idx="8287">
                        <c:v>0</c:v>
                      </c:pt>
                      <c:pt idx="8288">
                        <c:v>0</c:v>
                      </c:pt>
                      <c:pt idx="8289">
                        <c:v>0</c:v>
                      </c:pt>
                      <c:pt idx="8290">
                        <c:v>0</c:v>
                      </c:pt>
                      <c:pt idx="8291">
                        <c:v>0</c:v>
                      </c:pt>
                      <c:pt idx="8292">
                        <c:v>0</c:v>
                      </c:pt>
                      <c:pt idx="8293">
                        <c:v>0</c:v>
                      </c:pt>
                      <c:pt idx="8294">
                        <c:v>0</c:v>
                      </c:pt>
                      <c:pt idx="8295">
                        <c:v>0</c:v>
                      </c:pt>
                      <c:pt idx="8296">
                        <c:v>0</c:v>
                      </c:pt>
                      <c:pt idx="8297">
                        <c:v>0</c:v>
                      </c:pt>
                      <c:pt idx="8298">
                        <c:v>0</c:v>
                      </c:pt>
                      <c:pt idx="8299">
                        <c:v>0</c:v>
                      </c:pt>
                      <c:pt idx="8300">
                        <c:v>0</c:v>
                      </c:pt>
                      <c:pt idx="8301">
                        <c:v>0</c:v>
                      </c:pt>
                      <c:pt idx="8302">
                        <c:v>0</c:v>
                      </c:pt>
                      <c:pt idx="8303">
                        <c:v>0</c:v>
                      </c:pt>
                      <c:pt idx="8304">
                        <c:v>0</c:v>
                      </c:pt>
                      <c:pt idx="8305">
                        <c:v>0</c:v>
                      </c:pt>
                      <c:pt idx="8306">
                        <c:v>0</c:v>
                      </c:pt>
                      <c:pt idx="8307">
                        <c:v>0</c:v>
                      </c:pt>
                      <c:pt idx="8308">
                        <c:v>0</c:v>
                      </c:pt>
                      <c:pt idx="8309">
                        <c:v>0</c:v>
                      </c:pt>
                      <c:pt idx="8310">
                        <c:v>0</c:v>
                      </c:pt>
                      <c:pt idx="8311">
                        <c:v>0</c:v>
                      </c:pt>
                      <c:pt idx="8312">
                        <c:v>0</c:v>
                      </c:pt>
                      <c:pt idx="8313">
                        <c:v>0</c:v>
                      </c:pt>
                      <c:pt idx="8314">
                        <c:v>0</c:v>
                      </c:pt>
                      <c:pt idx="8315">
                        <c:v>0</c:v>
                      </c:pt>
                      <c:pt idx="8316">
                        <c:v>0</c:v>
                      </c:pt>
                      <c:pt idx="8317">
                        <c:v>0</c:v>
                      </c:pt>
                      <c:pt idx="8318">
                        <c:v>0</c:v>
                      </c:pt>
                      <c:pt idx="8319">
                        <c:v>0</c:v>
                      </c:pt>
                      <c:pt idx="8320">
                        <c:v>0</c:v>
                      </c:pt>
                      <c:pt idx="8321">
                        <c:v>0</c:v>
                      </c:pt>
                      <c:pt idx="8322">
                        <c:v>0</c:v>
                      </c:pt>
                      <c:pt idx="8323">
                        <c:v>0</c:v>
                      </c:pt>
                      <c:pt idx="8324">
                        <c:v>0</c:v>
                      </c:pt>
                      <c:pt idx="8325">
                        <c:v>0</c:v>
                      </c:pt>
                      <c:pt idx="8326">
                        <c:v>0</c:v>
                      </c:pt>
                      <c:pt idx="8327">
                        <c:v>0</c:v>
                      </c:pt>
                      <c:pt idx="8328">
                        <c:v>0</c:v>
                      </c:pt>
                      <c:pt idx="8329">
                        <c:v>0</c:v>
                      </c:pt>
                      <c:pt idx="8330">
                        <c:v>0</c:v>
                      </c:pt>
                      <c:pt idx="8331">
                        <c:v>0</c:v>
                      </c:pt>
                      <c:pt idx="8332">
                        <c:v>0</c:v>
                      </c:pt>
                      <c:pt idx="8333">
                        <c:v>0</c:v>
                      </c:pt>
                      <c:pt idx="8334">
                        <c:v>0</c:v>
                      </c:pt>
                      <c:pt idx="8335">
                        <c:v>0</c:v>
                      </c:pt>
                      <c:pt idx="8336">
                        <c:v>0</c:v>
                      </c:pt>
                      <c:pt idx="8337">
                        <c:v>0</c:v>
                      </c:pt>
                      <c:pt idx="8338">
                        <c:v>0</c:v>
                      </c:pt>
                      <c:pt idx="8339">
                        <c:v>0</c:v>
                      </c:pt>
                      <c:pt idx="8340">
                        <c:v>0</c:v>
                      </c:pt>
                      <c:pt idx="8341">
                        <c:v>0</c:v>
                      </c:pt>
                      <c:pt idx="8342">
                        <c:v>0</c:v>
                      </c:pt>
                      <c:pt idx="8343">
                        <c:v>0</c:v>
                      </c:pt>
                      <c:pt idx="8344">
                        <c:v>0</c:v>
                      </c:pt>
                      <c:pt idx="8345">
                        <c:v>0</c:v>
                      </c:pt>
                      <c:pt idx="8346">
                        <c:v>0</c:v>
                      </c:pt>
                      <c:pt idx="8347">
                        <c:v>0</c:v>
                      </c:pt>
                      <c:pt idx="8348">
                        <c:v>0</c:v>
                      </c:pt>
                      <c:pt idx="8349">
                        <c:v>0</c:v>
                      </c:pt>
                      <c:pt idx="8350">
                        <c:v>0</c:v>
                      </c:pt>
                      <c:pt idx="8351">
                        <c:v>0</c:v>
                      </c:pt>
                      <c:pt idx="8352">
                        <c:v>0</c:v>
                      </c:pt>
                      <c:pt idx="8353">
                        <c:v>0</c:v>
                      </c:pt>
                      <c:pt idx="8354">
                        <c:v>0</c:v>
                      </c:pt>
                      <c:pt idx="8355">
                        <c:v>0</c:v>
                      </c:pt>
                      <c:pt idx="8356">
                        <c:v>0</c:v>
                      </c:pt>
                      <c:pt idx="8357">
                        <c:v>0</c:v>
                      </c:pt>
                      <c:pt idx="8358">
                        <c:v>0</c:v>
                      </c:pt>
                      <c:pt idx="8359">
                        <c:v>0</c:v>
                      </c:pt>
                      <c:pt idx="8360">
                        <c:v>0</c:v>
                      </c:pt>
                      <c:pt idx="8361">
                        <c:v>0</c:v>
                      </c:pt>
                      <c:pt idx="8362">
                        <c:v>0</c:v>
                      </c:pt>
                      <c:pt idx="8363">
                        <c:v>0</c:v>
                      </c:pt>
                      <c:pt idx="8364">
                        <c:v>0</c:v>
                      </c:pt>
                      <c:pt idx="8365">
                        <c:v>0</c:v>
                      </c:pt>
                      <c:pt idx="8366">
                        <c:v>0</c:v>
                      </c:pt>
                      <c:pt idx="8367">
                        <c:v>0</c:v>
                      </c:pt>
                      <c:pt idx="8368">
                        <c:v>0</c:v>
                      </c:pt>
                      <c:pt idx="8369">
                        <c:v>0</c:v>
                      </c:pt>
                      <c:pt idx="8370">
                        <c:v>0</c:v>
                      </c:pt>
                      <c:pt idx="8371">
                        <c:v>0</c:v>
                      </c:pt>
                      <c:pt idx="8372">
                        <c:v>0</c:v>
                      </c:pt>
                      <c:pt idx="8373">
                        <c:v>0</c:v>
                      </c:pt>
                      <c:pt idx="8374">
                        <c:v>0</c:v>
                      </c:pt>
                      <c:pt idx="8375">
                        <c:v>0</c:v>
                      </c:pt>
                      <c:pt idx="8376">
                        <c:v>0</c:v>
                      </c:pt>
                      <c:pt idx="8377">
                        <c:v>0</c:v>
                      </c:pt>
                      <c:pt idx="8378">
                        <c:v>0</c:v>
                      </c:pt>
                      <c:pt idx="8379">
                        <c:v>0</c:v>
                      </c:pt>
                      <c:pt idx="8380">
                        <c:v>0</c:v>
                      </c:pt>
                      <c:pt idx="8381">
                        <c:v>0</c:v>
                      </c:pt>
                      <c:pt idx="8382">
                        <c:v>0</c:v>
                      </c:pt>
                      <c:pt idx="8383">
                        <c:v>0</c:v>
                      </c:pt>
                      <c:pt idx="8384">
                        <c:v>0</c:v>
                      </c:pt>
                      <c:pt idx="8385">
                        <c:v>0</c:v>
                      </c:pt>
                      <c:pt idx="8386">
                        <c:v>0</c:v>
                      </c:pt>
                      <c:pt idx="8387">
                        <c:v>0</c:v>
                      </c:pt>
                      <c:pt idx="8388">
                        <c:v>0</c:v>
                      </c:pt>
                      <c:pt idx="8389">
                        <c:v>0</c:v>
                      </c:pt>
                      <c:pt idx="8390">
                        <c:v>0</c:v>
                      </c:pt>
                      <c:pt idx="8391">
                        <c:v>0</c:v>
                      </c:pt>
                      <c:pt idx="8392">
                        <c:v>0</c:v>
                      </c:pt>
                      <c:pt idx="8393">
                        <c:v>0</c:v>
                      </c:pt>
                      <c:pt idx="8394">
                        <c:v>0</c:v>
                      </c:pt>
                      <c:pt idx="8395">
                        <c:v>0</c:v>
                      </c:pt>
                      <c:pt idx="8396">
                        <c:v>0</c:v>
                      </c:pt>
                      <c:pt idx="8397">
                        <c:v>0</c:v>
                      </c:pt>
                      <c:pt idx="8398">
                        <c:v>0</c:v>
                      </c:pt>
                      <c:pt idx="8399">
                        <c:v>0</c:v>
                      </c:pt>
                      <c:pt idx="8400">
                        <c:v>0</c:v>
                      </c:pt>
                      <c:pt idx="8401">
                        <c:v>0</c:v>
                      </c:pt>
                      <c:pt idx="8402">
                        <c:v>0</c:v>
                      </c:pt>
                      <c:pt idx="8403">
                        <c:v>0</c:v>
                      </c:pt>
                      <c:pt idx="8404">
                        <c:v>0</c:v>
                      </c:pt>
                      <c:pt idx="8405">
                        <c:v>0</c:v>
                      </c:pt>
                      <c:pt idx="8406">
                        <c:v>0</c:v>
                      </c:pt>
                      <c:pt idx="8407">
                        <c:v>0</c:v>
                      </c:pt>
                      <c:pt idx="8408">
                        <c:v>0</c:v>
                      </c:pt>
                      <c:pt idx="8409">
                        <c:v>0</c:v>
                      </c:pt>
                      <c:pt idx="8410">
                        <c:v>0</c:v>
                      </c:pt>
                      <c:pt idx="8411">
                        <c:v>0</c:v>
                      </c:pt>
                      <c:pt idx="8412">
                        <c:v>0</c:v>
                      </c:pt>
                      <c:pt idx="8413">
                        <c:v>0</c:v>
                      </c:pt>
                      <c:pt idx="8414">
                        <c:v>0</c:v>
                      </c:pt>
                      <c:pt idx="8415">
                        <c:v>0</c:v>
                      </c:pt>
                      <c:pt idx="8416">
                        <c:v>0</c:v>
                      </c:pt>
                      <c:pt idx="8417">
                        <c:v>0</c:v>
                      </c:pt>
                      <c:pt idx="8418">
                        <c:v>0</c:v>
                      </c:pt>
                      <c:pt idx="8419">
                        <c:v>0</c:v>
                      </c:pt>
                      <c:pt idx="8420">
                        <c:v>0</c:v>
                      </c:pt>
                      <c:pt idx="8421">
                        <c:v>0</c:v>
                      </c:pt>
                      <c:pt idx="8422">
                        <c:v>0</c:v>
                      </c:pt>
                      <c:pt idx="8423">
                        <c:v>0</c:v>
                      </c:pt>
                      <c:pt idx="8424">
                        <c:v>0</c:v>
                      </c:pt>
                      <c:pt idx="8425">
                        <c:v>0</c:v>
                      </c:pt>
                      <c:pt idx="8426">
                        <c:v>0</c:v>
                      </c:pt>
                      <c:pt idx="8427">
                        <c:v>0</c:v>
                      </c:pt>
                      <c:pt idx="8428">
                        <c:v>0</c:v>
                      </c:pt>
                      <c:pt idx="8429">
                        <c:v>0</c:v>
                      </c:pt>
                      <c:pt idx="8430">
                        <c:v>0</c:v>
                      </c:pt>
                      <c:pt idx="8431">
                        <c:v>0</c:v>
                      </c:pt>
                      <c:pt idx="8432">
                        <c:v>0</c:v>
                      </c:pt>
                      <c:pt idx="8433">
                        <c:v>0</c:v>
                      </c:pt>
                      <c:pt idx="8434">
                        <c:v>0</c:v>
                      </c:pt>
                      <c:pt idx="8435">
                        <c:v>0</c:v>
                      </c:pt>
                      <c:pt idx="8436">
                        <c:v>0</c:v>
                      </c:pt>
                      <c:pt idx="8437">
                        <c:v>0</c:v>
                      </c:pt>
                      <c:pt idx="8438">
                        <c:v>0</c:v>
                      </c:pt>
                      <c:pt idx="8439">
                        <c:v>0</c:v>
                      </c:pt>
                      <c:pt idx="8440">
                        <c:v>0</c:v>
                      </c:pt>
                      <c:pt idx="8441">
                        <c:v>0</c:v>
                      </c:pt>
                      <c:pt idx="8442">
                        <c:v>0</c:v>
                      </c:pt>
                      <c:pt idx="8443">
                        <c:v>0</c:v>
                      </c:pt>
                      <c:pt idx="8444">
                        <c:v>0</c:v>
                      </c:pt>
                      <c:pt idx="8445">
                        <c:v>0</c:v>
                      </c:pt>
                      <c:pt idx="8446">
                        <c:v>0</c:v>
                      </c:pt>
                      <c:pt idx="8447">
                        <c:v>0</c:v>
                      </c:pt>
                      <c:pt idx="8448">
                        <c:v>0</c:v>
                      </c:pt>
                      <c:pt idx="8449">
                        <c:v>0</c:v>
                      </c:pt>
                      <c:pt idx="8450">
                        <c:v>0</c:v>
                      </c:pt>
                      <c:pt idx="8451">
                        <c:v>0</c:v>
                      </c:pt>
                      <c:pt idx="8452">
                        <c:v>0</c:v>
                      </c:pt>
                      <c:pt idx="8453">
                        <c:v>0</c:v>
                      </c:pt>
                      <c:pt idx="8454">
                        <c:v>0</c:v>
                      </c:pt>
                      <c:pt idx="8455">
                        <c:v>0</c:v>
                      </c:pt>
                      <c:pt idx="8456">
                        <c:v>0</c:v>
                      </c:pt>
                      <c:pt idx="8457">
                        <c:v>0</c:v>
                      </c:pt>
                      <c:pt idx="8458">
                        <c:v>0</c:v>
                      </c:pt>
                      <c:pt idx="8459">
                        <c:v>0</c:v>
                      </c:pt>
                      <c:pt idx="8460">
                        <c:v>0</c:v>
                      </c:pt>
                      <c:pt idx="8461">
                        <c:v>0</c:v>
                      </c:pt>
                      <c:pt idx="8462">
                        <c:v>0</c:v>
                      </c:pt>
                      <c:pt idx="8463">
                        <c:v>0</c:v>
                      </c:pt>
                      <c:pt idx="8464">
                        <c:v>0</c:v>
                      </c:pt>
                      <c:pt idx="8465">
                        <c:v>0</c:v>
                      </c:pt>
                      <c:pt idx="8466">
                        <c:v>0</c:v>
                      </c:pt>
                      <c:pt idx="8467">
                        <c:v>0</c:v>
                      </c:pt>
                      <c:pt idx="8468">
                        <c:v>0</c:v>
                      </c:pt>
                      <c:pt idx="8469">
                        <c:v>0</c:v>
                      </c:pt>
                      <c:pt idx="8470">
                        <c:v>0</c:v>
                      </c:pt>
                      <c:pt idx="8471">
                        <c:v>0</c:v>
                      </c:pt>
                      <c:pt idx="8472">
                        <c:v>0</c:v>
                      </c:pt>
                      <c:pt idx="8473">
                        <c:v>0</c:v>
                      </c:pt>
                      <c:pt idx="8474">
                        <c:v>0</c:v>
                      </c:pt>
                      <c:pt idx="8475">
                        <c:v>0</c:v>
                      </c:pt>
                      <c:pt idx="8476">
                        <c:v>0</c:v>
                      </c:pt>
                      <c:pt idx="8477">
                        <c:v>0</c:v>
                      </c:pt>
                      <c:pt idx="8478">
                        <c:v>0</c:v>
                      </c:pt>
                      <c:pt idx="8479">
                        <c:v>0</c:v>
                      </c:pt>
                      <c:pt idx="8480">
                        <c:v>0</c:v>
                      </c:pt>
                      <c:pt idx="8481">
                        <c:v>0</c:v>
                      </c:pt>
                      <c:pt idx="8482">
                        <c:v>0</c:v>
                      </c:pt>
                      <c:pt idx="8483">
                        <c:v>0</c:v>
                      </c:pt>
                      <c:pt idx="8484">
                        <c:v>0</c:v>
                      </c:pt>
                      <c:pt idx="8485">
                        <c:v>0</c:v>
                      </c:pt>
                      <c:pt idx="8486">
                        <c:v>0</c:v>
                      </c:pt>
                      <c:pt idx="8487">
                        <c:v>0</c:v>
                      </c:pt>
                      <c:pt idx="8488">
                        <c:v>0</c:v>
                      </c:pt>
                      <c:pt idx="8489">
                        <c:v>0</c:v>
                      </c:pt>
                      <c:pt idx="8490">
                        <c:v>0</c:v>
                      </c:pt>
                      <c:pt idx="8491">
                        <c:v>0</c:v>
                      </c:pt>
                      <c:pt idx="8492">
                        <c:v>0</c:v>
                      </c:pt>
                      <c:pt idx="8493">
                        <c:v>0</c:v>
                      </c:pt>
                      <c:pt idx="8494">
                        <c:v>0</c:v>
                      </c:pt>
                      <c:pt idx="8495">
                        <c:v>0</c:v>
                      </c:pt>
                      <c:pt idx="8496">
                        <c:v>0</c:v>
                      </c:pt>
                      <c:pt idx="8497">
                        <c:v>0</c:v>
                      </c:pt>
                      <c:pt idx="8498">
                        <c:v>0</c:v>
                      </c:pt>
                      <c:pt idx="8499">
                        <c:v>0</c:v>
                      </c:pt>
                      <c:pt idx="8500">
                        <c:v>0</c:v>
                      </c:pt>
                      <c:pt idx="8501">
                        <c:v>0</c:v>
                      </c:pt>
                      <c:pt idx="8502">
                        <c:v>0</c:v>
                      </c:pt>
                      <c:pt idx="8503">
                        <c:v>0</c:v>
                      </c:pt>
                      <c:pt idx="8504">
                        <c:v>0</c:v>
                      </c:pt>
                      <c:pt idx="8505">
                        <c:v>0</c:v>
                      </c:pt>
                      <c:pt idx="8506">
                        <c:v>0</c:v>
                      </c:pt>
                      <c:pt idx="8507">
                        <c:v>0</c:v>
                      </c:pt>
                      <c:pt idx="8508">
                        <c:v>0</c:v>
                      </c:pt>
                      <c:pt idx="8509">
                        <c:v>0</c:v>
                      </c:pt>
                      <c:pt idx="8510">
                        <c:v>0</c:v>
                      </c:pt>
                      <c:pt idx="8511">
                        <c:v>0</c:v>
                      </c:pt>
                      <c:pt idx="8512">
                        <c:v>0</c:v>
                      </c:pt>
                      <c:pt idx="8513">
                        <c:v>0</c:v>
                      </c:pt>
                      <c:pt idx="8514">
                        <c:v>0</c:v>
                      </c:pt>
                      <c:pt idx="8515">
                        <c:v>0</c:v>
                      </c:pt>
                      <c:pt idx="8516">
                        <c:v>0</c:v>
                      </c:pt>
                      <c:pt idx="8517">
                        <c:v>0</c:v>
                      </c:pt>
                      <c:pt idx="8518">
                        <c:v>0</c:v>
                      </c:pt>
                      <c:pt idx="8519">
                        <c:v>0</c:v>
                      </c:pt>
                      <c:pt idx="8520">
                        <c:v>0</c:v>
                      </c:pt>
                      <c:pt idx="8521">
                        <c:v>0</c:v>
                      </c:pt>
                      <c:pt idx="8522">
                        <c:v>0</c:v>
                      </c:pt>
                      <c:pt idx="8523">
                        <c:v>0</c:v>
                      </c:pt>
                      <c:pt idx="8524">
                        <c:v>0</c:v>
                      </c:pt>
                      <c:pt idx="8525">
                        <c:v>0</c:v>
                      </c:pt>
                      <c:pt idx="8526">
                        <c:v>0</c:v>
                      </c:pt>
                      <c:pt idx="8527">
                        <c:v>0</c:v>
                      </c:pt>
                      <c:pt idx="8528">
                        <c:v>0</c:v>
                      </c:pt>
                      <c:pt idx="8529">
                        <c:v>0</c:v>
                      </c:pt>
                      <c:pt idx="8530">
                        <c:v>0</c:v>
                      </c:pt>
                      <c:pt idx="8531">
                        <c:v>0</c:v>
                      </c:pt>
                      <c:pt idx="8532">
                        <c:v>0</c:v>
                      </c:pt>
                      <c:pt idx="8533">
                        <c:v>0</c:v>
                      </c:pt>
                      <c:pt idx="8534">
                        <c:v>0</c:v>
                      </c:pt>
                      <c:pt idx="8535">
                        <c:v>0</c:v>
                      </c:pt>
                      <c:pt idx="8536">
                        <c:v>0</c:v>
                      </c:pt>
                      <c:pt idx="8537">
                        <c:v>0</c:v>
                      </c:pt>
                      <c:pt idx="8538">
                        <c:v>0</c:v>
                      </c:pt>
                      <c:pt idx="8539">
                        <c:v>0</c:v>
                      </c:pt>
                      <c:pt idx="8540">
                        <c:v>0</c:v>
                      </c:pt>
                      <c:pt idx="8541">
                        <c:v>0</c:v>
                      </c:pt>
                      <c:pt idx="8542">
                        <c:v>0</c:v>
                      </c:pt>
                      <c:pt idx="8543">
                        <c:v>0</c:v>
                      </c:pt>
                      <c:pt idx="8544">
                        <c:v>0</c:v>
                      </c:pt>
                      <c:pt idx="8545">
                        <c:v>0</c:v>
                      </c:pt>
                      <c:pt idx="8546">
                        <c:v>0</c:v>
                      </c:pt>
                      <c:pt idx="8547">
                        <c:v>0</c:v>
                      </c:pt>
                      <c:pt idx="8548">
                        <c:v>0</c:v>
                      </c:pt>
                      <c:pt idx="8549">
                        <c:v>0</c:v>
                      </c:pt>
                      <c:pt idx="8550">
                        <c:v>0</c:v>
                      </c:pt>
                      <c:pt idx="8551">
                        <c:v>0</c:v>
                      </c:pt>
                      <c:pt idx="8552">
                        <c:v>0</c:v>
                      </c:pt>
                      <c:pt idx="8553">
                        <c:v>0</c:v>
                      </c:pt>
                      <c:pt idx="8554">
                        <c:v>0</c:v>
                      </c:pt>
                      <c:pt idx="8555">
                        <c:v>0</c:v>
                      </c:pt>
                      <c:pt idx="8556">
                        <c:v>0</c:v>
                      </c:pt>
                      <c:pt idx="8557">
                        <c:v>0</c:v>
                      </c:pt>
                      <c:pt idx="8558">
                        <c:v>0</c:v>
                      </c:pt>
                      <c:pt idx="8559">
                        <c:v>0</c:v>
                      </c:pt>
                      <c:pt idx="8560">
                        <c:v>0</c:v>
                      </c:pt>
                      <c:pt idx="8561">
                        <c:v>0</c:v>
                      </c:pt>
                      <c:pt idx="8562">
                        <c:v>0</c:v>
                      </c:pt>
                      <c:pt idx="8563">
                        <c:v>0</c:v>
                      </c:pt>
                      <c:pt idx="8564">
                        <c:v>0</c:v>
                      </c:pt>
                      <c:pt idx="8565">
                        <c:v>0</c:v>
                      </c:pt>
                      <c:pt idx="8566">
                        <c:v>0</c:v>
                      </c:pt>
                      <c:pt idx="8567">
                        <c:v>0</c:v>
                      </c:pt>
                      <c:pt idx="8568">
                        <c:v>0</c:v>
                      </c:pt>
                      <c:pt idx="8569">
                        <c:v>0</c:v>
                      </c:pt>
                      <c:pt idx="8570">
                        <c:v>0</c:v>
                      </c:pt>
                      <c:pt idx="8571">
                        <c:v>0</c:v>
                      </c:pt>
                      <c:pt idx="8572">
                        <c:v>0</c:v>
                      </c:pt>
                      <c:pt idx="8573">
                        <c:v>0</c:v>
                      </c:pt>
                      <c:pt idx="8574">
                        <c:v>0</c:v>
                      </c:pt>
                      <c:pt idx="8575">
                        <c:v>0</c:v>
                      </c:pt>
                      <c:pt idx="8576">
                        <c:v>0</c:v>
                      </c:pt>
                      <c:pt idx="8577">
                        <c:v>0</c:v>
                      </c:pt>
                      <c:pt idx="8578">
                        <c:v>0</c:v>
                      </c:pt>
                      <c:pt idx="8579">
                        <c:v>0</c:v>
                      </c:pt>
                      <c:pt idx="8580">
                        <c:v>0</c:v>
                      </c:pt>
                      <c:pt idx="8581">
                        <c:v>0</c:v>
                      </c:pt>
                      <c:pt idx="8582">
                        <c:v>0</c:v>
                      </c:pt>
                      <c:pt idx="8583">
                        <c:v>0</c:v>
                      </c:pt>
                      <c:pt idx="8584">
                        <c:v>0</c:v>
                      </c:pt>
                      <c:pt idx="8585">
                        <c:v>0</c:v>
                      </c:pt>
                      <c:pt idx="8586">
                        <c:v>0</c:v>
                      </c:pt>
                      <c:pt idx="8587">
                        <c:v>0</c:v>
                      </c:pt>
                      <c:pt idx="8588">
                        <c:v>0</c:v>
                      </c:pt>
                      <c:pt idx="8589">
                        <c:v>0</c:v>
                      </c:pt>
                      <c:pt idx="8590">
                        <c:v>0</c:v>
                      </c:pt>
                      <c:pt idx="8591">
                        <c:v>0</c:v>
                      </c:pt>
                      <c:pt idx="8592">
                        <c:v>0</c:v>
                      </c:pt>
                      <c:pt idx="8593">
                        <c:v>0</c:v>
                      </c:pt>
                      <c:pt idx="8594">
                        <c:v>0</c:v>
                      </c:pt>
                      <c:pt idx="8595">
                        <c:v>0</c:v>
                      </c:pt>
                      <c:pt idx="8596">
                        <c:v>0</c:v>
                      </c:pt>
                      <c:pt idx="8597">
                        <c:v>0</c:v>
                      </c:pt>
                      <c:pt idx="8598">
                        <c:v>0</c:v>
                      </c:pt>
                      <c:pt idx="8599">
                        <c:v>0</c:v>
                      </c:pt>
                      <c:pt idx="8600">
                        <c:v>0</c:v>
                      </c:pt>
                      <c:pt idx="8601">
                        <c:v>0</c:v>
                      </c:pt>
                      <c:pt idx="8602">
                        <c:v>0</c:v>
                      </c:pt>
                      <c:pt idx="8603">
                        <c:v>0</c:v>
                      </c:pt>
                      <c:pt idx="8604">
                        <c:v>0</c:v>
                      </c:pt>
                      <c:pt idx="8605">
                        <c:v>0</c:v>
                      </c:pt>
                      <c:pt idx="8606">
                        <c:v>0</c:v>
                      </c:pt>
                      <c:pt idx="8607">
                        <c:v>0</c:v>
                      </c:pt>
                      <c:pt idx="8608">
                        <c:v>0</c:v>
                      </c:pt>
                      <c:pt idx="8609">
                        <c:v>0</c:v>
                      </c:pt>
                      <c:pt idx="8610">
                        <c:v>0</c:v>
                      </c:pt>
                      <c:pt idx="8611">
                        <c:v>0</c:v>
                      </c:pt>
                      <c:pt idx="8612">
                        <c:v>0</c:v>
                      </c:pt>
                      <c:pt idx="8613">
                        <c:v>0</c:v>
                      </c:pt>
                      <c:pt idx="8614">
                        <c:v>0</c:v>
                      </c:pt>
                      <c:pt idx="8615">
                        <c:v>0</c:v>
                      </c:pt>
                      <c:pt idx="8616">
                        <c:v>0</c:v>
                      </c:pt>
                      <c:pt idx="8617">
                        <c:v>0</c:v>
                      </c:pt>
                      <c:pt idx="8618">
                        <c:v>0</c:v>
                      </c:pt>
                      <c:pt idx="8619">
                        <c:v>0</c:v>
                      </c:pt>
                      <c:pt idx="8620">
                        <c:v>0</c:v>
                      </c:pt>
                      <c:pt idx="8621">
                        <c:v>0</c:v>
                      </c:pt>
                      <c:pt idx="8622">
                        <c:v>0</c:v>
                      </c:pt>
                      <c:pt idx="8623">
                        <c:v>0</c:v>
                      </c:pt>
                      <c:pt idx="8624">
                        <c:v>0</c:v>
                      </c:pt>
                      <c:pt idx="8625">
                        <c:v>0</c:v>
                      </c:pt>
                      <c:pt idx="8626">
                        <c:v>0</c:v>
                      </c:pt>
                      <c:pt idx="8627">
                        <c:v>0</c:v>
                      </c:pt>
                      <c:pt idx="8628">
                        <c:v>0</c:v>
                      </c:pt>
                      <c:pt idx="8629">
                        <c:v>0</c:v>
                      </c:pt>
                      <c:pt idx="8630">
                        <c:v>0</c:v>
                      </c:pt>
                      <c:pt idx="8631">
                        <c:v>0</c:v>
                      </c:pt>
                      <c:pt idx="8632">
                        <c:v>0</c:v>
                      </c:pt>
                      <c:pt idx="8633">
                        <c:v>0</c:v>
                      </c:pt>
                      <c:pt idx="8634">
                        <c:v>0</c:v>
                      </c:pt>
                      <c:pt idx="8635">
                        <c:v>0</c:v>
                      </c:pt>
                      <c:pt idx="8636">
                        <c:v>0</c:v>
                      </c:pt>
                      <c:pt idx="8637">
                        <c:v>0</c:v>
                      </c:pt>
                      <c:pt idx="8638">
                        <c:v>0</c:v>
                      </c:pt>
                      <c:pt idx="8639">
                        <c:v>0</c:v>
                      </c:pt>
                      <c:pt idx="8640">
                        <c:v>0</c:v>
                      </c:pt>
                      <c:pt idx="8641">
                        <c:v>0</c:v>
                      </c:pt>
                      <c:pt idx="8642">
                        <c:v>0</c:v>
                      </c:pt>
                      <c:pt idx="8643">
                        <c:v>0</c:v>
                      </c:pt>
                      <c:pt idx="8644">
                        <c:v>0</c:v>
                      </c:pt>
                      <c:pt idx="8645">
                        <c:v>0</c:v>
                      </c:pt>
                      <c:pt idx="8646">
                        <c:v>0</c:v>
                      </c:pt>
                      <c:pt idx="8647">
                        <c:v>0</c:v>
                      </c:pt>
                      <c:pt idx="8648">
                        <c:v>0</c:v>
                      </c:pt>
                      <c:pt idx="8649">
                        <c:v>0</c:v>
                      </c:pt>
                      <c:pt idx="8650">
                        <c:v>0</c:v>
                      </c:pt>
                      <c:pt idx="8651">
                        <c:v>0</c:v>
                      </c:pt>
                      <c:pt idx="8652">
                        <c:v>0</c:v>
                      </c:pt>
                      <c:pt idx="8653">
                        <c:v>0</c:v>
                      </c:pt>
                      <c:pt idx="8654">
                        <c:v>0</c:v>
                      </c:pt>
                      <c:pt idx="8655">
                        <c:v>0</c:v>
                      </c:pt>
                      <c:pt idx="8656">
                        <c:v>0</c:v>
                      </c:pt>
                      <c:pt idx="8657">
                        <c:v>0</c:v>
                      </c:pt>
                      <c:pt idx="8658">
                        <c:v>0</c:v>
                      </c:pt>
                      <c:pt idx="8659">
                        <c:v>0</c:v>
                      </c:pt>
                      <c:pt idx="8660">
                        <c:v>0</c:v>
                      </c:pt>
                      <c:pt idx="8661">
                        <c:v>0</c:v>
                      </c:pt>
                      <c:pt idx="8662">
                        <c:v>0</c:v>
                      </c:pt>
                      <c:pt idx="8663">
                        <c:v>0</c:v>
                      </c:pt>
                      <c:pt idx="8664">
                        <c:v>0</c:v>
                      </c:pt>
                      <c:pt idx="8665">
                        <c:v>0</c:v>
                      </c:pt>
                      <c:pt idx="8666">
                        <c:v>0</c:v>
                      </c:pt>
                      <c:pt idx="8667">
                        <c:v>0</c:v>
                      </c:pt>
                      <c:pt idx="8668">
                        <c:v>0</c:v>
                      </c:pt>
                      <c:pt idx="8669">
                        <c:v>0</c:v>
                      </c:pt>
                      <c:pt idx="8670">
                        <c:v>0</c:v>
                      </c:pt>
                      <c:pt idx="8671">
                        <c:v>0</c:v>
                      </c:pt>
                      <c:pt idx="8672">
                        <c:v>0</c:v>
                      </c:pt>
                      <c:pt idx="8673">
                        <c:v>0</c:v>
                      </c:pt>
                      <c:pt idx="8674">
                        <c:v>0</c:v>
                      </c:pt>
                      <c:pt idx="8675">
                        <c:v>0</c:v>
                      </c:pt>
                      <c:pt idx="8676">
                        <c:v>0</c:v>
                      </c:pt>
                      <c:pt idx="8677">
                        <c:v>0</c:v>
                      </c:pt>
                      <c:pt idx="8678">
                        <c:v>0</c:v>
                      </c:pt>
                      <c:pt idx="8679">
                        <c:v>0</c:v>
                      </c:pt>
                      <c:pt idx="8680">
                        <c:v>0</c:v>
                      </c:pt>
                      <c:pt idx="8681">
                        <c:v>0</c:v>
                      </c:pt>
                      <c:pt idx="8682">
                        <c:v>0</c:v>
                      </c:pt>
                      <c:pt idx="8683">
                        <c:v>0</c:v>
                      </c:pt>
                      <c:pt idx="8684">
                        <c:v>0</c:v>
                      </c:pt>
                      <c:pt idx="8685">
                        <c:v>0</c:v>
                      </c:pt>
                      <c:pt idx="8686">
                        <c:v>0</c:v>
                      </c:pt>
                      <c:pt idx="8687">
                        <c:v>0</c:v>
                      </c:pt>
                      <c:pt idx="8688">
                        <c:v>0</c:v>
                      </c:pt>
                      <c:pt idx="8689">
                        <c:v>0</c:v>
                      </c:pt>
                      <c:pt idx="8690">
                        <c:v>0</c:v>
                      </c:pt>
                      <c:pt idx="8691">
                        <c:v>0</c:v>
                      </c:pt>
                      <c:pt idx="8692">
                        <c:v>0</c:v>
                      </c:pt>
                      <c:pt idx="8693">
                        <c:v>0</c:v>
                      </c:pt>
                      <c:pt idx="8694">
                        <c:v>0</c:v>
                      </c:pt>
                      <c:pt idx="8695">
                        <c:v>0</c:v>
                      </c:pt>
                      <c:pt idx="8696">
                        <c:v>0</c:v>
                      </c:pt>
                      <c:pt idx="8697">
                        <c:v>0</c:v>
                      </c:pt>
                      <c:pt idx="8698">
                        <c:v>0</c:v>
                      </c:pt>
                      <c:pt idx="8699">
                        <c:v>0</c:v>
                      </c:pt>
                      <c:pt idx="8700">
                        <c:v>0</c:v>
                      </c:pt>
                      <c:pt idx="8701">
                        <c:v>0</c:v>
                      </c:pt>
                      <c:pt idx="8702">
                        <c:v>0</c:v>
                      </c:pt>
                      <c:pt idx="8703">
                        <c:v>0</c:v>
                      </c:pt>
                      <c:pt idx="8704">
                        <c:v>0</c:v>
                      </c:pt>
                      <c:pt idx="8705">
                        <c:v>0</c:v>
                      </c:pt>
                      <c:pt idx="8706">
                        <c:v>0</c:v>
                      </c:pt>
                      <c:pt idx="8707">
                        <c:v>0</c:v>
                      </c:pt>
                      <c:pt idx="8708">
                        <c:v>0</c:v>
                      </c:pt>
                      <c:pt idx="8709">
                        <c:v>0</c:v>
                      </c:pt>
                      <c:pt idx="8710">
                        <c:v>0</c:v>
                      </c:pt>
                      <c:pt idx="8711">
                        <c:v>0</c:v>
                      </c:pt>
                      <c:pt idx="8712">
                        <c:v>0</c:v>
                      </c:pt>
                      <c:pt idx="8713">
                        <c:v>0</c:v>
                      </c:pt>
                      <c:pt idx="8714">
                        <c:v>0</c:v>
                      </c:pt>
                      <c:pt idx="8715">
                        <c:v>0</c:v>
                      </c:pt>
                      <c:pt idx="8716">
                        <c:v>0</c:v>
                      </c:pt>
                      <c:pt idx="8717">
                        <c:v>0</c:v>
                      </c:pt>
                      <c:pt idx="8718">
                        <c:v>0</c:v>
                      </c:pt>
                      <c:pt idx="8719">
                        <c:v>0</c:v>
                      </c:pt>
                      <c:pt idx="8720">
                        <c:v>0</c:v>
                      </c:pt>
                      <c:pt idx="8721">
                        <c:v>0</c:v>
                      </c:pt>
                      <c:pt idx="8722">
                        <c:v>0</c:v>
                      </c:pt>
                      <c:pt idx="8723">
                        <c:v>0</c:v>
                      </c:pt>
                      <c:pt idx="8724">
                        <c:v>0</c:v>
                      </c:pt>
                      <c:pt idx="8725">
                        <c:v>0</c:v>
                      </c:pt>
                      <c:pt idx="8726">
                        <c:v>0</c:v>
                      </c:pt>
                      <c:pt idx="8727">
                        <c:v>0</c:v>
                      </c:pt>
                      <c:pt idx="8728">
                        <c:v>0</c:v>
                      </c:pt>
                      <c:pt idx="8729">
                        <c:v>0</c:v>
                      </c:pt>
                      <c:pt idx="8730">
                        <c:v>0</c:v>
                      </c:pt>
                      <c:pt idx="8731">
                        <c:v>0</c:v>
                      </c:pt>
                      <c:pt idx="8732">
                        <c:v>0</c:v>
                      </c:pt>
                      <c:pt idx="8733">
                        <c:v>0</c:v>
                      </c:pt>
                      <c:pt idx="8734">
                        <c:v>0</c:v>
                      </c:pt>
                      <c:pt idx="8735">
                        <c:v>0</c:v>
                      </c:pt>
                      <c:pt idx="8736">
                        <c:v>0</c:v>
                      </c:pt>
                      <c:pt idx="8737">
                        <c:v>0</c:v>
                      </c:pt>
                      <c:pt idx="8738">
                        <c:v>0</c:v>
                      </c:pt>
                      <c:pt idx="8739">
                        <c:v>0</c:v>
                      </c:pt>
                      <c:pt idx="8740">
                        <c:v>0</c:v>
                      </c:pt>
                      <c:pt idx="8741">
                        <c:v>0</c:v>
                      </c:pt>
                      <c:pt idx="8742">
                        <c:v>0</c:v>
                      </c:pt>
                      <c:pt idx="8743">
                        <c:v>0</c:v>
                      </c:pt>
                      <c:pt idx="8744">
                        <c:v>0</c:v>
                      </c:pt>
                      <c:pt idx="8745">
                        <c:v>0</c:v>
                      </c:pt>
                      <c:pt idx="8746">
                        <c:v>0</c:v>
                      </c:pt>
                      <c:pt idx="8747">
                        <c:v>0</c:v>
                      </c:pt>
                      <c:pt idx="8748">
                        <c:v>0</c:v>
                      </c:pt>
                      <c:pt idx="8749">
                        <c:v>0</c:v>
                      </c:pt>
                      <c:pt idx="8750">
                        <c:v>0</c:v>
                      </c:pt>
                      <c:pt idx="8751">
                        <c:v>0</c:v>
                      </c:pt>
                      <c:pt idx="8752">
                        <c:v>0</c:v>
                      </c:pt>
                      <c:pt idx="8753">
                        <c:v>0</c:v>
                      </c:pt>
                      <c:pt idx="8754">
                        <c:v>0</c:v>
                      </c:pt>
                      <c:pt idx="8755">
                        <c:v>0</c:v>
                      </c:pt>
                      <c:pt idx="8756">
                        <c:v>0</c:v>
                      </c:pt>
                      <c:pt idx="8757">
                        <c:v>0</c:v>
                      </c:pt>
                      <c:pt idx="8758">
                        <c:v>0</c:v>
                      </c:pt>
                      <c:pt idx="8759">
                        <c:v>0</c:v>
                      </c:pt>
                      <c:pt idx="8760">
                        <c:v>0</c:v>
                      </c:pt>
                      <c:pt idx="8761">
                        <c:v>0</c:v>
                      </c:pt>
                      <c:pt idx="8762">
                        <c:v>0</c:v>
                      </c:pt>
                      <c:pt idx="8763">
                        <c:v>0</c:v>
                      </c:pt>
                      <c:pt idx="8764">
                        <c:v>0</c:v>
                      </c:pt>
                      <c:pt idx="8765">
                        <c:v>0</c:v>
                      </c:pt>
                      <c:pt idx="8766">
                        <c:v>0</c:v>
                      </c:pt>
                      <c:pt idx="8767">
                        <c:v>0</c:v>
                      </c:pt>
                      <c:pt idx="8768">
                        <c:v>0</c:v>
                      </c:pt>
                      <c:pt idx="8769">
                        <c:v>0</c:v>
                      </c:pt>
                      <c:pt idx="8770">
                        <c:v>0</c:v>
                      </c:pt>
                      <c:pt idx="8771">
                        <c:v>0</c:v>
                      </c:pt>
                      <c:pt idx="8772">
                        <c:v>0</c:v>
                      </c:pt>
                      <c:pt idx="8773">
                        <c:v>0</c:v>
                      </c:pt>
                      <c:pt idx="8774">
                        <c:v>0</c:v>
                      </c:pt>
                      <c:pt idx="8775">
                        <c:v>0</c:v>
                      </c:pt>
                      <c:pt idx="8776">
                        <c:v>0</c:v>
                      </c:pt>
                      <c:pt idx="8777">
                        <c:v>0</c:v>
                      </c:pt>
                      <c:pt idx="8778">
                        <c:v>0</c:v>
                      </c:pt>
                      <c:pt idx="8779">
                        <c:v>0</c:v>
                      </c:pt>
                      <c:pt idx="8780">
                        <c:v>0</c:v>
                      </c:pt>
                      <c:pt idx="8781">
                        <c:v>0</c:v>
                      </c:pt>
                      <c:pt idx="8782">
                        <c:v>0</c:v>
                      </c:pt>
                      <c:pt idx="8783">
                        <c:v>0</c:v>
                      </c:pt>
                      <c:pt idx="8784">
                        <c:v>0</c:v>
                      </c:pt>
                      <c:pt idx="8785">
                        <c:v>0</c:v>
                      </c:pt>
                      <c:pt idx="8786">
                        <c:v>0</c:v>
                      </c:pt>
                      <c:pt idx="8787">
                        <c:v>0</c:v>
                      </c:pt>
                      <c:pt idx="8788">
                        <c:v>0</c:v>
                      </c:pt>
                      <c:pt idx="8789">
                        <c:v>0</c:v>
                      </c:pt>
                      <c:pt idx="8790">
                        <c:v>0</c:v>
                      </c:pt>
                      <c:pt idx="8791">
                        <c:v>0</c:v>
                      </c:pt>
                      <c:pt idx="8792">
                        <c:v>0</c:v>
                      </c:pt>
                      <c:pt idx="8793">
                        <c:v>0</c:v>
                      </c:pt>
                      <c:pt idx="8794">
                        <c:v>0</c:v>
                      </c:pt>
                      <c:pt idx="8795">
                        <c:v>0</c:v>
                      </c:pt>
                      <c:pt idx="8796">
                        <c:v>0</c:v>
                      </c:pt>
                      <c:pt idx="8797">
                        <c:v>0</c:v>
                      </c:pt>
                      <c:pt idx="8798">
                        <c:v>0</c:v>
                      </c:pt>
                      <c:pt idx="8799">
                        <c:v>0</c:v>
                      </c:pt>
                      <c:pt idx="8800">
                        <c:v>0</c:v>
                      </c:pt>
                      <c:pt idx="8801">
                        <c:v>0</c:v>
                      </c:pt>
                      <c:pt idx="8802">
                        <c:v>0</c:v>
                      </c:pt>
                      <c:pt idx="8803">
                        <c:v>0</c:v>
                      </c:pt>
                      <c:pt idx="8804">
                        <c:v>0</c:v>
                      </c:pt>
                      <c:pt idx="8805">
                        <c:v>0</c:v>
                      </c:pt>
                      <c:pt idx="8806">
                        <c:v>0</c:v>
                      </c:pt>
                      <c:pt idx="8807">
                        <c:v>0</c:v>
                      </c:pt>
                      <c:pt idx="8808">
                        <c:v>0</c:v>
                      </c:pt>
                      <c:pt idx="8809">
                        <c:v>0</c:v>
                      </c:pt>
                      <c:pt idx="8810">
                        <c:v>0</c:v>
                      </c:pt>
                      <c:pt idx="8811">
                        <c:v>0</c:v>
                      </c:pt>
                      <c:pt idx="8812">
                        <c:v>0</c:v>
                      </c:pt>
                      <c:pt idx="8813">
                        <c:v>0</c:v>
                      </c:pt>
                      <c:pt idx="8814">
                        <c:v>0</c:v>
                      </c:pt>
                      <c:pt idx="8815">
                        <c:v>0</c:v>
                      </c:pt>
                      <c:pt idx="8816">
                        <c:v>0</c:v>
                      </c:pt>
                      <c:pt idx="8817">
                        <c:v>0</c:v>
                      </c:pt>
                      <c:pt idx="8818">
                        <c:v>0</c:v>
                      </c:pt>
                      <c:pt idx="8819">
                        <c:v>0</c:v>
                      </c:pt>
                      <c:pt idx="8820">
                        <c:v>0</c:v>
                      </c:pt>
                      <c:pt idx="8821">
                        <c:v>0</c:v>
                      </c:pt>
                      <c:pt idx="8822">
                        <c:v>0</c:v>
                      </c:pt>
                      <c:pt idx="8823">
                        <c:v>0</c:v>
                      </c:pt>
                      <c:pt idx="8824">
                        <c:v>0</c:v>
                      </c:pt>
                      <c:pt idx="8825">
                        <c:v>0</c:v>
                      </c:pt>
                      <c:pt idx="8826">
                        <c:v>0</c:v>
                      </c:pt>
                      <c:pt idx="8827">
                        <c:v>0</c:v>
                      </c:pt>
                      <c:pt idx="8828">
                        <c:v>0</c:v>
                      </c:pt>
                      <c:pt idx="8829">
                        <c:v>0</c:v>
                      </c:pt>
                      <c:pt idx="8830">
                        <c:v>0</c:v>
                      </c:pt>
                      <c:pt idx="8831">
                        <c:v>0</c:v>
                      </c:pt>
                      <c:pt idx="8832">
                        <c:v>0</c:v>
                      </c:pt>
                      <c:pt idx="8833">
                        <c:v>0</c:v>
                      </c:pt>
                      <c:pt idx="8834">
                        <c:v>0</c:v>
                      </c:pt>
                      <c:pt idx="8835">
                        <c:v>0</c:v>
                      </c:pt>
                      <c:pt idx="8836">
                        <c:v>0</c:v>
                      </c:pt>
                      <c:pt idx="8837">
                        <c:v>0</c:v>
                      </c:pt>
                      <c:pt idx="8838">
                        <c:v>0</c:v>
                      </c:pt>
                      <c:pt idx="8839">
                        <c:v>0</c:v>
                      </c:pt>
                      <c:pt idx="8840">
                        <c:v>0</c:v>
                      </c:pt>
                      <c:pt idx="8841">
                        <c:v>0</c:v>
                      </c:pt>
                      <c:pt idx="8842">
                        <c:v>0</c:v>
                      </c:pt>
                      <c:pt idx="8843">
                        <c:v>0</c:v>
                      </c:pt>
                      <c:pt idx="8844">
                        <c:v>0</c:v>
                      </c:pt>
                      <c:pt idx="8845">
                        <c:v>0</c:v>
                      </c:pt>
                      <c:pt idx="8846">
                        <c:v>0</c:v>
                      </c:pt>
                      <c:pt idx="8847">
                        <c:v>0</c:v>
                      </c:pt>
                      <c:pt idx="8848">
                        <c:v>0</c:v>
                      </c:pt>
                      <c:pt idx="8849">
                        <c:v>0</c:v>
                      </c:pt>
                      <c:pt idx="8850">
                        <c:v>0</c:v>
                      </c:pt>
                      <c:pt idx="8851">
                        <c:v>0</c:v>
                      </c:pt>
                      <c:pt idx="8852">
                        <c:v>0</c:v>
                      </c:pt>
                      <c:pt idx="8853">
                        <c:v>0</c:v>
                      </c:pt>
                      <c:pt idx="8854">
                        <c:v>0</c:v>
                      </c:pt>
                      <c:pt idx="8855">
                        <c:v>0</c:v>
                      </c:pt>
                      <c:pt idx="8856">
                        <c:v>0</c:v>
                      </c:pt>
                      <c:pt idx="8857">
                        <c:v>0</c:v>
                      </c:pt>
                      <c:pt idx="8858">
                        <c:v>0</c:v>
                      </c:pt>
                      <c:pt idx="8859">
                        <c:v>0</c:v>
                      </c:pt>
                      <c:pt idx="8860">
                        <c:v>0</c:v>
                      </c:pt>
                      <c:pt idx="8861">
                        <c:v>0</c:v>
                      </c:pt>
                      <c:pt idx="8862">
                        <c:v>0</c:v>
                      </c:pt>
                      <c:pt idx="8863">
                        <c:v>0</c:v>
                      </c:pt>
                      <c:pt idx="8864">
                        <c:v>0</c:v>
                      </c:pt>
                      <c:pt idx="8865">
                        <c:v>0</c:v>
                      </c:pt>
                      <c:pt idx="8866">
                        <c:v>0</c:v>
                      </c:pt>
                      <c:pt idx="8867">
                        <c:v>0</c:v>
                      </c:pt>
                      <c:pt idx="8868">
                        <c:v>0</c:v>
                      </c:pt>
                      <c:pt idx="8869">
                        <c:v>0</c:v>
                      </c:pt>
                      <c:pt idx="8870">
                        <c:v>0</c:v>
                      </c:pt>
                      <c:pt idx="8871">
                        <c:v>0</c:v>
                      </c:pt>
                      <c:pt idx="8872">
                        <c:v>0</c:v>
                      </c:pt>
                      <c:pt idx="8873">
                        <c:v>0</c:v>
                      </c:pt>
                      <c:pt idx="8874">
                        <c:v>0</c:v>
                      </c:pt>
                      <c:pt idx="8875">
                        <c:v>0</c:v>
                      </c:pt>
                      <c:pt idx="8876">
                        <c:v>0</c:v>
                      </c:pt>
                      <c:pt idx="8877">
                        <c:v>0</c:v>
                      </c:pt>
                      <c:pt idx="8878">
                        <c:v>0</c:v>
                      </c:pt>
                      <c:pt idx="8879">
                        <c:v>0</c:v>
                      </c:pt>
                      <c:pt idx="8880">
                        <c:v>0</c:v>
                      </c:pt>
                      <c:pt idx="8881">
                        <c:v>0</c:v>
                      </c:pt>
                      <c:pt idx="8882">
                        <c:v>0</c:v>
                      </c:pt>
                      <c:pt idx="8883">
                        <c:v>0</c:v>
                      </c:pt>
                      <c:pt idx="8884">
                        <c:v>0</c:v>
                      </c:pt>
                      <c:pt idx="8885">
                        <c:v>0</c:v>
                      </c:pt>
                      <c:pt idx="8886">
                        <c:v>0</c:v>
                      </c:pt>
                      <c:pt idx="8887">
                        <c:v>0</c:v>
                      </c:pt>
                      <c:pt idx="8888">
                        <c:v>0</c:v>
                      </c:pt>
                      <c:pt idx="8889">
                        <c:v>0</c:v>
                      </c:pt>
                      <c:pt idx="8890">
                        <c:v>0</c:v>
                      </c:pt>
                      <c:pt idx="8891">
                        <c:v>0</c:v>
                      </c:pt>
                      <c:pt idx="8892">
                        <c:v>0</c:v>
                      </c:pt>
                      <c:pt idx="8893">
                        <c:v>0</c:v>
                      </c:pt>
                      <c:pt idx="8894">
                        <c:v>0</c:v>
                      </c:pt>
                      <c:pt idx="8895">
                        <c:v>0</c:v>
                      </c:pt>
                      <c:pt idx="8896">
                        <c:v>0</c:v>
                      </c:pt>
                      <c:pt idx="8897">
                        <c:v>0</c:v>
                      </c:pt>
                      <c:pt idx="8898">
                        <c:v>0</c:v>
                      </c:pt>
                      <c:pt idx="8899">
                        <c:v>0</c:v>
                      </c:pt>
                      <c:pt idx="8900">
                        <c:v>0</c:v>
                      </c:pt>
                      <c:pt idx="8901">
                        <c:v>0</c:v>
                      </c:pt>
                      <c:pt idx="8902">
                        <c:v>0</c:v>
                      </c:pt>
                      <c:pt idx="8903">
                        <c:v>0</c:v>
                      </c:pt>
                      <c:pt idx="8904">
                        <c:v>0</c:v>
                      </c:pt>
                      <c:pt idx="8905">
                        <c:v>0</c:v>
                      </c:pt>
                      <c:pt idx="8906">
                        <c:v>0</c:v>
                      </c:pt>
                      <c:pt idx="8907">
                        <c:v>0</c:v>
                      </c:pt>
                      <c:pt idx="8908">
                        <c:v>0</c:v>
                      </c:pt>
                      <c:pt idx="8909">
                        <c:v>0</c:v>
                      </c:pt>
                      <c:pt idx="8910">
                        <c:v>0</c:v>
                      </c:pt>
                      <c:pt idx="8911">
                        <c:v>0</c:v>
                      </c:pt>
                      <c:pt idx="8912">
                        <c:v>0</c:v>
                      </c:pt>
                      <c:pt idx="8913">
                        <c:v>0</c:v>
                      </c:pt>
                      <c:pt idx="8914">
                        <c:v>0</c:v>
                      </c:pt>
                      <c:pt idx="8915">
                        <c:v>0</c:v>
                      </c:pt>
                      <c:pt idx="8916">
                        <c:v>0</c:v>
                      </c:pt>
                      <c:pt idx="8917">
                        <c:v>0</c:v>
                      </c:pt>
                      <c:pt idx="8918">
                        <c:v>0</c:v>
                      </c:pt>
                      <c:pt idx="8919">
                        <c:v>0</c:v>
                      </c:pt>
                      <c:pt idx="8920">
                        <c:v>0</c:v>
                      </c:pt>
                      <c:pt idx="8921">
                        <c:v>0</c:v>
                      </c:pt>
                      <c:pt idx="8922">
                        <c:v>0</c:v>
                      </c:pt>
                      <c:pt idx="8923">
                        <c:v>0</c:v>
                      </c:pt>
                      <c:pt idx="8924">
                        <c:v>0</c:v>
                      </c:pt>
                      <c:pt idx="8925">
                        <c:v>0</c:v>
                      </c:pt>
                      <c:pt idx="8926">
                        <c:v>0</c:v>
                      </c:pt>
                      <c:pt idx="8927">
                        <c:v>0</c:v>
                      </c:pt>
                      <c:pt idx="8928">
                        <c:v>0</c:v>
                      </c:pt>
                      <c:pt idx="8929">
                        <c:v>0</c:v>
                      </c:pt>
                      <c:pt idx="8930">
                        <c:v>0</c:v>
                      </c:pt>
                      <c:pt idx="8931">
                        <c:v>0</c:v>
                      </c:pt>
                      <c:pt idx="8932">
                        <c:v>0</c:v>
                      </c:pt>
                      <c:pt idx="8933">
                        <c:v>0</c:v>
                      </c:pt>
                      <c:pt idx="8934">
                        <c:v>0</c:v>
                      </c:pt>
                      <c:pt idx="8935">
                        <c:v>0</c:v>
                      </c:pt>
                      <c:pt idx="8936">
                        <c:v>0</c:v>
                      </c:pt>
                      <c:pt idx="8937">
                        <c:v>0</c:v>
                      </c:pt>
                      <c:pt idx="8938">
                        <c:v>0</c:v>
                      </c:pt>
                      <c:pt idx="8939">
                        <c:v>0</c:v>
                      </c:pt>
                      <c:pt idx="8940">
                        <c:v>0</c:v>
                      </c:pt>
                      <c:pt idx="8941">
                        <c:v>0</c:v>
                      </c:pt>
                      <c:pt idx="8942">
                        <c:v>0</c:v>
                      </c:pt>
                      <c:pt idx="8943">
                        <c:v>0</c:v>
                      </c:pt>
                      <c:pt idx="8944">
                        <c:v>0</c:v>
                      </c:pt>
                      <c:pt idx="8945">
                        <c:v>0</c:v>
                      </c:pt>
                      <c:pt idx="8946">
                        <c:v>0</c:v>
                      </c:pt>
                      <c:pt idx="8947">
                        <c:v>0</c:v>
                      </c:pt>
                      <c:pt idx="8948">
                        <c:v>0</c:v>
                      </c:pt>
                      <c:pt idx="8949">
                        <c:v>0</c:v>
                      </c:pt>
                      <c:pt idx="8950">
                        <c:v>0</c:v>
                      </c:pt>
                      <c:pt idx="8951">
                        <c:v>0</c:v>
                      </c:pt>
                      <c:pt idx="8952">
                        <c:v>0</c:v>
                      </c:pt>
                      <c:pt idx="8953">
                        <c:v>0</c:v>
                      </c:pt>
                      <c:pt idx="8954">
                        <c:v>0</c:v>
                      </c:pt>
                      <c:pt idx="8955">
                        <c:v>0</c:v>
                      </c:pt>
                      <c:pt idx="8956">
                        <c:v>0</c:v>
                      </c:pt>
                      <c:pt idx="8957">
                        <c:v>0</c:v>
                      </c:pt>
                      <c:pt idx="8958">
                        <c:v>0</c:v>
                      </c:pt>
                      <c:pt idx="8959">
                        <c:v>0</c:v>
                      </c:pt>
                      <c:pt idx="8960">
                        <c:v>0</c:v>
                      </c:pt>
                      <c:pt idx="8961">
                        <c:v>0</c:v>
                      </c:pt>
                      <c:pt idx="8962">
                        <c:v>0</c:v>
                      </c:pt>
                      <c:pt idx="8963">
                        <c:v>0</c:v>
                      </c:pt>
                      <c:pt idx="8964">
                        <c:v>0</c:v>
                      </c:pt>
                      <c:pt idx="8965">
                        <c:v>0</c:v>
                      </c:pt>
                      <c:pt idx="8966">
                        <c:v>0</c:v>
                      </c:pt>
                      <c:pt idx="8967">
                        <c:v>0</c:v>
                      </c:pt>
                      <c:pt idx="8968">
                        <c:v>0</c:v>
                      </c:pt>
                      <c:pt idx="8969">
                        <c:v>0</c:v>
                      </c:pt>
                      <c:pt idx="8970">
                        <c:v>0</c:v>
                      </c:pt>
                      <c:pt idx="8971">
                        <c:v>0</c:v>
                      </c:pt>
                      <c:pt idx="8972">
                        <c:v>0</c:v>
                      </c:pt>
                      <c:pt idx="8973">
                        <c:v>0</c:v>
                      </c:pt>
                      <c:pt idx="8974">
                        <c:v>0</c:v>
                      </c:pt>
                      <c:pt idx="8975">
                        <c:v>0</c:v>
                      </c:pt>
                      <c:pt idx="8976">
                        <c:v>0</c:v>
                      </c:pt>
                      <c:pt idx="8977">
                        <c:v>0</c:v>
                      </c:pt>
                      <c:pt idx="8978">
                        <c:v>0</c:v>
                      </c:pt>
                      <c:pt idx="8979">
                        <c:v>0</c:v>
                      </c:pt>
                      <c:pt idx="8980">
                        <c:v>0</c:v>
                      </c:pt>
                      <c:pt idx="8981">
                        <c:v>0</c:v>
                      </c:pt>
                      <c:pt idx="8982">
                        <c:v>0</c:v>
                      </c:pt>
                      <c:pt idx="8983">
                        <c:v>0</c:v>
                      </c:pt>
                      <c:pt idx="8984">
                        <c:v>0</c:v>
                      </c:pt>
                      <c:pt idx="8985">
                        <c:v>0</c:v>
                      </c:pt>
                      <c:pt idx="8986">
                        <c:v>0</c:v>
                      </c:pt>
                      <c:pt idx="8987">
                        <c:v>0</c:v>
                      </c:pt>
                      <c:pt idx="8988">
                        <c:v>0</c:v>
                      </c:pt>
                      <c:pt idx="8989">
                        <c:v>0</c:v>
                      </c:pt>
                      <c:pt idx="8990">
                        <c:v>0</c:v>
                      </c:pt>
                      <c:pt idx="8991">
                        <c:v>0</c:v>
                      </c:pt>
                      <c:pt idx="8992">
                        <c:v>0</c:v>
                      </c:pt>
                      <c:pt idx="8993">
                        <c:v>0</c:v>
                      </c:pt>
                      <c:pt idx="8994">
                        <c:v>0</c:v>
                      </c:pt>
                      <c:pt idx="8995">
                        <c:v>0</c:v>
                      </c:pt>
                      <c:pt idx="8996">
                        <c:v>0</c:v>
                      </c:pt>
                      <c:pt idx="8997">
                        <c:v>0</c:v>
                      </c:pt>
                      <c:pt idx="8998">
                        <c:v>0</c:v>
                      </c:pt>
                      <c:pt idx="8999">
                        <c:v>0</c:v>
                      </c:pt>
                      <c:pt idx="9000">
                        <c:v>0</c:v>
                      </c:pt>
                      <c:pt idx="9001">
                        <c:v>0</c:v>
                      </c:pt>
                      <c:pt idx="9002">
                        <c:v>0</c:v>
                      </c:pt>
                      <c:pt idx="9003">
                        <c:v>0</c:v>
                      </c:pt>
                      <c:pt idx="9004">
                        <c:v>0</c:v>
                      </c:pt>
                      <c:pt idx="9005">
                        <c:v>0</c:v>
                      </c:pt>
                      <c:pt idx="9006">
                        <c:v>0</c:v>
                      </c:pt>
                      <c:pt idx="9007">
                        <c:v>0</c:v>
                      </c:pt>
                      <c:pt idx="9008">
                        <c:v>0</c:v>
                      </c:pt>
                      <c:pt idx="9009">
                        <c:v>0</c:v>
                      </c:pt>
                      <c:pt idx="9010">
                        <c:v>0</c:v>
                      </c:pt>
                      <c:pt idx="9011">
                        <c:v>0</c:v>
                      </c:pt>
                      <c:pt idx="9012">
                        <c:v>0</c:v>
                      </c:pt>
                      <c:pt idx="9013">
                        <c:v>0</c:v>
                      </c:pt>
                      <c:pt idx="9014">
                        <c:v>0</c:v>
                      </c:pt>
                      <c:pt idx="9015">
                        <c:v>0</c:v>
                      </c:pt>
                      <c:pt idx="9016">
                        <c:v>0</c:v>
                      </c:pt>
                      <c:pt idx="9017">
                        <c:v>0</c:v>
                      </c:pt>
                      <c:pt idx="9018">
                        <c:v>0</c:v>
                      </c:pt>
                      <c:pt idx="9019">
                        <c:v>0</c:v>
                      </c:pt>
                      <c:pt idx="9020">
                        <c:v>0</c:v>
                      </c:pt>
                      <c:pt idx="9021">
                        <c:v>0</c:v>
                      </c:pt>
                      <c:pt idx="9022">
                        <c:v>0</c:v>
                      </c:pt>
                      <c:pt idx="9023">
                        <c:v>0</c:v>
                      </c:pt>
                      <c:pt idx="9024">
                        <c:v>0</c:v>
                      </c:pt>
                      <c:pt idx="9025">
                        <c:v>0</c:v>
                      </c:pt>
                      <c:pt idx="9026">
                        <c:v>0</c:v>
                      </c:pt>
                      <c:pt idx="9027">
                        <c:v>0</c:v>
                      </c:pt>
                      <c:pt idx="9028">
                        <c:v>0</c:v>
                      </c:pt>
                      <c:pt idx="9029">
                        <c:v>0</c:v>
                      </c:pt>
                      <c:pt idx="9030">
                        <c:v>0</c:v>
                      </c:pt>
                      <c:pt idx="9031">
                        <c:v>0</c:v>
                      </c:pt>
                      <c:pt idx="9032">
                        <c:v>0</c:v>
                      </c:pt>
                      <c:pt idx="9033">
                        <c:v>0</c:v>
                      </c:pt>
                      <c:pt idx="9034">
                        <c:v>0</c:v>
                      </c:pt>
                      <c:pt idx="9035">
                        <c:v>0</c:v>
                      </c:pt>
                      <c:pt idx="9036">
                        <c:v>0</c:v>
                      </c:pt>
                      <c:pt idx="9037">
                        <c:v>0</c:v>
                      </c:pt>
                      <c:pt idx="9038">
                        <c:v>0</c:v>
                      </c:pt>
                      <c:pt idx="9039">
                        <c:v>0</c:v>
                      </c:pt>
                      <c:pt idx="9040">
                        <c:v>0</c:v>
                      </c:pt>
                      <c:pt idx="9041">
                        <c:v>0</c:v>
                      </c:pt>
                      <c:pt idx="9042">
                        <c:v>0</c:v>
                      </c:pt>
                      <c:pt idx="9043">
                        <c:v>0</c:v>
                      </c:pt>
                      <c:pt idx="9044">
                        <c:v>0</c:v>
                      </c:pt>
                      <c:pt idx="9045">
                        <c:v>0</c:v>
                      </c:pt>
                      <c:pt idx="9046">
                        <c:v>0</c:v>
                      </c:pt>
                      <c:pt idx="9047">
                        <c:v>0</c:v>
                      </c:pt>
                      <c:pt idx="9048">
                        <c:v>0</c:v>
                      </c:pt>
                      <c:pt idx="9049">
                        <c:v>0</c:v>
                      </c:pt>
                      <c:pt idx="9050">
                        <c:v>0</c:v>
                      </c:pt>
                      <c:pt idx="9051">
                        <c:v>0</c:v>
                      </c:pt>
                      <c:pt idx="9052">
                        <c:v>0</c:v>
                      </c:pt>
                      <c:pt idx="9053">
                        <c:v>0</c:v>
                      </c:pt>
                      <c:pt idx="9054">
                        <c:v>0</c:v>
                      </c:pt>
                      <c:pt idx="9055">
                        <c:v>0</c:v>
                      </c:pt>
                      <c:pt idx="9056">
                        <c:v>0</c:v>
                      </c:pt>
                      <c:pt idx="9057">
                        <c:v>0</c:v>
                      </c:pt>
                      <c:pt idx="9058">
                        <c:v>0</c:v>
                      </c:pt>
                      <c:pt idx="9059">
                        <c:v>0</c:v>
                      </c:pt>
                      <c:pt idx="9060">
                        <c:v>0</c:v>
                      </c:pt>
                      <c:pt idx="9061">
                        <c:v>0</c:v>
                      </c:pt>
                      <c:pt idx="9062">
                        <c:v>0</c:v>
                      </c:pt>
                      <c:pt idx="9063">
                        <c:v>0</c:v>
                      </c:pt>
                      <c:pt idx="9064">
                        <c:v>0</c:v>
                      </c:pt>
                      <c:pt idx="9065">
                        <c:v>0</c:v>
                      </c:pt>
                      <c:pt idx="9066">
                        <c:v>0</c:v>
                      </c:pt>
                      <c:pt idx="9067">
                        <c:v>0</c:v>
                      </c:pt>
                      <c:pt idx="9068">
                        <c:v>0</c:v>
                      </c:pt>
                      <c:pt idx="9069">
                        <c:v>0</c:v>
                      </c:pt>
                      <c:pt idx="9070">
                        <c:v>0</c:v>
                      </c:pt>
                      <c:pt idx="9071">
                        <c:v>0</c:v>
                      </c:pt>
                      <c:pt idx="9072">
                        <c:v>0</c:v>
                      </c:pt>
                      <c:pt idx="9073">
                        <c:v>0</c:v>
                      </c:pt>
                      <c:pt idx="9074">
                        <c:v>0</c:v>
                      </c:pt>
                      <c:pt idx="9075">
                        <c:v>0</c:v>
                      </c:pt>
                      <c:pt idx="9076">
                        <c:v>0</c:v>
                      </c:pt>
                      <c:pt idx="9077">
                        <c:v>0</c:v>
                      </c:pt>
                      <c:pt idx="9078">
                        <c:v>0</c:v>
                      </c:pt>
                      <c:pt idx="9079">
                        <c:v>0</c:v>
                      </c:pt>
                      <c:pt idx="9080">
                        <c:v>0</c:v>
                      </c:pt>
                      <c:pt idx="9081">
                        <c:v>0</c:v>
                      </c:pt>
                      <c:pt idx="9082">
                        <c:v>0</c:v>
                      </c:pt>
                      <c:pt idx="9083">
                        <c:v>0</c:v>
                      </c:pt>
                      <c:pt idx="9084">
                        <c:v>0</c:v>
                      </c:pt>
                      <c:pt idx="9085">
                        <c:v>0</c:v>
                      </c:pt>
                      <c:pt idx="9086">
                        <c:v>0</c:v>
                      </c:pt>
                      <c:pt idx="9087">
                        <c:v>0</c:v>
                      </c:pt>
                      <c:pt idx="9088">
                        <c:v>0</c:v>
                      </c:pt>
                      <c:pt idx="9089">
                        <c:v>0</c:v>
                      </c:pt>
                      <c:pt idx="9090">
                        <c:v>0</c:v>
                      </c:pt>
                      <c:pt idx="9091">
                        <c:v>0</c:v>
                      </c:pt>
                      <c:pt idx="9092">
                        <c:v>0</c:v>
                      </c:pt>
                      <c:pt idx="9093">
                        <c:v>0</c:v>
                      </c:pt>
                      <c:pt idx="9094">
                        <c:v>0</c:v>
                      </c:pt>
                      <c:pt idx="9095">
                        <c:v>0</c:v>
                      </c:pt>
                      <c:pt idx="9096">
                        <c:v>0</c:v>
                      </c:pt>
                      <c:pt idx="9097">
                        <c:v>0</c:v>
                      </c:pt>
                      <c:pt idx="9098">
                        <c:v>0</c:v>
                      </c:pt>
                      <c:pt idx="9099">
                        <c:v>0</c:v>
                      </c:pt>
                      <c:pt idx="9100">
                        <c:v>0</c:v>
                      </c:pt>
                      <c:pt idx="9101">
                        <c:v>0</c:v>
                      </c:pt>
                      <c:pt idx="9102">
                        <c:v>0</c:v>
                      </c:pt>
                      <c:pt idx="9103">
                        <c:v>0</c:v>
                      </c:pt>
                      <c:pt idx="9104">
                        <c:v>0</c:v>
                      </c:pt>
                      <c:pt idx="9105">
                        <c:v>0</c:v>
                      </c:pt>
                      <c:pt idx="9106">
                        <c:v>0</c:v>
                      </c:pt>
                      <c:pt idx="9107">
                        <c:v>0</c:v>
                      </c:pt>
                      <c:pt idx="9108">
                        <c:v>0</c:v>
                      </c:pt>
                      <c:pt idx="9109">
                        <c:v>0</c:v>
                      </c:pt>
                      <c:pt idx="9110">
                        <c:v>0</c:v>
                      </c:pt>
                      <c:pt idx="9111">
                        <c:v>0</c:v>
                      </c:pt>
                      <c:pt idx="9112">
                        <c:v>0</c:v>
                      </c:pt>
                      <c:pt idx="9113">
                        <c:v>0</c:v>
                      </c:pt>
                      <c:pt idx="9114">
                        <c:v>0</c:v>
                      </c:pt>
                      <c:pt idx="9115">
                        <c:v>0</c:v>
                      </c:pt>
                      <c:pt idx="9116">
                        <c:v>0</c:v>
                      </c:pt>
                      <c:pt idx="9117">
                        <c:v>0</c:v>
                      </c:pt>
                      <c:pt idx="9118">
                        <c:v>0</c:v>
                      </c:pt>
                      <c:pt idx="9119">
                        <c:v>0</c:v>
                      </c:pt>
                      <c:pt idx="9120">
                        <c:v>0</c:v>
                      </c:pt>
                      <c:pt idx="9121">
                        <c:v>0</c:v>
                      </c:pt>
                      <c:pt idx="9122">
                        <c:v>0</c:v>
                      </c:pt>
                      <c:pt idx="9123">
                        <c:v>0</c:v>
                      </c:pt>
                      <c:pt idx="9124">
                        <c:v>0</c:v>
                      </c:pt>
                      <c:pt idx="9125">
                        <c:v>0</c:v>
                      </c:pt>
                      <c:pt idx="9126">
                        <c:v>0</c:v>
                      </c:pt>
                      <c:pt idx="9127">
                        <c:v>0</c:v>
                      </c:pt>
                      <c:pt idx="9128">
                        <c:v>0</c:v>
                      </c:pt>
                      <c:pt idx="9129">
                        <c:v>0</c:v>
                      </c:pt>
                      <c:pt idx="9130">
                        <c:v>0</c:v>
                      </c:pt>
                      <c:pt idx="9131">
                        <c:v>0</c:v>
                      </c:pt>
                      <c:pt idx="9132">
                        <c:v>0</c:v>
                      </c:pt>
                      <c:pt idx="9133">
                        <c:v>0</c:v>
                      </c:pt>
                      <c:pt idx="9134">
                        <c:v>0</c:v>
                      </c:pt>
                      <c:pt idx="9135">
                        <c:v>0</c:v>
                      </c:pt>
                      <c:pt idx="9136">
                        <c:v>0</c:v>
                      </c:pt>
                      <c:pt idx="9137">
                        <c:v>0</c:v>
                      </c:pt>
                      <c:pt idx="9138">
                        <c:v>0</c:v>
                      </c:pt>
                      <c:pt idx="9139">
                        <c:v>0</c:v>
                      </c:pt>
                      <c:pt idx="9140">
                        <c:v>0</c:v>
                      </c:pt>
                      <c:pt idx="9141">
                        <c:v>0</c:v>
                      </c:pt>
                      <c:pt idx="9142">
                        <c:v>0</c:v>
                      </c:pt>
                      <c:pt idx="9143">
                        <c:v>0</c:v>
                      </c:pt>
                      <c:pt idx="9144">
                        <c:v>0</c:v>
                      </c:pt>
                      <c:pt idx="9145">
                        <c:v>0</c:v>
                      </c:pt>
                      <c:pt idx="9146">
                        <c:v>0</c:v>
                      </c:pt>
                      <c:pt idx="9147">
                        <c:v>0</c:v>
                      </c:pt>
                      <c:pt idx="9148">
                        <c:v>0</c:v>
                      </c:pt>
                      <c:pt idx="9149">
                        <c:v>0</c:v>
                      </c:pt>
                      <c:pt idx="9150">
                        <c:v>0</c:v>
                      </c:pt>
                      <c:pt idx="9151">
                        <c:v>0</c:v>
                      </c:pt>
                      <c:pt idx="9152">
                        <c:v>0</c:v>
                      </c:pt>
                      <c:pt idx="9153">
                        <c:v>0</c:v>
                      </c:pt>
                      <c:pt idx="9154">
                        <c:v>0</c:v>
                      </c:pt>
                      <c:pt idx="9155">
                        <c:v>0</c:v>
                      </c:pt>
                      <c:pt idx="9156">
                        <c:v>0</c:v>
                      </c:pt>
                      <c:pt idx="9157">
                        <c:v>0</c:v>
                      </c:pt>
                      <c:pt idx="9158">
                        <c:v>0</c:v>
                      </c:pt>
                      <c:pt idx="9159">
                        <c:v>0</c:v>
                      </c:pt>
                      <c:pt idx="9160">
                        <c:v>0</c:v>
                      </c:pt>
                      <c:pt idx="9161">
                        <c:v>0</c:v>
                      </c:pt>
                      <c:pt idx="9162">
                        <c:v>0</c:v>
                      </c:pt>
                      <c:pt idx="9163">
                        <c:v>0</c:v>
                      </c:pt>
                      <c:pt idx="9164">
                        <c:v>0</c:v>
                      </c:pt>
                      <c:pt idx="9165">
                        <c:v>0</c:v>
                      </c:pt>
                      <c:pt idx="9166">
                        <c:v>0</c:v>
                      </c:pt>
                      <c:pt idx="9167">
                        <c:v>0</c:v>
                      </c:pt>
                      <c:pt idx="9168">
                        <c:v>0</c:v>
                      </c:pt>
                      <c:pt idx="9169">
                        <c:v>0</c:v>
                      </c:pt>
                      <c:pt idx="9170">
                        <c:v>0</c:v>
                      </c:pt>
                      <c:pt idx="9171">
                        <c:v>0</c:v>
                      </c:pt>
                      <c:pt idx="9172">
                        <c:v>0</c:v>
                      </c:pt>
                      <c:pt idx="9173">
                        <c:v>0</c:v>
                      </c:pt>
                      <c:pt idx="9174">
                        <c:v>0</c:v>
                      </c:pt>
                      <c:pt idx="9175">
                        <c:v>0</c:v>
                      </c:pt>
                      <c:pt idx="9176">
                        <c:v>0</c:v>
                      </c:pt>
                      <c:pt idx="9177">
                        <c:v>0</c:v>
                      </c:pt>
                      <c:pt idx="9178">
                        <c:v>0</c:v>
                      </c:pt>
                      <c:pt idx="9179">
                        <c:v>0</c:v>
                      </c:pt>
                      <c:pt idx="9180">
                        <c:v>0</c:v>
                      </c:pt>
                      <c:pt idx="9181">
                        <c:v>0</c:v>
                      </c:pt>
                      <c:pt idx="9182">
                        <c:v>0</c:v>
                      </c:pt>
                      <c:pt idx="9183">
                        <c:v>0</c:v>
                      </c:pt>
                      <c:pt idx="9184">
                        <c:v>0</c:v>
                      </c:pt>
                      <c:pt idx="9185">
                        <c:v>0</c:v>
                      </c:pt>
                      <c:pt idx="9186">
                        <c:v>0</c:v>
                      </c:pt>
                      <c:pt idx="9187">
                        <c:v>0</c:v>
                      </c:pt>
                      <c:pt idx="9188">
                        <c:v>0</c:v>
                      </c:pt>
                      <c:pt idx="9189">
                        <c:v>0</c:v>
                      </c:pt>
                      <c:pt idx="9190">
                        <c:v>0</c:v>
                      </c:pt>
                      <c:pt idx="9191">
                        <c:v>0</c:v>
                      </c:pt>
                      <c:pt idx="9192">
                        <c:v>0</c:v>
                      </c:pt>
                      <c:pt idx="9193">
                        <c:v>0</c:v>
                      </c:pt>
                      <c:pt idx="9194">
                        <c:v>0</c:v>
                      </c:pt>
                      <c:pt idx="9195">
                        <c:v>0</c:v>
                      </c:pt>
                      <c:pt idx="9196">
                        <c:v>0</c:v>
                      </c:pt>
                      <c:pt idx="9197">
                        <c:v>0</c:v>
                      </c:pt>
                      <c:pt idx="9198">
                        <c:v>0</c:v>
                      </c:pt>
                      <c:pt idx="9199">
                        <c:v>0</c:v>
                      </c:pt>
                      <c:pt idx="9200">
                        <c:v>0</c:v>
                      </c:pt>
                      <c:pt idx="9201">
                        <c:v>0</c:v>
                      </c:pt>
                      <c:pt idx="9202">
                        <c:v>0</c:v>
                      </c:pt>
                      <c:pt idx="9203">
                        <c:v>0</c:v>
                      </c:pt>
                      <c:pt idx="9204">
                        <c:v>0</c:v>
                      </c:pt>
                      <c:pt idx="9205">
                        <c:v>0</c:v>
                      </c:pt>
                      <c:pt idx="9206">
                        <c:v>0</c:v>
                      </c:pt>
                      <c:pt idx="9207">
                        <c:v>0</c:v>
                      </c:pt>
                      <c:pt idx="9208">
                        <c:v>0</c:v>
                      </c:pt>
                      <c:pt idx="9209">
                        <c:v>0</c:v>
                      </c:pt>
                      <c:pt idx="9210">
                        <c:v>0</c:v>
                      </c:pt>
                      <c:pt idx="9211">
                        <c:v>0</c:v>
                      </c:pt>
                      <c:pt idx="9212">
                        <c:v>0</c:v>
                      </c:pt>
                      <c:pt idx="9213">
                        <c:v>0</c:v>
                      </c:pt>
                      <c:pt idx="9214">
                        <c:v>0</c:v>
                      </c:pt>
                      <c:pt idx="9215">
                        <c:v>0</c:v>
                      </c:pt>
                      <c:pt idx="9216">
                        <c:v>0</c:v>
                      </c:pt>
                      <c:pt idx="9217">
                        <c:v>0</c:v>
                      </c:pt>
                      <c:pt idx="9218">
                        <c:v>0</c:v>
                      </c:pt>
                      <c:pt idx="9219">
                        <c:v>0</c:v>
                      </c:pt>
                      <c:pt idx="9220">
                        <c:v>0</c:v>
                      </c:pt>
                      <c:pt idx="9221">
                        <c:v>0</c:v>
                      </c:pt>
                      <c:pt idx="9222">
                        <c:v>0</c:v>
                      </c:pt>
                      <c:pt idx="9223">
                        <c:v>0</c:v>
                      </c:pt>
                      <c:pt idx="9224">
                        <c:v>0</c:v>
                      </c:pt>
                      <c:pt idx="9225">
                        <c:v>0</c:v>
                      </c:pt>
                      <c:pt idx="9226">
                        <c:v>0</c:v>
                      </c:pt>
                      <c:pt idx="9227">
                        <c:v>0</c:v>
                      </c:pt>
                      <c:pt idx="9228">
                        <c:v>0</c:v>
                      </c:pt>
                      <c:pt idx="9229">
                        <c:v>0</c:v>
                      </c:pt>
                      <c:pt idx="9230">
                        <c:v>0</c:v>
                      </c:pt>
                      <c:pt idx="9231">
                        <c:v>0</c:v>
                      </c:pt>
                      <c:pt idx="9232">
                        <c:v>0</c:v>
                      </c:pt>
                      <c:pt idx="9233">
                        <c:v>0</c:v>
                      </c:pt>
                      <c:pt idx="9234">
                        <c:v>0</c:v>
                      </c:pt>
                      <c:pt idx="9235">
                        <c:v>0</c:v>
                      </c:pt>
                      <c:pt idx="9236">
                        <c:v>0</c:v>
                      </c:pt>
                      <c:pt idx="9237">
                        <c:v>0</c:v>
                      </c:pt>
                      <c:pt idx="9238">
                        <c:v>0</c:v>
                      </c:pt>
                      <c:pt idx="9239">
                        <c:v>0</c:v>
                      </c:pt>
                      <c:pt idx="9240">
                        <c:v>0</c:v>
                      </c:pt>
                      <c:pt idx="9241">
                        <c:v>0</c:v>
                      </c:pt>
                      <c:pt idx="9242">
                        <c:v>0</c:v>
                      </c:pt>
                      <c:pt idx="9243">
                        <c:v>0</c:v>
                      </c:pt>
                      <c:pt idx="9244">
                        <c:v>0</c:v>
                      </c:pt>
                      <c:pt idx="9245">
                        <c:v>0</c:v>
                      </c:pt>
                      <c:pt idx="9246">
                        <c:v>0</c:v>
                      </c:pt>
                      <c:pt idx="9247">
                        <c:v>0</c:v>
                      </c:pt>
                      <c:pt idx="9248">
                        <c:v>0</c:v>
                      </c:pt>
                      <c:pt idx="9249">
                        <c:v>0</c:v>
                      </c:pt>
                      <c:pt idx="9250">
                        <c:v>0</c:v>
                      </c:pt>
                      <c:pt idx="9251">
                        <c:v>0</c:v>
                      </c:pt>
                      <c:pt idx="9252">
                        <c:v>0</c:v>
                      </c:pt>
                      <c:pt idx="9253">
                        <c:v>0</c:v>
                      </c:pt>
                      <c:pt idx="9254">
                        <c:v>0</c:v>
                      </c:pt>
                      <c:pt idx="9255">
                        <c:v>0</c:v>
                      </c:pt>
                      <c:pt idx="9256">
                        <c:v>0</c:v>
                      </c:pt>
                      <c:pt idx="9257">
                        <c:v>0</c:v>
                      </c:pt>
                      <c:pt idx="9258">
                        <c:v>0</c:v>
                      </c:pt>
                      <c:pt idx="9259">
                        <c:v>0</c:v>
                      </c:pt>
                      <c:pt idx="9260">
                        <c:v>0</c:v>
                      </c:pt>
                      <c:pt idx="9261">
                        <c:v>0</c:v>
                      </c:pt>
                      <c:pt idx="9262">
                        <c:v>0</c:v>
                      </c:pt>
                      <c:pt idx="9263">
                        <c:v>0</c:v>
                      </c:pt>
                      <c:pt idx="9264">
                        <c:v>0</c:v>
                      </c:pt>
                      <c:pt idx="9265">
                        <c:v>0</c:v>
                      </c:pt>
                      <c:pt idx="9266">
                        <c:v>0</c:v>
                      </c:pt>
                      <c:pt idx="9267">
                        <c:v>0</c:v>
                      </c:pt>
                      <c:pt idx="9268">
                        <c:v>0</c:v>
                      </c:pt>
                      <c:pt idx="9269">
                        <c:v>0</c:v>
                      </c:pt>
                      <c:pt idx="9270">
                        <c:v>0</c:v>
                      </c:pt>
                      <c:pt idx="9271">
                        <c:v>0</c:v>
                      </c:pt>
                      <c:pt idx="9272">
                        <c:v>0</c:v>
                      </c:pt>
                      <c:pt idx="9273">
                        <c:v>0</c:v>
                      </c:pt>
                      <c:pt idx="9274">
                        <c:v>0</c:v>
                      </c:pt>
                      <c:pt idx="9275">
                        <c:v>0</c:v>
                      </c:pt>
                      <c:pt idx="9276">
                        <c:v>0</c:v>
                      </c:pt>
                      <c:pt idx="9277">
                        <c:v>0</c:v>
                      </c:pt>
                      <c:pt idx="9278">
                        <c:v>0</c:v>
                      </c:pt>
                      <c:pt idx="9279">
                        <c:v>0</c:v>
                      </c:pt>
                      <c:pt idx="9280">
                        <c:v>0</c:v>
                      </c:pt>
                      <c:pt idx="9281">
                        <c:v>0</c:v>
                      </c:pt>
                      <c:pt idx="9282">
                        <c:v>0</c:v>
                      </c:pt>
                      <c:pt idx="9283">
                        <c:v>0</c:v>
                      </c:pt>
                      <c:pt idx="9284">
                        <c:v>0</c:v>
                      </c:pt>
                      <c:pt idx="9285">
                        <c:v>0</c:v>
                      </c:pt>
                      <c:pt idx="9286">
                        <c:v>0</c:v>
                      </c:pt>
                      <c:pt idx="9287">
                        <c:v>0</c:v>
                      </c:pt>
                      <c:pt idx="9288">
                        <c:v>0</c:v>
                      </c:pt>
                      <c:pt idx="9289">
                        <c:v>0</c:v>
                      </c:pt>
                      <c:pt idx="9290">
                        <c:v>0</c:v>
                      </c:pt>
                      <c:pt idx="9291">
                        <c:v>0</c:v>
                      </c:pt>
                      <c:pt idx="9292">
                        <c:v>0</c:v>
                      </c:pt>
                      <c:pt idx="9293">
                        <c:v>0</c:v>
                      </c:pt>
                      <c:pt idx="9294">
                        <c:v>0</c:v>
                      </c:pt>
                      <c:pt idx="9295">
                        <c:v>0</c:v>
                      </c:pt>
                      <c:pt idx="9296">
                        <c:v>0</c:v>
                      </c:pt>
                      <c:pt idx="9297">
                        <c:v>0</c:v>
                      </c:pt>
                      <c:pt idx="9298">
                        <c:v>0</c:v>
                      </c:pt>
                      <c:pt idx="9299">
                        <c:v>0</c:v>
                      </c:pt>
                      <c:pt idx="9300">
                        <c:v>0</c:v>
                      </c:pt>
                      <c:pt idx="9301">
                        <c:v>0</c:v>
                      </c:pt>
                      <c:pt idx="9302">
                        <c:v>0</c:v>
                      </c:pt>
                      <c:pt idx="9303">
                        <c:v>0</c:v>
                      </c:pt>
                      <c:pt idx="9304">
                        <c:v>0</c:v>
                      </c:pt>
                      <c:pt idx="9305">
                        <c:v>0</c:v>
                      </c:pt>
                      <c:pt idx="9306">
                        <c:v>0</c:v>
                      </c:pt>
                      <c:pt idx="9307">
                        <c:v>0</c:v>
                      </c:pt>
                      <c:pt idx="9308">
                        <c:v>0</c:v>
                      </c:pt>
                      <c:pt idx="9309">
                        <c:v>0</c:v>
                      </c:pt>
                      <c:pt idx="9310">
                        <c:v>0</c:v>
                      </c:pt>
                      <c:pt idx="9311">
                        <c:v>0</c:v>
                      </c:pt>
                      <c:pt idx="9312">
                        <c:v>0</c:v>
                      </c:pt>
                      <c:pt idx="9313">
                        <c:v>0</c:v>
                      </c:pt>
                      <c:pt idx="9314">
                        <c:v>0</c:v>
                      </c:pt>
                      <c:pt idx="9315">
                        <c:v>0</c:v>
                      </c:pt>
                      <c:pt idx="9316">
                        <c:v>0</c:v>
                      </c:pt>
                      <c:pt idx="9317">
                        <c:v>0</c:v>
                      </c:pt>
                      <c:pt idx="9318">
                        <c:v>0</c:v>
                      </c:pt>
                      <c:pt idx="9319">
                        <c:v>0</c:v>
                      </c:pt>
                      <c:pt idx="9320">
                        <c:v>0</c:v>
                      </c:pt>
                      <c:pt idx="9321">
                        <c:v>0</c:v>
                      </c:pt>
                      <c:pt idx="9322">
                        <c:v>0</c:v>
                      </c:pt>
                      <c:pt idx="9323">
                        <c:v>0</c:v>
                      </c:pt>
                      <c:pt idx="9324">
                        <c:v>0</c:v>
                      </c:pt>
                      <c:pt idx="9325">
                        <c:v>0</c:v>
                      </c:pt>
                      <c:pt idx="9326">
                        <c:v>0</c:v>
                      </c:pt>
                      <c:pt idx="9327">
                        <c:v>0</c:v>
                      </c:pt>
                      <c:pt idx="9328">
                        <c:v>0</c:v>
                      </c:pt>
                      <c:pt idx="9329">
                        <c:v>0</c:v>
                      </c:pt>
                      <c:pt idx="9330">
                        <c:v>0</c:v>
                      </c:pt>
                      <c:pt idx="9331">
                        <c:v>0</c:v>
                      </c:pt>
                      <c:pt idx="9332">
                        <c:v>0</c:v>
                      </c:pt>
                      <c:pt idx="9333">
                        <c:v>0</c:v>
                      </c:pt>
                      <c:pt idx="9334">
                        <c:v>0</c:v>
                      </c:pt>
                      <c:pt idx="9335">
                        <c:v>0</c:v>
                      </c:pt>
                      <c:pt idx="9336">
                        <c:v>0</c:v>
                      </c:pt>
                      <c:pt idx="9337">
                        <c:v>0</c:v>
                      </c:pt>
                      <c:pt idx="9338">
                        <c:v>0</c:v>
                      </c:pt>
                      <c:pt idx="9339">
                        <c:v>0</c:v>
                      </c:pt>
                      <c:pt idx="9340">
                        <c:v>0</c:v>
                      </c:pt>
                      <c:pt idx="9341">
                        <c:v>0</c:v>
                      </c:pt>
                      <c:pt idx="9342">
                        <c:v>0</c:v>
                      </c:pt>
                      <c:pt idx="9343">
                        <c:v>0</c:v>
                      </c:pt>
                      <c:pt idx="9344">
                        <c:v>0</c:v>
                      </c:pt>
                      <c:pt idx="9345">
                        <c:v>0</c:v>
                      </c:pt>
                      <c:pt idx="9346">
                        <c:v>0</c:v>
                      </c:pt>
                      <c:pt idx="9347">
                        <c:v>0</c:v>
                      </c:pt>
                      <c:pt idx="9348">
                        <c:v>0</c:v>
                      </c:pt>
                      <c:pt idx="9349">
                        <c:v>0</c:v>
                      </c:pt>
                      <c:pt idx="9350">
                        <c:v>0</c:v>
                      </c:pt>
                      <c:pt idx="9351">
                        <c:v>0</c:v>
                      </c:pt>
                      <c:pt idx="9352">
                        <c:v>0</c:v>
                      </c:pt>
                      <c:pt idx="9353">
                        <c:v>0</c:v>
                      </c:pt>
                      <c:pt idx="9354">
                        <c:v>0</c:v>
                      </c:pt>
                      <c:pt idx="9355">
                        <c:v>0</c:v>
                      </c:pt>
                      <c:pt idx="9356">
                        <c:v>0</c:v>
                      </c:pt>
                      <c:pt idx="9357">
                        <c:v>0</c:v>
                      </c:pt>
                      <c:pt idx="9358">
                        <c:v>0</c:v>
                      </c:pt>
                      <c:pt idx="9359">
                        <c:v>0</c:v>
                      </c:pt>
                      <c:pt idx="9360">
                        <c:v>0</c:v>
                      </c:pt>
                      <c:pt idx="9361">
                        <c:v>0</c:v>
                      </c:pt>
                      <c:pt idx="9362">
                        <c:v>0</c:v>
                      </c:pt>
                      <c:pt idx="9363">
                        <c:v>0</c:v>
                      </c:pt>
                      <c:pt idx="9364">
                        <c:v>0</c:v>
                      </c:pt>
                      <c:pt idx="9365">
                        <c:v>0</c:v>
                      </c:pt>
                      <c:pt idx="9366">
                        <c:v>0</c:v>
                      </c:pt>
                      <c:pt idx="9367">
                        <c:v>0</c:v>
                      </c:pt>
                      <c:pt idx="9368">
                        <c:v>0</c:v>
                      </c:pt>
                      <c:pt idx="9369">
                        <c:v>0</c:v>
                      </c:pt>
                      <c:pt idx="9370">
                        <c:v>0</c:v>
                      </c:pt>
                      <c:pt idx="9371">
                        <c:v>0</c:v>
                      </c:pt>
                      <c:pt idx="9372">
                        <c:v>0</c:v>
                      </c:pt>
                      <c:pt idx="9373">
                        <c:v>0</c:v>
                      </c:pt>
                      <c:pt idx="9374">
                        <c:v>0</c:v>
                      </c:pt>
                      <c:pt idx="9375">
                        <c:v>0</c:v>
                      </c:pt>
                      <c:pt idx="9376">
                        <c:v>0</c:v>
                      </c:pt>
                      <c:pt idx="9377">
                        <c:v>0</c:v>
                      </c:pt>
                      <c:pt idx="9378">
                        <c:v>0</c:v>
                      </c:pt>
                      <c:pt idx="9379">
                        <c:v>0</c:v>
                      </c:pt>
                      <c:pt idx="9380">
                        <c:v>0</c:v>
                      </c:pt>
                      <c:pt idx="9381">
                        <c:v>0</c:v>
                      </c:pt>
                      <c:pt idx="9382">
                        <c:v>0</c:v>
                      </c:pt>
                      <c:pt idx="9383">
                        <c:v>0</c:v>
                      </c:pt>
                      <c:pt idx="9384">
                        <c:v>0</c:v>
                      </c:pt>
                      <c:pt idx="9385">
                        <c:v>0</c:v>
                      </c:pt>
                      <c:pt idx="9386">
                        <c:v>0</c:v>
                      </c:pt>
                      <c:pt idx="9387">
                        <c:v>0</c:v>
                      </c:pt>
                      <c:pt idx="9388">
                        <c:v>0</c:v>
                      </c:pt>
                      <c:pt idx="9389">
                        <c:v>0</c:v>
                      </c:pt>
                      <c:pt idx="9390">
                        <c:v>0</c:v>
                      </c:pt>
                      <c:pt idx="9391">
                        <c:v>0</c:v>
                      </c:pt>
                      <c:pt idx="9392">
                        <c:v>0</c:v>
                      </c:pt>
                      <c:pt idx="9393">
                        <c:v>0</c:v>
                      </c:pt>
                      <c:pt idx="9394">
                        <c:v>0</c:v>
                      </c:pt>
                      <c:pt idx="9395">
                        <c:v>0</c:v>
                      </c:pt>
                      <c:pt idx="9396">
                        <c:v>0</c:v>
                      </c:pt>
                      <c:pt idx="9397">
                        <c:v>0</c:v>
                      </c:pt>
                      <c:pt idx="9398">
                        <c:v>0</c:v>
                      </c:pt>
                      <c:pt idx="9399">
                        <c:v>0</c:v>
                      </c:pt>
                      <c:pt idx="9400">
                        <c:v>0</c:v>
                      </c:pt>
                      <c:pt idx="9401">
                        <c:v>0</c:v>
                      </c:pt>
                      <c:pt idx="9402">
                        <c:v>0</c:v>
                      </c:pt>
                      <c:pt idx="9403">
                        <c:v>0</c:v>
                      </c:pt>
                      <c:pt idx="9404">
                        <c:v>0</c:v>
                      </c:pt>
                      <c:pt idx="9405">
                        <c:v>0</c:v>
                      </c:pt>
                      <c:pt idx="9406">
                        <c:v>0</c:v>
                      </c:pt>
                      <c:pt idx="9407">
                        <c:v>0</c:v>
                      </c:pt>
                      <c:pt idx="9408">
                        <c:v>0</c:v>
                      </c:pt>
                      <c:pt idx="9409">
                        <c:v>0</c:v>
                      </c:pt>
                      <c:pt idx="9410">
                        <c:v>0</c:v>
                      </c:pt>
                      <c:pt idx="9411">
                        <c:v>0</c:v>
                      </c:pt>
                      <c:pt idx="9412">
                        <c:v>0</c:v>
                      </c:pt>
                      <c:pt idx="9413">
                        <c:v>0</c:v>
                      </c:pt>
                      <c:pt idx="9414">
                        <c:v>0</c:v>
                      </c:pt>
                      <c:pt idx="9415">
                        <c:v>0</c:v>
                      </c:pt>
                      <c:pt idx="9416">
                        <c:v>0</c:v>
                      </c:pt>
                      <c:pt idx="9417">
                        <c:v>0</c:v>
                      </c:pt>
                      <c:pt idx="9418">
                        <c:v>0</c:v>
                      </c:pt>
                      <c:pt idx="9419">
                        <c:v>0</c:v>
                      </c:pt>
                      <c:pt idx="9420">
                        <c:v>0</c:v>
                      </c:pt>
                      <c:pt idx="9421">
                        <c:v>0</c:v>
                      </c:pt>
                      <c:pt idx="9422">
                        <c:v>0</c:v>
                      </c:pt>
                      <c:pt idx="9423">
                        <c:v>0</c:v>
                      </c:pt>
                      <c:pt idx="9424">
                        <c:v>0</c:v>
                      </c:pt>
                      <c:pt idx="9425">
                        <c:v>0</c:v>
                      </c:pt>
                      <c:pt idx="9426">
                        <c:v>0</c:v>
                      </c:pt>
                      <c:pt idx="9427">
                        <c:v>0</c:v>
                      </c:pt>
                      <c:pt idx="9428">
                        <c:v>0</c:v>
                      </c:pt>
                      <c:pt idx="9429">
                        <c:v>0</c:v>
                      </c:pt>
                      <c:pt idx="9430">
                        <c:v>0</c:v>
                      </c:pt>
                      <c:pt idx="9431">
                        <c:v>0</c:v>
                      </c:pt>
                      <c:pt idx="9432">
                        <c:v>0</c:v>
                      </c:pt>
                      <c:pt idx="9433">
                        <c:v>0</c:v>
                      </c:pt>
                      <c:pt idx="9434">
                        <c:v>0</c:v>
                      </c:pt>
                      <c:pt idx="9435">
                        <c:v>0</c:v>
                      </c:pt>
                      <c:pt idx="9436">
                        <c:v>0</c:v>
                      </c:pt>
                      <c:pt idx="9437">
                        <c:v>0</c:v>
                      </c:pt>
                      <c:pt idx="9438">
                        <c:v>0</c:v>
                      </c:pt>
                      <c:pt idx="9439">
                        <c:v>0</c:v>
                      </c:pt>
                      <c:pt idx="9440">
                        <c:v>0</c:v>
                      </c:pt>
                      <c:pt idx="9441">
                        <c:v>0</c:v>
                      </c:pt>
                      <c:pt idx="9442">
                        <c:v>0</c:v>
                      </c:pt>
                      <c:pt idx="9443">
                        <c:v>0</c:v>
                      </c:pt>
                      <c:pt idx="9444">
                        <c:v>0</c:v>
                      </c:pt>
                      <c:pt idx="9445">
                        <c:v>0</c:v>
                      </c:pt>
                      <c:pt idx="9446">
                        <c:v>0</c:v>
                      </c:pt>
                      <c:pt idx="9447">
                        <c:v>0</c:v>
                      </c:pt>
                      <c:pt idx="9448">
                        <c:v>0</c:v>
                      </c:pt>
                      <c:pt idx="9449">
                        <c:v>0</c:v>
                      </c:pt>
                      <c:pt idx="9450">
                        <c:v>0</c:v>
                      </c:pt>
                      <c:pt idx="9451">
                        <c:v>0</c:v>
                      </c:pt>
                      <c:pt idx="9452">
                        <c:v>0</c:v>
                      </c:pt>
                      <c:pt idx="9453">
                        <c:v>0</c:v>
                      </c:pt>
                      <c:pt idx="9454">
                        <c:v>0</c:v>
                      </c:pt>
                      <c:pt idx="9455">
                        <c:v>0</c:v>
                      </c:pt>
                      <c:pt idx="9456">
                        <c:v>0</c:v>
                      </c:pt>
                      <c:pt idx="9457">
                        <c:v>0</c:v>
                      </c:pt>
                      <c:pt idx="9458">
                        <c:v>0</c:v>
                      </c:pt>
                      <c:pt idx="9459">
                        <c:v>0</c:v>
                      </c:pt>
                      <c:pt idx="9460">
                        <c:v>0</c:v>
                      </c:pt>
                      <c:pt idx="9461">
                        <c:v>0</c:v>
                      </c:pt>
                      <c:pt idx="9462">
                        <c:v>0</c:v>
                      </c:pt>
                      <c:pt idx="9463">
                        <c:v>0</c:v>
                      </c:pt>
                      <c:pt idx="9464">
                        <c:v>0</c:v>
                      </c:pt>
                      <c:pt idx="9465">
                        <c:v>0</c:v>
                      </c:pt>
                      <c:pt idx="9466">
                        <c:v>0</c:v>
                      </c:pt>
                      <c:pt idx="9467">
                        <c:v>0</c:v>
                      </c:pt>
                      <c:pt idx="9468">
                        <c:v>0</c:v>
                      </c:pt>
                      <c:pt idx="9469">
                        <c:v>0</c:v>
                      </c:pt>
                      <c:pt idx="9470">
                        <c:v>0</c:v>
                      </c:pt>
                      <c:pt idx="9471">
                        <c:v>0</c:v>
                      </c:pt>
                      <c:pt idx="9472">
                        <c:v>0</c:v>
                      </c:pt>
                      <c:pt idx="9473">
                        <c:v>0</c:v>
                      </c:pt>
                      <c:pt idx="9474">
                        <c:v>0</c:v>
                      </c:pt>
                      <c:pt idx="9475">
                        <c:v>0</c:v>
                      </c:pt>
                      <c:pt idx="9476">
                        <c:v>0</c:v>
                      </c:pt>
                      <c:pt idx="9477">
                        <c:v>0</c:v>
                      </c:pt>
                      <c:pt idx="9478">
                        <c:v>0</c:v>
                      </c:pt>
                      <c:pt idx="9479">
                        <c:v>0</c:v>
                      </c:pt>
                      <c:pt idx="9480">
                        <c:v>0</c:v>
                      </c:pt>
                      <c:pt idx="9481">
                        <c:v>0</c:v>
                      </c:pt>
                      <c:pt idx="9482">
                        <c:v>0</c:v>
                      </c:pt>
                      <c:pt idx="9483">
                        <c:v>0</c:v>
                      </c:pt>
                      <c:pt idx="9484">
                        <c:v>0</c:v>
                      </c:pt>
                      <c:pt idx="9485">
                        <c:v>0</c:v>
                      </c:pt>
                      <c:pt idx="9486">
                        <c:v>0</c:v>
                      </c:pt>
                      <c:pt idx="9487">
                        <c:v>0</c:v>
                      </c:pt>
                      <c:pt idx="9488">
                        <c:v>0</c:v>
                      </c:pt>
                      <c:pt idx="9489">
                        <c:v>0</c:v>
                      </c:pt>
                      <c:pt idx="9490">
                        <c:v>0</c:v>
                      </c:pt>
                      <c:pt idx="9491">
                        <c:v>0</c:v>
                      </c:pt>
                      <c:pt idx="9492">
                        <c:v>0</c:v>
                      </c:pt>
                      <c:pt idx="9493">
                        <c:v>0</c:v>
                      </c:pt>
                      <c:pt idx="9494">
                        <c:v>0</c:v>
                      </c:pt>
                      <c:pt idx="9495">
                        <c:v>0</c:v>
                      </c:pt>
                      <c:pt idx="9496">
                        <c:v>0</c:v>
                      </c:pt>
                      <c:pt idx="9497">
                        <c:v>0</c:v>
                      </c:pt>
                      <c:pt idx="9498">
                        <c:v>0</c:v>
                      </c:pt>
                      <c:pt idx="9499">
                        <c:v>0</c:v>
                      </c:pt>
                      <c:pt idx="9500">
                        <c:v>0</c:v>
                      </c:pt>
                      <c:pt idx="9501">
                        <c:v>0</c:v>
                      </c:pt>
                      <c:pt idx="9502">
                        <c:v>0</c:v>
                      </c:pt>
                      <c:pt idx="9503">
                        <c:v>0</c:v>
                      </c:pt>
                      <c:pt idx="9504">
                        <c:v>0</c:v>
                      </c:pt>
                      <c:pt idx="9505">
                        <c:v>0</c:v>
                      </c:pt>
                      <c:pt idx="9506">
                        <c:v>0</c:v>
                      </c:pt>
                      <c:pt idx="9507">
                        <c:v>0</c:v>
                      </c:pt>
                      <c:pt idx="9508">
                        <c:v>0</c:v>
                      </c:pt>
                      <c:pt idx="9509">
                        <c:v>0</c:v>
                      </c:pt>
                      <c:pt idx="9510">
                        <c:v>0</c:v>
                      </c:pt>
                      <c:pt idx="9511">
                        <c:v>0</c:v>
                      </c:pt>
                      <c:pt idx="9512">
                        <c:v>0</c:v>
                      </c:pt>
                      <c:pt idx="9513">
                        <c:v>0</c:v>
                      </c:pt>
                      <c:pt idx="9514">
                        <c:v>0</c:v>
                      </c:pt>
                      <c:pt idx="9515">
                        <c:v>0</c:v>
                      </c:pt>
                      <c:pt idx="9516">
                        <c:v>0</c:v>
                      </c:pt>
                      <c:pt idx="9517">
                        <c:v>0</c:v>
                      </c:pt>
                      <c:pt idx="9518">
                        <c:v>0</c:v>
                      </c:pt>
                      <c:pt idx="9519">
                        <c:v>0</c:v>
                      </c:pt>
                      <c:pt idx="9520">
                        <c:v>0</c:v>
                      </c:pt>
                      <c:pt idx="9521">
                        <c:v>0</c:v>
                      </c:pt>
                      <c:pt idx="9522">
                        <c:v>0</c:v>
                      </c:pt>
                      <c:pt idx="9523">
                        <c:v>0</c:v>
                      </c:pt>
                      <c:pt idx="9524">
                        <c:v>0</c:v>
                      </c:pt>
                      <c:pt idx="9525">
                        <c:v>0</c:v>
                      </c:pt>
                      <c:pt idx="9526">
                        <c:v>0</c:v>
                      </c:pt>
                      <c:pt idx="9527">
                        <c:v>0</c:v>
                      </c:pt>
                      <c:pt idx="9528">
                        <c:v>0</c:v>
                      </c:pt>
                      <c:pt idx="9529">
                        <c:v>0</c:v>
                      </c:pt>
                      <c:pt idx="9530">
                        <c:v>0</c:v>
                      </c:pt>
                      <c:pt idx="9531">
                        <c:v>0</c:v>
                      </c:pt>
                      <c:pt idx="9532">
                        <c:v>0</c:v>
                      </c:pt>
                      <c:pt idx="9533">
                        <c:v>0</c:v>
                      </c:pt>
                      <c:pt idx="9534">
                        <c:v>0</c:v>
                      </c:pt>
                      <c:pt idx="9535">
                        <c:v>0</c:v>
                      </c:pt>
                      <c:pt idx="9536">
                        <c:v>0</c:v>
                      </c:pt>
                      <c:pt idx="9537">
                        <c:v>0</c:v>
                      </c:pt>
                      <c:pt idx="9538">
                        <c:v>0</c:v>
                      </c:pt>
                      <c:pt idx="9539">
                        <c:v>0</c:v>
                      </c:pt>
                      <c:pt idx="9540">
                        <c:v>0</c:v>
                      </c:pt>
                      <c:pt idx="9541">
                        <c:v>0</c:v>
                      </c:pt>
                      <c:pt idx="9542">
                        <c:v>0</c:v>
                      </c:pt>
                      <c:pt idx="9543">
                        <c:v>0</c:v>
                      </c:pt>
                      <c:pt idx="9544">
                        <c:v>0</c:v>
                      </c:pt>
                      <c:pt idx="9545">
                        <c:v>0</c:v>
                      </c:pt>
                      <c:pt idx="9546">
                        <c:v>0</c:v>
                      </c:pt>
                      <c:pt idx="9547">
                        <c:v>0</c:v>
                      </c:pt>
                      <c:pt idx="9548">
                        <c:v>0</c:v>
                      </c:pt>
                      <c:pt idx="9549">
                        <c:v>0</c:v>
                      </c:pt>
                      <c:pt idx="9550">
                        <c:v>0</c:v>
                      </c:pt>
                      <c:pt idx="9551">
                        <c:v>0</c:v>
                      </c:pt>
                      <c:pt idx="9552">
                        <c:v>0</c:v>
                      </c:pt>
                      <c:pt idx="9553">
                        <c:v>0</c:v>
                      </c:pt>
                      <c:pt idx="9554">
                        <c:v>0</c:v>
                      </c:pt>
                      <c:pt idx="9555">
                        <c:v>0</c:v>
                      </c:pt>
                      <c:pt idx="9556">
                        <c:v>0</c:v>
                      </c:pt>
                      <c:pt idx="9557">
                        <c:v>0</c:v>
                      </c:pt>
                      <c:pt idx="9558">
                        <c:v>0</c:v>
                      </c:pt>
                      <c:pt idx="9559">
                        <c:v>0</c:v>
                      </c:pt>
                      <c:pt idx="9560">
                        <c:v>0</c:v>
                      </c:pt>
                      <c:pt idx="9561">
                        <c:v>0</c:v>
                      </c:pt>
                      <c:pt idx="9562">
                        <c:v>0</c:v>
                      </c:pt>
                      <c:pt idx="9563">
                        <c:v>0</c:v>
                      </c:pt>
                      <c:pt idx="9564">
                        <c:v>0</c:v>
                      </c:pt>
                      <c:pt idx="9565">
                        <c:v>0</c:v>
                      </c:pt>
                      <c:pt idx="9566">
                        <c:v>0</c:v>
                      </c:pt>
                      <c:pt idx="9567">
                        <c:v>0</c:v>
                      </c:pt>
                      <c:pt idx="9568">
                        <c:v>0</c:v>
                      </c:pt>
                      <c:pt idx="9569">
                        <c:v>0</c:v>
                      </c:pt>
                      <c:pt idx="9570">
                        <c:v>0</c:v>
                      </c:pt>
                      <c:pt idx="9571">
                        <c:v>0</c:v>
                      </c:pt>
                      <c:pt idx="9572">
                        <c:v>0</c:v>
                      </c:pt>
                      <c:pt idx="9573">
                        <c:v>0</c:v>
                      </c:pt>
                      <c:pt idx="9574">
                        <c:v>0</c:v>
                      </c:pt>
                      <c:pt idx="9575">
                        <c:v>0</c:v>
                      </c:pt>
                      <c:pt idx="9576">
                        <c:v>0</c:v>
                      </c:pt>
                      <c:pt idx="9577">
                        <c:v>0</c:v>
                      </c:pt>
                      <c:pt idx="9578">
                        <c:v>0</c:v>
                      </c:pt>
                      <c:pt idx="9579">
                        <c:v>0</c:v>
                      </c:pt>
                      <c:pt idx="9580">
                        <c:v>0</c:v>
                      </c:pt>
                      <c:pt idx="9581">
                        <c:v>0</c:v>
                      </c:pt>
                      <c:pt idx="9582">
                        <c:v>0</c:v>
                      </c:pt>
                      <c:pt idx="9583">
                        <c:v>0</c:v>
                      </c:pt>
                      <c:pt idx="9584">
                        <c:v>0</c:v>
                      </c:pt>
                      <c:pt idx="9585">
                        <c:v>0</c:v>
                      </c:pt>
                      <c:pt idx="9586">
                        <c:v>0</c:v>
                      </c:pt>
                      <c:pt idx="9587">
                        <c:v>0</c:v>
                      </c:pt>
                      <c:pt idx="9588">
                        <c:v>0</c:v>
                      </c:pt>
                      <c:pt idx="9589">
                        <c:v>0</c:v>
                      </c:pt>
                      <c:pt idx="9590">
                        <c:v>0</c:v>
                      </c:pt>
                      <c:pt idx="9591">
                        <c:v>0</c:v>
                      </c:pt>
                      <c:pt idx="9592">
                        <c:v>0</c:v>
                      </c:pt>
                      <c:pt idx="9593">
                        <c:v>0</c:v>
                      </c:pt>
                      <c:pt idx="9594">
                        <c:v>0</c:v>
                      </c:pt>
                      <c:pt idx="9595">
                        <c:v>0</c:v>
                      </c:pt>
                      <c:pt idx="9596">
                        <c:v>0</c:v>
                      </c:pt>
                      <c:pt idx="9597">
                        <c:v>0</c:v>
                      </c:pt>
                      <c:pt idx="9598">
                        <c:v>0</c:v>
                      </c:pt>
                      <c:pt idx="9599">
                        <c:v>0</c:v>
                      </c:pt>
                      <c:pt idx="9600">
                        <c:v>0</c:v>
                      </c:pt>
                      <c:pt idx="9601">
                        <c:v>0</c:v>
                      </c:pt>
                      <c:pt idx="9602">
                        <c:v>0</c:v>
                      </c:pt>
                      <c:pt idx="9603">
                        <c:v>0</c:v>
                      </c:pt>
                      <c:pt idx="9604">
                        <c:v>0</c:v>
                      </c:pt>
                      <c:pt idx="9605">
                        <c:v>0</c:v>
                      </c:pt>
                      <c:pt idx="9606">
                        <c:v>0</c:v>
                      </c:pt>
                      <c:pt idx="9607">
                        <c:v>0</c:v>
                      </c:pt>
                      <c:pt idx="9608">
                        <c:v>0</c:v>
                      </c:pt>
                      <c:pt idx="9609">
                        <c:v>0</c:v>
                      </c:pt>
                      <c:pt idx="9610">
                        <c:v>0</c:v>
                      </c:pt>
                      <c:pt idx="9611">
                        <c:v>0</c:v>
                      </c:pt>
                      <c:pt idx="9612">
                        <c:v>0</c:v>
                      </c:pt>
                      <c:pt idx="9613">
                        <c:v>0</c:v>
                      </c:pt>
                      <c:pt idx="9614">
                        <c:v>0</c:v>
                      </c:pt>
                      <c:pt idx="9615">
                        <c:v>0</c:v>
                      </c:pt>
                      <c:pt idx="9616">
                        <c:v>0</c:v>
                      </c:pt>
                      <c:pt idx="9617">
                        <c:v>0</c:v>
                      </c:pt>
                      <c:pt idx="9618">
                        <c:v>0</c:v>
                      </c:pt>
                      <c:pt idx="9619">
                        <c:v>0</c:v>
                      </c:pt>
                      <c:pt idx="9620">
                        <c:v>0</c:v>
                      </c:pt>
                      <c:pt idx="9621">
                        <c:v>0</c:v>
                      </c:pt>
                      <c:pt idx="9622">
                        <c:v>0</c:v>
                      </c:pt>
                      <c:pt idx="9623">
                        <c:v>0</c:v>
                      </c:pt>
                      <c:pt idx="9624">
                        <c:v>0</c:v>
                      </c:pt>
                      <c:pt idx="9625">
                        <c:v>0</c:v>
                      </c:pt>
                      <c:pt idx="9626">
                        <c:v>0</c:v>
                      </c:pt>
                      <c:pt idx="9627">
                        <c:v>0</c:v>
                      </c:pt>
                      <c:pt idx="9628">
                        <c:v>0</c:v>
                      </c:pt>
                      <c:pt idx="9629">
                        <c:v>0</c:v>
                      </c:pt>
                      <c:pt idx="9630">
                        <c:v>0</c:v>
                      </c:pt>
                      <c:pt idx="9631">
                        <c:v>0</c:v>
                      </c:pt>
                      <c:pt idx="9632">
                        <c:v>0</c:v>
                      </c:pt>
                      <c:pt idx="9633">
                        <c:v>0</c:v>
                      </c:pt>
                      <c:pt idx="9634">
                        <c:v>0</c:v>
                      </c:pt>
                      <c:pt idx="9635">
                        <c:v>0</c:v>
                      </c:pt>
                      <c:pt idx="9636">
                        <c:v>0</c:v>
                      </c:pt>
                      <c:pt idx="9637">
                        <c:v>0</c:v>
                      </c:pt>
                      <c:pt idx="9638">
                        <c:v>0</c:v>
                      </c:pt>
                      <c:pt idx="9639">
                        <c:v>0</c:v>
                      </c:pt>
                      <c:pt idx="9640">
                        <c:v>0</c:v>
                      </c:pt>
                      <c:pt idx="9641">
                        <c:v>0</c:v>
                      </c:pt>
                      <c:pt idx="9642">
                        <c:v>0</c:v>
                      </c:pt>
                      <c:pt idx="9643">
                        <c:v>0</c:v>
                      </c:pt>
                      <c:pt idx="9644">
                        <c:v>0</c:v>
                      </c:pt>
                      <c:pt idx="9645">
                        <c:v>0</c:v>
                      </c:pt>
                      <c:pt idx="9646">
                        <c:v>0</c:v>
                      </c:pt>
                      <c:pt idx="9647">
                        <c:v>0</c:v>
                      </c:pt>
                      <c:pt idx="9648">
                        <c:v>0</c:v>
                      </c:pt>
                      <c:pt idx="9649">
                        <c:v>0</c:v>
                      </c:pt>
                      <c:pt idx="9650">
                        <c:v>0</c:v>
                      </c:pt>
                      <c:pt idx="9651">
                        <c:v>0</c:v>
                      </c:pt>
                      <c:pt idx="9652">
                        <c:v>0</c:v>
                      </c:pt>
                      <c:pt idx="9653">
                        <c:v>0</c:v>
                      </c:pt>
                      <c:pt idx="9654">
                        <c:v>0</c:v>
                      </c:pt>
                      <c:pt idx="9655">
                        <c:v>0</c:v>
                      </c:pt>
                      <c:pt idx="9656">
                        <c:v>0</c:v>
                      </c:pt>
                      <c:pt idx="9657">
                        <c:v>0</c:v>
                      </c:pt>
                      <c:pt idx="9658">
                        <c:v>0</c:v>
                      </c:pt>
                      <c:pt idx="9659">
                        <c:v>0</c:v>
                      </c:pt>
                      <c:pt idx="9660">
                        <c:v>0</c:v>
                      </c:pt>
                      <c:pt idx="9661">
                        <c:v>0</c:v>
                      </c:pt>
                      <c:pt idx="9662">
                        <c:v>0</c:v>
                      </c:pt>
                      <c:pt idx="9663">
                        <c:v>0</c:v>
                      </c:pt>
                      <c:pt idx="9664">
                        <c:v>0</c:v>
                      </c:pt>
                      <c:pt idx="9665">
                        <c:v>0</c:v>
                      </c:pt>
                      <c:pt idx="9666">
                        <c:v>0</c:v>
                      </c:pt>
                      <c:pt idx="9667">
                        <c:v>0</c:v>
                      </c:pt>
                      <c:pt idx="9668">
                        <c:v>0</c:v>
                      </c:pt>
                      <c:pt idx="9669">
                        <c:v>0</c:v>
                      </c:pt>
                      <c:pt idx="9670">
                        <c:v>0</c:v>
                      </c:pt>
                      <c:pt idx="9671">
                        <c:v>0</c:v>
                      </c:pt>
                      <c:pt idx="9672">
                        <c:v>0</c:v>
                      </c:pt>
                      <c:pt idx="9673">
                        <c:v>0</c:v>
                      </c:pt>
                      <c:pt idx="9674">
                        <c:v>0</c:v>
                      </c:pt>
                      <c:pt idx="9675">
                        <c:v>0</c:v>
                      </c:pt>
                      <c:pt idx="9676">
                        <c:v>0</c:v>
                      </c:pt>
                      <c:pt idx="9677">
                        <c:v>0</c:v>
                      </c:pt>
                      <c:pt idx="9678">
                        <c:v>0</c:v>
                      </c:pt>
                      <c:pt idx="9679">
                        <c:v>0</c:v>
                      </c:pt>
                      <c:pt idx="9680">
                        <c:v>0</c:v>
                      </c:pt>
                      <c:pt idx="9681">
                        <c:v>0</c:v>
                      </c:pt>
                      <c:pt idx="9682">
                        <c:v>0</c:v>
                      </c:pt>
                      <c:pt idx="9683">
                        <c:v>0</c:v>
                      </c:pt>
                      <c:pt idx="9684">
                        <c:v>0</c:v>
                      </c:pt>
                      <c:pt idx="9685">
                        <c:v>0</c:v>
                      </c:pt>
                      <c:pt idx="9686">
                        <c:v>0</c:v>
                      </c:pt>
                      <c:pt idx="9687">
                        <c:v>0</c:v>
                      </c:pt>
                      <c:pt idx="9688">
                        <c:v>0</c:v>
                      </c:pt>
                      <c:pt idx="9689">
                        <c:v>0</c:v>
                      </c:pt>
                      <c:pt idx="9690">
                        <c:v>0</c:v>
                      </c:pt>
                      <c:pt idx="9691">
                        <c:v>0</c:v>
                      </c:pt>
                      <c:pt idx="9692">
                        <c:v>0</c:v>
                      </c:pt>
                      <c:pt idx="9693">
                        <c:v>0</c:v>
                      </c:pt>
                      <c:pt idx="9694">
                        <c:v>0</c:v>
                      </c:pt>
                      <c:pt idx="9695">
                        <c:v>0</c:v>
                      </c:pt>
                      <c:pt idx="9696">
                        <c:v>0</c:v>
                      </c:pt>
                      <c:pt idx="9697">
                        <c:v>0</c:v>
                      </c:pt>
                      <c:pt idx="9698">
                        <c:v>0</c:v>
                      </c:pt>
                      <c:pt idx="9699">
                        <c:v>0</c:v>
                      </c:pt>
                      <c:pt idx="9700">
                        <c:v>0</c:v>
                      </c:pt>
                      <c:pt idx="9701">
                        <c:v>0</c:v>
                      </c:pt>
                      <c:pt idx="9702">
                        <c:v>0</c:v>
                      </c:pt>
                      <c:pt idx="9703">
                        <c:v>0</c:v>
                      </c:pt>
                      <c:pt idx="9704">
                        <c:v>0</c:v>
                      </c:pt>
                      <c:pt idx="9705">
                        <c:v>0</c:v>
                      </c:pt>
                      <c:pt idx="9706">
                        <c:v>0</c:v>
                      </c:pt>
                      <c:pt idx="9707">
                        <c:v>0</c:v>
                      </c:pt>
                      <c:pt idx="9708">
                        <c:v>0</c:v>
                      </c:pt>
                      <c:pt idx="9709">
                        <c:v>0</c:v>
                      </c:pt>
                      <c:pt idx="9710">
                        <c:v>0</c:v>
                      </c:pt>
                      <c:pt idx="9711">
                        <c:v>0</c:v>
                      </c:pt>
                      <c:pt idx="9712">
                        <c:v>0</c:v>
                      </c:pt>
                      <c:pt idx="9713">
                        <c:v>0</c:v>
                      </c:pt>
                      <c:pt idx="9714">
                        <c:v>0</c:v>
                      </c:pt>
                      <c:pt idx="9715">
                        <c:v>0</c:v>
                      </c:pt>
                      <c:pt idx="9716">
                        <c:v>0</c:v>
                      </c:pt>
                      <c:pt idx="9717">
                        <c:v>0</c:v>
                      </c:pt>
                      <c:pt idx="9718">
                        <c:v>0</c:v>
                      </c:pt>
                      <c:pt idx="9719">
                        <c:v>0</c:v>
                      </c:pt>
                      <c:pt idx="9720">
                        <c:v>0</c:v>
                      </c:pt>
                      <c:pt idx="9721">
                        <c:v>0</c:v>
                      </c:pt>
                      <c:pt idx="9722">
                        <c:v>0</c:v>
                      </c:pt>
                      <c:pt idx="9723">
                        <c:v>0</c:v>
                      </c:pt>
                      <c:pt idx="9724">
                        <c:v>0</c:v>
                      </c:pt>
                      <c:pt idx="9725">
                        <c:v>0</c:v>
                      </c:pt>
                      <c:pt idx="9726">
                        <c:v>0</c:v>
                      </c:pt>
                      <c:pt idx="9727">
                        <c:v>0</c:v>
                      </c:pt>
                      <c:pt idx="9728">
                        <c:v>0</c:v>
                      </c:pt>
                      <c:pt idx="9729">
                        <c:v>0</c:v>
                      </c:pt>
                      <c:pt idx="9730">
                        <c:v>0</c:v>
                      </c:pt>
                      <c:pt idx="9731">
                        <c:v>0</c:v>
                      </c:pt>
                      <c:pt idx="9732">
                        <c:v>0</c:v>
                      </c:pt>
                      <c:pt idx="9733">
                        <c:v>0</c:v>
                      </c:pt>
                      <c:pt idx="9734">
                        <c:v>0</c:v>
                      </c:pt>
                      <c:pt idx="9735">
                        <c:v>0</c:v>
                      </c:pt>
                      <c:pt idx="9736">
                        <c:v>0</c:v>
                      </c:pt>
                      <c:pt idx="9737">
                        <c:v>0</c:v>
                      </c:pt>
                      <c:pt idx="9738">
                        <c:v>0</c:v>
                      </c:pt>
                      <c:pt idx="9739">
                        <c:v>0</c:v>
                      </c:pt>
                      <c:pt idx="9740">
                        <c:v>0</c:v>
                      </c:pt>
                      <c:pt idx="9741">
                        <c:v>0</c:v>
                      </c:pt>
                      <c:pt idx="9742">
                        <c:v>0</c:v>
                      </c:pt>
                      <c:pt idx="9743">
                        <c:v>0</c:v>
                      </c:pt>
                      <c:pt idx="9744">
                        <c:v>0</c:v>
                      </c:pt>
                      <c:pt idx="9745">
                        <c:v>0</c:v>
                      </c:pt>
                      <c:pt idx="9746">
                        <c:v>0</c:v>
                      </c:pt>
                      <c:pt idx="9747">
                        <c:v>0</c:v>
                      </c:pt>
                      <c:pt idx="9748">
                        <c:v>0</c:v>
                      </c:pt>
                      <c:pt idx="9749">
                        <c:v>0</c:v>
                      </c:pt>
                      <c:pt idx="9750">
                        <c:v>0</c:v>
                      </c:pt>
                      <c:pt idx="9751">
                        <c:v>0</c:v>
                      </c:pt>
                      <c:pt idx="9752">
                        <c:v>0</c:v>
                      </c:pt>
                      <c:pt idx="9753">
                        <c:v>0</c:v>
                      </c:pt>
                      <c:pt idx="9754">
                        <c:v>0</c:v>
                      </c:pt>
                      <c:pt idx="9755">
                        <c:v>0</c:v>
                      </c:pt>
                      <c:pt idx="9756">
                        <c:v>0</c:v>
                      </c:pt>
                      <c:pt idx="9757">
                        <c:v>0</c:v>
                      </c:pt>
                      <c:pt idx="9758">
                        <c:v>0</c:v>
                      </c:pt>
                      <c:pt idx="9759">
                        <c:v>0</c:v>
                      </c:pt>
                      <c:pt idx="9760">
                        <c:v>0</c:v>
                      </c:pt>
                      <c:pt idx="9761">
                        <c:v>0</c:v>
                      </c:pt>
                      <c:pt idx="9762">
                        <c:v>0</c:v>
                      </c:pt>
                      <c:pt idx="9763">
                        <c:v>0</c:v>
                      </c:pt>
                      <c:pt idx="9764">
                        <c:v>0</c:v>
                      </c:pt>
                      <c:pt idx="9765">
                        <c:v>0</c:v>
                      </c:pt>
                      <c:pt idx="9766">
                        <c:v>0</c:v>
                      </c:pt>
                      <c:pt idx="9767">
                        <c:v>0</c:v>
                      </c:pt>
                      <c:pt idx="9768">
                        <c:v>0</c:v>
                      </c:pt>
                      <c:pt idx="9769">
                        <c:v>0</c:v>
                      </c:pt>
                      <c:pt idx="9770">
                        <c:v>0</c:v>
                      </c:pt>
                      <c:pt idx="9771">
                        <c:v>0</c:v>
                      </c:pt>
                      <c:pt idx="9772">
                        <c:v>0</c:v>
                      </c:pt>
                      <c:pt idx="9773">
                        <c:v>0</c:v>
                      </c:pt>
                      <c:pt idx="9774">
                        <c:v>0</c:v>
                      </c:pt>
                      <c:pt idx="9775">
                        <c:v>0</c:v>
                      </c:pt>
                      <c:pt idx="9776">
                        <c:v>0</c:v>
                      </c:pt>
                      <c:pt idx="9777">
                        <c:v>0</c:v>
                      </c:pt>
                      <c:pt idx="9778">
                        <c:v>0</c:v>
                      </c:pt>
                      <c:pt idx="9779">
                        <c:v>0</c:v>
                      </c:pt>
                      <c:pt idx="9780">
                        <c:v>0</c:v>
                      </c:pt>
                      <c:pt idx="9781">
                        <c:v>0</c:v>
                      </c:pt>
                      <c:pt idx="9782">
                        <c:v>0</c:v>
                      </c:pt>
                      <c:pt idx="9783">
                        <c:v>0</c:v>
                      </c:pt>
                      <c:pt idx="9784">
                        <c:v>0</c:v>
                      </c:pt>
                      <c:pt idx="9785">
                        <c:v>0</c:v>
                      </c:pt>
                      <c:pt idx="9786">
                        <c:v>0</c:v>
                      </c:pt>
                      <c:pt idx="9787">
                        <c:v>0</c:v>
                      </c:pt>
                      <c:pt idx="9788">
                        <c:v>0</c:v>
                      </c:pt>
                      <c:pt idx="9789">
                        <c:v>0</c:v>
                      </c:pt>
                      <c:pt idx="9790">
                        <c:v>0</c:v>
                      </c:pt>
                      <c:pt idx="9791">
                        <c:v>0</c:v>
                      </c:pt>
                      <c:pt idx="9792">
                        <c:v>0</c:v>
                      </c:pt>
                      <c:pt idx="9793">
                        <c:v>0</c:v>
                      </c:pt>
                      <c:pt idx="9794">
                        <c:v>0</c:v>
                      </c:pt>
                      <c:pt idx="9795">
                        <c:v>0</c:v>
                      </c:pt>
                      <c:pt idx="9796">
                        <c:v>0</c:v>
                      </c:pt>
                      <c:pt idx="9797">
                        <c:v>0</c:v>
                      </c:pt>
                      <c:pt idx="9798">
                        <c:v>0</c:v>
                      </c:pt>
                      <c:pt idx="9799">
                        <c:v>0</c:v>
                      </c:pt>
                      <c:pt idx="9800">
                        <c:v>0</c:v>
                      </c:pt>
                      <c:pt idx="9801">
                        <c:v>0</c:v>
                      </c:pt>
                      <c:pt idx="9802">
                        <c:v>0</c:v>
                      </c:pt>
                      <c:pt idx="9803">
                        <c:v>0</c:v>
                      </c:pt>
                      <c:pt idx="9804">
                        <c:v>0</c:v>
                      </c:pt>
                      <c:pt idx="9805">
                        <c:v>0</c:v>
                      </c:pt>
                      <c:pt idx="9806">
                        <c:v>0</c:v>
                      </c:pt>
                      <c:pt idx="9807">
                        <c:v>0</c:v>
                      </c:pt>
                      <c:pt idx="9808">
                        <c:v>0</c:v>
                      </c:pt>
                      <c:pt idx="9809">
                        <c:v>0</c:v>
                      </c:pt>
                      <c:pt idx="9810">
                        <c:v>0</c:v>
                      </c:pt>
                      <c:pt idx="9811">
                        <c:v>0</c:v>
                      </c:pt>
                      <c:pt idx="9812">
                        <c:v>0</c:v>
                      </c:pt>
                      <c:pt idx="9813">
                        <c:v>0</c:v>
                      </c:pt>
                      <c:pt idx="9814">
                        <c:v>0</c:v>
                      </c:pt>
                      <c:pt idx="9815">
                        <c:v>0</c:v>
                      </c:pt>
                      <c:pt idx="9816">
                        <c:v>0</c:v>
                      </c:pt>
                      <c:pt idx="9817">
                        <c:v>0</c:v>
                      </c:pt>
                      <c:pt idx="9818">
                        <c:v>0</c:v>
                      </c:pt>
                      <c:pt idx="9819">
                        <c:v>0</c:v>
                      </c:pt>
                      <c:pt idx="9820">
                        <c:v>0</c:v>
                      </c:pt>
                      <c:pt idx="9821">
                        <c:v>0</c:v>
                      </c:pt>
                      <c:pt idx="9822">
                        <c:v>0</c:v>
                      </c:pt>
                      <c:pt idx="9823">
                        <c:v>0</c:v>
                      </c:pt>
                      <c:pt idx="9824">
                        <c:v>0</c:v>
                      </c:pt>
                      <c:pt idx="9825">
                        <c:v>0</c:v>
                      </c:pt>
                      <c:pt idx="9826">
                        <c:v>0</c:v>
                      </c:pt>
                      <c:pt idx="9827">
                        <c:v>0</c:v>
                      </c:pt>
                      <c:pt idx="9828">
                        <c:v>0</c:v>
                      </c:pt>
                      <c:pt idx="9829">
                        <c:v>0</c:v>
                      </c:pt>
                      <c:pt idx="9830">
                        <c:v>0</c:v>
                      </c:pt>
                      <c:pt idx="9831">
                        <c:v>0</c:v>
                      </c:pt>
                      <c:pt idx="9832">
                        <c:v>0</c:v>
                      </c:pt>
                      <c:pt idx="9833">
                        <c:v>0</c:v>
                      </c:pt>
                      <c:pt idx="9834">
                        <c:v>0</c:v>
                      </c:pt>
                      <c:pt idx="9835">
                        <c:v>0</c:v>
                      </c:pt>
                      <c:pt idx="9836">
                        <c:v>0</c:v>
                      </c:pt>
                      <c:pt idx="9837">
                        <c:v>0</c:v>
                      </c:pt>
                      <c:pt idx="9838">
                        <c:v>0</c:v>
                      </c:pt>
                      <c:pt idx="9839">
                        <c:v>0</c:v>
                      </c:pt>
                      <c:pt idx="9840">
                        <c:v>0</c:v>
                      </c:pt>
                      <c:pt idx="9841">
                        <c:v>0</c:v>
                      </c:pt>
                      <c:pt idx="9842">
                        <c:v>0</c:v>
                      </c:pt>
                      <c:pt idx="9843">
                        <c:v>0</c:v>
                      </c:pt>
                      <c:pt idx="9844">
                        <c:v>0</c:v>
                      </c:pt>
                      <c:pt idx="9845">
                        <c:v>0</c:v>
                      </c:pt>
                      <c:pt idx="9846">
                        <c:v>0</c:v>
                      </c:pt>
                      <c:pt idx="9847">
                        <c:v>0</c:v>
                      </c:pt>
                      <c:pt idx="9848">
                        <c:v>0</c:v>
                      </c:pt>
                      <c:pt idx="9849">
                        <c:v>0</c:v>
                      </c:pt>
                      <c:pt idx="9850">
                        <c:v>0</c:v>
                      </c:pt>
                      <c:pt idx="9851">
                        <c:v>0</c:v>
                      </c:pt>
                      <c:pt idx="9852">
                        <c:v>0</c:v>
                      </c:pt>
                      <c:pt idx="9853">
                        <c:v>0</c:v>
                      </c:pt>
                      <c:pt idx="9854">
                        <c:v>0</c:v>
                      </c:pt>
                      <c:pt idx="9855">
                        <c:v>0</c:v>
                      </c:pt>
                      <c:pt idx="9856">
                        <c:v>0</c:v>
                      </c:pt>
                      <c:pt idx="9857">
                        <c:v>0</c:v>
                      </c:pt>
                      <c:pt idx="9858">
                        <c:v>0</c:v>
                      </c:pt>
                      <c:pt idx="9859">
                        <c:v>0</c:v>
                      </c:pt>
                      <c:pt idx="9860">
                        <c:v>0</c:v>
                      </c:pt>
                      <c:pt idx="9861">
                        <c:v>0</c:v>
                      </c:pt>
                      <c:pt idx="9862">
                        <c:v>0</c:v>
                      </c:pt>
                      <c:pt idx="9863">
                        <c:v>0</c:v>
                      </c:pt>
                      <c:pt idx="9864">
                        <c:v>0</c:v>
                      </c:pt>
                      <c:pt idx="9865">
                        <c:v>0</c:v>
                      </c:pt>
                      <c:pt idx="9866">
                        <c:v>0</c:v>
                      </c:pt>
                      <c:pt idx="9867">
                        <c:v>0</c:v>
                      </c:pt>
                      <c:pt idx="9868">
                        <c:v>0</c:v>
                      </c:pt>
                      <c:pt idx="9869">
                        <c:v>0</c:v>
                      </c:pt>
                      <c:pt idx="9870">
                        <c:v>0</c:v>
                      </c:pt>
                      <c:pt idx="9871">
                        <c:v>0</c:v>
                      </c:pt>
                      <c:pt idx="9872">
                        <c:v>0</c:v>
                      </c:pt>
                      <c:pt idx="9873">
                        <c:v>0</c:v>
                      </c:pt>
                      <c:pt idx="9874">
                        <c:v>0</c:v>
                      </c:pt>
                      <c:pt idx="9875">
                        <c:v>0</c:v>
                      </c:pt>
                      <c:pt idx="9876">
                        <c:v>0</c:v>
                      </c:pt>
                      <c:pt idx="9877">
                        <c:v>0</c:v>
                      </c:pt>
                      <c:pt idx="9878">
                        <c:v>0</c:v>
                      </c:pt>
                      <c:pt idx="9879">
                        <c:v>0</c:v>
                      </c:pt>
                      <c:pt idx="9880">
                        <c:v>0</c:v>
                      </c:pt>
                      <c:pt idx="9881">
                        <c:v>0</c:v>
                      </c:pt>
                      <c:pt idx="9882">
                        <c:v>0</c:v>
                      </c:pt>
                      <c:pt idx="9883">
                        <c:v>0</c:v>
                      </c:pt>
                      <c:pt idx="9884">
                        <c:v>0</c:v>
                      </c:pt>
                      <c:pt idx="9885">
                        <c:v>0</c:v>
                      </c:pt>
                      <c:pt idx="9886">
                        <c:v>0</c:v>
                      </c:pt>
                      <c:pt idx="9887">
                        <c:v>0</c:v>
                      </c:pt>
                      <c:pt idx="9888">
                        <c:v>0</c:v>
                      </c:pt>
                      <c:pt idx="9889">
                        <c:v>0</c:v>
                      </c:pt>
                      <c:pt idx="9890">
                        <c:v>0</c:v>
                      </c:pt>
                      <c:pt idx="9891">
                        <c:v>0</c:v>
                      </c:pt>
                      <c:pt idx="9892">
                        <c:v>0</c:v>
                      </c:pt>
                      <c:pt idx="9893">
                        <c:v>0</c:v>
                      </c:pt>
                      <c:pt idx="9894">
                        <c:v>0</c:v>
                      </c:pt>
                      <c:pt idx="9895">
                        <c:v>0</c:v>
                      </c:pt>
                      <c:pt idx="9896">
                        <c:v>0</c:v>
                      </c:pt>
                      <c:pt idx="9897">
                        <c:v>0</c:v>
                      </c:pt>
                      <c:pt idx="9898">
                        <c:v>0</c:v>
                      </c:pt>
                      <c:pt idx="9899">
                        <c:v>0</c:v>
                      </c:pt>
                      <c:pt idx="9900">
                        <c:v>0</c:v>
                      </c:pt>
                      <c:pt idx="9901">
                        <c:v>0</c:v>
                      </c:pt>
                      <c:pt idx="9902">
                        <c:v>0</c:v>
                      </c:pt>
                      <c:pt idx="9903">
                        <c:v>0</c:v>
                      </c:pt>
                      <c:pt idx="9904">
                        <c:v>0</c:v>
                      </c:pt>
                      <c:pt idx="9905">
                        <c:v>0</c:v>
                      </c:pt>
                      <c:pt idx="9906">
                        <c:v>0</c:v>
                      </c:pt>
                      <c:pt idx="9907">
                        <c:v>0</c:v>
                      </c:pt>
                      <c:pt idx="9908">
                        <c:v>0</c:v>
                      </c:pt>
                      <c:pt idx="9909">
                        <c:v>0</c:v>
                      </c:pt>
                      <c:pt idx="9910">
                        <c:v>0</c:v>
                      </c:pt>
                      <c:pt idx="9911">
                        <c:v>0</c:v>
                      </c:pt>
                      <c:pt idx="9912">
                        <c:v>0</c:v>
                      </c:pt>
                      <c:pt idx="9913">
                        <c:v>0</c:v>
                      </c:pt>
                      <c:pt idx="9914">
                        <c:v>0</c:v>
                      </c:pt>
                      <c:pt idx="9915">
                        <c:v>0</c:v>
                      </c:pt>
                      <c:pt idx="9916">
                        <c:v>0</c:v>
                      </c:pt>
                      <c:pt idx="9917">
                        <c:v>0</c:v>
                      </c:pt>
                      <c:pt idx="9918">
                        <c:v>0</c:v>
                      </c:pt>
                      <c:pt idx="9919">
                        <c:v>0</c:v>
                      </c:pt>
                      <c:pt idx="9920">
                        <c:v>0</c:v>
                      </c:pt>
                      <c:pt idx="9921">
                        <c:v>0</c:v>
                      </c:pt>
                      <c:pt idx="9922">
                        <c:v>0</c:v>
                      </c:pt>
                      <c:pt idx="9923">
                        <c:v>0</c:v>
                      </c:pt>
                      <c:pt idx="9924">
                        <c:v>0</c:v>
                      </c:pt>
                      <c:pt idx="9925">
                        <c:v>0</c:v>
                      </c:pt>
                      <c:pt idx="9926">
                        <c:v>0</c:v>
                      </c:pt>
                      <c:pt idx="9927">
                        <c:v>0</c:v>
                      </c:pt>
                      <c:pt idx="9928">
                        <c:v>0</c:v>
                      </c:pt>
                      <c:pt idx="9929">
                        <c:v>0</c:v>
                      </c:pt>
                      <c:pt idx="9930">
                        <c:v>0</c:v>
                      </c:pt>
                      <c:pt idx="9931">
                        <c:v>0</c:v>
                      </c:pt>
                      <c:pt idx="9932">
                        <c:v>0</c:v>
                      </c:pt>
                      <c:pt idx="9933">
                        <c:v>0</c:v>
                      </c:pt>
                      <c:pt idx="9934">
                        <c:v>0</c:v>
                      </c:pt>
                      <c:pt idx="9935">
                        <c:v>0</c:v>
                      </c:pt>
                      <c:pt idx="9936">
                        <c:v>0</c:v>
                      </c:pt>
                      <c:pt idx="9937">
                        <c:v>0</c:v>
                      </c:pt>
                      <c:pt idx="9938">
                        <c:v>0</c:v>
                      </c:pt>
                      <c:pt idx="9939">
                        <c:v>0</c:v>
                      </c:pt>
                      <c:pt idx="9940">
                        <c:v>0</c:v>
                      </c:pt>
                      <c:pt idx="9941">
                        <c:v>0</c:v>
                      </c:pt>
                      <c:pt idx="9942">
                        <c:v>0</c:v>
                      </c:pt>
                      <c:pt idx="9943">
                        <c:v>0</c:v>
                      </c:pt>
                      <c:pt idx="9944">
                        <c:v>0</c:v>
                      </c:pt>
                      <c:pt idx="9945">
                        <c:v>0</c:v>
                      </c:pt>
                      <c:pt idx="9946">
                        <c:v>0</c:v>
                      </c:pt>
                      <c:pt idx="9947">
                        <c:v>0</c:v>
                      </c:pt>
                      <c:pt idx="9948">
                        <c:v>0</c:v>
                      </c:pt>
                      <c:pt idx="9949">
                        <c:v>0</c:v>
                      </c:pt>
                      <c:pt idx="9950">
                        <c:v>0</c:v>
                      </c:pt>
                      <c:pt idx="9951">
                        <c:v>0</c:v>
                      </c:pt>
                      <c:pt idx="9952">
                        <c:v>0</c:v>
                      </c:pt>
                      <c:pt idx="9953">
                        <c:v>0</c:v>
                      </c:pt>
                      <c:pt idx="9954">
                        <c:v>0</c:v>
                      </c:pt>
                      <c:pt idx="9955">
                        <c:v>0</c:v>
                      </c:pt>
                      <c:pt idx="9956">
                        <c:v>0</c:v>
                      </c:pt>
                      <c:pt idx="9957">
                        <c:v>0</c:v>
                      </c:pt>
                      <c:pt idx="9958">
                        <c:v>0</c:v>
                      </c:pt>
                      <c:pt idx="9959">
                        <c:v>0</c:v>
                      </c:pt>
                      <c:pt idx="9960">
                        <c:v>0</c:v>
                      </c:pt>
                      <c:pt idx="9961">
                        <c:v>0</c:v>
                      </c:pt>
                      <c:pt idx="9962">
                        <c:v>0</c:v>
                      </c:pt>
                      <c:pt idx="9963">
                        <c:v>0</c:v>
                      </c:pt>
                      <c:pt idx="9964">
                        <c:v>0</c:v>
                      </c:pt>
                      <c:pt idx="9965">
                        <c:v>0</c:v>
                      </c:pt>
                      <c:pt idx="9966">
                        <c:v>0</c:v>
                      </c:pt>
                      <c:pt idx="9967">
                        <c:v>0</c:v>
                      </c:pt>
                      <c:pt idx="9968">
                        <c:v>0</c:v>
                      </c:pt>
                      <c:pt idx="9969">
                        <c:v>0</c:v>
                      </c:pt>
                      <c:pt idx="9970">
                        <c:v>0</c:v>
                      </c:pt>
                      <c:pt idx="9971">
                        <c:v>0</c:v>
                      </c:pt>
                      <c:pt idx="9972">
                        <c:v>0</c:v>
                      </c:pt>
                      <c:pt idx="9973">
                        <c:v>0</c:v>
                      </c:pt>
                      <c:pt idx="9974">
                        <c:v>0</c:v>
                      </c:pt>
                      <c:pt idx="9975">
                        <c:v>0</c:v>
                      </c:pt>
                      <c:pt idx="9976">
                        <c:v>0</c:v>
                      </c:pt>
                      <c:pt idx="9977">
                        <c:v>0</c:v>
                      </c:pt>
                      <c:pt idx="9978">
                        <c:v>0</c:v>
                      </c:pt>
                      <c:pt idx="9979">
                        <c:v>0</c:v>
                      </c:pt>
                      <c:pt idx="9980">
                        <c:v>0</c:v>
                      </c:pt>
                      <c:pt idx="9981">
                        <c:v>0</c:v>
                      </c:pt>
                      <c:pt idx="9982">
                        <c:v>0</c:v>
                      </c:pt>
                      <c:pt idx="9983">
                        <c:v>0</c:v>
                      </c:pt>
                      <c:pt idx="9984">
                        <c:v>0</c:v>
                      </c:pt>
                      <c:pt idx="9985">
                        <c:v>0</c:v>
                      </c:pt>
                      <c:pt idx="9986">
                        <c:v>0</c:v>
                      </c:pt>
                      <c:pt idx="9987">
                        <c:v>0</c:v>
                      </c:pt>
                      <c:pt idx="9988">
                        <c:v>0</c:v>
                      </c:pt>
                      <c:pt idx="9989">
                        <c:v>0</c:v>
                      </c:pt>
                      <c:pt idx="9990">
                        <c:v>0</c:v>
                      </c:pt>
                      <c:pt idx="9991">
                        <c:v>0</c:v>
                      </c:pt>
                      <c:pt idx="9992">
                        <c:v>0</c:v>
                      </c:pt>
                      <c:pt idx="9993">
                        <c:v>0</c:v>
                      </c:pt>
                      <c:pt idx="9994">
                        <c:v>0</c:v>
                      </c:pt>
                      <c:pt idx="9995">
                        <c:v>0</c:v>
                      </c:pt>
                      <c:pt idx="9996">
                        <c:v>0</c:v>
                      </c:pt>
                      <c:pt idx="9997">
                        <c:v>0</c:v>
                      </c:pt>
                      <c:pt idx="9998">
                        <c:v>0</c:v>
                      </c:pt>
                      <c:pt idx="9999">
                        <c:v>0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5B16-4CE3-BBDE-FCE167CDF696}"/>
                  </c:ext>
                </c:extLst>
              </c15:ser>
            </c15:filteredLineSeries>
          </c:ext>
        </c:extLst>
      </c:lineChart>
      <c:valAx>
        <c:axId val="600018703"/>
        <c:scaling>
          <c:orientation val="minMax"/>
          <c:max val="10"/>
          <c:min val="-10"/>
        </c:scaling>
        <c:delete val="0"/>
        <c:axPos val="l"/>
        <c:majorGridlines/>
        <c:numFmt formatCode="General" sourceLinked="1"/>
        <c:majorTickMark val="cross"/>
        <c:minorTickMark val="cross"/>
        <c:tickLblPos val="nextTo"/>
        <c:crossAx val="1"/>
        <c:crosses val="autoZero"/>
        <c:crossBetween val="between"/>
      </c:valAx>
      <c:catAx>
        <c:axId val="1"/>
        <c:scaling>
          <c:orientation val="minMax"/>
        </c:scaling>
        <c:delete val="0"/>
        <c:axPos val="b"/>
        <c:numFmt formatCode="General" sourceLinked="0"/>
        <c:majorTickMark val="cross"/>
        <c:minorTickMark val="cross"/>
        <c:tickLblPos val="none"/>
        <c:spPr>
          <a:ln>
            <a:noFill/>
          </a:ln>
        </c:spPr>
        <c:crossAx val="600018703"/>
        <c:crosses val="autoZero"/>
        <c:auto val="1"/>
        <c:lblAlgn val="ctr"/>
        <c:lblOffset val="100"/>
        <c:noMultiLvlLbl val="1"/>
      </c:catAx>
    </c:plotArea>
    <c:plotVisOnly val="1"/>
    <c:dispBlanksAs val="zero"/>
    <c:showDLblsOverMax val="1"/>
  </c:chart>
  <c:spPr>
    <a:solidFill>
      <a:srgbClr val="FFFFFF"/>
    </a:solidFill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21582" cy="495347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18971" y="3"/>
            <a:ext cx="2921582" cy="495347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r">
              <a:defRPr sz="1200"/>
            </a:lvl1pPr>
          </a:lstStyle>
          <a:p>
            <a:fld id="{040345CF-75E2-4DEE-813B-8F67E5BE102E}" type="datetimeFigureOut">
              <a:rPr lang="nl-NL" smtClean="0"/>
              <a:t>29-9-2022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1" y="9377317"/>
            <a:ext cx="2921582" cy="495346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18971" y="9377317"/>
            <a:ext cx="2921582" cy="495346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r">
              <a:defRPr sz="1200"/>
            </a:lvl1pPr>
          </a:lstStyle>
          <a:p>
            <a:fld id="{15B175B1-DE86-4898-A0A0-87A615F7BDD2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638702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21582" cy="495347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18971" y="3"/>
            <a:ext cx="2921582" cy="495347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r">
              <a:defRPr sz="1200"/>
            </a:lvl1pPr>
          </a:lstStyle>
          <a:p>
            <a:fld id="{55F73AE2-82B3-4369-9D52-4D395D63F91C}" type="datetimeFigureOut">
              <a:rPr lang="nl-NL" smtClean="0"/>
              <a:t>29-9-2022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33488"/>
            <a:ext cx="5926137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20" tIns="45560" rIns="91120" bIns="4556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4212" y="4751221"/>
            <a:ext cx="5393690" cy="3887361"/>
          </a:xfrm>
          <a:prstGeom prst="rect">
            <a:avLst/>
          </a:prstGeom>
        </p:spPr>
        <p:txBody>
          <a:bodyPr vert="horz" lIns="91120" tIns="45560" rIns="91120" bIns="4556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377317"/>
            <a:ext cx="2921582" cy="495346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18971" y="9377317"/>
            <a:ext cx="2921582" cy="495346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r">
              <a:defRPr sz="1200"/>
            </a:lvl1pPr>
          </a:lstStyle>
          <a:p>
            <a:fld id="{8FADD0AE-0363-457F-9FDA-21A489EDFFC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2943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024416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74515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ood </a:t>
            </a:r>
            <a:r>
              <a:rPr lang="en-GB" dirty="0" err="1"/>
              <a:t>circltje</a:t>
            </a:r>
            <a:r>
              <a:rPr lang="en-GB" dirty="0"/>
              <a:t> om spikes </a:t>
            </a:r>
            <a:r>
              <a:rPr lang="en-GB" dirty="0" err="1"/>
              <a:t>hee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448059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ood </a:t>
            </a:r>
            <a:r>
              <a:rPr lang="en-GB" dirty="0" err="1"/>
              <a:t>circltje</a:t>
            </a:r>
            <a:r>
              <a:rPr lang="en-GB" dirty="0"/>
              <a:t> om spikes </a:t>
            </a:r>
            <a:r>
              <a:rPr lang="en-GB" dirty="0" err="1"/>
              <a:t>hee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008931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ood </a:t>
            </a:r>
            <a:r>
              <a:rPr lang="en-GB" dirty="0" err="1"/>
              <a:t>circltje</a:t>
            </a:r>
            <a:r>
              <a:rPr lang="en-GB" dirty="0"/>
              <a:t> om spikes </a:t>
            </a:r>
            <a:r>
              <a:rPr lang="en-GB" dirty="0" err="1"/>
              <a:t>hee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524291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ood </a:t>
            </a:r>
            <a:r>
              <a:rPr lang="en-GB" dirty="0" err="1"/>
              <a:t>circltje</a:t>
            </a:r>
            <a:r>
              <a:rPr lang="en-GB" dirty="0"/>
              <a:t> om spikes </a:t>
            </a:r>
            <a:r>
              <a:rPr lang="en-GB" dirty="0" err="1"/>
              <a:t>hee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26050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19238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91575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79433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437936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709680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Vernoemen</a:t>
            </a:r>
            <a:r>
              <a:rPr lang="en-GB" dirty="0"/>
              <a:t> </a:t>
            </a:r>
            <a:r>
              <a:rPr lang="en-GB" dirty="0" err="1"/>
              <a:t>dat</a:t>
            </a:r>
            <a:r>
              <a:rPr lang="en-GB" dirty="0"/>
              <a:t> 1-6 </a:t>
            </a:r>
            <a:r>
              <a:rPr lang="en-GB" dirty="0" err="1"/>
              <a:t>alleen</a:t>
            </a:r>
            <a:r>
              <a:rPr lang="en-GB" dirty="0"/>
              <a:t> “Ta” </a:t>
            </a:r>
            <a:r>
              <a:rPr lang="en-GB" dirty="0" err="1"/>
              <a:t>heeft</a:t>
            </a:r>
            <a:r>
              <a:rPr lang="en-GB" dirty="0"/>
              <a:t>, “Ra” gearbox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72346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298180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984096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611073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DD0AE-0363-457F-9FDA-21A489EDFFC4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9212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1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5.jpeg"/><Relationship Id="rId5" Type="http://schemas.openxmlformats.org/officeDocument/2006/relationships/image" Target="../media/image12.jpg"/><Relationship Id="rId4" Type="http://schemas.openxmlformats.org/officeDocument/2006/relationships/image" Target="../media/image24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09yTK-OTEPA" TargetMode="External"/><Relationship Id="rId7" Type="http://schemas.openxmlformats.org/officeDocument/2006/relationships/hyperlink" Target="http://www.pptsolutions.nl/" TargetMode="External"/><Relationship Id="rId2" Type="http://schemas.openxmlformats.org/officeDocument/2006/relationships/hyperlink" Target="https://youtu.be/hM16rifWsjU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youtu.be/H_4HH09zxC0" TargetMode="External"/><Relationship Id="rId5" Type="http://schemas.openxmlformats.org/officeDocument/2006/relationships/hyperlink" Target="https://youtu.be/IIjbiKAotek" TargetMode="External"/><Relationship Id="rId4" Type="http://schemas.openxmlformats.org/officeDocument/2006/relationships/hyperlink" Target="https://youtu.be/fbByse1_RSY" TargetMode="Externa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3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3.png"/></Relationships>
</file>

<file path=ppt/slideLayouts/_rels/slideLayout1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3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5.jpeg"/><Relationship Id="rId5" Type="http://schemas.openxmlformats.org/officeDocument/2006/relationships/image" Target="../media/image12.jpg"/><Relationship Id="rId4" Type="http://schemas.openxmlformats.org/officeDocument/2006/relationships/image" Target="../media/image24.jpe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09yTK-OTEPA" TargetMode="External"/><Relationship Id="rId7" Type="http://schemas.openxmlformats.org/officeDocument/2006/relationships/hyperlink" Target="http://www.pptsolutions.nl/" TargetMode="External"/><Relationship Id="rId2" Type="http://schemas.openxmlformats.org/officeDocument/2006/relationships/hyperlink" Target="https://youtu.be/hM16rifWsjU" TargetMode="External"/><Relationship Id="rId1" Type="http://schemas.openxmlformats.org/officeDocument/2006/relationships/slideMaster" Target="../slideMasters/slideMaster5.xml"/><Relationship Id="rId6" Type="http://schemas.openxmlformats.org/officeDocument/2006/relationships/hyperlink" Target="https://youtu.be/H_4HH09zxC0" TargetMode="External"/><Relationship Id="rId5" Type="http://schemas.openxmlformats.org/officeDocument/2006/relationships/hyperlink" Target="https://youtu.be/IIjbiKAotek" TargetMode="External"/><Relationship Id="rId4" Type="http://schemas.openxmlformats.org/officeDocument/2006/relationships/hyperlink" Target="https://youtu.be/fbByse1_RSY" TargetMode="Externa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3.jpeg"/><Relationship Id="rId5" Type="http://schemas.openxmlformats.org/officeDocument/2006/relationships/image" Target="../media/image12.jpg"/><Relationship Id="rId4" Type="http://schemas.openxmlformats.org/officeDocument/2006/relationships/image" Target="../media/image11.jpe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09yTK-OTEPA" TargetMode="External"/><Relationship Id="rId7" Type="http://schemas.openxmlformats.org/officeDocument/2006/relationships/hyperlink" Target="http://www.pptsolutions.nl/" TargetMode="External"/><Relationship Id="rId2" Type="http://schemas.openxmlformats.org/officeDocument/2006/relationships/hyperlink" Target="https://youtu.be/hM16rifWsjU" TargetMode="External"/><Relationship Id="rId1" Type="http://schemas.openxmlformats.org/officeDocument/2006/relationships/slideMaster" Target="../slideMasters/slideMaster6.xml"/><Relationship Id="rId6" Type="http://schemas.openxmlformats.org/officeDocument/2006/relationships/hyperlink" Target="https://youtu.be/H_4HH09zxC0" TargetMode="External"/><Relationship Id="rId5" Type="http://schemas.openxmlformats.org/officeDocument/2006/relationships/hyperlink" Target="https://youtu.be/IIjbiKAotek" TargetMode="External"/><Relationship Id="rId4" Type="http://schemas.openxmlformats.org/officeDocument/2006/relationships/hyperlink" Target="https://youtu.be/fbByse1_RSY" TargetMode="Externa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jpeg"/><Relationship Id="rId5" Type="http://schemas.openxmlformats.org/officeDocument/2006/relationships/image" Target="../media/image12.jpg"/><Relationship Id="rId4" Type="http://schemas.openxmlformats.org/officeDocument/2006/relationships/image" Target="../media/image11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09yTK-OTEPA" TargetMode="External"/><Relationship Id="rId7" Type="http://schemas.openxmlformats.org/officeDocument/2006/relationships/hyperlink" Target="http://www.pptsolutions.nl/" TargetMode="External"/><Relationship Id="rId2" Type="http://schemas.openxmlformats.org/officeDocument/2006/relationships/hyperlink" Target="https://youtu.be/hM16rifWsjU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H_4HH09zxC0" TargetMode="External"/><Relationship Id="rId5" Type="http://schemas.openxmlformats.org/officeDocument/2006/relationships/hyperlink" Target="https://youtu.be/IIjbiKAotek" TargetMode="External"/><Relationship Id="rId4" Type="http://schemas.openxmlformats.org/officeDocument/2006/relationships/hyperlink" Target="https://youtu.be/fbByse1_RSY" TargetMode="Externa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../media/image12.jpg"/><Relationship Id="rId4" Type="http://schemas.openxmlformats.org/officeDocument/2006/relationships/image" Target="../media/image11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09yTK-OTEPA" TargetMode="External"/><Relationship Id="rId7" Type="http://schemas.openxmlformats.org/officeDocument/2006/relationships/hyperlink" Target="http://www.pptsolutions.nl/" TargetMode="External"/><Relationship Id="rId2" Type="http://schemas.openxmlformats.org/officeDocument/2006/relationships/hyperlink" Target="https://youtu.be/hM16rifWsjU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H_4HH09zxC0" TargetMode="External"/><Relationship Id="rId5" Type="http://schemas.openxmlformats.org/officeDocument/2006/relationships/hyperlink" Target="https://youtu.be/IIjbiKAotek" TargetMode="External"/><Relationship Id="rId4" Type="http://schemas.openxmlformats.org/officeDocument/2006/relationships/hyperlink" Target="https://youtu.be/fbByse1_RSY" TargetMode="Externa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png"/></Relationships>
</file>

<file path=ppt/slideLayouts/_rels/slideLayout8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5.jpeg"/><Relationship Id="rId5" Type="http://schemas.openxmlformats.org/officeDocument/2006/relationships/image" Target="../media/image12.jpg"/><Relationship Id="rId4" Type="http://schemas.openxmlformats.org/officeDocument/2006/relationships/image" Target="../media/image24.jpe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09yTK-OTEPA" TargetMode="External"/><Relationship Id="rId7" Type="http://schemas.openxmlformats.org/officeDocument/2006/relationships/hyperlink" Target="http://www.pptsolutions.nl/" TargetMode="External"/><Relationship Id="rId2" Type="http://schemas.openxmlformats.org/officeDocument/2006/relationships/hyperlink" Target="https://youtu.be/hM16rifWsjU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youtu.be/H_4HH09zxC0" TargetMode="External"/><Relationship Id="rId5" Type="http://schemas.openxmlformats.org/officeDocument/2006/relationships/hyperlink" Target="https://youtu.be/IIjbiKAotek" TargetMode="External"/><Relationship Id="rId4" Type="http://schemas.openxmlformats.org/officeDocument/2006/relationships/hyperlink" Target="https://youtu.be/fbByse1_RSY" TargetMode="Externa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ekstvak 30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ro slide</a:t>
            </a:r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84" name="Afbeelding 8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35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36" name="Rechthoek 3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37" name="Ovaal 3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8" name="Rechte verbindingslijn 3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9" name="Rechte verbindingslijn 3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0" name="Rechthoek 3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2" name="Ovaal 4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4" name="Groep 43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77" name="Rechthoek 76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78" name="Rechte verbindingslijn 77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79" name="Gelijkbenige driehoek 78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45" name="Groep 4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Ovaal 71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Vrije vorm: vorm 72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Rechthoek: afgeronde hoeken 73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75" name="Rechte verbindingslijn 74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76" name="Rechte verbindingslijn 75"/>
                <p:cNvCxnSpPr>
                  <a:cxnSpLocks/>
                  <a:stCxn id="74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46" name="Ovaal 4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7" name="Rechthoek 4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8" name="Rechte verbindingslijn 4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9" name="Groep 4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Rechthoek 50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2" name="Groep 51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65" name="Rechthoek: afgeronde hoeken 64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Rechthoek 65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8" name="Rechthoek 67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9" name="Rechthoek 68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53" name="Groep 52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57" name="Groep 56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59" name="Rechthoek: afgeronde hoeken 58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0" name="Rechthoek 59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60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62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4" name="Rechthoek 63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58" name="Boog 57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54" name="Tekstvak 53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55" name="Tekstvak 54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56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8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8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82" name="Rechthoek 8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3" name="Rechte verbindingslijn 8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0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1308217" y="826943"/>
            <a:ext cx="6282061" cy="2208357"/>
          </a:xfrm>
          <a:solidFill>
            <a:schemeClr val="tx2">
              <a:alpha val="90000"/>
            </a:schemeClr>
          </a:solidFill>
        </p:spPr>
        <p:txBody>
          <a:bodyPr vert="horz"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7798" y="1331380"/>
            <a:ext cx="5822898" cy="423198"/>
          </a:xfrm>
        </p:spPr>
        <p:txBody>
          <a:bodyPr wrap="none" anchor="ctr"/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rijfsnaam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37798" y="2415716"/>
            <a:ext cx="5822898" cy="3960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66703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  <p:bldP spid="3" grpId="0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% Tekst + 7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8300" y="365126"/>
            <a:ext cx="2863850" cy="272814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2863850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67D4D-F226-49BB-9F34-C40F1A3D8743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75% tekst + 25% afbeelding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5" hasCustomPrompt="1"/>
          </p:nvPr>
        </p:nvSpPr>
        <p:spPr>
          <a:xfrm>
            <a:off x="3600449" y="0"/>
            <a:ext cx="8591551" cy="6444288"/>
          </a:xfrm>
          <a:custGeom>
            <a:avLst/>
            <a:gdLst>
              <a:gd name="connsiteX0" fmla="*/ 0 w 8591551"/>
              <a:gd name="connsiteY0" fmla="*/ 0 h 6441603"/>
              <a:gd name="connsiteX1" fmla="*/ 8591551 w 8591551"/>
              <a:gd name="connsiteY1" fmla="*/ 0 h 6441603"/>
              <a:gd name="connsiteX2" fmla="*/ 8591551 w 8591551"/>
              <a:gd name="connsiteY2" fmla="*/ 6441603 h 6441603"/>
              <a:gd name="connsiteX3" fmla="*/ 8588378 w 8591551"/>
              <a:gd name="connsiteY3" fmla="*/ 6280152 h 6441603"/>
              <a:gd name="connsiteX4" fmla="*/ 7514238 w 8591551"/>
              <a:gd name="connsiteY4" fmla="*/ 6280152 h 6441603"/>
              <a:gd name="connsiteX5" fmla="*/ 6897179 w 8591551"/>
              <a:gd name="connsiteY5" fmla="*/ 6440172 h 6441603"/>
              <a:gd name="connsiteX6" fmla="*/ 0 w 8591551"/>
              <a:gd name="connsiteY6" fmla="*/ 6441112 h 6441603"/>
              <a:gd name="connsiteX0" fmla="*/ 0 w 8591551"/>
              <a:gd name="connsiteY0" fmla="*/ 0 h 6441112"/>
              <a:gd name="connsiteX1" fmla="*/ 8591551 w 8591551"/>
              <a:gd name="connsiteY1" fmla="*/ 0 h 6441112"/>
              <a:gd name="connsiteX2" fmla="*/ 8588378 w 8591551"/>
              <a:gd name="connsiteY2" fmla="*/ 6280152 h 6441112"/>
              <a:gd name="connsiteX3" fmla="*/ 7514238 w 8591551"/>
              <a:gd name="connsiteY3" fmla="*/ 6280152 h 6441112"/>
              <a:gd name="connsiteX4" fmla="*/ 6897179 w 8591551"/>
              <a:gd name="connsiteY4" fmla="*/ 6440172 h 6441112"/>
              <a:gd name="connsiteX5" fmla="*/ 0 w 8591551"/>
              <a:gd name="connsiteY5" fmla="*/ 6441112 h 6441112"/>
              <a:gd name="connsiteX6" fmla="*/ 0 w 8591551"/>
              <a:gd name="connsiteY6" fmla="*/ 0 h 6441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91551" h="6441112">
                <a:moveTo>
                  <a:pt x="0" y="0"/>
                </a:moveTo>
                <a:lnTo>
                  <a:pt x="8591551" y="0"/>
                </a:lnTo>
                <a:cubicBezTo>
                  <a:pt x="8590493" y="2093384"/>
                  <a:pt x="8589436" y="4186768"/>
                  <a:pt x="8588378" y="6280152"/>
                </a:cubicBezTo>
                <a:lnTo>
                  <a:pt x="7514238" y="6280152"/>
                </a:lnTo>
                <a:lnTo>
                  <a:pt x="6897179" y="6440172"/>
                </a:lnTo>
                <a:lnTo>
                  <a:pt x="0" y="644111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369697" y="743900"/>
            <a:ext cx="28624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grpSp>
        <p:nvGrpSpPr>
          <p:cNvPr id="35" name="Groep 34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3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1" name="Rechthoek 4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42" name="Ovaal 4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4" name="Rechthoek 4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5" name="Rechte verbindingslijn 4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Rechthoek 4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8" name="Groep 4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8" name="Groep 9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2" name="Rechte verbindingslijn 10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9" name="Groep 9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0" name="Rechthoek 9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1" name="Pijl: punthaak 10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9" name="Groep 4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2" name="Groep 5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8" name="Rechthoek 7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9" name="Groep 7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0" name="Groep 7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4" name="Rechte verbindingslijn 8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2" name="Rechthoek 8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3" name="Pijl: punthaak 8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7" name="Rechthoek 6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9" name="Groep 6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3" name="Rechte verbindingslijn 7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0" name="Groep 6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1" name="Rechthoek 7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2" name="Pijl: punthaak 7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4" name="Rechthoek 5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5" name="Rechthoek 5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58" name="Ovaal 5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0" name="Ovaal 5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1" name="Rechthoek 6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9" name="Rechthoek 3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0" name="Rechte verbindingslijn 3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7" name="Groep 10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8" name="Afbeelding 10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0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14" name="Rechthoek 11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15" name="Ovaal 11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6" name="Rechte verbindingslijn 11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7" name="Rechte verbindingslijn 11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8" name="Rechthoek 11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9" name="Rechte verbindingslijn 11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20" name="Ovaal 11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21" name="Rechthoek 12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22" name="Groep 12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55" name="Rechthoek 15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57" name="Gelijkbenige driehoek 15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3" name="Groep 12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49" name="Rechthoek 14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Ovaal 14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" name="Vrije vorm: vorm 15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" name="Rechthoek: afgeronde hoeken 15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53" name="Rechte verbindingslijn 15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54" name="Rechte verbindingslijn 153"/>
                <p:cNvCxnSpPr>
                  <a:cxnSpLocks/>
                  <a:stCxn id="15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24" name="Ovaal 12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27" name="Groep 12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8" name="Rechthoek 12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Rechthoek 12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43" name="Rechthoek: afgeronde hoeken 14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5" name="Rechthoek 14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31" name="Groep 13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5" name="Groep 13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7" name="Rechthoek: afgeronde hoeken 13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9" name="Rechthoek 13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Rechthoek 13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1" name="Rechthoek 14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2" name="Rechthoek 14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36" name="Boog 13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32" name="Tekstvak 13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33" name="Tekstvak 132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1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12" name="Rechthoek 11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3" name="Rechte verbindingslijn 11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046421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aangeslo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738"/>
            <a:ext cx="6096001" cy="644663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9E1E-E7A7-4A5D-8C01-6019C490D5B7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afbeelding</a:t>
            </a:r>
          </a:p>
        </p:txBody>
      </p:sp>
      <p:sp>
        <p:nvSpPr>
          <p:cNvPr id="176" name="Tijdelijke aanduiding voor afbeelding 175">
            <a:extLst>
              <a:ext uri="{FF2B5EF4-FFF2-40B4-BE49-F238E27FC236}">
                <a16:creationId xmlns:a16="http://schemas.microsoft.com/office/drawing/2014/main" id="{7C5210DE-B7D5-45EB-AABB-494A14F33D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443898"/>
          </a:xfrm>
          <a:custGeom>
            <a:avLst/>
            <a:gdLst>
              <a:gd name="connsiteX0" fmla="*/ 0 w 6096000"/>
              <a:gd name="connsiteY0" fmla="*/ 0 h 6443898"/>
              <a:gd name="connsiteX1" fmla="*/ 196406 w 6096000"/>
              <a:gd name="connsiteY1" fmla="*/ 0 h 6443898"/>
              <a:gd name="connsiteX2" fmla="*/ 368300 w 6096000"/>
              <a:gd name="connsiteY2" fmla="*/ 0 h 6443898"/>
              <a:gd name="connsiteX3" fmla="*/ 424269 w 6096000"/>
              <a:gd name="connsiteY3" fmla="*/ 0 h 6443898"/>
              <a:gd name="connsiteX4" fmla="*/ 2786743 w 6096000"/>
              <a:gd name="connsiteY4" fmla="*/ 0 h 6443898"/>
              <a:gd name="connsiteX5" fmla="*/ 6096000 w 6096000"/>
              <a:gd name="connsiteY5" fmla="*/ 0 h 6443898"/>
              <a:gd name="connsiteX6" fmla="*/ 6092827 w 6096000"/>
              <a:gd name="connsiteY6" fmla="*/ 6283249 h 6443898"/>
              <a:gd name="connsiteX7" fmla="*/ 5018687 w 6096000"/>
              <a:gd name="connsiteY7" fmla="*/ 6283249 h 6443898"/>
              <a:gd name="connsiteX8" fmla="*/ 4401628 w 6096000"/>
              <a:gd name="connsiteY8" fmla="*/ 6443348 h 6443898"/>
              <a:gd name="connsiteX9" fmla="*/ 424269 w 6096000"/>
              <a:gd name="connsiteY9" fmla="*/ 6443891 h 6443898"/>
              <a:gd name="connsiteX10" fmla="*/ 424269 w 6096000"/>
              <a:gd name="connsiteY10" fmla="*/ 6443898 h 6443898"/>
              <a:gd name="connsiteX11" fmla="*/ 368300 w 6096000"/>
              <a:gd name="connsiteY11" fmla="*/ 6443898 h 6443898"/>
              <a:gd name="connsiteX12" fmla="*/ 196406 w 6096000"/>
              <a:gd name="connsiteY12" fmla="*/ 6443898 h 6443898"/>
              <a:gd name="connsiteX13" fmla="*/ 0 w 6096000"/>
              <a:gd name="connsiteY13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96000" h="6443898">
                <a:moveTo>
                  <a:pt x="0" y="0"/>
                </a:moveTo>
                <a:lnTo>
                  <a:pt x="196406" y="0"/>
                </a:lnTo>
                <a:lnTo>
                  <a:pt x="368300" y="0"/>
                </a:lnTo>
                <a:lnTo>
                  <a:pt x="424269" y="0"/>
                </a:lnTo>
                <a:lnTo>
                  <a:pt x="2786743" y="0"/>
                </a:lnTo>
                <a:lnTo>
                  <a:pt x="6096000" y="0"/>
                </a:lnTo>
                <a:cubicBezTo>
                  <a:pt x="6094942" y="2094416"/>
                  <a:pt x="6093885" y="4188833"/>
                  <a:pt x="6092827" y="6283249"/>
                </a:cubicBezTo>
                <a:lnTo>
                  <a:pt x="5018687" y="6283249"/>
                </a:lnTo>
                <a:lnTo>
                  <a:pt x="4401628" y="6443348"/>
                </a:lnTo>
                <a:lnTo>
                  <a:pt x="424269" y="6443891"/>
                </a:lnTo>
                <a:lnTo>
                  <a:pt x="424269" y="6443898"/>
                </a:lnTo>
                <a:lnTo>
                  <a:pt x="368300" y="6443898"/>
                </a:lnTo>
                <a:lnTo>
                  <a:pt x="196406" y="6443898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1844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176" grpId="0" animBg="1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% Tekst + 7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8300" y="365126"/>
            <a:ext cx="2863850" cy="272814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2863850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DADCE-13AD-493E-B29F-B493E8FEBE4B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75% tekst + 25% afbeelding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5" hasCustomPrompt="1"/>
          </p:nvPr>
        </p:nvSpPr>
        <p:spPr>
          <a:xfrm>
            <a:off x="3600449" y="0"/>
            <a:ext cx="8591551" cy="6444288"/>
          </a:xfrm>
          <a:custGeom>
            <a:avLst/>
            <a:gdLst>
              <a:gd name="connsiteX0" fmla="*/ 0 w 8591551"/>
              <a:gd name="connsiteY0" fmla="*/ 0 h 6441603"/>
              <a:gd name="connsiteX1" fmla="*/ 8591551 w 8591551"/>
              <a:gd name="connsiteY1" fmla="*/ 0 h 6441603"/>
              <a:gd name="connsiteX2" fmla="*/ 8591551 w 8591551"/>
              <a:gd name="connsiteY2" fmla="*/ 6441603 h 6441603"/>
              <a:gd name="connsiteX3" fmla="*/ 8588378 w 8591551"/>
              <a:gd name="connsiteY3" fmla="*/ 6280152 h 6441603"/>
              <a:gd name="connsiteX4" fmla="*/ 7514238 w 8591551"/>
              <a:gd name="connsiteY4" fmla="*/ 6280152 h 6441603"/>
              <a:gd name="connsiteX5" fmla="*/ 6897179 w 8591551"/>
              <a:gd name="connsiteY5" fmla="*/ 6440172 h 6441603"/>
              <a:gd name="connsiteX6" fmla="*/ 0 w 8591551"/>
              <a:gd name="connsiteY6" fmla="*/ 6441112 h 6441603"/>
              <a:gd name="connsiteX0" fmla="*/ 0 w 8591551"/>
              <a:gd name="connsiteY0" fmla="*/ 0 h 6441112"/>
              <a:gd name="connsiteX1" fmla="*/ 8591551 w 8591551"/>
              <a:gd name="connsiteY1" fmla="*/ 0 h 6441112"/>
              <a:gd name="connsiteX2" fmla="*/ 8588378 w 8591551"/>
              <a:gd name="connsiteY2" fmla="*/ 6280152 h 6441112"/>
              <a:gd name="connsiteX3" fmla="*/ 7514238 w 8591551"/>
              <a:gd name="connsiteY3" fmla="*/ 6280152 h 6441112"/>
              <a:gd name="connsiteX4" fmla="*/ 6897179 w 8591551"/>
              <a:gd name="connsiteY4" fmla="*/ 6440172 h 6441112"/>
              <a:gd name="connsiteX5" fmla="*/ 0 w 8591551"/>
              <a:gd name="connsiteY5" fmla="*/ 6441112 h 6441112"/>
              <a:gd name="connsiteX6" fmla="*/ 0 w 8591551"/>
              <a:gd name="connsiteY6" fmla="*/ 0 h 6441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91551" h="6441112">
                <a:moveTo>
                  <a:pt x="0" y="0"/>
                </a:moveTo>
                <a:lnTo>
                  <a:pt x="8591551" y="0"/>
                </a:lnTo>
                <a:cubicBezTo>
                  <a:pt x="8590493" y="2093384"/>
                  <a:pt x="8589436" y="4186768"/>
                  <a:pt x="8588378" y="6280152"/>
                </a:cubicBezTo>
                <a:lnTo>
                  <a:pt x="7514238" y="6280152"/>
                </a:lnTo>
                <a:lnTo>
                  <a:pt x="6897179" y="6440172"/>
                </a:lnTo>
                <a:lnTo>
                  <a:pt x="0" y="644111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369697" y="743900"/>
            <a:ext cx="28624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grpSp>
        <p:nvGrpSpPr>
          <p:cNvPr id="35" name="Groep 34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3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1" name="Rechthoek 4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42" name="Ovaal 4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4" name="Rechthoek 4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5" name="Rechte verbindingslijn 4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Rechthoek 4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8" name="Groep 4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8" name="Groep 9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2" name="Rechte verbindingslijn 10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9" name="Groep 9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0" name="Rechthoek 9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1" name="Pijl: punthaak 10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9" name="Groep 4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2" name="Groep 5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8" name="Rechthoek 7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9" name="Groep 7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0" name="Groep 7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4" name="Rechte verbindingslijn 8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2" name="Rechthoek 8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3" name="Pijl: punthaak 8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7" name="Rechthoek 6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9" name="Groep 6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3" name="Rechte verbindingslijn 7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0" name="Groep 6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1" name="Rechthoek 7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2" name="Pijl: punthaak 7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4" name="Rechthoek 5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5" name="Rechthoek 5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58" name="Ovaal 5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Ovaal 5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1" name="Rechthoek 6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Rechthoek 3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0" name="Rechte verbindingslijn 3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7" name="Groep 10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8" name="Afbeelding 10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0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14" name="Rechthoek 11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15" name="Ovaal 11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6" name="Rechte verbindingslijn 11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7" name="Rechte verbindingslijn 11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8" name="Rechthoek 11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9" name="Rechte verbindingslijn 11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20" name="Ovaal 11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21" name="Rechthoek 12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22" name="Groep 12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55" name="Rechthoek 15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57" name="Gelijkbenige driehoek 15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3" name="Groep 12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49" name="Rechthoek 14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Ovaal 14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1" name="Vrije vorm: vorm 15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2" name="Rechthoek: afgeronde hoeken 15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53" name="Rechte verbindingslijn 15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54" name="Rechte verbindingslijn 153"/>
                <p:cNvCxnSpPr>
                  <a:cxnSpLocks/>
                  <a:stCxn id="15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24" name="Ovaal 12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27" name="Groep 12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8" name="Rechthoek 12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Rechthoek 12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43" name="Rechthoek: afgeronde hoeken 14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5" name="Rechthoek 14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31" name="Groep 13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5" name="Groep 13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7" name="Rechthoek: afgeronde hoeken 13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9" name="Rechthoek 13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0" name="Rechthoek 13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1" name="Rechthoek 14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2" name="Rechthoek 14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36" name="Boog 13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Tekstvak 13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33" name="Tekstvak 132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1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Rechthoek 11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3" name="Rechte verbindingslijn 11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95938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Blauw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F3EEB-37A8-4112-A67A-DC30F2463893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7950200" y="-279400"/>
            <a:ext cx="4241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afbeelding (Titel blauw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131140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Wit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1F5B1-2829-43CA-9C0C-EADE9C4E1B73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8242300" y="-279400"/>
            <a:ext cx="3949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afbeelding (Titel wit 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584544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Afbeelding 6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19" y="3229990"/>
            <a:ext cx="1639482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42872"/>
              <a:gd name="connsiteX1" fmla="*/ 12192000 w 12192000"/>
              <a:gd name="connsiteY1" fmla="*/ 0 h 6442872"/>
              <a:gd name="connsiteX2" fmla="*/ 12192000 w 12192000"/>
              <a:gd name="connsiteY2" fmla="*/ 6442872 h 6442872"/>
              <a:gd name="connsiteX3" fmla="*/ 12188827 w 12192000"/>
              <a:gd name="connsiteY3" fmla="*/ 6281739 h 6442872"/>
              <a:gd name="connsiteX4" fmla="*/ 11114687 w 12192000"/>
              <a:gd name="connsiteY4" fmla="*/ 6281739 h 6442872"/>
              <a:gd name="connsiteX5" fmla="*/ 10497628 w 12192000"/>
              <a:gd name="connsiteY5" fmla="*/ 6441444 h 6442872"/>
              <a:gd name="connsiteX6" fmla="*/ 0 w 12192000"/>
              <a:gd name="connsiteY6" fmla="*/ 6442872 h 6442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42872">
                <a:moveTo>
                  <a:pt x="0" y="0"/>
                </a:moveTo>
                <a:lnTo>
                  <a:pt x="12192000" y="0"/>
                </a:lnTo>
                <a:lnTo>
                  <a:pt x="12192000" y="6442872"/>
                </a:lnTo>
                <a:lnTo>
                  <a:pt x="12188827" y="6281739"/>
                </a:lnTo>
                <a:lnTo>
                  <a:pt x="11114687" y="6281739"/>
                </a:lnTo>
                <a:lnTo>
                  <a:pt x="10497628" y="6441444"/>
                </a:lnTo>
                <a:lnTo>
                  <a:pt x="0" y="64428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AEAFE-FCAC-47AA-A7CC-21B96966E72E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video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Meer informatie"/>
          <p:cNvGrpSpPr/>
          <p:nvPr userDrawn="1"/>
        </p:nvGrpSpPr>
        <p:grpSpPr>
          <a:xfrm>
            <a:off x="12396764" y="4434421"/>
            <a:ext cx="3178515" cy="783273"/>
            <a:chOff x="-3741486" y="3359148"/>
            <a:chExt cx="3178515" cy="783273"/>
          </a:xfrm>
        </p:grpSpPr>
        <p:sp>
          <p:nvSpPr>
            <p:cNvPr id="15" name="Freeform 101"/>
            <p:cNvSpPr>
              <a:spLocks noEditPoints="1"/>
            </p:cNvSpPr>
            <p:nvPr/>
          </p:nvSpPr>
          <p:spPr bwMode="auto">
            <a:xfrm>
              <a:off x="-3741486" y="3359148"/>
              <a:ext cx="255753" cy="255753"/>
            </a:xfrm>
            <a:custGeom>
              <a:avLst/>
              <a:gdLst>
                <a:gd name="T0" fmla="*/ 0 w 292"/>
                <a:gd name="T1" fmla="*/ 146 h 292"/>
                <a:gd name="T2" fmla="*/ 4 w 292"/>
                <a:gd name="T3" fmla="*/ 113 h 292"/>
                <a:gd name="T4" fmla="*/ 14 w 292"/>
                <a:gd name="T5" fmla="*/ 82 h 292"/>
                <a:gd name="T6" fmla="*/ 31 w 292"/>
                <a:gd name="T7" fmla="*/ 55 h 292"/>
                <a:gd name="T8" fmla="*/ 53 w 292"/>
                <a:gd name="T9" fmla="*/ 32 h 292"/>
                <a:gd name="T10" fmla="*/ 81 w 292"/>
                <a:gd name="T11" fmla="*/ 15 h 292"/>
                <a:gd name="T12" fmla="*/ 112 w 292"/>
                <a:gd name="T13" fmla="*/ 4 h 292"/>
                <a:gd name="T14" fmla="*/ 145 w 292"/>
                <a:gd name="T15" fmla="*/ 0 h 292"/>
                <a:gd name="T16" fmla="*/ 179 w 292"/>
                <a:gd name="T17" fmla="*/ 4 h 292"/>
                <a:gd name="T18" fmla="*/ 209 w 292"/>
                <a:gd name="T19" fmla="*/ 15 h 292"/>
                <a:gd name="T20" fmla="*/ 237 w 292"/>
                <a:gd name="T21" fmla="*/ 32 h 292"/>
                <a:gd name="T22" fmla="*/ 259 w 292"/>
                <a:gd name="T23" fmla="*/ 55 h 292"/>
                <a:gd name="T24" fmla="*/ 276 w 292"/>
                <a:gd name="T25" fmla="*/ 82 h 292"/>
                <a:gd name="T26" fmla="*/ 288 w 292"/>
                <a:gd name="T27" fmla="*/ 113 h 292"/>
                <a:gd name="T28" fmla="*/ 292 w 292"/>
                <a:gd name="T29" fmla="*/ 146 h 292"/>
                <a:gd name="T30" fmla="*/ 288 w 292"/>
                <a:gd name="T31" fmla="*/ 180 h 292"/>
                <a:gd name="T32" fmla="*/ 276 w 292"/>
                <a:gd name="T33" fmla="*/ 210 h 292"/>
                <a:gd name="T34" fmla="*/ 259 w 292"/>
                <a:gd name="T35" fmla="*/ 237 h 292"/>
                <a:gd name="T36" fmla="*/ 237 w 292"/>
                <a:gd name="T37" fmla="*/ 260 h 292"/>
                <a:gd name="T38" fmla="*/ 209 w 292"/>
                <a:gd name="T39" fmla="*/ 278 h 292"/>
                <a:gd name="T40" fmla="*/ 179 w 292"/>
                <a:gd name="T41" fmla="*/ 288 h 292"/>
                <a:gd name="T42" fmla="*/ 145 w 292"/>
                <a:gd name="T43" fmla="*/ 292 h 292"/>
                <a:gd name="T44" fmla="*/ 112 w 292"/>
                <a:gd name="T45" fmla="*/ 288 h 292"/>
                <a:gd name="T46" fmla="*/ 81 w 292"/>
                <a:gd name="T47" fmla="*/ 278 h 292"/>
                <a:gd name="T48" fmla="*/ 53 w 292"/>
                <a:gd name="T49" fmla="*/ 260 h 292"/>
                <a:gd name="T50" fmla="*/ 31 w 292"/>
                <a:gd name="T51" fmla="*/ 237 h 292"/>
                <a:gd name="T52" fmla="*/ 14 w 292"/>
                <a:gd name="T53" fmla="*/ 210 h 292"/>
                <a:gd name="T54" fmla="*/ 4 w 292"/>
                <a:gd name="T55" fmla="*/ 180 h 292"/>
                <a:gd name="T56" fmla="*/ 0 w 292"/>
                <a:gd name="T57" fmla="*/ 146 h 292"/>
                <a:gd name="T58" fmla="*/ 102 w 292"/>
                <a:gd name="T59" fmla="*/ 121 h 292"/>
                <a:gd name="T60" fmla="*/ 102 w 292"/>
                <a:gd name="T61" fmla="*/ 142 h 292"/>
                <a:gd name="T62" fmla="*/ 120 w 292"/>
                <a:gd name="T63" fmla="*/ 142 h 292"/>
                <a:gd name="T64" fmla="*/ 120 w 292"/>
                <a:gd name="T65" fmla="*/ 223 h 292"/>
                <a:gd name="T66" fmla="*/ 102 w 292"/>
                <a:gd name="T67" fmla="*/ 223 h 292"/>
                <a:gd name="T68" fmla="*/ 102 w 292"/>
                <a:gd name="T69" fmla="*/ 244 h 292"/>
                <a:gd name="T70" fmla="*/ 188 w 292"/>
                <a:gd name="T71" fmla="*/ 244 h 292"/>
                <a:gd name="T72" fmla="*/ 188 w 292"/>
                <a:gd name="T73" fmla="*/ 223 h 292"/>
                <a:gd name="T74" fmla="*/ 170 w 292"/>
                <a:gd name="T75" fmla="*/ 223 h 292"/>
                <a:gd name="T76" fmla="*/ 170 w 292"/>
                <a:gd name="T77" fmla="*/ 142 h 292"/>
                <a:gd name="T78" fmla="*/ 188 w 292"/>
                <a:gd name="T79" fmla="*/ 142 h 292"/>
                <a:gd name="T80" fmla="*/ 188 w 292"/>
                <a:gd name="T81" fmla="*/ 121 h 292"/>
                <a:gd name="T82" fmla="*/ 102 w 292"/>
                <a:gd name="T83" fmla="*/ 121 h 292"/>
                <a:gd name="T84" fmla="*/ 115 w 292"/>
                <a:gd name="T85" fmla="*/ 79 h 292"/>
                <a:gd name="T86" fmla="*/ 117 w 292"/>
                <a:gd name="T87" fmla="*/ 92 h 292"/>
                <a:gd name="T88" fmla="*/ 124 w 292"/>
                <a:gd name="T89" fmla="*/ 101 h 292"/>
                <a:gd name="T90" fmla="*/ 133 w 292"/>
                <a:gd name="T91" fmla="*/ 108 h 292"/>
                <a:gd name="T92" fmla="*/ 145 w 292"/>
                <a:gd name="T93" fmla="*/ 110 h 292"/>
                <a:gd name="T94" fmla="*/ 157 w 292"/>
                <a:gd name="T95" fmla="*/ 108 h 292"/>
                <a:gd name="T96" fmla="*/ 167 w 292"/>
                <a:gd name="T97" fmla="*/ 101 h 292"/>
                <a:gd name="T98" fmla="*/ 174 w 292"/>
                <a:gd name="T99" fmla="*/ 92 h 292"/>
                <a:gd name="T100" fmla="*/ 176 w 292"/>
                <a:gd name="T101" fmla="*/ 79 h 292"/>
                <a:gd name="T102" fmla="*/ 174 w 292"/>
                <a:gd name="T103" fmla="*/ 67 h 292"/>
                <a:gd name="T104" fmla="*/ 167 w 292"/>
                <a:gd name="T105" fmla="*/ 58 h 292"/>
                <a:gd name="T106" fmla="*/ 157 w 292"/>
                <a:gd name="T107" fmla="*/ 51 h 292"/>
                <a:gd name="T108" fmla="*/ 145 w 292"/>
                <a:gd name="T109" fmla="*/ 49 h 292"/>
                <a:gd name="T110" fmla="*/ 133 w 292"/>
                <a:gd name="T111" fmla="*/ 51 h 292"/>
                <a:gd name="T112" fmla="*/ 124 w 292"/>
                <a:gd name="T113" fmla="*/ 58 h 292"/>
                <a:gd name="T114" fmla="*/ 117 w 292"/>
                <a:gd name="T115" fmla="*/ 67 h 292"/>
                <a:gd name="T116" fmla="*/ 115 w 292"/>
                <a:gd name="T117" fmla="*/ 79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2" h="292">
                  <a:moveTo>
                    <a:pt x="0" y="146"/>
                  </a:moveTo>
                  <a:lnTo>
                    <a:pt x="4" y="113"/>
                  </a:lnTo>
                  <a:lnTo>
                    <a:pt x="14" y="82"/>
                  </a:lnTo>
                  <a:lnTo>
                    <a:pt x="31" y="55"/>
                  </a:lnTo>
                  <a:lnTo>
                    <a:pt x="53" y="32"/>
                  </a:lnTo>
                  <a:lnTo>
                    <a:pt x="81" y="15"/>
                  </a:lnTo>
                  <a:lnTo>
                    <a:pt x="112" y="4"/>
                  </a:lnTo>
                  <a:lnTo>
                    <a:pt x="145" y="0"/>
                  </a:lnTo>
                  <a:lnTo>
                    <a:pt x="179" y="4"/>
                  </a:lnTo>
                  <a:lnTo>
                    <a:pt x="209" y="15"/>
                  </a:lnTo>
                  <a:lnTo>
                    <a:pt x="237" y="32"/>
                  </a:lnTo>
                  <a:lnTo>
                    <a:pt x="259" y="55"/>
                  </a:lnTo>
                  <a:lnTo>
                    <a:pt x="276" y="82"/>
                  </a:lnTo>
                  <a:lnTo>
                    <a:pt x="288" y="113"/>
                  </a:lnTo>
                  <a:lnTo>
                    <a:pt x="292" y="146"/>
                  </a:lnTo>
                  <a:lnTo>
                    <a:pt x="288" y="180"/>
                  </a:lnTo>
                  <a:lnTo>
                    <a:pt x="276" y="210"/>
                  </a:lnTo>
                  <a:lnTo>
                    <a:pt x="259" y="237"/>
                  </a:lnTo>
                  <a:lnTo>
                    <a:pt x="237" y="260"/>
                  </a:lnTo>
                  <a:lnTo>
                    <a:pt x="209" y="278"/>
                  </a:lnTo>
                  <a:lnTo>
                    <a:pt x="179" y="288"/>
                  </a:lnTo>
                  <a:lnTo>
                    <a:pt x="145" y="292"/>
                  </a:lnTo>
                  <a:lnTo>
                    <a:pt x="112" y="288"/>
                  </a:lnTo>
                  <a:lnTo>
                    <a:pt x="81" y="278"/>
                  </a:lnTo>
                  <a:lnTo>
                    <a:pt x="53" y="260"/>
                  </a:lnTo>
                  <a:lnTo>
                    <a:pt x="31" y="237"/>
                  </a:lnTo>
                  <a:lnTo>
                    <a:pt x="14" y="210"/>
                  </a:lnTo>
                  <a:lnTo>
                    <a:pt x="4" y="180"/>
                  </a:lnTo>
                  <a:lnTo>
                    <a:pt x="0" y="146"/>
                  </a:lnTo>
                  <a:close/>
                  <a:moveTo>
                    <a:pt x="102" y="121"/>
                  </a:moveTo>
                  <a:lnTo>
                    <a:pt x="102" y="142"/>
                  </a:lnTo>
                  <a:lnTo>
                    <a:pt x="120" y="142"/>
                  </a:lnTo>
                  <a:lnTo>
                    <a:pt x="120" y="223"/>
                  </a:lnTo>
                  <a:lnTo>
                    <a:pt x="102" y="223"/>
                  </a:lnTo>
                  <a:lnTo>
                    <a:pt x="102" y="244"/>
                  </a:lnTo>
                  <a:lnTo>
                    <a:pt x="188" y="244"/>
                  </a:lnTo>
                  <a:lnTo>
                    <a:pt x="188" y="223"/>
                  </a:lnTo>
                  <a:lnTo>
                    <a:pt x="170" y="223"/>
                  </a:lnTo>
                  <a:lnTo>
                    <a:pt x="170" y="142"/>
                  </a:lnTo>
                  <a:lnTo>
                    <a:pt x="188" y="142"/>
                  </a:lnTo>
                  <a:lnTo>
                    <a:pt x="188" y="121"/>
                  </a:lnTo>
                  <a:lnTo>
                    <a:pt x="102" y="121"/>
                  </a:lnTo>
                  <a:close/>
                  <a:moveTo>
                    <a:pt x="115" y="79"/>
                  </a:moveTo>
                  <a:lnTo>
                    <a:pt x="117" y="92"/>
                  </a:lnTo>
                  <a:lnTo>
                    <a:pt x="124" y="101"/>
                  </a:lnTo>
                  <a:lnTo>
                    <a:pt x="133" y="108"/>
                  </a:lnTo>
                  <a:lnTo>
                    <a:pt x="145" y="110"/>
                  </a:lnTo>
                  <a:lnTo>
                    <a:pt x="157" y="108"/>
                  </a:lnTo>
                  <a:lnTo>
                    <a:pt x="167" y="101"/>
                  </a:lnTo>
                  <a:lnTo>
                    <a:pt x="174" y="92"/>
                  </a:lnTo>
                  <a:lnTo>
                    <a:pt x="176" y="79"/>
                  </a:lnTo>
                  <a:lnTo>
                    <a:pt x="174" y="67"/>
                  </a:lnTo>
                  <a:lnTo>
                    <a:pt x="167" y="58"/>
                  </a:lnTo>
                  <a:lnTo>
                    <a:pt x="157" y="51"/>
                  </a:lnTo>
                  <a:lnTo>
                    <a:pt x="145" y="49"/>
                  </a:lnTo>
                  <a:lnTo>
                    <a:pt x="133" y="51"/>
                  </a:lnTo>
                  <a:lnTo>
                    <a:pt x="124" y="58"/>
                  </a:lnTo>
                  <a:lnTo>
                    <a:pt x="117" y="67"/>
                  </a:lnTo>
                  <a:lnTo>
                    <a:pt x="115" y="79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100">
                <a:solidFill>
                  <a:prstClr val="black"/>
                </a:solidFill>
              </a:endParaRPr>
            </a:p>
          </p:txBody>
        </p:sp>
        <p:sp>
          <p:nvSpPr>
            <p:cNvPr id="16" name="Rechthoek 15"/>
            <p:cNvSpPr/>
            <p:nvPr userDrawn="1"/>
          </p:nvSpPr>
          <p:spPr>
            <a:xfrm>
              <a:off x="-3380966" y="3431177"/>
              <a:ext cx="2817995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Meer weten?</a:t>
              </a:r>
              <a:b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Ga naar dia </a:t>
              </a:r>
              <a:r>
                <a:rPr lang="nl-NL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instructies – YouTube links’</a:t>
              </a:r>
              <a: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open deze in de diavoorstelling en klik op de gewenste video link.</a:t>
              </a:r>
            </a:p>
          </p:txBody>
        </p:sp>
        <p:cxnSp>
          <p:nvCxnSpPr>
            <p:cNvPr id="17" name="Rechte verbindingslijn 16"/>
            <p:cNvCxnSpPr>
              <a:cxnSpLocks/>
            </p:cNvCxnSpPr>
            <p:nvPr userDrawn="1"/>
          </p:nvCxnSpPr>
          <p:spPr>
            <a:xfrm>
              <a:off x="-3740987" y="4142421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</p:grpSp>
      <p:sp>
        <p:nvSpPr>
          <p:cNvPr id="21" name="Rechthoek 20"/>
          <p:cNvSpPr/>
          <p:nvPr userDrawn="1"/>
        </p:nvSpPr>
        <p:spPr>
          <a:xfrm>
            <a:off x="12397264" y="-17883"/>
            <a:ext cx="3178016" cy="19161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80000"/>
              </a:lnSpc>
              <a:defRPr/>
            </a:pPr>
            <a:r>
              <a:rPr lang="nl-NL" sz="1400" b="1" kern="0" cap="all" dirty="0">
                <a:solidFill>
                  <a:srgbClr val="002C51"/>
                </a:solidFill>
                <a:latin typeface="Gill Sans MT"/>
                <a:cs typeface="Segoe UI Light" panose="020B0502040204020203" pitchFamily="34" charset="0"/>
              </a:rPr>
              <a:t>Video invoegen</a:t>
            </a:r>
          </a:p>
        </p:txBody>
      </p:sp>
      <p:sp>
        <p:nvSpPr>
          <p:cNvPr id="22" name="Ovaal 21"/>
          <p:cNvSpPr/>
          <p:nvPr userDrawn="1"/>
        </p:nvSpPr>
        <p:spPr>
          <a:xfrm>
            <a:off x="12391603" y="348607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nl-NL" sz="1100" kern="0" dirty="0">
                <a:solidFill>
                  <a:prstClr val="white"/>
                </a:solidFill>
                <a:cs typeface="Segoe UI Light" panose="020B0502040204020203" pitchFamily="34" charset="0"/>
              </a:rPr>
              <a:t>1</a:t>
            </a:r>
          </a:p>
        </p:txBody>
      </p:sp>
      <p:cxnSp>
        <p:nvCxnSpPr>
          <p:cNvPr id="24" name="Rechte verbindingslijn 23"/>
          <p:cNvCxnSpPr>
            <a:cxnSpLocks/>
          </p:cNvCxnSpPr>
          <p:nvPr userDrawn="1"/>
        </p:nvCxnSpPr>
        <p:spPr>
          <a:xfrm>
            <a:off x="12397263" y="223752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25" name="Rechte verbindingslijn 24"/>
          <p:cNvCxnSpPr>
            <a:cxnSpLocks/>
          </p:cNvCxnSpPr>
          <p:nvPr userDrawn="1"/>
        </p:nvCxnSpPr>
        <p:spPr>
          <a:xfrm>
            <a:off x="12397263" y="1560050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6" name="Rechthoek 25"/>
          <p:cNvSpPr/>
          <p:nvPr userDrawn="1"/>
        </p:nvSpPr>
        <p:spPr>
          <a:xfrm>
            <a:off x="12757284" y="414669"/>
            <a:ext cx="2817995" cy="59542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39200"/>
              </a:buClr>
              <a:buFont typeface="Arial" panose="020B0604020202020204" pitchFamily="34" charset="0"/>
              <a:buNone/>
              <a:defRPr/>
            </a:pP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Wanneer nodig, verwijder de bestaande afbeelding/video. Klik op het pictogram om een nieuwe video in te voegen.</a:t>
            </a:r>
            <a:b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</a:br>
            <a:r>
              <a:rPr lang="nl-NL" sz="1100" i="1" kern="0">
                <a:solidFill>
                  <a:srgbClr val="000000"/>
                </a:solidFill>
                <a:cs typeface="Segoe UI Light" panose="020B0502040204020203" pitchFamily="34" charset="0"/>
              </a:rPr>
              <a:t>(zie onderstaand voorbeeld).</a:t>
            </a:r>
            <a:endParaRPr lang="nl-NL" sz="1100" kern="0">
              <a:solidFill>
                <a:srgbClr val="000000"/>
              </a:solidFill>
              <a:cs typeface="Segoe UI Light" panose="020B0502040204020203" pitchFamily="34" charset="0"/>
            </a:endParaRPr>
          </a:p>
        </p:txBody>
      </p:sp>
      <p:cxnSp>
        <p:nvCxnSpPr>
          <p:cNvPr id="27" name="Rechte verbindingslijn 26"/>
          <p:cNvCxnSpPr>
            <a:cxnSpLocks/>
          </p:cNvCxnSpPr>
          <p:nvPr userDrawn="1"/>
        </p:nvCxnSpPr>
        <p:spPr>
          <a:xfrm>
            <a:off x="12397263" y="4316583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8" name="Ovaal 27"/>
          <p:cNvSpPr/>
          <p:nvPr userDrawn="1"/>
        </p:nvSpPr>
        <p:spPr>
          <a:xfrm>
            <a:off x="12391603" y="1688515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nl-NL" sz="1100" kern="0">
                <a:solidFill>
                  <a:prstClr val="white"/>
                </a:solidFill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29" name="Rechthoek 28"/>
          <p:cNvSpPr/>
          <p:nvPr userDrawn="1"/>
        </p:nvSpPr>
        <p:spPr>
          <a:xfrm>
            <a:off x="12757284" y="1754578"/>
            <a:ext cx="2817995" cy="3180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39200"/>
              </a:buClr>
              <a:buFont typeface="Arial" panose="020B0604020202020204" pitchFamily="34" charset="0"/>
              <a:buNone/>
              <a:defRPr/>
            </a:pP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Selecteer de gewenste video</a:t>
            </a:r>
            <a:b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</a:b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en klik op </a:t>
            </a:r>
            <a:r>
              <a:rPr lang="nl-NL" sz="1100" b="1" kern="0">
                <a:solidFill>
                  <a:srgbClr val="000000"/>
                </a:solidFill>
                <a:cs typeface="Segoe UI Light" panose="020B0502040204020203" pitchFamily="34" charset="0"/>
              </a:rPr>
              <a:t>‘Invoegen’</a:t>
            </a: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.</a:t>
            </a:r>
            <a:endParaRPr lang="nl-NL" sz="1100" b="1" kern="0">
              <a:solidFill>
                <a:srgbClr val="000000"/>
              </a:solidFill>
              <a:cs typeface="Segoe UI Light" panose="020B0502040204020203" pitchFamily="34" charset="0"/>
            </a:endParaRPr>
          </a:p>
        </p:txBody>
      </p:sp>
      <p:grpSp>
        <p:nvGrpSpPr>
          <p:cNvPr id="30" name="Groep 29"/>
          <p:cNvGrpSpPr/>
          <p:nvPr userDrawn="1"/>
        </p:nvGrpSpPr>
        <p:grpSpPr>
          <a:xfrm>
            <a:off x="12757284" y="2166624"/>
            <a:ext cx="825500" cy="209550"/>
            <a:chOff x="12757284" y="2166624"/>
            <a:chExt cx="825500" cy="209550"/>
          </a:xfrm>
        </p:grpSpPr>
        <p:sp>
          <p:nvSpPr>
            <p:cNvPr id="60" name="Rechthoek 59"/>
            <p:cNvSpPr/>
            <p:nvPr userDrawn="1"/>
          </p:nvSpPr>
          <p:spPr>
            <a:xfrm>
              <a:off x="12757284" y="2166624"/>
              <a:ext cx="825500" cy="209550"/>
            </a:xfrm>
            <a:prstGeom prst="rect">
              <a:avLst/>
            </a:prstGeom>
            <a:solidFill>
              <a:srgbClr val="E5F1FB"/>
            </a:solidFill>
            <a:ln w="12700">
              <a:solidFill>
                <a:srgbClr val="0B7E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nl-NL" sz="800">
                  <a:solidFill>
                    <a:prstClr val="black"/>
                  </a:solidFill>
                  <a:cs typeface="Arial" panose="020B0604020202020204" pitchFamily="34" charset="0"/>
                </a:rPr>
                <a:t>Invoegen</a:t>
              </a:r>
            </a:p>
          </p:txBody>
        </p:sp>
        <p:cxnSp>
          <p:nvCxnSpPr>
            <p:cNvPr id="61" name="Rechte verbindingslijn 60"/>
            <p:cNvCxnSpPr/>
            <p:nvPr userDrawn="1"/>
          </p:nvCxnSpPr>
          <p:spPr>
            <a:xfrm>
              <a:off x="13407929" y="2199024"/>
              <a:ext cx="0" cy="142717"/>
            </a:xfrm>
            <a:prstGeom prst="line">
              <a:avLst/>
            </a:prstGeom>
            <a:noFill/>
            <a:ln w="3175" cap="flat" cmpd="sng" algn="ctr">
              <a:solidFill>
                <a:srgbClr val="44546A"/>
              </a:solidFill>
              <a:prstDash val="solid"/>
            </a:ln>
            <a:effectLst/>
          </p:spPr>
        </p:cxnSp>
        <p:sp>
          <p:nvSpPr>
            <p:cNvPr id="62" name="Gelijkbenige driehoek 61"/>
            <p:cNvSpPr/>
            <p:nvPr userDrawn="1"/>
          </p:nvSpPr>
          <p:spPr>
            <a:xfrm rot="10800000">
              <a:off x="13448749" y="2250678"/>
              <a:ext cx="86866" cy="51147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</p:grpSp>
      <p:sp>
        <p:nvSpPr>
          <p:cNvPr id="31" name="Ovaal 30"/>
          <p:cNvSpPr/>
          <p:nvPr userDrawn="1"/>
        </p:nvSpPr>
        <p:spPr>
          <a:xfrm>
            <a:off x="12391603" y="2613716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nl-NL" sz="1100" kern="0">
                <a:solidFill>
                  <a:prstClr val="white"/>
                </a:solidFill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32" name="Rechthoek 31"/>
          <p:cNvSpPr/>
          <p:nvPr userDrawn="1"/>
        </p:nvSpPr>
        <p:spPr>
          <a:xfrm>
            <a:off x="12757285" y="2679780"/>
            <a:ext cx="2817996" cy="6259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39200"/>
              </a:buClr>
              <a:buFont typeface="Arial" panose="020B0604020202020204" pitchFamily="34" charset="0"/>
              <a:buNone/>
              <a:defRPr/>
            </a:pP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Klik met de rechter muisknop op de miniatuurweergave van de dia en kies</a:t>
            </a:r>
            <a:b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</a:br>
            <a:r>
              <a:rPr lang="nl-NL" sz="1100" b="1" kern="0">
                <a:solidFill>
                  <a:srgbClr val="000000"/>
                </a:solidFill>
                <a:cs typeface="Segoe UI Light" panose="020B0502040204020203" pitchFamily="34" charset="0"/>
              </a:rPr>
              <a:t>´Dia herstellen´</a:t>
            </a: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.</a:t>
            </a:r>
            <a:endParaRPr lang="nl-NL" sz="1100" b="1" kern="0">
              <a:solidFill>
                <a:srgbClr val="000000"/>
              </a:solidFill>
              <a:cs typeface="Segoe UI Light" panose="020B0502040204020203" pitchFamily="34" charset="0"/>
            </a:endParaRPr>
          </a:p>
        </p:txBody>
      </p:sp>
      <p:cxnSp>
        <p:nvCxnSpPr>
          <p:cNvPr id="33" name="Rechte verbindingslijn 32"/>
          <p:cNvCxnSpPr>
            <a:cxnSpLocks/>
          </p:cNvCxnSpPr>
          <p:nvPr userDrawn="1"/>
        </p:nvCxnSpPr>
        <p:spPr>
          <a:xfrm>
            <a:off x="12397263" y="2481906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39" name="Rechthoek 38"/>
          <p:cNvSpPr/>
          <p:nvPr userDrawn="1"/>
        </p:nvSpPr>
        <p:spPr>
          <a:xfrm>
            <a:off x="13717198" y="3515867"/>
            <a:ext cx="1176476" cy="580946"/>
          </a:xfrm>
          <a:prstGeom prst="rect">
            <a:avLst/>
          </a:prstGeom>
          <a:solidFill>
            <a:schemeClr val="bg1"/>
          </a:solidFill>
          <a:ln w="12700">
            <a:solidFill>
              <a:srgbClr val="D1D1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nl-NL" sz="8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0" name="Rechthoek 39"/>
          <p:cNvSpPr/>
          <p:nvPr userDrawn="1"/>
        </p:nvSpPr>
        <p:spPr>
          <a:xfrm>
            <a:off x="13739162" y="3827256"/>
            <a:ext cx="1145758" cy="261256"/>
          </a:xfrm>
          <a:prstGeom prst="rect">
            <a:avLst/>
          </a:prstGeom>
          <a:solidFill>
            <a:srgbClr val="FCE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>
              <a:solidFill>
                <a:prstClr val="black"/>
              </a:solidFill>
            </a:endParaRPr>
          </a:p>
        </p:txBody>
      </p:sp>
      <p:grpSp>
        <p:nvGrpSpPr>
          <p:cNvPr id="41" name="Groep 40"/>
          <p:cNvGrpSpPr/>
          <p:nvPr userDrawn="1"/>
        </p:nvGrpSpPr>
        <p:grpSpPr>
          <a:xfrm>
            <a:off x="13799148" y="3581369"/>
            <a:ext cx="155951" cy="131922"/>
            <a:chOff x="12968836" y="3354170"/>
            <a:chExt cx="404806" cy="342433"/>
          </a:xfrm>
        </p:grpSpPr>
        <p:sp>
          <p:nvSpPr>
            <p:cNvPr id="54" name="Rechthoek: afgeronde hoeken 53"/>
            <p:cNvSpPr/>
            <p:nvPr userDrawn="1"/>
          </p:nvSpPr>
          <p:spPr>
            <a:xfrm>
              <a:off x="12968836" y="3354170"/>
              <a:ext cx="404806" cy="342433"/>
            </a:xfrm>
            <a:prstGeom prst="roundRect">
              <a:avLst>
                <a:gd name="adj" fmla="val 2911"/>
              </a:avLst>
            </a:prstGeom>
            <a:solidFill>
              <a:schemeClr val="bg1"/>
            </a:solidFill>
            <a:ln w="12700">
              <a:solidFill>
                <a:srgbClr val="8181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5" name="Rechthoek 54"/>
            <p:cNvSpPr/>
            <p:nvPr userDrawn="1"/>
          </p:nvSpPr>
          <p:spPr>
            <a:xfrm>
              <a:off x="13025180" y="3401181"/>
              <a:ext cx="305213" cy="41563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6" name="Rechthoek 55"/>
            <p:cNvSpPr/>
            <p:nvPr userDrawn="1"/>
          </p:nvSpPr>
          <p:spPr>
            <a:xfrm>
              <a:off x="13025181" y="3471575"/>
              <a:ext cx="118778" cy="181691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7" name="Rechthoek 56"/>
            <p:cNvSpPr/>
            <p:nvPr userDrawn="1"/>
          </p:nvSpPr>
          <p:spPr>
            <a:xfrm>
              <a:off x="13180812" y="3481982"/>
              <a:ext cx="13527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8" name="Rechthoek 57"/>
            <p:cNvSpPr/>
            <p:nvPr userDrawn="1"/>
          </p:nvSpPr>
          <p:spPr>
            <a:xfrm>
              <a:off x="13180812" y="3554800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9" name="Rechthoek 58"/>
            <p:cNvSpPr/>
            <p:nvPr userDrawn="1"/>
          </p:nvSpPr>
          <p:spPr>
            <a:xfrm>
              <a:off x="13180812" y="3627618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</p:grpSp>
      <p:grpSp>
        <p:nvGrpSpPr>
          <p:cNvPr id="42" name="Groep 41"/>
          <p:cNvGrpSpPr/>
          <p:nvPr userDrawn="1"/>
        </p:nvGrpSpPr>
        <p:grpSpPr>
          <a:xfrm>
            <a:off x="13779593" y="3880692"/>
            <a:ext cx="166739" cy="218963"/>
            <a:chOff x="12940828" y="3950597"/>
            <a:chExt cx="432813" cy="568367"/>
          </a:xfrm>
        </p:grpSpPr>
        <p:grpSp>
          <p:nvGrpSpPr>
            <p:cNvPr id="46" name="Groep 45"/>
            <p:cNvGrpSpPr/>
            <p:nvPr userDrawn="1"/>
          </p:nvGrpSpPr>
          <p:grpSpPr>
            <a:xfrm>
              <a:off x="13000382" y="4006891"/>
              <a:ext cx="373259" cy="315747"/>
              <a:chOff x="12968836" y="3354170"/>
              <a:chExt cx="404806" cy="342433"/>
            </a:xfrm>
          </p:grpSpPr>
          <p:sp>
            <p:nvSpPr>
              <p:cNvPr id="48" name="Rechthoek: afgeronde hoeken 47"/>
              <p:cNvSpPr/>
              <p:nvPr userDrawn="1"/>
            </p:nvSpPr>
            <p:spPr>
              <a:xfrm>
                <a:off x="12968836" y="3354170"/>
                <a:ext cx="404806" cy="342433"/>
              </a:xfrm>
              <a:prstGeom prst="roundRect">
                <a:avLst>
                  <a:gd name="adj" fmla="val 2911"/>
                </a:avLst>
              </a:prstGeom>
              <a:solidFill>
                <a:schemeClr val="bg1"/>
              </a:solidFill>
              <a:ln w="12700">
                <a:solidFill>
                  <a:srgbClr val="81818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9" name="Rechthoek 48"/>
              <p:cNvSpPr/>
              <p:nvPr userDrawn="1"/>
            </p:nvSpPr>
            <p:spPr>
              <a:xfrm>
                <a:off x="13025180" y="3401181"/>
                <a:ext cx="305213" cy="4156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13025181" y="3471575"/>
                <a:ext cx="118778" cy="181691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Rechthoek 50"/>
              <p:cNvSpPr/>
              <p:nvPr userDrawn="1"/>
            </p:nvSpPr>
            <p:spPr>
              <a:xfrm>
                <a:off x="13180812" y="3481982"/>
                <a:ext cx="13527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13180812" y="3554800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Rechthoek 52"/>
              <p:cNvSpPr/>
              <p:nvPr userDrawn="1"/>
            </p:nvSpPr>
            <p:spPr>
              <a:xfrm>
                <a:off x="13180812" y="3627618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7" name="Boog 46"/>
            <p:cNvSpPr/>
            <p:nvPr userDrawn="1"/>
          </p:nvSpPr>
          <p:spPr>
            <a:xfrm rot="17637075">
              <a:off x="12776155" y="4115270"/>
              <a:ext cx="568367" cy="239021"/>
            </a:xfrm>
            <a:prstGeom prst="arc">
              <a:avLst>
                <a:gd name="adj1" fmla="val 15959368"/>
                <a:gd name="adj2" fmla="val 1354623"/>
              </a:avLst>
            </a:prstGeom>
            <a:noFill/>
            <a:ln w="19050" cap="flat" cmpd="sng" algn="ctr">
              <a:solidFill>
                <a:srgbClr val="4D82B8"/>
              </a:solidFill>
              <a:prstDash val="solid"/>
              <a:headEnd type="arrow" w="med" len="sm"/>
            </a:ln>
            <a:effectLst/>
          </p:spPr>
          <p:txBody>
            <a:bodyPr rtlCol="0" anchor="ctr"/>
            <a:lstStyle/>
            <a:p>
              <a:pPr algn="ctr"/>
              <a:endParaRPr lang="nl-NL">
                <a:solidFill>
                  <a:prstClr val="black"/>
                </a:solidFill>
              </a:endParaRPr>
            </a:p>
          </p:txBody>
        </p:sp>
      </p:grpSp>
      <p:sp>
        <p:nvSpPr>
          <p:cNvPr id="43" name="Tekstvak 42"/>
          <p:cNvSpPr txBox="1"/>
          <p:nvPr userDrawn="1"/>
        </p:nvSpPr>
        <p:spPr>
          <a:xfrm>
            <a:off x="13957562" y="3554977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7512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dirty="0">
                <a:solidFill>
                  <a:prstClr val="black"/>
                </a:solidFill>
                <a:cs typeface="Arial" panose="020B0604020202020204" pitchFamily="34" charset="0"/>
              </a:rPr>
              <a:t>Indeling</a:t>
            </a:r>
          </a:p>
        </p:txBody>
      </p:sp>
      <p:sp>
        <p:nvSpPr>
          <p:cNvPr id="44" name="Tekstvak 43"/>
          <p:cNvSpPr txBox="1"/>
          <p:nvPr userDrawn="1"/>
        </p:nvSpPr>
        <p:spPr>
          <a:xfrm>
            <a:off x="13944133" y="3876103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7512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dirty="0">
                <a:solidFill>
                  <a:prstClr val="black"/>
                </a:solidFill>
                <a:cs typeface="Arial" panose="020B0604020202020204" pitchFamily="34" charset="0"/>
              </a:rPr>
              <a:t>Dia Herstellen</a:t>
            </a:r>
          </a:p>
        </p:txBody>
      </p:sp>
      <p:pic>
        <p:nvPicPr>
          <p:cNvPr id="45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69835" y="3962803"/>
            <a:ext cx="143086" cy="231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5" name="Video icoon"/>
          <p:cNvGrpSpPr/>
          <p:nvPr userDrawn="1"/>
        </p:nvGrpSpPr>
        <p:grpSpPr>
          <a:xfrm>
            <a:off x="12753147" y="1125073"/>
            <a:ext cx="318325" cy="320332"/>
            <a:chOff x="8066315" y="1676399"/>
            <a:chExt cx="1371600" cy="1380253"/>
          </a:xfrm>
        </p:grpSpPr>
        <p:sp>
          <p:nvSpPr>
            <p:cNvPr id="36" name="Rechthoek 35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37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38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286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Afbeelding 150">
            <a:extLst>
              <a:ext uri="{FF2B5EF4-FFF2-40B4-BE49-F238E27FC236}">
                <a16:creationId xmlns:a16="http://schemas.microsoft.com/office/drawing/2014/main" id="{0BE286FB-8201-4900-AC1B-5109DC42B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19" y="3229990"/>
            <a:ext cx="1639482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8" name="Tijdelijke aanduiding voor media 7"/>
          <p:cNvSpPr>
            <a:spLocks noGrp="1"/>
          </p:cNvSpPr>
          <p:nvPr>
            <p:ph type="media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bIns="180000" anchor="ctr"/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in te voegen</a:t>
            </a: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VIDEO #2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4" name="Groep 103"/>
          <p:cNvGrpSpPr/>
          <p:nvPr userDrawn="1"/>
        </p:nvGrpSpPr>
        <p:grpSpPr>
          <a:xfrm>
            <a:off x="12391603" y="-17883"/>
            <a:ext cx="3183678" cy="5235577"/>
            <a:chOff x="12391603" y="-17883"/>
            <a:chExt cx="3183678" cy="5235577"/>
          </a:xfrm>
        </p:grpSpPr>
        <p:grpSp>
          <p:nvGrpSpPr>
            <p:cNvPr id="105" name="Meer informatie"/>
            <p:cNvGrpSpPr/>
            <p:nvPr userDrawn="1"/>
          </p:nvGrpSpPr>
          <p:grpSpPr>
            <a:xfrm>
              <a:off x="12396764" y="4434421"/>
              <a:ext cx="3178515" cy="783273"/>
              <a:chOff x="-3741486" y="3359148"/>
              <a:chExt cx="3178515" cy="783273"/>
            </a:xfrm>
          </p:grpSpPr>
          <p:sp>
            <p:nvSpPr>
              <p:cNvPr id="14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Rechthoek 14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50" name="Rechte verbindingslijn 14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0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07" name="Rechthoek 10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Video invoegen</a:t>
                </a:r>
              </a:p>
            </p:txBody>
          </p:sp>
          <p:sp>
            <p:nvSpPr>
              <p:cNvPr id="108" name="Ovaal 10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09" name="Rechte verbindingslijn 10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0" name="Rechte verbindingslijn 10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1" name="Rechthoek 11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/video. Klik op het pictogram om een nieuwe video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Ovaal 11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14" name="Rechthoek 11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video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15" name="Groep 11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45" name="Rechthoek 14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46" name="Rechte verbindingslijn 14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47" name="Gelijkbenige driehoek 14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16" name="Ovaal 11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7" name="Rechthoek 11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8" name="Rechte verbindingslijn 11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19" name="Groep 11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4" name="Rechthoek 123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Rechthoek 124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26" name="Groep 125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39" name="Rechthoek: afgeronde hoeken 138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3" name="Rechthoek 142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27" name="Groep 126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1" name="Groep 130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3" name="Rechthoek: afgeronde hoeken 132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" name="Rechthoek 133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5" name="Rechthoek 134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6" name="Rechthoek 135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7" name="Rechthoek 136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32" name="Boog 131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28" name="Tekstvak 127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29" name="Tekstvak 128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0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20" name="Video icoon"/>
              <p:cNvGrpSpPr/>
              <p:nvPr userDrawn="1"/>
            </p:nvGrpSpPr>
            <p:grpSpPr>
              <a:xfrm>
                <a:off x="12753147" y="1125073"/>
                <a:ext cx="318325" cy="320332"/>
                <a:chOff x="8066315" y="1676399"/>
                <a:chExt cx="1371600" cy="1380253"/>
              </a:xfrm>
            </p:grpSpPr>
            <p:sp>
              <p:nvSpPr>
                <p:cNvPr id="121" name="Rechthoek 120"/>
                <p:cNvSpPr/>
                <p:nvPr userDrawn="1"/>
              </p:nvSpPr>
              <p:spPr>
                <a:xfrm>
                  <a:off x="8066315" y="1687286"/>
                  <a:ext cx="1360714" cy="1360714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2" name="Vrije vorm 112"/>
                <p:cNvSpPr/>
                <p:nvPr userDrawn="1"/>
              </p:nvSpPr>
              <p:spPr>
                <a:xfrm>
                  <a:off x="8077201" y="1676399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3" name="Vrije vorm 113"/>
                <p:cNvSpPr/>
                <p:nvPr userDrawn="1"/>
              </p:nvSpPr>
              <p:spPr>
                <a:xfrm>
                  <a:off x="8071339" y="2849823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sp>
        <p:nvSpPr>
          <p:cNvPr id="13" name="Tijdelijke aanduiding voor datum 1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F1572A-DD81-401E-8E57-51268439E19B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 vert="horz" lIns="0" tIns="36000" rIns="0" bIns="0" rtlCol="0" anchor="ctr">
            <a:noAutofit/>
          </a:bodyPr>
          <a:lstStyle>
            <a:lvl1pPr>
              <a:defRPr lang="nl-N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6127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381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2D46F-52FB-43E4-90F9-46254DAED9AD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Grafiek</a:t>
            </a:r>
          </a:p>
        </p:txBody>
      </p:sp>
      <p:sp>
        <p:nvSpPr>
          <p:cNvPr id="9" name="Tijdelijke aanduiding voor grafiek 8"/>
          <p:cNvSpPr>
            <a:spLocks noGrp="1"/>
          </p:cNvSpPr>
          <p:nvPr userDrawn="1">
            <p:ph type="chart" sz="quarter" idx="15" hasCustomPrompt="1"/>
          </p:nvPr>
        </p:nvSpPr>
        <p:spPr>
          <a:xfrm>
            <a:off x="6464299" y="1179861"/>
            <a:ext cx="5357811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3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11450926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6" name="Groep 3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3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2" name="Rechthoek 4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43" name="Ovaal 4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5" name="Rechthoek 4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hthoek 4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9" name="Groep 4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0" name="Groep 9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1" name="Rechthoek 10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2" name="Pijl: punthaak 10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50" name="Groep 4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1" name="Groep 9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2" name="Rechthoek 9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3" name="Pijl: punthaak 9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2" name="Rechte verbindingslijn 5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9" name="Rechthoek 7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3" name="Rechthoek 8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4" name="Pijl: punthaak 8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4" name="Groep 5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8" name="Rechthoek 6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9" name="Groep 6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0" name="Groep 6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1" name="Groep 7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2" name="Rechthoek 7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3" name="Pijl: punthaak 7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5" name="Rechthoek 5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8" name="Rechthoek 5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59" name="Ovaal 5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0" name="Rechthoek 5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Ovaal 6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2" name="Rechthoek 6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63" name="Ovaal 6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4" name="Rechthoek 6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65" name="Ovaal 6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6" name="Rechthoek 6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67" name="Rechte verbindingslijn 6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8" name="Groep 107"/>
          <p:cNvGrpSpPr/>
          <p:nvPr userDrawn="1"/>
        </p:nvGrpSpPr>
        <p:grpSpPr>
          <a:xfrm>
            <a:off x="12391603" y="-17883"/>
            <a:ext cx="3183677" cy="6879634"/>
            <a:chOff x="12391603" y="-17883"/>
            <a:chExt cx="3183677" cy="6879634"/>
          </a:xfrm>
        </p:grpSpPr>
        <p:grpSp>
          <p:nvGrpSpPr>
            <p:cNvPr id="10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16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Rechthoek 16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7" name="Rechte verbindingslijn 16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51" name="Rechte verbindingslijn 150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52" name="Rechte verbindingslijn 151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53" name="Rechthoek 152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sp>
            <p:nvSpPr>
              <p:cNvPr id="154" name="Ovaal 153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55" name="Rechthoek 154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grafiek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56" name="Groep 155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3" name="Rechte verbindingslijn 16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64" name="Gelijkbenige driehoek 16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cxnSp>
            <p:nvCxnSpPr>
              <p:cNvPr id="157" name="Rechte verbindingslijn 156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58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159" name="Rechthoek 158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0" name="Rechthoek 159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1" name="Rechthoek 160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111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Rechthoek 112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114" name="Ovaal 113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5" name="Rechte verbindingslijn 114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6" name="Rechthoek 115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defRPr/>
                </a:pPr>
                <a:r>
                  <a:rPr lang="nl-NL" sz="1100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117" name="Groep 116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" name="Tekstvak 119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121" name="Tekstvak 120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12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123" name="Groep 122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</p:grpSp>
            <p:grpSp>
              <p:nvGrpSpPr>
                <p:cNvPr id="124" name="Groep 123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125" name="Rechthoek 124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white"/>
                      </a:solidFill>
                    </a:endParaRPr>
                  </a:p>
                </p:txBody>
              </p:sp>
              <p:grpSp>
                <p:nvGrpSpPr>
                  <p:cNvPr id="126" name="Groep 125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127" name="Groep 126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132" name="Rechthoek 131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grpSp>
                    <p:nvGrpSpPr>
                      <p:cNvPr id="133" name="Groep 132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139" name="Rechte verbindingslijn 13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141" name="Groep 140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142" name="Rechte verbindingslijn 14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3" name="Rechte verbindingslijn 14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4" name="Rechte verbindingslijn 14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5" name="Rechte verbindingslijn 144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134" name="Rechte verbindingslijn 133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5" name="Groep 134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136" name="Rechte verbindingslijn 13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7" name="Rechte verbindingslijn 13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8" name="Rechte verbindingslijn 137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128" name="Groep 127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129" name="Rechthoek 128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130" name="Rechthoek: afgeronde bovenhoeken 129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131" name="Gelijkbenige driehoek 130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137765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299" y="365126"/>
            <a:ext cx="1145381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86CCE-0E0C-4A3A-822C-655D1E4B554D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Grafiek</a:t>
            </a:r>
          </a:p>
        </p:txBody>
      </p:sp>
      <p:sp>
        <p:nvSpPr>
          <p:cNvPr id="27" name="Tijdelijke aanduiding voor grafiek 8"/>
          <p:cNvSpPr>
            <a:spLocks noGrp="1"/>
          </p:cNvSpPr>
          <p:nvPr>
            <p:ph type="chart" sz="quarter" idx="15" hasCustomPrompt="1"/>
          </p:nvPr>
        </p:nvSpPr>
        <p:spPr>
          <a:xfrm>
            <a:off x="368301" y="1179861"/>
            <a:ext cx="11453810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2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3" y="-17883"/>
            <a:ext cx="3183677" cy="6879634"/>
            <a:chOff x="12391603" y="-17883"/>
            <a:chExt cx="3183677" cy="687963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30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2" name="Rechte verbindingslijn 31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3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34" name="Rechthoek 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35" name="Ovaal 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8" name="Rechthoek 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Ovaal 38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grafiek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1" name="Groep 40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47" name="Rechthoek 46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48" name="Rechte verbindingslijn 47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49" name="Gelijkbenige driehoek 48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3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44" name="Rechthoek 43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" name="Rechthoek 44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6" name="Rechthoek 45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50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2" name="Rechthoek 51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5" name="Rechthoek 54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defRPr/>
                </a:pPr>
                <a:r>
                  <a:rPr lang="nl-NL" sz="1100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56" name="Groep 55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Rechthoek 57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Tekstvak 58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60" name="Tekstvak 59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61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62" name="Groep 61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85" name="Rechthoek 84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86" name="Rechthoek 85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87" name="Rechthoek 86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</p:grpSp>
            <p:grpSp>
              <p:nvGrpSpPr>
                <p:cNvPr id="63" name="Groep 62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64" name="Rechthoek 63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white"/>
                      </a:solidFill>
                    </a:endParaRPr>
                  </a:p>
                </p:txBody>
              </p:sp>
              <p:grpSp>
                <p:nvGrpSpPr>
                  <p:cNvPr id="65" name="Groep 64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66" name="Groep 65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71" name="Rechthoek 70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grpSp>
                    <p:nvGrpSpPr>
                      <p:cNvPr id="72" name="Groep 71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78" name="Rechte verbindingslijn 77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9" name="Rechte verbindingslijn 7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80" name="Groep 79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81" name="Rechte verbindingslijn 80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2" name="Rechte verbindingslijn 8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3" name="Rechte verbindingslijn 8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4" name="Rechte verbindingslijn 8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73" name="Rechte verbindingslijn 72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74" name="Groep 73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75" name="Rechte verbindingslijn 74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6" name="Rechte verbindingslijn 7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7" name="Rechte verbindingslijn 7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67" name="Groep 66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68" name="Rechthoek 67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69" name="Rechthoek: afgeronde bovenhoeken 68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70" name="Gelijkbenige driehoek 69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1072591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C1A6EF-0D7D-46B1-9F71-13B087D9AB2A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Tabel</a:t>
            </a:r>
          </a:p>
        </p:txBody>
      </p:sp>
      <p:sp>
        <p:nvSpPr>
          <p:cNvPr id="37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6278568" y="1179861"/>
            <a:ext cx="5545132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3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9" name="Groep 38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0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5" name="Rechthoek 44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46" name="Ovaal 45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9" name="Rechte verbindingslijn 48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Rechthoek 50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52" name="Groep 51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3" name="Groep 92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9" name="Rechte verbindingslijn 98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0" name="Rechte verbindingslijn 99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1" name="Rechte verbindingslijn 100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4" name="Groep 93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5" name="Rechthoek 94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6" name="Pijl: punthaak 95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6" name="Groep 55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82" name="Rechthoek 81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3" name="Groep 82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4" name="Groep 83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1" name="Rechte verbindingslijn 90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2" name="Rechte verbindingslijn 91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5" name="Groep 84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6" name="Rechthoek 85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7" name="Pijl: punthaak 86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7" name="Groep 56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2" name="Groep 71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3" name="Groep 72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0" name="Rechte verbindingslijn 79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1" name="Rechte verbindingslijn 80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4" name="Groep 73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5" name="Rechthoek 7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6" name="Pijl: punthaak 7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8" name="Rechthoek 57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1" name="Rechthoek 60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66" name="Ovaal 65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7" name="Rechthoek 66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68" name="Ovaal 67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9" name="Rechthoek 68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41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4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38" name="Groep 137"/>
          <p:cNvGrpSpPr/>
          <p:nvPr userDrawn="1"/>
        </p:nvGrpSpPr>
        <p:grpSpPr>
          <a:xfrm>
            <a:off x="12391603" y="-17883"/>
            <a:ext cx="3183677" cy="3416764"/>
            <a:chOff x="12391603" y="-17883"/>
            <a:chExt cx="3183677" cy="3416764"/>
          </a:xfrm>
        </p:grpSpPr>
        <p:grpSp>
          <p:nvGrpSpPr>
            <p:cNvPr id="111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11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Rechthoek 11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4" name="Rechte verbindingslijn 11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5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116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126" name="Rechthoek 125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>
                    <a:lnSpc>
                      <a:spcPct val="80000"/>
                    </a:lnSpc>
                    <a:defRPr/>
                  </a:pPr>
                  <a:r>
                    <a:rPr lang="nl-NL" sz="1400" b="1" kern="0" cap="all" dirty="0">
                      <a:solidFill>
                        <a:srgbClr val="002C51"/>
                      </a:solidFill>
                      <a:latin typeface="Gill Sans M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127" name="Ovaal 126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128" name="Rechte verbindingslijn 127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129" name="Rechte verbindingslijn 128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130" name="Rechthoek 129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nl-NL" sz="1100" i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(zie onderstaand voorbeeld).</a:t>
                  </a:r>
                  <a:endPara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1" name="Ovaal 130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 dirty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132" name="Rechthoek 131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lang="nl-NL" sz="1100" b="1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OK’</a:t>
                  </a: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.</a:t>
                  </a:r>
                  <a:endPara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3" name="Groep 132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135" name="Rechthoek 134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136" name="Rechte verbindingslijn 135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137" name="Gelijkbenige driehoek 136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cxnSp>
              <p:nvCxnSpPr>
                <p:cNvPr id="134" name="Rechte verbindingslijn 133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117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cxnSp>
              <p:nvCxnSpPr>
                <p:cNvPr id="120" name="Rechte verbindingslijn 119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Rechte verbindingslijn 120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hthoek 124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91638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FE6E4B-7EE7-4ADC-98CA-0935243E8974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Tabel</a:t>
            </a:r>
          </a:p>
        </p:txBody>
      </p:sp>
      <p:sp>
        <p:nvSpPr>
          <p:cNvPr id="26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368300" y="1179861"/>
            <a:ext cx="11455400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2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8" name="Groep 27"/>
          <p:cNvGrpSpPr/>
          <p:nvPr userDrawn="1"/>
        </p:nvGrpSpPr>
        <p:grpSpPr>
          <a:xfrm>
            <a:off x="12391603" y="-17883"/>
            <a:ext cx="3183677" cy="3416764"/>
            <a:chOff x="12391603" y="-17883"/>
            <a:chExt cx="3183677" cy="341676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53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31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41" name="Rechthoek 40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>
                    <a:lnSpc>
                      <a:spcPct val="80000"/>
                    </a:lnSpc>
                    <a:defRPr/>
                  </a:pPr>
                  <a:r>
                    <a:rPr lang="nl-NL" sz="1400" b="1" kern="0" cap="all" dirty="0">
                      <a:solidFill>
                        <a:srgbClr val="002C51"/>
                      </a:solidFill>
                      <a:latin typeface="Gill Sans M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42" name="Ovaal 41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43" name="Rechte verbindingslijn 42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44" name="Rechte verbindingslijn 43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45" name="Rechthoek 44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nl-NL" sz="1100" i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(zie onderstaand voorbeeld).</a:t>
                  </a:r>
                  <a:endPara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6" name="Ovaal 45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 dirty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47" name="Rechthoek 46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lang="nl-NL" sz="1100" b="1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OK’</a:t>
                  </a: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.</a:t>
                  </a:r>
                  <a:endPara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48" name="Groep 47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50" name="Rechthoek 49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51" name="Rechte verbindingslijn 50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52" name="Gelijkbenige driehoek 51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cxnSp>
              <p:nvCxnSpPr>
                <p:cNvPr id="49" name="Rechte verbindingslijn 48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32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33" name="Rechthoek 32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Rechthoek 33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cxnSp>
              <p:nvCxnSpPr>
                <p:cNvPr id="35" name="Rechte verbindingslijn 34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Rechte verbindingslijn 35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Rechte verbindingslijn 36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Rechte verbindingslijn 37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Rechte verbindingslijn 38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hthoek 39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966738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Blauw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C128D-1DCE-4FF8-9162-5773BCB691D1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7950200" y="-279400"/>
            <a:ext cx="4241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afbeelding (Titel blauw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15028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verz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66F11-841E-4B40-81F9-14154D49EE92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</a:t>
            </a:r>
            <a:r>
              <a:rPr lang="nl-NL" dirty="0" err="1">
                <a:solidFill>
                  <a:prstClr val="white">
                    <a:lumMod val="50000"/>
                  </a:prstClr>
                </a:solidFill>
              </a:rPr>
              <a:t>Nedcarc</a:t>
            </a:r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Logo Overzich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65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66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Rechthoek 166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8" name="Rechte verbindingslijn 167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69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70" name="Rechthoek 169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71" name="Ovaal 170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72" name="Rechte verbindingslijn 171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73" name="Rechte verbindingslijn 172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4" name="Rechthoek 173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75" name="Rechte verbindingslijn 174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6" name="Ovaal 175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77" name="Rechthoek 176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78" name="Groep 177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06" name="Rechthoek 205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07" name="Rechte verbindingslijn 206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08" name="Gelijkbenige driehoek 207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79" name="Groep 178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00" name="Rechthoek 199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Ovaal 200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Vrije vorm: vorm 201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Rechthoek: afgeronde hoeken 202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04" name="Rechte verbindingslijn 203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05" name="Rechte verbindingslijn 204"/>
                <p:cNvCxnSpPr>
                  <a:cxnSpLocks/>
                  <a:stCxn id="203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80" name="Ovaal 179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81" name="Rechthoek 180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 en klik op de kn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Bijsnijd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82" name="Rechte verbindingslijn 18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83" name="Groep 182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184" name="Groep 183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187" name="Groep 186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194" name="Groep 193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197" name="Rechthoek 196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8" name="Rechthoek 197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9" name="Ovaal 198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nl-NL" sz="1000" b="1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95" name="Afbeelding 194"/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" name="Afbeelding 195"/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88" name="Groep 187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2" name="Rechthoek 191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93" name="Rechthoek 192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189" name="Groep 188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0" name="Rechthoek 189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91" name="Rechthoek 190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85" name="Rechthoek 184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86" name="Gelijkbenige driehoek 185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250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1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3092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2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42523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3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61954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4" name="Tijdelijke aanduiding voor verticale tekst 2"/>
          <p:cNvSpPr>
            <a:spLocks noGrp="1"/>
          </p:cNvSpPr>
          <p:nvPr>
            <p:ph type="body" orient="vert" idx="18" hasCustomPrompt="1"/>
          </p:nvPr>
        </p:nvSpPr>
        <p:spPr>
          <a:xfrm>
            <a:off x="81385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5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00816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6" name="Tijdelijke aanduiding voor verticale tekst 2"/>
          <p:cNvSpPr>
            <a:spLocks noGrp="1"/>
          </p:cNvSpPr>
          <p:nvPr>
            <p:ph type="body" orient="vert" idx="20" hasCustomPrompt="1"/>
          </p:nvPr>
        </p:nvSpPr>
        <p:spPr>
          <a:xfrm>
            <a:off x="3661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7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3092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42523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9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61954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81385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1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100816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61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23092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42523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61954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1385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100816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8" name="Tijdelijke aanduiding voor verticale tekst 2"/>
          <p:cNvSpPr>
            <a:spLocks noGrp="1"/>
          </p:cNvSpPr>
          <p:nvPr>
            <p:ph type="body" orient="vert" idx="32" hasCustomPrompt="1"/>
          </p:nvPr>
        </p:nvSpPr>
        <p:spPr>
          <a:xfrm>
            <a:off x="3661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23092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42523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61954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81385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3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00816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4" name="Tijdelijke aanduiding voor afbeelding 45"/>
          <p:cNvSpPr>
            <a:spLocks noGrp="1"/>
          </p:cNvSpPr>
          <p:nvPr>
            <p:ph type="pic" sz="quarter" idx="38" hasCustomPrompt="1"/>
          </p:nvPr>
        </p:nvSpPr>
        <p:spPr>
          <a:xfrm>
            <a:off x="6059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5" name="Tijdelijke aanduiding voor afbeelding 45"/>
          <p:cNvSpPr>
            <a:spLocks noGrp="1"/>
          </p:cNvSpPr>
          <p:nvPr>
            <p:ph type="pic" sz="quarter" idx="39" hasCustomPrompt="1"/>
          </p:nvPr>
        </p:nvSpPr>
        <p:spPr>
          <a:xfrm>
            <a:off x="25490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6" name="Tijdelijke aanduiding voor afbeelding 45"/>
          <p:cNvSpPr>
            <a:spLocks noGrp="1"/>
          </p:cNvSpPr>
          <p:nvPr>
            <p:ph type="pic" sz="quarter" idx="40" hasCustomPrompt="1"/>
          </p:nvPr>
        </p:nvSpPr>
        <p:spPr>
          <a:xfrm>
            <a:off x="44921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7" name="Tijdelijke aanduiding voor afbeelding 45"/>
          <p:cNvSpPr>
            <a:spLocks noGrp="1"/>
          </p:cNvSpPr>
          <p:nvPr>
            <p:ph type="pic" sz="quarter" idx="41" hasCustomPrompt="1"/>
          </p:nvPr>
        </p:nvSpPr>
        <p:spPr>
          <a:xfrm>
            <a:off x="64352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8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83783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9" name="Tijdelijke aanduiding voor afbeelding 45"/>
          <p:cNvSpPr>
            <a:spLocks noGrp="1"/>
          </p:cNvSpPr>
          <p:nvPr>
            <p:ph type="pic" sz="quarter" idx="43" hasCustomPrompt="1"/>
          </p:nvPr>
        </p:nvSpPr>
        <p:spPr>
          <a:xfrm>
            <a:off x="103214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0" name="Tijdelijke aanduiding voor afbeelding 45"/>
          <p:cNvSpPr>
            <a:spLocks noGrp="1"/>
          </p:cNvSpPr>
          <p:nvPr>
            <p:ph type="pic" sz="quarter" idx="44" hasCustomPrompt="1"/>
          </p:nvPr>
        </p:nvSpPr>
        <p:spPr>
          <a:xfrm>
            <a:off x="6059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1" name="Tijdelijke aanduiding voor afbeelding 45"/>
          <p:cNvSpPr>
            <a:spLocks noGrp="1"/>
          </p:cNvSpPr>
          <p:nvPr>
            <p:ph type="pic" sz="quarter" idx="45" hasCustomPrompt="1"/>
          </p:nvPr>
        </p:nvSpPr>
        <p:spPr>
          <a:xfrm>
            <a:off x="25490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2" name="Tijdelijke aanduiding voor afbeelding 45"/>
          <p:cNvSpPr>
            <a:spLocks noGrp="1"/>
          </p:cNvSpPr>
          <p:nvPr>
            <p:ph type="pic" sz="quarter" idx="46" hasCustomPrompt="1"/>
          </p:nvPr>
        </p:nvSpPr>
        <p:spPr>
          <a:xfrm>
            <a:off x="44921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3" name="Tijdelijke aanduiding voor afbeelding 45"/>
          <p:cNvSpPr>
            <a:spLocks noGrp="1"/>
          </p:cNvSpPr>
          <p:nvPr>
            <p:ph type="pic" sz="quarter" idx="47" hasCustomPrompt="1"/>
          </p:nvPr>
        </p:nvSpPr>
        <p:spPr>
          <a:xfrm>
            <a:off x="64352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4" name="Tijdelijke aanduiding voor afbeelding 45"/>
          <p:cNvSpPr>
            <a:spLocks noGrp="1"/>
          </p:cNvSpPr>
          <p:nvPr>
            <p:ph type="pic" sz="quarter" idx="48" hasCustomPrompt="1"/>
          </p:nvPr>
        </p:nvSpPr>
        <p:spPr>
          <a:xfrm>
            <a:off x="83783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5" name="Tijdelijke aanduiding voor afbeelding 45"/>
          <p:cNvSpPr>
            <a:spLocks noGrp="1"/>
          </p:cNvSpPr>
          <p:nvPr>
            <p:ph type="pic" sz="quarter" idx="49" hasCustomPrompt="1"/>
          </p:nvPr>
        </p:nvSpPr>
        <p:spPr>
          <a:xfrm>
            <a:off x="103214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6" name="Tijdelijke aanduiding voor afbeelding 45"/>
          <p:cNvSpPr>
            <a:spLocks noGrp="1"/>
          </p:cNvSpPr>
          <p:nvPr>
            <p:ph type="pic" sz="quarter" idx="50" hasCustomPrompt="1"/>
          </p:nvPr>
        </p:nvSpPr>
        <p:spPr>
          <a:xfrm>
            <a:off x="6059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7" name="Tijdelijke aanduiding voor afbeelding 45"/>
          <p:cNvSpPr>
            <a:spLocks noGrp="1"/>
          </p:cNvSpPr>
          <p:nvPr>
            <p:ph type="pic" sz="quarter" idx="51" hasCustomPrompt="1"/>
          </p:nvPr>
        </p:nvSpPr>
        <p:spPr>
          <a:xfrm>
            <a:off x="25490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8" name="Tijdelijke aanduiding voor afbeelding 45"/>
          <p:cNvSpPr>
            <a:spLocks noGrp="1"/>
          </p:cNvSpPr>
          <p:nvPr>
            <p:ph type="pic" sz="quarter" idx="52" hasCustomPrompt="1"/>
          </p:nvPr>
        </p:nvSpPr>
        <p:spPr>
          <a:xfrm>
            <a:off x="44921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9" name="Tijdelijke aanduiding voor afbeelding 45"/>
          <p:cNvSpPr>
            <a:spLocks noGrp="1"/>
          </p:cNvSpPr>
          <p:nvPr>
            <p:ph type="pic" sz="quarter" idx="53" hasCustomPrompt="1"/>
          </p:nvPr>
        </p:nvSpPr>
        <p:spPr>
          <a:xfrm>
            <a:off x="64352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0" name="Tijdelijke aanduiding voor afbeelding 45"/>
          <p:cNvSpPr>
            <a:spLocks noGrp="1"/>
          </p:cNvSpPr>
          <p:nvPr>
            <p:ph type="pic" sz="quarter" idx="54" hasCustomPrompt="1"/>
          </p:nvPr>
        </p:nvSpPr>
        <p:spPr>
          <a:xfrm>
            <a:off x="83783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1" name="Tijdelijke aanduiding voor afbeelding 45"/>
          <p:cNvSpPr>
            <a:spLocks noGrp="1"/>
          </p:cNvSpPr>
          <p:nvPr>
            <p:ph type="pic" sz="quarter" idx="55" hasCustomPrompt="1"/>
          </p:nvPr>
        </p:nvSpPr>
        <p:spPr>
          <a:xfrm>
            <a:off x="103214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2" name="Tijdelijke aanduiding voor afbeelding 45"/>
          <p:cNvSpPr>
            <a:spLocks noGrp="1"/>
          </p:cNvSpPr>
          <p:nvPr>
            <p:ph type="pic" sz="quarter" idx="56" hasCustomPrompt="1"/>
          </p:nvPr>
        </p:nvSpPr>
        <p:spPr>
          <a:xfrm>
            <a:off x="6059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3" name="Tijdelijke aanduiding voor afbeelding 45"/>
          <p:cNvSpPr>
            <a:spLocks noGrp="1"/>
          </p:cNvSpPr>
          <p:nvPr>
            <p:ph type="pic" sz="quarter" idx="57" hasCustomPrompt="1"/>
          </p:nvPr>
        </p:nvSpPr>
        <p:spPr>
          <a:xfrm>
            <a:off x="25490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4" name="Tijdelijke aanduiding voor afbeelding 45"/>
          <p:cNvSpPr>
            <a:spLocks noGrp="1"/>
          </p:cNvSpPr>
          <p:nvPr>
            <p:ph type="pic" sz="quarter" idx="58" hasCustomPrompt="1"/>
          </p:nvPr>
        </p:nvSpPr>
        <p:spPr>
          <a:xfrm>
            <a:off x="44921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5" name="Tijdelijke aanduiding voor afbeelding 45"/>
          <p:cNvSpPr>
            <a:spLocks noGrp="1"/>
          </p:cNvSpPr>
          <p:nvPr>
            <p:ph type="pic" sz="quarter" idx="59" hasCustomPrompt="1"/>
          </p:nvPr>
        </p:nvSpPr>
        <p:spPr>
          <a:xfrm>
            <a:off x="64352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6" name="Tijdelijke aanduiding voor afbeelding 45"/>
          <p:cNvSpPr>
            <a:spLocks noGrp="1"/>
          </p:cNvSpPr>
          <p:nvPr>
            <p:ph type="pic" sz="quarter" idx="60" hasCustomPrompt="1"/>
          </p:nvPr>
        </p:nvSpPr>
        <p:spPr>
          <a:xfrm>
            <a:off x="83783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7" name="Tijdelijke aanduiding voor afbeelding 45"/>
          <p:cNvSpPr>
            <a:spLocks noGrp="1"/>
          </p:cNvSpPr>
          <p:nvPr>
            <p:ph type="pic" sz="quarter" idx="61" hasCustomPrompt="1"/>
          </p:nvPr>
        </p:nvSpPr>
        <p:spPr>
          <a:xfrm>
            <a:off x="103214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</p:spTree>
    <p:extLst>
      <p:ext uri="{BB962C8B-B14F-4D97-AF65-F5344CB8AC3E}">
        <p14:creationId xmlns:p14="http://schemas.microsoft.com/office/powerpoint/2010/main" val="327249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4" grpId="0"/>
      <p:bldP spid="275" grpId="0"/>
      <p:bldP spid="276" grpId="0"/>
      <p:bldP spid="277" grpId="0"/>
      <p:bldP spid="278" grpId="0"/>
      <p:bldP spid="279" grpId="0"/>
      <p:bldP spid="280" grpId="0"/>
      <p:bldP spid="281" grpId="0"/>
      <p:bldP spid="282" grpId="0"/>
      <p:bldP spid="283" grpId="0"/>
      <p:bldP spid="284" grpId="0"/>
      <p:bldP spid="285" grpId="0"/>
      <p:bldP spid="286" grpId="0"/>
      <p:bldP spid="287" grpId="0"/>
      <p:bldP spid="288" grpId="0"/>
      <p:bldP spid="289" grpId="0"/>
      <p:bldP spid="290" grpId="0"/>
      <p:bldP spid="291" grpId="0"/>
      <p:bldP spid="292" grpId="0"/>
      <p:bldP spid="293" grpId="0"/>
      <p:bldP spid="294" grpId="0"/>
      <p:bldP spid="295" grpId="0"/>
      <p:bldP spid="296" grpId="0"/>
      <p:bldP spid="297" grpId="0"/>
    </p:bld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827659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29" hasCustomPrompt="1"/>
          </p:nvPr>
        </p:nvSpPr>
        <p:spPr>
          <a:xfrm>
            <a:off x="8276596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27659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8CAAB-3B13-4D64-B39F-6F822CC2E0F0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3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433313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9"/>
          <p:cNvSpPr>
            <a:spLocks noGrp="1"/>
          </p:cNvSpPr>
          <p:nvPr>
            <p:ph type="pic" sz="quarter" idx="26" hasCustomPrompt="1"/>
          </p:nvPr>
        </p:nvSpPr>
        <p:spPr>
          <a:xfrm>
            <a:off x="4333136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433313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2F03B4BA-F6F9-40B7-B0C8-69E5F24A8777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99" name="Afbeelding 98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5" name="Rechthoek 104"/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6" name="Ovaal 105"/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7" name="Rechte verbindingslijn 106"/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8" name="Rechte verbindingslijn 107"/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Rechthoek 108"/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0" name="Rechte verbindingslijn 109"/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1" name="Ovaal 110"/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2" name="Rechthoek 111"/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2" name="Groep 121"/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5" name="Rechthoek 154"/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6" name="Rechte verbindingslijn 155"/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7" name="Gelijkbenige driehoek 156"/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23" name="Groep 122"/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Vrije vorm: vorm 150"/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Rechthoek: afgeronde hoeken 151"/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53" name="Rechte verbindingslijn 152"/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4" name="Rechte verbindingslijn 153"/>
              <p:cNvCxnSpPr>
                <a:cxnSpLocks/>
                <a:stCxn id="15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24" name="Ovaal 123"/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25" name="Rechthoek 124"/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/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7" name="Groep 126"/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8" name="Rechthoek 127"/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9" name="Rechthoek 128"/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30" name="Groep 129"/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43" name="Rechthoek: afgeronde hoeken 142"/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" name="Rechthoek 143"/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5" name="Rechthoek 144"/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6" name="Rechthoek 145"/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7" name="Rechthoek 146"/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8" name="Rechthoek 147"/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1" name="Groep 130"/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5" name="Groep 134"/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7" name="Rechthoek: afgeronde hoeken 136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8" name="Rechthoek 137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9" name="Rechthoek 138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6" name="Boog 135"/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32" name="Tekstvak 131"/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33" name="Tekstvak 132"/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4" name="Picture 3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01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0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Rechthoek 10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04" name="Rechte verbindingslijn 10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112579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71179-CAC2-4F6A-8E64-5EA875A4717E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4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0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3347271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afbeelding 39"/>
          <p:cNvSpPr>
            <a:spLocks noGrp="1"/>
          </p:cNvSpPr>
          <p:nvPr>
            <p:ph type="pic" sz="quarter" idx="32" hasCustomPrompt="1"/>
          </p:nvPr>
        </p:nvSpPr>
        <p:spPr>
          <a:xfrm>
            <a:off x="3347271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0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3347271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6304867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afbeelding 39"/>
          <p:cNvSpPr>
            <a:spLocks noGrp="1"/>
          </p:cNvSpPr>
          <p:nvPr>
            <p:ph type="pic" sz="quarter" idx="35" hasCustomPrompt="1"/>
          </p:nvPr>
        </p:nvSpPr>
        <p:spPr>
          <a:xfrm>
            <a:off x="6304867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6304867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9262462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9"/>
          <p:cNvSpPr>
            <a:spLocks noGrp="1"/>
          </p:cNvSpPr>
          <p:nvPr>
            <p:ph type="pic" sz="quarter" idx="38" hasCustomPrompt="1"/>
          </p:nvPr>
        </p:nvSpPr>
        <p:spPr>
          <a:xfrm>
            <a:off x="9262462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9262462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1" name="Groep 160">
            <a:extLst>
              <a:ext uri="{FF2B5EF4-FFF2-40B4-BE49-F238E27FC236}">
                <a16:creationId xmlns:a16="http://schemas.microsoft.com/office/drawing/2014/main" id="{FCCEFB53-926B-43A5-B15D-C393B347BA7A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62" name="Afbeelding 161">
              <a:extLst>
                <a:ext uri="{FF2B5EF4-FFF2-40B4-BE49-F238E27FC236}">
                  <a16:creationId xmlns:a16="http://schemas.microsoft.com/office/drawing/2014/main" id="{3A99021C-1B73-45AC-9E0D-0BA5D305DF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9B8684C5-75ED-478A-BBAD-52500D10A50D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1EF576AE-826F-49DE-AE9D-26CBDC98975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5" name="Rechte verbindingslijn 164">
              <a:extLst>
                <a:ext uri="{FF2B5EF4-FFF2-40B4-BE49-F238E27FC236}">
                  <a16:creationId xmlns:a16="http://schemas.microsoft.com/office/drawing/2014/main" id="{D2002A68-8E60-4B1A-AD5F-F4F94FC5C1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6" name="Rechte verbindingslijn 165">
              <a:extLst>
                <a:ext uri="{FF2B5EF4-FFF2-40B4-BE49-F238E27FC236}">
                  <a16:creationId xmlns:a16="http://schemas.microsoft.com/office/drawing/2014/main" id="{08E75B8E-FCBA-4D8D-A676-4CD4F31EA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0B3E36AC-A52B-4D6C-81A6-99225B4AF218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F6517321-962A-4431-9C8D-7BD93F887E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9" name="Ovaal 168">
              <a:extLst>
                <a:ext uri="{FF2B5EF4-FFF2-40B4-BE49-F238E27FC236}">
                  <a16:creationId xmlns:a16="http://schemas.microsoft.com/office/drawing/2014/main" id="{875DD6BB-72DA-4541-A07D-08C37A1D6B0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EC3C8B96-A4ED-4876-A4CC-821810C4296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71" name="Groep 170">
              <a:extLst>
                <a:ext uri="{FF2B5EF4-FFF2-40B4-BE49-F238E27FC236}">
                  <a16:creationId xmlns:a16="http://schemas.microsoft.com/office/drawing/2014/main" id="{F2357E44-78CA-45A3-956B-965161D93275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08" name="Rechthoek 207">
                <a:extLst>
                  <a:ext uri="{FF2B5EF4-FFF2-40B4-BE49-F238E27FC236}">
                    <a16:creationId xmlns:a16="http://schemas.microsoft.com/office/drawing/2014/main" id="{0968A9B8-C0BC-459A-BA15-75EF9F09CCA5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CA830A2C-618E-47BF-9D3A-55DD1546A2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0" name="Gelijkbenige driehoek 209">
                <a:extLst>
                  <a:ext uri="{FF2B5EF4-FFF2-40B4-BE49-F238E27FC236}">
                    <a16:creationId xmlns:a16="http://schemas.microsoft.com/office/drawing/2014/main" id="{56B033E5-EC50-4438-BF01-1AB2254EF26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8DC86FEC-AE61-41F2-B99F-7F06AC040A8E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2" name="Rechthoek 201">
                <a:extLst>
                  <a:ext uri="{FF2B5EF4-FFF2-40B4-BE49-F238E27FC236}">
                    <a16:creationId xmlns:a16="http://schemas.microsoft.com/office/drawing/2014/main" id="{0E48B30F-2417-4027-A68E-502802915B0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3" name="Ovaal 202">
                <a:extLst>
                  <a:ext uri="{FF2B5EF4-FFF2-40B4-BE49-F238E27FC236}">
                    <a16:creationId xmlns:a16="http://schemas.microsoft.com/office/drawing/2014/main" id="{6BB66B2B-0443-44EE-86EF-9ADAFA26DDA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Vrije vorm: vorm 203">
                <a:extLst>
                  <a:ext uri="{FF2B5EF4-FFF2-40B4-BE49-F238E27FC236}">
                    <a16:creationId xmlns:a16="http://schemas.microsoft.com/office/drawing/2014/main" id="{4BC0AA19-3AA7-4497-AC19-7BE63BB2CA6B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Rechthoek: afgeronde hoeken 204">
                <a:extLst>
                  <a:ext uri="{FF2B5EF4-FFF2-40B4-BE49-F238E27FC236}">
                    <a16:creationId xmlns:a16="http://schemas.microsoft.com/office/drawing/2014/main" id="{F2A43995-E44A-4567-9C15-9B1ACE11309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206" name="Rechte verbindingslijn 205">
                <a:extLst>
                  <a:ext uri="{FF2B5EF4-FFF2-40B4-BE49-F238E27FC236}">
                    <a16:creationId xmlns:a16="http://schemas.microsoft.com/office/drawing/2014/main" id="{3C9BD617-A860-4012-A1F2-BFAAF3A2555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7" name="Rechte verbindingslijn 206">
                <a:extLst>
                  <a:ext uri="{FF2B5EF4-FFF2-40B4-BE49-F238E27FC236}">
                    <a16:creationId xmlns:a16="http://schemas.microsoft.com/office/drawing/2014/main" id="{ACAAB843-9003-4FC7-A8B5-E2ECD47E8001}"/>
                  </a:ext>
                </a:extLst>
              </p:cNvPr>
              <p:cNvCxnSpPr>
                <a:cxnSpLocks/>
                <a:stCxn id="20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3" name="Ovaal 172">
              <a:extLst>
                <a:ext uri="{FF2B5EF4-FFF2-40B4-BE49-F238E27FC236}">
                  <a16:creationId xmlns:a16="http://schemas.microsoft.com/office/drawing/2014/main" id="{6E96B380-58E2-471D-9744-63A03ABA625C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1C052F2-3015-408F-A310-B5C9BD9A681D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75" name="Rechte verbindingslijn 174">
              <a:extLst>
                <a:ext uri="{FF2B5EF4-FFF2-40B4-BE49-F238E27FC236}">
                  <a16:creationId xmlns:a16="http://schemas.microsoft.com/office/drawing/2014/main" id="{D1DC919E-DD42-4DE0-B301-429EE7292B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6" name="Groep 175">
              <a:extLst>
                <a:ext uri="{FF2B5EF4-FFF2-40B4-BE49-F238E27FC236}">
                  <a16:creationId xmlns:a16="http://schemas.microsoft.com/office/drawing/2014/main" id="{11B11B8F-B9C0-4E6E-A0BC-47375EC6A1CF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423346B5-4BFA-41F8-9AEC-3B60B611AB4A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99F3326D-20BC-4B71-8064-1442FB78EEED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3" name="Groep 182">
                <a:extLst>
                  <a:ext uri="{FF2B5EF4-FFF2-40B4-BE49-F238E27FC236}">
                    <a16:creationId xmlns:a16="http://schemas.microsoft.com/office/drawing/2014/main" id="{E9D47A58-71F3-4D64-9061-D9D134550845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6" name="Rechthoek: afgeronde hoeken 195">
                  <a:extLst>
                    <a:ext uri="{FF2B5EF4-FFF2-40B4-BE49-F238E27FC236}">
                      <a16:creationId xmlns:a16="http://schemas.microsoft.com/office/drawing/2014/main" id="{B0FC5052-23D2-4769-BB7E-B1A5E3ED711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48307DBB-7A5C-4ACC-9A6B-435633C63DB6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Rechthoek 197">
                  <a:extLst>
                    <a:ext uri="{FF2B5EF4-FFF2-40B4-BE49-F238E27FC236}">
                      <a16:creationId xmlns:a16="http://schemas.microsoft.com/office/drawing/2014/main" id="{86C2BE51-82C1-45ED-AEB9-F7264120349F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Rechthoek 198">
                  <a:extLst>
                    <a:ext uri="{FF2B5EF4-FFF2-40B4-BE49-F238E27FC236}">
                      <a16:creationId xmlns:a16="http://schemas.microsoft.com/office/drawing/2014/main" id="{47C69D9F-B551-4F47-90A1-C851A8E5CC0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0223528A-E41D-4AFB-B26F-4A80EC0B372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A1F2EA93-C5B2-4F45-9ECF-89EBAB3249DD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4" name="Groep 183">
                <a:extLst>
                  <a:ext uri="{FF2B5EF4-FFF2-40B4-BE49-F238E27FC236}">
                    <a16:creationId xmlns:a16="http://schemas.microsoft.com/office/drawing/2014/main" id="{FFFB3BA9-F231-4D9A-80B7-BA09F4FAF52E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88" name="Groep 187">
                  <a:extLst>
                    <a:ext uri="{FF2B5EF4-FFF2-40B4-BE49-F238E27FC236}">
                      <a16:creationId xmlns:a16="http://schemas.microsoft.com/office/drawing/2014/main" id="{28261D45-497A-4B0E-905B-83D8A856FEAF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0" name="Rechthoek: afgeronde hoeken 189">
                    <a:extLst>
                      <a:ext uri="{FF2B5EF4-FFF2-40B4-BE49-F238E27FC236}">
                        <a16:creationId xmlns:a16="http://schemas.microsoft.com/office/drawing/2014/main" id="{813C5FE2-9BC2-4D0C-9275-6200F9A394D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1" name="Rechthoek 190">
                    <a:extLst>
                      <a:ext uri="{FF2B5EF4-FFF2-40B4-BE49-F238E27FC236}">
                        <a16:creationId xmlns:a16="http://schemas.microsoft.com/office/drawing/2014/main" id="{0E32D907-F160-4E42-AE75-D29E33A59FC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2" name="Rechthoek 191">
                    <a:extLst>
                      <a:ext uri="{FF2B5EF4-FFF2-40B4-BE49-F238E27FC236}">
                        <a16:creationId xmlns:a16="http://schemas.microsoft.com/office/drawing/2014/main" id="{9B9E021B-097A-49A8-AA71-3B7093FBC6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3" name="Rechthoek 192">
                    <a:extLst>
                      <a:ext uri="{FF2B5EF4-FFF2-40B4-BE49-F238E27FC236}">
                        <a16:creationId xmlns:a16="http://schemas.microsoft.com/office/drawing/2014/main" id="{ACB73619-5777-4178-A38E-19DE7C9AB83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831B80DE-1C31-4CAF-9FB0-EDA412D0A3E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DF7F71AB-B3BD-4A7C-9009-E2121DA2F46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89" name="Boog 188">
                  <a:extLst>
                    <a:ext uri="{FF2B5EF4-FFF2-40B4-BE49-F238E27FC236}">
                      <a16:creationId xmlns:a16="http://schemas.microsoft.com/office/drawing/2014/main" id="{6959CB37-6156-4AE2-93C6-7635D136BD9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85" name="Tekstvak 184">
                <a:extLst>
                  <a:ext uri="{FF2B5EF4-FFF2-40B4-BE49-F238E27FC236}">
                    <a16:creationId xmlns:a16="http://schemas.microsoft.com/office/drawing/2014/main" id="{520AE291-3C80-410B-B153-EEFB1B14E11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6" name="Tekstvak 185">
                <a:extLst>
                  <a:ext uri="{FF2B5EF4-FFF2-40B4-BE49-F238E27FC236}">
                    <a16:creationId xmlns:a16="http://schemas.microsoft.com/office/drawing/2014/main" id="{ABE86CB3-3DDB-4585-95EA-8518FDD79CF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87" name="Picture 3">
                <a:extLst>
                  <a:ext uri="{FF2B5EF4-FFF2-40B4-BE49-F238E27FC236}">
                    <a16:creationId xmlns:a16="http://schemas.microsoft.com/office/drawing/2014/main" id="{50DA060E-9384-4105-A3A1-3A51710AAB8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77" name="Meer informatie">
              <a:extLst>
                <a:ext uri="{FF2B5EF4-FFF2-40B4-BE49-F238E27FC236}">
                  <a16:creationId xmlns:a16="http://schemas.microsoft.com/office/drawing/2014/main" id="{7DCCAA6E-486F-485A-9FF9-3E6DA4B44B5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78" name="Freeform 101">
                <a:extLst>
                  <a:ext uri="{FF2B5EF4-FFF2-40B4-BE49-F238E27FC236}">
                    <a16:creationId xmlns:a16="http://schemas.microsoft.com/office/drawing/2014/main" id="{F6307448-E31E-4DC1-A9CE-D9FE1DC727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Rechthoek 178">
                <a:extLst>
                  <a:ext uri="{FF2B5EF4-FFF2-40B4-BE49-F238E27FC236}">
                    <a16:creationId xmlns:a16="http://schemas.microsoft.com/office/drawing/2014/main" id="{051AC3A5-F246-43EC-9426-717DCF1A7781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0" name="Rechte verbindingslijn 179">
                <a:extLst>
                  <a:ext uri="{FF2B5EF4-FFF2-40B4-BE49-F238E27FC236}">
                    <a16:creationId xmlns:a16="http://schemas.microsoft.com/office/drawing/2014/main" id="{91214991-2318-4A98-B245-BFF671971D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492731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8" grpId="0" animBg="1"/>
      <p:bldP spid="10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1" grpId="0" animBg="1"/>
      <p:bldP spid="11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3" grpId="0" animBg="1"/>
      <p:bldP spid="12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B1419-B706-41E8-8B1C-192E007EAEC3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9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2755752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41" hasCustomPrompt="1"/>
          </p:nvPr>
        </p:nvSpPr>
        <p:spPr>
          <a:xfrm>
            <a:off x="2755752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42" hasCustomPrompt="1"/>
          </p:nvPr>
        </p:nvSpPr>
        <p:spPr>
          <a:xfrm>
            <a:off x="2755752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5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121829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6" name="Tijdelijke aanduiding voor afbeelding 39"/>
          <p:cNvSpPr>
            <a:spLocks noGrp="1"/>
          </p:cNvSpPr>
          <p:nvPr>
            <p:ph type="pic" sz="quarter" idx="44" hasCustomPrompt="1"/>
          </p:nvPr>
        </p:nvSpPr>
        <p:spPr>
          <a:xfrm>
            <a:off x="5121829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7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5121829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46" hasCustomPrompt="1"/>
          </p:nvPr>
        </p:nvSpPr>
        <p:spPr>
          <a:xfrm>
            <a:off x="7487906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9"/>
          <p:cNvSpPr>
            <a:spLocks noGrp="1"/>
          </p:cNvSpPr>
          <p:nvPr>
            <p:ph type="pic" sz="quarter" idx="47" hasCustomPrompt="1"/>
          </p:nvPr>
        </p:nvSpPr>
        <p:spPr>
          <a:xfrm>
            <a:off x="7487906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7487906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853983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2" name="Tijdelijke aanduiding voor afbeelding 39"/>
          <p:cNvSpPr>
            <a:spLocks noGrp="1"/>
          </p:cNvSpPr>
          <p:nvPr>
            <p:ph type="pic" sz="quarter" idx="50" hasCustomPrompt="1"/>
          </p:nvPr>
        </p:nvSpPr>
        <p:spPr>
          <a:xfrm>
            <a:off x="9853983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3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9853983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4" name="Groep 163">
            <a:extLst>
              <a:ext uri="{FF2B5EF4-FFF2-40B4-BE49-F238E27FC236}">
                <a16:creationId xmlns:a16="http://schemas.microsoft.com/office/drawing/2014/main" id="{38D2DAF9-87E2-49C7-8899-11CCDEE40A05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65" name="Afbeelding 164">
              <a:extLst>
                <a:ext uri="{FF2B5EF4-FFF2-40B4-BE49-F238E27FC236}">
                  <a16:creationId xmlns:a16="http://schemas.microsoft.com/office/drawing/2014/main" id="{1AA66F7B-7057-4205-9A25-50A1BEBFFC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0F966880-FA1E-4516-8D0A-EC1723CA8A23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7" name="Ovaal 166">
              <a:extLst>
                <a:ext uri="{FF2B5EF4-FFF2-40B4-BE49-F238E27FC236}">
                  <a16:creationId xmlns:a16="http://schemas.microsoft.com/office/drawing/2014/main" id="{6FECEAD8-89DC-4377-8B2B-6557251EB40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508E4D78-AA0E-4157-BC47-24FDCABC0A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9" name="Rechte verbindingslijn 168">
              <a:extLst>
                <a:ext uri="{FF2B5EF4-FFF2-40B4-BE49-F238E27FC236}">
                  <a16:creationId xmlns:a16="http://schemas.microsoft.com/office/drawing/2014/main" id="{052E3544-7CAA-4535-85BC-C02B48CEC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A8617A58-895C-451A-9D11-7AC862FAF372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5517C501-B8FD-46D9-8D82-F583E5CD4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2" name="Ovaal 171">
              <a:extLst>
                <a:ext uri="{FF2B5EF4-FFF2-40B4-BE49-F238E27FC236}">
                  <a16:creationId xmlns:a16="http://schemas.microsoft.com/office/drawing/2014/main" id="{218F8EBF-96BA-46A8-9FF6-B153943777DA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3" name="Rechthoek 172">
              <a:extLst>
                <a:ext uri="{FF2B5EF4-FFF2-40B4-BE49-F238E27FC236}">
                  <a16:creationId xmlns:a16="http://schemas.microsoft.com/office/drawing/2014/main" id="{A4F5CC46-C071-49C1-BFB7-D76F1689F569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74" name="Groep 173">
              <a:extLst>
                <a:ext uri="{FF2B5EF4-FFF2-40B4-BE49-F238E27FC236}">
                  <a16:creationId xmlns:a16="http://schemas.microsoft.com/office/drawing/2014/main" id="{B26FB392-FEE8-4B73-AAD0-AA67B6E1E3C8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11" name="Rechthoek 210">
                <a:extLst>
                  <a:ext uri="{FF2B5EF4-FFF2-40B4-BE49-F238E27FC236}">
                    <a16:creationId xmlns:a16="http://schemas.microsoft.com/office/drawing/2014/main" id="{312C51CE-15C8-4341-A38C-B6F0225BF78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id="{0284F455-F8EE-4D01-9D2C-D8625777D36B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3" name="Gelijkbenige driehoek 212">
                <a:extLst>
                  <a:ext uri="{FF2B5EF4-FFF2-40B4-BE49-F238E27FC236}">
                    <a16:creationId xmlns:a16="http://schemas.microsoft.com/office/drawing/2014/main" id="{DB65B57D-3EE2-4463-8BD2-8142290061A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5" name="Groep 174">
              <a:extLst>
                <a:ext uri="{FF2B5EF4-FFF2-40B4-BE49-F238E27FC236}">
                  <a16:creationId xmlns:a16="http://schemas.microsoft.com/office/drawing/2014/main" id="{C38E73B8-3EFB-4167-BB82-5C786D640CBD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5" name="Rechthoek 204">
                <a:extLst>
                  <a:ext uri="{FF2B5EF4-FFF2-40B4-BE49-F238E27FC236}">
                    <a16:creationId xmlns:a16="http://schemas.microsoft.com/office/drawing/2014/main" id="{50FE3A73-A9AA-4E92-90FF-C029BC236E9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6" name="Ovaal 205">
                <a:extLst>
                  <a:ext uri="{FF2B5EF4-FFF2-40B4-BE49-F238E27FC236}">
                    <a16:creationId xmlns:a16="http://schemas.microsoft.com/office/drawing/2014/main" id="{6109A826-A59A-494F-8EFB-9169389116BF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Vrije vorm: vorm 206">
                <a:extLst>
                  <a:ext uri="{FF2B5EF4-FFF2-40B4-BE49-F238E27FC236}">
                    <a16:creationId xmlns:a16="http://schemas.microsoft.com/office/drawing/2014/main" id="{C7FF406F-1CC2-4AC0-A17A-9305DD310A09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Rechthoek: afgeronde hoeken 207">
                <a:extLst>
                  <a:ext uri="{FF2B5EF4-FFF2-40B4-BE49-F238E27FC236}">
                    <a16:creationId xmlns:a16="http://schemas.microsoft.com/office/drawing/2014/main" id="{D8F14FC4-67C6-46E4-9736-D4263CDF915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B5F5ADCB-5B88-46E4-831E-1EB6CC3F62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0" name="Rechte verbindingslijn 209">
                <a:extLst>
                  <a:ext uri="{FF2B5EF4-FFF2-40B4-BE49-F238E27FC236}">
                    <a16:creationId xmlns:a16="http://schemas.microsoft.com/office/drawing/2014/main" id="{1EE24356-0697-4A22-9217-8F2333BB4BCC}"/>
                  </a:ext>
                </a:extLst>
              </p:cNvPr>
              <p:cNvCxnSpPr>
                <a:cxnSpLocks/>
                <a:stCxn id="20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6" name="Ovaal 175">
              <a:extLst>
                <a:ext uri="{FF2B5EF4-FFF2-40B4-BE49-F238E27FC236}">
                  <a16:creationId xmlns:a16="http://schemas.microsoft.com/office/drawing/2014/main" id="{5D9121B1-C8A4-4B09-A569-0817E41A2C73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E1BEF1BF-D9B8-4982-8EE8-BF23855D2C60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78" name="Rechte verbindingslijn 177">
              <a:extLst>
                <a:ext uri="{FF2B5EF4-FFF2-40B4-BE49-F238E27FC236}">
                  <a16:creationId xmlns:a16="http://schemas.microsoft.com/office/drawing/2014/main" id="{34CABE9A-775D-4F82-B986-4B8C5BC64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9" name="Groep 178">
              <a:extLst>
                <a:ext uri="{FF2B5EF4-FFF2-40B4-BE49-F238E27FC236}">
                  <a16:creationId xmlns:a16="http://schemas.microsoft.com/office/drawing/2014/main" id="{E9134E10-1CE7-464D-AF04-8ECE531BA052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4" name="Rechthoek 183">
                <a:extLst>
                  <a:ext uri="{FF2B5EF4-FFF2-40B4-BE49-F238E27FC236}">
                    <a16:creationId xmlns:a16="http://schemas.microsoft.com/office/drawing/2014/main" id="{B1F7EAE7-B41D-4220-9416-AAD62A602D14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141DA8B3-BC3C-409A-8179-8BC02A819CE7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6" name="Groep 185">
                <a:extLst>
                  <a:ext uri="{FF2B5EF4-FFF2-40B4-BE49-F238E27FC236}">
                    <a16:creationId xmlns:a16="http://schemas.microsoft.com/office/drawing/2014/main" id="{643B4677-1A21-4BBE-AF32-B315B05E9E2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FFB68C5E-FB3F-4929-B93C-87FBC4BDDFC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E53F557F-6C2E-4FF7-B600-2179C0A06F8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5D24B4BB-7526-4E17-8D3D-9DB221A68BE1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Rechthoek 201">
                  <a:extLst>
                    <a:ext uri="{FF2B5EF4-FFF2-40B4-BE49-F238E27FC236}">
                      <a16:creationId xmlns:a16="http://schemas.microsoft.com/office/drawing/2014/main" id="{6C266F8B-47DB-4A5E-B431-EC066AEC35B7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Rechthoek 202">
                  <a:extLst>
                    <a:ext uri="{FF2B5EF4-FFF2-40B4-BE49-F238E27FC236}">
                      <a16:creationId xmlns:a16="http://schemas.microsoft.com/office/drawing/2014/main" id="{2116B610-2150-4394-8176-6632BF44B15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Rechthoek 203">
                  <a:extLst>
                    <a:ext uri="{FF2B5EF4-FFF2-40B4-BE49-F238E27FC236}">
                      <a16:creationId xmlns:a16="http://schemas.microsoft.com/office/drawing/2014/main" id="{59B4C523-D9EB-4378-ACE4-56B180052AFC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7" name="Groep 186">
                <a:extLst>
                  <a:ext uri="{FF2B5EF4-FFF2-40B4-BE49-F238E27FC236}">
                    <a16:creationId xmlns:a16="http://schemas.microsoft.com/office/drawing/2014/main" id="{940F4B68-BC22-49C3-A4F2-965BEEBF280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25A6F0AA-9EC5-49D0-B594-E1ED76B3A07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3" name="Rechthoek: afgeronde hoeken 192">
                    <a:extLst>
                      <a:ext uri="{FF2B5EF4-FFF2-40B4-BE49-F238E27FC236}">
                        <a16:creationId xmlns:a16="http://schemas.microsoft.com/office/drawing/2014/main" id="{86F99140-AAB2-4A16-B9D5-187CDDB3722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27A1D887-2180-47CD-996B-EC4E25C1D4D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4666E821-9405-4676-8B3E-0B5AEBE2BD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6" name="Rechthoek 195">
                    <a:extLst>
                      <a:ext uri="{FF2B5EF4-FFF2-40B4-BE49-F238E27FC236}">
                        <a16:creationId xmlns:a16="http://schemas.microsoft.com/office/drawing/2014/main" id="{1F8C0A9C-8B44-40FE-A094-1B8B088E680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7" name="Rechthoek 196">
                    <a:extLst>
                      <a:ext uri="{FF2B5EF4-FFF2-40B4-BE49-F238E27FC236}">
                        <a16:creationId xmlns:a16="http://schemas.microsoft.com/office/drawing/2014/main" id="{2ED4EF97-7A18-4CBF-A0B7-034F4EEAB4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8" name="Rechthoek 197">
                    <a:extLst>
                      <a:ext uri="{FF2B5EF4-FFF2-40B4-BE49-F238E27FC236}">
                        <a16:creationId xmlns:a16="http://schemas.microsoft.com/office/drawing/2014/main" id="{27F78269-250C-43E4-B700-7E0B5BF7A85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92" name="Boog 191">
                  <a:extLst>
                    <a:ext uri="{FF2B5EF4-FFF2-40B4-BE49-F238E27FC236}">
                      <a16:creationId xmlns:a16="http://schemas.microsoft.com/office/drawing/2014/main" id="{75E668F1-0C05-4217-988B-50AF97A634D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88" name="Tekstvak 187">
                <a:extLst>
                  <a:ext uri="{FF2B5EF4-FFF2-40B4-BE49-F238E27FC236}">
                    <a16:creationId xmlns:a16="http://schemas.microsoft.com/office/drawing/2014/main" id="{30EB4B55-E56B-4583-AA82-FDC7719919DE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9" name="Tekstvak 188">
                <a:extLst>
                  <a:ext uri="{FF2B5EF4-FFF2-40B4-BE49-F238E27FC236}">
                    <a16:creationId xmlns:a16="http://schemas.microsoft.com/office/drawing/2014/main" id="{9ADD8F84-D59C-45C9-81B4-D6D15706F4F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0" name="Picture 3">
                <a:extLst>
                  <a:ext uri="{FF2B5EF4-FFF2-40B4-BE49-F238E27FC236}">
                    <a16:creationId xmlns:a16="http://schemas.microsoft.com/office/drawing/2014/main" id="{E53A0344-1CFE-470F-98BE-FF7AC14B512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80" name="Meer informatie">
              <a:extLst>
                <a:ext uri="{FF2B5EF4-FFF2-40B4-BE49-F238E27FC236}">
                  <a16:creationId xmlns:a16="http://schemas.microsoft.com/office/drawing/2014/main" id="{88D23574-171E-468F-BABD-5C1B3A8F73B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1" name="Freeform 101">
                <a:extLst>
                  <a:ext uri="{FF2B5EF4-FFF2-40B4-BE49-F238E27FC236}">
                    <a16:creationId xmlns:a16="http://schemas.microsoft.com/office/drawing/2014/main" id="{08DAF4CF-3A68-4123-B012-28C8481E3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6C1A78CE-E171-48F1-996E-87AFE5136D4E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3" name="Rechte verbindingslijn 182">
                <a:extLst>
                  <a:ext uri="{FF2B5EF4-FFF2-40B4-BE49-F238E27FC236}">
                    <a16:creationId xmlns:a16="http://schemas.microsoft.com/office/drawing/2014/main" id="{A053D5B9-E02C-49FE-8C1B-659A43A14E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66658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6" grpId="0" animBg="1"/>
      <p:bldP spid="12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animBg="1"/>
      <p:bldP spid="13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472C8-9F7A-40D0-B1FC-CD50B8B0DDA2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4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0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3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5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5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0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5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5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2023D4CD-0D2F-488F-8979-F801863C1E4B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E7E3A84-A1CB-4554-87B4-799657271A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2FDA28EB-165A-4F6B-A67F-4876D9A4091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DD239770-6FC9-4865-92D0-563B8BDAD9BC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85B0525-87C1-4F8E-9ACA-324252B82C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507CF792-CAD2-453E-ABC2-C4C9665DBC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D6BDF347-BE7D-4A98-9E6C-4FE7744C14A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4796338D-18A7-4BEF-9797-CCFCC3F140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54ABF31A-AAF4-4F88-923F-4CE50EA4225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E692BB84-0777-4E5C-A1B6-FA9D3794EFAB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BF9555C9-F52D-4C85-9223-328DDA3502F4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FAE68C26-8477-4846-A1C5-353C0D531B51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83EA00D4-333C-45A2-8B1D-21942EF9B103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FD9273D1-C47E-44D7-BEF9-5CE578B7BC1D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AA17CF37-CBFA-428F-B5B3-A00C3025EC2C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FF40D03D-2B54-40F7-B77F-EE568FD0C625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A648A5D0-BADF-4D49-B7A8-E053AE257244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32B3B0FA-D58C-4E59-A576-6A18E25AA24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E1F70F3D-91F1-4847-B1BB-E2E35068C201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D0F2971-CA6E-4546-A8CA-23C1563AD8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13C0F120-4455-4063-9DDE-D18589706281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0CC36644-F31B-4F69-B4F6-447BE223CE1A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F1E1984A-272F-41CE-8A4E-476CA1697415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6C7D05E3-3E63-402D-A979-769F955FA3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C12C77E7-0D22-48A0-9F34-B57DE3752C7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25014AF0-BCAA-4959-9EB0-4541AEA33CE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C1DC6569-CD9D-4FDF-9AE8-BC78EB50763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AD34B0E3-3E39-4C7D-B204-7351DBC49341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56CB8802-6F8A-406B-9834-B95BA04AED3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24AC5A4F-2FB6-4899-B3DD-0705E3C47A2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2E7491E0-FA1D-4963-A3DE-DD2610F442F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225E9DB3-142C-46E1-B605-028B61D63EDE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4EBD5C3C-B5E9-4050-AB08-3398239DE9C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1653F7D-CE37-4C55-818B-AADC8E7FE13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7603C3E1-332C-4897-8F0C-3DE9D8BDE18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B4632603-598A-4377-82AF-080FD589B5E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CCF4DC4-41E2-445C-8A55-87A5B25D746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4B6EB406-0F48-46D8-A741-DDAB8E6CFE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E93F871E-25FF-47EB-A6C9-D987E3F61C9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194C25A4-8037-4A71-8ED6-086DA8C58A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35D33EF9-CD43-4601-B574-6C8CDAD5DA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57630908-0B48-4C24-BB65-1B5EF84D7B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1CDE2840-C16A-4148-A926-1F57DB7D391C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DA8B9C17-1B7B-4234-BB48-2C25CC1B3C9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17B9E69D-8A4F-4714-95F0-3ED4DD40A7E6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C51B0559-355B-4BEB-B1AD-563175B8CD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CD612BB0-C25F-47D1-8D67-AAAAC4ACF570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8BE5F9EF-AB5A-4768-B474-A59DC55CD6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8D25D634-5D72-4B1F-B008-B0204AFC0EF0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6812577E-17E3-46B4-AF42-7E76F7B769A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42260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6F7BF-4127-4634-AAC6-37FA0DFE1CFB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6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ijdelijke aanduiding voor afbeelding 38"/>
          <p:cNvSpPr>
            <a:spLocks noGrp="1"/>
          </p:cNvSpPr>
          <p:nvPr>
            <p:ph type="pic" sz="quarter" idx="15" hasCustomPrompt="1"/>
          </p:nvPr>
        </p:nvSpPr>
        <p:spPr>
          <a:xfrm>
            <a:off x="366139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66139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17" hasCustomPrompt="1"/>
          </p:nvPr>
        </p:nvSpPr>
        <p:spPr>
          <a:xfrm>
            <a:off x="4254135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18" hasCustomPrompt="1"/>
          </p:nvPr>
        </p:nvSpPr>
        <p:spPr>
          <a:xfrm>
            <a:off x="4254135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afbeelding 42"/>
          <p:cNvSpPr>
            <a:spLocks noGrp="1"/>
          </p:cNvSpPr>
          <p:nvPr>
            <p:ph type="pic" sz="quarter" idx="19" hasCustomPrompt="1"/>
          </p:nvPr>
        </p:nvSpPr>
        <p:spPr>
          <a:xfrm>
            <a:off x="8142132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0" hasCustomPrompt="1"/>
          </p:nvPr>
        </p:nvSpPr>
        <p:spPr>
          <a:xfrm>
            <a:off x="8142132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4254682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8142679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4254682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8142679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1" name="Groep 100">
            <a:extLst>
              <a:ext uri="{FF2B5EF4-FFF2-40B4-BE49-F238E27FC236}">
                <a16:creationId xmlns:a16="http://schemas.microsoft.com/office/drawing/2014/main" id="{15857F41-B989-471B-967B-C6DA381108DD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2" name="Afbeelding 101">
              <a:extLst>
                <a:ext uri="{FF2B5EF4-FFF2-40B4-BE49-F238E27FC236}">
                  <a16:creationId xmlns:a16="http://schemas.microsoft.com/office/drawing/2014/main" id="{A870EF52-3EC8-43DF-9D29-95AE71288A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2E2E0576-B523-43B5-850A-13D35A708B8B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5E89C9B1-C154-41D7-A955-6E9C06FD58C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5" name="Rechte verbindingslijn 104">
              <a:extLst>
                <a:ext uri="{FF2B5EF4-FFF2-40B4-BE49-F238E27FC236}">
                  <a16:creationId xmlns:a16="http://schemas.microsoft.com/office/drawing/2014/main" id="{6C97EE4C-0822-4420-8727-59022FEC4E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6" name="Rechte verbindingslijn 105">
              <a:extLst>
                <a:ext uri="{FF2B5EF4-FFF2-40B4-BE49-F238E27FC236}">
                  <a16:creationId xmlns:a16="http://schemas.microsoft.com/office/drawing/2014/main" id="{C0192459-E41F-4415-82CA-286E7E35C6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D2303889-DCFD-4ABC-AE5F-92ABB46C0E7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07B0AC0E-6871-45AE-A4BC-06EC75E136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Ovaal 108">
              <a:extLst>
                <a:ext uri="{FF2B5EF4-FFF2-40B4-BE49-F238E27FC236}">
                  <a16:creationId xmlns:a16="http://schemas.microsoft.com/office/drawing/2014/main" id="{629AA207-9EA7-45B5-917F-5C9C87AADCB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A0A1ADFC-BD66-4D46-AEFF-6365412AC59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1" name="Groep 110">
              <a:extLst>
                <a:ext uri="{FF2B5EF4-FFF2-40B4-BE49-F238E27FC236}">
                  <a16:creationId xmlns:a16="http://schemas.microsoft.com/office/drawing/2014/main" id="{BE3704B8-19AE-44B2-84DD-311B6280B7D3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48" name="Rechthoek 147">
                <a:extLst>
                  <a:ext uri="{FF2B5EF4-FFF2-40B4-BE49-F238E27FC236}">
                    <a16:creationId xmlns:a16="http://schemas.microsoft.com/office/drawing/2014/main" id="{E1BDB5FF-A1FE-414D-9062-CF192274847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8488FD0-826A-4130-9516-7FC529D398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0" name="Gelijkbenige driehoek 149">
                <a:extLst>
                  <a:ext uri="{FF2B5EF4-FFF2-40B4-BE49-F238E27FC236}">
                    <a16:creationId xmlns:a16="http://schemas.microsoft.com/office/drawing/2014/main" id="{0D4BE829-8B24-4DF7-BA8F-A8C867CA17A3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2" name="Groep 111">
              <a:extLst>
                <a:ext uri="{FF2B5EF4-FFF2-40B4-BE49-F238E27FC236}">
                  <a16:creationId xmlns:a16="http://schemas.microsoft.com/office/drawing/2014/main" id="{C29314E0-C9E0-4313-A93A-B7E4177005E2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2" name="Rechthoek 141">
                <a:extLst>
                  <a:ext uri="{FF2B5EF4-FFF2-40B4-BE49-F238E27FC236}">
                    <a16:creationId xmlns:a16="http://schemas.microsoft.com/office/drawing/2014/main" id="{896E01D5-DB99-4855-B018-0F9C4C6B853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3" name="Ovaal 142">
                <a:extLst>
                  <a:ext uri="{FF2B5EF4-FFF2-40B4-BE49-F238E27FC236}">
                    <a16:creationId xmlns:a16="http://schemas.microsoft.com/office/drawing/2014/main" id="{0D0C7CB6-8AFF-4231-93BF-E8FD29F2CA8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Vrije vorm: vorm 143">
                <a:extLst>
                  <a:ext uri="{FF2B5EF4-FFF2-40B4-BE49-F238E27FC236}">
                    <a16:creationId xmlns:a16="http://schemas.microsoft.com/office/drawing/2014/main" id="{91B5AAC4-DC71-4CC0-9455-2F44543529C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Rechthoek: afgeronde hoeken 144">
                <a:extLst>
                  <a:ext uri="{FF2B5EF4-FFF2-40B4-BE49-F238E27FC236}">
                    <a16:creationId xmlns:a16="http://schemas.microsoft.com/office/drawing/2014/main" id="{DA99D02D-080C-4987-A7B0-6E0A31603C3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1B8D256D-35B8-437E-AE80-420F7A97D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0AD788BD-6370-40C7-98BE-1490E80764B0}"/>
                  </a:ext>
                </a:extLst>
              </p:cNvPr>
              <p:cNvCxnSpPr>
                <a:cxnSpLocks/>
                <a:stCxn id="14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3" name="Ovaal 112">
              <a:extLst>
                <a:ext uri="{FF2B5EF4-FFF2-40B4-BE49-F238E27FC236}">
                  <a16:creationId xmlns:a16="http://schemas.microsoft.com/office/drawing/2014/main" id="{A70FFDE7-131F-480B-B932-726F6C45D9E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3AEF02A3-F861-44DA-BCD2-6408602B821C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5" name="Rechte verbindingslijn 114">
              <a:extLst>
                <a:ext uri="{FF2B5EF4-FFF2-40B4-BE49-F238E27FC236}">
                  <a16:creationId xmlns:a16="http://schemas.microsoft.com/office/drawing/2014/main" id="{96958C1C-CE12-4038-8448-FED528AD3A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6" name="Groep 115">
              <a:extLst>
                <a:ext uri="{FF2B5EF4-FFF2-40B4-BE49-F238E27FC236}">
                  <a16:creationId xmlns:a16="http://schemas.microsoft.com/office/drawing/2014/main" id="{E4E65CC9-58CA-4653-A7C6-F7432D5B95B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92EC5354-9636-459E-B29B-5494B6E1790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0BB5AD8E-B811-46FF-80F7-B65C00C96CF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3" name="Groep 122">
                <a:extLst>
                  <a:ext uri="{FF2B5EF4-FFF2-40B4-BE49-F238E27FC236}">
                    <a16:creationId xmlns:a16="http://schemas.microsoft.com/office/drawing/2014/main" id="{B38A7F26-4817-4C66-A0A0-149754A3F8D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6" name="Rechthoek: afgeronde hoeken 135">
                  <a:extLst>
                    <a:ext uri="{FF2B5EF4-FFF2-40B4-BE49-F238E27FC236}">
                      <a16:creationId xmlns:a16="http://schemas.microsoft.com/office/drawing/2014/main" id="{3005B21F-6409-4021-8E8B-9157C010D658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Rechthoek 136">
                  <a:extLst>
                    <a:ext uri="{FF2B5EF4-FFF2-40B4-BE49-F238E27FC236}">
                      <a16:creationId xmlns:a16="http://schemas.microsoft.com/office/drawing/2014/main" id="{86FD35EB-EC9F-4A12-A22F-D9B0B154BF6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8" name="Rechthoek 137">
                  <a:extLst>
                    <a:ext uri="{FF2B5EF4-FFF2-40B4-BE49-F238E27FC236}">
                      <a16:creationId xmlns:a16="http://schemas.microsoft.com/office/drawing/2014/main" id="{E6ECADEC-469F-4154-9273-452BD1BF563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9" name="Rechthoek 138">
                  <a:extLst>
                    <a:ext uri="{FF2B5EF4-FFF2-40B4-BE49-F238E27FC236}">
                      <a16:creationId xmlns:a16="http://schemas.microsoft.com/office/drawing/2014/main" id="{C90A59F8-397D-45F9-9C76-429E13C15F80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0868208-453C-4C67-9E78-56C862F85586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91A8B57E-8213-4887-989E-1D4DE1B7612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B0AD3E93-0A7C-40A4-A6E8-A0364A62EFF4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28" name="Groep 127">
                  <a:extLst>
                    <a:ext uri="{FF2B5EF4-FFF2-40B4-BE49-F238E27FC236}">
                      <a16:creationId xmlns:a16="http://schemas.microsoft.com/office/drawing/2014/main" id="{ADCA2C49-FDA6-4B41-BE2C-7708EE3995D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0" name="Rechthoek: afgeronde hoeken 129">
                    <a:extLst>
                      <a:ext uri="{FF2B5EF4-FFF2-40B4-BE49-F238E27FC236}">
                        <a16:creationId xmlns:a16="http://schemas.microsoft.com/office/drawing/2014/main" id="{495951BC-862A-4DAC-B2D6-F5AF5E04521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1" name="Rechthoek 130">
                    <a:extLst>
                      <a:ext uri="{FF2B5EF4-FFF2-40B4-BE49-F238E27FC236}">
                        <a16:creationId xmlns:a16="http://schemas.microsoft.com/office/drawing/2014/main" id="{33063CC8-0B68-4342-93A6-F407CD7F6DD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2" name="Rechthoek 131">
                    <a:extLst>
                      <a:ext uri="{FF2B5EF4-FFF2-40B4-BE49-F238E27FC236}">
                        <a16:creationId xmlns:a16="http://schemas.microsoft.com/office/drawing/2014/main" id="{413F39D5-CBB6-41D2-80B5-227FDCA896B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3" name="Rechthoek 132">
                    <a:extLst>
                      <a:ext uri="{FF2B5EF4-FFF2-40B4-BE49-F238E27FC236}">
                        <a16:creationId xmlns:a16="http://schemas.microsoft.com/office/drawing/2014/main" id="{52C06138-D291-4537-839F-E889A542FED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5C7B60AB-964D-4E92-A693-EA6E2D400F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F8001413-F0CF-4478-9381-C80198A177B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29" name="Boog 128">
                  <a:extLst>
                    <a:ext uri="{FF2B5EF4-FFF2-40B4-BE49-F238E27FC236}">
                      <a16:creationId xmlns:a16="http://schemas.microsoft.com/office/drawing/2014/main" id="{09686D01-B21A-4CB1-A78F-2735510F753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5" name="Tekstvak 124">
                <a:extLst>
                  <a:ext uri="{FF2B5EF4-FFF2-40B4-BE49-F238E27FC236}">
                    <a16:creationId xmlns:a16="http://schemas.microsoft.com/office/drawing/2014/main" id="{F4719A93-C6D3-465E-94B5-6FEF96AF7FAA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6" name="Tekstvak 125">
                <a:extLst>
                  <a:ext uri="{FF2B5EF4-FFF2-40B4-BE49-F238E27FC236}">
                    <a16:creationId xmlns:a16="http://schemas.microsoft.com/office/drawing/2014/main" id="{01AB81AC-EE0F-4075-B94C-AE4151253E4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27" name="Picture 3">
                <a:extLst>
                  <a:ext uri="{FF2B5EF4-FFF2-40B4-BE49-F238E27FC236}">
                    <a16:creationId xmlns:a16="http://schemas.microsoft.com/office/drawing/2014/main" id="{93585FC1-63F9-4CDF-BACE-1F86B4B0B93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17" name="Meer informatie">
              <a:extLst>
                <a:ext uri="{FF2B5EF4-FFF2-40B4-BE49-F238E27FC236}">
                  <a16:creationId xmlns:a16="http://schemas.microsoft.com/office/drawing/2014/main" id="{939E70E3-F062-4D17-97CE-48B4AB252B89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FEE73CF0-8620-4616-AB61-B04780C99E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ECDDA453-0761-4B0C-96B4-0FEB1A676D7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221FF874-811D-4196-8E59-4C2EAA8C4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36226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8343E-5715-40E5-BFC5-865CFA86F13B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8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0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6" name="Tijdelijke aanduiding voor afbeelding 25"/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366140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ijdelijke aanduiding voor verticale tekst 2"/>
          <p:cNvSpPr>
            <a:spLocks noGrp="1"/>
          </p:cNvSpPr>
          <p:nvPr userDrawn="1">
            <p:ph type="body" orient="vert" idx="1" hasCustomPrompt="1"/>
          </p:nvPr>
        </p:nvSpPr>
        <p:spPr>
          <a:xfrm>
            <a:off x="36613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3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5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25" hasCustomPrompt="1"/>
          </p:nvPr>
        </p:nvSpPr>
        <p:spPr>
          <a:xfrm>
            <a:off x="327911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27924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5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0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29" hasCustomPrompt="1"/>
          </p:nvPr>
        </p:nvSpPr>
        <p:spPr>
          <a:xfrm>
            <a:off x="619195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619235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5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5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33" hasCustomPrompt="1"/>
          </p:nvPr>
        </p:nvSpPr>
        <p:spPr>
          <a:xfrm>
            <a:off x="910506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910546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D9128478-8C0D-4681-B5B9-EBEF56C19DA9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49F5619-1183-4ED5-A6D1-B3512F3091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7A37222-3472-4707-B094-4EDC4E970E85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E0ECCD0B-F29F-4131-9893-8D978BDD428F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F791C5A-2C46-4591-8482-FB360B876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1E869321-727C-46FB-8558-3584912934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2F4516D0-BFAD-475B-977C-970C6E52656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C5FE596F-F131-446E-A67D-D915FAC3DA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8D4CAF09-7A25-4757-8236-1057389EE7D1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12188EF3-1ACE-497B-9D56-9ACF5C0467C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221D81F7-AA11-48D4-91A2-A3E6EFDD963A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646BA45C-E145-4343-881C-50F803078D4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B923E6D8-2E1E-4334-869D-7E9104E391C6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3747406D-EE85-4C28-A452-D7C78E26907A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13089058-935D-4F18-B5FA-60814DDC3454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A1ECD4B1-4DC6-47B5-A60F-81822BC6E4D7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8CB59066-6A85-48EF-BBE8-9A47DF60D9E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7A79FD76-C2AD-477F-AA71-9D8FEE362D6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C290FE69-03E4-4B54-BC27-597F806251B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2B68BEF-DB8E-474B-AC3A-DDFC152213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D59A6737-199D-4894-A7FA-67FE34E597C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857BF560-F009-4803-A230-400133577AD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74C33C40-AAC1-40A5-87B3-59169BC12AE8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35F0EE3C-ED30-4557-AF99-6C6603C0A14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EA6D422-4E22-4388-8C43-E6D0B27AB7C9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436F710E-D9FA-43C4-BB34-A22941C6C2D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A4CBDCC3-2529-45BB-A607-196B1E4085D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3D7680E5-E6A4-4954-A295-8CAED7E6290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8121FB31-3D5A-4584-8B2E-CB66AF12A5BF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C70447AF-40E8-43C8-981D-1A83B575805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F41A3CB3-8303-4601-92EE-E1C231D2D4C5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6E4D7F9E-6E0B-4B26-9AF6-BB3EFEDCAC3A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DA0C2B62-2E17-463E-A626-8E0C2883B1E5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EEE200D-17F8-4C0E-BA59-9545467AC9A1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C7B48FB7-1F7A-4458-B518-00B36104FDCD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109EBBE0-0362-4633-BA7F-21622FA76839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A8943640-AEEC-41B6-85D2-7DB33FBBD92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ED6257F9-6B2B-4A27-A3B3-0E467291F4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936E2621-9381-433C-992B-FAF5EACD24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9D01458B-6373-4D52-97EA-E0C615BC33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939AC8AB-CC03-4E2A-B46B-A262F6CC501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86AB080-55B3-4A04-AD9C-720AB204EE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943A8A59-84FC-4444-81E9-859513D3659D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B133FE93-38C4-4C8C-8F59-59F8C99AE27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B8391F26-FF22-463B-A710-D104045CAC49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751A0F8F-57EC-4743-9879-66D27F274FF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0CC5BD32-B4AB-4B64-8B93-06EAC657593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63DF006-B3C4-4983-A590-95EB18EF1E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1C8B8442-8AB6-450D-92CC-97648BA06B4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24113A3B-9C9C-4D73-8B61-836646054A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370337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3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1" grpId="0" animBg="1"/>
      <p:bldP spid="4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animBg="1"/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49" grpId="0" animBg="1"/>
      <p:bldP spid="5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CB6A9-6FAF-485F-8506-15AEB3C891C4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afbeelding 31"/>
          <p:cNvSpPr>
            <a:spLocks noGrp="1"/>
          </p:cNvSpPr>
          <p:nvPr>
            <p:ph type="pic" sz="quarter" idx="15" hasCustomPrompt="1"/>
          </p:nvPr>
        </p:nvSpPr>
        <p:spPr>
          <a:xfrm>
            <a:off x="366140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6" hasCustomPrompt="1"/>
          </p:nvPr>
        </p:nvSpPr>
        <p:spPr>
          <a:xfrm>
            <a:off x="366140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" name="Tijdelijke aanduiding voor afbeelding 36"/>
          <p:cNvSpPr>
            <a:spLocks noGrp="1"/>
          </p:cNvSpPr>
          <p:nvPr>
            <p:ph type="pic" sz="quarter" idx="33" hasCustomPrompt="1"/>
          </p:nvPr>
        </p:nvSpPr>
        <p:spPr>
          <a:xfrm>
            <a:off x="2696490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8" name="Tijdelijke aanduiding voor afbeelding 37"/>
          <p:cNvSpPr>
            <a:spLocks noGrp="1"/>
          </p:cNvSpPr>
          <p:nvPr>
            <p:ph type="pic" sz="quarter" idx="34" hasCustomPrompt="1"/>
          </p:nvPr>
        </p:nvSpPr>
        <p:spPr>
          <a:xfrm>
            <a:off x="2696490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9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269656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269656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37" hasCustomPrompt="1"/>
          </p:nvPr>
        </p:nvSpPr>
        <p:spPr>
          <a:xfrm>
            <a:off x="5026841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38" hasCustomPrompt="1"/>
          </p:nvPr>
        </p:nvSpPr>
        <p:spPr>
          <a:xfrm>
            <a:off x="5026841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502699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502699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41" hasCustomPrompt="1"/>
          </p:nvPr>
        </p:nvSpPr>
        <p:spPr>
          <a:xfrm>
            <a:off x="735719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735719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735742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44" hasCustomPrompt="1"/>
          </p:nvPr>
        </p:nvSpPr>
        <p:spPr>
          <a:xfrm>
            <a:off x="735742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45" hasCustomPrompt="1"/>
          </p:nvPr>
        </p:nvSpPr>
        <p:spPr>
          <a:xfrm>
            <a:off x="968754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afbeelding 49"/>
          <p:cNvSpPr>
            <a:spLocks noGrp="1"/>
          </p:cNvSpPr>
          <p:nvPr>
            <p:ph type="pic" sz="quarter" idx="46" hasCustomPrompt="1"/>
          </p:nvPr>
        </p:nvSpPr>
        <p:spPr>
          <a:xfrm>
            <a:off x="968754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9687860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2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9687860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1E0C6CC2-19DB-46E6-AEF8-7FD357C4564C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E0123D1E-CA29-45C9-909C-72D1C418AF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E78FCE7-F175-463D-AF54-EEAE35A9CBC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F22C8D3A-1DB2-4CF6-808E-3A5B59CB6D83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E744F881-8F86-4191-86E7-7DE4509974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F90C3423-6582-4C90-A92E-488F9117FBA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C5D0843C-0B4E-4015-9234-05B811163D1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A1D54500-4514-4998-824D-049F03848E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6C2CC2C0-719E-4072-82E7-35A56782C6F0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C9594C5E-2B64-48A5-8121-92AC4EA39FA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464EACA4-5959-47E5-96B7-303F92E38F86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81877875-32CC-4E99-991A-0CA769630E7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28300FFA-FA98-4D5A-8977-26BADD105C19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EBA77F2A-1AF8-4939-ACD9-E4D18B9713E2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D8B77BB4-D2AA-4F6A-B206-BFBCD2C23FE5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70EEDAE-F5A7-41F6-9993-91D28F0A9F4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7F64BA8B-5B44-417C-A46C-48B84D41E4A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AB38CDB7-9B99-4F83-AF8C-717C8207B8C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F407228E-B000-40C6-9A57-BFA7232ACF0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66C21FE-E1E3-454F-9786-803C7EA6B31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46B388D4-1702-43AB-94E0-108087A9F61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F39DB916-DA01-440D-A48F-09E0C27FD917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81B109FE-9358-4AD3-8EBB-A25E18406404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7FD4005A-DB6D-42AC-B265-2DBA8CD940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7E46035-D16E-4B0E-9E2E-142B5973E377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B6D2D40A-87B8-462A-B9D3-49720EDA42A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561BF64D-F188-492E-B4EC-2578D4484120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86A829C4-CD2E-469C-A84B-25D97DDEF69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A15F658F-322A-4083-B9BE-EA17A45E044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3C759B2-3B6C-441B-B00D-E723B65CA67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EA5EEF62-02E8-4929-946D-BF49F9BDCECC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87624029-FBF2-47A2-A749-7AE88F3DEC89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72951251-0717-4CCC-A655-125D0E2B8B3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DD0328FA-BE13-4E58-859F-EE7190419DD0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E539A306-B6D3-4476-8058-BA718F09FF31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2AE25E84-F249-4A8F-962E-D975FA817EFA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E7BFC05-1DDB-4AC5-9E15-3FA64A4B25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C8D2042C-8CB2-4C1C-A187-8267231430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1740C2E7-8329-4051-A535-F5BB0A9B488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599C96F6-E316-48EA-8380-07450BD89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16004FEF-9B06-44B9-B46D-2AD360DD11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6196B6E-D6C9-40C8-94DE-A13899365F1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D36886EC-DA84-48DF-AC07-6E1041BC6146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0B5BF3EF-56BE-4AB9-988E-7ADB2A1667E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0C8060E8-1B60-42CE-9B7C-B38C0E1984DB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64D0B05B-0308-4D30-A750-D85378FF929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642A6EA6-024D-4406-A2B2-956A41AB2BE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41163F3-DDE7-4A3F-B6F9-C686C32AC4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469615A6-F34D-4428-B408-2E485E2CAE6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1E58E517-1682-403D-9CF1-CC229544DD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353221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animBg="1"/>
      <p:bldP spid="38" grpId="0" animBg="1"/>
      <p:bldP spid="3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/>
      <p:bldP spid="46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ele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30F92-8864-466A-9352-AC3685A579C9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99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6648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366975" y="2788898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36697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1"/>
          <p:cNvSpPr>
            <a:spLocks noGrp="1"/>
          </p:cNvSpPr>
          <p:nvPr>
            <p:ph type="pic" sz="quarter" idx="18" hasCustomPrompt="1"/>
          </p:nvPr>
        </p:nvSpPr>
        <p:spPr>
          <a:xfrm>
            <a:off x="36697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53297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5" name="Tijdelijke aanduiding voor afbeelding 31"/>
          <p:cNvSpPr>
            <a:spLocks noGrp="1"/>
          </p:cNvSpPr>
          <p:nvPr>
            <p:ph type="pic" sz="quarter" idx="20" hasCustomPrompt="1"/>
          </p:nvPr>
        </p:nvSpPr>
        <p:spPr>
          <a:xfrm>
            <a:off x="153297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69897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1"/>
          <p:cNvSpPr>
            <a:spLocks noGrp="1"/>
          </p:cNvSpPr>
          <p:nvPr>
            <p:ph type="pic" sz="quarter" idx="22" hasCustomPrompt="1"/>
          </p:nvPr>
        </p:nvSpPr>
        <p:spPr>
          <a:xfrm>
            <a:off x="269897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6496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9" name="Tijdelijke aanduiding voor afbeelding 31"/>
          <p:cNvSpPr>
            <a:spLocks noGrp="1"/>
          </p:cNvSpPr>
          <p:nvPr>
            <p:ph type="pic" sz="quarter" idx="24" hasCustomPrompt="1"/>
          </p:nvPr>
        </p:nvSpPr>
        <p:spPr>
          <a:xfrm>
            <a:off x="386496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0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5030967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1" name="Tijdelijke aanduiding voor afbeelding 31"/>
          <p:cNvSpPr>
            <a:spLocks noGrp="1"/>
          </p:cNvSpPr>
          <p:nvPr>
            <p:ph type="pic" sz="quarter" idx="26" hasCustomPrompt="1"/>
          </p:nvPr>
        </p:nvSpPr>
        <p:spPr>
          <a:xfrm>
            <a:off x="5030967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619696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1"/>
          <p:cNvSpPr>
            <a:spLocks noGrp="1"/>
          </p:cNvSpPr>
          <p:nvPr>
            <p:ph type="pic" sz="quarter" idx="28" hasCustomPrompt="1"/>
          </p:nvPr>
        </p:nvSpPr>
        <p:spPr>
          <a:xfrm>
            <a:off x="619696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736296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5" name="Tijdelijke aanduiding voor afbeelding 31"/>
          <p:cNvSpPr>
            <a:spLocks noGrp="1"/>
          </p:cNvSpPr>
          <p:nvPr>
            <p:ph type="pic" sz="quarter" idx="30" hasCustomPrompt="1"/>
          </p:nvPr>
        </p:nvSpPr>
        <p:spPr>
          <a:xfrm>
            <a:off x="736296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6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969495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7" name="Tijdelijke aanduiding voor afbeelding 31"/>
          <p:cNvSpPr>
            <a:spLocks noGrp="1"/>
          </p:cNvSpPr>
          <p:nvPr>
            <p:ph type="pic" sz="quarter" idx="32" hasCustomPrompt="1"/>
          </p:nvPr>
        </p:nvSpPr>
        <p:spPr>
          <a:xfrm>
            <a:off x="969495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852896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1"/>
          <p:cNvSpPr>
            <a:spLocks noGrp="1"/>
          </p:cNvSpPr>
          <p:nvPr>
            <p:ph type="pic" sz="quarter" idx="34" hasCustomPrompt="1"/>
          </p:nvPr>
        </p:nvSpPr>
        <p:spPr>
          <a:xfrm>
            <a:off x="852896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1086095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1" name="Tijdelijke aanduiding voor afbeelding 31"/>
          <p:cNvSpPr>
            <a:spLocks noGrp="1"/>
          </p:cNvSpPr>
          <p:nvPr>
            <p:ph type="pic" sz="quarter" idx="36" hasCustomPrompt="1"/>
          </p:nvPr>
        </p:nvSpPr>
        <p:spPr>
          <a:xfrm>
            <a:off x="1086095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53297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3" name="Tijdelijke aanduiding voor afbeelding 31"/>
          <p:cNvSpPr>
            <a:spLocks noGrp="1"/>
          </p:cNvSpPr>
          <p:nvPr>
            <p:ph type="pic" sz="quarter" idx="38" hasCustomPrompt="1"/>
          </p:nvPr>
        </p:nvSpPr>
        <p:spPr>
          <a:xfrm>
            <a:off x="153297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269897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5" name="Tijdelijke aanduiding voor afbeelding 31"/>
          <p:cNvSpPr>
            <a:spLocks noGrp="1"/>
          </p:cNvSpPr>
          <p:nvPr>
            <p:ph type="pic" sz="quarter" idx="40" hasCustomPrompt="1"/>
          </p:nvPr>
        </p:nvSpPr>
        <p:spPr>
          <a:xfrm>
            <a:off x="269897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41" hasCustomPrompt="1"/>
          </p:nvPr>
        </p:nvSpPr>
        <p:spPr>
          <a:xfrm>
            <a:off x="386496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7" name="Tijdelijke aanduiding voor afbeelding 31"/>
          <p:cNvSpPr>
            <a:spLocks noGrp="1"/>
          </p:cNvSpPr>
          <p:nvPr>
            <p:ph type="pic" sz="quarter" idx="42" hasCustomPrompt="1"/>
          </p:nvPr>
        </p:nvSpPr>
        <p:spPr>
          <a:xfrm>
            <a:off x="386496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8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030967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9" name="Tijdelijke aanduiding voor afbeelding 31"/>
          <p:cNvSpPr>
            <a:spLocks noGrp="1"/>
          </p:cNvSpPr>
          <p:nvPr>
            <p:ph type="pic" sz="quarter" idx="44" hasCustomPrompt="1"/>
          </p:nvPr>
        </p:nvSpPr>
        <p:spPr>
          <a:xfrm>
            <a:off x="5030967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0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6196965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1" name="Tijdelijke aanduiding voor afbeelding 31"/>
          <p:cNvSpPr>
            <a:spLocks noGrp="1"/>
          </p:cNvSpPr>
          <p:nvPr>
            <p:ph type="pic" sz="quarter" idx="46" hasCustomPrompt="1"/>
          </p:nvPr>
        </p:nvSpPr>
        <p:spPr>
          <a:xfrm>
            <a:off x="6196965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2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736296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3" name="Tijdelijke aanduiding voor afbeelding 31"/>
          <p:cNvSpPr>
            <a:spLocks noGrp="1"/>
          </p:cNvSpPr>
          <p:nvPr>
            <p:ph type="pic" sz="quarter" idx="48" hasCustomPrompt="1"/>
          </p:nvPr>
        </p:nvSpPr>
        <p:spPr>
          <a:xfrm>
            <a:off x="736296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4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69495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5" name="Tijdelijke aanduiding voor afbeelding 31"/>
          <p:cNvSpPr>
            <a:spLocks noGrp="1"/>
          </p:cNvSpPr>
          <p:nvPr>
            <p:ph type="pic" sz="quarter" idx="50" hasCustomPrompt="1"/>
          </p:nvPr>
        </p:nvSpPr>
        <p:spPr>
          <a:xfrm>
            <a:off x="969495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6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852896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7" name="Tijdelijke aanduiding voor afbeelding 31"/>
          <p:cNvSpPr>
            <a:spLocks noGrp="1"/>
          </p:cNvSpPr>
          <p:nvPr>
            <p:ph type="pic" sz="quarter" idx="52" hasCustomPrompt="1"/>
          </p:nvPr>
        </p:nvSpPr>
        <p:spPr>
          <a:xfrm>
            <a:off x="852896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8" name="Tijdelijke aanduiding voor verticale tekst 2"/>
          <p:cNvSpPr>
            <a:spLocks noGrp="1"/>
          </p:cNvSpPr>
          <p:nvPr>
            <p:ph type="body" orient="vert" idx="53" hasCustomPrompt="1"/>
          </p:nvPr>
        </p:nvSpPr>
        <p:spPr>
          <a:xfrm>
            <a:off x="1086095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9" name="Tijdelijke aanduiding voor afbeelding 31"/>
          <p:cNvSpPr>
            <a:spLocks noGrp="1"/>
          </p:cNvSpPr>
          <p:nvPr>
            <p:ph type="pic" sz="quarter" idx="54" hasCustomPrompt="1"/>
          </p:nvPr>
        </p:nvSpPr>
        <p:spPr>
          <a:xfrm>
            <a:off x="1086095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7" name="Tijdelijke aanduiding voor verticale tekst 2"/>
          <p:cNvSpPr>
            <a:spLocks noGrp="1"/>
          </p:cNvSpPr>
          <p:nvPr>
            <p:ph type="body" orient="vert" idx="55" hasCustomPrompt="1"/>
          </p:nvPr>
        </p:nvSpPr>
        <p:spPr>
          <a:xfrm>
            <a:off x="153297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68" name="Tijdelijke aanduiding voor afbeelding 31"/>
          <p:cNvSpPr>
            <a:spLocks noGrp="1"/>
          </p:cNvSpPr>
          <p:nvPr>
            <p:ph type="pic" sz="quarter" idx="56" hasCustomPrompt="1"/>
          </p:nvPr>
        </p:nvSpPr>
        <p:spPr>
          <a:xfrm>
            <a:off x="153297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9" name="Tijdelijke aanduiding voor verticale tekst 2"/>
          <p:cNvSpPr>
            <a:spLocks noGrp="1"/>
          </p:cNvSpPr>
          <p:nvPr>
            <p:ph type="body" orient="vert" idx="57" hasCustomPrompt="1"/>
          </p:nvPr>
        </p:nvSpPr>
        <p:spPr>
          <a:xfrm>
            <a:off x="386496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0" name="Tijdelijke aanduiding voor afbeelding 31"/>
          <p:cNvSpPr>
            <a:spLocks noGrp="1"/>
          </p:cNvSpPr>
          <p:nvPr>
            <p:ph type="pic" sz="quarter" idx="58" hasCustomPrompt="1"/>
          </p:nvPr>
        </p:nvSpPr>
        <p:spPr>
          <a:xfrm>
            <a:off x="386496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1" name="Tijdelijke aanduiding voor verticale tekst 2"/>
          <p:cNvSpPr>
            <a:spLocks noGrp="1"/>
          </p:cNvSpPr>
          <p:nvPr>
            <p:ph type="body" orient="vert" idx="59" hasCustomPrompt="1"/>
          </p:nvPr>
        </p:nvSpPr>
        <p:spPr>
          <a:xfrm>
            <a:off x="5030967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2" name="Tijdelijke aanduiding voor afbeelding 31"/>
          <p:cNvSpPr>
            <a:spLocks noGrp="1"/>
          </p:cNvSpPr>
          <p:nvPr>
            <p:ph type="pic" sz="quarter" idx="60" hasCustomPrompt="1"/>
          </p:nvPr>
        </p:nvSpPr>
        <p:spPr>
          <a:xfrm>
            <a:off x="5030967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3" name="Tijdelijke aanduiding voor verticale tekst 2"/>
          <p:cNvSpPr>
            <a:spLocks noGrp="1"/>
          </p:cNvSpPr>
          <p:nvPr>
            <p:ph type="body" orient="vert" idx="61" hasCustomPrompt="1"/>
          </p:nvPr>
        </p:nvSpPr>
        <p:spPr>
          <a:xfrm>
            <a:off x="6196965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4" name="Tijdelijke aanduiding voor afbeelding 31"/>
          <p:cNvSpPr>
            <a:spLocks noGrp="1"/>
          </p:cNvSpPr>
          <p:nvPr>
            <p:ph type="pic" sz="quarter" idx="62" hasCustomPrompt="1"/>
          </p:nvPr>
        </p:nvSpPr>
        <p:spPr>
          <a:xfrm>
            <a:off x="6196965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5" name="Tijdelijke aanduiding voor verticale tekst 2"/>
          <p:cNvSpPr>
            <a:spLocks noGrp="1"/>
          </p:cNvSpPr>
          <p:nvPr>
            <p:ph type="body" orient="vert" idx="63" hasCustomPrompt="1"/>
          </p:nvPr>
        </p:nvSpPr>
        <p:spPr>
          <a:xfrm>
            <a:off x="736296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6" name="Tijdelijke aanduiding voor afbeelding 31"/>
          <p:cNvSpPr>
            <a:spLocks noGrp="1"/>
          </p:cNvSpPr>
          <p:nvPr>
            <p:ph type="pic" sz="quarter" idx="64" hasCustomPrompt="1"/>
          </p:nvPr>
        </p:nvSpPr>
        <p:spPr>
          <a:xfrm>
            <a:off x="736296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7" name="Tijdelijke aanduiding voor verticale tekst 2"/>
          <p:cNvSpPr>
            <a:spLocks noGrp="1"/>
          </p:cNvSpPr>
          <p:nvPr>
            <p:ph type="body" orient="vert" idx="65" hasCustomPrompt="1"/>
          </p:nvPr>
        </p:nvSpPr>
        <p:spPr>
          <a:xfrm>
            <a:off x="969495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8" name="Tijdelijke aanduiding voor afbeelding 31"/>
          <p:cNvSpPr>
            <a:spLocks noGrp="1"/>
          </p:cNvSpPr>
          <p:nvPr>
            <p:ph type="pic" sz="quarter" idx="66" hasCustomPrompt="1"/>
          </p:nvPr>
        </p:nvSpPr>
        <p:spPr>
          <a:xfrm>
            <a:off x="969495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9" name="Tijdelijke aanduiding voor verticale tekst 2"/>
          <p:cNvSpPr>
            <a:spLocks noGrp="1"/>
          </p:cNvSpPr>
          <p:nvPr>
            <p:ph type="body" orient="vert" idx="67" hasCustomPrompt="1"/>
          </p:nvPr>
        </p:nvSpPr>
        <p:spPr>
          <a:xfrm>
            <a:off x="8528961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0" name="Tijdelijke aanduiding voor afbeelding 31"/>
          <p:cNvSpPr>
            <a:spLocks noGrp="1"/>
          </p:cNvSpPr>
          <p:nvPr>
            <p:ph type="pic" sz="quarter" idx="68" hasCustomPrompt="1"/>
          </p:nvPr>
        </p:nvSpPr>
        <p:spPr>
          <a:xfrm>
            <a:off x="8528961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81" name="Tijdelijke aanduiding voor verticale tekst 2"/>
          <p:cNvSpPr>
            <a:spLocks noGrp="1"/>
          </p:cNvSpPr>
          <p:nvPr>
            <p:ph type="body" orient="vert" idx="69" hasCustomPrompt="1"/>
          </p:nvPr>
        </p:nvSpPr>
        <p:spPr>
          <a:xfrm>
            <a:off x="1086095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2" name="Tijdelijke aanduiding voor afbeelding 31"/>
          <p:cNvSpPr>
            <a:spLocks noGrp="1"/>
          </p:cNvSpPr>
          <p:nvPr>
            <p:ph type="pic" sz="quarter" idx="70" hasCustomPrompt="1"/>
          </p:nvPr>
        </p:nvSpPr>
        <p:spPr>
          <a:xfrm>
            <a:off x="1086095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grpSp>
        <p:nvGrpSpPr>
          <p:cNvPr id="183" name="Groep 182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 en klik op de kn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Bijsnijd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nl-NL" sz="1000" b="1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8270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7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9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0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1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5" grpId="0" animBg="1"/>
      <p:bldP spid="1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/>
      <p:bldP spid="12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1" grpId="0" animBg="1"/>
      <p:bldP spid="12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3" grpId="0" animBg="1"/>
      <p:bldP spid="12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/>
      <p:bldP spid="12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7" grpId="0" animBg="1"/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/>
      <p:bldP spid="13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3" grpId="0" animBg="1"/>
      <p:bldP spid="1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animBg="1"/>
      <p:bldP spid="13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7" grpId="0" animBg="1"/>
      <p:bldP spid="13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9" grpId="0" animBg="1"/>
      <p:bldP spid="1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1" grpId="0" animBg="1"/>
      <p:bldP spid="14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3" grpId="0" animBg="1"/>
      <p:bldP spid="1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animBg="1"/>
      <p:bldP spid="14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7" grpId="0" animBg="1"/>
      <p:bldP spid="1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9" grpId="0" animBg="1"/>
      <p:bldP spid="1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8" grpId="0" animBg="1"/>
      <p:bldP spid="1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0" grpId="0" animBg="1"/>
      <p:bldP spid="1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2" grpId="0" animBg="1"/>
      <p:bldP spid="1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4" grpId="0" animBg="1"/>
      <p:bldP spid="1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6" grpId="0" animBg="1"/>
      <p:bldP spid="1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8" grpId="0" animBg="1"/>
      <p:bldP spid="1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0" grpId="0" animBg="1"/>
      <p:bldP spid="1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2" grpId="0" animBg="1"/>
    </p:bld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eled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51C1-7C60-440F-BC16-1678C542979D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83" name="Groep 182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 en klik op de kn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Bijsnijd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nl-NL" sz="1000" b="1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351" name="Tijdelijke aanduiding voor verticale tekst 2">
            <a:extLst>
              <a:ext uri="{FF2B5EF4-FFF2-40B4-BE49-F238E27FC236}">
                <a16:creationId xmlns:a16="http://schemas.microsoft.com/office/drawing/2014/main" id="{14293AD2-5837-4071-844A-CF9B4C8E7AF4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5627391" y="1273157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2" name="Tijdelijke aanduiding voor afbeelding 31">
            <a:extLst>
              <a:ext uri="{FF2B5EF4-FFF2-40B4-BE49-F238E27FC236}">
                <a16:creationId xmlns:a16="http://schemas.microsoft.com/office/drawing/2014/main" id="{31C292F8-365A-42F0-A852-406D5067D3A0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5627391" y="1275303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3" name="Tijdelijke aanduiding voor verticale tekst 2">
            <a:extLst>
              <a:ext uri="{FF2B5EF4-FFF2-40B4-BE49-F238E27FC236}">
                <a16:creationId xmlns:a16="http://schemas.microsoft.com/office/drawing/2014/main" id="{3546D6F5-C676-40A9-869B-8EFFA5AA167D}"/>
              </a:ext>
            </a:extLst>
          </p:cNvPr>
          <p:cNvSpPr>
            <a:spLocks noGrp="1"/>
          </p:cNvSpPr>
          <p:nvPr>
            <p:ph type="body" orient="vert" idx="61" hasCustomPrompt="1"/>
          </p:nvPr>
        </p:nvSpPr>
        <p:spPr>
          <a:xfrm>
            <a:off x="3300938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4" name="Tijdelijke aanduiding voor afbeelding 31">
            <a:extLst>
              <a:ext uri="{FF2B5EF4-FFF2-40B4-BE49-F238E27FC236}">
                <a16:creationId xmlns:a16="http://schemas.microsoft.com/office/drawing/2014/main" id="{19A7FBEA-B915-4628-84CB-AAE0E645B7B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300938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5" name="Tijdelijke aanduiding voor verticale tekst 2">
            <a:extLst>
              <a:ext uri="{FF2B5EF4-FFF2-40B4-BE49-F238E27FC236}">
                <a16:creationId xmlns:a16="http://schemas.microsoft.com/office/drawing/2014/main" id="{C013B144-0A0D-497E-9CB4-D7698C524BA4}"/>
              </a:ext>
            </a:extLst>
          </p:cNvPr>
          <p:cNvSpPr>
            <a:spLocks noGrp="1"/>
          </p:cNvSpPr>
          <p:nvPr>
            <p:ph type="body" orient="vert" idx="63" hasCustomPrompt="1"/>
          </p:nvPr>
        </p:nvSpPr>
        <p:spPr>
          <a:xfrm>
            <a:off x="4466112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6" name="Tijdelijke aanduiding voor afbeelding 31">
            <a:extLst>
              <a:ext uri="{FF2B5EF4-FFF2-40B4-BE49-F238E27FC236}">
                <a16:creationId xmlns:a16="http://schemas.microsoft.com/office/drawing/2014/main" id="{6507DC2E-D07A-43FD-A01D-E8C2C5DB65E1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466112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7" name="Tijdelijke aanduiding voor verticale tekst 2">
            <a:extLst>
              <a:ext uri="{FF2B5EF4-FFF2-40B4-BE49-F238E27FC236}">
                <a16:creationId xmlns:a16="http://schemas.microsoft.com/office/drawing/2014/main" id="{83EC8DC8-0A58-457F-A794-EF5F437A5D57}"/>
              </a:ext>
            </a:extLst>
          </p:cNvPr>
          <p:cNvSpPr>
            <a:spLocks noGrp="1"/>
          </p:cNvSpPr>
          <p:nvPr>
            <p:ph type="body" orient="vert" idx="65" hasCustomPrompt="1"/>
          </p:nvPr>
        </p:nvSpPr>
        <p:spPr>
          <a:xfrm>
            <a:off x="5627025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8" name="Tijdelijke aanduiding voor afbeelding 31">
            <a:extLst>
              <a:ext uri="{FF2B5EF4-FFF2-40B4-BE49-F238E27FC236}">
                <a16:creationId xmlns:a16="http://schemas.microsoft.com/office/drawing/2014/main" id="{DC89F17D-F4CD-4E8D-A88A-98CD7D88CBD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5627025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9" name="Tijdelijke aanduiding voor verticale tekst 2">
            <a:extLst>
              <a:ext uri="{FF2B5EF4-FFF2-40B4-BE49-F238E27FC236}">
                <a16:creationId xmlns:a16="http://schemas.microsoft.com/office/drawing/2014/main" id="{B09EFA52-2194-4D04-AFD3-0EE8B5EFFCCD}"/>
              </a:ext>
            </a:extLst>
          </p:cNvPr>
          <p:cNvSpPr>
            <a:spLocks noGrp="1"/>
          </p:cNvSpPr>
          <p:nvPr>
            <p:ph type="body" orient="vert" idx="67" hasCustomPrompt="1"/>
          </p:nvPr>
        </p:nvSpPr>
        <p:spPr>
          <a:xfrm>
            <a:off x="6760801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0" name="Tijdelijke aanduiding voor afbeelding 31">
            <a:extLst>
              <a:ext uri="{FF2B5EF4-FFF2-40B4-BE49-F238E27FC236}">
                <a16:creationId xmlns:a16="http://schemas.microsoft.com/office/drawing/2014/main" id="{A24E315D-EA10-4DEF-95BB-C8CE4FFB11A4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6760801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1" name="Tijdelijke aanduiding voor verticale tekst 2">
            <a:extLst>
              <a:ext uri="{FF2B5EF4-FFF2-40B4-BE49-F238E27FC236}">
                <a16:creationId xmlns:a16="http://schemas.microsoft.com/office/drawing/2014/main" id="{8C45A7BE-A6A5-46D1-836D-6BAE04F801EE}"/>
              </a:ext>
            </a:extLst>
          </p:cNvPr>
          <p:cNvSpPr>
            <a:spLocks noGrp="1"/>
          </p:cNvSpPr>
          <p:nvPr>
            <p:ph type="body" orient="vert" idx="69" hasCustomPrompt="1"/>
          </p:nvPr>
        </p:nvSpPr>
        <p:spPr>
          <a:xfrm>
            <a:off x="7919783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2" name="Tijdelijke aanduiding voor afbeelding 31">
            <a:extLst>
              <a:ext uri="{FF2B5EF4-FFF2-40B4-BE49-F238E27FC236}">
                <a16:creationId xmlns:a16="http://schemas.microsoft.com/office/drawing/2014/main" id="{70A28BCC-A31D-4DF1-B9E3-C2C142D837B7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7919783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3" name="Tijdelijke aanduiding voor verticale tekst 2">
            <a:extLst>
              <a:ext uri="{FF2B5EF4-FFF2-40B4-BE49-F238E27FC236}">
                <a16:creationId xmlns:a16="http://schemas.microsoft.com/office/drawing/2014/main" id="{A0474310-937A-48E0-8BA1-9B4140C7BB4F}"/>
              </a:ext>
            </a:extLst>
          </p:cNvPr>
          <p:cNvSpPr>
            <a:spLocks noGrp="1"/>
          </p:cNvSpPr>
          <p:nvPr>
            <p:ph type="body" orient="vert" idx="71" hasCustomPrompt="1"/>
          </p:nvPr>
        </p:nvSpPr>
        <p:spPr>
          <a:xfrm>
            <a:off x="18685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4" name="Tijdelijke aanduiding voor afbeelding 31">
            <a:extLst>
              <a:ext uri="{FF2B5EF4-FFF2-40B4-BE49-F238E27FC236}">
                <a16:creationId xmlns:a16="http://schemas.microsoft.com/office/drawing/2014/main" id="{3CBF5ECA-BEE2-473A-8E52-D03352A5EDDF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18685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5" name="Tijdelijke aanduiding voor verticale tekst 2">
            <a:extLst>
              <a:ext uri="{FF2B5EF4-FFF2-40B4-BE49-F238E27FC236}">
                <a16:creationId xmlns:a16="http://schemas.microsoft.com/office/drawing/2014/main" id="{E5DD920C-0DD7-43B5-80F2-1553606E5496}"/>
              </a:ext>
            </a:extLst>
          </p:cNvPr>
          <p:cNvSpPr>
            <a:spLocks noGrp="1"/>
          </p:cNvSpPr>
          <p:nvPr>
            <p:ph type="body" orient="vert" idx="73" hasCustomPrompt="1"/>
          </p:nvPr>
        </p:nvSpPr>
        <p:spPr>
          <a:xfrm>
            <a:off x="1196287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6" name="Tijdelijke aanduiding voor afbeelding 31">
            <a:extLst>
              <a:ext uri="{FF2B5EF4-FFF2-40B4-BE49-F238E27FC236}">
                <a16:creationId xmlns:a16="http://schemas.microsoft.com/office/drawing/2014/main" id="{41CE60B6-643B-4FA5-AFD6-F71184104FEB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1196287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7" name="Tijdelijke aanduiding voor verticale tekst 2">
            <a:extLst>
              <a:ext uri="{FF2B5EF4-FFF2-40B4-BE49-F238E27FC236}">
                <a16:creationId xmlns:a16="http://schemas.microsoft.com/office/drawing/2014/main" id="{0E055054-668D-45F3-AC9E-E98016952F7F}"/>
              </a:ext>
            </a:extLst>
          </p:cNvPr>
          <p:cNvSpPr>
            <a:spLocks noGrp="1"/>
          </p:cNvSpPr>
          <p:nvPr>
            <p:ph type="body" orient="vert" idx="75" hasCustomPrompt="1"/>
          </p:nvPr>
        </p:nvSpPr>
        <p:spPr>
          <a:xfrm>
            <a:off x="2178401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8" name="Tijdelijke aanduiding voor afbeelding 31">
            <a:extLst>
              <a:ext uri="{FF2B5EF4-FFF2-40B4-BE49-F238E27FC236}">
                <a16:creationId xmlns:a16="http://schemas.microsoft.com/office/drawing/2014/main" id="{61EF5895-2F2F-41FA-BD25-A9ACEE183E07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2178401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9" name="Tijdelijke aanduiding voor verticale tekst 2">
            <a:extLst>
              <a:ext uri="{FF2B5EF4-FFF2-40B4-BE49-F238E27FC236}">
                <a16:creationId xmlns:a16="http://schemas.microsoft.com/office/drawing/2014/main" id="{1C5CEB20-7748-4A99-9912-BBFD8F504873}"/>
              </a:ext>
            </a:extLst>
          </p:cNvPr>
          <p:cNvSpPr>
            <a:spLocks noGrp="1"/>
          </p:cNvSpPr>
          <p:nvPr>
            <p:ph type="body" orient="vert" idx="77" hasCustomPrompt="1"/>
          </p:nvPr>
        </p:nvSpPr>
        <p:spPr>
          <a:xfrm>
            <a:off x="316992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0" name="Tijdelijke aanduiding voor afbeelding 31">
            <a:extLst>
              <a:ext uri="{FF2B5EF4-FFF2-40B4-BE49-F238E27FC236}">
                <a16:creationId xmlns:a16="http://schemas.microsoft.com/office/drawing/2014/main" id="{8F724066-6267-4012-A0AE-9AFF34BFAEF3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16992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1" name="Tijdelijke aanduiding voor verticale tekst 2">
            <a:extLst>
              <a:ext uri="{FF2B5EF4-FFF2-40B4-BE49-F238E27FC236}">
                <a16:creationId xmlns:a16="http://schemas.microsoft.com/office/drawing/2014/main" id="{5549D103-FD4C-40BD-9381-7A2A04ACE976}"/>
              </a:ext>
            </a:extLst>
          </p:cNvPr>
          <p:cNvSpPr>
            <a:spLocks noGrp="1"/>
          </p:cNvSpPr>
          <p:nvPr>
            <p:ph type="body" orient="vert" idx="79" hasCustomPrompt="1"/>
          </p:nvPr>
        </p:nvSpPr>
        <p:spPr>
          <a:xfrm>
            <a:off x="417561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2" name="Tijdelijke aanduiding voor afbeelding 31">
            <a:extLst>
              <a:ext uri="{FF2B5EF4-FFF2-40B4-BE49-F238E27FC236}">
                <a16:creationId xmlns:a16="http://schemas.microsoft.com/office/drawing/2014/main" id="{77371A9C-44E1-4AF9-AEF3-D57D35EC1BDB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417561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3" name="Tijdelijke aanduiding voor verticale tekst 2">
            <a:extLst>
              <a:ext uri="{FF2B5EF4-FFF2-40B4-BE49-F238E27FC236}">
                <a16:creationId xmlns:a16="http://schemas.microsoft.com/office/drawing/2014/main" id="{714A5014-6E42-4ED5-8E6B-6B8B1A3EDEC8}"/>
              </a:ext>
            </a:extLst>
          </p:cNvPr>
          <p:cNvSpPr>
            <a:spLocks noGrp="1"/>
          </p:cNvSpPr>
          <p:nvPr>
            <p:ph type="body" orient="vert" idx="81" hasCustomPrompt="1"/>
          </p:nvPr>
        </p:nvSpPr>
        <p:spPr>
          <a:xfrm>
            <a:off x="517047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4" name="Tijdelijke aanduiding voor afbeelding 31">
            <a:extLst>
              <a:ext uri="{FF2B5EF4-FFF2-40B4-BE49-F238E27FC236}">
                <a16:creationId xmlns:a16="http://schemas.microsoft.com/office/drawing/2014/main" id="{5B04C9C5-8DDC-42DA-A688-232C243D2E1F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17047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5" name="Tijdelijke aanduiding voor verticale tekst 2">
            <a:extLst>
              <a:ext uri="{FF2B5EF4-FFF2-40B4-BE49-F238E27FC236}">
                <a16:creationId xmlns:a16="http://schemas.microsoft.com/office/drawing/2014/main" id="{B8514DCC-110B-47C6-B106-1D96A43C6875}"/>
              </a:ext>
            </a:extLst>
          </p:cNvPr>
          <p:cNvSpPr>
            <a:spLocks noGrp="1"/>
          </p:cNvSpPr>
          <p:nvPr>
            <p:ph type="body" orient="vert" idx="83" hasCustomPrompt="1"/>
          </p:nvPr>
        </p:nvSpPr>
        <p:spPr>
          <a:xfrm>
            <a:off x="618874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6" name="Tijdelijke aanduiding voor afbeelding 31">
            <a:extLst>
              <a:ext uri="{FF2B5EF4-FFF2-40B4-BE49-F238E27FC236}">
                <a16:creationId xmlns:a16="http://schemas.microsoft.com/office/drawing/2014/main" id="{0464B692-CE9D-4CCC-BD48-184F82D2E128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618874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7" name="Tijdelijke aanduiding voor verticale tekst 2">
            <a:extLst>
              <a:ext uri="{FF2B5EF4-FFF2-40B4-BE49-F238E27FC236}">
                <a16:creationId xmlns:a16="http://schemas.microsoft.com/office/drawing/2014/main" id="{0EFDBC1E-2C3E-49F2-BAB9-80B028E7925A}"/>
              </a:ext>
            </a:extLst>
          </p:cNvPr>
          <p:cNvSpPr>
            <a:spLocks noGrp="1"/>
          </p:cNvSpPr>
          <p:nvPr>
            <p:ph type="body" orient="vert" idx="85" hasCustomPrompt="1"/>
          </p:nvPr>
        </p:nvSpPr>
        <p:spPr>
          <a:xfrm>
            <a:off x="7172109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8" name="Tijdelijke aanduiding voor afbeelding 31">
            <a:extLst>
              <a:ext uri="{FF2B5EF4-FFF2-40B4-BE49-F238E27FC236}">
                <a16:creationId xmlns:a16="http://schemas.microsoft.com/office/drawing/2014/main" id="{9C5F1BD7-86D5-4851-9BE4-35B8C2CA6372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7172109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9" name="Tijdelijke aanduiding voor verticale tekst 2">
            <a:extLst>
              <a:ext uri="{FF2B5EF4-FFF2-40B4-BE49-F238E27FC236}">
                <a16:creationId xmlns:a16="http://schemas.microsoft.com/office/drawing/2014/main" id="{4730FF30-C1DE-481D-B4CC-37F59AE69C53}"/>
              </a:ext>
            </a:extLst>
          </p:cNvPr>
          <p:cNvSpPr>
            <a:spLocks noGrp="1"/>
          </p:cNvSpPr>
          <p:nvPr>
            <p:ph type="body" orient="vert" idx="87" hasCustomPrompt="1"/>
          </p:nvPr>
        </p:nvSpPr>
        <p:spPr>
          <a:xfrm>
            <a:off x="8180801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0" name="Tijdelijke aanduiding voor afbeelding 31">
            <a:extLst>
              <a:ext uri="{FF2B5EF4-FFF2-40B4-BE49-F238E27FC236}">
                <a16:creationId xmlns:a16="http://schemas.microsoft.com/office/drawing/2014/main" id="{3A9287F3-0467-4BC6-AAAF-456CD7B58A04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8180801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1" name="Tijdelijke aanduiding voor verticale tekst 2">
            <a:extLst>
              <a:ext uri="{FF2B5EF4-FFF2-40B4-BE49-F238E27FC236}">
                <a16:creationId xmlns:a16="http://schemas.microsoft.com/office/drawing/2014/main" id="{416A12B1-AEC0-4EFE-B2A0-2EF8B86739E9}"/>
              </a:ext>
            </a:extLst>
          </p:cNvPr>
          <p:cNvSpPr>
            <a:spLocks noGrp="1"/>
          </p:cNvSpPr>
          <p:nvPr>
            <p:ph type="body" orient="vert" idx="89" hasCustomPrompt="1"/>
          </p:nvPr>
        </p:nvSpPr>
        <p:spPr>
          <a:xfrm>
            <a:off x="9185605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2" name="Tijdelijke aanduiding voor afbeelding 31">
            <a:extLst>
              <a:ext uri="{FF2B5EF4-FFF2-40B4-BE49-F238E27FC236}">
                <a16:creationId xmlns:a16="http://schemas.microsoft.com/office/drawing/2014/main" id="{A02ABF61-1E62-4C1D-98E4-D71576C67151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9185605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3" name="Tijdelijke aanduiding voor verticale tekst 2">
            <a:extLst>
              <a:ext uri="{FF2B5EF4-FFF2-40B4-BE49-F238E27FC236}">
                <a16:creationId xmlns:a16="http://schemas.microsoft.com/office/drawing/2014/main" id="{780E81C4-4C3D-4918-9B7E-5C13BDA880F3}"/>
              </a:ext>
            </a:extLst>
          </p:cNvPr>
          <p:cNvSpPr>
            <a:spLocks noGrp="1"/>
          </p:cNvSpPr>
          <p:nvPr>
            <p:ph type="body" orient="vert" idx="91" hasCustomPrompt="1"/>
          </p:nvPr>
        </p:nvSpPr>
        <p:spPr>
          <a:xfrm>
            <a:off x="1017220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4" name="Tijdelijke aanduiding voor afbeelding 31">
            <a:extLst>
              <a:ext uri="{FF2B5EF4-FFF2-40B4-BE49-F238E27FC236}">
                <a16:creationId xmlns:a16="http://schemas.microsoft.com/office/drawing/2014/main" id="{A11EEA0B-06CF-46E4-B49E-619F39CD8FCE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1017220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5" name="Tijdelijke aanduiding voor verticale tekst 2">
            <a:extLst>
              <a:ext uri="{FF2B5EF4-FFF2-40B4-BE49-F238E27FC236}">
                <a16:creationId xmlns:a16="http://schemas.microsoft.com/office/drawing/2014/main" id="{D3F3124F-387F-41B9-9AD4-17B8B8938093}"/>
              </a:ext>
            </a:extLst>
          </p:cNvPr>
          <p:cNvSpPr>
            <a:spLocks noGrp="1"/>
          </p:cNvSpPr>
          <p:nvPr>
            <p:ph type="body" orient="vert" idx="93" hasCustomPrompt="1"/>
          </p:nvPr>
        </p:nvSpPr>
        <p:spPr>
          <a:xfrm>
            <a:off x="1118003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6" name="Tijdelijke aanduiding voor afbeelding 31">
            <a:extLst>
              <a:ext uri="{FF2B5EF4-FFF2-40B4-BE49-F238E27FC236}">
                <a16:creationId xmlns:a16="http://schemas.microsoft.com/office/drawing/2014/main" id="{1666C2E9-EB03-4BE0-A719-C01BCB15744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1118003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2312729-E02A-43BC-A267-1B37FDF68AD8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00938" y="2455939"/>
            <a:ext cx="1211263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8" name="Tijdelijke aanduiding voor tekst 7">
            <a:extLst>
              <a:ext uri="{FF2B5EF4-FFF2-40B4-BE49-F238E27FC236}">
                <a16:creationId xmlns:a16="http://schemas.microsoft.com/office/drawing/2014/main" id="{0F1BE2BF-85C1-4D56-96AA-702D436423AB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97539" y="4101385"/>
            <a:ext cx="1472006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9" name="Tijdelijke aanduiding voor tekst 7">
            <a:extLst>
              <a:ext uri="{FF2B5EF4-FFF2-40B4-BE49-F238E27FC236}">
                <a16:creationId xmlns:a16="http://schemas.microsoft.com/office/drawing/2014/main" id="{4E575E57-AA1F-447B-B420-AA5E8340FD08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627025" y="971917"/>
            <a:ext cx="1491010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28757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2" grpId="0" animBg="1"/>
      <p:bldP spid="3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4" grpId="0" animBg="1"/>
      <p:bldP spid="3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6" grpId="0" animBg="1"/>
      <p:bldP spid="3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8" grpId="0" animBg="1"/>
      <p:bldP spid="3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0" grpId="0" animBg="1"/>
      <p:bldP spid="3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2" grpId="0" animBg="1"/>
      <p:bldP spid="3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4" grpId="0" animBg="1"/>
      <p:bldP spid="3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6" grpId="0" animBg="1"/>
      <p:bldP spid="3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8" grpId="0" animBg="1"/>
      <p:bldP spid="3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0" grpId="0" animBg="1"/>
      <p:bldP spid="3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2" grpId="0" animBg="1"/>
      <p:bldP spid="3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4" grpId="0" animBg="1"/>
      <p:bldP spid="3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6" grpId="0" animBg="1"/>
      <p:bldP spid="3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8" grpId="0" animBg="1"/>
      <p:bldP spid="3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0" grpId="0" animBg="1"/>
      <p:bldP spid="3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2" grpId="0" animBg="1"/>
      <p:bldP spid="38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4" grpId="0" animBg="1"/>
      <p:bldP spid="38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6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Wit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BC885B-BB59-494C-89AD-2601A479C9EC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8242300" y="-279400"/>
            <a:ext cx="3949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afbeelding (Titel wit 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57260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Feedback communicer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 dirty="0">
              <a:solidFill>
                <a:prstClr val="black"/>
              </a:solidFill>
            </a:endParaRPr>
          </a:p>
        </p:txBody>
      </p:sp>
      <p:sp>
        <p:nvSpPr>
          <p:cNvPr id="16" name="Rechthoek 15"/>
          <p:cNvSpPr/>
          <p:nvPr userDrawn="1"/>
        </p:nvSpPr>
        <p:spPr>
          <a:xfrm>
            <a:off x="701536" y="1700810"/>
            <a:ext cx="10800649" cy="435649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te klant,</a:t>
            </a: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j PPT Solutions communiceren we feedback met opmerkingen in PowerPoint.</a:t>
            </a: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nneer u feedback heeft wat betrekking heeft op een dia in de presentatie, ga dan naar de desbetreffende dia en volg de volgende stappen:</a:t>
            </a: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ze stappen kunt u uitvoeren door de gehele presentatie en eventueel ook antwoord geven op onze communicatie via opmerkingen.</a:t>
            </a: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 volgende stappen kunt u uitvoeren om antwoord te geven op evt. opmerkingen of om naar de vorige/volgende opmerking in de presentatie te gaan:</a:t>
            </a: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Feedback communiceren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2267220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4838993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7" name="Rechthoek 36"/>
            <p:cNvSpPr/>
            <p:nvPr userDrawn="1"/>
          </p:nvSpPr>
          <p:spPr>
            <a:xfrm>
              <a:off x="0" y="277158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" name="Rechthoek 37"/>
            <p:cNvSpPr/>
            <p:nvPr userDrawn="1"/>
          </p:nvSpPr>
          <p:spPr>
            <a:xfrm>
              <a:off x="0" y="320061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" name="Rechthoek 38"/>
            <p:cNvSpPr/>
            <p:nvPr userDrawn="1"/>
          </p:nvSpPr>
          <p:spPr>
            <a:xfrm>
              <a:off x="0" y="3666199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8" name="Rechthoek 47"/>
            <p:cNvSpPr/>
            <p:nvPr userDrawn="1"/>
          </p:nvSpPr>
          <p:spPr>
            <a:xfrm>
              <a:off x="0" y="538020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6A5"/>
                </a:solidFill>
                <a:latin typeface="Oswald" panose="02000503000000000000" pitchFamily="2" charset="0"/>
              </a:rPr>
              <a:t>Feedback communicatie</a:t>
            </a:r>
            <a:endParaRPr lang="en-US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  <p:grpSp>
        <p:nvGrpSpPr>
          <p:cNvPr id="67" name="Groep 66"/>
          <p:cNvGrpSpPr/>
          <p:nvPr userDrawn="1"/>
        </p:nvGrpSpPr>
        <p:grpSpPr>
          <a:xfrm>
            <a:off x="696791" y="2472280"/>
            <a:ext cx="9936052" cy="1694973"/>
            <a:chOff x="695521" y="2472279"/>
            <a:chExt cx="9917939" cy="1694973"/>
          </a:xfrm>
        </p:grpSpPr>
        <p:grpSp>
          <p:nvGrpSpPr>
            <p:cNvPr id="18" name="Groep 17"/>
            <p:cNvGrpSpPr/>
            <p:nvPr/>
          </p:nvGrpSpPr>
          <p:grpSpPr>
            <a:xfrm>
              <a:off x="695521" y="2477768"/>
              <a:ext cx="9917939" cy="1643724"/>
              <a:chOff x="607174" y="2060848"/>
              <a:chExt cx="9917939" cy="1643724"/>
            </a:xfrm>
          </p:grpSpPr>
          <p:sp>
            <p:nvSpPr>
              <p:cNvPr id="23" name="Tekstvak 22"/>
              <p:cNvSpPr txBox="1"/>
              <p:nvPr/>
            </p:nvSpPr>
            <p:spPr>
              <a:xfrm>
                <a:off x="1020057" y="2060849"/>
                <a:ext cx="4824536" cy="2654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a naar de tab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Invoegen’.</a:t>
                </a:r>
              </a:p>
            </p:txBody>
          </p:sp>
          <p:sp>
            <p:nvSpPr>
              <p:cNvPr id="24" name="Ovaal 23"/>
              <p:cNvSpPr/>
              <p:nvPr/>
            </p:nvSpPr>
            <p:spPr>
              <a:xfrm>
                <a:off x="607174" y="2060848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1</a:t>
                </a:r>
              </a:p>
            </p:txBody>
          </p:sp>
          <p:sp>
            <p:nvSpPr>
              <p:cNvPr id="25" name="Tekstvak 24"/>
              <p:cNvSpPr txBox="1"/>
              <p:nvPr/>
            </p:nvSpPr>
            <p:spPr>
              <a:xfrm>
                <a:off x="1020057" y="2483279"/>
                <a:ext cx="482453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Klik op de knop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Opmerking’.</a:t>
                </a:r>
              </a:p>
            </p:txBody>
          </p:sp>
          <p:sp>
            <p:nvSpPr>
              <p:cNvPr id="26" name="Ovaal 25"/>
              <p:cNvSpPr/>
              <p:nvPr/>
            </p:nvSpPr>
            <p:spPr>
              <a:xfrm>
                <a:off x="607174" y="2488475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</a:t>
                </a:r>
              </a:p>
            </p:txBody>
          </p:sp>
          <p:sp>
            <p:nvSpPr>
              <p:cNvPr id="27" name="Tekstvak 26"/>
              <p:cNvSpPr txBox="1"/>
              <p:nvPr/>
            </p:nvSpPr>
            <p:spPr>
              <a:xfrm>
                <a:off x="1020057" y="2931615"/>
                <a:ext cx="95050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r verschijnt nu een klein spreekwolkje op de slide en het venster voor opmerkingen opent zich aan de zijkant.</a:t>
                </a:r>
              </a:p>
              <a:p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yp uw feedback in het tekst vak in het venster voor opmerkingen.</a:t>
                </a:r>
              </a:p>
            </p:txBody>
          </p:sp>
          <p:sp>
            <p:nvSpPr>
              <p:cNvPr id="28" name="Ovaal 27"/>
              <p:cNvSpPr/>
              <p:nvPr/>
            </p:nvSpPr>
            <p:spPr>
              <a:xfrm>
                <a:off x="607174" y="291608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3</a:t>
                </a:r>
              </a:p>
            </p:txBody>
          </p:sp>
          <p:sp>
            <p:nvSpPr>
              <p:cNvPr id="29" name="Tekstvak 28"/>
              <p:cNvSpPr txBox="1"/>
              <p:nvPr/>
            </p:nvSpPr>
            <p:spPr>
              <a:xfrm>
                <a:off x="1020057" y="3416540"/>
                <a:ext cx="72936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u dit gedaan heeft, kunt u het spreekwolkje op de juiste plaats op de dia slepen. 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Zo is het voor ons duidelijk op welk deel van de content, op de dia, uw feedback betrekking heeft.</a:t>
                </a:r>
              </a:p>
            </p:txBody>
          </p:sp>
          <p:sp>
            <p:nvSpPr>
              <p:cNvPr id="30" name="Ovaal 29"/>
              <p:cNvSpPr/>
              <p:nvPr/>
            </p:nvSpPr>
            <p:spPr>
              <a:xfrm>
                <a:off x="607174" y="341654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4</a:t>
                </a:r>
              </a:p>
            </p:txBody>
          </p:sp>
        </p:grpSp>
        <p:pic>
          <p:nvPicPr>
            <p:cNvPr id="51" name="Afbeelding 5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2913" y="2472279"/>
              <a:ext cx="1822207" cy="26537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2" name="Afbeelding 51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92913" y="2840765"/>
              <a:ext cx="432050" cy="376815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6" name="Afbeelding 55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2793592"/>
              <a:ext cx="2144324" cy="880792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8" name="Afbeelding 57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3767202"/>
              <a:ext cx="419100" cy="40005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grpSp>
        <p:nvGrpSpPr>
          <p:cNvPr id="66" name="Groep 65"/>
          <p:cNvGrpSpPr/>
          <p:nvPr userDrawn="1"/>
        </p:nvGrpSpPr>
        <p:grpSpPr>
          <a:xfrm>
            <a:off x="691994" y="4957010"/>
            <a:ext cx="10940890" cy="992294"/>
            <a:chOff x="690732" y="4957010"/>
            <a:chExt cx="10920946" cy="992294"/>
          </a:xfrm>
        </p:grpSpPr>
        <p:grpSp>
          <p:nvGrpSpPr>
            <p:cNvPr id="41" name="Groep 40"/>
            <p:cNvGrpSpPr/>
            <p:nvPr/>
          </p:nvGrpSpPr>
          <p:grpSpPr>
            <a:xfrm>
              <a:off x="690732" y="5052264"/>
              <a:ext cx="10920946" cy="807860"/>
              <a:chOff x="612279" y="4917797"/>
              <a:chExt cx="10920946" cy="807860"/>
            </a:xfrm>
          </p:grpSpPr>
          <p:sp>
            <p:nvSpPr>
              <p:cNvPr id="44" name="Tekstvak 43"/>
              <p:cNvSpPr txBox="1"/>
              <p:nvPr/>
            </p:nvSpPr>
            <p:spPr>
              <a:xfrm>
                <a:off x="1020057" y="4933332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en u een opmerking van PPT Solutions ziet staan, Kunt u antwoorden door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nder de opmerking, waar een tekst vak staat met de beschrijving ‘Beantwoorden’, uw antwoord te typen.</a:t>
                </a:r>
              </a:p>
            </p:txBody>
          </p:sp>
          <p:sp>
            <p:nvSpPr>
              <p:cNvPr id="45" name="Ovaal 44"/>
              <p:cNvSpPr/>
              <p:nvPr/>
            </p:nvSpPr>
            <p:spPr>
              <a:xfrm>
                <a:off x="612279" y="4917797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</a:t>
                </a:r>
              </a:p>
            </p:txBody>
          </p:sp>
          <p:sp>
            <p:nvSpPr>
              <p:cNvPr id="46" name="Tekstvak 45"/>
              <p:cNvSpPr txBox="1"/>
              <p:nvPr/>
            </p:nvSpPr>
            <p:spPr>
              <a:xfrm>
                <a:off x="1020057" y="5437625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zijn in de rechter bovenhoek twee knopjes zichtbaar.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et het linker knopje gaat u naar de vorige opmerking in de presentatie en met het rechter knopje gaat u naar de volgende.</a:t>
                </a:r>
              </a:p>
            </p:txBody>
          </p:sp>
          <p:sp>
            <p:nvSpPr>
              <p:cNvPr id="47" name="Ovaal 46"/>
              <p:cNvSpPr/>
              <p:nvPr/>
            </p:nvSpPr>
            <p:spPr>
              <a:xfrm>
                <a:off x="612279" y="542209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B</a:t>
                </a:r>
              </a:p>
            </p:txBody>
          </p:sp>
        </p:grpSp>
        <p:pic>
          <p:nvPicPr>
            <p:cNvPr id="63" name="Afbeelding 62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21581" y="4957010"/>
              <a:ext cx="1677516" cy="529469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65" name="Afbeelding 64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21580" y="5568546"/>
              <a:ext cx="673648" cy="380758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sp>
        <p:nvSpPr>
          <p:cNvPr id="43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A78"/>
              </a:buClr>
              <a:buFont typeface="Courier New" panose="02070309020205020404" pitchFamily="49" charset="0"/>
              <a:buNone/>
            </a:pPr>
            <a:endParaRPr dirty="0">
              <a:solidFill>
                <a:prstClr val="white"/>
              </a:solidFill>
            </a:endParaRPr>
          </a:p>
        </p:txBody>
      </p:sp>
      <p:cxnSp>
        <p:nvCxnSpPr>
          <p:cNvPr id="42" name="Rechte verbindingslijn 41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74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Video instructi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hthoek 10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 dirty="0">
              <a:solidFill>
                <a:prstClr val="black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Video instructies - YouTube links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6A5"/>
                </a:solidFill>
                <a:latin typeface="Oswald" panose="02000503000000000000" pitchFamily="2" charset="0"/>
              </a:rPr>
              <a:t>Video instructies – YouTube links</a:t>
            </a:r>
          </a:p>
        </p:txBody>
      </p:sp>
      <p:cxnSp>
        <p:nvCxnSpPr>
          <p:cNvPr id="49" name="Rechte verbindingslijn 48"/>
          <p:cNvCxnSpPr/>
          <p:nvPr userDrawn="1"/>
        </p:nvCxnSpPr>
        <p:spPr>
          <a:xfrm>
            <a:off x="3394123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echte verbindingslijn 49"/>
          <p:cNvCxnSpPr/>
          <p:nvPr userDrawn="1"/>
        </p:nvCxnSpPr>
        <p:spPr>
          <a:xfrm>
            <a:off x="6094285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chte verbindingslijn 58"/>
          <p:cNvCxnSpPr>
            <a:cxnSpLocks/>
          </p:cNvCxnSpPr>
          <p:nvPr userDrawn="1"/>
        </p:nvCxnSpPr>
        <p:spPr>
          <a:xfrm flipH="1">
            <a:off x="672268" y="3879057"/>
            <a:ext cx="8122180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H2">
            <a:hlinkClick r:id="" action="ppaction://noaction"/>
          </p:cNvPr>
          <p:cNvSpPr txBox="1"/>
          <p:nvPr userDrawn="1"/>
        </p:nvSpPr>
        <p:spPr>
          <a:xfrm>
            <a:off x="1031406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Tekst Niveau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hM16rifWsjU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2" name="H2">
            <a:hlinkClick r:id="" action="ppaction://noaction"/>
          </p:cNvPr>
          <p:cNvSpPr txBox="1"/>
          <p:nvPr userDrawn="1"/>
        </p:nvSpPr>
        <p:spPr>
          <a:xfrm>
            <a:off x="3781120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Afbeeldingen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09yTK-OTEPA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3" name="H2">
            <a:hlinkClick r:id="" action="ppaction://noaction"/>
          </p:cNvPr>
          <p:cNvSpPr txBox="1"/>
          <p:nvPr userDrawn="1"/>
        </p:nvSpPr>
        <p:spPr>
          <a:xfrm>
            <a:off x="6481282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Grafieken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fbByse1_RSY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79" name="Grafiek icoon"/>
          <p:cNvGrpSpPr/>
          <p:nvPr userDrawn="1"/>
        </p:nvGrpSpPr>
        <p:grpSpPr>
          <a:xfrm>
            <a:off x="7264959" y="2184002"/>
            <a:ext cx="358817" cy="389873"/>
            <a:chOff x="12468049" y="1754144"/>
            <a:chExt cx="339072" cy="369091"/>
          </a:xfrm>
        </p:grpSpPr>
        <p:sp>
          <p:nvSpPr>
            <p:cNvPr id="80" name="Rechthoek 79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81" name="Rechthoek 80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82" name="Rechthoek 8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</p:grpSp>
      <p:sp>
        <p:nvSpPr>
          <p:cNvPr id="83" name="H2">
            <a:hlinkClick r:id="" action="ppaction://noaction"/>
          </p:cNvPr>
          <p:cNvSpPr txBox="1"/>
          <p:nvPr userDrawn="1"/>
        </p:nvSpPr>
        <p:spPr>
          <a:xfrm>
            <a:off x="1066304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Tabellen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IIjbiKAotek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4" name="H2">
            <a:hlinkClick r:id="" action="ppaction://noaction"/>
          </p:cNvPr>
          <p:cNvSpPr txBox="1"/>
          <p:nvPr userDrawn="1"/>
        </p:nvSpPr>
        <p:spPr>
          <a:xfrm>
            <a:off x="3816019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Video’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H_4HH09zxC0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5" name="H2">
            <a:hlinkClick r:id="" action="ppaction://noaction"/>
          </p:cNvPr>
          <p:cNvSpPr txBox="1"/>
          <p:nvPr userDrawn="1"/>
        </p:nvSpPr>
        <p:spPr>
          <a:xfrm>
            <a:off x="6516180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8A78"/>
                </a:solidFill>
                <a:latin typeface="Gill Sans MT"/>
              </a:rPr>
              <a:t> </a:t>
            </a:r>
            <a:br>
              <a:rPr lang="nl-NL" sz="1200" dirty="0">
                <a:solidFill>
                  <a:srgbClr val="002C51"/>
                </a:solidFill>
                <a:latin typeface="Gill Sans MT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Meer Tips &amp; Trick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7"/>
              </a:rPr>
              <a:t>www.pptsolutions.nl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86" name="Tabel icoon"/>
          <p:cNvGrpSpPr/>
          <p:nvPr userDrawn="1"/>
        </p:nvGrpSpPr>
        <p:grpSpPr>
          <a:xfrm>
            <a:off x="1808088" y="4385924"/>
            <a:ext cx="447825" cy="403759"/>
            <a:chOff x="6072040" y="3376043"/>
            <a:chExt cx="1227920" cy="1109109"/>
          </a:xfrm>
        </p:grpSpPr>
        <p:sp>
          <p:nvSpPr>
            <p:cNvPr id="87" name="Rechthoek 86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88" name="Rechthoek 87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cxnSp>
          <p:nvCxnSpPr>
            <p:cNvPr id="89" name="Rechte verbindingslijn 88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Rechte verbindingslijn 89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Rechte verbindingslijn 90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Rechte verbindingslijn 91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Rechte verbindingslijn 92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hthoek 93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7" name="Video icoon"/>
          <p:cNvGrpSpPr/>
          <p:nvPr userDrawn="1"/>
        </p:nvGrpSpPr>
        <p:grpSpPr>
          <a:xfrm>
            <a:off x="4603376" y="4392447"/>
            <a:ext cx="401285" cy="403079"/>
            <a:chOff x="8066315" y="1676399"/>
            <a:chExt cx="1371600" cy="1380253"/>
          </a:xfrm>
        </p:grpSpPr>
        <p:sp>
          <p:nvSpPr>
            <p:cNvPr id="98" name="Rechthoek 97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99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100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</p:grpSp>
      <p:sp>
        <p:nvSpPr>
          <p:cNvPr id="101" name="Freeform 17"/>
          <p:cNvSpPr>
            <a:spLocks noEditPoints="1"/>
          </p:cNvSpPr>
          <p:nvPr userDrawn="1"/>
        </p:nvSpPr>
        <p:spPr bwMode="auto">
          <a:xfrm>
            <a:off x="7294860" y="4392446"/>
            <a:ext cx="409961" cy="409214"/>
          </a:xfrm>
          <a:custGeom>
            <a:avLst/>
            <a:gdLst>
              <a:gd name="T0" fmla="*/ 281 w 445"/>
              <a:gd name="T1" fmla="*/ 374 h 445"/>
              <a:gd name="T2" fmla="*/ 320 w 445"/>
              <a:gd name="T3" fmla="*/ 366 h 445"/>
              <a:gd name="T4" fmla="*/ 297 w 445"/>
              <a:gd name="T5" fmla="*/ 330 h 445"/>
              <a:gd name="T6" fmla="*/ 98 w 445"/>
              <a:gd name="T7" fmla="*/ 344 h 445"/>
              <a:gd name="T8" fmla="*/ 175 w 445"/>
              <a:gd name="T9" fmla="*/ 390 h 445"/>
              <a:gd name="T10" fmla="*/ 147 w 445"/>
              <a:gd name="T11" fmla="*/ 329 h 445"/>
              <a:gd name="T12" fmla="*/ 171 w 445"/>
              <a:gd name="T13" fmla="*/ 324 h 445"/>
              <a:gd name="T14" fmla="*/ 200 w 445"/>
              <a:gd name="T15" fmla="*/ 384 h 445"/>
              <a:gd name="T16" fmla="*/ 234 w 445"/>
              <a:gd name="T17" fmla="*/ 392 h 445"/>
              <a:gd name="T18" fmla="*/ 265 w 445"/>
              <a:gd name="T19" fmla="*/ 349 h 445"/>
              <a:gd name="T20" fmla="*/ 310 w 445"/>
              <a:gd name="T21" fmla="*/ 232 h 445"/>
              <a:gd name="T22" fmla="*/ 306 w 445"/>
              <a:gd name="T23" fmla="*/ 290 h 445"/>
              <a:gd name="T24" fmla="*/ 358 w 445"/>
              <a:gd name="T25" fmla="*/ 330 h 445"/>
              <a:gd name="T26" fmla="*/ 393 w 445"/>
              <a:gd name="T27" fmla="*/ 260 h 445"/>
              <a:gd name="T28" fmla="*/ 159 w 445"/>
              <a:gd name="T29" fmla="*/ 232 h 445"/>
              <a:gd name="T30" fmla="*/ 201 w 445"/>
              <a:gd name="T31" fmla="*/ 295 h 445"/>
              <a:gd name="T32" fmla="*/ 284 w 445"/>
              <a:gd name="T33" fmla="*/ 268 h 445"/>
              <a:gd name="T34" fmla="*/ 48 w 445"/>
              <a:gd name="T35" fmla="*/ 232 h 445"/>
              <a:gd name="T36" fmla="*/ 62 w 445"/>
              <a:gd name="T37" fmla="*/ 292 h 445"/>
              <a:gd name="T38" fmla="*/ 98 w 445"/>
              <a:gd name="T39" fmla="*/ 317 h 445"/>
              <a:gd name="T40" fmla="*/ 139 w 445"/>
              <a:gd name="T41" fmla="*/ 281 h 445"/>
              <a:gd name="T42" fmla="*/ 48 w 445"/>
              <a:gd name="T43" fmla="*/ 232 h 445"/>
              <a:gd name="T44" fmla="*/ 223 w 445"/>
              <a:gd name="T45" fmla="*/ 148 h 445"/>
              <a:gd name="T46" fmla="*/ 162 w 445"/>
              <a:gd name="T47" fmla="*/ 173 h 445"/>
              <a:gd name="T48" fmla="*/ 284 w 445"/>
              <a:gd name="T49" fmla="*/ 173 h 445"/>
              <a:gd name="T50" fmla="*/ 69 w 445"/>
              <a:gd name="T51" fmla="*/ 138 h 445"/>
              <a:gd name="T52" fmla="*/ 48 w 445"/>
              <a:gd name="T53" fmla="*/ 208 h 445"/>
              <a:gd name="T54" fmla="*/ 143 w 445"/>
              <a:gd name="T55" fmla="*/ 137 h 445"/>
              <a:gd name="T56" fmla="*/ 82 w 445"/>
              <a:gd name="T57" fmla="*/ 117 h 445"/>
              <a:gd name="T58" fmla="*/ 302 w 445"/>
              <a:gd name="T59" fmla="*/ 136 h 445"/>
              <a:gd name="T60" fmla="*/ 396 w 445"/>
              <a:gd name="T61" fmla="*/ 208 h 445"/>
              <a:gd name="T62" fmla="*/ 373 w 445"/>
              <a:gd name="T63" fmla="*/ 133 h 445"/>
              <a:gd name="T64" fmla="*/ 281 w 445"/>
              <a:gd name="T65" fmla="*/ 71 h 445"/>
              <a:gd name="T66" fmla="*/ 319 w 445"/>
              <a:gd name="T67" fmla="*/ 105 h 445"/>
              <a:gd name="T68" fmla="*/ 296 w 445"/>
              <a:gd name="T69" fmla="*/ 64 h 445"/>
              <a:gd name="T70" fmla="*/ 146 w 445"/>
              <a:gd name="T71" fmla="*/ 65 h 445"/>
              <a:gd name="T72" fmla="*/ 121 w 445"/>
              <a:gd name="T73" fmla="*/ 108 h 445"/>
              <a:gd name="T74" fmla="*/ 165 w 445"/>
              <a:gd name="T75" fmla="*/ 72 h 445"/>
              <a:gd name="T76" fmla="*/ 212 w 445"/>
              <a:gd name="T77" fmla="*/ 52 h 445"/>
              <a:gd name="T78" fmla="*/ 180 w 445"/>
              <a:gd name="T79" fmla="*/ 96 h 445"/>
              <a:gd name="T80" fmla="*/ 238 w 445"/>
              <a:gd name="T81" fmla="*/ 124 h 445"/>
              <a:gd name="T82" fmla="*/ 255 w 445"/>
              <a:gd name="T83" fmla="*/ 75 h 445"/>
              <a:gd name="T84" fmla="*/ 223 w 445"/>
              <a:gd name="T85" fmla="*/ 49 h 445"/>
              <a:gd name="T86" fmla="*/ 293 w 445"/>
              <a:gd name="T87" fmla="*/ 11 h 445"/>
              <a:gd name="T88" fmla="*/ 380 w 445"/>
              <a:gd name="T89" fmla="*/ 65 h 445"/>
              <a:gd name="T90" fmla="*/ 433 w 445"/>
              <a:gd name="T91" fmla="*/ 151 h 445"/>
              <a:gd name="T92" fmla="*/ 442 w 445"/>
              <a:gd name="T93" fmla="*/ 258 h 445"/>
              <a:gd name="T94" fmla="*/ 402 w 445"/>
              <a:gd name="T95" fmla="*/ 353 h 445"/>
              <a:gd name="T96" fmla="*/ 325 w 445"/>
              <a:gd name="T97" fmla="*/ 420 h 445"/>
              <a:gd name="T98" fmla="*/ 223 w 445"/>
              <a:gd name="T99" fmla="*/ 445 h 445"/>
              <a:gd name="T100" fmla="*/ 120 w 445"/>
              <a:gd name="T101" fmla="*/ 420 h 445"/>
              <a:gd name="T102" fmla="*/ 43 w 445"/>
              <a:gd name="T103" fmla="*/ 353 h 445"/>
              <a:gd name="T104" fmla="*/ 2 w 445"/>
              <a:gd name="T105" fmla="*/ 258 h 445"/>
              <a:gd name="T106" fmla="*/ 11 w 445"/>
              <a:gd name="T107" fmla="*/ 151 h 445"/>
              <a:gd name="T108" fmla="*/ 66 w 445"/>
              <a:gd name="T109" fmla="*/ 65 h 445"/>
              <a:gd name="T110" fmla="*/ 152 w 445"/>
              <a:gd name="T111" fmla="*/ 11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45" h="445">
                <a:moveTo>
                  <a:pt x="297" y="330"/>
                </a:moveTo>
                <a:lnTo>
                  <a:pt x="289" y="353"/>
                </a:lnTo>
                <a:lnTo>
                  <a:pt x="281" y="374"/>
                </a:lnTo>
                <a:lnTo>
                  <a:pt x="270" y="390"/>
                </a:lnTo>
                <a:lnTo>
                  <a:pt x="296" y="380"/>
                </a:lnTo>
                <a:lnTo>
                  <a:pt x="320" y="366"/>
                </a:lnTo>
                <a:lnTo>
                  <a:pt x="342" y="350"/>
                </a:lnTo>
                <a:lnTo>
                  <a:pt x="319" y="339"/>
                </a:lnTo>
                <a:lnTo>
                  <a:pt x="297" y="330"/>
                </a:lnTo>
                <a:close/>
                <a:moveTo>
                  <a:pt x="147" y="329"/>
                </a:moveTo>
                <a:lnTo>
                  <a:pt x="120" y="337"/>
                </a:lnTo>
                <a:lnTo>
                  <a:pt x="98" y="344"/>
                </a:lnTo>
                <a:lnTo>
                  <a:pt x="121" y="364"/>
                </a:lnTo>
                <a:lnTo>
                  <a:pt x="146" y="379"/>
                </a:lnTo>
                <a:lnTo>
                  <a:pt x="175" y="390"/>
                </a:lnTo>
                <a:lnTo>
                  <a:pt x="165" y="373"/>
                </a:lnTo>
                <a:lnTo>
                  <a:pt x="155" y="352"/>
                </a:lnTo>
                <a:lnTo>
                  <a:pt x="147" y="329"/>
                </a:lnTo>
                <a:close/>
                <a:moveTo>
                  <a:pt x="238" y="320"/>
                </a:moveTo>
                <a:lnTo>
                  <a:pt x="203" y="320"/>
                </a:lnTo>
                <a:lnTo>
                  <a:pt x="171" y="324"/>
                </a:lnTo>
                <a:lnTo>
                  <a:pt x="180" y="349"/>
                </a:lnTo>
                <a:lnTo>
                  <a:pt x="190" y="368"/>
                </a:lnTo>
                <a:lnTo>
                  <a:pt x="200" y="384"/>
                </a:lnTo>
                <a:lnTo>
                  <a:pt x="212" y="392"/>
                </a:lnTo>
                <a:lnTo>
                  <a:pt x="223" y="396"/>
                </a:lnTo>
                <a:lnTo>
                  <a:pt x="234" y="392"/>
                </a:lnTo>
                <a:lnTo>
                  <a:pt x="245" y="384"/>
                </a:lnTo>
                <a:lnTo>
                  <a:pt x="255" y="368"/>
                </a:lnTo>
                <a:lnTo>
                  <a:pt x="265" y="349"/>
                </a:lnTo>
                <a:lnTo>
                  <a:pt x="273" y="325"/>
                </a:lnTo>
                <a:lnTo>
                  <a:pt x="238" y="320"/>
                </a:lnTo>
                <a:close/>
                <a:moveTo>
                  <a:pt x="310" y="232"/>
                </a:moveTo>
                <a:lnTo>
                  <a:pt x="309" y="254"/>
                </a:lnTo>
                <a:lnTo>
                  <a:pt x="308" y="272"/>
                </a:lnTo>
                <a:lnTo>
                  <a:pt x="306" y="290"/>
                </a:lnTo>
                <a:lnTo>
                  <a:pt x="302" y="306"/>
                </a:lnTo>
                <a:lnTo>
                  <a:pt x="331" y="316"/>
                </a:lnTo>
                <a:lnTo>
                  <a:pt x="358" y="330"/>
                </a:lnTo>
                <a:lnTo>
                  <a:pt x="373" y="308"/>
                </a:lnTo>
                <a:lnTo>
                  <a:pt x="385" y="285"/>
                </a:lnTo>
                <a:lnTo>
                  <a:pt x="393" y="260"/>
                </a:lnTo>
                <a:lnTo>
                  <a:pt x="396" y="232"/>
                </a:lnTo>
                <a:lnTo>
                  <a:pt x="310" y="232"/>
                </a:lnTo>
                <a:close/>
                <a:moveTo>
                  <a:pt x="159" y="232"/>
                </a:moveTo>
                <a:lnTo>
                  <a:pt x="162" y="267"/>
                </a:lnTo>
                <a:lnTo>
                  <a:pt x="166" y="299"/>
                </a:lnTo>
                <a:lnTo>
                  <a:pt x="201" y="295"/>
                </a:lnTo>
                <a:lnTo>
                  <a:pt x="239" y="295"/>
                </a:lnTo>
                <a:lnTo>
                  <a:pt x="278" y="301"/>
                </a:lnTo>
                <a:lnTo>
                  <a:pt x="284" y="268"/>
                </a:lnTo>
                <a:lnTo>
                  <a:pt x="286" y="232"/>
                </a:lnTo>
                <a:lnTo>
                  <a:pt x="159" y="232"/>
                </a:lnTo>
                <a:close/>
                <a:moveTo>
                  <a:pt x="48" y="232"/>
                </a:moveTo>
                <a:lnTo>
                  <a:pt x="50" y="255"/>
                </a:lnTo>
                <a:lnTo>
                  <a:pt x="56" y="275"/>
                </a:lnTo>
                <a:lnTo>
                  <a:pt x="62" y="292"/>
                </a:lnTo>
                <a:lnTo>
                  <a:pt x="71" y="308"/>
                </a:lnTo>
                <a:lnTo>
                  <a:pt x="82" y="324"/>
                </a:lnTo>
                <a:lnTo>
                  <a:pt x="98" y="317"/>
                </a:lnTo>
                <a:lnTo>
                  <a:pt x="119" y="311"/>
                </a:lnTo>
                <a:lnTo>
                  <a:pt x="142" y="304"/>
                </a:lnTo>
                <a:lnTo>
                  <a:pt x="139" y="281"/>
                </a:lnTo>
                <a:lnTo>
                  <a:pt x="137" y="257"/>
                </a:lnTo>
                <a:lnTo>
                  <a:pt x="135" y="232"/>
                </a:lnTo>
                <a:lnTo>
                  <a:pt x="48" y="232"/>
                </a:lnTo>
                <a:close/>
                <a:moveTo>
                  <a:pt x="278" y="141"/>
                </a:moveTo>
                <a:lnTo>
                  <a:pt x="250" y="146"/>
                </a:lnTo>
                <a:lnTo>
                  <a:pt x="223" y="148"/>
                </a:lnTo>
                <a:lnTo>
                  <a:pt x="193" y="146"/>
                </a:lnTo>
                <a:lnTo>
                  <a:pt x="166" y="143"/>
                </a:lnTo>
                <a:lnTo>
                  <a:pt x="162" y="173"/>
                </a:lnTo>
                <a:lnTo>
                  <a:pt x="159" y="208"/>
                </a:lnTo>
                <a:lnTo>
                  <a:pt x="286" y="208"/>
                </a:lnTo>
                <a:lnTo>
                  <a:pt x="284" y="173"/>
                </a:lnTo>
                <a:lnTo>
                  <a:pt x="278" y="141"/>
                </a:lnTo>
                <a:close/>
                <a:moveTo>
                  <a:pt x="82" y="117"/>
                </a:moveTo>
                <a:lnTo>
                  <a:pt x="69" y="138"/>
                </a:lnTo>
                <a:lnTo>
                  <a:pt x="59" y="160"/>
                </a:lnTo>
                <a:lnTo>
                  <a:pt x="51" y="184"/>
                </a:lnTo>
                <a:lnTo>
                  <a:pt x="48" y="208"/>
                </a:lnTo>
                <a:lnTo>
                  <a:pt x="135" y="208"/>
                </a:lnTo>
                <a:lnTo>
                  <a:pt x="138" y="172"/>
                </a:lnTo>
                <a:lnTo>
                  <a:pt x="143" y="137"/>
                </a:lnTo>
                <a:lnTo>
                  <a:pt x="119" y="131"/>
                </a:lnTo>
                <a:lnTo>
                  <a:pt x="99" y="124"/>
                </a:lnTo>
                <a:lnTo>
                  <a:pt x="82" y="117"/>
                </a:lnTo>
                <a:close/>
                <a:moveTo>
                  <a:pt x="358" y="111"/>
                </a:moveTo>
                <a:lnTo>
                  <a:pt x="331" y="125"/>
                </a:lnTo>
                <a:lnTo>
                  <a:pt x="302" y="136"/>
                </a:lnTo>
                <a:lnTo>
                  <a:pt x="308" y="171"/>
                </a:lnTo>
                <a:lnTo>
                  <a:pt x="310" y="208"/>
                </a:lnTo>
                <a:lnTo>
                  <a:pt x="396" y="208"/>
                </a:lnTo>
                <a:lnTo>
                  <a:pt x="393" y="183"/>
                </a:lnTo>
                <a:lnTo>
                  <a:pt x="385" y="158"/>
                </a:lnTo>
                <a:lnTo>
                  <a:pt x="373" y="133"/>
                </a:lnTo>
                <a:lnTo>
                  <a:pt x="358" y="111"/>
                </a:lnTo>
                <a:close/>
                <a:moveTo>
                  <a:pt x="270" y="54"/>
                </a:moveTo>
                <a:lnTo>
                  <a:pt x="281" y="71"/>
                </a:lnTo>
                <a:lnTo>
                  <a:pt x="289" y="90"/>
                </a:lnTo>
                <a:lnTo>
                  <a:pt x="297" y="113"/>
                </a:lnTo>
                <a:lnTo>
                  <a:pt x="319" y="105"/>
                </a:lnTo>
                <a:lnTo>
                  <a:pt x="342" y="95"/>
                </a:lnTo>
                <a:lnTo>
                  <a:pt x="320" y="77"/>
                </a:lnTo>
                <a:lnTo>
                  <a:pt x="296" y="64"/>
                </a:lnTo>
                <a:lnTo>
                  <a:pt x="270" y="54"/>
                </a:lnTo>
                <a:close/>
                <a:moveTo>
                  <a:pt x="175" y="54"/>
                </a:moveTo>
                <a:lnTo>
                  <a:pt x="146" y="65"/>
                </a:lnTo>
                <a:lnTo>
                  <a:pt x="121" y="80"/>
                </a:lnTo>
                <a:lnTo>
                  <a:pt x="98" y="99"/>
                </a:lnTo>
                <a:lnTo>
                  <a:pt x="121" y="108"/>
                </a:lnTo>
                <a:lnTo>
                  <a:pt x="149" y="115"/>
                </a:lnTo>
                <a:lnTo>
                  <a:pt x="155" y="91"/>
                </a:lnTo>
                <a:lnTo>
                  <a:pt x="165" y="72"/>
                </a:lnTo>
                <a:lnTo>
                  <a:pt x="175" y="54"/>
                </a:lnTo>
                <a:close/>
                <a:moveTo>
                  <a:pt x="223" y="49"/>
                </a:moveTo>
                <a:lnTo>
                  <a:pt x="212" y="52"/>
                </a:lnTo>
                <a:lnTo>
                  <a:pt x="200" y="61"/>
                </a:lnTo>
                <a:lnTo>
                  <a:pt x="190" y="75"/>
                </a:lnTo>
                <a:lnTo>
                  <a:pt x="180" y="96"/>
                </a:lnTo>
                <a:lnTo>
                  <a:pt x="171" y="120"/>
                </a:lnTo>
                <a:lnTo>
                  <a:pt x="203" y="124"/>
                </a:lnTo>
                <a:lnTo>
                  <a:pt x="238" y="124"/>
                </a:lnTo>
                <a:lnTo>
                  <a:pt x="273" y="120"/>
                </a:lnTo>
                <a:lnTo>
                  <a:pt x="265" y="95"/>
                </a:lnTo>
                <a:lnTo>
                  <a:pt x="255" y="75"/>
                </a:lnTo>
                <a:lnTo>
                  <a:pt x="245" y="61"/>
                </a:lnTo>
                <a:lnTo>
                  <a:pt x="234" y="52"/>
                </a:lnTo>
                <a:lnTo>
                  <a:pt x="223" y="49"/>
                </a:lnTo>
                <a:close/>
                <a:moveTo>
                  <a:pt x="223" y="0"/>
                </a:moveTo>
                <a:lnTo>
                  <a:pt x="259" y="3"/>
                </a:lnTo>
                <a:lnTo>
                  <a:pt x="293" y="11"/>
                </a:lnTo>
                <a:lnTo>
                  <a:pt x="325" y="25"/>
                </a:lnTo>
                <a:lnTo>
                  <a:pt x="354" y="42"/>
                </a:lnTo>
                <a:lnTo>
                  <a:pt x="380" y="65"/>
                </a:lnTo>
                <a:lnTo>
                  <a:pt x="402" y="90"/>
                </a:lnTo>
                <a:lnTo>
                  <a:pt x="420" y="120"/>
                </a:lnTo>
                <a:lnTo>
                  <a:pt x="433" y="151"/>
                </a:lnTo>
                <a:lnTo>
                  <a:pt x="442" y="186"/>
                </a:lnTo>
                <a:lnTo>
                  <a:pt x="445" y="222"/>
                </a:lnTo>
                <a:lnTo>
                  <a:pt x="442" y="258"/>
                </a:lnTo>
                <a:lnTo>
                  <a:pt x="433" y="292"/>
                </a:lnTo>
                <a:lnTo>
                  <a:pt x="420" y="325"/>
                </a:lnTo>
                <a:lnTo>
                  <a:pt x="402" y="353"/>
                </a:lnTo>
                <a:lnTo>
                  <a:pt x="380" y="379"/>
                </a:lnTo>
                <a:lnTo>
                  <a:pt x="354" y="402"/>
                </a:lnTo>
                <a:lnTo>
                  <a:pt x="325" y="420"/>
                </a:lnTo>
                <a:lnTo>
                  <a:pt x="293" y="434"/>
                </a:lnTo>
                <a:lnTo>
                  <a:pt x="259" y="441"/>
                </a:lnTo>
                <a:lnTo>
                  <a:pt x="223" y="445"/>
                </a:lnTo>
                <a:lnTo>
                  <a:pt x="187" y="441"/>
                </a:lnTo>
                <a:lnTo>
                  <a:pt x="152" y="434"/>
                </a:lnTo>
                <a:lnTo>
                  <a:pt x="120" y="420"/>
                </a:lnTo>
                <a:lnTo>
                  <a:pt x="91" y="402"/>
                </a:lnTo>
                <a:lnTo>
                  <a:pt x="66" y="379"/>
                </a:lnTo>
                <a:lnTo>
                  <a:pt x="43" y="353"/>
                </a:lnTo>
                <a:lnTo>
                  <a:pt x="25" y="325"/>
                </a:lnTo>
                <a:lnTo>
                  <a:pt x="11" y="292"/>
                </a:lnTo>
                <a:lnTo>
                  <a:pt x="2" y="258"/>
                </a:lnTo>
                <a:lnTo>
                  <a:pt x="0" y="222"/>
                </a:lnTo>
                <a:lnTo>
                  <a:pt x="2" y="186"/>
                </a:lnTo>
                <a:lnTo>
                  <a:pt x="11" y="151"/>
                </a:lnTo>
                <a:lnTo>
                  <a:pt x="25" y="120"/>
                </a:lnTo>
                <a:lnTo>
                  <a:pt x="43" y="90"/>
                </a:lnTo>
                <a:lnTo>
                  <a:pt x="66" y="65"/>
                </a:lnTo>
                <a:lnTo>
                  <a:pt x="91" y="42"/>
                </a:lnTo>
                <a:lnTo>
                  <a:pt x="120" y="25"/>
                </a:lnTo>
                <a:lnTo>
                  <a:pt x="152" y="11"/>
                </a:lnTo>
                <a:lnTo>
                  <a:pt x="187" y="3"/>
                </a:lnTo>
                <a:lnTo>
                  <a:pt x="223" y="0"/>
                </a:ln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solidFill>
                <a:prstClr val="black"/>
              </a:solidFill>
            </a:endParaRPr>
          </a:p>
        </p:txBody>
      </p:sp>
      <p:grpSp>
        <p:nvGrpSpPr>
          <p:cNvPr id="120" name="Knop uitleg"/>
          <p:cNvGrpSpPr/>
          <p:nvPr userDrawn="1"/>
        </p:nvGrpSpPr>
        <p:grpSpPr>
          <a:xfrm>
            <a:off x="9508901" y="2860359"/>
            <a:ext cx="1947767" cy="2037397"/>
            <a:chOff x="9275416" y="2755352"/>
            <a:chExt cx="1944216" cy="2037397"/>
          </a:xfrm>
        </p:grpSpPr>
        <p:sp>
          <p:nvSpPr>
            <p:cNvPr id="43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 dirty="0">
                <a:solidFill>
                  <a:prstClr val="black"/>
                </a:solidFill>
              </a:endParaRPr>
            </a:p>
          </p:txBody>
        </p:sp>
        <p:grpSp>
          <p:nvGrpSpPr>
            <p:cNvPr id="42" name="Groep 41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36" name="Ovaal 35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deze dia in de diavoorstelling en klik</a:t>
                </a:r>
                <a:b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</a:br>
                <a: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 de </a:t>
                </a:r>
                <a:r>
                  <a:rPr lang="nl-NL" sz="1200" dirty="0" err="1">
                    <a:solidFill>
                      <a:srgbClr val="FFFFFF"/>
                    </a:solidFill>
                    <a:latin typeface="Oswald" panose="02000503000000000000" pitchFamily="2" charset="0"/>
                  </a:rPr>
                  <a:t>youtube</a:t>
                </a:r>
                <a: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  <a:t>-link</a:t>
                </a:r>
                <a:endParaRPr lang="nl-NL" sz="1000" dirty="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17" name="Groep 116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18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9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28" name="HYPERLINK" hidden="1"/>
          <p:cNvGrpSpPr/>
          <p:nvPr userDrawn="1"/>
        </p:nvGrpSpPr>
        <p:grpSpPr>
          <a:xfrm>
            <a:off x="674999" y="1599166"/>
            <a:ext cx="8081505" cy="4559785"/>
            <a:chOff x="673768" y="1599165"/>
            <a:chExt cx="8066773" cy="4559785"/>
          </a:xfrm>
        </p:grpSpPr>
        <p:sp>
          <p:nvSpPr>
            <p:cNvPr id="121" name="HYPERLINK">
              <a:hlinkClick r:id="rId2"/>
            </p:cNvPr>
            <p:cNvSpPr/>
            <p:nvPr userDrawn="1"/>
          </p:nvSpPr>
          <p:spPr>
            <a:xfrm>
              <a:off x="673768" y="1599165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3" name="HYPERLINK">
              <a:hlinkClick r:id="rId3"/>
            </p:cNvPr>
            <p:cNvSpPr/>
            <p:nvPr userDrawn="1"/>
          </p:nvSpPr>
          <p:spPr>
            <a:xfrm>
              <a:off x="3465094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4" name="HYPERLINK">
              <a:hlinkClick r:id="rId4"/>
            </p:cNvPr>
            <p:cNvSpPr/>
            <p:nvPr userDrawn="1"/>
          </p:nvSpPr>
          <p:spPr>
            <a:xfrm>
              <a:off x="6148301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5" name="HYPERLINK">
              <a:hlinkClick r:id="rId5"/>
            </p:cNvPr>
            <p:cNvSpPr/>
            <p:nvPr userDrawn="1"/>
          </p:nvSpPr>
          <p:spPr>
            <a:xfrm>
              <a:off x="673768" y="3932073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6" name="HYPERLINK">
              <a:hlinkClick r:id="rId6"/>
            </p:cNvPr>
            <p:cNvSpPr/>
            <p:nvPr userDrawn="1"/>
          </p:nvSpPr>
          <p:spPr>
            <a:xfrm>
              <a:off x="3454453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7" name="HYPERLINK">
              <a:hlinkClick r:id="rId7"/>
            </p:cNvPr>
            <p:cNvSpPr/>
            <p:nvPr userDrawn="1"/>
          </p:nvSpPr>
          <p:spPr>
            <a:xfrm>
              <a:off x="6149692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58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A78"/>
              </a:buClr>
              <a:buFont typeface="Courier New" panose="02070309020205020404" pitchFamily="49" charset="0"/>
              <a:buNone/>
            </a:pPr>
            <a:endParaRPr dirty="0">
              <a:solidFill>
                <a:prstClr val="white"/>
              </a:solidFill>
            </a:endParaRPr>
          </a:p>
        </p:txBody>
      </p:sp>
      <p:cxnSp>
        <p:nvCxnSpPr>
          <p:cNvPr id="60" name="Rechte verbindingslijn 59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solidFill>
                <a:prstClr val="black"/>
              </a:solidFill>
            </a:endParaRPr>
          </a:p>
        </p:txBody>
      </p:sp>
      <p:grpSp>
        <p:nvGrpSpPr>
          <p:cNvPr id="4" name="Groep 3"/>
          <p:cNvGrpSpPr/>
          <p:nvPr userDrawn="1"/>
        </p:nvGrpSpPr>
        <p:grpSpPr>
          <a:xfrm>
            <a:off x="1630522" y="2276771"/>
            <a:ext cx="758666" cy="226154"/>
            <a:chOff x="1607118" y="2276771"/>
            <a:chExt cx="757283" cy="226154"/>
          </a:xfrm>
        </p:grpSpPr>
        <p:grpSp>
          <p:nvGrpSpPr>
            <p:cNvPr id="71" name="Groep 70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60" name="Groep 159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64" name="Rechte verbindingslijn 163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5" name="Rechte verbindingslijn 164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6" name="Rechte verbindingslijn 165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7" name="Rechte verbindingslijn 166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8" name="Rechte verbindingslijn 167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61" name="Groep 160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74" name="Groep 73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51" name="Groep 150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55" name="Rechte verbindingslijn 154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7" name="Rechte verbindingslijn 156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8" name="Rechte verbindingslijn 157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9" name="Rechte verbindingslijn 158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52" name="Groep 151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53" name="Rechthoek 152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4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grpSp>
        <p:nvGrpSpPr>
          <p:cNvPr id="179" name="Groep 178"/>
          <p:cNvGrpSpPr/>
          <p:nvPr userDrawn="1"/>
        </p:nvGrpSpPr>
        <p:grpSpPr>
          <a:xfrm>
            <a:off x="4573974" y="2179391"/>
            <a:ext cx="369155" cy="398538"/>
            <a:chOff x="14466489" y="1001522"/>
            <a:chExt cx="290627" cy="314333"/>
          </a:xfrm>
        </p:grpSpPr>
        <p:sp>
          <p:nvSpPr>
            <p:cNvPr id="200" name="Rechthoek 199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1" name="Ovaal 200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202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203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4" name="Rechte verbindingslijn 203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5" name="Rechte verbindingslijn 204"/>
            <p:cNvCxnSpPr>
              <a:cxnSpLocks/>
              <a:stCxn id="203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423667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Dia plakken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hthoek 59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 dirty="0">
              <a:solidFill>
                <a:prstClr val="black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pt-BR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Dia plakken (3)</a:t>
            </a:r>
            <a:endParaRPr lang="nl-NL" sz="1400" dirty="0">
              <a:solidFill>
                <a:srgbClr val="303E48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6A5"/>
                </a:solidFill>
                <a:latin typeface="Oswald" panose="02000503000000000000" pitchFamily="2" charset="0"/>
              </a:rPr>
              <a:t>Voordat je begint…</a:t>
            </a:r>
          </a:p>
        </p:txBody>
      </p:sp>
      <p:grpSp>
        <p:nvGrpSpPr>
          <p:cNvPr id="63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64" name="Rechthoek 63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5" name="Rechthoek 64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6" name="Rechthoek 65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7" name="Rechthoek 66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8" name="Rechthoek 67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9" name="Rechthoek 68"/>
            <p:cNvSpPr/>
            <p:nvPr userDrawn="1"/>
          </p:nvSpPr>
          <p:spPr>
            <a:xfrm rot="5400000">
              <a:off x="760320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1" name="Rechthoek 70"/>
            <p:cNvSpPr/>
            <p:nvPr userDrawn="1"/>
          </p:nvSpPr>
          <p:spPr>
            <a:xfrm>
              <a:off x="0" y="4558336"/>
              <a:ext cx="12169774" cy="180239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4" name="Rechthoek 73"/>
            <p:cNvSpPr/>
            <p:nvPr userDrawn="1"/>
          </p:nvSpPr>
          <p:spPr>
            <a:xfrm rot="5400000">
              <a:off x="288408" y="5406273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5" name="Rechthoek 74"/>
            <p:cNvSpPr/>
            <p:nvPr userDrawn="1"/>
          </p:nvSpPr>
          <p:spPr>
            <a:xfrm rot="5400000">
              <a:off x="4146704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6" name="Rechthoek 75"/>
            <p:cNvSpPr/>
            <p:nvPr userDrawn="1"/>
          </p:nvSpPr>
          <p:spPr>
            <a:xfrm rot="5400000">
              <a:off x="4598789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0" name="Rechthoek 79"/>
            <p:cNvSpPr/>
            <p:nvPr userDrawn="1"/>
          </p:nvSpPr>
          <p:spPr>
            <a:xfrm rot="5400000">
              <a:off x="7990288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7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A78"/>
              </a:buClr>
              <a:buFont typeface="Courier New" panose="02070309020205020404" pitchFamily="49" charset="0"/>
              <a:buNone/>
            </a:pPr>
            <a:endParaRPr dirty="0">
              <a:solidFill>
                <a:prstClr val="white"/>
              </a:solidFill>
            </a:endParaRPr>
          </a:p>
        </p:txBody>
      </p:sp>
      <p:cxnSp>
        <p:nvCxnSpPr>
          <p:cNvPr id="62" name="Rechte verbindingslijn 61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>
              <a:solidFill>
                <a:prstClr val="black"/>
              </a:solidFill>
            </a:endParaRPr>
          </a:p>
        </p:txBody>
      </p:sp>
      <p:grpSp>
        <p:nvGrpSpPr>
          <p:cNvPr id="81" name="Groep 80"/>
          <p:cNvGrpSpPr/>
          <p:nvPr userDrawn="1"/>
        </p:nvGrpSpPr>
        <p:grpSpPr>
          <a:xfrm>
            <a:off x="692520" y="2165458"/>
            <a:ext cx="10846190" cy="3437453"/>
            <a:chOff x="435100" y="2165458"/>
            <a:chExt cx="10826418" cy="3437453"/>
          </a:xfrm>
        </p:grpSpPr>
        <p:pic>
          <p:nvPicPr>
            <p:cNvPr id="83" name="Afbeelding 82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0052" y="3108088"/>
              <a:ext cx="2720614" cy="145024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4" name="Afbeelding 8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455" y="3108088"/>
              <a:ext cx="2700576" cy="1452486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5" name="Afbeelding 8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02632" y="2165458"/>
              <a:ext cx="1676146" cy="1676147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6" name="Afbeelding 8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1291" y="2165459"/>
              <a:ext cx="1676146" cy="1676146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87" name="Groep 86"/>
            <p:cNvGrpSpPr/>
            <p:nvPr/>
          </p:nvGrpSpPr>
          <p:grpSpPr>
            <a:xfrm>
              <a:off x="689183" y="2317897"/>
              <a:ext cx="1819124" cy="1488559"/>
              <a:chOff x="1576217" y="1539637"/>
              <a:chExt cx="2497599" cy="2043743"/>
            </a:xfrm>
          </p:grpSpPr>
          <p:sp>
            <p:nvSpPr>
              <p:cNvPr id="106" name="Ovaal 105"/>
              <p:cNvSpPr/>
              <p:nvPr/>
            </p:nvSpPr>
            <p:spPr>
              <a:xfrm>
                <a:off x="1576217" y="2624542"/>
                <a:ext cx="268099" cy="268101"/>
              </a:xfrm>
              <a:prstGeom prst="ellipse">
                <a:avLst/>
              </a:prstGeom>
              <a:solidFill>
                <a:schemeClr val="bg1">
                  <a:alpha val="0"/>
                </a:schemeClr>
              </a:solidFill>
              <a:ln w="19050">
                <a:solidFill>
                  <a:srgbClr val="0096A5"/>
                </a:solidFill>
              </a:ln>
              <a:effectLst>
                <a:outerShdw dir="8100000" sx="105000" sy="105000" algn="tr" rotWithShape="0">
                  <a:srgbClr val="000000">
                    <a:alpha val="6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107" name="Rechte verbindingslijn 106"/>
              <p:cNvCxnSpPr>
                <a:cxnSpLocks/>
              </p:cNvCxnSpPr>
              <p:nvPr/>
            </p:nvCxnSpPr>
            <p:spPr>
              <a:xfrm flipH="1">
                <a:off x="1710267" y="1539637"/>
                <a:ext cx="2013194" cy="1093496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chte verbindingslijn 107"/>
              <p:cNvCxnSpPr>
                <a:cxnSpLocks/>
              </p:cNvCxnSpPr>
              <p:nvPr/>
            </p:nvCxnSpPr>
            <p:spPr>
              <a:xfrm flipH="1" flipV="1">
                <a:off x="1693333" y="2878667"/>
                <a:ext cx="2380483" cy="704713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ep 87"/>
            <p:cNvGrpSpPr/>
            <p:nvPr/>
          </p:nvGrpSpPr>
          <p:grpSpPr>
            <a:xfrm>
              <a:off x="4524700" y="3531339"/>
              <a:ext cx="135750" cy="135750"/>
              <a:chOff x="6569918" y="3240107"/>
              <a:chExt cx="430310" cy="430310"/>
            </a:xfrm>
          </p:grpSpPr>
          <p:sp>
            <p:nvSpPr>
              <p:cNvPr id="104" name="Ovaal 103"/>
              <p:cNvSpPr/>
              <p:nvPr/>
            </p:nvSpPr>
            <p:spPr>
              <a:xfrm>
                <a:off x="6569918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Vermenigvuldigen 49"/>
              <p:cNvSpPr/>
              <p:nvPr/>
            </p:nvSpPr>
            <p:spPr>
              <a:xfrm>
                <a:off x="6579279" y="3259665"/>
                <a:ext cx="403927" cy="403927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89" name="Ovaal 88"/>
            <p:cNvSpPr/>
            <p:nvPr/>
          </p:nvSpPr>
          <p:spPr>
            <a:xfrm>
              <a:off x="4507854" y="3501955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cxnSp>
          <p:nvCxnSpPr>
            <p:cNvPr id="90" name="Rechte verbindingslijn 89"/>
            <p:cNvCxnSpPr>
              <a:cxnSpLocks/>
              <a:stCxn id="86" idx="1"/>
            </p:cNvCxnSpPr>
            <p:nvPr/>
          </p:nvCxnSpPr>
          <p:spPr>
            <a:xfrm flipH="1">
              <a:off x="4602924" y="2410925"/>
              <a:ext cx="1383833" cy="1076554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Afbeelding 9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8637" y="3108088"/>
              <a:ext cx="2730611" cy="144455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cxnSp>
          <p:nvCxnSpPr>
            <p:cNvPr id="92" name="Rechte verbindingslijn 91"/>
            <p:cNvCxnSpPr>
              <a:cxnSpLocks/>
            </p:cNvCxnSpPr>
            <p:nvPr/>
          </p:nvCxnSpPr>
          <p:spPr>
            <a:xfrm flipH="1" flipV="1">
              <a:off x="4634821" y="3710764"/>
              <a:ext cx="1935123" cy="127589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al 92"/>
            <p:cNvSpPr/>
            <p:nvPr/>
          </p:nvSpPr>
          <p:spPr>
            <a:xfrm>
              <a:off x="43510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prstClr val="white"/>
                  </a:solidFill>
                </a:rPr>
                <a:t>A</a:t>
              </a:r>
              <a:endParaRPr lang="nl-NL" sz="1000" b="1" cap="all" dirty="0">
                <a:solidFill>
                  <a:prstClr val="white"/>
                </a:solidFill>
              </a:endParaRPr>
            </a:p>
          </p:txBody>
        </p:sp>
        <p:sp>
          <p:nvSpPr>
            <p:cNvPr id="94" name="Ovaal 93"/>
            <p:cNvSpPr/>
            <p:nvPr/>
          </p:nvSpPr>
          <p:spPr>
            <a:xfrm>
              <a:off x="4273589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prstClr val="white"/>
                  </a:solidFill>
                </a:rPr>
                <a:t>B</a:t>
              </a:r>
              <a:endParaRPr lang="nl-NL" sz="1000" b="1" cap="all" dirty="0">
                <a:solidFill>
                  <a:prstClr val="white"/>
                </a:solidFill>
              </a:endParaRPr>
            </a:p>
          </p:txBody>
        </p:sp>
        <p:grpSp>
          <p:nvGrpSpPr>
            <p:cNvPr id="95" name="Groep 94"/>
            <p:cNvGrpSpPr/>
            <p:nvPr/>
          </p:nvGrpSpPr>
          <p:grpSpPr>
            <a:xfrm>
              <a:off x="6610285" y="2756643"/>
              <a:ext cx="433398" cy="433398"/>
              <a:chOff x="7376403" y="3240107"/>
              <a:chExt cx="430310" cy="430310"/>
            </a:xfrm>
          </p:grpSpPr>
          <p:sp>
            <p:nvSpPr>
              <p:cNvPr id="102" name="Ovaal 101"/>
              <p:cNvSpPr/>
              <p:nvPr/>
            </p:nvSpPr>
            <p:spPr>
              <a:xfrm>
                <a:off x="7376403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Vermenigvuldigen 40"/>
              <p:cNvSpPr/>
              <p:nvPr/>
            </p:nvSpPr>
            <p:spPr>
              <a:xfrm>
                <a:off x="7389594" y="3259666"/>
                <a:ext cx="403928" cy="403928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96" name="Tekstvak 95"/>
            <p:cNvSpPr txBox="1"/>
            <p:nvPr/>
          </p:nvSpPr>
          <p:spPr>
            <a:xfrm>
              <a:off x="8516760" y="4854881"/>
              <a:ext cx="2697316" cy="748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defRPr sz="1000">
                  <a:solidFill>
                    <a:srgbClr val="44546A"/>
                  </a:solidFill>
                </a:defRPr>
              </a:lvl1pPr>
            </a:lstStyle>
            <a:p>
              <a:r>
                <a:rPr lang="nl-NL" dirty="0"/>
                <a:t>Klik met je rechter muisknop op de dia aan de linker kant. Klik daarna op dia herstellen om de opmaak weer correct </a:t>
              </a:r>
              <a:br>
                <a:rPr lang="nl-NL" dirty="0"/>
              </a:br>
              <a:r>
                <a:rPr lang="nl-NL" dirty="0"/>
                <a:t>te krijgen.</a:t>
              </a:r>
            </a:p>
          </p:txBody>
        </p:sp>
        <p:sp>
          <p:nvSpPr>
            <p:cNvPr id="97" name="Ovaal 96"/>
            <p:cNvSpPr/>
            <p:nvPr/>
          </p:nvSpPr>
          <p:spPr>
            <a:xfrm>
              <a:off x="8456782" y="3712390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cxnSp>
          <p:nvCxnSpPr>
            <p:cNvPr id="98" name="Rechte verbindingslijn 97"/>
            <p:cNvCxnSpPr>
              <a:cxnSpLocks/>
              <a:stCxn id="100" idx="1"/>
            </p:cNvCxnSpPr>
            <p:nvPr/>
          </p:nvCxnSpPr>
          <p:spPr>
            <a:xfrm flipH="1">
              <a:off x="8535648" y="2410449"/>
              <a:ext cx="1297966" cy="1315831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Rechte verbindingslijn 98"/>
            <p:cNvCxnSpPr>
              <a:cxnSpLocks/>
              <a:stCxn id="100" idx="4"/>
              <a:endCxn id="97" idx="5"/>
            </p:cNvCxnSpPr>
            <p:nvPr/>
          </p:nvCxnSpPr>
          <p:spPr>
            <a:xfrm flipH="1">
              <a:off x="8623456" y="3838353"/>
              <a:ext cx="1801616" cy="40710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0" name="Afbeelding 99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88624" y="2165459"/>
              <a:ext cx="1672894" cy="1672894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1" name="Ovaal 100"/>
            <p:cNvSpPr/>
            <p:nvPr/>
          </p:nvSpPr>
          <p:spPr>
            <a:xfrm>
              <a:off x="811798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prstClr val="white"/>
                  </a:solidFill>
                </a:rPr>
                <a:t>C</a:t>
              </a:r>
              <a:endParaRPr lang="nl-NL" sz="1000" b="1" cap="all" dirty="0">
                <a:solidFill>
                  <a:prstClr val="white"/>
                </a:solidFill>
              </a:endParaRPr>
            </a:p>
          </p:txBody>
        </p:sp>
      </p:grpSp>
      <p:sp>
        <p:nvSpPr>
          <p:cNvPr id="109" name="Tekstvak 108"/>
          <p:cNvSpPr txBox="1"/>
          <p:nvPr userDrawn="1"/>
        </p:nvSpPr>
        <p:spPr>
          <a:xfrm>
            <a:off x="1072994" y="4853681"/>
            <a:ext cx="2773568" cy="8078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nl-NL" sz="1000" dirty="0">
                <a:solidFill>
                  <a:srgbClr val="44546A"/>
                </a:solidFill>
              </a:rPr>
              <a:t>Klik op </a:t>
            </a:r>
            <a:r>
              <a:rPr lang="nl-NL" sz="1000" b="1" dirty="0">
                <a:solidFill>
                  <a:srgbClr val="44546A"/>
                </a:solidFill>
              </a:rPr>
              <a:t>“nieuwe dia”</a:t>
            </a:r>
            <a:r>
              <a:rPr lang="nl-NL" sz="1000" dirty="0">
                <a:solidFill>
                  <a:srgbClr val="44546A"/>
                </a:solidFill>
              </a:rPr>
              <a:t> om een </a:t>
            </a:r>
            <a:r>
              <a:rPr lang="nl-NL" sz="1000" b="1" dirty="0">
                <a:solidFill>
                  <a:srgbClr val="44546A"/>
                </a:solidFill>
              </a:rPr>
              <a:t>template</a:t>
            </a:r>
            <a:r>
              <a:rPr lang="nl-NL" sz="1000" dirty="0">
                <a:solidFill>
                  <a:srgbClr val="44546A"/>
                </a:solidFill>
              </a:rPr>
              <a:t> </a:t>
            </a:r>
            <a:br>
              <a:rPr lang="nl-NL" sz="1000" dirty="0">
                <a:solidFill>
                  <a:srgbClr val="44546A"/>
                </a:solidFill>
              </a:rPr>
            </a:br>
            <a:r>
              <a:rPr lang="nl-NL" sz="1000" dirty="0">
                <a:solidFill>
                  <a:srgbClr val="44546A"/>
                </a:solidFill>
              </a:rPr>
              <a:t>slide toe te voegen.</a:t>
            </a:r>
            <a:endParaRPr lang="en-GB" sz="1000" dirty="0">
              <a:solidFill>
                <a:srgbClr val="44546A"/>
              </a:solidFill>
            </a:endParaRPr>
          </a:p>
        </p:txBody>
      </p:sp>
      <p:sp>
        <p:nvSpPr>
          <p:cNvPr id="110" name="Tekstvak 109"/>
          <p:cNvSpPr txBox="1"/>
          <p:nvPr userDrawn="1"/>
        </p:nvSpPr>
        <p:spPr>
          <a:xfrm>
            <a:off x="4935951" y="4853681"/>
            <a:ext cx="2748843" cy="7504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nl-NL"/>
            </a:defPPr>
            <a:lvl1pPr>
              <a:lnSpc>
                <a:spcPct val="90000"/>
              </a:lnSpc>
              <a:defRPr sz="1050">
                <a:solidFill>
                  <a:srgbClr val="44546A"/>
                </a:solidFill>
              </a:defRPr>
            </a:lvl1pPr>
          </a:lstStyle>
          <a:p>
            <a:r>
              <a:rPr lang="nl-NL" sz="1000" b="1" dirty="0">
                <a:solidFill>
                  <a:srgbClr val="FF7800"/>
                </a:solidFill>
              </a:rPr>
              <a:t>Let op: </a:t>
            </a:r>
            <a:br>
              <a:rPr lang="nl-NL" sz="1000" dirty="0"/>
            </a:br>
            <a:r>
              <a:rPr lang="nl-NL" sz="1000" dirty="0"/>
              <a:t>Het is </a:t>
            </a:r>
            <a:r>
              <a:rPr lang="nl-NL" sz="1000" b="1" u="sng" dirty="0"/>
              <a:t>niet</a:t>
            </a:r>
            <a:r>
              <a:rPr lang="nl-NL" sz="1000" dirty="0"/>
              <a:t> mogelijk een slide te kopiëren </a:t>
            </a:r>
            <a:br>
              <a:rPr lang="nl-NL" sz="1000" dirty="0"/>
            </a:br>
            <a:r>
              <a:rPr lang="nl-NL" sz="1000" dirty="0"/>
              <a:t>met een </a:t>
            </a:r>
            <a:r>
              <a:rPr lang="nl-NL" sz="1000" b="1" dirty="0"/>
              <a:t>andere</a:t>
            </a:r>
            <a:r>
              <a:rPr lang="nl-NL" sz="1000" dirty="0"/>
              <a:t> opmaak. Teksten en andere objecten dienen </a:t>
            </a:r>
            <a:r>
              <a:rPr lang="nl-NL" sz="1000" b="1" dirty="0">
                <a:solidFill>
                  <a:srgbClr val="FF7800"/>
                </a:solidFill>
              </a:rPr>
              <a:t>één-voor-één</a:t>
            </a:r>
            <a:r>
              <a:rPr lang="nl-NL" sz="1000" dirty="0"/>
              <a:t> te worden over gekopieerd.</a:t>
            </a:r>
          </a:p>
        </p:txBody>
      </p:sp>
    </p:spTree>
    <p:extLst>
      <p:ext uri="{BB962C8B-B14F-4D97-AF65-F5344CB8AC3E}">
        <p14:creationId xmlns:p14="http://schemas.microsoft.com/office/powerpoint/2010/main" val="221018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ekstvak 30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ro slide</a:t>
            </a:r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84" name="Afbeelding 8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35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36" name="Rechthoek 3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37" name="Ovaal 3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8" name="Rechte verbindingslijn 3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9" name="Rechte verbindingslijn 3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0" name="Rechthoek 3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2" name="Ovaal 4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4" name="Groep 43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77" name="Rechthoek 76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78" name="Rechte verbindingslijn 77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79" name="Gelijkbenige driehoek 78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45" name="Groep 4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Ovaal 71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Vrije vorm: vorm 72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Rechthoek: afgeronde hoeken 73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75" name="Rechte verbindingslijn 74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76" name="Rechte verbindingslijn 75"/>
                <p:cNvCxnSpPr>
                  <a:cxnSpLocks/>
                  <a:stCxn id="74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46" name="Ovaal 4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7" name="Rechthoek 4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8" name="Rechte verbindingslijn 4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9" name="Groep 4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Rechthoek 50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2" name="Groep 51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65" name="Rechthoek: afgeronde hoeken 64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Rechthoek 65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8" name="Rechthoek 67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9" name="Rechthoek 68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53" name="Groep 52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57" name="Groep 56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59" name="Rechthoek: afgeronde hoeken 58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0" name="Rechthoek 59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60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62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4" name="Rechthoek 63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58" name="Boog 57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54" name="Tekstvak 53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55" name="Tekstvak 54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56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8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8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82" name="Rechthoek 8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3" name="Rechte verbindingslijn 8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0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1308217" y="826943"/>
            <a:ext cx="6282061" cy="2208357"/>
          </a:xfrm>
          <a:solidFill>
            <a:schemeClr val="tx2">
              <a:alpha val="90000"/>
            </a:schemeClr>
          </a:solidFill>
        </p:spPr>
        <p:txBody>
          <a:bodyPr vert="horz"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7798" y="1331380"/>
            <a:ext cx="5822898" cy="423198"/>
          </a:xfrm>
        </p:spPr>
        <p:txBody>
          <a:bodyPr wrap="none" anchor="ctr"/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rijfsnaam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37798" y="2415716"/>
            <a:ext cx="5822898" cy="3960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600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  <p:bldP spid="3" grpId="0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785EF-7941-496F-8E52-3521FB118D88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genda</a:t>
            </a:r>
          </a:p>
        </p:txBody>
      </p:sp>
      <p:sp>
        <p:nvSpPr>
          <p:cNvPr id="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10" name="Rechthoek 9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11" name="Ovaal 10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" name="Rechte verbindingslijn 11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" name="Rechthoek 12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4" name="Rechte verbindingslijn 13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Rechte verbindingslijn 14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hthoek 15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" name="Groep 16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72" name="Rechte verbindingslijn 7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3" name="Rechte verbindingslijn 7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4" name="Rechte verbindingslijn 7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5" name="Rechte verbindingslijn 7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6" name="Rechte verbindingslijn 7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9" name="Groep 6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Pijl: punthaak 7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" name="Groep 17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63" name="Rechte verbindingslijn 6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4" name="Rechte verbindingslijn 6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5" name="Rechte verbindingslijn 6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6" name="Rechte verbindingslijn 6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7" name="Rechte verbindingslijn 6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0" name="Groep 5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61" name="Rechthoek 6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" name="Pijl: punthaak 6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" name="Rechte verbindingslijn 18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1" name="Groep 20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48" name="Rechthoek 4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49" name="Groep 4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50" name="Groep 4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54" name="Rechte verbindingslijn 5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5" name="Rechte verbindingslijn 5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6" name="Rechte verbindingslijn 5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7" name="Rechte verbindingslijn 5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8" name="Rechte verbindingslijn 5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51" name="Groep 5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52" name="Rechthoek 5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3" name="Pijl: punthaak 5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" name="Groep 21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9" name="Groep 3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43" name="Rechte verbindingslijn 4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4" name="Rechte verbindingslijn 4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5" name="Rechte verbindingslijn 4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6" name="Rechte verbindingslijn 4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7" name="Rechte verbindingslijn 4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40" name="Groep 3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41" name="Rechthoek 4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2" name="Pijl: punthaak 4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" name="Rechthoek 2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25" name="Rechthoek 2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26" name="Rechte verbindingslijn 2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7" name="Rechthoek 2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28" name="Ovaal 2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Ovaal 2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32" name="Ovaal 3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34" name="Ovaal 3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35" name="Rechthoek 3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7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7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0" name="Rechte verbindingslijn 7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82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9695" y="1273840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89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1172872" y="1273840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369695" y="2078021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69695" y="2882202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9695" y="368638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369695" y="4490564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1172872" y="4490564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369695" y="529474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06" name="Tijdelijke aanduiding voor verticale tekst 2">
            <a:extLst>
              <a:ext uri="{FF2B5EF4-FFF2-40B4-BE49-F238E27FC236}">
                <a16:creationId xmlns:a16="http://schemas.microsoft.com/office/drawing/2014/main" id="{5D87FE67-1EE4-4AB8-935B-42793EDED5D3}"/>
              </a:ext>
            </a:extLst>
          </p:cNvPr>
          <p:cNvSpPr>
            <a:spLocks noGrp="1"/>
          </p:cNvSpPr>
          <p:nvPr>
            <p:ph type="body" orient="vert" idx="44" hasCustomPrompt="1"/>
          </p:nvPr>
        </p:nvSpPr>
        <p:spPr>
          <a:xfrm>
            <a:off x="1172872" y="2078021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verticale tekst 2">
            <a:extLst>
              <a:ext uri="{FF2B5EF4-FFF2-40B4-BE49-F238E27FC236}">
                <a16:creationId xmlns:a16="http://schemas.microsoft.com/office/drawing/2014/main" id="{46E11900-4AC3-42DC-9EA5-FB6867C53B00}"/>
              </a:ext>
            </a:extLst>
          </p:cNvPr>
          <p:cNvSpPr>
            <a:spLocks noGrp="1"/>
          </p:cNvSpPr>
          <p:nvPr>
            <p:ph type="body" orient="vert" idx="45" hasCustomPrompt="1"/>
          </p:nvPr>
        </p:nvSpPr>
        <p:spPr>
          <a:xfrm>
            <a:off x="1172872" y="2882202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>
            <a:extLst>
              <a:ext uri="{FF2B5EF4-FFF2-40B4-BE49-F238E27FC236}">
                <a16:creationId xmlns:a16="http://schemas.microsoft.com/office/drawing/2014/main" id="{99E8DD11-097A-45EB-AAF7-EC25BE66AA9F}"/>
              </a:ext>
            </a:extLst>
          </p:cNvPr>
          <p:cNvSpPr>
            <a:spLocks noGrp="1"/>
          </p:cNvSpPr>
          <p:nvPr>
            <p:ph type="body" orient="vert" idx="46" hasCustomPrompt="1"/>
          </p:nvPr>
        </p:nvSpPr>
        <p:spPr>
          <a:xfrm>
            <a:off x="1172872" y="3686383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>
            <a:extLst>
              <a:ext uri="{FF2B5EF4-FFF2-40B4-BE49-F238E27FC236}">
                <a16:creationId xmlns:a16="http://schemas.microsoft.com/office/drawing/2014/main" id="{711A31A4-DA9C-4BBB-B5C7-183BEC7EF686}"/>
              </a:ext>
            </a:extLst>
          </p:cNvPr>
          <p:cNvSpPr>
            <a:spLocks noGrp="1"/>
          </p:cNvSpPr>
          <p:nvPr>
            <p:ph type="body" orient="vert" idx="47" hasCustomPrompt="1"/>
          </p:nvPr>
        </p:nvSpPr>
        <p:spPr>
          <a:xfrm>
            <a:off x="1172872" y="5294743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5" name="Tijdelijke aanduiding voor verticale tekst 2">
            <a:extLst>
              <a:ext uri="{FF2B5EF4-FFF2-40B4-BE49-F238E27FC236}">
                <a16:creationId xmlns:a16="http://schemas.microsoft.com/office/drawing/2014/main" id="{B1B63A7F-DF05-469E-80FA-37EAE167E98C}"/>
              </a:ext>
            </a:extLst>
          </p:cNvPr>
          <p:cNvSpPr>
            <a:spLocks noGrp="1"/>
          </p:cNvSpPr>
          <p:nvPr>
            <p:ph type="body" orient="vert" idx="48" hasCustomPrompt="1"/>
          </p:nvPr>
        </p:nvSpPr>
        <p:spPr>
          <a:xfrm>
            <a:off x="6404073" y="1273840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26" name="Tijdelijke aanduiding voor verticale tekst 2">
            <a:extLst>
              <a:ext uri="{FF2B5EF4-FFF2-40B4-BE49-F238E27FC236}">
                <a16:creationId xmlns:a16="http://schemas.microsoft.com/office/drawing/2014/main" id="{9C7CD455-D314-41D3-879A-08B84935CEC9}"/>
              </a:ext>
            </a:extLst>
          </p:cNvPr>
          <p:cNvSpPr>
            <a:spLocks noGrp="1"/>
          </p:cNvSpPr>
          <p:nvPr>
            <p:ph type="body" orient="vert" idx="49" hasCustomPrompt="1"/>
          </p:nvPr>
        </p:nvSpPr>
        <p:spPr>
          <a:xfrm>
            <a:off x="7207250" y="1273840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7" name="Tijdelijke aanduiding voor verticale tekst 2">
            <a:extLst>
              <a:ext uri="{FF2B5EF4-FFF2-40B4-BE49-F238E27FC236}">
                <a16:creationId xmlns:a16="http://schemas.microsoft.com/office/drawing/2014/main" id="{DD2CE62E-C496-4565-AF68-2B0A9D334384}"/>
              </a:ext>
            </a:extLst>
          </p:cNvPr>
          <p:cNvSpPr>
            <a:spLocks noGrp="1"/>
          </p:cNvSpPr>
          <p:nvPr>
            <p:ph type="body" orient="vert" idx="50" hasCustomPrompt="1"/>
          </p:nvPr>
        </p:nvSpPr>
        <p:spPr>
          <a:xfrm>
            <a:off x="6404073" y="2078021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0" name="Tijdelijke aanduiding voor verticale tekst 2">
            <a:extLst>
              <a:ext uri="{FF2B5EF4-FFF2-40B4-BE49-F238E27FC236}">
                <a16:creationId xmlns:a16="http://schemas.microsoft.com/office/drawing/2014/main" id="{62081025-AC7D-4317-85F8-7AF54FEFB70E}"/>
              </a:ext>
            </a:extLst>
          </p:cNvPr>
          <p:cNvSpPr>
            <a:spLocks noGrp="1"/>
          </p:cNvSpPr>
          <p:nvPr>
            <p:ph type="body" orient="vert" idx="51" hasCustomPrompt="1"/>
          </p:nvPr>
        </p:nvSpPr>
        <p:spPr>
          <a:xfrm>
            <a:off x="6404073" y="2882202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1" name="Tijdelijke aanduiding voor verticale tekst 2">
            <a:extLst>
              <a:ext uri="{FF2B5EF4-FFF2-40B4-BE49-F238E27FC236}">
                <a16:creationId xmlns:a16="http://schemas.microsoft.com/office/drawing/2014/main" id="{1D92109C-596C-4FBC-9DAC-FC16291B5613}"/>
              </a:ext>
            </a:extLst>
          </p:cNvPr>
          <p:cNvSpPr>
            <a:spLocks noGrp="1"/>
          </p:cNvSpPr>
          <p:nvPr>
            <p:ph type="body" orient="vert" idx="52" hasCustomPrompt="1"/>
          </p:nvPr>
        </p:nvSpPr>
        <p:spPr>
          <a:xfrm>
            <a:off x="6404073" y="368638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2" name="Tijdelijke aanduiding voor verticale tekst 2">
            <a:extLst>
              <a:ext uri="{FF2B5EF4-FFF2-40B4-BE49-F238E27FC236}">
                <a16:creationId xmlns:a16="http://schemas.microsoft.com/office/drawing/2014/main" id="{9A7D68C9-5C99-4DFA-AB5B-E0D532554963}"/>
              </a:ext>
            </a:extLst>
          </p:cNvPr>
          <p:cNvSpPr>
            <a:spLocks noGrp="1"/>
          </p:cNvSpPr>
          <p:nvPr>
            <p:ph type="body" orient="vert" idx="53" hasCustomPrompt="1"/>
          </p:nvPr>
        </p:nvSpPr>
        <p:spPr>
          <a:xfrm>
            <a:off x="6404073" y="4490564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3" name="Tijdelijke aanduiding voor verticale tekst 2">
            <a:extLst>
              <a:ext uri="{FF2B5EF4-FFF2-40B4-BE49-F238E27FC236}">
                <a16:creationId xmlns:a16="http://schemas.microsoft.com/office/drawing/2014/main" id="{0CD1C1F6-47D9-4631-9B2D-B26D86A78A49}"/>
              </a:ext>
            </a:extLst>
          </p:cNvPr>
          <p:cNvSpPr>
            <a:spLocks noGrp="1"/>
          </p:cNvSpPr>
          <p:nvPr>
            <p:ph type="body" orient="vert" idx="54" hasCustomPrompt="1"/>
          </p:nvPr>
        </p:nvSpPr>
        <p:spPr>
          <a:xfrm>
            <a:off x="7207250" y="4490564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4" name="Tijdelijke aanduiding voor verticale tekst 2">
            <a:extLst>
              <a:ext uri="{FF2B5EF4-FFF2-40B4-BE49-F238E27FC236}">
                <a16:creationId xmlns:a16="http://schemas.microsoft.com/office/drawing/2014/main" id="{7A235542-C730-4503-B1CE-16969076319E}"/>
              </a:ext>
            </a:extLst>
          </p:cNvPr>
          <p:cNvSpPr>
            <a:spLocks noGrp="1"/>
          </p:cNvSpPr>
          <p:nvPr>
            <p:ph type="body" orient="vert" idx="55" hasCustomPrompt="1"/>
          </p:nvPr>
        </p:nvSpPr>
        <p:spPr>
          <a:xfrm>
            <a:off x="6404073" y="529474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5" name="Tijdelijke aanduiding voor verticale tekst 2">
            <a:extLst>
              <a:ext uri="{FF2B5EF4-FFF2-40B4-BE49-F238E27FC236}">
                <a16:creationId xmlns:a16="http://schemas.microsoft.com/office/drawing/2014/main" id="{CD9096F6-F962-4C50-8224-EF9B005B7A0B}"/>
              </a:ext>
            </a:extLst>
          </p:cNvPr>
          <p:cNvSpPr>
            <a:spLocks noGrp="1"/>
          </p:cNvSpPr>
          <p:nvPr>
            <p:ph type="body" orient="vert" idx="56" hasCustomPrompt="1"/>
          </p:nvPr>
        </p:nvSpPr>
        <p:spPr>
          <a:xfrm>
            <a:off x="7207250" y="2078021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6" name="Tijdelijke aanduiding voor verticale tekst 2">
            <a:extLst>
              <a:ext uri="{FF2B5EF4-FFF2-40B4-BE49-F238E27FC236}">
                <a16:creationId xmlns:a16="http://schemas.microsoft.com/office/drawing/2014/main" id="{AB1C548E-5889-4D39-B26F-1F68E2CFAB6A}"/>
              </a:ext>
            </a:extLst>
          </p:cNvPr>
          <p:cNvSpPr>
            <a:spLocks noGrp="1"/>
          </p:cNvSpPr>
          <p:nvPr>
            <p:ph type="body" orient="vert" idx="57" hasCustomPrompt="1"/>
          </p:nvPr>
        </p:nvSpPr>
        <p:spPr>
          <a:xfrm>
            <a:off x="7207250" y="2882202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7" name="Tijdelijke aanduiding voor verticale tekst 2">
            <a:extLst>
              <a:ext uri="{FF2B5EF4-FFF2-40B4-BE49-F238E27FC236}">
                <a16:creationId xmlns:a16="http://schemas.microsoft.com/office/drawing/2014/main" id="{81F7F5AA-966F-4553-A62B-C09640EE436C}"/>
              </a:ext>
            </a:extLst>
          </p:cNvPr>
          <p:cNvSpPr>
            <a:spLocks noGrp="1"/>
          </p:cNvSpPr>
          <p:nvPr>
            <p:ph type="body" orient="vert" idx="58" hasCustomPrompt="1"/>
          </p:nvPr>
        </p:nvSpPr>
        <p:spPr>
          <a:xfrm>
            <a:off x="7207250" y="3686383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8" name="Tijdelijke aanduiding voor verticale tekst 2">
            <a:extLst>
              <a:ext uri="{FF2B5EF4-FFF2-40B4-BE49-F238E27FC236}">
                <a16:creationId xmlns:a16="http://schemas.microsoft.com/office/drawing/2014/main" id="{A43E093F-FADD-466A-BD74-B22739D738DE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7207250" y="5294743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</p:spTree>
    <p:extLst>
      <p:ext uri="{BB962C8B-B14F-4D97-AF65-F5344CB8AC3E}">
        <p14:creationId xmlns:p14="http://schemas.microsoft.com/office/powerpoint/2010/main" val="329394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7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7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7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7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7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8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8" decel="10000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8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4750"/>
                            </p:stCondLst>
                            <p:childTnLst>
                              <p:par>
                                <p:cTn id="10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7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7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7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1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7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7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1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9" grpId="0" uiExpand="1" build="p" animBg="1">
        <p:tmplLst>
          <p:tmpl>
            <p:tnLst>
              <p:par>
                <p:cTn presetID="17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6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6" grpId="0" uiExpand="1" build="p" animBg="1">
        <p:tmplLst>
          <p:tmpl>
            <p:tnLst>
              <p:par>
                <p:cTn presetID="17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3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5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6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7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8" grpId="0" uiExpand="1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96727-9EBA-40CC-A7CC-E4D89E404236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43454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 (W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144000" rIns="216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0C842B-F772-4F15-AAB7-B52551111C53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tekst (WIT)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142408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Tekst + 2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/>
          <p:cNvSpPr>
            <a:spLocks noGrp="1"/>
          </p:cNvSpPr>
          <p:nvPr>
            <p:ph type="pic" sz="quarter" idx="15" hasCustomPrompt="1"/>
          </p:nvPr>
        </p:nvSpPr>
        <p:spPr>
          <a:xfrm>
            <a:off x="8592000" y="0"/>
            <a:ext cx="3600000" cy="6444878"/>
          </a:xfrm>
          <a:custGeom>
            <a:avLst/>
            <a:gdLst>
              <a:gd name="connsiteX0" fmla="*/ 0 w 3600000"/>
              <a:gd name="connsiteY0" fmla="*/ 0 h 6455571"/>
              <a:gd name="connsiteX1" fmla="*/ 3600000 w 3600000"/>
              <a:gd name="connsiteY1" fmla="*/ 0 h 6455571"/>
              <a:gd name="connsiteX2" fmla="*/ 3600000 w 3600000"/>
              <a:gd name="connsiteY2" fmla="*/ 6455571 h 6455571"/>
              <a:gd name="connsiteX3" fmla="*/ 3596827 w 3600000"/>
              <a:gd name="connsiteY3" fmla="*/ 6294120 h 6455571"/>
              <a:gd name="connsiteX4" fmla="*/ 2522687 w 3600000"/>
              <a:gd name="connsiteY4" fmla="*/ 6294120 h 6455571"/>
              <a:gd name="connsiteX5" fmla="*/ 1905628 w 3600000"/>
              <a:gd name="connsiteY5" fmla="*/ 6454140 h 6455571"/>
              <a:gd name="connsiteX6" fmla="*/ 0 w 3600000"/>
              <a:gd name="connsiteY6" fmla="*/ 6454400 h 6455571"/>
              <a:gd name="connsiteX0" fmla="*/ 0 w 3600000"/>
              <a:gd name="connsiteY0" fmla="*/ 0 h 6454400"/>
              <a:gd name="connsiteX1" fmla="*/ 3600000 w 3600000"/>
              <a:gd name="connsiteY1" fmla="*/ 0 h 6454400"/>
              <a:gd name="connsiteX2" fmla="*/ 3596827 w 3600000"/>
              <a:gd name="connsiteY2" fmla="*/ 6294120 h 6454400"/>
              <a:gd name="connsiteX3" fmla="*/ 2522687 w 3600000"/>
              <a:gd name="connsiteY3" fmla="*/ 6294120 h 6454400"/>
              <a:gd name="connsiteX4" fmla="*/ 1905628 w 3600000"/>
              <a:gd name="connsiteY4" fmla="*/ 6454140 h 6454400"/>
              <a:gd name="connsiteX5" fmla="*/ 0 w 3600000"/>
              <a:gd name="connsiteY5" fmla="*/ 6454400 h 6454400"/>
              <a:gd name="connsiteX6" fmla="*/ 0 w 3600000"/>
              <a:gd name="connsiteY6" fmla="*/ 0 h 6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00000" h="6454400">
                <a:moveTo>
                  <a:pt x="0" y="0"/>
                </a:moveTo>
                <a:lnTo>
                  <a:pt x="3600000" y="0"/>
                </a:lnTo>
                <a:cubicBezTo>
                  <a:pt x="3598942" y="2098040"/>
                  <a:pt x="3597885" y="4196080"/>
                  <a:pt x="3596827" y="6294120"/>
                </a:cubicBezTo>
                <a:lnTo>
                  <a:pt x="2522687" y="6294120"/>
                </a:lnTo>
                <a:lnTo>
                  <a:pt x="1905628" y="6454140"/>
                </a:lnTo>
                <a:lnTo>
                  <a:pt x="0" y="6454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785540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7855401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65A3B-8C1E-4AF1-9DBD-63C3DD6E1F50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75% tekst + 25% afbeelding</a:t>
            </a:r>
          </a:p>
        </p:txBody>
      </p:sp>
      <p:sp>
        <p:nvSpPr>
          <p:cNvPr id="54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785400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5" name="Groep 54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5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61" name="Rechthoek 6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4" name="Rechthoek 6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65" name="Rechte verbindingslijn 6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Rechthoek 6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8" name="Groep 6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8" name="Groep 11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22" name="Rechte verbindingslijn 12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3" name="Rechte verbindingslijn 12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2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2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2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9" name="Groep 11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0" name="Rechthoek 11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1" name="Pijl: punthaak 12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9" name="Groep 6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9" name="Groep 10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13" name="Rechte verbindingslijn 11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4" name="Rechte verbindingslijn 11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0" name="Groep 10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1" name="Rechthoek 11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2" name="Pijl: punthaak 11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71" name="Rechte verbindingslijn 7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72" name="Groep 7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8" name="Rechthoek 9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00" name="Groep 9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04" name="Rechte verbindingslijn 10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0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0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0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8" name="Rechte verbindingslijn 10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1" name="Groep 10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2" name="Rechthoek 10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3" name="Pijl: punthaak 10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73" name="Groep 7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7" name="Rechthoek 8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8" name="Groep 8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9" name="Groep 8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93" name="Rechte verbindingslijn 9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4" name="Rechte verbindingslijn 9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5" name="Rechte verbindingslijn 9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6" name="Rechte verbindingslijn 9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0" name="Groep 8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1" name="Rechthoek 9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2" name="Pijl: punthaak 9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74" name="Rechthoek 7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75" name="Rechthoek 7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76" name="Rechte verbindingslijn 7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7" name="Rechthoek 7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8" name="Ovaal 7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Ovaal 7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81" name="Rechthoek 8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82" name="Ovaal 8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83" name="Rechthoek 8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84" name="Ovaal 8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85" name="Rechthoek 8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86" name="Rechte verbindingslijn 8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ep 12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8" name="Afbeelding 12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34" name="Rechthoek 1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35" name="Ovaal 1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36" name="Rechte verbindingslijn 1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7" name="Rechte verbindingslijn 1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8" name="Rechthoek 1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40" name="Ovaal 13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41" name="Rechthoek 14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2" name="Groep 14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75" name="Rechthoek 17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76" name="Rechte verbindingslijn 17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7" name="Gelijkbenige driehoek 17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3" name="Groep 14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9" name="Rechthoek 16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0" name="Ovaal 16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1" name="Vrije vorm: vorm 17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2" name="Rechthoek: afgeronde hoeken 17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73" name="Rechte verbindingslijn 17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74" name="Rechte verbindingslijn 173"/>
                <p:cNvCxnSpPr>
                  <a:cxnSpLocks/>
                  <a:stCxn id="17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44" name="Ovaal 14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45" name="Rechthoek 14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46" name="Rechte verbindingslijn 14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7" name="Groep 14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8" name="Rechthoek 14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Rechthoek 14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50" name="Groep 14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63" name="Rechthoek: afgeronde hoeken 16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4" name="Rechthoek 16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6" name="Rechthoek 16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7" name="Rechthoek 16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8" name="Rechthoek 16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51" name="Groep 15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55" name="Groep 15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7" name="Rechthoek: afgeronde hoeken 15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" name="Rechthoek 15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9" name="Rechthoek 15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0" name="Rechthoek 15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1" name="Rechthoek 16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2" name="Rechthoek 16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56" name="Boog 15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52" name="Tekstvak 15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53" name="Tekstvak 152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5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3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3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32" name="Rechthoek 13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33" name="Rechte verbindingslijn 13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01893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35DB6E-7878-4548-9CAC-834A2B03961F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6" y="0"/>
            <a:ext cx="5899594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72419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tussenruim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102"/>
            <a:ext cx="5900400" cy="6444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3E659-8D0E-4ACF-A283-594EF895A116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6" y="0"/>
            <a:ext cx="5899594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0943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46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Afbeelding 6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19" y="3229990"/>
            <a:ext cx="1639482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42872"/>
              <a:gd name="connsiteX1" fmla="*/ 12192000 w 12192000"/>
              <a:gd name="connsiteY1" fmla="*/ 0 h 6442872"/>
              <a:gd name="connsiteX2" fmla="*/ 12192000 w 12192000"/>
              <a:gd name="connsiteY2" fmla="*/ 6442872 h 6442872"/>
              <a:gd name="connsiteX3" fmla="*/ 12188827 w 12192000"/>
              <a:gd name="connsiteY3" fmla="*/ 6281739 h 6442872"/>
              <a:gd name="connsiteX4" fmla="*/ 11114687 w 12192000"/>
              <a:gd name="connsiteY4" fmla="*/ 6281739 h 6442872"/>
              <a:gd name="connsiteX5" fmla="*/ 10497628 w 12192000"/>
              <a:gd name="connsiteY5" fmla="*/ 6441444 h 6442872"/>
              <a:gd name="connsiteX6" fmla="*/ 0 w 12192000"/>
              <a:gd name="connsiteY6" fmla="*/ 6442872 h 6442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42872">
                <a:moveTo>
                  <a:pt x="0" y="0"/>
                </a:moveTo>
                <a:lnTo>
                  <a:pt x="12192000" y="0"/>
                </a:lnTo>
                <a:lnTo>
                  <a:pt x="12192000" y="6442872"/>
                </a:lnTo>
                <a:lnTo>
                  <a:pt x="12188827" y="6281739"/>
                </a:lnTo>
                <a:lnTo>
                  <a:pt x="11114687" y="6281739"/>
                </a:lnTo>
                <a:lnTo>
                  <a:pt x="10497628" y="6441444"/>
                </a:lnTo>
                <a:lnTo>
                  <a:pt x="0" y="64428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DD93-F15A-4221-BFC8-25C51F8873DA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video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14" name="Meer informatie"/>
          <p:cNvGrpSpPr/>
          <p:nvPr userDrawn="1"/>
        </p:nvGrpSpPr>
        <p:grpSpPr>
          <a:xfrm>
            <a:off x="12396764" y="4434421"/>
            <a:ext cx="3178515" cy="783273"/>
            <a:chOff x="-3741486" y="3359148"/>
            <a:chExt cx="3178515" cy="783273"/>
          </a:xfrm>
        </p:grpSpPr>
        <p:sp>
          <p:nvSpPr>
            <p:cNvPr id="15" name="Freeform 101"/>
            <p:cNvSpPr>
              <a:spLocks noEditPoints="1"/>
            </p:cNvSpPr>
            <p:nvPr/>
          </p:nvSpPr>
          <p:spPr bwMode="auto">
            <a:xfrm>
              <a:off x="-3741486" y="3359148"/>
              <a:ext cx="255753" cy="255753"/>
            </a:xfrm>
            <a:custGeom>
              <a:avLst/>
              <a:gdLst>
                <a:gd name="T0" fmla="*/ 0 w 292"/>
                <a:gd name="T1" fmla="*/ 146 h 292"/>
                <a:gd name="T2" fmla="*/ 4 w 292"/>
                <a:gd name="T3" fmla="*/ 113 h 292"/>
                <a:gd name="T4" fmla="*/ 14 w 292"/>
                <a:gd name="T5" fmla="*/ 82 h 292"/>
                <a:gd name="T6" fmla="*/ 31 w 292"/>
                <a:gd name="T7" fmla="*/ 55 h 292"/>
                <a:gd name="T8" fmla="*/ 53 w 292"/>
                <a:gd name="T9" fmla="*/ 32 h 292"/>
                <a:gd name="T10" fmla="*/ 81 w 292"/>
                <a:gd name="T11" fmla="*/ 15 h 292"/>
                <a:gd name="T12" fmla="*/ 112 w 292"/>
                <a:gd name="T13" fmla="*/ 4 h 292"/>
                <a:gd name="T14" fmla="*/ 145 w 292"/>
                <a:gd name="T15" fmla="*/ 0 h 292"/>
                <a:gd name="T16" fmla="*/ 179 w 292"/>
                <a:gd name="T17" fmla="*/ 4 h 292"/>
                <a:gd name="T18" fmla="*/ 209 w 292"/>
                <a:gd name="T19" fmla="*/ 15 h 292"/>
                <a:gd name="T20" fmla="*/ 237 w 292"/>
                <a:gd name="T21" fmla="*/ 32 h 292"/>
                <a:gd name="T22" fmla="*/ 259 w 292"/>
                <a:gd name="T23" fmla="*/ 55 h 292"/>
                <a:gd name="T24" fmla="*/ 276 w 292"/>
                <a:gd name="T25" fmla="*/ 82 h 292"/>
                <a:gd name="T26" fmla="*/ 288 w 292"/>
                <a:gd name="T27" fmla="*/ 113 h 292"/>
                <a:gd name="T28" fmla="*/ 292 w 292"/>
                <a:gd name="T29" fmla="*/ 146 h 292"/>
                <a:gd name="T30" fmla="*/ 288 w 292"/>
                <a:gd name="T31" fmla="*/ 180 h 292"/>
                <a:gd name="T32" fmla="*/ 276 w 292"/>
                <a:gd name="T33" fmla="*/ 210 h 292"/>
                <a:gd name="T34" fmla="*/ 259 w 292"/>
                <a:gd name="T35" fmla="*/ 237 h 292"/>
                <a:gd name="T36" fmla="*/ 237 w 292"/>
                <a:gd name="T37" fmla="*/ 260 h 292"/>
                <a:gd name="T38" fmla="*/ 209 w 292"/>
                <a:gd name="T39" fmla="*/ 278 h 292"/>
                <a:gd name="T40" fmla="*/ 179 w 292"/>
                <a:gd name="T41" fmla="*/ 288 h 292"/>
                <a:gd name="T42" fmla="*/ 145 w 292"/>
                <a:gd name="T43" fmla="*/ 292 h 292"/>
                <a:gd name="T44" fmla="*/ 112 w 292"/>
                <a:gd name="T45" fmla="*/ 288 h 292"/>
                <a:gd name="T46" fmla="*/ 81 w 292"/>
                <a:gd name="T47" fmla="*/ 278 h 292"/>
                <a:gd name="T48" fmla="*/ 53 w 292"/>
                <a:gd name="T49" fmla="*/ 260 h 292"/>
                <a:gd name="T50" fmla="*/ 31 w 292"/>
                <a:gd name="T51" fmla="*/ 237 h 292"/>
                <a:gd name="T52" fmla="*/ 14 w 292"/>
                <a:gd name="T53" fmla="*/ 210 h 292"/>
                <a:gd name="T54" fmla="*/ 4 w 292"/>
                <a:gd name="T55" fmla="*/ 180 h 292"/>
                <a:gd name="T56" fmla="*/ 0 w 292"/>
                <a:gd name="T57" fmla="*/ 146 h 292"/>
                <a:gd name="T58" fmla="*/ 102 w 292"/>
                <a:gd name="T59" fmla="*/ 121 h 292"/>
                <a:gd name="T60" fmla="*/ 102 w 292"/>
                <a:gd name="T61" fmla="*/ 142 h 292"/>
                <a:gd name="T62" fmla="*/ 120 w 292"/>
                <a:gd name="T63" fmla="*/ 142 h 292"/>
                <a:gd name="T64" fmla="*/ 120 w 292"/>
                <a:gd name="T65" fmla="*/ 223 h 292"/>
                <a:gd name="T66" fmla="*/ 102 w 292"/>
                <a:gd name="T67" fmla="*/ 223 h 292"/>
                <a:gd name="T68" fmla="*/ 102 w 292"/>
                <a:gd name="T69" fmla="*/ 244 h 292"/>
                <a:gd name="T70" fmla="*/ 188 w 292"/>
                <a:gd name="T71" fmla="*/ 244 h 292"/>
                <a:gd name="T72" fmla="*/ 188 w 292"/>
                <a:gd name="T73" fmla="*/ 223 h 292"/>
                <a:gd name="T74" fmla="*/ 170 w 292"/>
                <a:gd name="T75" fmla="*/ 223 h 292"/>
                <a:gd name="T76" fmla="*/ 170 w 292"/>
                <a:gd name="T77" fmla="*/ 142 h 292"/>
                <a:gd name="T78" fmla="*/ 188 w 292"/>
                <a:gd name="T79" fmla="*/ 142 h 292"/>
                <a:gd name="T80" fmla="*/ 188 w 292"/>
                <a:gd name="T81" fmla="*/ 121 h 292"/>
                <a:gd name="T82" fmla="*/ 102 w 292"/>
                <a:gd name="T83" fmla="*/ 121 h 292"/>
                <a:gd name="T84" fmla="*/ 115 w 292"/>
                <a:gd name="T85" fmla="*/ 79 h 292"/>
                <a:gd name="T86" fmla="*/ 117 w 292"/>
                <a:gd name="T87" fmla="*/ 92 h 292"/>
                <a:gd name="T88" fmla="*/ 124 w 292"/>
                <a:gd name="T89" fmla="*/ 101 h 292"/>
                <a:gd name="T90" fmla="*/ 133 w 292"/>
                <a:gd name="T91" fmla="*/ 108 h 292"/>
                <a:gd name="T92" fmla="*/ 145 w 292"/>
                <a:gd name="T93" fmla="*/ 110 h 292"/>
                <a:gd name="T94" fmla="*/ 157 w 292"/>
                <a:gd name="T95" fmla="*/ 108 h 292"/>
                <a:gd name="T96" fmla="*/ 167 w 292"/>
                <a:gd name="T97" fmla="*/ 101 h 292"/>
                <a:gd name="T98" fmla="*/ 174 w 292"/>
                <a:gd name="T99" fmla="*/ 92 h 292"/>
                <a:gd name="T100" fmla="*/ 176 w 292"/>
                <a:gd name="T101" fmla="*/ 79 h 292"/>
                <a:gd name="T102" fmla="*/ 174 w 292"/>
                <a:gd name="T103" fmla="*/ 67 h 292"/>
                <a:gd name="T104" fmla="*/ 167 w 292"/>
                <a:gd name="T105" fmla="*/ 58 h 292"/>
                <a:gd name="T106" fmla="*/ 157 w 292"/>
                <a:gd name="T107" fmla="*/ 51 h 292"/>
                <a:gd name="T108" fmla="*/ 145 w 292"/>
                <a:gd name="T109" fmla="*/ 49 h 292"/>
                <a:gd name="T110" fmla="*/ 133 w 292"/>
                <a:gd name="T111" fmla="*/ 51 h 292"/>
                <a:gd name="T112" fmla="*/ 124 w 292"/>
                <a:gd name="T113" fmla="*/ 58 h 292"/>
                <a:gd name="T114" fmla="*/ 117 w 292"/>
                <a:gd name="T115" fmla="*/ 67 h 292"/>
                <a:gd name="T116" fmla="*/ 115 w 292"/>
                <a:gd name="T117" fmla="*/ 79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2" h="292">
                  <a:moveTo>
                    <a:pt x="0" y="146"/>
                  </a:moveTo>
                  <a:lnTo>
                    <a:pt x="4" y="113"/>
                  </a:lnTo>
                  <a:lnTo>
                    <a:pt x="14" y="82"/>
                  </a:lnTo>
                  <a:lnTo>
                    <a:pt x="31" y="55"/>
                  </a:lnTo>
                  <a:lnTo>
                    <a:pt x="53" y="32"/>
                  </a:lnTo>
                  <a:lnTo>
                    <a:pt x="81" y="15"/>
                  </a:lnTo>
                  <a:lnTo>
                    <a:pt x="112" y="4"/>
                  </a:lnTo>
                  <a:lnTo>
                    <a:pt x="145" y="0"/>
                  </a:lnTo>
                  <a:lnTo>
                    <a:pt x="179" y="4"/>
                  </a:lnTo>
                  <a:lnTo>
                    <a:pt x="209" y="15"/>
                  </a:lnTo>
                  <a:lnTo>
                    <a:pt x="237" y="32"/>
                  </a:lnTo>
                  <a:lnTo>
                    <a:pt x="259" y="55"/>
                  </a:lnTo>
                  <a:lnTo>
                    <a:pt x="276" y="82"/>
                  </a:lnTo>
                  <a:lnTo>
                    <a:pt x="288" y="113"/>
                  </a:lnTo>
                  <a:lnTo>
                    <a:pt x="292" y="146"/>
                  </a:lnTo>
                  <a:lnTo>
                    <a:pt x="288" y="180"/>
                  </a:lnTo>
                  <a:lnTo>
                    <a:pt x="276" y="210"/>
                  </a:lnTo>
                  <a:lnTo>
                    <a:pt x="259" y="237"/>
                  </a:lnTo>
                  <a:lnTo>
                    <a:pt x="237" y="260"/>
                  </a:lnTo>
                  <a:lnTo>
                    <a:pt x="209" y="278"/>
                  </a:lnTo>
                  <a:lnTo>
                    <a:pt x="179" y="288"/>
                  </a:lnTo>
                  <a:lnTo>
                    <a:pt x="145" y="292"/>
                  </a:lnTo>
                  <a:lnTo>
                    <a:pt x="112" y="288"/>
                  </a:lnTo>
                  <a:lnTo>
                    <a:pt x="81" y="278"/>
                  </a:lnTo>
                  <a:lnTo>
                    <a:pt x="53" y="260"/>
                  </a:lnTo>
                  <a:lnTo>
                    <a:pt x="31" y="237"/>
                  </a:lnTo>
                  <a:lnTo>
                    <a:pt x="14" y="210"/>
                  </a:lnTo>
                  <a:lnTo>
                    <a:pt x="4" y="180"/>
                  </a:lnTo>
                  <a:lnTo>
                    <a:pt x="0" y="146"/>
                  </a:lnTo>
                  <a:close/>
                  <a:moveTo>
                    <a:pt x="102" y="121"/>
                  </a:moveTo>
                  <a:lnTo>
                    <a:pt x="102" y="142"/>
                  </a:lnTo>
                  <a:lnTo>
                    <a:pt x="120" y="142"/>
                  </a:lnTo>
                  <a:lnTo>
                    <a:pt x="120" y="223"/>
                  </a:lnTo>
                  <a:lnTo>
                    <a:pt x="102" y="223"/>
                  </a:lnTo>
                  <a:lnTo>
                    <a:pt x="102" y="244"/>
                  </a:lnTo>
                  <a:lnTo>
                    <a:pt x="188" y="244"/>
                  </a:lnTo>
                  <a:lnTo>
                    <a:pt x="188" y="223"/>
                  </a:lnTo>
                  <a:lnTo>
                    <a:pt x="170" y="223"/>
                  </a:lnTo>
                  <a:lnTo>
                    <a:pt x="170" y="142"/>
                  </a:lnTo>
                  <a:lnTo>
                    <a:pt x="188" y="142"/>
                  </a:lnTo>
                  <a:lnTo>
                    <a:pt x="188" y="121"/>
                  </a:lnTo>
                  <a:lnTo>
                    <a:pt x="102" y="121"/>
                  </a:lnTo>
                  <a:close/>
                  <a:moveTo>
                    <a:pt x="115" y="79"/>
                  </a:moveTo>
                  <a:lnTo>
                    <a:pt x="117" y="92"/>
                  </a:lnTo>
                  <a:lnTo>
                    <a:pt x="124" y="101"/>
                  </a:lnTo>
                  <a:lnTo>
                    <a:pt x="133" y="108"/>
                  </a:lnTo>
                  <a:lnTo>
                    <a:pt x="145" y="110"/>
                  </a:lnTo>
                  <a:lnTo>
                    <a:pt x="157" y="108"/>
                  </a:lnTo>
                  <a:lnTo>
                    <a:pt x="167" y="101"/>
                  </a:lnTo>
                  <a:lnTo>
                    <a:pt x="174" y="92"/>
                  </a:lnTo>
                  <a:lnTo>
                    <a:pt x="176" y="79"/>
                  </a:lnTo>
                  <a:lnTo>
                    <a:pt x="174" y="67"/>
                  </a:lnTo>
                  <a:lnTo>
                    <a:pt x="167" y="58"/>
                  </a:lnTo>
                  <a:lnTo>
                    <a:pt x="157" y="51"/>
                  </a:lnTo>
                  <a:lnTo>
                    <a:pt x="145" y="49"/>
                  </a:lnTo>
                  <a:lnTo>
                    <a:pt x="133" y="51"/>
                  </a:lnTo>
                  <a:lnTo>
                    <a:pt x="124" y="58"/>
                  </a:lnTo>
                  <a:lnTo>
                    <a:pt x="117" y="67"/>
                  </a:lnTo>
                  <a:lnTo>
                    <a:pt x="115" y="79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100" noProof="0"/>
            </a:p>
          </p:txBody>
        </p:sp>
        <p:sp>
          <p:nvSpPr>
            <p:cNvPr id="16" name="Rechthoek 15"/>
            <p:cNvSpPr/>
            <p:nvPr userDrawn="1"/>
          </p:nvSpPr>
          <p:spPr>
            <a:xfrm>
              <a:off x="-3380966" y="3431177"/>
              <a:ext cx="2817995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Meer weten?</a:t>
              </a:r>
              <a:b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a naar dia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instructies – YouTube links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open deze in de diavoorstelling en klik op de gewenste video link.</a:t>
              </a:r>
            </a:p>
          </p:txBody>
        </p:sp>
        <p:cxnSp>
          <p:nvCxnSpPr>
            <p:cNvPr id="17" name="Rechte verbindingslijn 16"/>
            <p:cNvCxnSpPr>
              <a:cxnSpLocks/>
            </p:cNvCxnSpPr>
            <p:nvPr userDrawn="1"/>
          </p:nvCxnSpPr>
          <p:spPr>
            <a:xfrm>
              <a:off x="-3740987" y="4142421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</p:grpSp>
      <p:sp>
        <p:nvSpPr>
          <p:cNvPr id="21" name="Rechthoek 20"/>
          <p:cNvSpPr/>
          <p:nvPr userDrawn="1"/>
        </p:nvSpPr>
        <p:spPr>
          <a:xfrm>
            <a:off x="12397264" y="-17883"/>
            <a:ext cx="3178016" cy="19161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0" cap="all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Video invoegen</a:t>
            </a:r>
          </a:p>
        </p:txBody>
      </p:sp>
      <p:sp>
        <p:nvSpPr>
          <p:cNvPr id="22" name="Ovaal 21"/>
          <p:cNvSpPr/>
          <p:nvPr userDrawn="1"/>
        </p:nvSpPr>
        <p:spPr>
          <a:xfrm>
            <a:off x="12391603" y="348607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1</a:t>
            </a:r>
          </a:p>
        </p:txBody>
      </p:sp>
      <p:cxnSp>
        <p:nvCxnSpPr>
          <p:cNvPr id="24" name="Rechte verbindingslijn 23"/>
          <p:cNvCxnSpPr>
            <a:cxnSpLocks/>
          </p:cNvCxnSpPr>
          <p:nvPr userDrawn="1"/>
        </p:nvCxnSpPr>
        <p:spPr>
          <a:xfrm>
            <a:off x="12397263" y="223752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25" name="Rechte verbindingslijn 24"/>
          <p:cNvCxnSpPr>
            <a:cxnSpLocks/>
          </p:cNvCxnSpPr>
          <p:nvPr userDrawn="1"/>
        </p:nvCxnSpPr>
        <p:spPr>
          <a:xfrm>
            <a:off x="12397263" y="1560050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6" name="Rechthoek 25"/>
          <p:cNvSpPr/>
          <p:nvPr userDrawn="1"/>
        </p:nvSpPr>
        <p:spPr>
          <a:xfrm>
            <a:off x="12757284" y="414669"/>
            <a:ext cx="2817995" cy="59542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Wanneer nodig, verwijder de bestaande afbeelding/video. Klik op het pictogram om een nieuwe video in te voegen.</a:t>
            </a:r>
            <a:b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nl-NL" sz="11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(zie onderstaand voorbeeld)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cxnSp>
        <p:nvCxnSpPr>
          <p:cNvPr id="27" name="Rechte verbindingslijn 26"/>
          <p:cNvCxnSpPr>
            <a:cxnSpLocks/>
          </p:cNvCxnSpPr>
          <p:nvPr userDrawn="1"/>
        </p:nvCxnSpPr>
        <p:spPr>
          <a:xfrm>
            <a:off x="12397263" y="4316583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8" name="Ovaal 27"/>
          <p:cNvSpPr/>
          <p:nvPr userDrawn="1"/>
        </p:nvSpPr>
        <p:spPr>
          <a:xfrm>
            <a:off x="12391603" y="1688515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29" name="Rechthoek 28"/>
          <p:cNvSpPr/>
          <p:nvPr userDrawn="1"/>
        </p:nvSpPr>
        <p:spPr>
          <a:xfrm>
            <a:off x="12757284" y="1754578"/>
            <a:ext cx="2817995" cy="3180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Selecteer de gewenste video</a:t>
            </a:r>
            <a:b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en klik op </a:t>
            </a:r>
            <a:r>
              <a: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‘Invoegen’</a:t>
            </a: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.</a:t>
            </a:r>
            <a:endParaRPr kumimoji="0" lang="nl-NL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grpSp>
        <p:nvGrpSpPr>
          <p:cNvPr id="30" name="Groep 29"/>
          <p:cNvGrpSpPr/>
          <p:nvPr userDrawn="1"/>
        </p:nvGrpSpPr>
        <p:grpSpPr>
          <a:xfrm>
            <a:off x="12757284" y="2166624"/>
            <a:ext cx="825500" cy="209550"/>
            <a:chOff x="12757284" y="2166624"/>
            <a:chExt cx="825500" cy="209550"/>
          </a:xfrm>
        </p:grpSpPr>
        <p:sp>
          <p:nvSpPr>
            <p:cNvPr id="60" name="Rechthoek 59"/>
            <p:cNvSpPr/>
            <p:nvPr userDrawn="1"/>
          </p:nvSpPr>
          <p:spPr>
            <a:xfrm>
              <a:off x="12757284" y="2166624"/>
              <a:ext cx="825500" cy="209550"/>
            </a:xfrm>
            <a:prstGeom prst="rect">
              <a:avLst/>
            </a:prstGeom>
            <a:solidFill>
              <a:srgbClr val="E5F1FB"/>
            </a:solidFill>
            <a:ln w="12700">
              <a:solidFill>
                <a:srgbClr val="0B7E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voegen</a:t>
              </a:r>
            </a:p>
          </p:txBody>
        </p:sp>
        <p:cxnSp>
          <p:nvCxnSpPr>
            <p:cNvPr id="61" name="Rechte verbindingslijn 60"/>
            <p:cNvCxnSpPr/>
            <p:nvPr userDrawn="1"/>
          </p:nvCxnSpPr>
          <p:spPr>
            <a:xfrm>
              <a:off x="13407929" y="2199024"/>
              <a:ext cx="0" cy="142717"/>
            </a:xfrm>
            <a:prstGeom prst="line">
              <a:avLst/>
            </a:prstGeom>
            <a:noFill/>
            <a:ln w="3175" cap="flat" cmpd="sng" algn="ctr">
              <a:solidFill>
                <a:srgbClr val="44546A"/>
              </a:solidFill>
              <a:prstDash val="solid"/>
            </a:ln>
            <a:effectLst/>
          </p:spPr>
        </p:cxnSp>
        <p:sp>
          <p:nvSpPr>
            <p:cNvPr id="62" name="Gelijkbenige driehoek 61"/>
            <p:cNvSpPr/>
            <p:nvPr userDrawn="1"/>
          </p:nvSpPr>
          <p:spPr>
            <a:xfrm rot="10800000">
              <a:off x="13448749" y="2250678"/>
              <a:ext cx="86866" cy="51147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</p:grpSp>
      <p:sp>
        <p:nvSpPr>
          <p:cNvPr id="31" name="Ovaal 30"/>
          <p:cNvSpPr/>
          <p:nvPr userDrawn="1"/>
        </p:nvSpPr>
        <p:spPr>
          <a:xfrm>
            <a:off x="12391603" y="2613716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32" name="Rechthoek 31"/>
          <p:cNvSpPr/>
          <p:nvPr userDrawn="1"/>
        </p:nvSpPr>
        <p:spPr>
          <a:xfrm>
            <a:off x="12757285" y="2679780"/>
            <a:ext cx="2817996" cy="6259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Klik met de rechter muisknop op de miniatuurweergave van de dia en kies</a:t>
            </a:r>
            <a:b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´Dia herstellen´</a:t>
            </a: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.</a:t>
            </a:r>
            <a:endParaRPr kumimoji="0" lang="nl-NL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cxnSp>
        <p:nvCxnSpPr>
          <p:cNvPr id="33" name="Rechte verbindingslijn 32"/>
          <p:cNvCxnSpPr>
            <a:cxnSpLocks/>
          </p:cNvCxnSpPr>
          <p:nvPr userDrawn="1"/>
        </p:nvCxnSpPr>
        <p:spPr>
          <a:xfrm>
            <a:off x="12397263" y="2481906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39" name="Rechthoek 38"/>
          <p:cNvSpPr/>
          <p:nvPr userDrawn="1"/>
        </p:nvSpPr>
        <p:spPr>
          <a:xfrm>
            <a:off x="13717198" y="3515867"/>
            <a:ext cx="1176476" cy="580946"/>
          </a:xfrm>
          <a:prstGeom prst="rect">
            <a:avLst/>
          </a:prstGeom>
          <a:solidFill>
            <a:schemeClr val="bg1"/>
          </a:solidFill>
          <a:ln w="12700">
            <a:solidFill>
              <a:srgbClr val="D1D1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nl-NL" sz="800" b="0" noProof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hthoek 39"/>
          <p:cNvSpPr/>
          <p:nvPr userDrawn="1"/>
        </p:nvSpPr>
        <p:spPr>
          <a:xfrm>
            <a:off x="13739162" y="3827256"/>
            <a:ext cx="1145758" cy="261256"/>
          </a:xfrm>
          <a:prstGeom prst="rect">
            <a:avLst/>
          </a:prstGeom>
          <a:solidFill>
            <a:srgbClr val="FCE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noProof="0">
              <a:solidFill>
                <a:schemeClr val="tx1"/>
              </a:solidFill>
            </a:endParaRPr>
          </a:p>
        </p:txBody>
      </p:sp>
      <p:grpSp>
        <p:nvGrpSpPr>
          <p:cNvPr id="41" name="Groep 40"/>
          <p:cNvGrpSpPr/>
          <p:nvPr userDrawn="1"/>
        </p:nvGrpSpPr>
        <p:grpSpPr>
          <a:xfrm>
            <a:off x="13799148" y="3581369"/>
            <a:ext cx="155951" cy="131922"/>
            <a:chOff x="12968836" y="3354170"/>
            <a:chExt cx="404806" cy="342433"/>
          </a:xfrm>
        </p:grpSpPr>
        <p:sp>
          <p:nvSpPr>
            <p:cNvPr id="54" name="Rechthoek: afgeronde hoeken 53"/>
            <p:cNvSpPr/>
            <p:nvPr userDrawn="1"/>
          </p:nvSpPr>
          <p:spPr>
            <a:xfrm>
              <a:off x="12968836" y="3354170"/>
              <a:ext cx="404806" cy="342433"/>
            </a:xfrm>
            <a:prstGeom prst="roundRect">
              <a:avLst>
                <a:gd name="adj" fmla="val 2911"/>
              </a:avLst>
            </a:prstGeom>
            <a:solidFill>
              <a:schemeClr val="bg1"/>
            </a:solidFill>
            <a:ln w="12700">
              <a:solidFill>
                <a:srgbClr val="8181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Rechthoek 54"/>
            <p:cNvSpPr/>
            <p:nvPr userDrawn="1"/>
          </p:nvSpPr>
          <p:spPr>
            <a:xfrm>
              <a:off x="13025180" y="3401181"/>
              <a:ext cx="305213" cy="41563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6" name="Rechthoek 55"/>
            <p:cNvSpPr/>
            <p:nvPr userDrawn="1"/>
          </p:nvSpPr>
          <p:spPr>
            <a:xfrm>
              <a:off x="13025181" y="3471575"/>
              <a:ext cx="118778" cy="181691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7" name="Rechthoek 56"/>
            <p:cNvSpPr/>
            <p:nvPr userDrawn="1"/>
          </p:nvSpPr>
          <p:spPr>
            <a:xfrm>
              <a:off x="13180812" y="3481982"/>
              <a:ext cx="13527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8" name="Rechthoek 57"/>
            <p:cNvSpPr/>
            <p:nvPr userDrawn="1"/>
          </p:nvSpPr>
          <p:spPr>
            <a:xfrm>
              <a:off x="13180812" y="3554800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9" name="Rechthoek 58"/>
            <p:cNvSpPr/>
            <p:nvPr userDrawn="1"/>
          </p:nvSpPr>
          <p:spPr>
            <a:xfrm>
              <a:off x="13180812" y="3627618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oep 41"/>
          <p:cNvGrpSpPr/>
          <p:nvPr userDrawn="1"/>
        </p:nvGrpSpPr>
        <p:grpSpPr>
          <a:xfrm>
            <a:off x="13779593" y="3880692"/>
            <a:ext cx="166739" cy="218963"/>
            <a:chOff x="12940828" y="3950597"/>
            <a:chExt cx="432813" cy="568367"/>
          </a:xfrm>
        </p:grpSpPr>
        <p:grpSp>
          <p:nvGrpSpPr>
            <p:cNvPr id="46" name="Groep 45"/>
            <p:cNvGrpSpPr/>
            <p:nvPr userDrawn="1"/>
          </p:nvGrpSpPr>
          <p:grpSpPr>
            <a:xfrm>
              <a:off x="13000382" y="4006891"/>
              <a:ext cx="373259" cy="315747"/>
              <a:chOff x="12968836" y="3354170"/>
              <a:chExt cx="404806" cy="342433"/>
            </a:xfrm>
          </p:grpSpPr>
          <p:sp>
            <p:nvSpPr>
              <p:cNvPr id="48" name="Rechthoek: afgeronde hoeken 47"/>
              <p:cNvSpPr/>
              <p:nvPr userDrawn="1"/>
            </p:nvSpPr>
            <p:spPr>
              <a:xfrm>
                <a:off x="12968836" y="3354170"/>
                <a:ext cx="404806" cy="342433"/>
              </a:xfrm>
              <a:prstGeom prst="roundRect">
                <a:avLst>
                  <a:gd name="adj" fmla="val 2911"/>
                </a:avLst>
              </a:prstGeom>
              <a:solidFill>
                <a:schemeClr val="bg1"/>
              </a:solidFill>
              <a:ln w="12700">
                <a:solidFill>
                  <a:srgbClr val="81818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Rechthoek 48"/>
              <p:cNvSpPr/>
              <p:nvPr userDrawn="1"/>
            </p:nvSpPr>
            <p:spPr>
              <a:xfrm>
                <a:off x="13025180" y="3401181"/>
                <a:ext cx="305213" cy="4156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13025181" y="3471575"/>
                <a:ext cx="118778" cy="181691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Rechthoek 50"/>
              <p:cNvSpPr/>
              <p:nvPr userDrawn="1"/>
            </p:nvSpPr>
            <p:spPr>
              <a:xfrm>
                <a:off x="13180812" y="3481982"/>
                <a:ext cx="13527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13180812" y="3554800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Rechthoek 52"/>
              <p:cNvSpPr/>
              <p:nvPr userDrawn="1"/>
            </p:nvSpPr>
            <p:spPr>
              <a:xfrm>
                <a:off x="13180812" y="3627618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7" name="Boog 46"/>
            <p:cNvSpPr/>
            <p:nvPr userDrawn="1"/>
          </p:nvSpPr>
          <p:spPr>
            <a:xfrm rot="17637075">
              <a:off x="12776155" y="4115270"/>
              <a:ext cx="568367" cy="239021"/>
            </a:xfrm>
            <a:prstGeom prst="arc">
              <a:avLst>
                <a:gd name="adj1" fmla="val 15959368"/>
                <a:gd name="adj2" fmla="val 1354623"/>
              </a:avLst>
            </a:prstGeom>
            <a:noFill/>
            <a:ln w="19050" cap="flat" cmpd="sng" algn="ctr">
              <a:solidFill>
                <a:srgbClr val="4D82B8"/>
              </a:solidFill>
              <a:prstDash val="solid"/>
              <a:headEnd type="arrow" w="med" len="sm"/>
            </a:ln>
            <a:effectLst/>
          </p:spPr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3" name="Tekstvak 42"/>
          <p:cNvSpPr txBox="1"/>
          <p:nvPr userDrawn="1"/>
        </p:nvSpPr>
        <p:spPr>
          <a:xfrm>
            <a:off x="13957562" y="3554977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12175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b="0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eling</a:t>
            </a:r>
          </a:p>
        </p:txBody>
      </p:sp>
      <p:sp>
        <p:nvSpPr>
          <p:cNvPr id="44" name="Tekstvak 43"/>
          <p:cNvSpPr txBox="1"/>
          <p:nvPr userDrawn="1"/>
        </p:nvSpPr>
        <p:spPr>
          <a:xfrm>
            <a:off x="13944133" y="3876103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12175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b="0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a Herstellen</a:t>
            </a:r>
          </a:p>
        </p:txBody>
      </p:sp>
      <p:pic>
        <p:nvPicPr>
          <p:cNvPr id="45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69835" y="3962803"/>
            <a:ext cx="143086" cy="231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5" name="Video icoon"/>
          <p:cNvGrpSpPr/>
          <p:nvPr userDrawn="1"/>
        </p:nvGrpSpPr>
        <p:grpSpPr>
          <a:xfrm>
            <a:off x="12753147" y="1125073"/>
            <a:ext cx="318325" cy="320332"/>
            <a:chOff x="8066315" y="1676399"/>
            <a:chExt cx="1371600" cy="1380253"/>
          </a:xfrm>
        </p:grpSpPr>
        <p:sp>
          <p:nvSpPr>
            <p:cNvPr id="36" name="Rechthoek 35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37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38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</p:spTree>
    <p:extLst>
      <p:ext uri="{BB962C8B-B14F-4D97-AF65-F5344CB8AC3E}">
        <p14:creationId xmlns:p14="http://schemas.microsoft.com/office/powerpoint/2010/main" val="101317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aangeslo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738"/>
            <a:ext cx="6096001" cy="644663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9E1E-E7A7-4A5D-8C01-6019C490D5B7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afbeelding</a:t>
            </a:r>
          </a:p>
        </p:txBody>
      </p:sp>
      <p:sp>
        <p:nvSpPr>
          <p:cNvPr id="176" name="Tijdelijke aanduiding voor afbeelding 175">
            <a:extLst>
              <a:ext uri="{FF2B5EF4-FFF2-40B4-BE49-F238E27FC236}">
                <a16:creationId xmlns:a16="http://schemas.microsoft.com/office/drawing/2014/main" id="{7C5210DE-B7D5-45EB-AABB-494A14F33D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443898"/>
          </a:xfrm>
          <a:custGeom>
            <a:avLst/>
            <a:gdLst>
              <a:gd name="connsiteX0" fmla="*/ 0 w 6096000"/>
              <a:gd name="connsiteY0" fmla="*/ 0 h 6443898"/>
              <a:gd name="connsiteX1" fmla="*/ 196406 w 6096000"/>
              <a:gd name="connsiteY1" fmla="*/ 0 h 6443898"/>
              <a:gd name="connsiteX2" fmla="*/ 368300 w 6096000"/>
              <a:gd name="connsiteY2" fmla="*/ 0 h 6443898"/>
              <a:gd name="connsiteX3" fmla="*/ 424269 w 6096000"/>
              <a:gd name="connsiteY3" fmla="*/ 0 h 6443898"/>
              <a:gd name="connsiteX4" fmla="*/ 2786743 w 6096000"/>
              <a:gd name="connsiteY4" fmla="*/ 0 h 6443898"/>
              <a:gd name="connsiteX5" fmla="*/ 6096000 w 6096000"/>
              <a:gd name="connsiteY5" fmla="*/ 0 h 6443898"/>
              <a:gd name="connsiteX6" fmla="*/ 6092827 w 6096000"/>
              <a:gd name="connsiteY6" fmla="*/ 6283249 h 6443898"/>
              <a:gd name="connsiteX7" fmla="*/ 5018687 w 6096000"/>
              <a:gd name="connsiteY7" fmla="*/ 6283249 h 6443898"/>
              <a:gd name="connsiteX8" fmla="*/ 4401628 w 6096000"/>
              <a:gd name="connsiteY8" fmla="*/ 6443348 h 6443898"/>
              <a:gd name="connsiteX9" fmla="*/ 424269 w 6096000"/>
              <a:gd name="connsiteY9" fmla="*/ 6443891 h 6443898"/>
              <a:gd name="connsiteX10" fmla="*/ 424269 w 6096000"/>
              <a:gd name="connsiteY10" fmla="*/ 6443898 h 6443898"/>
              <a:gd name="connsiteX11" fmla="*/ 368300 w 6096000"/>
              <a:gd name="connsiteY11" fmla="*/ 6443898 h 6443898"/>
              <a:gd name="connsiteX12" fmla="*/ 196406 w 6096000"/>
              <a:gd name="connsiteY12" fmla="*/ 6443898 h 6443898"/>
              <a:gd name="connsiteX13" fmla="*/ 0 w 6096000"/>
              <a:gd name="connsiteY13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96000" h="6443898">
                <a:moveTo>
                  <a:pt x="0" y="0"/>
                </a:moveTo>
                <a:lnTo>
                  <a:pt x="196406" y="0"/>
                </a:lnTo>
                <a:lnTo>
                  <a:pt x="368300" y="0"/>
                </a:lnTo>
                <a:lnTo>
                  <a:pt x="424269" y="0"/>
                </a:lnTo>
                <a:lnTo>
                  <a:pt x="2786743" y="0"/>
                </a:lnTo>
                <a:lnTo>
                  <a:pt x="6096000" y="0"/>
                </a:lnTo>
                <a:cubicBezTo>
                  <a:pt x="6094942" y="2094416"/>
                  <a:pt x="6093885" y="4188833"/>
                  <a:pt x="6092827" y="6283249"/>
                </a:cubicBezTo>
                <a:lnTo>
                  <a:pt x="5018687" y="6283249"/>
                </a:lnTo>
                <a:lnTo>
                  <a:pt x="4401628" y="6443348"/>
                </a:lnTo>
                <a:lnTo>
                  <a:pt x="424269" y="6443891"/>
                </a:lnTo>
                <a:lnTo>
                  <a:pt x="424269" y="6443898"/>
                </a:lnTo>
                <a:lnTo>
                  <a:pt x="368300" y="6443898"/>
                </a:lnTo>
                <a:lnTo>
                  <a:pt x="196406" y="6443898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46259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176" grpId="0" animBg="1"/>
    </p:bld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% Tekst + 7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8300" y="365126"/>
            <a:ext cx="2863850" cy="272814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2863850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DADCE-13AD-493E-B29F-B493E8FEBE4B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75% tekst + 25% afbeelding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5" hasCustomPrompt="1"/>
          </p:nvPr>
        </p:nvSpPr>
        <p:spPr>
          <a:xfrm>
            <a:off x="3600449" y="0"/>
            <a:ext cx="8591551" cy="6444288"/>
          </a:xfrm>
          <a:custGeom>
            <a:avLst/>
            <a:gdLst>
              <a:gd name="connsiteX0" fmla="*/ 0 w 8591551"/>
              <a:gd name="connsiteY0" fmla="*/ 0 h 6441603"/>
              <a:gd name="connsiteX1" fmla="*/ 8591551 w 8591551"/>
              <a:gd name="connsiteY1" fmla="*/ 0 h 6441603"/>
              <a:gd name="connsiteX2" fmla="*/ 8591551 w 8591551"/>
              <a:gd name="connsiteY2" fmla="*/ 6441603 h 6441603"/>
              <a:gd name="connsiteX3" fmla="*/ 8588378 w 8591551"/>
              <a:gd name="connsiteY3" fmla="*/ 6280152 h 6441603"/>
              <a:gd name="connsiteX4" fmla="*/ 7514238 w 8591551"/>
              <a:gd name="connsiteY4" fmla="*/ 6280152 h 6441603"/>
              <a:gd name="connsiteX5" fmla="*/ 6897179 w 8591551"/>
              <a:gd name="connsiteY5" fmla="*/ 6440172 h 6441603"/>
              <a:gd name="connsiteX6" fmla="*/ 0 w 8591551"/>
              <a:gd name="connsiteY6" fmla="*/ 6441112 h 6441603"/>
              <a:gd name="connsiteX0" fmla="*/ 0 w 8591551"/>
              <a:gd name="connsiteY0" fmla="*/ 0 h 6441112"/>
              <a:gd name="connsiteX1" fmla="*/ 8591551 w 8591551"/>
              <a:gd name="connsiteY1" fmla="*/ 0 h 6441112"/>
              <a:gd name="connsiteX2" fmla="*/ 8588378 w 8591551"/>
              <a:gd name="connsiteY2" fmla="*/ 6280152 h 6441112"/>
              <a:gd name="connsiteX3" fmla="*/ 7514238 w 8591551"/>
              <a:gd name="connsiteY3" fmla="*/ 6280152 h 6441112"/>
              <a:gd name="connsiteX4" fmla="*/ 6897179 w 8591551"/>
              <a:gd name="connsiteY4" fmla="*/ 6440172 h 6441112"/>
              <a:gd name="connsiteX5" fmla="*/ 0 w 8591551"/>
              <a:gd name="connsiteY5" fmla="*/ 6441112 h 6441112"/>
              <a:gd name="connsiteX6" fmla="*/ 0 w 8591551"/>
              <a:gd name="connsiteY6" fmla="*/ 0 h 6441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91551" h="6441112">
                <a:moveTo>
                  <a:pt x="0" y="0"/>
                </a:moveTo>
                <a:lnTo>
                  <a:pt x="8591551" y="0"/>
                </a:lnTo>
                <a:cubicBezTo>
                  <a:pt x="8590493" y="2093384"/>
                  <a:pt x="8589436" y="4186768"/>
                  <a:pt x="8588378" y="6280152"/>
                </a:cubicBezTo>
                <a:lnTo>
                  <a:pt x="7514238" y="6280152"/>
                </a:lnTo>
                <a:lnTo>
                  <a:pt x="6897179" y="6440172"/>
                </a:lnTo>
                <a:lnTo>
                  <a:pt x="0" y="644111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369697" y="743900"/>
            <a:ext cx="28624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grpSp>
        <p:nvGrpSpPr>
          <p:cNvPr id="35" name="Groep 34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3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1" name="Rechthoek 4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42" name="Ovaal 4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4" name="Rechthoek 4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5" name="Rechte verbindingslijn 4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Rechthoek 4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8" name="Groep 4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8" name="Groep 9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2" name="Rechte verbindingslijn 10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9" name="Groep 9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0" name="Rechthoek 9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1" name="Pijl: punthaak 10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9" name="Groep 4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2" name="Groep 5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8" name="Rechthoek 7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9" name="Groep 7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0" name="Groep 7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4" name="Rechte verbindingslijn 8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2" name="Rechthoek 8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3" name="Pijl: punthaak 8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7" name="Rechthoek 6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9" name="Groep 6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3" name="Rechte verbindingslijn 7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0" name="Groep 6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1" name="Rechthoek 7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2" name="Pijl: punthaak 7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4" name="Rechthoek 5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5" name="Rechthoek 5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58" name="Ovaal 5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0" name="Ovaal 5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1" name="Rechthoek 6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9" name="Rechthoek 3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0" name="Rechte verbindingslijn 3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7" name="Groep 10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8" name="Afbeelding 10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0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14" name="Rechthoek 11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15" name="Ovaal 11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6" name="Rechte verbindingslijn 11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7" name="Rechte verbindingslijn 11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8" name="Rechthoek 11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9" name="Rechte verbindingslijn 11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20" name="Ovaal 11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21" name="Rechthoek 12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22" name="Groep 12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55" name="Rechthoek 15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57" name="Gelijkbenige driehoek 15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3" name="Groep 12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49" name="Rechthoek 14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Ovaal 14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" name="Vrije vorm: vorm 15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" name="Rechthoek: afgeronde hoeken 15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53" name="Rechte verbindingslijn 15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54" name="Rechte verbindingslijn 153"/>
                <p:cNvCxnSpPr>
                  <a:cxnSpLocks/>
                  <a:stCxn id="15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24" name="Ovaal 12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27" name="Groep 12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8" name="Rechthoek 12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Rechthoek 12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43" name="Rechthoek: afgeronde hoeken 14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5" name="Rechthoek 14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31" name="Groep 13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5" name="Groep 13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7" name="Rechthoek: afgeronde hoeken 13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9" name="Rechthoek 13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Rechthoek 13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1" name="Rechthoek 14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2" name="Rechthoek 14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36" name="Boog 13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32" name="Tekstvak 13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33" name="Tekstvak 132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1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12" name="Rechthoek 11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3" name="Rechte verbindingslijn 11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956391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Blauw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F3EEB-37A8-4112-A67A-DC30F2463893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7950200" y="-279400"/>
            <a:ext cx="4241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afbeelding (Titel blauw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03867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Wit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1F5B1-2829-43CA-9C0C-EADE9C4E1B73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8242300" y="-279400"/>
            <a:ext cx="3949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afbeelding (Titel wit 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994727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Afbeelding 6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19" y="3229990"/>
            <a:ext cx="1639482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42872"/>
              <a:gd name="connsiteX1" fmla="*/ 12192000 w 12192000"/>
              <a:gd name="connsiteY1" fmla="*/ 0 h 6442872"/>
              <a:gd name="connsiteX2" fmla="*/ 12192000 w 12192000"/>
              <a:gd name="connsiteY2" fmla="*/ 6442872 h 6442872"/>
              <a:gd name="connsiteX3" fmla="*/ 12188827 w 12192000"/>
              <a:gd name="connsiteY3" fmla="*/ 6281739 h 6442872"/>
              <a:gd name="connsiteX4" fmla="*/ 11114687 w 12192000"/>
              <a:gd name="connsiteY4" fmla="*/ 6281739 h 6442872"/>
              <a:gd name="connsiteX5" fmla="*/ 10497628 w 12192000"/>
              <a:gd name="connsiteY5" fmla="*/ 6441444 h 6442872"/>
              <a:gd name="connsiteX6" fmla="*/ 0 w 12192000"/>
              <a:gd name="connsiteY6" fmla="*/ 6442872 h 6442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42872">
                <a:moveTo>
                  <a:pt x="0" y="0"/>
                </a:moveTo>
                <a:lnTo>
                  <a:pt x="12192000" y="0"/>
                </a:lnTo>
                <a:lnTo>
                  <a:pt x="12192000" y="6442872"/>
                </a:lnTo>
                <a:lnTo>
                  <a:pt x="12188827" y="6281739"/>
                </a:lnTo>
                <a:lnTo>
                  <a:pt x="11114687" y="6281739"/>
                </a:lnTo>
                <a:lnTo>
                  <a:pt x="10497628" y="6441444"/>
                </a:lnTo>
                <a:lnTo>
                  <a:pt x="0" y="64428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AEAFE-FCAC-47AA-A7CC-21B96966E72E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video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Meer informatie"/>
          <p:cNvGrpSpPr/>
          <p:nvPr userDrawn="1"/>
        </p:nvGrpSpPr>
        <p:grpSpPr>
          <a:xfrm>
            <a:off x="12396764" y="4434421"/>
            <a:ext cx="3178515" cy="783273"/>
            <a:chOff x="-3741486" y="3359148"/>
            <a:chExt cx="3178515" cy="783273"/>
          </a:xfrm>
        </p:grpSpPr>
        <p:sp>
          <p:nvSpPr>
            <p:cNvPr id="15" name="Freeform 101"/>
            <p:cNvSpPr>
              <a:spLocks noEditPoints="1"/>
            </p:cNvSpPr>
            <p:nvPr/>
          </p:nvSpPr>
          <p:spPr bwMode="auto">
            <a:xfrm>
              <a:off x="-3741486" y="3359148"/>
              <a:ext cx="255753" cy="255753"/>
            </a:xfrm>
            <a:custGeom>
              <a:avLst/>
              <a:gdLst>
                <a:gd name="T0" fmla="*/ 0 w 292"/>
                <a:gd name="T1" fmla="*/ 146 h 292"/>
                <a:gd name="T2" fmla="*/ 4 w 292"/>
                <a:gd name="T3" fmla="*/ 113 h 292"/>
                <a:gd name="T4" fmla="*/ 14 w 292"/>
                <a:gd name="T5" fmla="*/ 82 h 292"/>
                <a:gd name="T6" fmla="*/ 31 w 292"/>
                <a:gd name="T7" fmla="*/ 55 h 292"/>
                <a:gd name="T8" fmla="*/ 53 w 292"/>
                <a:gd name="T9" fmla="*/ 32 h 292"/>
                <a:gd name="T10" fmla="*/ 81 w 292"/>
                <a:gd name="T11" fmla="*/ 15 h 292"/>
                <a:gd name="T12" fmla="*/ 112 w 292"/>
                <a:gd name="T13" fmla="*/ 4 h 292"/>
                <a:gd name="T14" fmla="*/ 145 w 292"/>
                <a:gd name="T15" fmla="*/ 0 h 292"/>
                <a:gd name="T16" fmla="*/ 179 w 292"/>
                <a:gd name="T17" fmla="*/ 4 h 292"/>
                <a:gd name="T18" fmla="*/ 209 w 292"/>
                <a:gd name="T19" fmla="*/ 15 h 292"/>
                <a:gd name="T20" fmla="*/ 237 w 292"/>
                <a:gd name="T21" fmla="*/ 32 h 292"/>
                <a:gd name="T22" fmla="*/ 259 w 292"/>
                <a:gd name="T23" fmla="*/ 55 h 292"/>
                <a:gd name="T24" fmla="*/ 276 w 292"/>
                <a:gd name="T25" fmla="*/ 82 h 292"/>
                <a:gd name="T26" fmla="*/ 288 w 292"/>
                <a:gd name="T27" fmla="*/ 113 h 292"/>
                <a:gd name="T28" fmla="*/ 292 w 292"/>
                <a:gd name="T29" fmla="*/ 146 h 292"/>
                <a:gd name="T30" fmla="*/ 288 w 292"/>
                <a:gd name="T31" fmla="*/ 180 h 292"/>
                <a:gd name="T32" fmla="*/ 276 w 292"/>
                <a:gd name="T33" fmla="*/ 210 h 292"/>
                <a:gd name="T34" fmla="*/ 259 w 292"/>
                <a:gd name="T35" fmla="*/ 237 h 292"/>
                <a:gd name="T36" fmla="*/ 237 w 292"/>
                <a:gd name="T37" fmla="*/ 260 h 292"/>
                <a:gd name="T38" fmla="*/ 209 w 292"/>
                <a:gd name="T39" fmla="*/ 278 h 292"/>
                <a:gd name="T40" fmla="*/ 179 w 292"/>
                <a:gd name="T41" fmla="*/ 288 h 292"/>
                <a:gd name="T42" fmla="*/ 145 w 292"/>
                <a:gd name="T43" fmla="*/ 292 h 292"/>
                <a:gd name="T44" fmla="*/ 112 w 292"/>
                <a:gd name="T45" fmla="*/ 288 h 292"/>
                <a:gd name="T46" fmla="*/ 81 w 292"/>
                <a:gd name="T47" fmla="*/ 278 h 292"/>
                <a:gd name="T48" fmla="*/ 53 w 292"/>
                <a:gd name="T49" fmla="*/ 260 h 292"/>
                <a:gd name="T50" fmla="*/ 31 w 292"/>
                <a:gd name="T51" fmla="*/ 237 h 292"/>
                <a:gd name="T52" fmla="*/ 14 w 292"/>
                <a:gd name="T53" fmla="*/ 210 h 292"/>
                <a:gd name="T54" fmla="*/ 4 w 292"/>
                <a:gd name="T55" fmla="*/ 180 h 292"/>
                <a:gd name="T56" fmla="*/ 0 w 292"/>
                <a:gd name="T57" fmla="*/ 146 h 292"/>
                <a:gd name="T58" fmla="*/ 102 w 292"/>
                <a:gd name="T59" fmla="*/ 121 h 292"/>
                <a:gd name="T60" fmla="*/ 102 w 292"/>
                <a:gd name="T61" fmla="*/ 142 h 292"/>
                <a:gd name="T62" fmla="*/ 120 w 292"/>
                <a:gd name="T63" fmla="*/ 142 h 292"/>
                <a:gd name="T64" fmla="*/ 120 w 292"/>
                <a:gd name="T65" fmla="*/ 223 h 292"/>
                <a:gd name="T66" fmla="*/ 102 w 292"/>
                <a:gd name="T67" fmla="*/ 223 h 292"/>
                <a:gd name="T68" fmla="*/ 102 w 292"/>
                <a:gd name="T69" fmla="*/ 244 h 292"/>
                <a:gd name="T70" fmla="*/ 188 w 292"/>
                <a:gd name="T71" fmla="*/ 244 h 292"/>
                <a:gd name="T72" fmla="*/ 188 w 292"/>
                <a:gd name="T73" fmla="*/ 223 h 292"/>
                <a:gd name="T74" fmla="*/ 170 w 292"/>
                <a:gd name="T75" fmla="*/ 223 h 292"/>
                <a:gd name="T76" fmla="*/ 170 w 292"/>
                <a:gd name="T77" fmla="*/ 142 h 292"/>
                <a:gd name="T78" fmla="*/ 188 w 292"/>
                <a:gd name="T79" fmla="*/ 142 h 292"/>
                <a:gd name="T80" fmla="*/ 188 w 292"/>
                <a:gd name="T81" fmla="*/ 121 h 292"/>
                <a:gd name="T82" fmla="*/ 102 w 292"/>
                <a:gd name="T83" fmla="*/ 121 h 292"/>
                <a:gd name="T84" fmla="*/ 115 w 292"/>
                <a:gd name="T85" fmla="*/ 79 h 292"/>
                <a:gd name="T86" fmla="*/ 117 w 292"/>
                <a:gd name="T87" fmla="*/ 92 h 292"/>
                <a:gd name="T88" fmla="*/ 124 w 292"/>
                <a:gd name="T89" fmla="*/ 101 h 292"/>
                <a:gd name="T90" fmla="*/ 133 w 292"/>
                <a:gd name="T91" fmla="*/ 108 h 292"/>
                <a:gd name="T92" fmla="*/ 145 w 292"/>
                <a:gd name="T93" fmla="*/ 110 h 292"/>
                <a:gd name="T94" fmla="*/ 157 w 292"/>
                <a:gd name="T95" fmla="*/ 108 h 292"/>
                <a:gd name="T96" fmla="*/ 167 w 292"/>
                <a:gd name="T97" fmla="*/ 101 h 292"/>
                <a:gd name="T98" fmla="*/ 174 w 292"/>
                <a:gd name="T99" fmla="*/ 92 h 292"/>
                <a:gd name="T100" fmla="*/ 176 w 292"/>
                <a:gd name="T101" fmla="*/ 79 h 292"/>
                <a:gd name="T102" fmla="*/ 174 w 292"/>
                <a:gd name="T103" fmla="*/ 67 h 292"/>
                <a:gd name="T104" fmla="*/ 167 w 292"/>
                <a:gd name="T105" fmla="*/ 58 h 292"/>
                <a:gd name="T106" fmla="*/ 157 w 292"/>
                <a:gd name="T107" fmla="*/ 51 h 292"/>
                <a:gd name="T108" fmla="*/ 145 w 292"/>
                <a:gd name="T109" fmla="*/ 49 h 292"/>
                <a:gd name="T110" fmla="*/ 133 w 292"/>
                <a:gd name="T111" fmla="*/ 51 h 292"/>
                <a:gd name="T112" fmla="*/ 124 w 292"/>
                <a:gd name="T113" fmla="*/ 58 h 292"/>
                <a:gd name="T114" fmla="*/ 117 w 292"/>
                <a:gd name="T115" fmla="*/ 67 h 292"/>
                <a:gd name="T116" fmla="*/ 115 w 292"/>
                <a:gd name="T117" fmla="*/ 79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2" h="292">
                  <a:moveTo>
                    <a:pt x="0" y="146"/>
                  </a:moveTo>
                  <a:lnTo>
                    <a:pt x="4" y="113"/>
                  </a:lnTo>
                  <a:lnTo>
                    <a:pt x="14" y="82"/>
                  </a:lnTo>
                  <a:lnTo>
                    <a:pt x="31" y="55"/>
                  </a:lnTo>
                  <a:lnTo>
                    <a:pt x="53" y="32"/>
                  </a:lnTo>
                  <a:lnTo>
                    <a:pt x="81" y="15"/>
                  </a:lnTo>
                  <a:lnTo>
                    <a:pt x="112" y="4"/>
                  </a:lnTo>
                  <a:lnTo>
                    <a:pt x="145" y="0"/>
                  </a:lnTo>
                  <a:lnTo>
                    <a:pt x="179" y="4"/>
                  </a:lnTo>
                  <a:lnTo>
                    <a:pt x="209" y="15"/>
                  </a:lnTo>
                  <a:lnTo>
                    <a:pt x="237" y="32"/>
                  </a:lnTo>
                  <a:lnTo>
                    <a:pt x="259" y="55"/>
                  </a:lnTo>
                  <a:lnTo>
                    <a:pt x="276" y="82"/>
                  </a:lnTo>
                  <a:lnTo>
                    <a:pt x="288" y="113"/>
                  </a:lnTo>
                  <a:lnTo>
                    <a:pt x="292" y="146"/>
                  </a:lnTo>
                  <a:lnTo>
                    <a:pt x="288" y="180"/>
                  </a:lnTo>
                  <a:lnTo>
                    <a:pt x="276" y="210"/>
                  </a:lnTo>
                  <a:lnTo>
                    <a:pt x="259" y="237"/>
                  </a:lnTo>
                  <a:lnTo>
                    <a:pt x="237" y="260"/>
                  </a:lnTo>
                  <a:lnTo>
                    <a:pt x="209" y="278"/>
                  </a:lnTo>
                  <a:lnTo>
                    <a:pt x="179" y="288"/>
                  </a:lnTo>
                  <a:lnTo>
                    <a:pt x="145" y="292"/>
                  </a:lnTo>
                  <a:lnTo>
                    <a:pt x="112" y="288"/>
                  </a:lnTo>
                  <a:lnTo>
                    <a:pt x="81" y="278"/>
                  </a:lnTo>
                  <a:lnTo>
                    <a:pt x="53" y="260"/>
                  </a:lnTo>
                  <a:lnTo>
                    <a:pt x="31" y="237"/>
                  </a:lnTo>
                  <a:lnTo>
                    <a:pt x="14" y="210"/>
                  </a:lnTo>
                  <a:lnTo>
                    <a:pt x="4" y="180"/>
                  </a:lnTo>
                  <a:lnTo>
                    <a:pt x="0" y="146"/>
                  </a:lnTo>
                  <a:close/>
                  <a:moveTo>
                    <a:pt x="102" y="121"/>
                  </a:moveTo>
                  <a:lnTo>
                    <a:pt x="102" y="142"/>
                  </a:lnTo>
                  <a:lnTo>
                    <a:pt x="120" y="142"/>
                  </a:lnTo>
                  <a:lnTo>
                    <a:pt x="120" y="223"/>
                  </a:lnTo>
                  <a:lnTo>
                    <a:pt x="102" y="223"/>
                  </a:lnTo>
                  <a:lnTo>
                    <a:pt x="102" y="244"/>
                  </a:lnTo>
                  <a:lnTo>
                    <a:pt x="188" y="244"/>
                  </a:lnTo>
                  <a:lnTo>
                    <a:pt x="188" y="223"/>
                  </a:lnTo>
                  <a:lnTo>
                    <a:pt x="170" y="223"/>
                  </a:lnTo>
                  <a:lnTo>
                    <a:pt x="170" y="142"/>
                  </a:lnTo>
                  <a:lnTo>
                    <a:pt x="188" y="142"/>
                  </a:lnTo>
                  <a:lnTo>
                    <a:pt x="188" y="121"/>
                  </a:lnTo>
                  <a:lnTo>
                    <a:pt x="102" y="121"/>
                  </a:lnTo>
                  <a:close/>
                  <a:moveTo>
                    <a:pt x="115" y="79"/>
                  </a:moveTo>
                  <a:lnTo>
                    <a:pt x="117" y="92"/>
                  </a:lnTo>
                  <a:lnTo>
                    <a:pt x="124" y="101"/>
                  </a:lnTo>
                  <a:lnTo>
                    <a:pt x="133" y="108"/>
                  </a:lnTo>
                  <a:lnTo>
                    <a:pt x="145" y="110"/>
                  </a:lnTo>
                  <a:lnTo>
                    <a:pt x="157" y="108"/>
                  </a:lnTo>
                  <a:lnTo>
                    <a:pt x="167" y="101"/>
                  </a:lnTo>
                  <a:lnTo>
                    <a:pt x="174" y="92"/>
                  </a:lnTo>
                  <a:lnTo>
                    <a:pt x="176" y="79"/>
                  </a:lnTo>
                  <a:lnTo>
                    <a:pt x="174" y="67"/>
                  </a:lnTo>
                  <a:lnTo>
                    <a:pt x="167" y="58"/>
                  </a:lnTo>
                  <a:lnTo>
                    <a:pt x="157" y="51"/>
                  </a:lnTo>
                  <a:lnTo>
                    <a:pt x="145" y="49"/>
                  </a:lnTo>
                  <a:lnTo>
                    <a:pt x="133" y="51"/>
                  </a:lnTo>
                  <a:lnTo>
                    <a:pt x="124" y="58"/>
                  </a:lnTo>
                  <a:lnTo>
                    <a:pt x="117" y="67"/>
                  </a:lnTo>
                  <a:lnTo>
                    <a:pt x="115" y="79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100" noProof="0"/>
            </a:p>
          </p:txBody>
        </p:sp>
        <p:sp>
          <p:nvSpPr>
            <p:cNvPr id="16" name="Rechthoek 15"/>
            <p:cNvSpPr/>
            <p:nvPr userDrawn="1"/>
          </p:nvSpPr>
          <p:spPr>
            <a:xfrm>
              <a:off x="-3380966" y="3431177"/>
              <a:ext cx="2817995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Meer weten?</a:t>
              </a:r>
              <a:b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a naar dia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instructies – YouTube links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open deze in de diavoorstelling en klik op de gewenste video link.</a:t>
              </a:r>
            </a:p>
          </p:txBody>
        </p:sp>
        <p:cxnSp>
          <p:nvCxnSpPr>
            <p:cNvPr id="17" name="Rechte verbindingslijn 16"/>
            <p:cNvCxnSpPr>
              <a:cxnSpLocks/>
            </p:cNvCxnSpPr>
            <p:nvPr userDrawn="1"/>
          </p:nvCxnSpPr>
          <p:spPr>
            <a:xfrm>
              <a:off x="-3740987" y="4142421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</p:grpSp>
      <p:sp>
        <p:nvSpPr>
          <p:cNvPr id="21" name="Rechthoek 20"/>
          <p:cNvSpPr/>
          <p:nvPr userDrawn="1"/>
        </p:nvSpPr>
        <p:spPr>
          <a:xfrm>
            <a:off x="12397264" y="-17883"/>
            <a:ext cx="3178016" cy="19161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0" cap="all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Video invoegen</a:t>
            </a:r>
          </a:p>
        </p:txBody>
      </p:sp>
      <p:sp>
        <p:nvSpPr>
          <p:cNvPr id="22" name="Ovaal 21"/>
          <p:cNvSpPr/>
          <p:nvPr userDrawn="1"/>
        </p:nvSpPr>
        <p:spPr>
          <a:xfrm>
            <a:off x="12391603" y="348607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1</a:t>
            </a:r>
          </a:p>
        </p:txBody>
      </p:sp>
      <p:cxnSp>
        <p:nvCxnSpPr>
          <p:cNvPr id="24" name="Rechte verbindingslijn 23"/>
          <p:cNvCxnSpPr>
            <a:cxnSpLocks/>
          </p:cNvCxnSpPr>
          <p:nvPr userDrawn="1"/>
        </p:nvCxnSpPr>
        <p:spPr>
          <a:xfrm>
            <a:off x="12397263" y="223752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25" name="Rechte verbindingslijn 24"/>
          <p:cNvCxnSpPr>
            <a:cxnSpLocks/>
          </p:cNvCxnSpPr>
          <p:nvPr userDrawn="1"/>
        </p:nvCxnSpPr>
        <p:spPr>
          <a:xfrm>
            <a:off x="12397263" y="1560050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6" name="Rechthoek 25"/>
          <p:cNvSpPr/>
          <p:nvPr userDrawn="1"/>
        </p:nvSpPr>
        <p:spPr>
          <a:xfrm>
            <a:off x="12757284" y="414669"/>
            <a:ext cx="2817995" cy="59542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Wanneer nodig, verwijder de bestaande afbeelding/video. Klik op het pictogram om een nieuwe video in te voegen.</a:t>
            </a:r>
            <a:b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nl-NL" sz="11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(zie onderstaand voorbeeld)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cxnSp>
        <p:nvCxnSpPr>
          <p:cNvPr id="27" name="Rechte verbindingslijn 26"/>
          <p:cNvCxnSpPr>
            <a:cxnSpLocks/>
          </p:cNvCxnSpPr>
          <p:nvPr userDrawn="1"/>
        </p:nvCxnSpPr>
        <p:spPr>
          <a:xfrm>
            <a:off x="12397263" y="4316583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8" name="Ovaal 27"/>
          <p:cNvSpPr/>
          <p:nvPr userDrawn="1"/>
        </p:nvSpPr>
        <p:spPr>
          <a:xfrm>
            <a:off x="12391603" y="1688515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29" name="Rechthoek 28"/>
          <p:cNvSpPr/>
          <p:nvPr userDrawn="1"/>
        </p:nvSpPr>
        <p:spPr>
          <a:xfrm>
            <a:off x="12757284" y="1754578"/>
            <a:ext cx="2817995" cy="3180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Selecteer de gewenste video</a:t>
            </a:r>
            <a:b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en klik op </a:t>
            </a:r>
            <a:r>
              <a: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‘Invoegen’</a:t>
            </a: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.</a:t>
            </a:r>
            <a:endParaRPr kumimoji="0" lang="nl-NL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grpSp>
        <p:nvGrpSpPr>
          <p:cNvPr id="30" name="Groep 29"/>
          <p:cNvGrpSpPr/>
          <p:nvPr userDrawn="1"/>
        </p:nvGrpSpPr>
        <p:grpSpPr>
          <a:xfrm>
            <a:off x="12757284" y="2166624"/>
            <a:ext cx="825500" cy="209550"/>
            <a:chOff x="12757284" y="2166624"/>
            <a:chExt cx="825500" cy="209550"/>
          </a:xfrm>
        </p:grpSpPr>
        <p:sp>
          <p:nvSpPr>
            <p:cNvPr id="60" name="Rechthoek 59"/>
            <p:cNvSpPr/>
            <p:nvPr userDrawn="1"/>
          </p:nvSpPr>
          <p:spPr>
            <a:xfrm>
              <a:off x="12757284" y="2166624"/>
              <a:ext cx="825500" cy="209550"/>
            </a:xfrm>
            <a:prstGeom prst="rect">
              <a:avLst/>
            </a:prstGeom>
            <a:solidFill>
              <a:srgbClr val="E5F1FB"/>
            </a:solidFill>
            <a:ln w="12700">
              <a:solidFill>
                <a:srgbClr val="0B7E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voegen</a:t>
              </a:r>
            </a:p>
          </p:txBody>
        </p:sp>
        <p:cxnSp>
          <p:nvCxnSpPr>
            <p:cNvPr id="61" name="Rechte verbindingslijn 60"/>
            <p:cNvCxnSpPr/>
            <p:nvPr userDrawn="1"/>
          </p:nvCxnSpPr>
          <p:spPr>
            <a:xfrm>
              <a:off x="13407929" y="2199024"/>
              <a:ext cx="0" cy="142717"/>
            </a:xfrm>
            <a:prstGeom prst="line">
              <a:avLst/>
            </a:prstGeom>
            <a:noFill/>
            <a:ln w="3175" cap="flat" cmpd="sng" algn="ctr">
              <a:solidFill>
                <a:srgbClr val="44546A"/>
              </a:solidFill>
              <a:prstDash val="solid"/>
            </a:ln>
            <a:effectLst/>
          </p:spPr>
        </p:cxnSp>
        <p:sp>
          <p:nvSpPr>
            <p:cNvPr id="62" name="Gelijkbenige driehoek 61"/>
            <p:cNvSpPr/>
            <p:nvPr userDrawn="1"/>
          </p:nvSpPr>
          <p:spPr>
            <a:xfrm rot="10800000">
              <a:off x="13448749" y="2250678"/>
              <a:ext cx="86866" cy="51147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</p:grpSp>
      <p:sp>
        <p:nvSpPr>
          <p:cNvPr id="31" name="Ovaal 30"/>
          <p:cNvSpPr/>
          <p:nvPr userDrawn="1"/>
        </p:nvSpPr>
        <p:spPr>
          <a:xfrm>
            <a:off x="12391603" y="2613716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32" name="Rechthoek 31"/>
          <p:cNvSpPr/>
          <p:nvPr userDrawn="1"/>
        </p:nvSpPr>
        <p:spPr>
          <a:xfrm>
            <a:off x="12757285" y="2679780"/>
            <a:ext cx="2817996" cy="6259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Klik met de rechter muisknop op de miniatuurweergave van de dia en kies</a:t>
            </a:r>
            <a:b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´Dia herstellen´</a:t>
            </a: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.</a:t>
            </a:r>
            <a:endParaRPr kumimoji="0" lang="nl-NL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cxnSp>
        <p:nvCxnSpPr>
          <p:cNvPr id="33" name="Rechte verbindingslijn 32"/>
          <p:cNvCxnSpPr>
            <a:cxnSpLocks/>
          </p:cNvCxnSpPr>
          <p:nvPr userDrawn="1"/>
        </p:nvCxnSpPr>
        <p:spPr>
          <a:xfrm>
            <a:off x="12397263" y="2481906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39" name="Rechthoek 38"/>
          <p:cNvSpPr/>
          <p:nvPr userDrawn="1"/>
        </p:nvSpPr>
        <p:spPr>
          <a:xfrm>
            <a:off x="13717198" y="3515867"/>
            <a:ext cx="1176476" cy="580946"/>
          </a:xfrm>
          <a:prstGeom prst="rect">
            <a:avLst/>
          </a:prstGeom>
          <a:solidFill>
            <a:schemeClr val="bg1"/>
          </a:solidFill>
          <a:ln w="12700">
            <a:solidFill>
              <a:srgbClr val="D1D1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nl-NL" sz="800" b="0" noProof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hthoek 39"/>
          <p:cNvSpPr/>
          <p:nvPr userDrawn="1"/>
        </p:nvSpPr>
        <p:spPr>
          <a:xfrm>
            <a:off x="13739162" y="3827256"/>
            <a:ext cx="1145758" cy="261256"/>
          </a:xfrm>
          <a:prstGeom prst="rect">
            <a:avLst/>
          </a:prstGeom>
          <a:solidFill>
            <a:srgbClr val="FCE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noProof="0">
              <a:solidFill>
                <a:schemeClr val="tx1"/>
              </a:solidFill>
            </a:endParaRPr>
          </a:p>
        </p:txBody>
      </p:sp>
      <p:grpSp>
        <p:nvGrpSpPr>
          <p:cNvPr id="41" name="Groep 40"/>
          <p:cNvGrpSpPr/>
          <p:nvPr userDrawn="1"/>
        </p:nvGrpSpPr>
        <p:grpSpPr>
          <a:xfrm>
            <a:off x="13799148" y="3581369"/>
            <a:ext cx="155951" cy="131922"/>
            <a:chOff x="12968836" y="3354170"/>
            <a:chExt cx="404806" cy="342433"/>
          </a:xfrm>
        </p:grpSpPr>
        <p:sp>
          <p:nvSpPr>
            <p:cNvPr id="54" name="Rechthoek: afgeronde hoeken 53"/>
            <p:cNvSpPr/>
            <p:nvPr userDrawn="1"/>
          </p:nvSpPr>
          <p:spPr>
            <a:xfrm>
              <a:off x="12968836" y="3354170"/>
              <a:ext cx="404806" cy="342433"/>
            </a:xfrm>
            <a:prstGeom prst="roundRect">
              <a:avLst>
                <a:gd name="adj" fmla="val 2911"/>
              </a:avLst>
            </a:prstGeom>
            <a:solidFill>
              <a:schemeClr val="bg1"/>
            </a:solidFill>
            <a:ln w="12700">
              <a:solidFill>
                <a:srgbClr val="8181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Rechthoek 54"/>
            <p:cNvSpPr/>
            <p:nvPr userDrawn="1"/>
          </p:nvSpPr>
          <p:spPr>
            <a:xfrm>
              <a:off x="13025180" y="3401181"/>
              <a:ext cx="305213" cy="41563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6" name="Rechthoek 55"/>
            <p:cNvSpPr/>
            <p:nvPr userDrawn="1"/>
          </p:nvSpPr>
          <p:spPr>
            <a:xfrm>
              <a:off x="13025181" y="3471575"/>
              <a:ext cx="118778" cy="181691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7" name="Rechthoek 56"/>
            <p:cNvSpPr/>
            <p:nvPr userDrawn="1"/>
          </p:nvSpPr>
          <p:spPr>
            <a:xfrm>
              <a:off x="13180812" y="3481982"/>
              <a:ext cx="13527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8" name="Rechthoek 57"/>
            <p:cNvSpPr/>
            <p:nvPr userDrawn="1"/>
          </p:nvSpPr>
          <p:spPr>
            <a:xfrm>
              <a:off x="13180812" y="3554800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9" name="Rechthoek 58"/>
            <p:cNvSpPr/>
            <p:nvPr userDrawn="1"/>
          </p:nvSpPr>
          <p:spPr>
            <a:xfrm>
              <a:off x="13180812" y="3627618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oep 41"/>
          <p:cNvGrpSpPr/>
          <p:nvPr userDrawn="1"/>
        </p:nvGrpSpPr>
        <p:grpSpPr>
          <a:xfrm>
            <a:off x="13779593" y="3880692"/>
            <a:ext cx="166739" cy="218963"/>
            <a:chOff x="12940828" y="3950597"/>
            <a:chExt cx="432813" cy="568367"/>
          </a:xfrm>
        </p:grpSpPr>
        <p:grpSp>
          <p:nvGrpSpPr>
            <p:cNvPr id="46" name="Groep 45"/>
            <p:cNvGrpSpPr/>
            <p:nvPr userDrawn="1"/>
          </p:nvGrpSpPr>
          <p:grpSpPr>
            <a:xfrm>
              <a:off x="13000382" y="4006891"/>
              <a:ext cx="373259" cy="315747"/>
              <a:chOff x="12968836" y="3354170"/>
              <a:chExt cx="404806" cy="342433"/>
            </a:xfrm>
          </p:grpSpPr>
          <p:sp>
            <p:nvSpPr>
              <p:cNvPr id="48" name="Rechthoek: afgeronde hoeken 47"/>
              <p:cNvSpPr/>
              <p:nvPr userDrawn="1"/>
            </p:nvSpPr>
            <p:spPr>
              <a:xfrm>
                <a:off x="12968836" y="3354170"/>
                <a:ext cx="404806" cy="342433"/>
              </a:xfrm>
              <a:prstGeom prst="roundRect">
                <a:avLst>
                  <a:gd name="adj" fmla="val 2911"/>
                </a:avLst>
              </a:prstGeom>
              <a:solidFill>
                <a:schemeClr val="bg1"/>
              </a:solidFill>
              <a:ln w="12700">
                <a:solidFill>
                  <a:srgbClr val="81818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Rechthoek 48"/>
              <p:cNvSpPr/>
              <p:nvPr userDrawn="1"/>
            </p:nvSpPr>
            <p:spPr>
              <a:xfrm>
                <a:off x="13025180" y="3401181"/>
                <a:ext cx="305213" cy="4156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13025181" y="3471575"/>
                <a:ext cx="118778" cy="181691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Rechthoek 50"/>
              <p:cNvSpPr/>
              <p:nvPr userDrawn="1"/>
            </p:nvSpPr>
            <p:spPr>
              <a:xfrm>
                <a:off x="13180812" y="3481982"/>
                <a:ext cx="13527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13180812" y="3554800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Rechthoek 52"/>
              <p:cNvSpPr/>
              <p:nvPr userDrawn="1"/>
            </p:nvSpPr>
            <p:spPr>
              <a:xfrm>
                <a:off x="13180812" y="3627618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7" name="Boog 46"/>
            <p:cNvSpPr/>
            <p:nvPr userDrawn="1"/>
          </p:nvSpPr>
          <p:spPr>
            <a:xfrm rot="17637075">
              <a:off x="12776155" y="4115270"/>
              <a:ext cx="568367" cy="239021"/>
            </a:xfrm>
            <a:prstGeom prst="arc">
              <a:avLst>
                <a:gd name="adj1" fmla="val 15959368"/>
                <a:gd name="adj2" fmla="val 1354623"/>
              </a:avLst>
            </a:prstGeom>
            <a:noFill/>
            <a:ln w="19050" cap="flat" cmpd="sng" algn="ctr">
              <a:solidFill>
                <a:srgbClr val="4D82B8"/>
              </a:solidFill>
              <a:prstDash val="solid"/>
              <a:headEnd type="arrow" w="med" len="sm"/>
            </a:ln>
            <a:effectLst/>
          </p:spPr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3" name="Tekstvak 42"/>
          <p:cNvSpPr txBox="1"/>
          <p:nvPr userDrawn="1"/>
        </p:nvSpPr>
        <p:spPr>
          <a:xfrm>
            <a:off x="13957562" y="3554977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12175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b="0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eling</a:t>
            </a:r>
          </a:p>
        </p:txBody>
      </p:sp>
      <p:sp>
        <p:nvSpPr>
          <p:cNvPr id="44" name="Tekstvak 43"/>
          <p:cNvSpPr txBox="1"/>
          <p:nvPr userDrawn="1"/>
        </p:nvSpPr>
        <p:spPr>
          <a:xfrm>
            <a:off x="13944133" y="3876103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12175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b="0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a Herstellen</a:t>
            </a:r>
          </a:p>
        </p:txBody>
      </p:sp>
      <p:pic>
        <p:nvPicPr>
          <p:cNvPr id="45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69835" y="3962803"/>
            <a:ext cx="143086" cy="231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5" name="Video icoon"/>
          <p:cNvGrpSpPr/>
          <p:nvPr userDrawn="1"/>
        </p:nvGrpSpPr>
        <p:grpSpPr>
          <a:xfrm>
            <a:off x="12753147" y="1125073"/>
            <a:ext cx="318325" cy="320332"/>
            <a:chOff x="8066315" y="1676399"/>
            <a:chExt cx="1371600" cy="1380253"/>
          </a:xfrm>
        </p:grpSpPr>
        <p:sp>
          <p:nvSpPr>
            <p:cNvPr id="36" name="Rechthoek 35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37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38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</p:spTree>
    <p:extLst>
      <p:ext uri="{BB962C8B-B14F-4D97-AF65-F5344CB8AC3E}">
        <p14:creationId xmlns:p14="http://schemas.microsoft.com/office/powerpoint/2010/main" val="420514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Afbeelding 150">
            <a:extLst>
              <a:ext uri="{FF2B5EF4-FFF2-40B4-BE49-F238E27FC236}">
                <a16:creationId xmlns:a16="http://schemas.microsoft.com/office/drawing/2014/main" id="{0BE286FB-8201-4900-AC1B-5109DC42B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19" y="3229990"/>
            <a:ext cx="1639482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8" name="Tijdelijke aanduiding voor media 7"/>
          <p:cNvSpPr>
            <a:spLocks noGrp="1"/>
          </p:cNvSpPr>
          <p:nvPr>
            <p:ph type="media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bIns="180000" anchor="ctr"/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in te voegen</a:t>
            </a: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VIDEO #2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4" name="Groep 103"/>
          <p:cNvGrpSpPr/>
          <p:nvPr userDrawn="1"/>
        </p:nvGrpSpPr>
        <p:grpSpPr>
          <a:xfrm>
            <a:off x="12391603" y="-17883"/>
            <a:ext cx="3183678" cy="5235577"/>
            <a:chOff x="12391603" y="-17883"/>
            <a:chExt cx="3183678" cy="5235577"/>
          </a:xfrm>
        </p:grpSpPr>
        <p:grpSp>
          <p:nvGrpSpPr>
            <p:cNvPr id="105" name="Meer informatie"/>
            <p:cNvGrpSpPr/>
            <p:nvPr userDrawn="1"/>
          </p:nvGrpSpPr>
          <p:grpSpPr>
            <a:xfrm>
              <a:off x="12396764" y="4434421"/>
              <a:ext cx="3178515" cy="783273"/>
              <a:chOff x="-3741486" y="3359148"/>
              <a:chExt cx="3178515" cy="783273"/>
            </a:xfrm>
          </p:grpSpPr>
          <p:sp>
            <p:nvSpPr>
              <p:cNvPr id="14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49" name="Rechthoek 14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50" name="Rechte verbindingslijn 14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0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07" name="Rechthoek 10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Video invoegen</a:t>
                </a:r>
              </a:p>
            </p:txBody>
          </p:sp>
          <p:sp>
            <p:nvSpPr>
              <p:cNvPr id="108" name="Ovaal 10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09" name="Rechte verbindingslijn 10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0" name="Rechte verbindingslijn 10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1" name="Rechthoek 11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/video. Klik op het pictogram om een nieuwe video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Ovaal 11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14" name="Rechthoek 11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video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15" name="Groep 11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45" name="Rechthoek 14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46" name="Rechte verbindingslijn 14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47" name="Gelijkbenige driehoek 14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16" name="Ovaal 11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7" name="Rechthoek 11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8" name="Rechte verbindingslijn 11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19" name="Groep 11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4" name="Rechthoek 123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Rechthoek 124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26" name="Groep 125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39" name="Rechthoek: afgeronde hoeken 138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3" name="Rechthoek 142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27" name="Groep 126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1" name="Groep 130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3" name="Rechthoek: afgeronde hoeken 132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" name="Rechthoek 133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5" name="Rechthoek 134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6" name="Rechthoek 135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7" name="Rechthoek 136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32" name="Boog 131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28" name="Tekstvak 127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29" name="Tekstvak 128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0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20" name="Video icoon"/>
              <p:cNvGrpSpPr/>
              <p:nvPr userDrawn="1"/>
            </p:nvGrpSpPr>
            <p:grpSpPr>
              <a:xfrm>
                <a:off x="12753147" y="1125073"/>
                <a:ext cx="318325" cy="320332"/>
                <a:chOff x="8066315" y="1676399"/>
                <a:chExt cx="1371600" cy="1380253"/>
              </a:xfrm>
            </p:grpSpPr>
            <p:sp>
              <p:nvSpPr>
                <p:cNvPr id="121" name="Rechthoek 120"/>
                <p:cNvSpPr/>
                <p:nvPr userDrawn="1"/>
              </p:nvSpPr>
              <p:spPr>
                <a:xfrm>
                  <a:off x="8066315" y="1687286"/>
                  <a:ext cx="1360714" cy="1360714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22" name="Vrije vorm 112"/>
                <p:cNvSpPr/>
                <p:nvPr userDrawn="1"/>
              </p:nvSpPr>
              <p:spPr>
                <a:xfrm>
                  <a:off x="8077201" y="1676399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23" name="Vrije vorm 113"/>
                <p:cNvSpPr/>
                <p:nvPr userDrawn="1"/>
              </p:nvSpPr>
              <p:spPr>
                <a:xfrm>
                  <a:off x="8071339" y="2849823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</p:grpSp>
      <p:sp>
        <p:nvSpPr>
          <p:cNvPr id="13" name="Tijdelijke aanduiding voor datum 1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F1572A-DD81-401E-8E57-51268439E19B}" type="datetime2">
              <a:rPr lang="nl-NL" smtClean="0"/>
              <a:t>donderdag 29 september 2022</a:t>
            </a:fld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 vert="horz" lIns="0" tIns="36000" rIns="0" bIns="0" rtlCol="0" anchor="ctr">
            <a:noAutofit/>
          </a:bodyPr>
          <a:lstStyle>
            <a:lvl1pPr>
              <a:defRPr lang="nl-N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02377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381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2D46F-52FB-43E4-90F9-46254DAED9AD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Grafiek</a:t>
            </a:r>
          </a:p>
        </p:txBody>
      </p:sp>
      <p:sp>
        <p:nvSpPr>
          <p:cNvPr id="9" name="Tijdelijke aanduiding voor grafiek 8"/>
          <p:cNvSpPr>
            <a:spLocks noGrp="1"/>
          </p:cNvSpPr>
          <p:nvPr userDrawn="1">
            <p:ph type="chart" sz="quarter" idx="15" hasCustomPrompt="1"/>
          </p:nvPr>
        </p:nvSpPr>
        <p:spPr>
          <a:xfrm>
            <a:off x="6464299" y="1179861"/>
            <a:ext cx="5357811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3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11450926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6" name="Groep 3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3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2" name="Rechthoek 4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43" name="Ovaal 4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5" name="Rechthoek 4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hthoek 4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9" name="Groep 4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0" name="Groep 9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1" name="Rechthoek 10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2" name="Pijl: punthaak 10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50" name="Groep 4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1" name="Groep 9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2" name="Rechthoek 9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3" name="Pijl: punthaak 9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2" name="Rechte verbindingslijn 5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9" name="Rechthoek 7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3" name="Rechthoek 8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4" name="Pijl: punthaak 8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4" name="Groep 5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8" name="Rechthoek 6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9" name="Groep 6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0" name="Groep 6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1" name="Groep 7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2" name="Rechthoek 7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3" name="Pijl: punthaak 7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5" name="Rechthoek 5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8" name="Rechthoek 5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59" name="Ovaal 5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0" name="Rechthoek 5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1" name="Ovaal 6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2" name="Rechthoek 6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63" name="Ovaal 6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4" name="Rechthoek 6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65" name="Ovaal 6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6" name="Rechthoek 6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67" name="Rechte verbindingslijn 6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8" name="Groep 107"/>
          <p:cNvGrpSpPr/>
          <p:nvPr userDrawn="1"/>
        </p:nvGrpSpPr>
        <p:grpSpPr>
          <a:xfrm>
            <a:off x="12391603" y="-17883"/>
            <a:ext cx="3183677" cy="6879634"/>
            <a:chOff x="12391603" y="-17883"/>
            <a:chExt cx="3183677" cy="6879634"/>
          </a:xfrm>
        </p:grpSpPr>
        <p:grpSp>
          <p:nvGrpSpPr>
            <p:cNvPr id="10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16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66" name="Rechthoek 16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7" name="Rechte verbindingslijn 16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51" name="Rechte verbindingslijn 150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52" name="Rechte verbindingslijn 151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53" name="Rechthoek 152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154" name="Ovaal 153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55" name="Rechthoek 154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grafiek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56" name="Groep 155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3" name="Rechte verbindingslijn 16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64" name="Gelijkbenige driehoek 16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157" name="Rechte verbindingslijn 156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58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159" name="Rechthoek 158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60" name="Rechthoek 159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61" name="Rechthoek 160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  <p:grpSp>
          <p:nvGrpSpPr>
            <p:cNvPr id="111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Rechthoek 112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114" name="Ovaal 113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5" name="Rechte verbindingslijn 114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6" name="Rechthoek 115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100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117" name="Groep 116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0" name="Tekstvak 119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121" name="Tekstvak 120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12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123" name="Groep 122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</p:grpSp>
            <p:grpSp>
              <p:nvGrpSpPr>
                <p:cNvPr id="124" name="Groep 123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125" name="Rechthoek 124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  <p:grpSp>
                <p:nvGrpSpPr>
                  <p:cNvPr id="126" name="Groep 125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127" name="Groep 126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132" name="Rechthoek 131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grpSp>
                    <p:nvGrpSpPr>
                      <p:cNvPr id="133" name="Groep 132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139" name="Rechte verbindingslijn 13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141" name="Groep 140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142" name="Rechte verbindingslijn 14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3" name="Rechte verbindingslijn 14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4" name="Rechte verbindingslijn 14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5" name="Rechte verbindingslijn 144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134" name="Rechte verbindingslijn 133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5" name="Groep 134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136" name="Rechte verbindingslijn 13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7" name="Rechte verbindingslijn 13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8" name="Rechte verbindingslijn 137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128" name="Groep 127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129" name="Rechthoek 128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130" name="Rechthoek: afgeronde bovenhoeken 129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131" name="Gelijkbenige driehoek 130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82555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299" y="365126"/>
            <a:ext cx="1145381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86CCE-0E0C-4A3A-822C-655D1E4B554D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Grafiek</a:t>
            </a:r>
          </a:p>
        </p:txBody>
      </p:sp>
      <p:sp>
        <p:nvSpPr>
          <p:cNvPr id="27" name="Tijdelijke aanduiding voor grafiek 8"/>
          <p:cNvSpPr>
            <a:spLocks noGrp="1"/>
          </p:cNvSpPr>
          <p:nvPr>
            <p:ph type="chart" sz="quarter" idx="15" hasCustomPrompt="1"/>
          </p:nvPr>
        </p:nvSpPr>
        <p:spPr>
          <a:xfrm>
            <a:off x="368301" y="1179861"/>
            <a:ext cx="11453810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2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3" y="-17883"/>
            <a:ext cx="3183677" cy="6879634"/>
            <a:chOff x="12391603" y="-17883"/>
            <a:chExt cx="3183677" cy="687963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30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2" name="Rechte verbindingslijn 31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3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34" name="Rechthoek 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35" name="Ovaal 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8" name="Rechthoek 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Ovaal 38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grafiek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1" name="Groep 40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47" name="Rechthoek 46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48" name="Rechte verbindingslijn 47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49" name="Gelijkbenige driehoek 48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3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44" name="Rechthoek 43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45" name="Rechthoek 44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46" name="Rechthoek 45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  <p:grpSp>
          <p:nvGrpSpPr>
            <p:cNvPr id="50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2" name="Rechthoek 51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5" name="Rechthoek 54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100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56" name="Groep 55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Rechthoek 57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Tekstvak 58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60" name="Tekstvak 59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61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62" name="Groep 61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85" name="Rechthoek 84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86" name="Rechthoek 85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87" name="Rechthoek 86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</p:grpSp>
            <p:grpSp>
              <p:nvGrpSpPr>
                <p:cNvPr id="63" name="Groep 62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64" name="Rechthoek 63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  <p:grpSp>
                <p:nvGrpSpPr>
                  <p:cNvPr id="65" name="Groep 64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66" name="Groep 65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71" name="Rechthoek 70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grpSp>
                    <p:nvGrpSpPr>
                      <p:cNvPr id="72" name="Groep 71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78" name="Rechte verbindingslijn 77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9" name="Rechte verbindingslijn 7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80" name="Groep 79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81" name="Rechte verbindingslijn 80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2" name="Rechte verbindingslijn 8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3" name="Rechte verbindingslijn 8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4" name="Rechte verbindingslijn 8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73" name="Rechte verbindingslijn 72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74" name="Groep 73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75" name="Rechte verbindingslijn 74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6" name="Rechte verbindingslijn 7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7" name="Rechte verbindingslijn 7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67" name="Groep 66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68" name="Rechthoek 67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69" name="Rechthoek: afgeronde bovenhoeken 68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70" name="Gelijkbenige driehoek 69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2163807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C1A6EF-0D7D-46B1-9F71-13B087D9AB2A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Tabel</a:t>
            </a:r>
          </a:p>
        </p:txBody>
      </p:sp>
      <p:sp>
        <p:nvSpPr>
          <p:cNvPr id="37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6278568" y="1179861"/>
            <a:ext cx="5545132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3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9" name="Groep 38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0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5" name="Rechthoek 44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Ovaal 45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9" name="Rechte verbindingslijn 48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Rechthoek 50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52" name="Groep 51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3" name="Groep 92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9" name="Rechte verbindingslijn 98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0" name="Rechte verbindingslijn 99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1" name="Rechte verbindingslijn 100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4" name="Groep 93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5" name="Rechthoek 94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6" name="Pijl: punthaak 95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6" name="Groep 55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82" name="Rechthoek 81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3" name="Groep 82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4" name="Groep 83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1" name="Rechte verbindingslijn 90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2" name="Rechte verbindingslijn 91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5" name="Groep 84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6" name="Rechthoek 85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7" name="Pijl: punthaak 86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7" name="Groep 56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2" name="Groep 71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3" name="Groep 72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0" name="Rechte verbindingslijn 79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1" name="Rechte verbindingslijn 80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4" name="Groep 73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5" name="Rechthoek 7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6" name="Pijl: punthaak 7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8" name="Rechthoek 57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1" name="Rechthoek 60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66" name="Ovaal 65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7" name="Rechthoek 66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68" name="Ovaal 67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9" name="Rechthoek 68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41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4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38" name="Groep 137"/>
          <p:cNvGrpSpPr/>
          <p:nvPr userDrawn="1"/>
        </p:nvGrpSpPr>
        <p:grpSpPr>
          <a:xfrm>
            <a:off x="12391603" y="-17883"/>
            <a:ext cx="3183677" cy="3416764"/>
            <a:chOff x="12391603" y="-17883"/>
            <a:chExt cx="3183677" cy="3416764"/>
          </a:xfrm>
        </p:grpSpPr>
        <p:grpSp>
          <p:nvGrpSpPr>
            <p:cNvPr id="111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11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13" name="Rechthoek 11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4" name="Rechte verbindingslijn 11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5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116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126" name="Rechthoek 125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400" b="1" i="0" u="none" strike="noStrike" kern="0" cap="all" spc="0" normalizeH="0" baseline="0" noProof="0" dirty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+mj-l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127" name="Ovaal 126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128" name="Rechte verbindingslijn 127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129" name="Rechte verbindingslijn 128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130" name="Rechthoek 129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1100" b="0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(zie onderstaand voorbeeld).</a:t>
                  </a:r>
                  <a:endPara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1" name="Ovaal 130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132" name="Rechthoek 131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kumimoji="0" lang="nl-NL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OK’</a:t>
                  </a: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.</a:t>
                  </a:r>
                  <a:endPara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3" name="Groep 132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135" name="Rechthoek 134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136" name="Rechte verbindingslijn 135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137" name="Gelijkbenige driehoek 136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cxnSp>
              <p:nvCxnSpPr>
                <p:cNvPr id="134" name="Rechte verbindingslijn 133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117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cxnSp>
              <p:nvCxnSpPr>
                <p:cNvPr id="120" name="Rechte verbindingslijn 119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Rechte verbindingslijn 120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hthoek 124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4520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FE6E4B-7EE7-4ADC-98CA-0935243E8974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Tabel</a:t>
            </a:r>
          </a:p>
        </p:txBody>
      </p:sp>
      <p:sp>
        <p:nvSpPr>
          <p:cNvPr id="26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368300" y="1179861"/>
            <a:ext cx="11455400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2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8" name="Groep 27"/>
          <p:cNvGrpSpPr/>
          <p:nvPr userDrawn="1"/>
        </p:nvGrpSpPr>
        <p:grpSpPr>
          <a:xfrm>
            <a:off x="12391603" y="-17883"/>
            <a:ext cx="3183677" cy="3416764"/>
            <a:chOff x="12391603" y="-17883"/>
            <a:chExt cx="3183677" cy="341676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53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31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41" name="Rechthoek 40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400" b="1" i="0" u="none" strike="noStrike" kern="0" cap="all" spc="0" normalizeH="0" baseline="0" noProof="0" dirty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+mj-l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42" name="Ovaal 41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43" name="Rechte verbindingslijn 42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44" name="Rechte verbindingslijn 43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45" name="Rechthoek 44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1100" b="0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(zie onderstaand voorbeeld).</a:t>
                  </a:r>
                  <a:endPara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6" name="Ovaal 45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47" name="Rechthoek 46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kumimoji="0" lang="nl-NL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OK’</a:t>
                  </a: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.</a:t>
                  </a:r>
                  <a:endPara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48" name="Groep 47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50" name="Rechthoek 49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51" name="Rechte verbindingslijn 50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52" name="Gelijkbenige driehoek 51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cxnSp>
              <p:nvCxnSpPr>
                <p:cNvPr id="49" name="Rechte verbindingslijn 48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32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33" name="Rechthoek 32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34" name="Rechthoek 33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cxnSp>
              <p:nvCxnSpPr>
                <p:cNvPr id="35" name="Rechte verbindingslijn 34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Rechte verbindingslijn 35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Rechte verbindingslijn 36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Rechte verbindingslijn 37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Rechte verbindingslijn 38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hthoek 39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09477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Afbeelding 150">
            <a:extLst>
              <a:ext uri="{FF2B5EF4-FFF2-40B4-BE49-F238E27FC236}">
                <a16:creationId xmlns:a16="http://schemas.microsoft.com/office/drawing/2014/main" id="{0BE286FB-8201-4900-AC1B-5109DC42B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19" y="3229990"/>
            <a:ext cx="1639482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8" name="Tijdelijke aanduiding voor media 7"/>
          <p:cNvSpPr>
            <a:spLocks noGrp="1"/>
          </p:cNvSpPr>
          <p:nvPr>
            <p:ph type="media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bIns="180000" anchor="ctr"/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in te voegen</a:t>
            </a: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VIDEO #2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4" name="Groep 103"/>
          <p:cNvGrpSpPr/>
          <p:nvPr userDrawn="1"/>
        </p:nvGrpSpPr>
        <p:grpSpPr>
          <a:xfrm>
            <a:off x="12391603" y="-17883"/>
            <a:ext cx="3183678" cy="5235577"/>
            <a:chOff x="12391603" y="-17883"/>
            <a:chExt cx="3183678" cy="5235577"/>
          </a:xfrm>
        </p:grpSpPr>
        <p:grpSp>
          <p:nvGrpSpPr>
            <p:cNvPr id="105" name="Meer informatie"/>
            <p:cNvGrpSpPr/>
            <p:nvPr userDrawn="1"/>
          </p:nvGrpSpPr>
          <p:grpSpPr>
            <a:xfrm>
              <a:off x="12396764" y="4434421"/>
              <a:ext cx="3178515" cy="783273"/>
              <a:chOff x="-3741486" y="3359148"/>
              <a:chExt cx="3178515" cy="783273"/>
            </a:xfrm>
          </p:grpSpPr>
          <p:sp>
            <p:nvSpPr>
              <p:cNvPr id="14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49" name="Rechthoek 14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50" name="Rechte verbindingslijn 14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0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07" name="Rechthoek 10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Video invoegen</a:t>
                </a:r>
              </a:p>
            </p:txBody>
          </p:sp>
          <p:sp>
            <p:nvSpPr>
              <p:cNvPr id="108" name="Ovaal 10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09" name="Rechte verbindingslijn 10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0" name="Rechte verbindingslijn 10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1" name="Rechthoek 11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/video. Klik op het pictogram om een nieuwe video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Ovaal 11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14" name="Rechthoek 11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video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15" name="Groep 11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45" name="Rechthoek 14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46" name="Rechte verbindingslijn 14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47" name="Gelijkbenige driehoek 14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16" name="Ovaal 11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7" name="Rechthoek 11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8" name="Rechte verbindingslijn 11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19" name="Groep 11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4" name="Rechthoek 123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Rechthoek 124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26" name="Groep 125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39" name="Rechthoek: afgeronde hoeken 138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3" name="Rechthoek 142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27" name="Groep 126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1" name="Groep 130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3" name="Rechthoek: afgeronde hoeken 132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" name="Rechthoek 133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5" name="Rechthoek 134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6" name="Rechthoek 135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7" name="Rechthoek 136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32" name="Boog 131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28" name="Tekstvak 127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29" name="Tekstvak 128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0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20" name="Video icoon"/>
              <p:cNvGrpSpPr/>
              <p:nvPr userDrawn="1"/>
            </p:nvGrpSpPr>
            <p:grpSpPr>
              <a:xfrm>
                <a:off x="12753147" y="1125073"/>
                <a:ext cx="318325" cy="320332"/>
                <a:chOff x="8066315" y="1676399"/>
                <a:chExt cx="1371600" cy="1380253"/>
              </a:xfrm>
            </p:grpSpPr>
            <p:sp>
              <p:nvSpPr>
                <p:cNvPr id="121" name="Rechthoek 120"/>
                <p:cNvSpPr/>
                <p:nvPr userDrawn="1"/>
              </p:nvSpPr>
              <p:spPr>
                <a:xfrm>
                  <a:off x="8066315" y="1687286"/>
                  <a:ext cx="1360714" cy="1360714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22" name="Vrije vorm 112"/>
                <p:cNvSpPr/>
                <p:nvPr userDrawn="1"/>
              </p:nvSpPr>
              <p:spPr>
                <a:xfrm>
                  <a:off x="8077201" y="1676399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23" name="Vrije vorm 113"/>
                <p:cNvSpPr/>
                <p:nvPr userDrawn="1"/>
              </p:nvSpPr>
              <p:spPr>
                <a:xfrm>
                  <a:off x="8071339" y="2849823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</p:grpSp>
      <p:sp>
        <p:nvSpPr>
          <p:cNvPr id="13" name="Tijdelijke aanduiding voor datum 1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117FF8-6AC3-4C58-9D98-9D181C161D1A}" type="datetime2">
              <a:rPr lang="en-GB" smtClean="0"/>
              <a:t>Thursday, 29 September 2022</a:t>
            </a:fld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 vert="horz" lIns="0" tIns="36000" rIns="0" bIns="0" rtlCol="0" anchor="ctr">
            <a:noAutofit/>
          </a:bodyPr>
          <a:lstStyle>
            <a:lvl1pPr>
              <a:defRPr lang="nl-N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nl-NL" dirty="0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60426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verz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66F11-841E-4B40-81F9-14154D49EE92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</a:t>
            </a:r>
            <a:r>
              <a:rPr lang="nl-NL" dirty="0" err="1"/>
              <a:t>Nedcarc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go Overzich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65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66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67" name="Rechthoek 166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8" name="Rechte verbindingslijn 167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69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70" name="Rechthoek 169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71" name="Ovaal 170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72" name="Rechte verbindingslijn 171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73" name="Rechte verbindingslijn 172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4" name="Rechthoek 173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75" name="Rechte verbindingslijn 174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6" name="Ovaal 175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77" name="Rechthoek 176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78" name="Groep 177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06" name="Rechthoek 205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07" name="Rechte verbindingslijn 206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08" name="Gelijkbenige driehoek 207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79" name="Groep 178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00" name="Rechthoek 199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Ovaal 200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Vrije vorm: vorm 201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3" name="Rechthoek: afgeronde hoeken 202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04" name="Rechte verbindingslijn 203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05" name="Rechte verbindingslijn 204"/>
                <p:cNvCxnSpPr>
                  <a:cxnSpLocks/>
                  <a:stCxn id="203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80" name="Ovaal 179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81" name="Rechthoek 180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Bijsnijd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82" name="Rechte verbindingslijn 18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83" name="Groep 182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184" name="Groep 183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187" name="Groep 186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194" name="Groep 193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197" name="Rechthoek 196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8" name="Rechthoek 197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9" name="Ovaal 198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000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95" name="Afbeelding 194"/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" name="Afbeelding 195"/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88" name="Groep 187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2" name="Rechthoek 191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3" name="Rechthoek 192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89" name="Groep 188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0" name="Rechthoek 189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1" name="Rechthoek 190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85" name="Rechthoek 184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86" name="Gelijkbenige driehoek 185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250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1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3092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2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42523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3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61954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4" name="Tijdelijke aanduiding voor verticale tekst 2"/>
          <p:cNvSpPr>
            <a:spLocks noGrp="1"/>
          </p:cNvSpPr>
          <p:nvPr>
            <p:ph type="body" orient="vert" idx="18" hasCustomPrompt="1"/>
          </p:nvPr>
        </p:nvSpPr>
        <p:spPr>
          <a:xfrm>
            <a:off x="81385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5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00816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6" name="Tijdelijke aanduiding voor verticale tekst 2"/>
          <p:cNvSpPr>
            <a:spLocks noGrp="1"/>
          </p:cNvSpPr>
          <p:nvPr>
            <p:ph type="body" orient="vert" idx="20" hasCustomPrompt="1"/>
          </p:nvPr>
        </p:nvSpPr>
        <p:spPr>
          <a:xfrm>
            <a:off x="3661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7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3092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42523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9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61954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81385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1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100816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61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23092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42523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61954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1385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100816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8" name="Tijdelijke aanduiding voor verticale tekst 2"/>
          <p:cNvSpPr>
            <a:spLocks noGrp="1"/>
          </p:cNvSpPr>
          <p:nvPr>
            <p:ph type="body" orient="vert" idx="32" hasCustomPrompt="1"/>
          </p:nvPr>
        </p:nvSpPr>
        <p:spPr>
          <a:xfrm>
            <a:off x="3661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23092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42523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61954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81385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3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00816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4" name="Tijdelijke aanduiding voor afbeelding 45"/>
          <p:cNvSpPr>
            <a:spLocks noGrp="1"/>
          </p:cNvSpPr>
          <p:nvPr>
            <p:ph type="pic" sz="quarter" idx="38" hasCustomPrompt="1"/>
          </p:nvPr>
        </p:nvSpPr>
        <p:spPr>
          <a:xfrm>
            <a:off x="6059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5" name="Tijdelijke aanduiding voor afbeelding 45"/>
          <p:cNvSpPr>
            <a:spLocks noGrp="1"/>
          </p:cNvSpPr>
          <p:nvPr>
            <p:ph type="pic" sz="quarter" idx="39" hasCustomPrompt="1"/>
          </p:nvPr>
        </p:nvSpPr>
        <p:spPr>
          <a:xfrm>
            <a:off x="25490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6" name="Tijdelijke aanduiding voor afbeelding 45"/>
          <p:cNvSpPr>
            <a:spLocks noGrp="1"/>
          </p:cNvSpPr>
          <p:nvPr>
            <p:ph type="pic" sz="quarter" idx="40" hasCustomPrompt="1"/>
          </p:nvPr>
        </p:nvSpPr>
        <p:spPr>
          <a:xfrm>
            <a:off x="44921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7" name="Tijdelijke aanduiding voor afbeelding 45"/>
          <p:cNvSpPr>
            <a:spLocks noGrp="1"/>
          </p:cNvSpPr>
          <p:nvPr>
            <p:ph type="pic" sz="quarter" idx="41" hasCustomPrompt="1"/>
          </p:nvPr>
        </p:nvSpPr>
        <p:spPr>
          <a:xfrm>
            <a:off x="64352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8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83783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9" name="Tijdelijke aanduiding voor afbeelding 45"/>
          <p:cNvSpPr>
            <a:spLocks noGrp="1"/>
          </p:cNvSpPr>
          <p:nvPr>
            <p:ph type="pic" sz="quarter" idx="43" hasCustomPrompt="1"/>
          </p:nvPr>
        </p:nvSpPr>
        <p:spPr>
          <a:xfrm>
            <a:off x="103214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0" name="Tijdelijke aanduiding voor afbeelding 45"/>
          <p:cNvSpPr>
            <a:spLocks noGrp="1"/>
          </p:cNvSpPr>
          <p:nvPr>
            <p:ph type="pic" sz="quarter" idx="44" hasCustomPrompt="1"/>
          </p:nvPr>
        </p:nvSpPr>
        <p:spPr>
          <a:xfrm>
            <a:off x="6059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1" name="Tijdelijke aanduiding voor afbeelding 45"/>
          <p:cNvSpPr>
            <a:spLocks noGrp="1"/>
          </p:cNvSpPr>
          <p:nvPr>
            <p:ph type="pic" sz="quarter" idx="45" hasCustomPrompt="1"/>
          </p:nvPr>
        </p:nvSpPr>
        <p:spPr>
          <a:xfrm>
            <a:off x="25490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2" name="Tijdelijke aanduiding voor afbeelding 45"/>
          <p:cNvSpPr>
            <a:spLocks noGrp="1"/>
          </p:cNvSpPr>
          <p:nvPr>
            <p:ph type="pic" sz="quarter" idx="46" hasCustomPrompt="1"/>
          </p:nvPr>
        </p:nvSpPr>
        <p:spPr>
          <a:xfrm>
            <a:off x="44921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3" name="Tijdelijke aanduiding voor afbeelding 45"/>
          <p:cNvSpPr>
            <a:spLocks noGrp="1"/>
          </p:cNvSpPr>
          <p:nvPr>
            <p:ph type="pic" sz="quarter" idx="47" hasCustomPrompt="1"/>
          </p:nvPr>
        </p:nvSpPr>
        <p:spPr>
          <a:xfrm>
            <a:off x="64352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4" name="Tijdelijke aanduiding voor afbeelding 45"/>
          <p:cNvSpPr>
            <a:spLocks noGrp="1"/>
          </p:cNvSpPr>
          <p:nvPr>
            <p:ph type="pic" sz="quarter" idx="48" hasCustomPrompt="1"/>
          </p:nvPr>
        </p:nvSpPr>
        <p:spPr>
          <a:xfrm>
            <a:off x="83783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5" name="Tijdelijke aanduiding voor afbeelding 45"/>
          <p:cNvSpPr>
            <a:spLocks noGrp="1"/>
          </p:cNvSpPr>
          <p:nvPr>
            <p:ph type="pic" sz="quarter" idx="49" hasCustomPrompt="1"/>
          </p:nvPr>
        </p:nvSpPr>
        <p:spPr>
          <a:xfrm>
            <a:off x="103214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6" name="Tijdelijke aanduiding voor afbeelding 45"/>
          <p:cNvSpPr>
            <a:spLocks noGrp="1"/>
          </p:cNvSpPr>
          <p:nvPr>
            <p:ph type="pic" sz="quarter" idx="50" hasCustomPrompt="1"/>
          </p:nvPr>
        </p:nvSpPr>
        <p:spPr>
          <a:xfrm>
            <a:off x="6059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7" name="Tijdelijke aanduiding voor afbeelding 45"/>
          <p:cNvSpPr>
            <a:spLocks noGrp="1"/>
          </p:cNvSpPr>
          <p:nvPr>
            <p:ph type="pic" sz="quarter" idx="51" hasCustomPrompt="1"/>
          </p:nvPr>
        </p:nvSpPr>
        <p:spPr>
          <a:xfrm>
            <a:off x="25490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8" name="Tijdelijke aanduiding voor afbeelding 45"/>
          <p:cNvSpPr>
            <a:spLocks noGrp="1"/>
          </p:cNvSpPr>
          <p:nvPr>
            <p:ph type="pic" sz="quarter" idx="52" hasCustomPrompt="1"/>
          </p:nvPr>
        </p:nvSpPr>
        <p:spPr>
          <a:xfrm>
            <a:off x="44921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9" name="Tijdelijke aanduiding voor afbeelding 45"/>
          <p:cNvSpPr>
            <a:spLocks noGrp="1"/>
          </p:cNvSpPr>
          <p:nvPr>
            <p:ph type="pic" sz="quarter" idx="53" hasCustomPrompt="1"/>
          </p:nvPr>
        </p:nvSpPr>
        <p:spPr>
          <a:xfrm>
            <a:off x="64352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0" name="Tijdelijke aanduiding voor afbeelding 45"/>
          <p:cNvSpPr>
            <a:spLocks noGrp="1"/>
          </p:cNvSpPr>
          <p:nvPr>
            <p:ph type="pic" sz="quarter" idx="54" hasCustomPrompt="1"/>
          </p:nvPr>
        </p:nvSpPr>
        <p:spPr>
          <a:xfrm>
            <a:off x="83783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1" name="Tijdelijke aanduiding voor afbeelding 45"/>
          <p:cNvSpPr>
            <a:spLocks noGrp="1"/>
          </p:cNvSpPr>
          <p:nvPr>
            <p:ph type="pic" sz="quarter" idx="55" hasCustomPrompt="1"/>
          </p:nvPr>
        </p:nvSpPr>
        <p:spPr>
          <a:xfrm>
            <a:off x="103214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2" name="Tijdelijke aanduiding voor afbeelding 45"/>
          <p:cNvSpPr>
            <a:spLocks noGrp="1"/>
          </p:cNvSpPr>
          <p:nvPr>
            <p:ph type="pic" sz="quarter" idx="56" hasCustomPrompt="1"/>
          </p:nvPr>
        </p:nvSpPr>
        <p:spPr>
          <a:xfrm>
            <a:off x="6059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3" name="Tijdelijke aanduiding voor afbeelding 45"/>
          <p:cNvSpPr>
            <a:spLocks noGrp="1"/>
          </p:cNvSpPr>
          <p:nvPr>
            <p:ph type="pic" sz="quarter" idx="57" hasCustomPrompt="1"/>
          </p:nvPr>
        </p:nvSpPr>
        <p:spPr>
          <a:xfrm>
            <a:off x="25490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4" name="Tijdelijke aanduiding voor afbeelding 45"/>
          <p:cNvSpPr>
            <a:spLocks noGrp="1"/>
          </p:cNvSpPr>
          <p:nvPr>
            <p:ph type="pic" sz="quarter" idx="58" hasCustomPrompt="1"/>
          </p:nvPr>
        </p:nvSpPr>
        <p:spPr>
          <a:xfrm>
            <a:off x="44921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5" name="Tijdelijke aanduiding voor afbeelding 45"/>
          <p:cNvSpPr>
            <a:spLocks noGrp="1"/>
          </p:cNvSpPr>
          <p:nvPr>
            <p:ph type="pic" sz="quarter" idx="59" hasCustomPrompt="1"/>
          </p:nvPr>
        </p:nvSpPr>
        <p:spPr>
          <a:xfrm>
            <a:off x="64352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6" name="Tijdelijke aanduiding voor afbeelding 45"/>
          <p:cNvSpPr>
            <a:spLocks noGrp="1"/>
          </p:cNvSpPr>
          <p:nvPr>
            <p:ph type="pic" sz="quarter" idx="60" hasCustomPrompt="1"/>
          </p:nvPr>
        </p:nvSpPr>
        <p:spPr>
          <a:xfrm>
            <a:off x="83783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7" name="Tijdelijke aanduiding voor afbeelding 45"/>
          <p:cNvSpPr>
            <a:spLocks noGrp="1"/>
          </p:cNvSpPr>
          <p:nvPr>
            <p:ph type="pic" sz="quarter" idx="61" hasCustomPrompt="1"/>
          </p:nvPr>
        </p:nvSpPr>
        <p:spPr>
          <a:xfrm>
            <a:off x="103214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</p:spTree>
    <p:extLst>
      <p:ext uri="{BB962C8B-B14F-4D97-AF65-F5344CB8AC3E}">
        <p14:creationId xmlns:p14="http://schemas.microsoft.com/office/powerpoint/2010/main" val="72097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4" grpId="0"/>
      <p:bldP spid="275" grpId="0"/>
      <p:bldP spid="276" grpId="0"/>
      <p:bldP spid="277" grpId="0"/>
      <p:bldP spid="278" grpId="0"/>
      <p:bldP spid="279" grpId="0"/>
      <p:bldP spid="280" grpId="0"/>
      <p:bldP spid="281" grpId="0"/>
      <p:bldP spid="282" grpId="0"/>
      <p:bldP spid="283" grpId="0"/>
      <p:bldP spid="284" grpId="0"/>
      <p:bldP spid="285" grpId="0"/>
      <p:bldP spid="286" grpId="0"/>
      <p:bldP spid="287" grpId="0"/>
      <p:bldP spid="288" grpId="0"/>
      <p:bldP spid="289" grpId="0"/>
      <p:bldP spid="290" grpId="0"/>
      <p:bldP spid="291" grpId="0"/>
      <p:bldP spid="292" grpId="0"/>
      <p:bldP spid="293" grpId="0"/>
      <p:bldP spid="294" grpId="0"/>
      <p:bldP spid="295" grpId="0"/>
      <p:bldP spid="296" grpId="0"/>
      <p:bldP spid="297" grpId="0"/>
    </p:bld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827659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29" hasCustomPrompt="1"/>
          </p:nvPr>
        </p:nvSpPr>
        <p:spPr>
          <a:xfrm>
            <a:off x="8276596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27659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8CAAB-3B13-4D64-B39F-6F822CC2E0F0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433313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9"/>
          <p:cNvSpPr>
            <a:spLocks noGrp="1"/>
          </p:cNvSpPr>
          <p:nvPr>
            <p:ph type="pic" sz="quarter" idx="26" hasCustomPrompt="1"/>
          </p:nvPr>
        </p:nvSpPr>
        <p:spPr>
          <a:xfrm>
            <a:off x="4333136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433313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2F03B4BA-F6F9-40B7-B0C8-69E5F24A8777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99" name="Afbeelding 98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5" name="Rechthoek 104"/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6" name="Ovaal 105"/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7" name="Rechte verbindingslijn 106"/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8" name="Rechte verbindingslijn 107"/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Rechthoek 108"/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0" name="Rechte verbindingslijn 109"/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1" name="Ovaal 110"/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2" name="Rechthoek 111"/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2" name="Groep 121"/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5" name="Rechthoek 154"/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6" name="Rechte verbindingslijn 155"/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7" name="Gelijkbenige driehoek 156"/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3" name="Groep 122"/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1" name="Vrije vorm: vorm 150"/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2" name="Rechthoek: afgeronde hoeken 151"/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53" name="Rechte verbindingslijn 152"/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4" name="Rechte verbindingslijn 153"/>
              <p:cNvCxnSpPr>
                <a:cxnSpLocks/>
                <a:stCxn id="15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24" name="Ovaal 123"/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25" name="Rechthoek 124"/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/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7" name="Groep 126"/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8" name="Rechthoek 127"/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Rechthoek 128"/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0" name="Groep 129"/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43" name="Rechthoek: afgeronde hoeken 142"/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" name="Rechthoek 143"/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5" name="Rechthoek 144"/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6" name="Rechthoek 145"/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7" name="Rechthoek 146"/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8" name="Rechthoek 147"/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1" name="Groep 130"/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5" name="Groep 134"/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7" name="Rechthoek: afgeronde hoeken 136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8" name="Rechthoek 137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9" name="Rechthoek 138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6" name="Boog 135"/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32" name="Tekstvak 131"/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33" name="Tekstvak 132"/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4" name="Picture 3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01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0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03" name="Rechthoek 10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04" name="Rechte verbindingslijn 10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266900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71179-CAC2-4F6A-8E64-5EA875A4717E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0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3347271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afbeelding 39"/>
          <p:cNvSpPr>
            <a:spLocks noGrp="1"/>
          </p:cNvSpPr>
          <p:nvPr>
            <p:ph type="pic" sz="quarter" idx="32" hasCustomPrompt="1"/>
          </p:nvPr>
        </p:nvSpPr>
        <p:spPr>
          <a:xfrm>
            <a:off x="3347271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0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3347271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6304867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afbeelding 39"/>
          <p:cNvSpPr>
            <a:spLocks noGrp="1"/>
          </p:cNvSpPr>
          <p:nvPr>
            <p:ph type="pic" sz="quarter" idx="35" hasCustomPrompt="1"/>
          </p:nvPr>
        </p:nvSpPr>
        <p:spPr>
          <a:xfrm>
            <a:off x="6304867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6304867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9262462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9"/>
          <p:cNvSpPr>
            <a:spLocks noGrp="1"/>
          </p:cNvSpPr>
          <p:nvPr>
            <p:ph type="pic" sz="quarter" idx="38" hasCustomPrompt="1"/>
          </p:nvPr>
        </p:nvSpPr>
        <p:spPr>
          <a:xfrm>
            <a:off x="9262462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9262462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1" name="Groep 160">
            <a:extLst>
              <a:ext uri="{FF2B5EF4-FFF2-40B4-BE49-F238E27FC236}">
                <a16:creationId xmlns:a16="http://schemas.microsoft.com/office/drawing/2014/main" id="{FCCEFB53-926B-43A5-B15D-C393B347BA7A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62" name="Afbeelding 161">
              <a:extLst>
                <a:ext uri="{FF2B5EF4-FFF2-40B4-BE49-F238E27FC236}">
                  <a16:creationId xmlns:a16="http://schemas.microsoft.com/office/drawing/2014/main" id="{3A99021C-1B73-45AC-9E0D-0BA5D305DF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9B8684C5-75ED-478A-BBAD-52500D10A50D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1EF576AE-826F-49DE-AE9D-26CBDC98975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5" name="Rechte verbindingslijn 164">
              <a:extLst>
                <a:ext uri="{FF2B5EF4-FFF2-40B4-BE49-F238E27FC236}">
                  <a16:creationId xmlns:a16="http://schemas.microsoft.com/office/drawing/2014/main" id="{D2002A68-8E60-4B1A-AD5F-F4F94FC5C1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6" name="Rechte verbindingslijn 165">
              <a:extLst>
                <a:ext uri="{FF2B5EF4-FFF2-40B4-BE49-F238E27FC236}">
                  <a16:creationId xmlns:a16="http://schemas.microsoft.com/office/drawing/2014/main" id="{08E75B8E-FCBA-4D8D-A676-4CD4F31EA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0B3E36AC-A52B-4D6C-81A6-99225B4AF218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F6517321-962A-4431-9C8D-7BD93F887E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9" name="Ovaal 168">
              <a:extLst>
                <a:ext uri="{FF2B5EF4-FFF2-40B4-BE49-F238E27FC236}">
                  <a16:creationId xmlns:a16="http://schemas.microsoft.com/office/drawing/2014/main" id="{875DD6BB-72DA-4541-A07D-08C37A1D6B0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EC3C8B96-A4ED-4876-A4CC-821810C4296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71" name="Groep 170">
              <a:extLst>
                <a:ext uri="{FF2B5EF4-FFF2-40B4-BE49-F238E27FC236}">
                  <a16:creationId xmlns:a16="http://schemas.microsoft.com/office/drawing/2014/main" id="{F2357E44-78CA-45A3-956B-965161D93275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08" name="Rechthoek 207">
                <a:extLst>
                  <a:ext uri="{FF2B5EF4-FFF2-40B4-BE49-F238E27FC236}">
                    <a16:creationId xmlns:a16="http://schemas.microsoft.com/office/drawing/2014/main" id="{0968A9B8-C0BC-459A-BA15-75EF9F09CCA5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CA830A2C-618E-47BF-9D3A-55DD1546A2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0" name="Gelijkbenige driehoek 209">
                <a:extLst>
                  <a:ext uri="{FF2B5EF4-FFF2-40B4-BE49-F238E27FC236}">
                    <a16:creationId xmlns:a16="http://schemas.microsoft.com/office/drawing/2014/main" id="{56B033E5-EC50-4438-BF01-1AB2254EF26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8DC86FEC-AE61-41F2-B99F-7F06AC040A8E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2" name="Rechthoek 201">
                <a:extLst>
                  <a:ext uri="{FF2B5EF4-FFF2-40B4-BE49-F238E27FC236}">
                    <a16:creationId xmlns:a16="http://schemas.microsoft.com/office/drawing/2014/main" id="{0E48B30F-2417-4027-A68E-502802915B0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3" name="Ovaal 202">
                <a:extLst>
                  <a:ext uri="{FF2B5EF4-FFF2-40B4-BE49-F238E27FC236}">
                    <a16:creationId xmlns:a16="http://schemas.microsoft.com/office/drawing/2014/main" id="{6BB66B2B-0443-44EE-86EF-9ADAFA26DDA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4" name="Vrije vorm: vorm 203">
                <a:extLst>
                  <a:ext uri="{FF2B5EF4-FFF2-40B4-BE49-F238E27FC236}">
                    <a16:creationId xmlns:a16="http://schemas.microsoft.com/office/drawing/2014/main" id="{4BC0AA19-3AA7-4497-AC19-7BE63BB2CA6B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hoek: afgeronde hoeken 204">
                <a:extLst>
                  <a:ext uri="{FF2B5EF4-FFF2-40B4-BE49-F238E27FC236}">
                    <a16:creationId xmlns:a16="http://schemas.microsoft.com/office/drawing/2014/main" id="{F2A43995-E44A-4567-9C15-9B1ACE11309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6" name="Rechte verbindingslijn 205">
                <a:extLst>
                  <a:ext uri="{FF2B5EF4-FFF2-40B4-BE49-F238E27FC236}">
                    <a16:creationId xmlns:a16="http://schemas.microsoft.com/office/drawing/2014/main" id="{3C9BD617-A860-4012-A1F2-BFAAF3A2555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7" name="Rechte verbindingslijn 206">
                <a:extLst>
                  <a:ext uri="{FF2B5EF4-FFF2-40B4-BE49-F238E27FC236}">
                    <a16:creationId xmlns:a16="http://schemas.microsoft.com/office/drawing/2014/main" id="{ACAAB843-9003-4FC7-A8B5-E2ECD47E8001}"/>
                  </a:ext>
                </a:extLst>
              </p:cNvPr>
              <p:cNvCxnSpPr>
                <a:cxnSpLocks/>
                <a:stCxn id="20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3" name="Ovaal 172">
              <a:extLst>
                <a:ext uri="{FF2B5EF4-FFF2-40B4-BE49-F238E27FC236}">
                  <a16:creationId xmlns:a16="http://schemas.microsoft.com/office/drawing/2014/main" id="{6E96B380-58E2-471D-9744-63A03ABA625C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1C052F2-3015-408F-A310-B5C9BD9A681D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75" name="Rechte verbindingslijn 174">
              <a:extLst>
                <a:ext uri="{FF2B5EF4-FFF2-40B4-BE49-F238E27FC236}">
                  <a16:creationId xmlns:a16="http://schemas.microsoft.com/office/drawing/2014/main" id="{D1DC919E-DD42-4DE0-B301-429EE7292B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6" name="Groep 175">
              <a:extLst>
                <a:ext uri="{FF2B5EF4-FFF2-40B4-BE49-F238E27FC236}">
                  <a16:creationId xmlns:a16="http://schemas.microsoft.com/office/drawing/2014/main" id="{11B11B8F-B9C0-4E6E-A0BC-47375EC6A1CF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423346B5-4BFA-41F8-9AEC-3B60B611AB4A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99F3326D-20BC-4B71-8064-1442FB78EEED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3" name="Groep 182">
                <a:extLst>
                  <a:ext uri="{FF2B5EF4-FFF2-40B4-BE49-F238E27FC236}">
                    <a16:creationId xmlns:a16="http://schemas.microsoft.com/office/drawing/2014/main" id="{E9D47A58-71F3-4D64-9061-D9D134550845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6" name="Rechthoek: afgeronde hoeken 195">
                  <a:extLst>
                    <a:ext uri="{FF2B5EF4-FFF2-40B4-BE49-F238E27FC236}">
                      <a16:creationId xmlns:a16="http://schemas.microsoft.com/office/drawing/2014/main" id="{B0FC5052-23D2-4769-BB7E-B1A5E3ED711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48307DBB-7A5C-4ACC-9A6B-435633C63DB6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8" name="Rechthoek 197">
                  <a:extLst>
                    <a:ext uri="{FF2B5EF4-FFF2-40B4-BE49-F238E27FC236}">
                      <a16:creationId xmlns:a16="http://schemas.microsoft.com/office/drawing/2014/main" id="{86C2BE51-82C1-45ED-AEB9-F7264120349F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9" name="Rechthoek 198">
                  <a:extLst>
                    <a:ext uri="{FF2B5EF4-FFF2-40B4-BE49-F238E27FC236}">
                      <a16:creationId xmlns:a16="http://schemas.microsoft.com/office/drawing/2014/main" id="{47C69D9F-B551-4F47-90A1-C851A8E5CC0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0223528A-E41D-4AFB-B26F-4A80EC0B372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A1F2EA93-C5B2-4F45-9ECF-89EBAB3249DD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84" name="Groep 183">
                <a:extLst>
                  <a:ext uri="{FF2B5EF4-FFF2-40B4-BE49-F238E27FC236}">
                    <a16:creationId xmlns:a16="http://schemas.microsoft.com/office/drawing/2014/main" id="{FFFB3BA9-F231-4D9A-80B7-BA09F4FAF52E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88" name="Groep 187">
                  <a:extLst>
                    <a:ext uri="{FF2B5EF4-FFF2-40B4-BE49-F238E27FC236}">
                      <a16:creationId xmlns:a16="http://schemas.microsoft.com/office/drawing/2014/main" id="{28261D45-497A-4B0E-905B-83D8A856FEAF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0" name="Rechthoek: afgeronde hoeken 189">
                    <a:extLst>
                      <a:ext uri="{FF2B5EF4-FFF2-40B4-BE49-F238E27FC236}">
                        <a16:creationId xmlns:a16="http://schemas.microsoft.com/office/drawing/2014/main" id="{813C5FE2-9BC2-4D0C-9275-6200F9A394D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1" name="Rechthoek 190">
                    <a:extLst>
                      <a:ext uri="{FF2B5EF4-FFF2-40B4-BE49-F238E27FC236}">
                        <a16:creationId xmlns:a16="http://schemas.microsoft.com/office/drawing/2014/main" id="{0E32D907-F160-4E42-AE75-D29E33A59FC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2" name="Rechthoek 191">
                    <a:extLst>
                      <a:ext uri="{FF2B5EF4-FFF2-40B4-BE49-F238E27FC236}">
                        <a16:creationId xmlns:a16="http://schemas.microsoft.com/office/drawing/2014/main" id="{9B9E021B-097A-49A8-AA71-3B7093FBC6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3" name="Rechthoek 192">
                    <a:extLst>
                      <a:ext uri="{FF2B5EF4-FFF2-40B4-BE49-F238E27FC236}">
                        <a16:creationId xmlns:a16="http://schemas.microsoft.com/office/drawing/2014/main" id="{ACB73619-5777-4178-A38E-19DE7C9AB83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831B80DE-1C31-4CAF-9FB0-EDA412D0A3E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DF7F71AB-B3BD-4A7C-9009-E2121DA2F46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89" name="Boog 188">
                  <a:extLst>
                    <a:ext uri="{FF2B5EF4-FFF2-40B4-BE49-F238E27FC236}">
                      <a16:creationId xmlns:a16="http://schemas.microsoft.com/office/drawing/2014/main" id="{6959CB37-6156-4AE2-93C6-7635D136BD9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85" name="Tekstvak 184">
                <a:extLst>
                  <a:ext uri="{FF2B5EF4-FFF2-40B4-BE49-F238E27FC236}">
                    <a16:creationId xmlns:a16="http://schemas.microsoft.com/office/drawing/2014/main" id="{520AE291-3C80-410B-B153-EEFB1B14E11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6" name="Tekstvak 185">
                <a:extLst>
                  <a:ext uri="{FF2B5EF4-FFF2-40B4-BE49-F238E27FC236}">
                    <a16:creationId xmlns:a16="http://schemas.microsoft.com/office/drawing/2014/main" id="{ABE86CB3-3DDB-4585-95EA-8518FDD79CF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87" name="Picture 3">
                <a:extLst>
                  <a:ext uri="{FF2B5EF4-FFF2-40B4-BE49-F238E27FC236}">
                    <a16:creationId xmlns:a16="http://schemas.microsoft.com/office/drawing/2014/main" id="{50DA060E-9384-4105-A3A1-3A51710AAB8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77" name="Meer informatie">
              <a:extLst>
                <a:ext uri="{FF2B5EF4-FFF2-40B4-BE49-F238E27FC236}">
                  <a16:creationId xmlns:a16="http://schemas.microsoft.com/office/drawing/2014/main" id="{7DCCAA6E-486F-485A-9FF9-3E6DA4B44B5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78" name="Freeform 101">
                <a:extLst>
                  <a:ext uri="{FF2B5EF4-FFF2-40B4-BE49-F238E27FC236}">
                    <a16:creationId xmlns:a16="http://schemas.microsoft.com/office/drawing/2014/main" id="{F6307448-E31E-4DC1-A9CE-D9FE1DC727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79" name="Rechthoek 178">
                <a:extLst>
                  <a:ext uri="{FF2B5EF4-FFF2-40B4-BE49-F238E27FC236}">
                    <a16:creationId xmlns:a16="http://schemas.microsoft.com/office/drawing/2014/main" id="{051AC3A5-F246-43EC-9426-717DCF1A7781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0" name="Rechte verbindingslijn 179">
                <a:extLst>
                  <a:ext uri="{FF2B5EF4-FFF2-40B4-BE49-F238E27FC236}">
                    <a16:creationId xmlns:a16="http://schemas.microsoft.com/office/drawing/2014/main" id="{91214991-2318-4A98-B245-BFF671971D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09129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8" grpId="0" animBg="1"/>
      <p:bldP spid="10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1" grpId="0" animBg="1"/>
      <p:bldP spid="11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3" grpId="0" animBg="1"/>
      <p:bldP spid="12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B1419-B706-41E8-8B1C-192E007EAEC3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9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2755752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41" hasCustomPrompt="1"/>
          </p:nvPr>
        </p:nvSpPr>
        <p:spPr>
          <a:xfrm>
            <a:off x="2755752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42" hasCustomPrompt="1"/>
          </p:nvPr>
        </p:nvSpPr>
        <p:spPr>
          <a:xfrm>
            <a:off x="2755752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5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121829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6" name="Tijdelijke aanduiding voor afbeelding 39"/>
          <p:cNvSpPr>
            <a:spLocks noGrp="1"/>
          </p:cNvSpPr>
          <p:nvPr>
            <p:ph type="pic" sz="quarter" idx="44" hasCustomPrompt="1"/>
          </p:nvPr>
        </p:nvSpPr>
        <p:spPr>
          <a:xfrm>
            <a:off x="5121829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7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5121829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46" hasCustomPrompt="1"/>
          </p:nvPr>
        </p:nvSpPr>
        <p:spPr>
          <a:xfrm>
            <a:off x="7487906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9"/>
          <p:cNvSpPr>
            <a:spLocks noGrp="1"/>
          </p:cNvSpPr>
          <p:nvPr>
            <p:ph type="pic" sz="quarter" idx="47" hasCustomPrompt="1"/>
          </p:nvPr>
        </p:nvSpPr>
        <p:spPr>
          <a:xfrm>
            <a:off x="7487906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7487906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853983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2" name="Tijdelijke aanduiding voor afbeelding 39"/>
          <p:cNvSpPr>
            <a:spLocks noGrp="1"/>
          </p:cNvSpPr>
          <p:nvPr>
            <p:ph type="pic" sz="quarter" idx="50" hasCustomPrompt="1"/>
          </p:nvPr>
        </p:nvSpPr>
        <p:spPr>
          <a:xfrm>
            <a:off x="9853983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3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9853983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4" name="Groep 163">
            <a:extLst>
              <a:ext uri="{FF2B5EF4-FFF2-40B4-BE49-F238E27FC236}">
                <a16:creationId xmlns:a16="http://schemas.microsoft.com/office/drawing/2014/main" id="{38D2DAF9-87E2-49C7-8899-11CCDEE40A05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65" name="Afbeelding 164">
              <a:extLst>
                <a:ext uri="{FF2B5EF4-FFF2-40B4-BE49-F238E27FC236}">
                  <a16:creationId xmlns:a16="http://schemas.microsoft.com/office/drawing/2014/main" id="{1AA66F7B-7057-4205-9A25-50A1BEBFFC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0F966880-FA1E-4516-8D0A-EC1723CA8A23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7" name="Ovaal 166">
              <a:extLst>
                <a:ext uri="{FF2B5EF4-FFF2-40B4-BE49-F238E27FC236}">
                  <a16:creationId xmlns:a16="http://schemas.microsoft.com/office/drawing/2014/main" id="{6FECEAD8-89DC-4377-8B2B-6557251EB40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508E4D78-AA0E-4157-BC47-24FDCABC0A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9" name="Rechte verbindingslijn 168">
              <a:extLst>
                <a:ext uri="{FF2B5EF4-FFF2-40B4-BE49-F238E27FC236}">
                  <a16:creationId xmlns:a16="http://schemas.microsoft.com/office/drawing/2014/main" id="{052E3544-7CAA-4535-85BC-C02B48CEC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A8617A58-895C-451A-9D11-7AC862FAF372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5517C501-B8FD-46D9-8D82-F583E5CD4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2" name="Ovaal 171">
              <a:extLst>
                <a:ext uri="{FF2B5EF4-FFF2-40B4-BE49-F238E27FC236}">
                  <a16:creationId xmlns:a16="http://schemas.microsoft.com/office/drawing/2014/main" id="{218F8EBF-96BA-46A8-9FF6-B153943777DA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3" name="Rechthoek 172">
              <a:extLst>
                <a:ext uri="{FF2B5EF4-FFF2-40B4-BE49-F238E27FC236}">
                  <a16:creationId xmlns:a16="http://schemas.microsoft.com/office/drawing/2014/main" id="{A4F5CC46-C071-49C1-BFB7-D76F1689F569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74" name="Groep 173">
              <a:extLst>
                <a:ext uri="{FF2B5EF4-FFF2-40B4-BE49-F238E27FC236}">
                  <a16:creationId xmlns:a16="http://schemas.microsoft.com/office/drawing/2014/main" id="{B26FB392-FEE8-4B73-AAD0-AA67B6E1E3C8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11" name="Rechthoek 210">
                <a:extLst>
                  <a:ext uri="{FF2B5EF4-FFF2-40B4-BE49-F238E27FC236}">
                    <a16:creationId xmlns:a16="http://schemas.microsoft.com/office/drawing/2014/main" id="{312C51CE-15C8-4341-A38C-B6F0225BF78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id="{0284F455-F8EE-4D01-9D2C-D8625777D36B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3" name="Gelijkbenige driehoek 212">
                <a:extLst>
                  <a:ext uri="{FF2B5EF4-FFF2-40B4-BE49-F238E27FC236}">
                    <a16:creationId xmlns:a16="http://schemas.microsoft.com/office/drawing/2014/main" id="{DB65B57D-3EE2-4463-8BD2-8142290061A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5" name="Groep 174">
              <a:extLst>
                <a:ext uri="{FF2B5EF4-FFF2-40B4-BE49-F238E27FC236}">
                  <a16:creationId xmlns:a16="http://schemas.microsoft.com/office/drawing/2014/main" id="{C38E73B8-3EFB-4167-BB82-5C786D640CBD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5" name="Rechthoek 204">
                <a:extLst>
                  <a:ext uri="{FF2B5EF4-FFF2-40B4-BE49-F238E27FC236}">
                    <a16:creationId xmlns:a16="http://schemas.microsoft.com/office/drawing/2014/main" id="{50FE3A73-A9AA-4E92-90FF-C029BC236E9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6" name="Ovaal 205">
                <a:extLst>
                  <a:ext uri="{FF2B5EF4-FFF2-40B4-BE49-F238E27FC236}">
                    <a16:creationId xmlns:a16="http://schemas.microsoft.com/office/drawing/2014/main" id="{6109A826-A59A-494F-8EFB-9169389116BF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Vrije vorm: vorm 206">
                <a:extLst>
                  <a:ext uri="{FF2B5EF4-FFF2-40B4-BE49-F238E27FC236}">
                    <a16:creationId xmlns:a16="http://schemas.microsoft.com/office/drawing/2014/main" id="{C7FF406F-1CC2-4AC0-A17A-9305DD310A09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Rechthoek: afgeronde hoeken 207">
                <a:extLst>
                  <a:ext uri="{FF2B5EF4-FFF2-40B4-BE49-F238E27FC236}">
                    <a16:creationId xmlns:a16="http://schemas.microsoft.com/office/drawing/2014/main" id="{D8F14FC4-67C6-46E4-9736-D4263CDF915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B5F5ADCB-5B88-46E4-831E-1EB6CC3F62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0" name="Rechte verbindingslijn 209">
                <a:extLst>
                  <a:ext uri="{FF2B5EF4-FFF2-40B4-BE49-F238E27FC236}">
                    <a16:creationId xmlns:a16="http://schemas.microsoft.com/office/drawing/2014/main" id="{1EE24356-0697-4A22-9217-8F2333BB4BCC}"/>
                  </a:ext>
                </a:extLst>
              </p:cNvPr>
              <p:cNvCxnSpPr>
                <a:cxnSpLocks/>
                <a:stCxn id="20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6" name="Ovaal 175">
              <a:extLst>
                <a:ext uri="{FF2B5EF4-FFF2-40B4-BE49-F238E27FC236}">
                  <a16:creationId xmlns:a16="http://schemas.microsoft.com/office/drawing/2014/main" id="{5D9121B1-C8A4-4B09-A569-0817E41A2C73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E1BEF1BF-D9B8-4982-8EE8-BF23855D2C60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78" name="Rechte verbindingslijn 177">
              <a:extLst>
                <a:ext uri="{FF2B5EF4-FFF2-40B4-BE49-F238E27FC236}">
                  <a16:creationId xmlns:a16="http://schemas.microsoft.com/office/drawing/2014/main" id="{34CABE9A-775D-4F82-B986-4B8C5BC64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9" name="Groep 178">
              <a:extLst>
                <a:ext uri="{FF2B5EF4-FFF2-40B4-BE49-F238E27FC236}">
                  <a16:creationId xmlns:a16="http://schemas.microsoft.com/office/drawing/2014/main" id="{E9134E10-1CE7-464D-AF04-8ECE531BA052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4" name="Rechthoek 183">
                <a:extLst>
                  <a:ext uri="{FF2B5EF4-FFF2-40B4-BE49-F238E27FC236}">
                    <a16:creationId xmlns:a16="http://schemas.microsoft.com/office/drawing/2014/main" id="{B1F7EAE7-B41D-4220-9416-AAD62A602D14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141DA8B3-BC3C-409A-8179-8BC02A819CE7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6" name="Groep 185">
                <a:extLst>
                  <a:ext uri="{FF2B5EF4-FFF2-40B4-BE49-F238E27FC236}">
                    <a16:creationId xmlns:a16="http://schemas.microsoft.com/office/drawing/2014/main" id="{643B4677-1A21-4BBE-AF32-B315B05E9E2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FFB68C5E-FB3F-4929-B93C-87FBC4BDDFC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E53F557F-6C2E-4FF7-B600-2179C0A06F8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5D24B4BB-7526-4E17-8D3D-9DB221A68BE1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Rechthoek 201">
                  <a:extLst>
                    <a:ext uri="{FF2B5EF4-FFF2-40B4-BE49-F238E27FC236}">
                      <a16:creationId xmlns:a16="http://schemas.microsoft.com/office/drawing/2014/main" id="{6C266F8B-47DB-4A5E-B431-EC066AEC35B7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3" name="Rechthoek 202">
                  <a:extLst>
                    <a:ext uri="{FF2B5EF4-FFF2-40B4-BE49-F238E27FC236}">
                      <a16:creationId xmlns:a16="http://schemas.microsoft.com/office/drawing/2014/main" id="{2116B610-2150-4394-8176-6632BF44B15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4" name="Rechthoek 203">
                  <a:extLst>
                    <a:ext uri="{FF2B5EF4-FFF2-40B4-BE49-F238E27FC236}">
                      <a16:creationId xmlns:a16="http://schemas.microsoft.com/office/drawing/2014/main" id="{59B4C523-D9EB-4378-ACE4-56B180052AFC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87" name="Groep 186">
                <a:extLst>
                  <a:ext uri="{FF2B5EF4-FFF2-40B4-BE49-F238E27FC236}">
                    <a16:creationId xmlns:a16="http://schemas.microsoft.com/office/drawing/2014/main" id="{940F4B68-BC22-49C3-A4F2-965BEEBF280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25A6F0AA-9EC5-49D0-B594-E1ED76B3A07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3" name="Rechthoek: afgeronde hoeken 192">
                    <a:extLst>
                      <a:ext uri="{FF2B5EF4-FFF2-40B4-BE49-F238E27FC236}">
                        <a16:creationId xmlns:a16="http://schemas.microsoft.com/office/drawing/2014/main" id="{86F99140-AAB2-4A16-B9D5-187CDDB3722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27A1D887-2180-47CD-996B-EC4E25C1D4D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4666E821-9405-4676-8B3E-0B5AEBE2BD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6" name="Rechthoek 195">
                    <a:extLst>
                      <a:ext uri="{FF2B5EF4-FFF2-40B4-BE49-F238E27FC236}">
                        <a16:creationId xmlns:a16="http://schemas.microsoft.com/office/drawing/2014/main" id="{1F8C0A9C-8B44-40FE-A094-1B8B088E680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7" name="Rechthoek 196">
                    <a:extLst>
                      <a:ext uri="{FF2B5EF4-FFF2-40B4-BE49-F238E27FC236}">
                        <a16:creationId xmlns:a16="http://schemas.microsoft.com/office/drawing/2014/main" id="{2ED4EF97-7A18-4CBF-A0B7-034F4EEAB4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Rechthoek 197">
                    <a:extLst>
                      <a:ext uri="{FF2B5EF4-FFF2-40B4-BE49-F238E27FC236}">
                        <a16:creationId xmlns:a16="http://schemas.microsoft.com/office/drawing/2014/main" id="{27F78269-250C-43E4-B700-7E0B5BF7A85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92" name="Boog 191">
                  <a:extLst>
                    <a:ext uri="{FF2B5EF4-FFF2-40B4-BE49-F238E27FC236}">
                      <a16:creationId xmlns:a16="http://schemas.microsoft.com/office/drawing/2014/main" id="{75E668F1-0C05-4217-988B-50AF97A634D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88" name="Tekstvak 187">
                <a:extLst>
                  <a:ext uri="{FF2B5EF4-FFF2-40B4-BE49-F238E27FC236}">
                    <a16:creationId xmlns:a16="http://schemas.microsoft.com/office/drawing/2014/main" id="{30EB4B55-E56B-4583-AA82-FDC7719919DE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9" name="Tekstvak 188">
                <a:extLst>
                  <a:ext uri="{FF2B5EF4-FFF2-40B4-BE49-F238E27FC236}">
                    <a16:creationId xmlns:a16="http://schemas.microsoft.com/office/drawing/2014/main" id="{9ADD8F84-D59C-45C9-81B4-D6D15706F4F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0" name="Picture 3">
                <a:extLst>
                  <a:ext uri="{FF2B5EF4-FFF2-40B4-BE49-F238E27FC236}">
                    <a16:creationId xmlns:a16="http://schemas.microsoft.com/office/drawing/2014/main" id="{E53A0344-1CFE-470F-98BE-FF7AC14B512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80" name="Meer informatie">
              <a:extLst>
                <a:ext uri="{FF2B5EF4-FFF2-40B4-BE49-F238E27FC236}">
                  <a16:creationId xmlns:a16="http://schemas.microsoft.com/office/drawing/2014/main" id="{88D23574-171E-468F-BABD-5C1B3A8F73B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1" name="Freeform 101">
                <a:extLst>
                  <a:ext uri="{FF2B5EF4-FFF2-40B4-BE49-F238E27FC236}">
                    <a16:creationId xmlns:a16="http://schemas.microsoft.com/office/drawing/2014/main" id="{08DAF4CF-3A68-4123-B012-28C8481E3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6C1A78CE-E171-48F1-996E-87AFE5136D4E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3" name="Rechte verbindingslijn 182">
                <a:extLst>
                  <a:ext uri="{FF2B5EF4-FFF2-40B4-BE49-F238E27FC236}">
                    <a16:creationId xmlns:a16="http://schemas.microsoft.com/office/drawing/2014/main" id="{A053D5B9-E02C-49FE-8C1B-659A43A14E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04169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6" grpId="0" animBg="1"/>
      <p:bldP spid="12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animBg="1"/>
      <p:bldP spid="13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472C8-9F7A-40D0-B1FC-CD50B8B0DDA2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0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3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5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5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0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5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5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2023D4CD-0D2F-488F-8979-F801863C1E4B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E7E3A84-A1CB-4554-87B4-799657271A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2FDA28EB-165A-4F6B-A67F-4876D9A4091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DD239770-6FC9-4865-92D0-563B8BDAD9BC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85B0525-87C1-4F8E-9ACA-324252B82C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507CF792-CAD2-453E-ABC2-C4C9665DBC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D6BDF347-BE7D-4A98-9E6C-4FE7744C14A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4796338D-18A7-4BEF-9797-CCFCC3F140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54ABF31A-AAF4-4F88-923F-4CE50EA4225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E692BB84-0777-4E5C-A1B6-FA9D3794EFAB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BF9555C9-F52D-4C85-9223-328DDA3502F4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FAE68C26-8477-4846-A1C5-353C0D531B51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83EA00D4-333C-45A2-8B1D-21942EF9B103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FD9273D1-C47E-44D7-BEF9-5CE578B7BC1D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AA17CF37-CBFA-428F-B5B3-A00C3025EC2C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FF40D03D-2B54-40F7-B77F-EE568FD0C625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A648A5D0-BADF-4D49-B7A8-E053AE257244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32B3B0FA-D58C-4E59-A576-6A18E25AA24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E1F70F3D-91F1-4847-B1BB-E2E35068C201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D0F2971-CA6E-4546-A8CA-23C1563AD8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13C0F120-4455-4063-9DDE-D18589706281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0CC36644-F31B-4F69-B4F6-447BE223CE1A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F1E1984A-272F-41CE-8A4E-476CA1697415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6C7D05E3-3E63-402D-A979-769F955FA3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C12C77E7-0D22-48A0-9F34-B57DE3752C7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25014AF0-BCAA-4959-9EB0-4541AEA33CE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C1DC6569-CD9D-4FDF-9AE8-BC78EB50763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AD34B0E3-3E39-4C7D-B204-7351DBC49341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56CB8802-6F8A-406B-9834-B95BA04AED3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24AC5A4F-2FB6-4899-B3DD-0705E3C47A2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2E7491E0-FA1D-4963-A3DE-DD2610F442F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225E9DB3-142C-46E1-B605-028B61D63EDE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4EBD5C3C-B5E9-4050-AB08-3398239DE9C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1653F7D-CE37-4C55-818B-AADC8E7FE13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7603C3E1-332C-4897-8F0C-3DE9D8BDE18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B4632603-598A-4377-82AF-080FD589B5E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CCF4DC4-41E2-445C-8A55-87A5B25D746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4B6EB406-0F48-46D8-A741-DDAB8E6CFE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E93F871E-25FF-47EB-A6C9-D987E3F61C9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194C25A4-8037-4A71-8ED6-086DA8C58A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35D33EF9-CD43-4601-B574-6C8CDAD5DA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57630908-0B48-4C24-BB65-1B5EF84D7B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1CDE2840-C16A-4148-A926-1F57DB7D391C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DA8B9C17-1B7B-4234-BB48-2C25CC1B3C9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17B9E69D-8A4F-4714-95F0-3ED4DD40A7E6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C51B0559-355B-4BEB-B1AD-563175B8CD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CD612BB0-C25F-47D1-8D67-AAAAC4ACF570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8BE5F9EF-AB5A-4768-B474-A59DC55CD6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8D25D634-5D72-4B1F-B008-B0204AFC0EF0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6812577E-17E3-46B4-AF42-7E76F7B769A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12070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6F7BF-4127-4634-AAC6-37FA0DFE1CFB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6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ijdelijke aanduiding voor afbeelding 38"/>
          <p:cNvSpPr>
            <a:spLocks noGrp="1"/>
          </p:cNvSpPr>
          <p:nvPr>
            <p:ph type="pic" sz="quarter" idx="15" hasCustomPrompt="1"/>
          </p:nvPr>
        </p:nvSpPr>
        <p:spPr>
          <a:xfrm>
            <a:off x="366139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66139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17" hasCustomPrompt="1"/>
          </p:nvPr>
        </p:nvSpPr>
        <p:spPr>
          <a:xfrm>
            <a:off x="4254135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18" hasCustomPrompt="1"/>
          </p:nvPr>
        </p:nvSpPr>
        <p:spPr>
          <a:xfrm>
            <a:off x="4254135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afbeelding 42"/>
          <p:cNvSpPr>
            <a:spLocks noGrp="1"/>
          </p:cNvSpPr>
          <p:nvPr>
            <p:ph type="pic" sz="quarter" idx="19" hasCustomPrompt="1"/>
          </p:nvPr>
        </p:nvSpPr>
        <p:spPr>
          <a:xfrm>
            <a:off x="8142132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0" hasCustomPrompt="1"/>
          </p:nvPr>
        </p:nvSpPr>
        <p:spPr>
          <a:xfrm>
            <a:off x="8142132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4254682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8142679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4254682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8142679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1" name="Groep 100">
            <a:extLst>
              <a:ext uri="{FF2B5EF4-FFF2-40B4-BE49-F238E27FC236}">
                <a16:creationId xmlns:a16="http://schemas.microsoft.com/office/drawing/2014/main" id="{15857F41-B989-471B-967B-C6DA381108DD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2" name="Afbeelding 101">
              <a:extLst>
                <a:ext uri="{FF2B5EF4-FFF2-40B4-BE49-F238E27FC236}">
                  <a16:creationId xmlns:a16="http://schemas.microsoft.com/office/drawing/2014/main" id="{A870EF52-3EC8-43DF-9D29-95AE71288A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2E2E0576-B523-43B5-850A-13D35A708B8B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5E89C9B1-C154-41D7-A955-6E9C06FD58C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5" name="Rechte verbindingslijn 104">
              <a:extLst>
                <a:ext uri="{FF2B5EF4-FFF2-40B4-BE49-F238E27FC236}">
                  <a16:creationId xmlns:a16="http://schemas.microsoft.com/office/drawing/2014/main" id="{6C97EE4C-0822-4420-8727-59022FEC4E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6" name="Rechte verbindingslijn 105">
              <a:extLst>
                <a:ext uri="{FF2B5EF4-FFF2-40B4-BE49-F238E27FC236}">
                  <a16:creationId xmlns:a16="http://schemas.microsoft.com/office/drawing/2014/main" id="{C0192459-E41F-4415-82CA-286E7E35C6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D2303889-DCFD-4ABC-AE5F-92ABB46C0E7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07B0AC0E-6871-45AE-A4BC-06EC75E136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Ovaal 108">
              <a:extLst>
                <a:ext uri="{FF2B5EF4-FFF2-40B4-BE49-F238E27FC236}">
                  <a16:creationId xmlns:a16="http://schemas.microsoft.com/office/drawing/2014/main" id="{629AA207-9EA7-45B5-917F-5C9C87AADCB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A0A1ADFC-BD66-4D46-AEFF-6365412AC59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1" name="Groep 110">
              <a:extLst>
                <a:ext uri="{FF2B5EF4-FFF2-40B4-BE49-F238E27FC236}">
                  <a16:creationId xmlns:a16="http://schemas.microsoft.com/office/drawing/2014/main" id="{BE3704B8-19AE-44B2-84DD-311B6280B7D3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48" name="Rechthoek 147">
                <a:extLst>
                  <a:ext uri="{FF2B5EF4-FFF2-40B4-BE49-F238E27FC236}">
                    <a16:creationId xmlns:a16="http://schemas.microsoft.com/office/drawing/2014/main" id="{E1BDB5FF-A1FE-414D-9062-CF192274847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8488FD0-826A-4130-9516-7FC529D398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0" name="Gelijkbenige driehoek 149">
                <a:extLst>
                  <a:ext uri="{FF2B5EF4-FFF2-40B4-BE49-F238E27FC236}">
                    <a16:creationId xmlns:a16="http://schemas.microsoft.com/office/drawing/2014/main" id="{0D4BE829-8B24-4DF7-BA8F-A8C867CA17A3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2" name="Groep 111">
              <a:extLst>
                <a:ext uri="{FF2B5EF4-FFF2-40B4-BE49-F238E27FC236}">
                  <a16:creationId xmlns:a16="http://schemas.microsoft.com/office/drawing/2014/main" id="{C29314E0-C9E0-4313-A93A-B7E4177005E2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2" name="Rechthoek 141">
                <a:extLst>
                  <a:ext uri="{FF2B5EF4-FFF2-40B4-BE49-F238E27FC236}">
                    <a16:creationId xmlns:a16="http://schemas.microsoft.com/office/drawing/2014/main" id="{896E01D5-DB99-4855-B018-0F9C4C6B853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3" name="Ovaal 142">
                <a:extLst>
                  <a:ext uri="{FF2B5EF4-FFF2-40B4-BE49-F238E27FC236}">
                    <a16:creationId xmlns:a16="http://schemas.microsoft.com/office/drawing/2014/main" id="{0D0C7CB6-8AFF-4231-93BF-E8FD29F2CA8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Vrije vorm: vorm 143">
                <a:extLst>
                  <a:ext uri="{FF2B5EF4-FFF2-40B4-BE49-F238E27FC236}">
                    <a16:creationId xmlns:a16="http://schemas.microsoft.com/office/drawing/2014/main" id="{91B5AAC4-DC71-4CC0-9455-2F44543529C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5" name="Rechthoek: afgeronde hoeken 144">
                <a:extLst>
                  <a:ext uri="{FF2B5EF4-FFF2-40B4-BE49-F238E27FC236}">
                    <a16:creationId xmlns:a16="http://schemas.microsoft.com/office/drawing/2014/main" id="{DA99D02D-080C-4987-A7B0-6E0A31603C3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1B8D256D-35B8-437E-AE80-420F7A97D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0AD788BD-6370-40C7-98BE-1490E80764B0}"/>
                  </a:ext>
                </a:extLst>
              </p:cNvPr>
              <p:cNvCxnSpPr>
                <a:cxnSpLocks/>
                <a:stCxn id="14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3" name="Ovaal 112">
              <a:extLst>
                <a:ext uri="{FF2B5EF4-FFF2-40B4-BE49-F238E27FC236}">
                  <a16:creationId xmlns:a16="http://schemas.microsoft.com/office/drawing/2014/main" id="{A70FFDE7-131F-480B-B932-726F6C45D9E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3AEF02A3-F861-44DA-BCD2-6408602B821C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5" name="Rechte verbindingslijn 114">
              <a:extLst>
                <a:ext uri="{FF2B5EF4-FFF2-40B4-BE49-F238E27FC236}">
                  <a16:creationId xmlns:a16="http://schemas.microsoft.com/office/drawing/2014/main" id="{96958C1C-CE12-4038-8448-FED528AD3A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6" name="Groep 115">
              <a:extLst>
                <a:ext uri="{FF2B5EF4-FFF2-40B4-BE49-F238E27FC236}">
                  <a16:creationId xmlns:a16="http://schemas.microsoft.com/office/drawing/2014/main" id="{E4E65CC9-58CA-4653-A7C6-F7432D5B95B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92EC5354-9636-459E-B29B-5494B6E1790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0BB5AD8E-B811-46FF-80F7-B65C00C96CF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3" name="Groep 122">
                <a:extLst>
                  <a:ext uri="{FF2B5EF4-FFF2-40B4-BE49-F238E27FC236}">
                    <a16:creationId xmlns:a16="http://schemas.microsoft.com/office/drawing/2014/main" id="{B38A7F26-4817-4C66-A0A0-149754A3F8D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6" name="Rechthoek: afgeronde hoeken 135">
                  <a:extLst>
                    <a:ext uri="{FF2B5EF4-FFF2-40B4-BE49-F238E27FC236}">
                      <a16:creationId xmlns:a16="http://schemas.microsoft.com/office/drawing/2014/main" id="{3005B21F-6409-4021-8E8B-9157C010D658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Rechthoek 136">
                  <a:extLst>
                    <a:ext uri="{FF2B5EF4-FFF2-40B4-BE49-F238E27FC236}">
                      <a16:creationId xmlns:a16="http://schemas.microsoft.com/office/drawing/2014/main" id="{86FD35EB-EC9F-4A12-A22F-D9B0B154BF6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8" name="Rechthoek 137">
                  <a:extLst>
                    <a:ext uri="{FF2B5EF4-FFF2-40B4-BE49-F238E27FC236}">
                      <a16:creationId xmlns:a16="http://schemas.microsoft.com/office/drawing/2014/main" id="{E6ECADEC-469F-4154-9273-452BD1BF563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9" name="Rechthoek 138">
                  <a:extLst>
                    <a:ext uri="{FF2B5EF4-FFF2-40B4-BE49-F238E27FC236}">
                      <a16:creationId xmlns:a16="http://schemas.microsoft.com/office/drawing/2014/main" id="{C90A59F8-397D-45F9-9C76-429E13C15F80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0868208-453C-4C67-9E78-56C862F85586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91A8B57E-8213-4887-989E-1D4DE1B7612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B0AD3E93-0A7C-40A4-A6E8-A0364A62EFF4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28" name="Groep 127">
                  <a:extLst>
                    <a:ext uri="{FF2B5EF4-FFF2-40B4-BE49-F238E27FC236}">
                      <a16:creationId xmlns:a16="http://schemas.microsoft.com/office/drawing/2014/main" id="{ADCA2C49-FDA6-4B41-BE2C-7708EE3995D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0" name="Rechthoek: afgeronde hoeken 129">
                    <a:extLst>
                      <a:ext uri="{FF2B5EF4-FFF2-40B4-BE49-F238E27FC236}">
                        <a16:creationId xmlns:a16="http://schemas.microsoft.com/office/drawing/2014/main" id="{495951BC-862A-4DAC-B2D6-F5AF5E04521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1" name="Rechthoek 130">
                    <a:extLst>
                      <a:ext uri="{FF2B5EF4-FFF2-40B4-BE49-F238E27FC236}">
                        <a16:creationId xmlns:a16="http://schemas.microsoft.com/office/drawing/2014/main" id="{33063CC8-0B68-4342-93A6-F407CD7F6DD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2" name="Rechthoek 131">
                    <a:extLst>
                      <a:ext uri="{FF2B5EF4-FFF2-40B4-BE49-F238E27FC236}">
                        <a16:creationId xmlns:a16="http://schemas.microsoft.com/office/drawing/2014/main" id="{413F39D5-CBB6-41D2-80B5-227FDCA896B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3" name="Rechthoek 132">
                    <a:extLst>
                      <a:ext uri="{FF2B5EF4-FFF2-40B4-BE49-F238E27FC236}">
                        <a16:creationId xmlns:a16="http://schemas.microsoft.com/office/drawing/2014/main" id="{52C06138-D291-4537-839F-E889A542FED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5C7B60AB-964D-4E92-A693-EA6E2D400F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F8001413-F0CF-4478-9381-C80198A177B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29" name="Boog 128">
                  <a:extLst>
                    <a:ext uri="{FF2B5EF4-FFF2-40B4-BE49-F238E27FC236}">
                      <a16:creationId xmlns:a16="http://schemas.microsoft.com/office/drawing/2014/main" id="{09686D01-B21A-4CB1-A78F-2735510F753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5" name="Tekstvak 124">
                <a:extLst>
                  <a:ext uri="{FF2B5EF4-FFF2-40B4-BE49-F238E27FC236}">
                    <a16:creationId xmlns:a16="http://schemas.microsoft.com/office/drawing/2014/main" id="{F4719A93-C6D3-465E-94B5-6FEF96AF7FAA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6" name="Tekstvak 125">
                <a:extLst>
                  <a:ext uri="{FF2B5EF4-FFF2-40B4-BE49-F238E27FC236}">
                    <a16:creationId xmlns:a16="http://schemas.microsoft.com/office/drawing/2014/main" id="{01AB81AC-EE0F-4075-B94C-AE4151253E4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27" name="Picture 3">
                <a:extLst>
                  <a:ext uri="{FF2B5EF4-FFF2-40B4-BE49-F238E27FC236}">
                    <a16:creationId xmlns:a16="http://schemas.microsoft.com/office/drawing/2014/main" id="{93585FC1-63F9-4CDF-BACE-1F86B4B0B93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17" name="Meer informatie">
              <a:extLst>
                <a:ext uri="{FF2B5EF4-FFF2-40B4-BE49-F238E27FC236}">
                  <a16:creationId xmlns:a16="http://schemas.microsoft.com/office/drawing/2014/main" id="{939E70E3-F062-4D17-97CE-48B4AB252B89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FEE73CF0-8620-4616-AB61-B04780C99E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ECDDA453-0761-4B0C-96B4-0FEB1A676D7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221FF874-811D-4196-8E59-4C2EAA8C4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565980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8343E-5715-40E5-BFC5-865CFA86F13B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8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0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6" name="Tijdelijke aanduiding voor afbeelding 25"/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366140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ijdelijke aanduiding voor verticale tekst 2"/>
          <p:cNvSpPr>
            <a:spLocks noGrp="1"/>
          </p:cNvSpPr>
          <p:nvPr userDrawn="1">
            <p:ph type="body" orient="vert" idx="1" hasCustomPrompt="1"/>
          </p:nvPr>
        </p:nvSpPr>
        <p:spPr>
          <a:xfrm>
            <a:off x="36613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3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5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25" hasCustomPrompt="1"/>
          </p:nvPr>
        </p:nvSpPr>
        <p:spPr>
          <a:xfrm>
            <a:off x="327911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27924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5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0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29" hasCustomPrompt="1"/>
          </p:nvPr>
        </p:nvSpPr>
        <p:spPr>
          <a:xfrm>
            <a:off x="619195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619235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5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5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33" hasCustomPrompt="1"/>
          </p:nvPr>
        </p:nvSpPr>
        <p:spPr>
          <a:xfrm>
            <a:off x="910506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910546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D9128478-8C0D-4681-B5B9-EBEF56C19DA9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49F5619-1183-4ED5-A6D1-B3512F3091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7A37222-3472-4707-B094-4EDC4E970E85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E0ECCD0B-F29F-4131-9893-8D978BDD428F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F791C5A-2C46-4591-8482-FB360B876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1E869321-727C-46FB-8558-3584912934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2F4516D0-BFAD-475B-977C-970C6E52656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C5FE596F-F131-446E-A67D-D915FAC3DA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8D4CAF09-7A25-4757-8236-1057389EE7D1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12188EF3-1ACE-497B-9D56-9ACF5C0467C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221D81F7-AA11-48D4-91A2-A3E6EFDD963A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646BA45C-E145-4343-881C-50F803078D4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B923E6D8-2E1E-4334-869D-7E9104E391C6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3747406D-EE85-4C28-A452-D7C78E26907A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13089058-935D-4F18-B5FA-60814DDC3454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A1ECD4B1-4DC6-47B5-A60F-81822BC6E4D7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8CB59066-6A85-48EF-BBE8-9A47DF60D9E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7A79FD76-C2AD-477F-AA71-9D8FEE362D6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C290FE69-03E4-4B54-BC27-597F806251B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2B68BEF-DB8E-474B-AC3A-DDFC152213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D59A6737-199D-4894-A7FA-67FE34E597C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857BF560-F009-4803-A230-400133577AD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74C33C40-AAC1-40A5-87B3-59169BC12AE8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35F0EE3C-ED30-4557-AF99-6C6603C0A14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EA6D422-4E22-4388-8C43-E6D0B27AB7C9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436F710E-D9FA-43C4-BB34-A22941C6C2D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A4CBDCC3-2529-45BB-A607-196B1E4085D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3D7680E5-E6A4-4954-A295-8CAED7E6290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8121FB31-3D5A-4584-8B2E-CB66AF12A5BF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C70447AF-40E8-43C8-981D-1A83B575805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F41A3CB3-8303-4601-92EE-E1C231D2D4C5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6E4D7F9E-6E0B-4B26-9AF6-BB3EFEDCAC3A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DA0C2B62-2E17-463E-A626-8E0C2883B1E5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EEE200D-17F8-4C0E-BA59-9545467AC9A1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C7B48FB7-1F7A-4458-B518-00B36104FDCD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109EBBE0-0362-4633-BA7F-21622FA76839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A8943640-AEEC-41B6-85D2-7DB33FBBD92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ED6257F9-6B2B-4A27-A3B3-0E467291F4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936E2621-9381-433C-992B-FAF5EACD24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9D01458B-6373-4D52-97EA-E0C615BC33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939AC8AB-CC03-4E2A-B46B-A262F6CC501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86AB080-55B3-4A04-AD9C-720AB204EE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943A8A59-84FC-4444-81E9-859513D3659D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B133FE93-38C4-4C8C-8F59-59F8C99AE27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B8391F26-FF22-463B-A710-D104045CAC49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751A0F8F-57EC-4743-9879-66D27F274FF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0CC5BD32-B4AB-4B64-8B93-06EAC657593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63DF006-B3C4-4983-A590-95EB18EF1E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1C8B8442-8AB6-450D-92CC-97648BA06B4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24113A3B-9C9C-4D73-8B61-836646054A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95122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3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1" grpId="0" animBg="1"/>
      <p:bldP spid="4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animBg="1"/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49" grpId="0" animBg="1"/>
      <p:bldP spid="5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CB6A9-6FAF-485F-8506-15AEB3C891C4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afbeelding 31"/>
          <p:cNvSpPr>
            <a:spLocks noGrp="1"/>
          </p:cNvSpPr>
          <p:nvPr>
            <p:ph type="pic" sz="quarter" idx="15" hasCustomPrompt="1"/>
          </p:nvPr>
        </p:nvSpPr>
        <p:spPr>
          <a:xfrm>
            <a:off x="366140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6" hasCustomPrompt="1"/>
          </p:nvPr>
        </p:nvSpPr>
        <p:spPr>
          <a:xfrm>
            <a:off x="366140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" name="Tijdelijke aanduiding voor afbeelding 36"/>
          <p:cNvSpPr>
            <a:spLocks noGrp="1"/>
          </p:cNvSpPr>
          <p:nvPr>
            <p:ph type="pic" sz="quarter" idx="33" hasCustomPrompt="1"/>
          </p:nvPr>
        </p:nvSpPr>
        <p:spPr>
          <a:xfrm>
            <a:off x="2696490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8" name="Tijdelijke aanduiding voor afbeelding 37"/>
          <p:cNvSpPr>
            <a:spLocks noGrp="1"/>
          </p:cNvSpPr>
          <p:nvPr>
            <p:ph type="pic" sz="quarter" idx="34" hasCustomPrompt="1"/>
          </p:nvPr>
        </p:nvSpPr>
        <p:spPr>
          <a:xfrm>
            <a:off x="2696490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9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269656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269656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37" hasCustomPrompt="1"/>
          </p:nvPr>
        </p:nvSpPr>
        <p:spPr>
          <a:xfrm>
            <a:off x="5026841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38" hasCustomPrompt="1"/>
          </p:nvPr>
        </p:nvSpPr>
        <p:spPr>
          <a:xfrm>
            <a:off x="5026841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502699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502699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41" hasCustomPrompt="1"/>
          </p:nvPr>
        </p:nvSpPr>
        <p:spPr>
          <a:xfrm>
            <a:off x="735719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735719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735742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44" hasCustomPrompt="1"/>
          </p:nvPr>
        </p:nvSpPr>
        <p:spPr>
          <a:xfrm>
            <a:off x="735742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45" hasCustomPrompt="1"/>
          </p:nvPr>
        </p:nvSpPr>
        <p:spPr>
          <a:xfrm>
            <a:off x="968754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afbeelding 49"/>
          <p:cNvSpPr>
            <a:spLocks noGrp="1"/>
          </p:cNvSpPr>
          <p:nvPr>
            <p:ph type="pic" sz="quarter" idx="46" hasCustomPrompt="1"/>
          </p:nvPr>
        </p:nvSpPr>
        <p:spPr>
          <a:xfrm>
            <a:off x="968754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9687860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2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9687860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1E0C6CC2-19DB-46E6-AEF8-7FD357C4564C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E0123D1E-CA29-45C9-909C-72D1C418AF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E78FCE7-F175-463D-AF54-EEAE35A9CBC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F22C8D3A-1DB2-4CF6-808E-3A5B59CB6D83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E744F881-8F86-4191-86E7-7DE4509974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F90C3423-6582-4C90-A92E-488F9117FBA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C5D0843C-0B4E-4015-9234-05B811163D1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A1D54500-4514-4998-824D-049F03848E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6C2CC2C0-719E-4072-82E7-35A56782C6F0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C9594C5E-2B64-48A5-8121-92AC4EA39FA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464EACA4-5959-47E5-96B7-303F92E38F86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81877875-32CC-4E99-991A-0CA769630E7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28300FFA-FA98-4D5A-8977-26BADD105C19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EBA77F2A-1AF8-4939-ACD9-E4D18B9713E2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D8B77BB4-D2AA-4F6A-B206-BFBCD2C23FE5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70EEDAE-F5A7-41F6-9993-91D28F0A9F4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7F64BA8B-5B44-417C-A46C-48B84D41E4A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AB38CDB7-9B99-4F83-AF8C-717C8207B8C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F407228E-B000-40C6-9A57-BFA7232ACF0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66C21FE-E1E3-454F-9786-803C7EA6B31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46B388D4-1702-43AB-94E0-108087A9F61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F39DB916-DA01-440D-A48F-09E0C27FD917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81B109FE-9358-4AD3-8EBB-A25E18406404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7FD4005A-DB6D-42AC-B265-2DBA8CD940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7E46035-D16E-4B0E-9E2E-142B5973E377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B6D2D40A-87B8-462A-B9D3-49720EDA42A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561BF64D-F188-492E-B4EC-2578D4484120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86A829C4-CD2E-469C-A84B-25D97DDEF69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A15F658F-322A-4083-B9BE-EA17A45E044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3C759B2-3B6C-441B-B00D-E723B65CA67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EA5EEF62-02E8-4929-946D-BF49F9BDCECC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87624029-FBF2-47A2-A749-7AE88F3DEC89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72951251-0717-4CCC-A655-125D0E2B8B3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DD0328FA-BE13-4E58-859F-EE7190419DD0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E539A306-B6D3-4476-8058-BA718F09FF31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2AE25E84-F249-4A8F-962E-D975FA817EFA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E7BFC05-1DDB-4AC5-9E15-3FA64A4B25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C8D2042C-8CB2-4C1C-A187-8267231430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1740C2E7-8329-4051-A535-F5BB0A9B488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599C96F6-E316-48EA-8380-07450BD89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16004FEF-9B06-44B9-B46D-2AD360DD11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6196B6E-D6C9-40C8-94DE-A13899365F1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D36886EC-DA84-48DF-AC07-6E1041BC6146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0B5BF3EF-56BE-4AB9-988E-7ADB2A1667E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0C8060E8-1B60-42CE-9B7C-B38C0E1984DB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64D0B05B-0308-4D30-A750-D85378FF929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642A6EA6-024D-4406-A2B2-956A41AB2BE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41163F3-DDE7-4A3F-B6F9-C686C32AC4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469615A6-F34D-4428-B408-2E485E2CAE6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1E58E517-1682-403D-9CF1-CC229544DD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93178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animBg="1"/>
      <p:bldP spid="38" grpId="0" animBg="1"/>
      <p:bldP spid="3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/>
      <p:bldP spid="46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ele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30F92-8864-466A-9352-AC3685A579C9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99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6648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366975" y="2788898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36697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1"/>
          <p:cNvSpPr>
            <a:spLocks noGrp="1"/>
          </p:cNvSpPr>
          <p:nvPr>
            <p:ph type="pic" sz="quarter" idx="18" hasCustomPrompt="1"/>
          </p:nvPr>
        </p:nvSpPr>
        <p:spPr>
          <a:xfrm>
            <a:off x="36697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53297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5" name="Tijdelijke aanduiding voor afbeelding 31"/>
          <p:cNvSpPr>
            <a:spLocks noGrp="1"/>
          </p:cNvSpPr>
          <p:nvPr>
            <p:ph type="pic" sz="quarter" idx="20" hasCustomPrompt="1"/>
          </p:nvPr>
        </p:nvSpPr>
        <p:spPr>
          <a:xfrm>
            <a:off x="153297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69897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1"/>
          <p:cNvSpPr>
            <a:spLocks noGrp="1"/>
          </p:cNvSpPr>
          <p:nvPr>
            <p:ph type="pic" sz="quarter" idx="22" hasCustomPrompt="1"/>
          </p:nvPr>
        </p:nvSpPr>
        <p:spPr>
          <a:xfrm>
            <a:off x="269897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6496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9" name="Tijdelijke aanduiding voor afbeelding 31"/>
          <p:cNvSpPr>
            <a:spLocks noGrp="1"/>
          </p:cNvSpPr>
          <p:nvPr>
            <p:ph type="pic" sz="quarter" idx="24" hasCustomPrompt="1"/>
          </p:nvPr>
        </p:nvSpPr>
        <p:spPr>
          <a:xfrm>
            <a:off x="386496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0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5030967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1" name="Tijdelijke aanduiding voor afbeelding 31"/>
          <p:cNvSpPr>
            <a:spLocks noGrp="1"/>
          </p:cNvSpPr>
          <p:nvPr>
            <p:ph type="pic" sz="quarter" idx="26" hasCustomPrompt="1"/>
          </p:nvPr>
        </p:nvSpPr>
        <p:spPr>
          <a:xfrm>
            <a:off x="5030967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619696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1"/>
          <p:cNvSpPr>
            <a:spLocks noGrp="1"/>
          </p:cNvSpPr>
          <p:nvPr>
            <p:ph type="pic" sz="quarter" idx="28" hasCustomPrompt="1"/>
          </p:nvPr>
        </p:nvSpPr>
        <p:spPr>
          <a:xfrm>
            <a:off x="619696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736296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5" name="Tijdelijke aanduiding voor afbeelding 31"/>
          <p:cNvSpPr>
            <a:spLocks noGrp="1"/>
          </p:cNvSpPr>
          <p:nvPr>
            <p:ph type="pic" sz="quarter" idx="30" hasCustomPrompt="1"/>
          </p:nvPr>
        </p:nvSpPr>
        <p:spPr>
          <a:xfrm>
            <a:off x="736296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6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969495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7" name="Tijdelijke aanduiding voor afbeelding 31"/>
          <p:cNvSpPr>
            <a:spLocks noGrp="1"/>
          </p:cNvSpPr>
          <p:nvPr>
            <p:ph type="pic" sz="quarter" idx="32" hasCustomPrompt="1"/>
          </p:nvPr>
        </p:nvSpPr>
        <p:spPr>
          <a:xfrm>
            <a:off x="969495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852896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1"/>
          <p:cNvSpPr>
            <a:spLocks noGrp="1"/>
          </p:cNvSpPr>
          <p:nvPr>
            <p:ph type="pic" sz="quarter" idx="34" hasCustomPrompt="1"/>
          </p:nvPr>
        </p:nvSpPr>
        <p:spPr>
          <a:xfrm>
            <a:off x="852896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1086095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1" name="Tijdelijke aanduiding voor afbeelding 31"/>
          <p:cNvSpPr>
            <a:spLocks noGrp="1"/>
          </p:cNvSpPr>
          <p:nvPr>
            <p:ph type="pic" sz="quarter" idx="36" hasCustomPrompt="1"/>
          </p:nvPr>
        </p:nvSpPr>
        <p:spPr>
          <a:xfrm>
            <a:off x="1086095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53297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3" name="Tijdelijke aanduiding voor afbeelding 31"/>
          <p:cNvSpPr>
            <a:spLocks noGrp="1"/>
          </p:cNvSpPr>
          <p:nvPr>
            <p:ph type="pic" sz="quarter" idx="38" hasCustomPrompt="1"/>
          </p:nvPr>
        </p:nvSpPr>
        <p:spPr>
          <a:xfrm>
            <a:off x="153297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269897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5" name="Tijdelijke aanduiding voor afbeelding 31"/>
          <p:cNvSpPr>
            <a:spLocks noGrp="1"/>
          </p:cNvSpPr>
          <p:nvPr>
            <p:ph type="pic" sz="quarter" idx="40" hasCustomPrompt="1"/>
          </p:nvPr>
        </p:nvSpPr>
        <p:spPr>
          <a:xfrm>
            <a:off x="269897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41" hasCustomPrompt="1"/>
          </p:nvPr>
        </p:nvSpPr>
        <p:spPr>
          <a:xfrm>
            <a:off x="386496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7" name="Tijdelijke aanduiding voor afbeelding 31"/>
          <p:cNvSpPr>
            <a:spLocks noGrp="1"/>
          </p:cNvSpPr>
          <p:nvPr>
            <p:ph type="pic" sz="quarter" idx="42" hasCustomPrompt="1"/>
          </p:nvPr>
        </p:nvSpPr>
        <p:spPr>
          <a:xfrm>
            <a:off x="386496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8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030967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9" name="Tijdelijke aanduiding voor afbeelding 31"/>
          <p:cNvSpPr>
            <a:spLocks noGrp="1"/>
          </p:cNvSpPr>
          <p:nvPr>
            <p:ph type="pic" sz="quarter" idx="44" hasCustomPrompt="1"/>
          </p:nvPr>
        </p:nvSpPr>
        <p:spPr>
          <a:xfrm>
            <a:off x="5030967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0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6196965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1" name="Tijdelijke aanduiding voor afbeelding 31"/>
          <p:cNvSpPr>
            <a:spLocks noGrp="1"/>
          </p:cNvSpPr>
          <p:nvPr>
            <p:ph type="pic" sz="quarter" idx="46" hasCustomPrompt="1"/>
          </p:nvPr>
        </p:nvSpPr>
        <p:spPr>
          <a:xfrm>
            <a:off x="6196965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2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736296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3" name="Tijdelijke aanduiding voor afbeelding 31"/>
          <p:cNvSpPr>
            <a:spLocks noGrp="1"/>
          </p:cNvSpPr>
          <p:nvPr>
            <p:ph type="pic" sz="quarter" idx="48" hasCustomPrompt="1"/>
          </p:nvPr>
        </p:nvSpPr>
        <p:spPr>
          <a:xfrm>
            <a:off x="736296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4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69495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5" name="Tijdelijke aanduiding voor afbeelding 31"/>
          <p:cNvSpPr>
            <a:spLocks noGrp="1"/>
          </p:cNvSpPr>
          <p:nvPr>
            <p:ph type="pic" sz="quarter" idx="50" hasCustomPrompt="1"/>
          </p:nvPr>
        </p:nvSpPr>
        <p:spPr>
          <a:xfrm>
            <a:off x="969495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6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852896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7" name="Tijdelijke aanduiding voor afbeelding 31"/>
          <p:cNvSpPr>
            <a:spLocks noGrp="1"/>
          </p:cNvSpPr>
          <p:nvPr>
            <p:ph type="pic" sz="quarter" idx="52" hasCustomPrompt="1"/>
          </p:nvPr>
        </p:nvSpPr>
        <p:spPr>
          <a:xfrm>
            <a:off x="852896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8" name="Tijdelijke aanduiding voor verticale tekst 2"/>
          <p:cNvSpPr>
            <a:spLocks noGrp="1"/>
          </p:cNvSpPr>
          <p:nvPr>
            <p:ph type="body" orient="vert" idx="53" hasCustomPrompt="1"/>
          </p:nvPr>
        </p:nvSpPr>
        <p:spPr>
          <a:xfrm>
            <a:off x="1086095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9" name="Tijdelijke aanduiding voor afbeelding 31"/>
          <p:cNvSpPr>
            <a:spLocks noGrp="1"/>
          </p:cNvSpPr>
          <p:nvPr>
            <p:ph type="pic" sz="quarter" idx="54" hasCustomPrompt="1"/>
          </p:nvPr>
        </p:nvSpPr>
        <p:spPr>
          <a:xfrm>
            <a:off x="1086095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7" name="Tijdelijke aanduiding voor verticale tekst 2"/>
          <p:cNvSpPr>
            <a:spLocks noGrp="1"/>
          </p:cNvSpPr>
          <p:nvPr>
            <p:ph type="body" orient="vert" idx="55" hasCustomPrompt="1"/>
          </p:nvPr>
        </p:nvSpPr>
        <p:spPr>
          <a:xfrm>
            <a:off x="153297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68" name="Tijdelijke aanduiding voor afbeelding 31"/>
          <p:cNvSpPr>
            <a:spLocks noGrp="1"/>
          </p:cNvSpPr>
          <p:nvPr>
            <p:ph type="pic" sz="quarter" idx="56" hasCustomPrompt="1"/>
          </p:nvPr>
        </p:nvSpPr>
        <p:spPr>
          <a:xfrm>
            <a:off x="153297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9" name="Tijdelijke aanduiding voor verticale tekst 2"/>
          <p:cNvSpPr>
            <a:spLocks noGrp="1"/>
          </p:cNvSpPr>
          <p:nvPr>
            <p:ph type="body" orient="vert" idx="57" hasCustomPrompt="1"/>
          </p:nvPr>
        </p:nvSpPr>
        <p:spPr>
          <a:xfrm>
            <a:off x="386496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0" name="Tijdelijke aanduiding voor afbeelding 31"/>
          <p:cNvSpPr>
            <a:spLocks noGrp="1"/>
          </p:cNvSpPr>
          <p:nvPr>
            <p:ph type="pic" sz="quarter" idx="58" hasCustomPrompt="1"/>
          </p:nvPr>
        </p:nvSpPr>
        <p:spPr>
          <a:xfrm>
            <a:off x="386496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1" name="Tijdelijke aanduiding voor verticale tekst 2"/>
          <p:cNvSpPr>
            <a:spLocks noGrp="1"/>
          </p:cNvSpPr>
          <p:nvPr>
            <p:ph type="body" orient="vert" idx="59" hasCustomPrompt="1"/>
          </p:nvPr>
        </p:nvSpPr>
        <p:spPr>
          <a:xfrm>
            <a:off x="5030967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2" name="Tijdelijke aanduiding voor afbeelding 31"/>
          <p:cNvSpPr>
            <a:spLocks noGrp="1"/>
          </p:cNvSpPr>
          <p:nvPr>
            <p:ph type="pic" sz="quarter" idx="60" hasCustomPrompt="1"/>
          </p:nvPr>
        </p:nvSpPr>
        <p:spPr>
          <a:xfrm>
            <a:off x="5030967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3" name="Tijdelijke aanduiding voor verticale tekst 2"/>
          <p:cNvSpPr>
            <a:spLocks noGrp="1"/>
          </p:cNvSpPr>
          <p:nvPr>
            <p:ph type="body" orient="vert" idx="61" hasCustomPrompt="1"/>
          </p:nvPr>
        </p:nvSpPr>
        <p:spPr>
          <a:xfrm>
            <a:off x="6196965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4" name="Tijdelijke aanduiding voor afbeelding 31"/>
          <p:cNvSpPr>
            <a:spLocks noGrp="1"/>
          </p:cNvSpPr>
          <p:nvPr>
            <p:ph type="pic" sz="quarter" idx="62" hasCustomPrompt="1"/>
          </p:nvPr>
        </p:nvSpPr>
        <p:spPr>
          <a:xfrm>
            <a:off x="6196965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5" name="Tijdelijke aanduiding voor verticale tekst 2"/>
          <p:cNvSpPr>
            <a:spLocks noGrp="1"/>
          </p:cNvSpPr>
          <p:nvPr>
            <p:ph type="body" orient="vert" idx="63" hasCustomPrompt="1"/>
          </p:nvPr>
        </p:nvSpPr>
        <p:spPr>
          <a:xfrm>
            <a:off x="736296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6" name="Tijdelijke aanduiding voor afbeelding 31"/>
          <p:cNvSpPr>
            <a:spLocks noGrp="1"/>
          </p:cNvSpPr>
          <p:nvPr>
            <p:ph type="pic" sz="quarter" idx="64" hasCustomPrompt="1"/>
          </p:nvPr>
        </p:nvSpPr>
        <p:spPr>
          <a:xfrm>
            <a:off x="736296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7" name="Tijdelijke aanduiding voor verticale tekst 2"/>
          <p:cNvSpPr>
            <a:spLocks noGrp="1"/>
          </p:cNvSpPr>
          <p:nvPr>
            <p:ph type="body" orient="vert" idx="65" hasCustomPrompt="1"/>
          </p:nvPr>
        </p:nvSpPr>
        <p:spPr>
          <a:xfrm>
            <a:off x="969495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8" name="Tijdelijke aanduiding voor afbeelding 31"/>
          <p:cNvSpPr>
            <a:spLocks noGrp="1"/>
          </p:cNvSpPr>
          <p:nvPr>
            <p:ph type="pic" sz="quarter" idx="66" hasCustomPrompt="1"/>
          </p:nvPr>
        </p:nvSpPr>
        <p:spPr>
          <a:xfrm>
            <a:off x="969495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9" name="Tijdelijke aanduiding voor verticale tekst 2"/>
          <p:cNvSpPr>
            <a:spLocks noGrp="1"/>
          </p:cNvSpPr>
          <p:nvPr>
            <p:ph type="body" orient="vert" idx="67" hasCustomPrompt="1"/>
          </p:nvPr>
        </p:nvSpPr>
        <p:spPr>
          <a:xfrm>
            <a:off x="8528961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0" name="Tijdelijke aanduiding voor afbeelding 31"/>
          <p:cNvSpPr>
            <a:spLocks noGrp="1"/>
          </p:cNvSpPr>
          <p:nvPr>
            <p:ph type="pic" sz="quarter" idx="68" hasCustomPrompt="1"/>
          </p:nvPr>
        </p:nvSpPr>
        <p:spPr>
          <a:xfrm>
            <a:off x="8528961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81" name="Tijdelijke aanduiding voor verticale tekst 2"/>
          <p:cNvSpPr>
            <a:spLocks noGrp="1"/>
          </p:cNvSpPr>
          <p:nvPr>
            <p:ph type="body" orient="vert" idx="69" hasCustomPrompt="1"/>
          </p:nvPr>
        </p:nvSpPr>
        <p:spPr>
          <a:xfrm>
            <a:off x="1086095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2" name="Tijdelijke aanduiding voor afbeelding 31"/>
          <p:cNvSpPr>
            <a:spLocks noGrp="1"/>
          </p:cNvSpPr>
          <p:nvPr>
            <p:ph type="pic" sz="quarter" idx="70" hasCustomPrompt="1"/>
          </p:nvPr>
        </p:nvSpPr>
        <p:spPr>
          <a:xfrm>
            <a:off x="1086095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grpSp>
        <p:nvGrpSpPr>
          <p:cNvPr id="183" name="Groep 182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Bijsnijd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000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4179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7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9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0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1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5" grpId="0" animBg="1"/>
      <p:bldP spid="1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/>
      <p:bldP spid="12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1" grpId="0" animBg="1"/>
      <p:bldP spid="12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3" grpId="0" animBg="1"/>
      <p:bldP spid="12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/>
      <p:bldP spid="12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7" grpId="0" animBg="1"/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/>
      <p:bldP spid="13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3" grpId="0" animBg="1"/>
      <p:bldP spid="1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animBg="1"/>
      <p:bldP spid="13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7" grpId="0" animBg="1"/>
      <p:bldP spid="13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9" grpId="0" animBg="1"/>
      <p:bldP spid="1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1" grpId="0" animBg="1"/>
      <p:bldP spid="14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3" grpId="0" animBg="1"/>
      <p:bldP spid="1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animBg="1"/>
      <p:bldP spid="14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7" grpId="0" animBg="1"/>
      <p:bldP spid="1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9" grpId="0" animBg="1"/>
      <p:bldP spid="1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8" grpId="0" animBg="1"/>
      <p:bldP spid="1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0" grpId="0" animBg="1"/>
      <p:bldP spid="1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2" grpId="0" animBg="1"/>
      <p:bldP spid="1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4" grpId="0" animBg="1"/>
      <p:bldP spid="1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6" grpId="0" animBg="1"/>
      <p:bldP spid="1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8" grpId="0" animBg="1"/>
      <p:bldP spid="1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0" grpId="0" animBg="1"/>
      <p:bldP spid="1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2" grpId="0" animBg="1"/>
    </p:bld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eled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51C1-7C60-440F-BC16-1678C542979D}" type="datetime2">
              <a:rPr lang="nl-NL" smtClean="0"/>
              <a:t>donderdag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83" name="Groep 182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Bijsnijd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000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351" name="Tijdelijke aanduiding voor verticale tekst 2">
            <a:extLst>
              <a:ext uri="{FF2B5EF4-FFF2-40B4-BE49-F238E27FC236}">
                <a16:creationId xmlns:a16="http://schemas.microsoft.com/office/drawing/2014/main" id="{14293AD2-5837-4071-844A-CF9B4C8E7AF4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5627391" y="1273157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2" name="Tijdelijke aanduiding voor afbeelding 31">
            <a:extLst>
              <a:ext uri="{FF2B5EF4-FFF2-40B4-BE49-F238E27FC236}">
                <a16:creationId xmlns:a16="http://schemas.microsoft.com/office/drawing/2014/main" id="{31C292F8-365A-42F0-A852-406D5067D3A0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5627391" y="1275303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3" name="Tijdelijke aanduiding voor verticale tekst 2">
            <a:extLst>
              <a:ext uri="{FF2B5EF4-FFF2-40B4-BE49-F238E27FC236}">
                <a16:creationId xmlns:a16="http://schemas.microsoft.com/office/drawing/2014/main" id="{3546D6F5-C676-40A9-869B-8EFFA5AA167D}"/>
              </a:ext>
            </a:extLst>
          </p:cNvPr>
          <p:cNvSpPr>
            <a:spLocks noGrp="1"/>
          </p:cNvSpPr>
          <p:nvPr>
            <p:ph type="body" orient="vert" idx="61" hasCustomPrompt="1"/>
          </p:nvPr>
        </p:nvSpPr>
        <p:spPr>
          <a:xfrm>
            <a:off x="3300938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4" name="Tijdelijke aanduiding voor afbeelding 31">
            <a:extLst>
              <a:ext uri="{FF2B5EF4-FFF2-40B4-BE49-F238E27FC236}">
                <a16:creationId xmlns:a16="http://schemas.microsoft.com/office/drawing/2014/main" id="{19A7FBEA-B915-4628-84CB-AAE0E645B7B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300938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5" name="Tijdelijke aanduiding voor verticale tekst 2">
            <a:extLst>
              <a:ext uri="{FF2B5EF4-FFF2-40B4-BE49-F238E27FC236}">
                <a16:creationId xmlns:a16="http://schemas.microsoft.com/office/drawing/2014/main" id="{C013B144-0A0D-497E-9CB4-D7698C524BA4}"/>
              </a:ext>
            </a:extLst>
          </p:cNvPr>
          <p:cNvSpPr>
            <a:spLocks noGrp="1"/>
          </p:cNvSpPr>
          <p:nvPr>
            <p:ph type="body" orient="vert" idx="63" hasCustomPrompt="1"/>
          </p:nvPr>
        </p:nvSpPr>
        <p:spPr>
          <a:xfrm>
            <a:off x="4466112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6" name="Tijdelijke aanduiding voor afbeelding 31">
            <a:extLst>
              <a:ext uri="{FF2B5EF4-FFF2-40B4-BE49-F238E27FC236}">
                <a16:creationId xmlns:a16="http://schemas.microsoft.com/office/drawing/2014/main" id="{6507DC2E-D07A-43FD-A01D-E8C2C5DB65E1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466112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7" name="Tijdelijke aanduiding voor verticale tekst 2">
            <a:extLst>
              <a:ext uri="{FF2B5EF4-FFF2-40B4-BE49-F238E27FC236}">
                <a16:creationId xmlns:a16="http://schemas.microsoft.com/office/drawing/2014/main" id="{83EC8DC8-0A58-457F-A794-EF5F437A5D57}"/>
              </a:ext>
            </a:extLst>
          </p:cNvPr>
          <p:cNvSpPr>
            <a:spLocks noGrp="1"/>
          </p:cNvSpPr>
          <p:nvPr>
            <p:ph type="body" orient="vert" idx="65" hasCustomPrompt="1"/>
          </p:nvPr>
        </p:nvSpPr>
        <p:spPr>
          <a:xfrm>
            <a:off x="5627025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8" name="Tijdelijke aanduiding voor afbeelding 31">
            <a:extLst>
              <a:ext uri="{FF2B5EF4-FFF2-40B4-BE49-F238E27FC236}">
                <a16:creationId xmlns:a16="http://schemas.microsoft.com/office/drawing/2014/main" id="{DC89F17D-F4CD-4E8D-A88A-98CD7D88CBD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5627025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9" name="Tijdelijke aanduiding voor verticale tekst 2">
            <a:extLst>
              <a:ext uri="{FF2B5EF4-FFF2-40B4-BE49-F238E27FC236}">
                <a16:creationId xmlns:a16="http://schemas.microsoft.com/office/drawing/2014/main" id="{B09EFA52-2194-4D04-AFD3-0EE8B5EFFCCD}"/>
              </a:ext>
            </a:extLst>
          </p:cNvPr>
          <p:cNvSpPr>
            <a:spLocks noGrp="1"/>
          </p:cNvSpPr>
          <p:nvPr>
            <p:ph type="body" orient="vert" idx="67" hasCustomPrompt="1"/>
          </p:nvPr>
        </p:nvSpPr>
        <p:spPr>
          <a:xfrm>
            <a:off x="6760801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0" name="Tijdelijke aanduiding voor afbeelding 31">
            <a:extLst>
              <a:ext uri="{FF2B5EF4-FFF2-40B4-BE49-F238E27FC236}">
                <a16:creationId xmlns:a16="http://schemas.microsoft.com/office/drawing/2014/main" id="{A24E315D-EA10-4DEF-95BB-C8CE4FFB11A4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6760801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1" name="Tijdelijke aanduiding voor verticale tekst 2">
            <a:extLst>
              <a:ext uri="{FF2B5EF4-FFF2-40B4-BE49-F238E27FC236}">
                <a16:creationId xmlns:a16="http://schemas.microsoft.com/office/drawing/2014/main" id="{8C45A7BE-A6A5-46D1-836D-6BAE04F801EE}"/>
              </a:ext>
            </a:extLst>
          </p:cNvPr>
          <p:cNvSpPr>
            <a:spLocks noGrp="1"/>
          </p:cNvSpPr>
          <p:nvPr>
            <p:ph type="body" orient="vert" idx="69" hasCustomPrompt="1"/>
          </p:nvPr>
        </p:nvSpPr>
        <p:spPr>
          <a:xfrm>
            <a:off x="7919783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2" name="Tijdelijke aanduiding voor afbeelding 31">
            <a:extLst>
              <a:ext uri="{FF2B5EF4-FFF2-40B4-BE49-F238E27FC236}">
                <a16:creationId xmlns:a16="http://schemas.microsoft.com/office/drawing/2014/main" id="{70A28BCC-A31D-4DF1-B9E3-C2C142D837B7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7919783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3" name="Tijdelijke aanduiding voor verticale tekst 2">
            <a:extLst>
              <a:ext uri="{FF2B5EF4-FFF2-40B4-BE49-F238E27FC236}">
                <a16:creationId xmlns:a16="http://schemas.microsoft.com/office/drawing/2014/main" id="{A0474310-937A-48E0-8BA1-9B4140C7BB4F}"/>
              </a:ext>
            </a:extLst>
          </p:cNvPr>
          <p:cNvSpPr>
            <a:spLocks noGrp="1"/>
          </p:cNvSpPr>
          <p:nvPr>
            <p:ph type="body" orient="vert" idx="71" hasCustomPrompt="1"/>
          </p:nvPr>
        </p:nvSpPr>
        <p:spPr>
          <a:xfrm>
            <a:off x="18685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4" name="Tijdelijke aanduiding voor afbeelding 31">
            <a:extLst>
              <a:ext uri="{FF2B5EF4-FFF2-40B4-BE49-F238E27FC236}">
                <a16:creationId xmlns:a16="http://schemas.microsoft.com/office/drawing/2014/main" id="{3CBF5ECA-BEE2-473A-8E52-D03352A5EDDF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18685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5" name="Tijdelijke aanduiding voor verticale tekst 2">
            <a:extLst>
              <a:ext uri="{FF2B5EF4-FFF2-40B4-BE49-F238E27FC236}">
                <a16:creationId xmlns:a16="http://schemas.microsoft.com/office/drawing/2014/main" id="{E5DD920C-0DD7-43B5-80F2-1553606E5496}"/>
              </a:ext>
            </a:extLst>
          </p:cNvPr>
          <p:cNvSpPr>
            <a:spLocks noGrp="1"/>
          </p:cNvSpPr>
          <p:nvPr>
            <p:ph type="body" orient="vert" idx="73" hasCustomPrompt="1"/>
          </p:nvPr>
        </p:nvSpPr>
        <p:spPr>
          <a:xfrm>
            <a:off x="1196287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6" name="Tijdelijke aanduiding voor afbeelding 31">
            <a:extLst>
              <a:ext uri="{FF2B5EF4-FFF2-40B4-BE49-F238E27FC236}">
                <a16:creationId xmlns:a16="http://schemas.microsoft.com/office/drawing/2014/main" id="{41CE60B6-643B-4FA5-AFD6-F71184104FEB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1196287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7" name="Tijdelijke aanduiding voor verticale tekst 2">
            <a:extLst>
              <a:ext uri="{FF2B5EF4-FFF2-40B4-BE49-F238E27FC236}">
                <a16:creationId xmlns:a16="http://schemas.microsoft.com/office/drawing/2014/main" id="{0E055054-668D-45F3-AC9E-E98016952F7F}"/>
              </a:ext>
            </a:extLst>
          </p:cNvPr>
          <p:cNvSpPr>
            <a:spLocks noGrp="1"/>
          </p:cNvSpPr>
          <p:nvPr>
            <p:ph type="body" orient="vert" idx="75" hasCustomPrompt="1"/>
          </p:nvPr>
        </p:nvSpPr>
        <p:spPr>
          <a:xfrm>
            <a:off x="2178401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8" name="Tijdelijke aanduiding voor afbeelding 31">
            <a:extLst>
              <a:ext uri="{FF2B5EF4-FFF2-40B4-BE49-F238E27FC236}">
                <a16:creationId xmlns:a16="http://schemas.microsoft.com/office/drawing/2014/main" id="{61EF5895-2F2F-41FA-BD25-A9ACEE183E07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2178401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9" name="Tijdelijke aanduiding voor verticale tekst 2">
            <a:extLst>
              <a:ext uri="{FF2B5EF4-FFF2-40B4-BE49-F238E27FC236}">
                <a16:creationId xmlns:a16="http://schemas.microsoft.com/office/drawing/2014/main" id="{1C5CEB20-7748-4A99-9912-BBFD8F504873}"/>
              </a:ext>
            </a:extLst>
          </p:cNvPr>
          <p:cNvSpPr>
            <a:spLocks noGrp="1"/>
          </p:cNvSpPr>
          <p:nvPr>
            <p:ph type="body" orient="vert" idx="77" hasCustomPrompt="1"/>
          </p:nvPr>
        </p:nvSpPr>
        <p:spPr>
          <a:xfrm>
            <a:off x="316992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0" name="Tijdelijke aanduiding voor afbeelding 31">
            <a:extLst>
              <a:ext uri="{FF2B5EF4-FFF2-40B4-BE49-F238E27FC236}">
                <a16:creationId xmlns:a16="http://schemas.microsoft.com/office/drawing/2014/main" id="{8F724066-6267-4012-A0AE-9AFF34BFAEF3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16992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1" name="Tijdelijke aanduiding voor verticale tekst 2">
            <a:extLst>
              <a:ext uri="{FF2B5EF4-FFF2-40B4-BE49-F238E27FC236}">
                <a16:creationId xmlns:a16="http://schemas.microsoft.com/office/drawing/2014/main" id="{5549D103-FD4C-40BD-9381-7A2A04ACE976}"/>
              </a:ext>
            </a:extLst>
          </p:cNvPr>
          <p:cNvSpPr>
            <a:spLocks noGrp="1"/>
          </p:cNvSpPr>
          <p:nvPr>
            <p:ph type="body" orient="vert" idx="79" hasCustomPrompt="1"/>
          </p:nvPr>
        </p:nvSpPr>
        <p:spPr>
          <a:xfrm>
            <a:off x="417561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2" name="Tijdelijke aanduiding voor afbeelding 31">
            <a:extLst>
              <a:ext uri="{FF2B5EF4-FFF2-40B4-BE49-F238E27FC236}">
                <a16:creationId xmlns:a16="http://schemas.microsoft.com/office/drawing/2014/main" id="{77371A9C-44E1-4AF9-AEF3-D57D35EC1BDB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417561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3" name="Tijdelijke aanduiding voor verticale tekst 2">
            <a:extLst>
              <a:ext uri="{FF2B5EF4-FFF2-40B4-BE49-F238E27FC236}">
                <a16:creationId xmlns:a16="http://schemas.microsoft.com/office/drawing/2014/main" id="{714A5014-6E42-4ED5-8E6B-6B8B1A3EDEC8}"/>
              </a:ext>
            </a:extLst>
          </p:cNvPr>
          <p:cNvSpPr>
            <a:spLocks noGrp="1"/>
          </p:cNvSpPr>
          <p:nvPr>
            <p:ph type="body" orient="vert" idx="81" hasCustomPrompt="1"/>
          </p:nvPr>
        </p:nvSpPr>
        <p:spPr>
          <a:xfrm>
            <a:off x="517047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4" name="Tijdelijke aanduiding voor afbeelding 31">
            <a:extLst>
              <a:ext uri="{FF2B5EF4-FFF2-40B4-BE49-F238E27FC236}">
                <a16:creationId xmlns:a16="http://schemas.microsoft.com/office/drawing/2014/main" id="{5B04C9C5-8DDC-42DA-A688-232C243D2E1F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17047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5" name="Tijdelijke aanduiding voor verticale tekst 2">
            <a:extLst>
              <a:ext uri="{FF2B5EF4-FFF2-40B4-BE49-F238E27FC236}">
                <a16:creationId xmlns:a16="http://schemas.microsoft.com/office/drawing/2014/main" id="{B8514DCC-110B-47C6-B106-1D96A43C6875}"/>
              </a:ext>
            </a:extLst>
          </p:cNvPr>
          <p:cNvSpPr>
            <a:spLocks noGrp="1"/>
          </p:cNvSpPr>
          <p:nvPr>
            <p:ph type="body" orient="vert" idx="83" hasCustomPrompt="1"/>
          </p:nvPr>
        </p:nvSpPr>
        <p:spPr>
          <a:xfrm>
            <a:off x="618874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6" name="Tijdelijke aanduiding voor afbeelding 31">
            <a:extLst>
              <a:ext uri="{FF2B5EF4-FFF2-40B4-BE49-F238E27FC236}">
                <a16:creationId xmlns:a16="http://schemas.microsoft.com/office/drawing/2014/main" id="{0464B692-CE9D-4CCC-BD48-184F82D2E128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618874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7" name="Tijdelijke aanduiding voor verticale tekst 2">
            <a:extLst>
              <a:ext uri="{FF2B5EF4-FFF2-40B4-BE49-F238E27FC236}">
                <a16:creationId xmlns:a16="http://schemas.microsoft.com/office/drawing/2014/main" id="{0EFDBC1E-2C3E-49F2-BAB9-80B028E7925A}"/>
              </a:ext>
            </a:extLst>
          </p:cNvPr>
          <p:cNvSpPr>
            <a:spLocks noGrp="1"/>
          </p:cNvSpPr>
          <p:nvPr>
            <p:ph type="body" orient="vert" idx="85" hasCustomPrompt="1"/>
          </p:nvPr>
        </p:nvSpPr>
        <p:spPr>
          <a:xfrm>
            <a:off x="7172109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8" name="Tijdelijke aanduiding voor afbeelding 31">
            <a:extLst>
              <a:ext uri="{FF2B5EF4-FFF2-40B4-BE49-F238E27FC236}">
                <a16:creationId xmlns:a16="http://schemas.microsoft.com/office/drawing/2014/main" id="{9C5F1BD7-86D5-4851-9BE4-35B8C2CA6372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7172109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9" name="Tijdelijke aanduiding voor verticale tekst 2">
            <a:extLst>
              <a:ext uri="{FF2B5EF4-FFF2-40B4-BE49-F238E27FC236}">
                <a16:creationId xmlns:a16="http://schemas.microsoft.com/office/drawing/2014/main" id="{4730FF30-C1DE-481D-B4CC-37F59AE69C53}"/>
              </a:ext>
            </a:extLst>
          </p:cNvPr>
          <p:cNvSpPr>
            <a:spLocks noGrp="1"/>
          </p:cNvSpPr>
          <p:nvPr>
            <p:ph type="body" orient="vert" idx="87" hasCustomPrompt="1"/>
          </p:nvPr>
        </p:nvSpPr>
        <p:spPr>
          <a:xfrm>
            <a:off x="8180801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0" name="Tijdelijke aanduiding voor afbeelding 31">
            <a:extLst>
              <a:ext uri="{FF2B5EF4-FFF2-40B4-BE49-F238E27FC236}">
                <a16:creationId xmlns:a16="http://schemas.microsoft.com/office/drawing/2014/main" id="{3A9287F3-0467-4BC6-AAAF-456CD7B58A04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8180801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1" name="Tijdelijke aanduiding voor verticale tekst 2">
            <a:extLst>
              <a:ext uri="{FF2B5EF4-FFF2-40B4-BE49-F238E27FC236}">
                <a16:creationId xmlns:a16="http://schemas.microsoft.com/office/drawing/2014/main" id="{416A12B1-AEC0-4EFE-B2A0-2EF8B86739E9}"/>
              </a:ext>
            </a:extLst>
          </p:cNvPr>
          <p:cNvSpPr>
            <a:spLocks noGrp="1"/>
          </p:cNvSpPr>
          <p:nvPr>
            <p:ph type="body" orient="vert" idx="89" hasCustomPrompt="1"/>
          </p:nvPr>
        </p:nvSpPr>
        <p:spPr>
          <a:xfrm>
            <a:off x="9185605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2" name="Tijdelijke aanduiding voor afbeelding 31">
            <a:extLst>
              <a:ext uri="{FF2B5EF4-FFF2-40B4-BE49-F238E27FC236}">
                <a16:creationId xmlns:a16="http://schemas.microsoft.com/office/drawing/2014/main" id="{A02ABF61-1E62-4C1D-98E4-D71576C67151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9185605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3" name="Tijdelijke aanduiding voor verticale tekst 2">
            <a:extLst>
              <a:ext uri="{FF2B5EF4-FFF2-40B4-BE49-F238E27FC236}">
                <a16:creationId xmlns:a16="http://schemas.microsoft.com/office/drawing/2014/main" id="{780E81C4-4C3D-4918-9B7E-5C13BDA880F3}"/>
              </a:ext>
            </a:extLst>
          </p:cNvPr>
          <p:cNvSpPr>
            <a:spLocks noGrp="1"/>
          </p:cNvSpPr>
          <p:nvPr>
            <p:ph type="body" orient="vert" idx="91" hasCustomPrompt="1"/>
          </p:nvPr>
        </p:nvSpPr>
        <p:spPr>
          <a:xfrm>
            <a:off x="1017220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4" name="Tijdelijke aanduiding voor afbeelding 31">
            <a:extLst>
              <a:ext uri="{FF2B5EF4-FFF2-40B4-BE49-F238E27FC236}">
                <a16:creationId xmlns:a16="http://schemas.microsoft.com/office/drawing/2014/main" id="{A11EEA0B-06CF-46E4-B49E-619F39CD8FCE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1017220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5" name="Tijdelijke aanduiding voor verticale tekst 2">
            <a:extLst>
              <a:ext uri="{FF2B5EF4-FFF2-40B4-BE49-F238E27FC236}">
                <a16:creationId xmlns:a16="http://schemas.microsoft.com/office/drawing/2014/main" id="{D3F3124F-387F-41B9-9AD4-17B8B8938093}"/>
              </a:ext>
            </a:extLst>
          </p:cNvPr>
          <p:cNvSpPr>
            <a:spLocks noGrp="1"/>
          </p:cNvSpPr>
          <p:nvPr>
            <p:ph type="body" orient="vert" idx="93" hasCustomPrompt="1"/>
          </p:nvPr>
        </p:nvSpPr>
        <p:spPr>
          <a:xfrm>
            <a:off x="1118003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6" name="Tijdelijke aanduiding voor afbeelding 31">
            <a:extLst>
              <a:ext uri="{FF2B5EF4-FFF2-40B4-BE49-F238E27FC236}">
                <a16:creationId xmlns:a16="http://schemas.microsoft.com/office/drawing/2014/main" id="{1666C2E9-EB03-4BE0-A719-C01BCB15744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1118003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2312729-E02A-43BC-A267-1B37FDF68AD8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00938" y="2455939"/>
            <a:ext cx="1211263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8" name="Tijdelijke aanduiding voor tekst 7">
            <a:extLst>
              <a:ext uri="{FF2B5EF4-FFF2-40B4-BE49-F238E27FC236}">
                <a16:creationId xmlns:a16="http://schemas.microsoft.com/office/drawing/2014/main" id="{0F1BE2BF-85C1-4D56-96AA-702D436423AB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97539" y="4101385"/>
            <a:ext cx="1472006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9" name="Tijdelijke aanduiding voor tekst 7">
            <a:extLst>
              <a:ext uri="{FF2B5EF4-FFF2-40B4-BE49-F238E27FC236}">
                <a16:creationId xmlns:a16="http://schemas.microsoft.com/office/drawing/2014/main" id="{4E575E57-AA1F-447B-B420-AA5E8340FD08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627025" y="971917"/>
            <a:ext cx="1491010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54197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2" grpId="0" animBg="1"/>
      <p:bldP spid="3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4" grpId="0" animBg="1"/>
      <p:bldP spid="3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6" grpId="0" animBg="1"/>
      <p:bldP spid="3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8" grpId="0" animBg="1"/>
      <p:bldP spid="3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0" grpId="0" animBg="1"/>
      <p:bldP spid="3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2" grpId="0" animBg="1"/>
      <p:bldP spid="3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4" grpId="0" animBg="1"/>
      <p:bldP spid="3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6" grpId="0" animBg="1"/>
      <p:bldP spid="3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8" grpId="0" animBg="1"/>
      <p:bldP spid="3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0" grpId="0" animBg="1"/>
      <p:bldP spid="3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2" grpId="0" animBg="1"/>
      <p:bldP spid="3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4" grpId="0" animBg="1"/>
      <p:bldP spid="3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6" grpId="0" animBg="1"/>
      <p:bldP spid="3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8" grpId="0" animBg="1"/>
      <p:bldP spid="3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0" grpId="0" animBg="1"/>
      <p:bldP spid="3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2" grpId="0" animBg="1"/>
      <p:bldP spid="38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4" grpId="0" animBg="1"/>
      <p:bldP spid="38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6" grpId="0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3810" cy="272814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FFE59-BFA5-49CE-BB88-6FFB23EA7534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Grafiek</a:t>
            </a:r>
          </a:p>
        </p:txBody>
      </p:sp>
      <p:sp>
        <p:nvSpPr>
          <p:cNvPr id="9" name="Tijdelijke aanduiding voor grafiek 8"/>
          <p:cNvSpPr>
            <a:spLocks noGrp="1"/>
          </p:cNvSpPr>
          <p:nvPr userDrawn="1">
            <p:ph type="chart" sz="quarter" idx="15" hasCustomPrompt="1"/>
          </p:nvPr>
        </p:nvSpPr>
        <p:spPr>
          <a:xfrm>
            <a:off x="6464299" y="1179861"/>
            <a:ext cx="5357811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3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11450926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36" name="Groep 3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3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2" name="Rechthoek 4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43" name="Ovaal 4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5" name="Rechthoek 4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hthoek 4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9" name="Groep 4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0" name="Groep 9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1" name="Rechthoek 10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2" name="Pijl: punthaak 10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50" name="Groep 4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1" name="Groep 9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2" name="Rechthoek 9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3" name="Pijl: punthaak 9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2" name="Rechte verbindingslijn 5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9" name="Rechthoek 7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3" name="Rechthoek 8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4" name="Pijl: punthaak 8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4" name="Groep 5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8" name="Rechthoek 6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9" name="Groep 6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0" name="Groep 6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1" name="Groep 7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2" name="Rechthoek 7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3" name="Pijl: punthaak 7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5" name="Rechthoek 5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8" name="Rechthoek 5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59" name="Ovaal 5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0" name="Rechthoek 5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1" name="Ovaal 6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2" name="Rechthoek 6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63" name="Ovaal 6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4" name="Rechthoek 6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65" name="Ovaal 6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6" name="Rechthoek 6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67" name="Rechte verbindingslijn 6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8" name="Groep 107"/>
          <p:cNvGrpSpPr/>
          <p:nvPr userDrawn="1"/>
        </p:nvGrpSpPr>
        <p:grpSpPr>
          <a:xfrm>
            <a:off x="12391603" y="-17883"/>
            <a:ext cx="3183677" cy="6879634"/>
            <a:chOff x="12391603" y="-17883"/>
            <a:chExt cx="3183677" cy="6879634"/>
          </a:xfrm>
        </p:grpSpPr>
        <p:grpSp>
          <p:nvGrpSpPr>
            <p:cNvPr id="10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16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66" name="Rechthoek 16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7" name="Rechte verbindingslijn 16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51" name="Rechte verbindingslijn 150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52" name="Rechte verbindingslijn 151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53" name="Rechthoek 152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154" name="Ovaal 153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55" name="Rechthoek 154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grafiek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56" name="Groep 155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3" name="Rechte verbindingslijn 16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64" name="Gelijkbenige driehoek 16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157" name="Rechte verbindingslijn 156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58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159" name="Rechthoek 158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60" name="Rechthoek 159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61" name="Rechthoek 160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  <p:grpSp>
          <p:nvGrpSpPr>
            <p:cNvPr id="111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Rechthoek 112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114" name="Ovaal 113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5" name="Rechte verbindingslijn 114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6" name="Rechthoek 115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100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117" name="Groep 116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0" name="Tekstvak 119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121" name="Tekstvak 120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12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123" name="Groep 122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</p:grpSp>
            <p:grpSp>
              <p:nvGrpSpPr>
                <p:cNvPr id="124" name="Groep 123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125" name="Rechthoek 124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  <p:grpSp>
                <p:nvGrpSpPr>
                  <p:cNvPr id="126" name="Groep 125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127" name="Groep 126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132" name="Rechthoek 131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grpSp>
                    <p:nvGrpSpPr>
                      <p:cNvPr id="133" name="Groep 132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139" name="Rechte verbindingslijn 13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141" name="Groep 140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142" name="Rechte verbindingslijn 14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3" name="Rechte verbindingslijn 14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4" name="Rechte verbindingslijn 14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5" name="Rechte verbindingslijn 144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134" name="Rechte verbindingslijn 133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5" name="Groep 134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136" name="Rechte verbindingslijn 13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7" name="Rechte verbindingslijn 13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8" name="Rechte verbindingslijn 137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128" name="Groep 127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129" name="Rechthoek 128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130" name="Rechthoek: afgeronde bovenhoeken 129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131" name="Gelijkbenige driehoek 130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10871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Feedback communicer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16" name="Rechthoek 15"/>
          <p:cNvSpPr/>
          <p:nvPr userDrawn="1"/>
        </p:nvSpPr>
        <p:spPr>
          <a:xfrm>
            <a:off x="701536" y="1700810"/>
            <a:ext cx="10800649" cy="435649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te klant,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j PPT Solutions communiceren we feedback met opmerkingen in PowerPoint.</a:t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nneer u feedback heeft wat betrekking heeft op een dia in de presentatie, ga dan naar de desbetreffende dia en volg de volgende stappen: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ze stappen kunt u uitvoeren door de gehele presentatie en eventueel ook antwoord geven op onze communicatie via opmerkingen.</a:t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 volgende stappen kunt u uitvoeren om antwoord te geven op evt. opmerkingen of om naar de vorige/volgende opmerking in de presentatie te gaan:</a:t>
            </a: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Feedback communiceren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2267220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4838993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" name="Rechthoek 36"/>
            <p:cNvSpPr/>
            <p:nvPr userDrawn="1"/>
          </p:nvSpPr>
          <p:spPr>
            <a:xfrm>
              <a:off x="0" y="277158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" name="Rechthoek 37"/>
            <p:cNvSpPr/>
            <p:nvPr userDrawn="1"/>
          </p:nvSpPr>
          <p:spPr>
            <a:xfrm>
              <a:off x="0" y="320061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9" name="Rechthoek 38"/>
            <p:cNvSpPr/>
            <p:nvPr userDrawn="1"/>
          </p:nvSpPr>
          <p:spPr>
            <a:xfrm>
              <a:off x="0" y="3666199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48" name="Rechthoek 47"/>
            <p:cNvSpPr/>
            <p:nvPr userDrawn="1"/>
          </p:nvSpPr>
          <p:spPr>
            <a:xfrm>
              <a:off x="0" y="538020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dirty="0">
                <a:solidFill>
                  <a:srgbClr val="0096A5"/>
                </a:solidFill>
                <a:latin typeface="Oswald" panose="02000503000000000000" pitchFamily="2" charset="0"/>
              </a:rPr>
              <a:t>Feedback communicatie</a:t>
            </a:r>
            <a:endParaRPr lang="en-US" sz="18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  <p:grpSp>
        <p:nvGrpSpPr>
          <p:cNvPr id="67" name="Groep 66"/>
          <p:cNvGrpSpPr/>
          <p:nvPr userDrawn="1"/>
        </p:nvGrpSpPr>
        <p:grpSpPr>
          <a:xfrm>
            <a:off x="696791" y="2472280"/>
            <a:ext cx="9936052" cy="1694973"/>
            <a:chOff x="695521" y="2472279"/>
            <a:chExt cx="9917939" cy="1694973"/>
          </a:xfrm>
        </p:grpSpPr>
        <p:grpSp>
          <p:nvGrpSpPr>
            <p:cNvPr id="18" name="Groep 17"/>
            <p:cNvGrpSpPr/>
            <p:nvPr/>
          </p:nvGrpSpPr>
          <p:grpSpPr>
            <a:xfrm>
              <a:off x="695521" y="2477768"/>
              <a:ext cx="9917939" cy="1643724"/>
              <a:chOff x="607174" y="2060848"/>
              <a:chExt cx="9917939" cy="1643724"/>
            </a:xfrm>
          </p:grpSpPr>
          <p:sp>
            <p:nvSpPr>
              <p:cNvPr id="23" name="Tekstvak 22"/>
              <p:cNvSpPr txBox="1"/>
              <p:nvPr/>
            </p:nvSpPr>
            <p:spPr>
              <a:xfrm>
                <a:off x="1020057" y="2060849"/>
                <a:ext cx="4824536" cy="2654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a naar de tab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Invoegen’.</a:t>
                </a:r>
              </a:p>
            </p:txBody>
          </p:sp>
          <p:sp>
            <p:nvSpPr>
              <p:cNvPr id="24" name="Ovaal 23"/>
              <p:cNvSpPr/>
              <p:nvPr/>
            </p:nvSpPr>
            <p:spPr>
              <a:xfrm>
                <a:off x="607174" y="2060848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1</a:t>
                </a:r>
              </a:p>
            </p:txBody>
          </p:sp>
          <p:sp>
            <p:nvSpPr>
              <p:cNvPr id="25" name="Tekstvak 24"/>
              <p:cNvSpPr txBox="1"/>
              <p:nvPr/>
            </p:nvSpPr>
            <p:spPr>
              <a:xfrm>
                <a:off x="1020057" y="2483279"/>
                <a:ext cx="482453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Klik op de knop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Opmerking’.</a:t>
                </a:r>
              </a:p>
            </p:txBody>
          </p:sp>
          <p:sp>
            <p:nvSpPr>
              <p:cNvPr id="26" name="Ovaal 25"/>
              <p:cNvSpPr/>
              <p:nvPr/>
            </p:nvSpPr>
            <p:spPr>
              <a:xfrm>
                <a:off x="607174" y="2488475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</a:t>
                </a:r>
              </a:p>
            </p:txBody>
          </p:sp>
          <p:sp>
            <p:nvSpPr>
              <p:cNvPr id="27" name="Tekstvak 26"/>
              <p:cNvSpPr txBox="1"/>
              <p:nvPr/>
            </p:nvSpPr>
            <p:spPr>
              <a:xfrm>
                <a:off x="1020057" y="2931615"/>
                <a:ext cx="95050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r verschijnt nu een klein spreekwolkje op de slide en het venster voor opmerkingen opent zich aan de zijkant.</a:t>
                </a:r>
              </a:p>
              <a:p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yp uw feedback in het tekst vak in het venster voor opmerkingen.</a:t>
                </a:r>
              </a:p>
            </p:txBody>
          </p:sp>
          <p:sp>
            <p:nvSpPr>
              <p:cNvPr id="28" name="Ovaal 27"/>
              <p:cNvSpPr/>
              <p:nvPr/>
            </p:nvSpPr>
            <p:spPr>
              <a:xfrm>
                <a:off x="607174" y="291608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3</a:t>
                </a:r>
              </a:p>
            </p:txBody>
          </p:sp>
          <p:sp>
            <p:nvSpPr>
              <p:cNvPr id="29" name="Tekstvak 28"/>
              <p:cNvSpPr txBox="1"/>
              <p:nvPr/>
            </p:nvSpPr>
            <p:spPr>
              <a:xfrm>
                <a:off x="1020057" y="3416540"/>
                <a:ext cx="72936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u dit gedaan heeft, kunt u het spreekwolkje op de juiste plaats op de dia slepen. 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Zo is het voor ons duidelijk op welk deel van de content, op de dia, uw feedback betrekking heeft.</a:t>
                </a:r>
              </a:p>
            </p:txBody>
          </p:sp>
          <p:sp>
            <p:nvSpPr>
              <p:cNvPr id="30" name="Ovaal 29"/>
              <p:cNvSpPr/>
              <p:nvPr/>
            </p:nvSpPr>
            <p:spPr>
              <a:xfrm>
                <a:off x="607174" y="341654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4</a:t>
                </a:r>
              </a:p>
            </p:txBody>
          </p:sp>
        </p:grpSp>
        <p:pic>
          <p:nvPicPr>
            <p:cNvPr id="51" name="Afbeelding 5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2913" y="2472279"/>
              <a:ext cx="1822207" cy="26537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2" name="Afbeelding 51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92913" y="2840765"/>
              <a:ext cx="432050" cy="376815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6" name="Afbeelding 55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2793592"/>
              <a:ext cx="2144324" cy="880792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8" name="Afbeelding 57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3767202"/>
              <a:ext cx="419100" cy="40005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grpSp>
        <p:nvGrpSpPr>
          <p:cNvPr id="66" name="Groep 65"/>
          <p:cNvGrpSpPr/>
          <p:nvPr userDrawn="1"/>
        </p:nvGrpSpPr>
        <p:grpSpPr>
          <a:xfrm>
            <a:off x="691994" y="4957010"/>
            <a:ext cx="10940890" cy="992294"/>
            <a:chOff x="690732" y="4957010"/>
            <a:chExt cx="10920946" cy="992294"/>
          </a:xfrm>
        </p:grpSpPr>
        <p:grpSp>
          <p:nvGrpSpPr>
            <p:cNvPr id="41" name="Groep 40"/>
            <p:cNvGrpSpPr/>
            <p:nvPr/>
          </p:nvGrpSpPr>
          <p:grpSpPr>
            <a:xfrm>
              <a:off x="690732" y="5052264"/>
              <a:ext cx="10920946" cy="807860"/>
              <a:chOff x="612279" y="4917797"/>
              <a:chExt cx="10920946" cy="807860"/>
            </a:xfrm>
          </p:grpSpPr>
          <p:sp>
            <p:nvSpPr>
              <p:cNvPr id="44" name="Tekstvak 43"/>
              <p:cNvSpPr txBox="1"/>
              <p:nvPr/>
            </p:nvSpPr>
            <p:spPr>
              <a:xfrm>
                <a:off x="1020057" y="4933332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en u een opmerking van PPT Solutions ziet staan, Kunt u antwoorden door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nder de opmerking, waar een tekst vak staat met de beschrijving ‘Beantwoorden’, uw antwoord te typen.</a:t>
                </a:r>
              </a:p>
            </p:txBody>
          </p:sp>
          <p:sp>
            <p:nvSpPr>
              <p:cNvPr id="45" name="Ovaal 44"/>
              <p:cNvSpPr/>
              <p:nvPr/>
            </p:nvSpPr>
            <p:spPr>
              <a:xfrm>
                <a:off x="612279" y="4917797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</a:t>
                </a:r>
              </a:p>
            </p:txBody>
          </p:sp>
          <p:sp>
            <p:nvSpPr>
              <p:cNvPr id="46" name="Tekstvak 45"/>
              <p:cNvSpPr txBox="1"/>
              <p:nvPr/>
            </p:nvSpPr>
            <p:spPr>
              <a:xfrm>
                <a:off x="1020057" y="5437625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zijn in de rechter bovenhoek twee knopjes zichtbaar.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et het linker knopje gaat u naar de vorige opmerking in de presentatie en met het rechter knopje gaat u naar de volgende.</a:t>
                </a:r>
              </a:p>
            </p:txBody>
          </p:sp>
          <p:sp>
            <p:nvSpPr>
              <p:cNvPr id="47" name="Ovaal 46"/>
              <p:cNvSpPr/>
              <p:nvPr/>
            </p:nvSpPr>
            <p:spPr>
              <a:xfrm>
                <a:off x="612279" y="542209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B</a:t>
                </a:r>
              </a:p>
            </p:txBody>
          </p:sp>
        </p:grpSp>
        <p:pic>
          <p:nvPicPr>
            <p:cNvPr id="63" name="Afbeelding 62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21581" y="4957010"/>
              <a:ext cx="1677516" cy="529469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65" name="Afbeelding 64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21580" y="5568546"/>
              <a:ext cx="673648" cy="380758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sp>
        <p:nvSpPr>
          <p:cNvPr id="43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dirty="0"/>
          </a:p>
        </p:txBody>
      </p:sp>
      <p:cxnSp>
        <p:nvCxnSpPr>
          <p:cNvPr id="42" name="Rechte verbindingslijn 41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022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Video instructi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hthoek 10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Video instructies - YouTube links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es – YouTube links</a:t>
            </a:r>
          </a:p>
        </p:txBody>
      </p:sp>
      <p:cxnSp>
        <p:nvCxnSpPr>
          <p:cNvPr id="49" name="Rechte verbindingslijn 48"/>
          <p:cNvCxnSpPr/>
          <p:nvPr userDrawn="1"/>
        </p:nvCxnSpPr>
        <p:spPr>
          <a:xfrm>
            <a:off x="3394123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echte verbindingslijn 49"/>
          <p:cNvCxnSpPr/>
          <p:nvPr userDrawn="1"/>
        </p:nvCxnSpPr>
        <p:spPr>
          <a:xfrm>
            <a:off x="6094285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chte verbindingslijn 58"/>
          <p:cNvCxnSpPr>
            <a:cxnSpLocks/>
          </p:cNvCxnSpPr>
          <p:nvPr userDrawn="1"/>
        </p:nvCxnSpPr>
        <p:spPr>
          <a:xfrm flipH="1">
            <a:off x="672268" y="3879057"/>
            <a:ext cx="8122180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H2">
            <a:hlinkClick r:id="" action="ppaction://noaction"/>
          </p:cNvPr>
          <p:cNvSpPr txBox="1"/>
          <p:nvPr userDrawn="1"/>
        </p:nvSpPr>
        <p:spPr>
          <a:xfrm>
            <a:off x="1031406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Werken met Tekst Niveau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nl-NL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hM16rifWsjU</a:t>
            </a:r>
            <a:r>
              <a:rPr lang="nl-NL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2" name="H2">
            <a:hlinkClick r:id="" action="ppaction://noaction"/>
          </p:cNvPr>
          <p:cNvSpPr txBox="1"/>
          <p:nvPr userDrawn="1"/>
        </p:nvSpPr>
        <p:spPr>
          <a:xfrm>
            <a:off x="3781120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Afbeeldingen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09yTK-OTEPA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3" name="H2">
            <a:hlinkClick r:id="" action="ppaction://noaction"/>
          </p:cNvPr>
          <p:cNvSpPr txBox="1"/>
          <p:nvPr userDrawn="1"/>
        </p:nvSpPr>
        <p:spPr>
          <a:xfrm>
            <a:off x="6481282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Grafieken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fbByse1_RSY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79" name="Grafiek icoon"/>
          <p:cNvGrpSpPr/>
          <p:nvPr userDrawn="1"/>
        </p:nvGrpSpPr>
        <p:grpSpPr>
          <a:xfrm>
            <a:off x="7264959" y="2184002"/>
            <a:ext cx="358817" cy="389873"/>
            <a:chOff x="12468049" y="1754144"/>
            <a:chExt cx="339072" cy="369091"/>
          </a:xfrm>
        </p:grpSpPr>
        <p:sp>
          <p:nvSpPr>
            <p:cNvPr id="80" name="Rechthoek 79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81" name="Rechthoek 80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82" name="Rechthoek 8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</p:grpSp>
      <p:sp>
        <p:nvSpPr>
          <p:cNvPr id="83" name="H2">
            <a:hlinkClick r:id="" action="ppaction://noaction"/>
          </p:cNvPr>
          <p:cNvSpPr txBox="1"/>
          <p:nvPr userDrawn="1"/>
        </p:nvSpPr>
        <p:spPr>
          <a:xfrm>
            <a:off x="1066304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Tabellen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IIjbiKAotek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4" name="H2">
            <a:hlinkClick r:id="" action="ppaction://noaction"/>
          </p:cNvPr>
          <p:cNvSpPr txBox="1"/>
          <p:nvPr userDrawn="1"/>
        </p:nvSpPr>
        <p:spPr>
          <a:xfrm>
            <a:off x="3816019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Video’s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H_4HH09zxC0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5" name="H2">
            <a:hlinkClick r:id="" action="ppaction://noaction"/>
          </p:cNvPr>
          <p:cNvSpPr txBox="1"/>
          <p:nvPr userDrawn="1"/>
        </p:nvSpPr>
        <p:spPr>
          <a:xfrm>
            <a:off x="6516180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chemeClr val="accent2"/>
                </a:solidFill>
                <a:latin typeface="+mj-lt"/>
              </a:rPr>
              <a:t> </a:t>
            </a:r>
            <a:br>
              <a:rPr lang="nl-NL" sz="1200" noProof="0" dirty="0">
                <a:solidFill>
                  <a:schemeClr val="tx2"/>
                </a:solidFill>
                <a:latin typeface="+mj-lt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Meer Tips &amp; Tricks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7"/>
              </a:rPr>
              <a:t>www.pptsolutions.nl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86" name="Tabel icoon"/>
          <p:cNvGrpSpPr/>
          <p:nvPr userDrawn="1"/>
        </p:nvGrpSpPr>
        <p:grpSpPr>
          <a:xfrm>
            <a:off x="1808088" y="4385924"/>
            <a:ext cx="447825" cy="403759"/>
            <a:chOff x="6072040" y="3376043"/>
            <a:chExt cx="1227920" cy="1109109"/>
          </a:xfrm>
        </p:grpSpPr>
        <p:sp>
          <p:nvSpPr>
            <p:cNvPr id="87" name="Rechthoek 86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88" name="Rechthoek 87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cxnSp>
          <p:nvCxnSpPr>
            <p:cNvPr id="89" name="Rechte verbindingslijn 88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Rechte verbindingslijn 89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Rechte verbindingslijn 90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Rechte verbindingslijn 91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Rechte verbindingslijn 92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hthoek 93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</p:grpSp>
      <p:grpSp>
        <p:nvGrpSpPr>
          <p:cNvPr id="97" name="Video icoon"/>
          <p:cNvGrpSpPr/>
          <p:nvPr userDrawn="1"/>
        </p:nvGrpSpPr>
        <p:grpSpPr>
          <a:xfrm>
            <a:off x="4603376" y="4392447"/>
            <a:ext cx="401285" cy="403079"/>
            <a:chOff x="8066315" y="1676399"/>
            <a:chExt cx="1371600" cy="1380253"/>
          </a:xfrm>
        </p:grpSpPr>
        <p:sp>
          <p:nvSpPr>
            <p:cNvPr id="98" name="Rechthoek 97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99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100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</p:grpSp>
      <p:sp>
        <p:nvSpPr>
          <p:cNvPr id="101" name="Freeform 17"/>
          <p:cNvSpPr>
            <a:spLocks noEditPoints="1"/>
          </p:cNvSpPr>
          <p:nvPr userDrawn="1"/>
        </p:nvSpPr>
        <p:spPr bwMode="auto">
          <a:xfrm>
            <a:off x="7294860" y="4392446"/>
            <a:ext cx="409961" cy="409214"/>
          </a:xfrm>
          <a:custGeom>
            <a:avLst/>
            <a:gdLst>
              <a:gd name="T0" fmla="*/ 281 w 445"/>
              <a:gd name="T1" fmla="*/ 374 h 445"/>
              <a:gd name="T2" fmla="*/ 320 w 445"/>
              <a:gd name="T3" fmla="*/ 366 h 445"/>
              <a:gd name="T4" fmla="*/ 297 w 445"/>
              <a:gd name="T5" fmla="*/ 330 h 445"/>
              <a:gd name="T6" fmla="*/ 98 w 445"/>
              <a:gd name="T7" fmla="*/ 344 h 445"/>
              <a:gd name="T8" fmla="*/ 175 w 445"/>
              <a:gd name="T9" fmla="*/ 390 h 445"/>
              <a:gd name="T10" fmla="*/ 147 w 445"/>
              <a:gd name="T11" fmla="*/ 329 h 445"/>
              <a:gd name="T12" fmla="*/ 171 w 445"/>
              <a:gd name="T13" fmla="*/ 324 h 445"/>
              <a:gd name="T14" fmla="*/ 200 w 445"/>
              <a:gd name="T15" fmla="*/ 384 h 445"/>
              <a:gd name="T16" fmla="*/ 234 w 445"/>
              <a:gd name="T17" fmla="*/ 392 h 445"/>
              <a:gd name="T18" fmla="*/ 265 w 445"/>
              <a:gd name="T19" fmla="*/ 349 h 445"/>
              <a:gd name="T20" fmla="*/ 310 w 445"/>
              <a:gd name="T21" fmla="*/ 232 h 445"/>
              <a:gd name="T22" fmla="*/ 306 w 445"/>
              <a:gd name="T23" fmla="*/ 290 h 445"/>
              <a:gd name="T24" fmla="*/ 358 w 445"/>
              <a:gd name="T25" fmla="*/ 330 h 445"/>
              <a:gd name="T26" fmla="*/ 393 w 445"/>
              <a:gd name="T27" fmla="*/ 260 h 445"/>
              <a:gd name="T28" fmla="*/ 159 w 445"/>
              <a:gd name="T29" fmla="*/ 232 h 445"/>
              <a:gd name="T30" fmla="*/ 201 w 445"/>
              <a:gd name="T31" fmla="*/ 295 h 445"/>
              <a:gd name="T32" fmla="*/ 284 w 445"/>
              <a:gd name="T33" fmla="*/ 268 h 445"/>
              <a:gd name="T34" fmla="*/ 48 w 445"/>
              <a:gd name="T35" fmla="*/ 232 h 445"/>
              <a:gd name="T36" fmla="*/ 62 w 445"/>
              <a:gd name="T37" fmla="*/ 292 h 445"/>
              <a:gd name="T38" fmla="*/ 98 w 445"/>
              <a:gd name="T39" fmla="*/ 317 h 445"/>
              <a:gd name="T40" fmla="*/ 139 w 445"/>
              <a:gd name="T41" fmla="*/ 281 h 445"/>
              <a:gd name="T42" fmla="*/ 48 w 445"/>
              <a:gd name="T43" fmla="*/ 232 h 445"/>
              <a:gd name="T44" fmla="*/ 223 w 445"/>
              <a:gd name="T45" fmla="*/ 148 h 445"/>
              <a:gd name="T46" fmla="*/ 162 w 445"/>
              <a:gd name="T47" fmla="*/ 173 h 445"/>
              <a:gd name="T48" fmla="*/ 284 w 445"/>
              <a:gd name="T49" fmla="*/ 173 h 445"/>
              <a:gd name="T50" fmla="*/ 69 w 445"/>
              <a:gd name="T51" fmla="*/ 138 h 445"/>
              <a:gd name="T52" fmla="*/ 48 w 445"/>
              <a:gd name="T53" fmla="*/ 208 h 445"/>
              <a:gd name="T54" fmla="*/ 143 w 445"/>
              <a:gd name="T55" fmla="*/ 137 h 445"/>
              <a:gd name="T56" fmla="*/ 82 w 445"/>
              <a:gd name="T57" fmla="*/ 117 h 445"/>
              <a:gd name="T58" fmla="*/ 302 w 445"/>
              <a:gd name="T59" fmla="*/ 136 h 445"/>
              <a:gd name="T60" fmla="*/ 396 w 445"/>
              <a:gd name="T61" fmla="*/ 208 h 445"/>
              <a:gd name="T62" fmla="*/ 373 w 445"/>
              <a:gd name="T63" fmla="*/ 133 h 445"/>
              <a:gd name="T64" fmla="*/ 281 w 445"/>
              <a:gd name="T65" fmla="*/ 71 h 445"/>
              <a:gd name="T66" fmla="*/ 319 w 445"/>
              <a:gd name="T67" fmla="*/ 105 h 445"/>
              <a:gd name="T68" fmla="*/ 296 w 445"/>
              <a:gd name="T69" fmla="*/ 64 h 445"/>
              <a:gd name="T70" fmla="*/ 146 w 445"/>
              <a:gd name="T71" fmla="*/ 65 h 445"/>
              <a:gd name="T72" fmla="*/ 121 w 445"/>
              <a:gd name="T73" fmla="*/ 108 h 445"/>
              <a:gd name="T74" fmla="*/ 165 w 445"/>
              <a:gd name="T75" fmla="*/ 72 h 445"/>
              <a:gd name="T76" fmla="*/ 212 w 445"/>
              <a:gd name="T77" fmla="*/ 52 h 445"/>
              <a:gd name="T78" fmla="*/ 180 w 445"/>
              <a:gd name="T79" fmla="*/ 96 h 445"/>
              <a:gd name="T80" fmla="*/ 238 w 445"/>
              <a:gd name="T81" fmla="*/ 124 h 445"/>
              <a:gd name="T82" fmla="*/ 255 w 445"/>
              <a:gd name="T83" fmla="*/ 75 h 445"/>
              <a:gd name="T84" fmla="*/ 223 w 445"/>
              <a:gd name="T85" fmla="*/ 49 h 445"/>
              <a:gd name="T86" fmla="*/ 293 w 445"/>
              <a:gd name="T87" fmla="*/ 11 h 445"/>
              <a:gd name="T88" fmla="*/ 380 w 445"/>
              <a:gd name="T89" fmla="*/ 65 h 445"/>
              <a:gd name="T90" fmla="*/ 433 w 445"/>
              <a:gd name="T91" fmla="*/ 151 h 445"/>
              <a:gd name="T92" fmla="*/ 442 w 445"/>
              <a:gd name="T93" fmla="*/ 258 h 445"/>
              <a:gd name="T94" fmla="*/ 402 w 445"/>
              <a:gd name="T95" fmla="*/ 353 h 445"/>
              <a:gd name="T96" fmla="*/ 325 w 445"/>
              <a:gd name="T97" fmla="*/ 420 h 445"/>
              <a:gd name="T98" fmla="*/ 223 w 445"/>
              <a:gd name="T99" fmla="*/ 445 h 445"/>
              <a:gd name="T100" fmla="*/ 120 w 445"/>
              <a:gd name="T101" fmla="*/ 420 h 445"/>
              <a:gd name="T102" fmla="*/ 43 w 445"/>
              <a:gd name="T103" fmla="*/ 353 h 445"/>
              <a:gd name="T104" fmla="*/ 2 w 445"/>
              <a:gd name="T105" fmla="*/ 258 h 445"/>
              <a:gd name="T106" fmla="*/ 11 w 445"/>
              <a:gd name="T107" fmla="*/ 151 h 445"/>
              <a:gd name="T108" fmla="*/ 66 w 445"/>
              <a:gd name="T109" fmla="*/ 65 h 445"/>
              <a:gd name="T110" fmla="*/ 152 w 445"/>
              <a:gd name="T111" fmla="*/ 11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45" h="445">
                <a:moveTo>
                  <a:pt x="297" y="330"/>
                </a:moveTo>
                <a:lnTo>
                  <a:pt x="289" y="353"/>
                </a:lnTo>
                <a:lnTo>
                  <a:pt x="281" y="374"/>
                </a:lnTo>
                <a:lnTo>
                  <a:pt x="270" y="390"/>
                </a:lnTo>
                <a:lnTo>
                  <a:pt x="296" y="380"/>
                </a:lnTo>
                <a:lnTo>
                  <a:pt x="320" y="366"/>
                </a:lnTo>
                <a:lnTo>
                  <a:pt x="342" y="350"/>
                </a:lnTo>
                <a:lnTo>
                  <a:pt x="319" y="339"/>
                </a:lnTo>
                <a:lnTo>
                  <a:pt x="297" y="330"/>
                </a:lnTo>
                <a:close/>
                <a:moveTo>
                  <a:pt x="147" y="329"/>
                </a:moveTo>
                <a:lnTo>
                  <a:pt x="120" y="337"/>
                </a:lnTo>
                <a:lnTo>
                  <a:pt x="98" y="344"/>
                </a:lnTo>
                <a:lnTo>
                  <a:pt x="121" y="364"/>
                </a:lnTo>
                <a:lnTo>
                  <a:pt x="146" y="379"/>
                </a:lnTo>
                <a:lnTo>
                  <a:pt x="175" y="390"/>
                </a:lnTo>
                <a:lnTo>
                  <a:pt x="165" y="373"/>
                </a:lnTo>
                <a:lnTo>
                  <a:pt x="155" y="352"/>
                </a:lnTo>
                <a:lnTo>
                  <a:pt x="147" y="329"/>
                </a:lnTo>
                <a:close/>
                <a:moveTo>
                  <a:pt x="238" y="320"/>
                </a:moveTo>
                <a:lnTo>
                  <a:pt x="203" y="320"/>
                </a:lnTo>
                <a:lnTo>
                  <a:pt x="171" y="324"/>
                </a:lnTo>
                <a:lnTo>
                  <a:pt x="180" y="349"/>
                </a:lnTo>
                <a:lnTo>
                  <a:pt x="190" y="368"/>
                </a:lnTo>
                <a:lnTo>
                  <a:pt x="200" y="384"/>
                </a:lnTo>
                <a:lnTo>
                  <a:pt x="212" y="392"/>
                </a:lnTo>
                <a:lnTo>
                  <a:pt x="223" y="396"/>
                </a:lnTo>
                <a:lnTo>
                  <a:pt x="234" y="392"/>
                </a:lnTo>
                <a:lnTo>
                  <a:pt x="245" y="384"/>
                </a:lnTo>
                <a:lnTo>
                  <a:pt x="255" y="368"/>
                </a:lnTo>
                <a:lnTo>
                  <a:pt x="265" y="349"/>
                </a:lnTo>
                <a:lnTo>
                  <a:pt x="273" y="325"/>
                </a:lnTo>
                <a:lnTo>
                  <a:pt x="238" y="320"/>
                </a:lnTo>
                <a:close/>
                <a:moveTo>
                  <a:pt x="310" y="232"/>
                </a:moveTo>
                <a:lnTo>
                  <a:pt x="309" y="254"/>
                </a:lnTo>
                <a:lnTo>
                  <a:pt x="308" y="272"/>
                </a:lnTo>
                <a:lnTo>
                  <a:pt x="306" y="290"/>
                </a:lnTo>
                <a:lnTo>
                  <a:pt x="302" y="306"/>
                </a:lnTo>
                <a:lnTo>
                  <a:pt x="331" y="316"/>
                </a:lnTo>
                <a:lnTo>
                  <a:pt x="358" y="330"/>
                </a:lnTo>
                <a:lnTo>
                  <a:pt x="373" y="308"/>
                </a:lnTo>
                <a:lnTo>
                  <a:pt x="385" y="285"/>
                </a:lnTo>
                <a:lnTo>
                  <a:pt x="393" y="260"/>
                </a:lnTo>
                <a:lnTo>
                  <a:pt x="396" y="232"/>
                </a:lnTo>
                <a:lnTo>
                  <a:pt x="310" y="232"/>
                </a:lnTo>
                <a:close/>
                <a:moveTo>
                  <a:pt x="159" y="232"/>
                </a:moveTo>
                <a:lnTo>
                  <a:pt x="162" y="267"/>
                </a:lnTo>
                <a:lnTo>
                  <a:pt x="166" y="299"/>
                </a:lnTo>
                <a:lnTo>
                  <a:pt x="201" y="295"/>
                </a:lnTo>
                <a:lnTo>
                  <a:pt x="239" y="295"/>
                </a:lnTo>
                <a:lnTo>
                  <a:pt x="278" y="301"/>
                </a:lnTo>
                <a:lnTo>
                  <a:pt x="284" y="268"/>
                </a:lnTo>
                <a:lnTo>
                  <a:pt x="286" y="232"/>
                </a:lnTo>
                <a:lnTo>
                  <a:pt x="159" y="232"/>
                </a:lnTo>
                <a:close/>
                <a:moveTo>
                  <a:pt x="48" y="232"/>
                </a:moveTo>
                <a:lnTo>
                  <a:pt x="50" y="255"/>
                </a:lnTo>
                <a:lnTo>
                  <a:pt x="56" y="275"/>
                </a:lnTo>
                <a:lnTo>
                  <a:pt x="62" y="292"/>
                </a:lnTo>
                <a:lnTo>
                  <a:pt x="71" y="308"/>
                </a:lnTo>
                <a:lnTo>
                  <a:pt x="82" y="324"/>
                </a:lnTo>
                <a:lnTo>
                  <a:pt x="98" y="317"/>
                </a:lnTo>
                <a:lnTo>
                  <a:pt x="119" y="311"/>
                </a:lnTo>
                <a:lnTo>
                  <a:pt x="142" y="304"/>
                </a:lnTo>
                <a:lnTo>
                  <a:pt x="139" y="281"/>
                </a:lnTo>
                <a:lnTo>
                  <a:pt x="137" y="257"/>
                </a:lnTo>
                <a:lnTo>
                  <a:pt x="135" y="232"/>
                </a:lnTo>
                <a:lnTo>
                  <a:pt x="48" y="232"/>
                </a:lnTo>
                <a:close/>
                <a:moveTo>
                  <a:pt x="278" y="141"/>
                </a:moveTo>
                <a:lnTo>
                  <a:pt x="250" y="146"/>
                </a:lnTo>
                <a:lnTo>
                  <a:pt x="223" y="148"/>
                </a:lnTo>
                <a:lnTo>
                  <a:pt x="193" y="146"/>
                </a:lnTo>
                <a:lnTo>
                  <a:pt x="166" y="143"/>
                </a:lnTo>
                <a:lnTo>
                  <a:pt x="162" y="173"/>
                </a:lnTo>
                <a:lnTo>
                  <a:pt x="159" y="208"/>
                </a:lnTo>
                <a:lnTo>
                  <a:pt x="286" y="208"/>
                </a:lnTo>
                <a:lnTo>
                  <a:pt x="284" y="173"/>
                </a:lnTo>
                <a:lnTo>
                  <a:pt x="278" y="141"/>
                </a:lnTo>
                <a:close/>
                <a:moveTo>
                  <a:pt x="82" y="117"/>
                </a:moveTo>
                <a:lnTo>
                  <a:pt x="69" y="138"/>
                </a:lnTo>
                <a:lnTo>
                  <a:pt x="59" y="160"/>
                </a:lnTo>
                <a:lnTo>
                  <a:pt x="51" y="184"/>
                </a:lnTo>
                <a:lnTo>
                  <a:pt x="48" y="208"/>
                </a:lnTo>
                <a:lnTo>
                  <a:pt x="135" y="208"/>
                </a:lnTo>
                <a:lnTo>
                  <a:pt x="138" y="172"/>
                </a:lnTo>
                <a:lnTo>
                  <a:pt x="143" y="137"/>
                </a:lnTo>
                <a:lnTo>
                  <a:pt x="119" y="131"/>
                </a:lnTo>
                <a:lnTo>
                  <a:pt x="99" y="124"/>
                </a:lnTo>
                <a:lnTo>
                  <a:pt x="82" y="117"/>
                </a:lnTo>
                <a:close/>
                <a:moveTo>
                  <a:pt x="358" y="111"/>
                </a:moveTo>
                <a:lnTo>
                  <a:pt x="331" y="125"/>
                </a:lnTo>
                <a:lnTo>
                  <a:pt x="302" y="136"/>
                </a:lnTo>
                <a:lnTo>
                  <a:pt x="308" y="171"/>
                </a:lnTo>
                <a:lnTo>
                  <a:pt x="310" y="208"/>
                </a:lnTo>
                <a:lnTo>
                  <a:pt x="396" y="208"/>
                </a:lnTo>
                <a:lnTo>
                  <a:pt x="393" y="183"/>
                </a:lnTo>
                <a:lnTo>
                  <a:pt x="385" y="158"/>
                </a:lnTo>
                <a:lnTo>
                  <a:pt x="373" y="133"/>
                </a:lnTo>
                <a:lnTo>
                  <a:pt x="358" y="111"/>
                </a:lnTo>
                <a:close/>
                <a:moveTo>
                  <a:pt x="270" y="54"/>
                </a:moveTo>
                <a:lnTo>
                  <a:pt x="281" y="71"/>
                </a:lnTo>
                <a:lnTo>
                  <a:pt x="289" y="90"/>
                </a:lnTo>
                <a:lnTo>
                  <a:pt x="297" y="113"/>
                </a:lnTo>
                <a:lnTo>
                  <a:pt x="319" y="105"/>
                </a:lnTo>
                <a:lnTo>
                  <a:pt x="342" y="95"/>
                </a:lnTo>
                <a:lnTo>
                  <a:pt x="320" y="77"/>
                </a:lnTo>
                <a:lnTo>
                  <a:pt x="296" y="64"/>
                </a:lnTo>
                <a:lnTo>
                  <a:pt x="270" y="54"/>
                </a:lnTo>
                <a:close/>
                <a:moveTo>
                  <a:pt x="175" y="54"/>
                </a:moveTo>
                <a:lnTo>
                  <a:pt x="146" y="65"/>
                </a:lnTo>
                <a:lnTo>
                  <a:pt x="121" y="80"/>
                </a:lnTo>
                <a:lnTo>
                  <a:pt x="98" y="99"/>
                </a:lnTo>
                <a:lnTo>
                  <a:pt x="121" y="108"/>
                </a:lnTo>
                <a:lnTo>
                  <a:pt x="149" y="115"/>
                </a:lnTo>
                <a:lnTo>
                  <a:pt x="155" y="91"/>
                </a:lnTo>
                <a:lnTo>
                  <a:pt x="165" y="72"/>
                </a:lnTo>
                <a:lnTo>
                  <a:pt x="175" y="54"/>
                </a:lnTo>
                <a:close/>
                <a:moveTo>
                  <a:pt x="223" y="49"/>
                </a:moveTo>
                <a:lnTo>
                  <a:pt x="212" y="52"/>
                </a:lnTo>
                <a:lnTo>
                  <a:pt x="200" y="61"/>
                </a:lnTo>
                <a:lnTo>
                  <a:pt x="190" y="75"/>
                </a:lnTo>
                <a:lnTo>
                  <a:pt x="180" y="96"/>
                </a:lnTo>
                <a:lnTo>
                  <a:pt x="171" y="120"/>
                </a:lnTo>
                <a:lnTo>
                  <a:pt x="203" y="124"/>
                </a:lnTo>
                <a:lnTo>
                  <a:pt x="238" y="124"/>
                </a:lnTo>
                <a:lnTo>
                  <a:pt x="273" y="120"/>
                </a:lnTo>
                <a:lnTo>
                  <a:pt x="265" y="95"/>
                </a:lnTo>
                <a:lnTo>
                  <a:pt x="255" y="75"/>
                </a:lnTo>
                <a:lnTo>
                  <a:pt x="245" y="61"/>
                </a:lnTo>
                <a:lnTo>
                  <a:pt x="234" y="52"/>
                </a:lnTo>
                <a:lnTo>
                  <a:pt x="223" y="49"/>
                </a:lnTo>
                <a:close/>
                <a:moveTo>
                  <a:pt x="223" y="0"/>
                </a:moveTo>
                <a:lnTo>
                  <a:pt x="259" y="3"/>
                </a:lnTo>
                <a:lnTo>
                  <a:pt x="293" y="11"/>
                </a:lnTo>
                <a:lnTo>
                  <a:pt x="325" y="25"/>
                </a:lnTo>
                <a:lnTo>
                  <a:pt x="354" y="42"/>
                </a:lnTo>
                <a:lnTo>
                  <a:pt x="380" y="65"/>
                </a:lnTo>
                <a:lnTo>
                  <a:pt x="402" y="90"/>
                </a:lnTo>
                <a:lnTo>
                  <a:pt x="420" y="120"/>
                </a:lnTo>
                <a:lnTo>
                  <a:pt x="433" y="151"/>
                </a:lnTo>
                <a:lnTo>
                  <a:pt x="442" y="186"/>
                </a:lnTo>
                <a:lnTo>
                  <a:pt x="445" y="222"/>
                </a:lnTo>
                <a:lnTo>
                  <a:pt x="442" y="258"/>
                </a:lnTo>
                <a:lnTo>
                  <a:pt x="433" y="292"/>
                </a:lnTo>
                <a:lnTo>
                  <a:pt x="420" y="325"/>
                </a:lnTo>
                <a:lnTo>
                  <a:pt x="402" y="353"/>
                </a:lnTo>
                <a:lnTo>
                  <a:pt x="380" y="379"/>
                </a:lnTo>
                <a:lnTo>
                  <a:pt x="354" y="402"/>
                </a:lnTo>
                <a:lnTo>
                  <a:pt x="325" y="420"/>
                </a:lnTo>
                <a:lnTo>
                  <a:pt x="293" y="434"/>
                </a:lnTo>
                <a:lnTo>
                  <a:pt x="259" y="441"/>
                </a:lnTo>
                <a:lnTo>
                  <a:pt x="223" y="445"/>
                </a:lnTo>
                <a:lnTo>
                  <a:pt x="187" y="441"/>
                </a:lnTo>
                <a:lnTo>
                  <a:pt x="152" y="434"/>
                </a:lnTo>
                <a:lnTo>
                  <a:pt x="120" y="420"/>
                </a:lnTo>
                <a:lnTo>
                  <a:pt x="91" y="402"/>
                </a:lnTo>
                <a:lnTo>
                  <a:pt x="66" y="379"/>
                </a:lnTo>
                <a:lnTo>
                  <a:pt x="43" y="353"/>
                </a:lnTo>
                <a:lnTo>
                  <a:pt x="25" y="325"/>
                </a:lnTo>
                <a:lnTo>
                  <a:pt x="11" y="292"/>
                </a:lnTo>
                <a:lnTo>
                  <a:pt x="2" y="258"/>
                </a:lnTo>
                <a:lnTo>
                  <a:pt x="0" y="222"/>
                </a:lnTo>
                <a:lnTo>
                  <a:pt x="2" y="186"/>
                </a:lnTo>
                <a:lnTo>
                  <a:pt x="11" y="151"/>
                </a:lnTo>
                <a:lnTo>
                  <a:pt x="25" y="120"/>
                </a:lnTo>
                <a:lnTo>
                  <a:pt x="43" y="90"/>
                </a:lnTo>
                <a:lnTo>
                  <a:pt x="66" y="65"/>
                </a:lnTo>
                <a:lnTo>
                  <a:pt x="91" y="42"/>
                </a:lnTo>
                <a:lnTo>
                  <a:pt x="120" y="25"/>
                </a:lnTo>
                <a:lnTo>
                  <a:pt x="152" y="11"/>
                </a:lnTo>
                <a:lnTo>
                  <a:pt x="187" y="3"/>
                </a:lnTo>
                <a:lnTo>
                  <a:pt x="223" y="0"/>
                </a:ln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800" noProof="0" dirty="0"/>
          </a:p>
        </p:txBody>
      </p:sp>
      <p:grpSp>
        <p:nvGrpSpPr>
          <p:cNvPr id="120" name="Knop uitleg"/>
          <p:cNvGrpSpPr/>
          <p:nvPr userDrawn="1"/>
        </p:nvGrpSpPr>
        <p:grpSpPr>
          <a:xfrm>
            <a:off x="9508901" y="2860359"/>
            <a:ext cx="1947767" cy="2037397"/>
            <a:chOff x="9275416" y="2755352"/>
            <a:chExt cx="1944216" cy="2037397"/>
          </a:xfrm>
        </p:grpSpPr>
        <p:sp>
          <p:nvSpPr>
            <p:cNvPr id="43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 dirty="0">
                <a:solidFill>
                  <a:schemeClr val="tx1"/>
                </a:solidFill>
              </a:endParaRPr>
            </a:p>
          </p:txBody>
        </p:sp>
        <p:grpSp>
          <p:nvGrpSpPr>
            <p:cNvPr id="42" name="Groep 41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36" name="Ovaal 35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deze dia in de diavoorstelling en klik</a:t>
                </a:r>
                <a:b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</a:br>
                <a: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 de </a:t>
                </a:r>
                <a:r>
                  <a:rPr lang="nl-NL" sz="1200" kern="1200" noProof="0" dirty="0" err="1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youtube</a:t>
                </a:r>
                <a: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-link</a:t>
                </a:r>
                <a:endParaRPr lang="nl-NL" sz="1000" kern="1200" noProof="0" dirty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17" name="Groep 116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18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noProof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9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noProof="0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grpSp>
        <p:nvGrpSpPr>
          <p:cNvPr id="128" name="HYPERLINK" hidden="1"/>
          <p:cNvGrpSpPr/>
          <p:nvPr userDrawn="1"/>
        </p:nvGrpSpPr>
        <p:grpSpPr>
          <a:xfrm>
            <a:off x="674999" y="1599166"/>
            <a:ext cx="8081505" cy="4559785"/>
            <a:chOff x="673768" y="1599165"/>
            <a:chExt cx="8066773" cy="4559785"/>
          </a:xfrm>
        </p:grpSpPr>
        <p:sp>
          <p:nvSpPr>
            <p:cNvPr id="121" name="HYPERLINK">
              <a:hlinkClick r:id="rId2"/>
            </p:cNvPr>
            <p:cNvSpPr/>
            <p:nvPr userDrawn="1"/>
          </p:nvSpPr>
          <p:spPr>
            <a:xfrm>
              <a:off x="673768" y="1599165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3" name="HYPERLINK">
              <a:hlinkClick r:id="rId3"/>
            </p:cNvPr>
            <p:cNvSpPr/>
            <p:nvPr userDrawn="1"/>
          </p:nvSpPr>
          <p:spPr>
            <a:xfrm>
              <a:off x="3465094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4" name="HYPERLINK">
              <a:hlinkClick r:id="rId4"/>
            </p:cNvPr>
            <p:cNvSpPr/>
            <p:nvPr userDrawn="1"/>
          </p:nvSpPr>
          <p:spPr>
            <a:xfrm>
              <a:off x="6148301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5" name="HYPERLINK">
              <a:hlinkClick r:id="rId5"/>
            </p:cNvPr>
            <p:cNvSpPr/>
            <p:nvPr userDrawn="1"/>
          </p:nvSpPr>
          <p:spPr>
            <a:xfrm>
              <a:off x="673768" y="3932073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6" name="HYPERLINK">
              <a:hlinkClick r:id="rId6"/>
            </p:cNvPr>
            <p:cNvSpPr/>
            <p:nvPr userDrawn="1"/>
          </p:nvSpPr>
          <p:spPr>
            <a:xfrm>
              <a:off x="3454453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7" name="HYPERLINK">
              <a:hlinkClick r:id="rId7"/>
            </p:cNvPr>
            <p:cNvSpPr/>
            <p:nvPr userDrawn="1"/>
          </p:nvSpPr>
          <p:spPr>
            <a:xfrm>
              <a:off x="6149692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58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noProof="0" dirty="0"/>
          </a:p>
        </p:txBody>
      </p:sp>
      <p:cxnSp>
        <p:nvCxnSpPr>
          <p:cNvPr id="60" name="Rechte verbindingslijn 59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 noProof="0" dirty="0">
              <a:solidFill>
                <a:prstClr val="black"/>
              </a:solidFill>
            </a:endParaRPr>
          </a:p>
        </p:txBody>
      </p:sp>
      <p:grpSp>
        <p:nvGrpSpPr>
          <p:cNvPr id="4" name="Groep 3"/>
          <p:cNvGrpSpPr/>
          <p:nvPr userDrawn="1"/>
        </p:nvGrpSpPr>
        <p:grpSpPr>
          <a:xfrm>
            <a:off x="1630522" y="2276771"/>
            <a:ext cx="758666" cy="226154"/>
            <a:chOff x="1607118" y="2276771"/>
            <a:chExt cx="757283" cy="226154"/>
          </a:xfrm>
        </p:grpSpPr>
        <p:grpSp>
          <p:nvGrpSpPr>
            <p:cNvPr id="71" name="Groep 70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60" name="Groep 159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64" name="Rechte verbindingslijn 163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5" name="Rechte verbindingslijn 164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6" name="Rechte verbindingslijn 165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7" name="Rechte verbindingslijn 166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8" name="Rechte verbindingslijn 167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61" name="Groep 160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3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74" name="Groep 73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51" name="Groep 150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55" name="Rechte verbindingslijn 154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7" name="Rechte verbindingslijn 156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8" name="Rechte verbindingslijn 157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9" name="Rechte verbindingslijn 158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52" name="Groep 151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53" name="Rechthoek 152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4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79" name="Groep 178"/>
          <p:cNvGrpSpPr/>
          <p:nvPr userDrawn="1"/>
        </p:nvGrpSpPr>
        <p:grpSpPr>
          <a:xfrm>
            <a:off x="4573974" y="2179391"/>
            <a:ext cx="369155" cy="398538"/>
            <a:chOff x="14466489" y="1001522"/>
            <a:chExt cx="290627" cy="314333"/>
          </a:xfrm>
        </p:grpSpPr>
        <p:sp>
          <p:nvSpPr>
            <p:cNvPr id="200" name="Rechthoek 199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b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Ovaal 200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 dirty="0">
                <a:solidFill>
                  <a:schemeClr val="tx1"/>
                </a:solidFill>
              </a:endParaRPr>
            </a:p>
          </p:txBody>
        </p:sp>
        <p:sp>
          <p:nvSpPr>
            <p:cNvPr id="202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b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4" name="Rechte verbindingslijn 203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5" name="Rechte verbindingslijn 204"/>
            <p:cNvCxnSpPr>
              <a:cxnSpLocks/>
              <a:stCxn id="203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277723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Dia plakken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hthoek 59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pt-BR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Dia plakken (3)</a:t>
            </a:r>
            <a:endParaRPr lang="nl-NL" sz="1400" noProof="0" dirty="0">
              <a:solidFill>
                <a:srgbClr val="303E48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noProof="0" dirty="0">
                <a:solidFill>
                  <a:srgbClr val="0096A5"/>
                </a:solidFill>
                <a:latin typeface="Oswald" panose="02000503000000000000" pitchFamily="2" charset="0"/>
              </a:rPr>
              <a:t>Voordat je begint…</a:t>
            </a:r>
          </a:p>
        </p:txBody>
      </p:sp>
      <p:grpSp>
        <p:nvGrpSpPr>
          <p:cNvPr id="63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64" name="Rechthoek 63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5" name="Rechthoek 64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6" name="Rechthoek 65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7" name="Rechthoek 66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68" name="Rechthoek 67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9" name="Rechthoek 68"/>
            <p:cNvSpPr/>
            <p:nvPr userDrawn="1"/>
          </p:nvSpPr>
          <p:spPr>
            <a:xfrm rot="5400000">
              <a:off x="760320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71" name="Rechthoek 70"/>
            <p:cNvSpPr/>
            <p:nvPr userDrawn="1"/>
          </p:nvSpPr>
          <p:spPr>
            <a:xfrm>
              <a:off x="0" y="4558336"/>
              <a:ext cx="12169774" cy="180239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4" name="Rechthoek 73"/>
            <p:cNvSpPr/>
            <p:nvPr userDrawn="1"/>
          </p:nvSpPr>
          <p:spPr>
            <a:xfrm rot="5400000">
              <a:off x="288408" y="5406273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5" name="Rechthoek 74"/>
            <p:cNvSpPr/>
            <p:nvPr userDrawn="1"/>
          </p:nvSpPr>
          <p:spPr>
            <a:xfrm rot="5400000">
              <a:off x="4146704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6" name="Rechthoek 75"/>
            <p:cNvSpPr/>
            <p:nvPr userDrawn="1"/>
          </p:nvSpPr>
          <p:spPr>
            <a:xfrm rot="5400000">
              <a:off x="4598789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80" name="Rechthoek 79"/>
            <p:cNvSpPr/>
            <p:nvPr userDrawn="1"/>
          </p:nvSpPr>
          <p:spPr>
            <a:xfrm rot="5400000">
              <a:off x="7990288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7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dirty="0"/>
          </a:p>
        </p:txBody>
      </p:sp>
      <p:cxnSp>
        <p:nvCxnSpPr>
          <p:cNvPr id="62" name="Rechte verbindingslijn 61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>
              <a:solidFill>
                <a:prstClr val="black"/>
              </a:solidFill>
            </a:endParaRPr>
          </a:p>
        </p:txBody>
      </p:sp>
      <p:grpSp>
        <p:nvGrpSpPr>
          <p:cNvPr id="81" name="Groep 80"/>
          <p:cNvGrpSpPr/>
          <p:nvPr userDrawn="1"/>
        </p:nvGrpSpPr>
        <p:grpSpPr>
          <a:xfrm>
            <a:off x="692520" y="2165458"/>
            <a:ext cx="10846190" cy="3437453"/>
            <a:chOff x="435100" y="2165458"/>
            <a:chExt cx="10826418" cy="3437453"/>
          </a:xfrm>
        </p:grpSpPr>
        <p:pic>
          <p:nvPicPr>
            <p:cNvPr id="83" name="Afbeelding 82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0052" y="3108088"/>
              <a:ext cx="2720614" cy="145024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4" name="Afbeelding 8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455" y="3108088"/>
              <a:ext cx="2700576" cy="1452486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5" name="Afbeelding 8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02632" y="2165458"/>
              <a:ext cx="1676146" cy="1676147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6" name="Afbeelding 8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1291" y="2165459"/>
              <a:ext cx="1676146" cy="1676146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87" name="Groep 86"/>
            <p:cNvGrpSpPr/>
            <p:nvPr/>
          </p:nvGrpSpPr>
          <p:grpSpPr>
            <a:xfrm>
              <a:off x="689183" y="2317897"/>
              <a:ext cx="1819124" cy="1488559"/>
              <a:chOff x="1576217" y="1539637"/>
              <a:chExt cx="2497599" cy="2043743"/>
            </a:xfrm>
          </p:grpSpPr>
          <p:sp>
            <p:nvSpPr>
              <p:cNvPr id="106" name="Ovaal 105"/>
              <p:cNvSpPr/>
              <p:nvPr/>
            </p:nvSpPr>
            <p:spPr>
              <a:xfrm>
                <a:off x="1576217" y="2624542"/>
                <a:ext cx="268099" cy="268101"/>
              </a:xfrm>
              <a:prstGeom prst="ellipse">
                <a:avLst/>
              </a:prstGeom>
              <a:solidFill>
                <a:schemeClr val="bg1">
                  <a:alpha val="0"/>
                </a:schemeClr>
              </a:solidFill>
              <a:ln w="19050">
                <a:solidFill>
                  <a:srgbClr val="0096A5"/>
                </a:solidFill>
              </a:ln>
              <a:effectLst>
                <a:outerShdw dir="8100000" sx="105000" sy="105000" algn="tr" rotWithShape="0">
                  <a:srgbClr val="000000">
                    <a:alpha val="6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nl-NL" sz="1800">
                  <a:latin typeface="+mn-lt"/>
                </a:endParaRPr>
              </a:p>
            </p:txBody>
          </p:sp>
          <p:cxnSp>
            <p:nvCxnSpPr>
              <p:cNvPr id="107" name="Rechte verbindingslijn 106"/>
              <p:cNvCxnSpPr>
                <a:cxnSpLocks/>
              </p:cNvCxnSpPr>
              <p:nvPr/>
            </p:nvCxnSpPr>
            <p:spPr>
              <a:xfrm flipH="1">
                <a:off x="1710267" y="1539637"/>
                <a:ext cx="2013194" cy="1093496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chte verbindingslijn 107"/>
              <p:cNvCxnSpPr>
                <a:cxnSpLocks/>
              </p:cNvCxnSpPr>
              <p:nvPr/>
            </p:nvCxnSpPr>
            <p:spPr>
              <a:xfrm flipH="1" flipV="1">
                <a:off x="1693333" y="2878667"/>
                <a:ext cx="2380483" cy="704713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ep 87"/>
            <p:cNvGrpSpPr/>
            <p:nvPr/>
          </p:nvGrpSpPr>
          <p:grpSpPr>
            <a:xfrm>
              <a:off x="4524700" y="3531339"/>
              <a:ext cx="135750" cy="135750"/>
              <a:chOff x="6569918" y="3240107"/>
              <a:chExt cx="430310" cy="430310"/>
            </a:xfrm>
          </p:grpSpPr>
          <p:sp>
            <p:nvSpPr>
              <p:cNvPr id="104" name="Ovaal 103"/>
              <p:cNvSpPr/>
              <p:nvPr/>
            </p:nvSpPr>
            <p:spPr>
              <a:xfrm>
                <a:off x="6569918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  <p:sp>
            <p:nvSpPr>
              <p:cNvPr id="105" name="Vermenigvuldigen 49"/>
              <p:cNvSpPr/>
              <p:nvPr/>
            </p:nvSpPr>
            <p:spPr>
              <a:xfrm>
                <a:off x="6579279" y="3259665"/>
                <a:ext cx="403927" cy="403927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</p:grpSp>
        <p:sp>
          <p:nvSpPr>
            <p:cNvPr id="89" name="Ovaal 88"/>
            <p:cNvSpPr/>
            <p:nvPr/>
          </p:nvSpPr>
          <p:spPr>
            <a:xfrm>
              <a:off x="4507854" y="3501955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nl-NL" sz="1800">
                <a:latin typeface="+mn-lt"/>
              </a:endParaRPr>
            </a:p>
          </p:txBody>
        </p:sp>
        <p:cxnSp>
          <p:nvCxnSpPr>
            <p:cNvPr id="90" name="Rechte verbindingslijn 89"/>
            <p:cNvCxnSpPr>
              <a:cxnSpLocks/>
              <a:stCxn id="86" idx="1"/>
            </p:cNvCxnSpPr>
            <p:nvPr/>
          </p:nvCxnSpPr>
          <p:spPr>
            <a:xfrm flipH="1">
              <a:off x="4602924" y="2410925"/>
              <a:ext cx="1383833" cy="1076554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Afbeelding 9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8637" y="3108088"/>
              <a:ext cx="2730611" cy="144455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cxnSp>
          <p:nvCxnSpPr>
            <p:cNvPr id="92" name="Rechte verbindingslijn 91"/>
            <p:cNvCxnSpPr>
              <a:cxnSpLocks/>
            </p:cNvCxnSpPr>
            <p:nvPr/>
          </p:nvCxnSpPr>
          <p:spPr>
            <a:xfrm flipH="1" flipV="1">
              <a:off x="4634821" y="3710764"/>
              <a:ext cx="1935123" cy="127589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al 92"/>
            <p:cNvSpPr/>
            <p:nvPr/>
          </p:nvSpPr>
          <p:spPr>
            <a:xfrm>
              <a:off x="43510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schemeClr val="bg1"/>
                  </a:solidFill>
                  <a:latin typeface="+mn-lt"/>
                </a:rPr>
                <a:t>A</a:t>
              </a:r>
              <a:endParaRPr lang="nl-NL" sz="1000" b="1" cap="all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4" name="Ovaal 93"/>
            <p:cNvSpPr/>
            <p:nvPr/>
          </p:nvSpPr>
          <p:spPr>
            <a:xfrm>
              <a:off x="4273589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schemeClr val="bg1"/>
                  </a:solidFill>
                  <a:latin typeface="+mn-lt"/>
                </a:rPr>
                <a:t>B</a:t>
              </a:r>
              <a:endParaRPr lang="nl-NL" sz="1000" b="1" cap="all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95" name="Groep 94"/>
            <p:cNvGrpSpPr/>
            <p:nvPr/>
          </p:nvGrpSpPr>
          <p:grpSpPr>
            <a:xfrm>
              <a:off x="6610285" y="2756643"/>
              <a:ext cx="433398" cy="433398"/>
              <a:chOff x="7376403" y="3240107"/>
              <a:chExt cx="430310" cy="430310"/>
            </a:xfrm>
          </p:grpSpPr>
          <p:sp>
            <p:nvSpPr>
              <p:cNvPr id="102" name="Ovaal 101"/>
              <p:cNvSpPr/>
              <p:nvPr/>
            </p:nvSpPr>
            <p:spPr>
              <a:xfrm>
                <a:off x="7376403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  <p:sp>
            <p:nvSpPr>
              <p:cNvPr id="103" name="Vermenigvuldigen 40"/>
              <p:cNvSpPr/>
              <p:nvPr/>
            </p:nvSpPr>
            <p:spPr>
              <a:xfrm>
                <a:off x="7389594" y="3259666"/>
                <a:ext cx="403928" cy="403928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</p:grpSp>
        <p:sp>
          <p:nvSpPr>
            <p:cNvPr id="96" name="Tekstvak 95"/>
            <p:cNvSpPr txBox="1"/>
            <p:nvPr/>
          </p:nvSpPr>
          <p:spPr>
            <a:xfrm>
              <a:off x="8516760" y="4854881"/>
              <a:ext cx="2697316" cy="748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defRPr sz="1000">
                  <a:solidFill>
                    <a:srgbClr val="44546A"/>
                  </a:solidFill>
                </a:defRPr>
              </a:lvl1pPr>
            </a:lstStyle>
            <a:p>
              <a:pPr lvl="0"/>
              <a:r>
                <a:rPr lang="nl-NL" sz="1000" dirty="0">
                  <a:solidFill>
                    <a:srgbClr val="44546A"/>
                  </a:solidFill>
                  <a:latin typeface="+mn-lt"/>
                </a:rPr>
                <a:t>Klik met je rechter muisknop op de dia aan de linker kant. Klik daarna op dia herstellen om de opmaak weer correct </a:t>
              </a:r>
              <a:br>
                <a:rPr lang="nl-NL" sz="1000" dirty="0">
                  <a:solidFill>
                    <a:srgbClr val="44546A"/>
                  </a:solidFill>
                  <a:latin typeface="+mn-lt"/>
                </a:rPr>
              </a:br>
              <a:r>
                <a:rPr lang="nl-NL" sz="1000" dirty="0">
                  <a:solidFill>
                    <a:srgbClr val="44546A"/>
                  </a:solidFill>
                  <a:latin typeface="+mn-lt"/>
                </a:rPr>
                <a:t>te krijgen.</a:t>
              </a:r>
            </a:p>
          </p:txBody>
        </p:sp>
        <p:sp>
          <p:nvSpPr>
            <p:cNvPr id="97" name="Ovaal 96"/>
            <p:cNvSpPr/>
            <p:nvPr/>
          </p:nvSpPr>
          <p:spPr>
            <a:xfrm>
              <a:off x="8456782" y="3712390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nl-NL" sz="1800">
                <a:latin typeface="+mn-lt"/>
              </a:endParaRPr>
            </a:p>
          </p:txBody>
        </p:sp>
        <p:cxnSp>
          <p:nvCxnSpPr>
            <p:cNvPr id="98" name="Rechte verbindingslijn 97"/>
            <p:cNvCxnSpPr>
              <a:cxnSpLocks/>
              <a:stCxn id="100" idx="1"/>
            </p:cNvCxnSpPr>
            <p:nvPr/>
          </p:nvCxnSpPr>
          <p:spPr>
            <a:xfrm flipH="1">
              <a:off x="8535648" y="2410449"/>
              <a:ext cx="1297966" cy="1315831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Rechte verbindingslijn 98"/>
            <p:cNvCxnSpPr>
              <a:cxnSpLocks/>
              <a:stCxn id="100" idx="4"/>
              <a:endCxn id="97" idx="5"/>
            </p:cNvCxnSpPr>
            <p:nvPr/>
          </p:nvCxnSpPr>
          <p:spPr>
            <a:xfrm flipH="1">
              <a:off x="8623456" y="3838353"/>
              <a:ext cx="1801616" cy="40710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0" name="Afbeelding 99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88624" y="2165459"/>
              <a:ext cx="1672894" cy="1672894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1" name="Ovaal 100"/>
            <p:cNvSpPr/>
            <p:nvPr/>
          </p:nvSpPr>
          <p:spPr>
            <a:xfrm>
              <a:off x="811798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schemeClr val="bg1"/>
                  </a:solidFill>
                  <a:latin typeface="+mn-lt"/>
                </a:rPr>
                <a:t>C</a:t>
              </a:r>
              <a:endParaRPr lang="nl-NL" sz="1000" b="1" cap="all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09" name="Tekstvak 108"/>
          <p:cNvSpPr txBox="1"/>
          <p:nvPr userDrawn="1"/>
        </p:nvSpPr>
        <p:spPr>
          <a:xfrm>
            <a:off x="1072994" y="4853681"/>
            <a:ext cx="2773568" cy="8078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nl-NL" sz="1000" dirty="0">
                <a:solidFill>
                  <a:srgbClr val="44546A"/>
                </a:solidFill>
                <a:latin typeface="+mn-lt"/>
              </a:rPr>
              <a:t>Klik op </a:t>
            </a:r>
            <a:r>
              <a:rPr lang="nl-NL" sz="1000" b="1" dirty="0">
                <a:solidFill>
                  <a:srgbClr val="44546A"/>
                </a:solidFill>
                <a:latin typeface="+mn-lt"/>
              </a:rPr>
              <a:t>“nieuwe dia”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om een </a:t>
            </a:r>
            <a:r>
              <a:rPr lang="nl-NL" sz="1000" b="1" dirty="0">
                <a:solidFill>
                  <a:srgbClr val="44546A"/>
                </a:solidFill>
                <a:latin typeface="+mn-lt"/>
              </a:rPr>
              <a:t>template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</a:t>
            </a:r>
            <a:br>
              <a:rPr lang="nl-NL" sz="1000" dirty="0">
                <a:solidFill>
                  <a:srgbClr val="44546A"/>
                </a:solidFill>
                <a:latin typeface="+mn-lt"/>
              </a:rPr>
            </a:br>
            <a:r>
              <a:rPr lang="nl-NL" sz="1000" dirty="0">
                <a:solidFill>
                  <a:srgbClr val="44546A"/>
                </a:solidFill>
                <a:latin typeface="+mn-lt"/>
              </a:rPr>
              <a:t>slide toe te voegen.</a:t>
            </a:r>
            <a:endParaRPr lang="en-GB" sz="1000" dirty="0">
              <a:solidFill>
                <a:srgbClr val="44546A"/>
              </a:solidFill>
              <a:latin typeface="+mn-lt"/>
            </a:endParaRPr>
          </a:p>
        </p:txBody>
      </p:sp>
      <p:sp>
        <p:nvSpPr>
          <p:cNvPr id="110" name="Tekstvak 109"/>
          <p:cNvSpPr txBox="1"/>
          <p:nvPr userDrawn="1"/>
        </p:nvSpPr>
        <p:spPr>
          <a:xfrm>
            <a:off x="4935951" y="4853681"/>
            <a:ext cx="2748843" cy="7504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nl-NL"/>
            </a:defPPr>
            <a:lvl1pPr>
              <a:lnSpc>
                <a:spcPct val="90000"/>
              </a:lnSpc>
              <a:defRPr sz="1050">
                <a:solidFill>
                  <a:srgbClr val="44546A"/>
                </a:solidFill>
              </a:defRPr>
            </a:lvl1pPr>
          </a:lstStyle>
          <a:p>
            <a:pPr lvl="0"/>
            <a:r>
              <a:rPr lang="nl-NL" sz="1000" b="1" dirty="0">
                <a:solidFill>
                  <a:srgbClr val="FF7800"/>
                </a:solidFill>
                <a:latin typeface="+mn-lt"/>
              </a:rPr>
              <a:t>Let op: </a:t>
            </a:r>
            <a:br>
              <a:rPr lang="nl-NL" sz="1000" dirty="0">
                <a:latin typeface="+mn-lt"/>
              </a:rPr>
            </a:br>
            <a:r>
              <a:rPr lang="nl-NL" sz="1000" dirty="0">
                <a:solidFill>
                  <a:srgbClr val="44546A"/>
                </a:solidFill>
                <a:latin typeface="+mn-lt"/>
              </a:rPr>
              <a:t>Het is </a:t>
            </a:r>
            <a:r>
              <a:rPr lang="nl-NL" sz="1000" b="1" u="sng" dirty="0">
                <a:solidFill>
                  <a:srgbClr val="44546A"/>
                </a:solidFill>
                <a:latin typeface="+mn-lt"/>
              </a:rPr>
              <a:t>niet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mogelijk een slide te kopiëren </a:t>
            </a:r>
            <a:br>
              <a:rPr lang="nl-NL" sz="1000" dirty="0">
                <a:solidFill>
                  <a:srgbClr val="44546A"/>
                </a:solidFill>
                <a:latin typeface="+mn-lt"/>
              </a:rPr>
            </a:br>
            <a:r>
              <a:rPr lang="nl-NL" sz="1000" dirty="0">
                <a:solidFill>
                  <a:srgbClr val="44546A"/>
                </a:solidFill>
                <a:latin typeface="+mn-lt"/>
              </a:rPr>
              <a:t>met een </a:t>
            </a:r>
            <a:r>
              <a:rPr lang="nl-NL" sz="1000" b="1" dirty="0">
                <a:solidFill>
                  <a:srgbClr val="44546A"/>
                </a:solidFill>
                <a:latin typeface="+mn-lt"/>
              </a:rPr>
              <a:t>andere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opmaak. Teksten en andere objecten dienen </a:t>
            </a:r>
            <a:r>
              <a:rPr lang="nl-NL" sz="1000" b="1" dirty="0">
                <a:solidFill>
                  <a:srgbClr val="FF7800"/>
                </a:solidFill>
                <a:latin typeface="+mn-lt"/>
              </a:rPr>
              <a:t>één-voor-één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te worden over gekopieerd.</a:t>
            </a:r>
          </a:p>
        </p:txBody>
      </p:sp>
    </p:spTree>
    <p:extLst>
      <p:ext uri="{BB962C8B-B14F-4D97-AF65-F5344CB8AC3E}">
        <p14:creationId xmlns:p14="http://schemas.microsoft.com/office/powerpoint/2010/main" val="225374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ekstvak 30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ro slide</a:t>
            </a:r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84" name="Afbeelding 8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35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36" name="Rechthoek 3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37" name="Ovaal 3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8" name="Rechte verbindingslijn 3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9" name="Rechte verbindingslijn 3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0" name="Rechthoek 3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2" name="Ovaal 4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4" name="Groep 43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77" name="Rechthoek 76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78" name="Rechte verbindingslijn 77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79" name="Gelijkbenige driehoek 78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45" name="Groep 4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Ovaal 71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Vrije vorm: vorm 72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Rechthoek: afgeronde hoeken 73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75" name="Rechte verbindingslijn 74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76" name="Rechte verbindingslijn 75"/>
                <p:cNvCxnSpPr>
                  <a:cxnSpLocks/>
                  <a:stCxn id="74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46" name="Ovaal 4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7" name="Rechthoek 4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8" name="Rechte verbindingslijn 4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9" name="Groep 4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Rechthoek 50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2" name="Groep 51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65" name="Rechthoek: afgeronde hoeken 64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Rechthoek 65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8" name="Rechthoek 67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9" name="Rechthoek 68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53" name="Groep 52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57" name="Groep 56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59" name="Rechthoek: afgeronde hoeken 58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0" name="Rechthoek 59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60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62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4" name="Rechthoek 63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58" name="Boog 57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54" name="Tekstvak 53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55" name="Tekstvak 54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56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8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8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82" name="Rechthoek 8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3" name="Rechte verbindingslijn 8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0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1308217" y="826943"/>
            <a:ext cx="6282061" cy="2208357"/>
          </a:xfrm>
          <a:solidFill>
            <a:schemeClr val="tx2">
              <a:alpha val="90000"/>
            </a:schemeClr>
          </a:solidFill>
        </p:spPr>
        <p:txBody>
          <a:bodyPr vert="horz"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7798" y="1331380"/>
            <a:ext cx="5822898" cy="423198"/>
          </a:xfrm>
        </p:spPr>
        <p:txBody>
          <a:bodyPr wrap="none" anchor="ctr"/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rijfsnaam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37798" y="2415716"/>
            <a:ext cx="5822898" cy="3960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6560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  <p:bldP spid="3" grpId="0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ekstvak 30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ro slide</a:t>
            </a:r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84" name="Afbeelding 8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35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36" name="Rechthoek 3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37" name="Ovaal 3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8" name="Rechte verbindingslijn 3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9" name="Rechte verbindingslijn 3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0" name="Rechthoek 3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2" name="Ovaal 4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4" name="Groep 43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77" name="Rechthoek 76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78" name="Rechte verbindingslijn 77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79" name="Gelijkbenige driehoek 78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45" name="Groep 4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Ovaal 71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Vrije vorm: vorm 72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Rechthoek: afgeronde hoeken 73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75" name="Rechte verbindingslijn 74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76" name="Rechte verbindingslijn 75"/>
                <p:cNvCxnSpPr>
                  <a:cxnSpLocks/>
                  <a:stCxn id="74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46" name="Ovaal 4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7" name="Rechthoek 4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8" name="Rechte verbindingslijn 4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9" name="Groep 4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Rechthoek 50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2" name="Groep 51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65" name="Rechthoek: afgeronde hoeken 64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Rechthoek 65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8" name="Rechthoek 67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9" name="Rechthoek 68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53" name="Groep 52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57" name="Groep 56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59" name="Rechthoek: afgeronde hoeken 58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0" name="Rechthoek 59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60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62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4" name="Rechthoek 63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58" name="Boog 57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54" name="Tekstvak 53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55" name="Tekstvak 54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56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8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8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82" name="Rechthoek 8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3" name="Rechte verbindingslijn 8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0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1308217" y="826943"/>
            <a:ext cx="6282061" cy="2208357"/>
          </a:xfrm>
          <a:solidFill>
            <a:schemeClr val="tx2">
              <a:alpha val="90000"/>
            </a:schemeClr>
          </a:solidFill>
        </p:spPr>
        <p:txBody>
          <a:bodyPr vert="horz"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7798" y="1331380"/>
            <a:ext cx="5822898" cy="423198"/>
          </a:xfrm>
        </p:spPr>
        <p:txBody>
          <a:bodyPr wrap="none" anchor="ctr"/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rijfsnaam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37798" y="2415716"/>
            <a:ext cx="5822898" cy="3960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7531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B6C14-EFE3-4271-AD2A-8DCD724904D4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genda</a:t>
            </a:r>
          </a:p>
        </p:txBody>
      </p:sp>
      <p:sp>
        <p:nvSpPr>
          <p:cNvPr id="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10" name="Rechthoek 9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11" name="Ovaal 10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" name="Rechte verbindingslijn 11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" name="Rechthoek 12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4" name="Rechte verbindingslijn 13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Rechte verbindingslijn 14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hthoek 15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" name="Groep 16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72" name="Rechte verbindingslijn 7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3" name="Rechte verbindingslijn 7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4" name="Rechte verbindingslijn 7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5" name="Rechte verbindingslijn 7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6" name="Rechte verbindingslijn 7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9" name="Groep 6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Pijl: punthaak 7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" name="Groep 17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63" name="Rechte verbindingslijn 6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4" name="Rechte verbindingslijn 6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5" name="Rechte verbindingslijn 6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6" name="Rechte verbindingslijn 6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7" name="Rechte verbindingslijn 6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0" name="Groep 5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61" name="Rechthoek 6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" name="Pijl: punthaak 6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" name="Rechte verbindingslijn 18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1" name="Groep 20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48" name="Rechthoek 4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49" name="Groep 4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50" name="Groep 4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54" name="Rechte verbindingslijn 5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5" name="Rechte verbindingslijn 5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6" name="Rechte verbindingslijn 5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7" name="Rechte verbindingslijn 5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8" name="Rechte verbindingslijn 5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51" name="Groep 5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52" name="Rechthoek 5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3" name="Pijl: punthaak 5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" name="Groep 21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9" name="Groep 3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43" name="Rechte verbindingslijn 4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4" name="Rechte verbindingslijn 4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5" name="Rechte verbindingslijn 4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6" name="Rechte verbindingslijn 4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7" name="Rechte verbindingslijn 4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40" name="Groep 3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41" name="Rechthoek 4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2" name="Pijl: punthaak 4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" name="Rechthoek 2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25" name="Rechthoek 2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26" name="Rechte verbindingslijn 2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7" name="Rechthoek 2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28" name="Ovaal 2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Ovaal 2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32" name="Ovaal 3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34" name="Ovaal 3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35" name="Rechthoek 3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7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7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0" name="Rechte verbindingslijn 7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82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9695" y="1273840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89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1172872" y="1273840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369695" y="2078021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69695" y="2882202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9695" y="368638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369695" y="4490564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1172872" y="4490564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369695" y="529474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06" name="Tijdelijke aanduiding voor verticale tekst 2">
            <a:extLst>
              <a:ext uri="{FF2B5EF4-FFF2-40B4-BE49-F238E27FC236}">
                <a16:creationId xmlns:a16="http://schemas.microsoft.com/office/drawing/2014/main" id="{5D87FE67-1EE4-4AB8-935B-42793EDED5D3}"/>
              </a:ext>
            </a:extLst>
          </p:cNvPr>
          <p:cNvSpPr>
            <a:spLocks noGrp="1"/>
          </p:cNvSpPr>
          <p:nvPr>
            <p:ph type="body" orient="vert" idx="44" hasCustomPrompt="1"/>
          </p:nvPr>
        </p:nvSpPr>
        <p:spPr>
          <a:xfrm>
            <a:off x="1172872" y="2078021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verticale tekst 2">
            <a:extLst>
              <a:ext uri="{FF2B5EF4-FFF2-40B4-BE49-F238E27FC236}">
                <a16:creationId xmlns:a16="http://schemas.microsoft.com/office/drawing/2014/main" id="{46E11900-4AC3-42DC-9EA5-FB6867C53B00}"/>
              </a:ext>
            </a:extLst>
          </p:cNvPr>
          <p:cNvSpPr>
            <a:spLocks noGrp="1"/>
          </p:cNvSpPr>
          <p:nvPr>
            <p:ph type="body" orient="vert" idx="45" hasCustomPrompt="1"/>
          </p:nvPr>
        </p:nvSpPr>
        <p:spPr>
          <a:xfrm>
            <a:off x="1172872" y="2882202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>
            <a:extLst>
              <a:ext uri="{FF2B5EF4-FFF2-40B4-BE49-F238E27FC236}">
                <a16:creationId xmlns:a16="http://schemas.microsoft.com/office/drawing/2014/main" id="{99E8DD11-097A-45EB-AAF7-EC25BE66AA9F}"/>
              </a:ext>
            </a:extLst>
          </p:cNvPr>
          <p:cNvSpPr>
            <a:spLocks noGrp="1"/>
          </p:cNvSpPr>
          <p:nvPr>
            <p:ph type="body" orient="vert" idx="46" hasCustomPrompt="1"/>
          </p:nvPr>
        </p:nvSpPr>
        <p:spPr>
          <a:xfrm>
            <a:off x="1172872" y="3686383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>
            <a:extLst>
              <a:ext uri="{FF2B5EF4-FFF2-40B4-BE49-F238E27FC236}">
                <a16:creationId xmlns:a16="http://schemas.microsoft.com/office/drawing/2014/main" id="{711A31A4-DA9C-4BBB-B5C7-183BEC7EF686}"/>
              </a:ext>
            </a:extLst>
          </p:cNvPr>
          <p:cNvSpPr>
            <a:spLocks noGrp="1"/>
          </p:cNvSpPr>
          <p:nvPr>
            <p:ph type="body" orient="vert" idx="47" hasCustomPrompt="1"/>
          </p:nvPr>
        </p:nvSpPr>
        <p:spPr>
          <a:xfrm>
            <a:off x="1172872" y="5294743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</p:spTree>
    <p:extLst>
      <p:ext uri="{BB962C8B-B14F-4D97-AF65-F5344CB8AC3E}">
        <p14:creationId xmlns:p14="http://schemas.microsoft.com/office/powerpoint/2010/main" val="384476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72833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 (W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2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144000" rIns="216000" bIns="144000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DBD2DC-8738-4717-AA7B-00FBAC64661C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tekst (WIT)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1327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Tekst + 2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/>
          <p:cNvSpPr>
            <a:spLocks noGrp="1"/>
          </p:cNvSpPr>
          <p:nvPr>
            <p:ph type="pic" sz="quarter" idx="15" hasCustomPrompt="1"/>
          </p:nvPr>
        </p:nvSpPr>
        <p:spPr>
          <a:xfrm>
            <a:off x="8592000" y="0"/>
            <a:ext cx="3600000" cy="6444878"/>
          </a:xfrm>
          <a:custGeom>
            <a:avLst/>
            <a:gdLst>
              <a:gd name="connsiteX0" fmla="*/ 0 w 3600000"/>
              <a:gd name="connsiteY0" fmla="*/ 0 h 6455571"/>
              <a:gd name="connsiteX1" fmla="*/ 3600000 w 3600000"/>
              <a:gd name="connsiteY1" fmla="*/ 0 h 6455571"/>
              <a:gd name="connsiteX2" fmla="*/ 3600000 w 3600000"/>
              <a:gd name="connsiteY2" fmla="*/ 6455571 h 6455571"/>
              <a:gd name="connsiteX3" fmla="*/ 3596827 w 3600000"/>
              <a:gd name="connsiteY3" fmla="*/ 6294120 h 6455571"/>
              <a:gd name="connsiteX4" fmla="*/ 2522687 w 3600000"/>
              <a:gd name="connsiteY4" fmla="*/ 6294120 h 6455571"/>
              <a:gd name="connsiteX5" fmla="*/ 1905628 w 3600000"/>
              <a:gd name="connsiteY5" fmla="*/ 6454140 h 6455571"/>
              <a:gd name="connsiteX6" fmla="*/ 0 w 3600000"/>
              <a:gd name="connsiteY6" fmla="*/ 6454400 h 6455571"/>
              <a:gd name="connsiteX0" fmla="*/ 0 w 3600000"/>
              <a:gd name="connsiteY0" fmla="*/ 0 h 6454400"/>
              <a:gd name="connsiteX1" fmla="*/ 3600000 w 3600000"/>
              <a:gd name="connsiteY1" fmla="*/ 0 h 6454400"/>
              <a:gd name="connsiteX2" fmla="*/ 3596827 w 3600000"/>
              <a:gd name="connsiteY2" fmla="*/ 6294120 h 6454400"/>
              <a:gd name="connsiteX3" fmla="*/ 2522687 w 3600000"/>
              <a:gd name="connsiteY3" fmla="*/ 6294120 h 6454400"/>
              <a:gd name="connsiteX4" fmla="*/ 1905628 w 3600000"/>
              <a:gd name="connsiteY4" fmla="*/ 6454140 h 6454400"/>
              <a:gd name="connsiteX5" fmla="*/ 0 w 3600000"/>
              <a:gd name="connsiteY5" fmla="*/ 6454400 h 6454400"/>
              <a:gd name="connsiteX6" fmla="*/ 0 w 3600000"/>
              <a:gd name="connsiteY6" fmla="*/ 0 h 6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00000" h="6454400">
                <a:moveTo>
                  <a:pt x="0" y="0"/>
                </a:moveTo>
                <a:lnTo>
                  <a:pt x="3600000" y="0"/>
                </a:lnTo>
                <a:cubicBezTo>
                  <a:pt x="3598942" y="2098040"/>
                  <a:pt x="3597885" y="4196080"/>
                  <a:pt x="3596827" y="6294120"/>
                </a:cubicBezTo>
                <a:lnTo>
                  <a:pt x="2522687" y="6294120"/>
                </a:lnTo>
                <a:lnTo>
                  <a:pt x="1905628" y="6454140"/>
                </a:lnTo>
                <a:lnTo>
                  <a:pt x="0" y="6454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7855401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7855401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68247-4C70-4F5A-848A-E80CB1D293C0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75% tekst + 25% afbeelding</a:t>
            </a:r>
          </a:p>
        </p:txBody>
      </p:sp>
      <p:sp>
        <p:nvSpPr>
          <p:cNvPr id="54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785400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55" name="Groep 54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5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61" name="Rechthoek 6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4" name="Rechthoek 6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65" name="Rechte verbindingslijn 6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Rechthoek 6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8" name="Groep 6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8" name="Groep 11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22" name="Rechte verbindingslijn 12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3" name="Rechte verbindingslijn 12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2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2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2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9" name="Groep 11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0" name="Rechthoek 11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1" name="Pijl: punthaak 12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9" name="Groep 6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9" name="Groep 10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13" name="Rechte verbindingslijn 11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4" name="Rechte verbindingslijn 11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0" name="Groep 10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1" name="Rechthoek 11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2" name="Pijl: punthaak 11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71" name="Rechte verbindingslijn 7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72" name="Groep 7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8" name="Rechthoek 9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00" name="Groep 9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04" name="Rechte verbindingslijn 10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0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0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0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8" name="Rechte verbindingslijn 10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1" name="Groep 10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2" name="Rechthoek 10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3" name="Pijl: punthaak 10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73" name="Groep 7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7" name="Rechthoek 8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8" name="Groep 8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9" name="Groep 8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93" name="Rechte verbindingslijn 9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4" name="Rechte verbindingslijn 9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5" name="Rechte verbindingslijn 9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6" name="Rechte verbindingslijn 9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0" name="Groep 8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1" name="Rechthoek 9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2" name="Pijl: punthaak 9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74" name="Rechthoek 7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75" name="Rechthoek 7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76" name="Rechte verbindingslijn 7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7" name="Rechthoek 7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8" name="Ovaal 7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Ovaal 7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81" name="Rechthoek 8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82" name="Ovaal 8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83" name="Rechthoek 8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84" name="Ovaal 8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85" name="Rechthoek 8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86" name="Rechte verbindingslijn 8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ep 12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8" name="Afbeelding 12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34" name="Rechthoek 1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35" name="Ovaal 1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36" name="Rechte verbindingslijn 1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7" name="Rechte verbindingslijn 1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8" name="Rechthoek 1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40" name="Ovaal 13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41" name="Rechthoek 14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2" name="Groep 14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75" name="Rechthoek 17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76" name="Rechte verbindingslijn 17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7" name="Gelijkbenige driehoek 17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3" name="Groep 14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9" name="Rechthoek 16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0" name="Ovaal 16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1" name="Vrije vorm: vorm 17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2" name="Rechthoek: afgeronde hoeken 17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73" name="Rechte verbindingslijn 17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74" name="Rechte verbindingslijn 173"/>
                <p:cNvCxnSpPr>
                  <a:cxnSpLocks/>
                  <a:stCxn id="17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44" name="Ovaal 14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45" name="Rechthoek 14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46" name="Rechte verbindingslijn 14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7" name="Groep 14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8" name="Rechthoek 14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Rechthoek 14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50" name="Groep 14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63" name="Rechthoek: afgeronde hoeken 16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4" name="Rechthoek 16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6" name="Rechthoek 16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7" name="Rechthoek 16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8" name="Rechthoek 16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51" name="Groep 15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55" name="Groep 15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7" name="Rechthoek: afgeronde hoeken 15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" name="Rechthoek 15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9" name="Rechthoek 15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0" name="Rechthoek 15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1" name="Rechthoek 16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2" name="Rechthoek 16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56" name="Boog 15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52" name="Tekstvak 15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53" name="Tekstvak 152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5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3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3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32" name="Rechthoek 13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33" name="Rechte verbindingslijn 13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70511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EE8C-7FDD-4575-BB02-CE56659B47F9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6" y="0"/>
            <a:ext cx="5899594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6580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299" y="365126"/>
            <a:ext cx="11453811" cy="272814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E8DDB-6577-4D63-9F56-8A3E4A74A0AB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Grafiek</a:t>
            </a:r>
          </a:p>
        </p:txBody>
      </p:sp>
      <p:sp>
        <p:nvSpPr>
          <p:cNvPr id="27" name="Tijdelijke aanduiding voor grafiek 8"/>
          <p:cNvSpPr>
            <a:spLocks noGrp="1"/>
          </p:cNvSpPr>
          <p:nvPr>
            <p:ph type="chart" sz="quarter" idx="15" hasCustomPrompt="1"/>
          </p:nvPr>
        </p:nvSpPr>
        <p:spPr>
          <a:xfrm>
            <a:off x="368301" y="1179861"/>
            <a:ext cx="11453810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2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3" y="-17883"/>
            <a:ext cx="3183677" cy="6879634"/>
            <a:chOff x="12391603" y="-17883"/>
            <a:chExt cx="3183677" cy="687963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30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2" name="Rechte verbindingslijn 31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3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34" name="Rechthoek 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35" name="Ovaal 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8" name="Rechthoek 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Ovaal 38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grafiek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1" name="Groep 40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47" name="Rechthoek 46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48" name="Rechte verbindingslijn 47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49" name="Gelijkbenige driehoek 48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3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44" name="Rechthoek 43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45" name="Rechthoek 44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46" name="Rechthoek 45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  <p:grpSp>
          <p:nvGrpSpPr>
            <p:cNvPr id="50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2" name="Rechthoek 51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5" name="Rechthoek 54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100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56" name="Groep 55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Rechthoek 57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Tekstvak 58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60" name="Tekstvak 59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61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62" name="Groep 61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85" name="Rechthoek 84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86" name="Rechthoek 85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87" name="Rechthoek 86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</p:grpSp>
            <p:grpSp>
              <p:nvGrpSpPr>
                <p:cNvPr id="63" name="Groep 62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64" name="Rechthoek 63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  <p:grpSp>
                <p:nvGrpSpPr>
                  <p:cNvPr id="65" name="Groep 64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66" name="Groep 65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71" name="Rechthoek 70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grpSp>
                    <p:nvGrpSpPr>
                      <p:cNvPr id="72" name="Groep 71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78" name="Rechte verbindingslijn 77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9" name="Rechte verbindingslijn 7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80" name="Groep 79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81" name="Rechte verbindingslijn 80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2" name="Rechte verbindingslijn 8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3" name="Rechte verbindingslijn 8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4" name="Rechte verbindingslijn 8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73" name="Rechte verbindingslijn 72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74" name="Groep 73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75" name="Rechte verbindingslijn 74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6" name="Rechte verbindingslijn 7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7" name="Rechte verbindingslijn 7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67" name="Groep 66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68" name="Rechthoek 67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69" name="Rechthoek: afgeronde bovenhoeken 68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70" name="Gelijkbenige driehoek 69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262175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tussenruim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102"/>
            <a:ext cx="5900400" cy="6444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BAD87-9DA1-4179-B89C-3A13243D9DF2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6" y="0"/>
            <a:ext cx="5899594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46700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46" grpId="0" animBg="1"/>
    </p:bld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aangeslo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738"/>
            <a:ext cx="6096001" cy="644663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F9849-415E-44AF-87B9-ADAEFF451B68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afbeelding</a:t>
            </a:r>
          </a:p>
        </p:txBody>
      </p:sp>
      <p:sp>
        <p:nvSpPr>
          <p:cNvPr id="176" name="Tijdelijke aanduiding voor afbeelding 175">
            <a:extLst>
              <a:ext uri="{FF2B5EF4-FFF2-40B4-BE49-F238E27FC236}">
                <a16:creationId xmlns:a16="http://schemas.microsoft.com/office/drawing/2014/main" id="{7C5210DE-B7D5-45EB-AABB-494A14F33D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443898"/>
          </a:xfrm>
          <a:custGeom>
            <a:avLst/>
            <a:gdLst>
              <a:gd name="connsiteX0" fmla="*/ 0 w 6096000"/>
              <a:gd name="connsiteY0" fmla="*/ 0 h 6443898"/>
              <a:gd name="connsiteX1" fmla="*/ 196406 w 6096000"/>
              <a:gd name="connsiteY1" fmla="*/ 0 h 6443898"/>
              <a:gd name="connsiteX2" fmla="*/ 368300 w 6096000"/>
              <a:gd name="connsiteY2" fmla="*/ 0 h 6443898"/>
              <a:gd name="connsiteX3" fmla="*/ 424269 w 6096000"/>
              <a:gd name="connsiteY3" fmla="*/ 0 h 6443898"/>
              <a:gd name="connsiteX4" fmla="*/ 2786743 w 6096000"/>
              <a:gd name="connsiteY4" fmla="*/ 0 h 6443898"/>
              <a:gd name="connsiteX5" fmla="*/ 6096000 w 6096000"/>
              <a:gd name="connsiteY5" fmla="*/ 0 h 6443898"/>
              <a:gd name="connsiteX6" fmla="*/ 6092827 w 6096000"/>
              <a:gd name="connsiteY6" fmla="*/ 6283249 h 6443898"/>
              <a:gd name="connsiteX7" fmla="*/ 5018687 w 6096000"/>
              <a:gd name="connsiteY7" fmla="*/ 6283249 h 6443898"/>
              <a:gd name="connsiteX8" fmla="*/ 4401628 w 6096000"/>
              <a:gd name="connsiteY8" fmla="*/ 6443348 h 6443898"/>
              <a:gd name="connsiteX9" fmla="*/ 424269 w 6096000"/>
              <a:gd name="connsiteY9" fmla="*/ 6443891 h 6443898"/>
              <a:gd name="connsiteX10" fmla="*/ 424269 w 6096000"/>
              <a:gd name="connsiteY10" fmla="*/ 6443898 h 6443898"/>
              <a:gd name="connsiteX11" fmla="*/ 368300 w 6096000"/>
              <a:gd name="connsiteY11" fmla="*/ 6443898 h 6443898"/>
              <a:gd name="connsiteX12" fmla="*/ 196406 w 6096000"/>
              <a:gd name="connsiteY12" fmla="*/ 6443898 h 6443898"/>
              <a:gd name="connsiteX13" fmla="*/ 0 w 6096000"/>
              <a:gd name="connsiteY13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96000" h="6443898">
                <a:moveTo>
                  <a:pt x="0" y="0"/>
                </a:moveTo>
                <a:lnTo>
                  <a:pt x="196406" y="0"/>
                </a:lnTo>
                <a:lnTo>
                  <a:pt x="368300" y="0"/>
                </a:lnTo>
                <a:lnTo>
                  <a:pt x="424269" y="0"/>
                </a:lnTo>
                <a:lnTo>
                  <a:pt x="2786743" y="0"/>
                </a:lnTo>
                <a:lnTo>
                  <a:pt x="6096000" y="0"/>
                </a:lnTo>
                <a:cubicBezTo>
                  <a:pt x="6094942" y="2094416"/>
                  <a:pt x="6093885" y="4188833"/>
                  <a:pt x="6092827" y="6283249"/>
                </a:cubicBezTo>
                <a:lnTo>
                  <a:pt x="5018687" y="6283249"/>
                </a:lnTo>
                <a:lnTo>
                  <a:pt x="4401628" y="6443348"/>
                </a:lnTo>
                <a:lnTo>
                  <a:pt x="424269" y="6443891"/>
                </a:lnTo>
                <a:lnTo>
                  <a:pt x="424269" y="6443898"/>
                </a:lnTo>
                <a:lnTo>
                  <a:pt x="368300" y="6443898"/>
                </a:lnTo>
                <a:lnTo>
                  <a:pt x="196406" y="6443898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20310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176" grpId="0" animBg="1"/>
    </p:bld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% Tekst + 7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8300" y="365126"/>
            <a:ext cx="2863850" cy="272814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2863850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67D4D-F226-49BB-9F34-C40F1A3D8743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75% tekst + 25% afbeelding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5" hasCustomPrompt="1"/>
          </p:nvPr>
        </p:nvSpPr>
        <p:spPr>
          <a:xfrm>
            <a:off x="3600449" y="0"/>
            <a:ext cx="8591551" cy="6444288"/>
          </a:xfrm>
          <a:custGeom>
            <a:avLst/>
            <a:gdLst>
              <a:gd name="connsiteX0" fmla="*/ 0 w 8591551"/>
              <a:gd name="connsiteY0" fmla="*/ 0 h 6441603"/>
              <a:gd name="connsiteX1" fmla="*/ 8591551 w 8591551"/>
              <a:gd name="connsiteY1" fmla="*/ 0 h 6441603"/>
              <a:gd name="connsiteX2" fmla="*/ 8591551 w 8591551"/>
              <a:gd name="connsiteY2" fmla="*/ 6441603 h 6441603"/>
              <a:gd name="connsiteX3" fmla="*/ 8588378 w 8591551"/>
              <a:gd name="connsiteY3" fmla="*/ 6280152 h 6441603"/>
              <a:gd name="connsiteX4" fmla="*/ 7514238 w 8591551"/>
              <a:gd name="connsiteY4" fmla="*/ 6280152 h 6441603"/>
              <a:gd name="connsiteX5" fmla="*/ 6897179 w 8591551"/>
              <a:gd name="connsiteY5" fmla="*/ 6440172 h 6441603"/>
              <a:gd name="connsiteX6" fmla="*/ 0 w 8591551"/>
              <a:gd name="connsiteY6" fmla="*/ 6441112 h 6441603"/>
              <a:gd name="connsiteX0" fmla="*/ 0 w 8591551"/>
              <a:gd name="connsiteY0" fmla="*/ 0 h 6441112"/>
              <a:gd name="connsiteX1" fmla="*/ 8591551 w 8591551"/>
              <a:gd name="connsiteY1" fmla="*/ 0 h 6441112"/>
              <a:gd name="connsiteX2" fmla="*/ 8588378 w 8591551"/>
              <a:gd name="connsiteY2" fmla="*/ 6280152 h 6441112"/>
              <a:gd name="connsiteX3" fmla="*/ 7514238 w 8591551"/>
              <a:gd name="connsiteY3" fmla="*/ 6280152 h 6441112"/>
              <a:gd name="connsiteX4" fmla="*/ 6897179 w 8591551"/>
              <a:gd name="connsiteY4" fmla="*/ 6440172 h 6441112"/>
              <a:gd name="connsiteX5" fmla="*/ 0 w 8591551"/>
              <a:gd name="connsiteY5" fmla="*/ 6441112 h 6441112"/>
              <a:gd name="connsiteX6" fmla="*/ 0 w 8591551"/>
              <a:gd name="connsiteY6" fmla="*/ 0 h 6441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91551" h="6441112">
                <a:moveTo>
                  <a:pt x="0" y="0"/>
                </a:moveTo>
                <a:lnTo>
                  <a:pt x="8591551" y="0"/>
                </a:lnTo>
                <a:cubicBezTo>
                  <a:pt x="8590493" y="2093384"/>
                  <a:pt x="8589436" y="4186768"/>
                  <a:pt x="8588378" y="6280152"/>
                </a:cubicBezTo>
                <a:lnTo>
                  <a:pt x="7514238" y="6280152"/>
                </a:lnTo>
                <a:lnTo>
                  <a:pt x="6897179" y="6440172"/>
                </a:lnTo>
                <a:lnTo>
                  <a:pt x="0" y="644111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369697" y="743900"/>
            <a:ext cx="28624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grpSp>
        <p:nvGrpSpPr>
          <p:cNvPr id="35" name="Groep 34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3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1" name="Rechthoek 4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42" name="Ovaal 4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4" name="Rechthoek 4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5" name="Rechte verbindingslijn 4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Rechthoek 4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8" name="Groep 4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8" name="Groep 9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2" name="Rechte verbindingslijn 10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9" name="Groep 9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0" name="Rechthoek 9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1" name="Pijl: punthaak 10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9" name="Groep 4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2" name="Groep 5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8" name="Rechthoek 7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9" name="Groep 7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0" name="Groep 7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4" name="Rechte verbindingslijn 8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2" name="Rechthoek 8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3" name="Pijl: punthaak 8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7" name="Rechthoek 6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9" name="Groep 6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3" name="Rechte verbindingslijn 7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0" name="Groep 6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1" name="Rechthoek 7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2" name="Pijl: punthaak 7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4" name="Rechthoek 5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5" name="Rechthoek 5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58" name="Ovaal 5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0" name="Ovaal 5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1" name="Rechthoek 6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9" name="Rechthoek 3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0" name="Rechte verbindingslijn 3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7" name="Groep 10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8" name="Afbeelding 10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0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14" name="Rechthoek 11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15" name="Ovaal 11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6" name="Rechte verbindingslijn 11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7" name="Rechte verbindingslijn 11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8" name="Rechthoek 11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9" name="Rechte verbindingslijn 11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20" name="Ovaal 11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21" name="Rechthoek 12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22" name="Groep 12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55" name="Rechthoek 15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57" name="Gelijkbenige driehoek 15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3" name="Groep 12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49" name="Rechthoek 14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Ovaal 14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" name="Vrije vorm: vorm 15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" name="Rechthoek: afgeronde hoeken 15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53" name="Rechte verbindingslijn 15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54" name="Rechte verbindingslijn 153"/>
                <p:cNvCxnSpPr>
                  <a:cxnSpLocks/>
                  <a:stCxn id="15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24" name="Ovaal 12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27" name="Groep 12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8" name="Rechthoek 12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Rechthoek 12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43" name="Rechthoek: afgeronde hoeken 14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5" name="Rechthoek 14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31" name="Groep 13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5" name="Groep 13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7" name="Rechthoek: afgeronde hoeken 13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9" name="Rechthoek 13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Rechthoek 13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1" name="Rechthoek 14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2" name="Rechthoek 14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36" name="Boog 13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32" name="Tekstvak 13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33" name="Tekstvak 132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1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12" name="Rechthoek 11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3" name="Rechte verbindingslijn 11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7732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Blauw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C128D-1DCE-4FF8-9162-5773BCB691D1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7950200" y="-279400"/>
            <a:ext cx="4241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afbeelding (Titel blauw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20721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Wit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BC885B-BB59-494C-89AD-2601A479C9EC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8242300" y="-279400"/>
            <a:ext cx="3949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afbeelding (Titel wit 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99629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Afbeelding 6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19" y="3229990"/>
            <a:ext cx="1639482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42872"/>
              <a:gd name="connsiteX1" fmla="*/ 12192000 w 12192000"/>
              <a:gd name="connsiteY1" fmla="*/ 0 h 6442872"/>
              <a:gd name="connsiteX2" fmla="*/ 12192000 w 12192000"/>
              <a:gd name="connsiteY2" fmla="*/ 6442872 h 6442872"/>
              <a:gd name="connsiteX3" fmla="*/ 12188827 w 12192000"/>
              <a:gd name="connsiteY3" fmla="*/ 6281739 h 6442872"/>
              <a:gd name="connsiteX4" fmla="*/ 11114687 w 12192000"/>
              <a:gd name="connsiteY4" fmla="*/ 6281739 h 6442872"/>
              <a:gd name="connsiteX5" fmla="*/ 10497628 w 12192000"/>
              <a:gd name="connsiteY5" fmla="*/ 6441444 h 6442872"/>
              <a:gd name="connsiteX6" fmla="*/ 0 w 12192000"/>
              <a:gd name="connsiteY6" fmla="*/ 6442872 h 6442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42872">
                <a:moveTo>
                  <a:pt x="0" y="0"/>
                </a:moveTo>
                <a:lnTo>
                  <a:pt x="12192000" y="0"/>
                </a:lnTo>
                <a:lnTo>
                  <a:pt x="12192000" y="6442872"/>
                </a:lnTo>
                <a:lnTo>
                  <a:pt x="12188827" y="6281739"/>
                </a:lnTo>
                <a:lnTo>
                  <a:pt x="11114687" y="6281739"/>
                </a:lnTo>
                <a:lnTo>
                  <a:pt x="10497628" y="6441444"/>
                </a:lnTo>
                <a:lnTo>
                  <a:pt x="0" y="64428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DD93-F15A-4221-BFC8-25C51F8873DA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video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14" name="Meer informatie"/>
          <p:cNvGrpSpPr/>
          <p:nvPr userDrawn="1"/>
        </p:nvGrpSpPr>
        <p:grpSpPr>
          <a:xfrm>
            <a:off x="12396764" y="4434421"/>
            <a:ext cx="3178515" cy="783273"/>
            <a:chOff x="-3741486" y="3359148"/>
            <a:chExt cx="3178515" cy="783273"/>
          </a:xfrm>
        </p:grpSpPr>
        <p:sp>
          <p:nvSpPr>
            <p:cNvPr id="15" name="Freeform 101"/>
            <p:cNvSpPr>
              <a:spLocks noEditPoints="1"/>
            </p:cNvSpPr>
            <p:nvPr/>
          </p:nvSpPr>
          <p:spPr bwMode="auto">
            <a:xfrm>
              <a:off x="-3741486" y="3359148"/>
              <a:ext cx="255753" cy="255753"/>
            </a:xfrm>
            <a:custGeom>
              <a:avLst/>
              <a:gdLst>
                <a:gd name="T0" fmla="*/ 0 w 292"/>
                <a:gd name="T1" fmla="*/ 146 h 292"/>
                <a:gd name="T2" fmla="*/ 4 w 292"/>
                <a:gd name="T3" fmla="*/ 113 h 292"/>
                <a:gd name="T4" fmla="*/ 14 w 292"/>
                <a:gd name="T5" fmla="*/ 82 h 292"/>
                <a:gd name="T6" fmla="*/ 31 w 292"/>
                <a:gd name="T7" fmla="*/ 55 h 292"/>
                <a:gd name="T8" fmla="*/ 53 w 292"/>
                <a:gd name="T9" fmla="*/ 32 h 292"/>
                <a:gd name="T10" fmla="*/ 81 w 292"/>
                <a:gd name="T11" fmla="*/ 15 h 292"/>
                <a:gd name="T12" fmla="*/ 112 w 292"/>
                <a:gd name="T13" fmla="*/ 4 h 292"/>
                <a:gd name="T14" fmla="*/ 145 w 292"/>
                <a:gd name="T15" fmla="*/ 0 h 292"/>
                <a:gd name="T16" fmla="*/ 179 w 292"/>
                <a:gd name="T17" fmla="*/ 4 h 292"/>
                <a:gd name="T18" fmla="*/ 209 w 292"/>
                <a:gd name="T19" fmla="*/ 15 h 292"/>
                <a:gd name="T20" fmla="*/ 237 w 292"/>
                <a:gd name="T21" fmla="*/ 32 h 292"/>
                <a:gd name="T22" fmla="*/ 259 w 292"/>
                <a:gd name="T23" fmla="*/ 55 h 292"/>
                <a:gd name="T24" fmla="*/ 276 w 292"/>
                <a:gd name="T25" fmla="*/ 82 h 292"/>
                <a:gd name="T26" fmla="*/ 288 w 292"/>
                <a:gd name="T27" fmla="*/ 113 h 292"/>
                <a:gd name="T28" fmla="*/ 292 w 292"/>
                <a:gd name="T29" fmla="*/ 146 h 292"/>
                <a:gd name="T30" fmla="*/ 288 w 292"/>
                <a:gd name="T31" fmla="*/ 180 h 292"/>
                <a:gd name="T32" fmla="*/ 276 w 292"/>
                <a:gd name="T33" fmla="*/ 210 h 292"/>
                <a:gd name="T34" fmla="*/ 259 w 292"/>
                <a:gd name="T35" fmla="*/ 237 h 292"/>
                <a:gd name="T36" fmla="*/ 237 w 292"/>
                <a:gd name="T37" fmla="*/ 260 h 292"/>
                <a:gd name="T38" fmla="*/ 209 w 292"/>
                <a:gd name="T39" fmla="*/ 278 h 292"/>
                <a:gd name="T40" fmla="*/ 179 w 292"/>
                <a:gd name="T41" fmla="*/ 288 h 292"/>
                <a:gd name="T42" fmla="*/ 145 w 292"/>
                <a:gd name="T43" fmla="*/ 292 h 292"/>
                <a:gd name="T44" fmla="*/ 112 w 292"/>
                <a:gd name="T45" fmla="*/ 288 h 292"/>
                <a:gd name="T46" fmla="*/ 81 w 292"/>
                <a:gd name="T47" fmla="*/ 278 h 292"/>
                <a:gd name="T48" fmla="*/ 53 w 292"/>
                <a:gd name="T49" fmla="*/ 260 h 292"/>
                <a:gd name="T50" fmla="*/ 31 w 292"/>
                <a:gd name="T51" fmla="*/ 237 h 292"/>
                <a:gd name="T52" fmla="*/ 14 w 292"/>
                <a:gd name="T53" fmla="*/ 210 h 292"/>
                <a:gd name="T54" fmla="*/ 4 w 292"/>
                <a:gd name="T55" fmla="*/ 180 h 292"/>
                <a:gd name="T56" fmla="*/ 0 w 292"/>
                <a:gd name="T57" fmla="*/ 146 h 292"/>
                <a:gd name="T58" fmla="*/ 102 w 292"/>
                <a:gd name="T59" fmla="*/ 121 h 292"/>
                <a:gd name="T60" fmla="*/ 102 w 292"/>
                <a:gd name="T61" fmla="*/ 142 h 292"/>
                <a:gd name="T62" fmla="*/ 120 w 292"/>
                <a:gd name="T63" fmla="*/ 142 h 292"/>
                <a:gd name="T64" fmla="*/ 120 w 292"/>
                <a:gd name="T65" fmla="*/ 223 h 292"/>
                <a:gd name="T66" fmla="*/ 102 w 292"/>
                <a:gd name="T67" fmla="*/ 223 h 292"/>
                <a:gd name="T68" fmla="*/ 102 w 292"/>
                <a:gd name="T69" fmla="*/ 244 h 292"/>
                <a:gd name="T70" fmla="*/ 188 w 292"/>
                <a:gd name="T71" fmla="*/ 244 h 292"/>
                <a:gd name="T72" fmla="*/ 188 w 292"/>
                <a:gd name="T73" fmla="*/ 223 h 292"/>
                <a:gd name="T74" fmla="*/ 170 w 292"/>
                <a:gd name="T75" fmla="*/ 223 h 292"/>
                <a:gd name="T76" fmla="*/ 170 w 292"/>
                <a:gd name="T77" fmla="*/ 142 h 292"/>
                <a:gd name="T78" fmla="*/ 188 w 292"/>
                <a:gd name="T79" fmla="*/ 142 h 292"/>
                <a:gd name="T80" fmla="*/ 188 w 292"/>
                <a:gd name="T81" fmla="*/ 121 h 292"/>
                <a:gd name="T82" fmla="*/ 102 w 292"/>
                <a:gd name="T83" fmla="*/ 121 h 292"/>
                <a:gd name="T84" fmla="*/ 115 w 292"/>
                <a:gd name="T85" fmla="*/ 79 h 292"/>
                <a:gd name="T86" fmla="*/ 117 w 292"/>
                <a:gd name="T87" fmla="*/ 92 h 292"/>
                <a:gd name="T88" fmla="*/ 124 w 292"/>
                <a:gd name="T89" fmla="*/ 101 h 292"/>
                <a:gd name="T90" fmla="*/ 133 w 292"/>
                <a:gd name="T91" fmla="*/ 108 h 292"/>
                <a:gd name="T92" fmla="*/ 145 w 292"/>
                <a:gd name="T93" fmla="*/ 110 h 292"/>
                <a:gd name="T94" fmla="*/ 157 w 292"/>
                <a:gd name="T95" fmla="*/ 108 h 292"/>
                <a:gd name="T96" fmla="*/ 167 w 292"/>
                <a:gd name="T97" fmla="*/ 101 h 292"/>
                <a:gd name="T98" fmla="*/ 174 w 292"/>
                <a:gd name="T99" fmla="*/ 92 h 292"/>
                <a:gd name="T100" fmla="*/ 176 w 292"/>
                <a:gd name="T101" fmla="*/ 79 h 292"/>
                <a:gd name="T102" fmla="*/ 174 w 292"/>
                <a:gd name="T103" fmla="*/ 67 h 292"/>
                <a:gd name="T104" fmla="*/ 167 w 292"/>
                <a:gd name="T105" fmla="*/ 58 h 292"/>
                <a:gd name="T106" fmla="*/ 157 w 292"/>
                <a:gd name="T107" fmla="*/ 51 h 292"/>
                <a:gd name="T108" fmla="*/ 145 w 292"/>
                <a:gd name="T109" fmla="*/ 49 h 292"/>
                <a:gd name="T110" fmla="*/ 133 w 292"/>
                <a:gd name="T111" fmla="*/ 51 h 292"/>
                <a:gd name="T112" fmla="*/ 124 w 292"/>
                <a:gd name="T113" fmla="*/ 58 h 292"/>
                <a:gd name="T114" fmla="*/ 117 w 292"/>
                <a:gd name="T115" fmla="*/ 67 h 292"/>
                <a:gd name="T116" fmla="*/ 115 w 292"/>
                <a:gd name="T117" fmla="*/ 79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2" h="292">
                  <a:moveTo>
                    <a:pt x="0" y="146"/>
                  </a:moveTo>
                  <a:lnTo>
                    <a:pt x="4" y="113"/>
                  </a:lnTo>
                  <a:lnTo>
                    <a:pt x="14" y="82"/>
                  </a:lnTo>
                  <a:lnTo>
                    <a:pt x="31" y="55"/>
                  </a:lnTo>
                  <a:lnTo>
                    <a:pt x="53" y="32"/>
                  </a:lnTo>
                  <a:lnTo>
                    <a:pt x="81" y="15"/>
                  </a:lnTo>
                  <a:lnTo>
                    <a:pt x="112" y="4"/>
                  </a:lnTo>
                  <a:lnTo>
                    <a:pt x="145" y="0"/>
                  </a:lnTo>
                  <a:lnTo>
                    <a:pt x="179" y="4"/>
                  </a:lnTo>
                  <a:lnTo>
                    <a:pt x="209" y="15"/>
                  </a:lnTo>
                  <a:lnTo>
                    <a:pt x="237" y="32"/>
                  </a:lnTo>
                  <a:lnTo>
                    <a:pt x="259" y="55"/>
                  </a:lnTo>
                  <a:lnTo>
                    <a:pt x="276" y="82"/>
                  </a:lnTo>
                  <a:lnTo>
                    <a:pt x="288" y="113"/>
                  </a:lnTo>
                  <a:lnTo>
                    <a:pt x="292" y="146"/>
                  </a:lnTo>
                  <a:lnTo>
                    <a:pt x="288" y="180"/>
                  </a:lnTo>
                  <a:lnTo>
                    <a:pt x="276" y="210"/>
                  </a:lnTo>
                  <a:lnTo>
                    <a:pt x="259" y="237"/>
                  </a:lnTo>
                  <a:lnTo>
                    <a:pt x="237" y="260"/>
                  </a:lnTo>
                  <a:lnTo>
                    <a:pt x="209" y="278"/>
                  </a:lnTo>
                  <a:lnTo>
                    <a:pt x="179" y="288"/>
                  </a:lnTo>
                  <a:lnTo>
                    <a:pt x="145" y="292"/>
                  </a:lnTo>
                  <a:lnTo>
                    <a:pt x="112" y="288"/>
                  </a:lnTo>
                  <a:lnTo>
                    <a:pt x="81" y="278"/>
                  </a:lnTo>
                  <a:lnTo>
                    <a:pt x="53" y="260"/>
                  </a:lnTo>
                  <a:lnTo>
                    <a:pt x="31" y="237"/>
                  </a:lnTo>
                  <a:lnTo>
                    <a:pt x="14" y="210"/>
                  </a:lnTo>
                  <a:lnTo>
                    <a:pt x="4" y="180"/>
                  </a:lnTo>
                  <a:lnTo>
                    <a:pt x="0" y="146"/>
                  </a:lnTo>
                  <a:close/>
                  <a:moveTo>
                    <a:pt x="102" y="121"/>
                  </a:moveTo>
                  <a:lnTo>
                    <a:pt x="102" y="142"/>
                  </a:lnTo>
                  <a:lnTo>
                    <a:pt x="120" y="142"/>
                  </a:lnTo>
                  <a:lnTo>
                    <a:pt x="120" y="223"/>
                  </a:lnTo>
                  <a:lnTo>
                    <a:pt x="102" y="223"/>
                  </a:lnTo>
                  <a:lnTo>
                    <a:pt x="102" y="244"/>
                  </a:lnTo>
                  <a:lnTo>
                    <a:pt x="188" y="244"/>
                  </a:lnTo>
                  <a:lnTo>
                    <a:pt x="188" y="223"/>
                  </a:lnTo>
                  <a:lnTo>
                    <a:pt x="170" y="223"/>
                  </a:lnTo>
                  <a:lnTo>
                    <a:pt x="170" y="142"/>
                  </a:lnTo>
                  <a:lnTo>
                    <a:pt x="188" y="142"/>
                  </a:lnTo>
                  <a:lnTo>
                    <a:pt x="188" y="121"/>
                  </a:lnTo>
                  <a:lnTo>
                    <a:pt x="102" y="121"/>
                  </a:lnTo>
                  <a:close/>
                  <a:moveTo>
                    <a:pt x="115" y="79"/>
                  </a:moveTo>
                  <a:lnTo>
                    <a:pt x="117" y="92"/>
                  </a:lnTo>
                  <a:lnTo>
                    <a:pt x="124" y="101"/>
                  </a:lnTo>
                  <a:lnTo>
                    <a:pt x="133" y="108"/>
                  </a:lnTo>
                  <a:lnTo>
                    <a:pt x="145" y="110"/>
                  </a:lnTo>
                  <a:lnTo>
                    <a:pt x="157" y="108"/>
                  </a:lnTo>
                  <a:lnTo>
                    <a:pt x="167" y="101"/>
                  </a:lnTo>
                  <a:lnTo>
                    <a:pt x="174" y="92"/>
                  </a:lnTo>
                  <a:lnTo>
                    <a:pt x="176" y="79"/>
                  </a:lnTo>
                  <a:lnTo>
                    <a:pt x="174" y="67"/>
                  </a:lnTo>
                  <a:lnTo>
                    <a:pt x="167" y="58"/>
                  </a:lnTo>
                  <a:lnTo>
                    <a:pt x="157" y="51"/>
                  </a:lnTo>
                  <a:lnTo>
                    <a:pt x="145" y="49"/>
                  </a:lnTo>
                  <a:lnTo>
                    <a:pt x="133" y="51"/>
                  </a:lnTo>
                  <a:lnTo>
                    <a:pt x="124" y="58"/>
                  </a:lnTo>
                  <a:lnTo>
                    <a:pt x="117" y="67"/>
                  </a:lnTo>
                  <a:lnTo>
                    <a:pt x="115" y="79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100" noProof="0"/>
            </a:p>
          </p:txBody>
        </p:sp>
        <p:sp>
          <p:nvSpPr>
            <p:cNvPr id="16" name="Rechthoek 15"/>
            <p:cNvSpPr/>
            <p:nvPr userDrawn="1"/>
          </p:nvSpPr>
          <p:spPr>
            <a:xfrm>
              <a:off x="-3380966" y="3431177"/>
              <a:ext cx="2817995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Meer weten?</a:t>
              </a:r>
              <a:b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a naar dia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instructies – YouTube links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open deze in de diavoorstelling en klik op de gewenste video link.</a:t>
              </a:r>
            </a:p>
          </p:txBody>
        </p:sp>
        <p:cxnSp>
          <p:nvCxnSpPr>
            <p:cNvPr id="17" name="Rechte verbindingslijn 16"/>
            <p:cNvCxnSpPr>
              <a:cxnSpLocks/>
            </p:cNvCxnSpPr>
            <p:nvPr userDrawn="1"/>
          </p:nvCxnSpPr>
          <p:spPr>
            <a:xfrm>
              <a:off x="-3740987" y="4142421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</p:grpSp>
      <p:sp>
        <p:nvSpPr>
          <p:cNvPr id="21" name="Rechthoek 20"/>
          <p:cNvSpPr/>
          <p:nvPr userDrawn="1"/>
        </p:nvSpPr>
        <p:spPr>
          <a:xfrm>
            <a:off x="12397264" y="-17883"/>
            <a:ext cx="3178016" cy="19161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0" cap="all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Video invoegen</a:t>
            </a:r>
          </a:p>
        </p:txBody>
      </p:sp>
      <p:sp>
        <p:nvSpPr>
          <p:cNvPr id="22" name="Ovaal 21"/>
          <p:cNvSpPr/>
          <p:nvPr userDrawn="1"/>
        </p:nvSpPr>
        <p:spPr>
          <a:xfrm>
            <a:off x="12391603" y="348607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1</a:t>
            </a:r>
          </a:p>
        </p:txBody>
      </p:sp>
      <p:cxnSp>
        <p:nvCxnSpPr>
          <p:cNvPr id="24" name="Rechte verbindingslijn 23"/>
          <p:cNvCxnSpPr>
            <a:cxnSpLocks/>
          </p:cNvCxnSpPr>
          <p:nvPr userDrawn="1"/>
        </p:nvCxnSpPr>
        <p:spPr>
          <a:xfrm>
            <a:off x="12397263" y="223752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25" name="Rechte verbindingslijn 24"/>
          <p:cNvCxnSpPr>
            <a:cxnSpLocks/>
          </p:cNvCxnSpPr>
          <p:nvPr userDrawn="1"/>
        </p:nvCxnSpPr>
        <p:spPr>
          <a:xfrm>
            <a:off x="12397263" y="1560050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6" name="Rechthoek 25"/>
          <p:cNvSpPr/>
          <p:nvPr userDrawn="1"/>
        </p:nvSpPr>
        <p:spPr>
          <a:xfrm>
            <a:off x="12757284" y="414669"/>
            <a:ext cx="2817995" cy="59542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Wanneer nodig, verwijder de bestaande afbeelding/video. Klik op het pictogram om een nieuwe video in te voegen.</a:t>
            </a:r>
            <a:b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nl-NL" sz="11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(zie onderstaand voorbeeld)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cxnSp>
        <p:nvCxnSpPr>
          <p:cNvPr id="27" name="Rechte verbindingslijn 26"/>
          <p:cNvCxnSpPr>
            <a:cxnSpLocks/>
          </p:cNvCxnSpPr>
          <p:nvPr userDrawn="1"/>
        </p:nvCxnSpPr>
        <p:spPr>
          <a:xfrm>
            <a:off x="12397263" y="4316583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8" name="Ovaal 27"/>
          <p:cNvSpPr/>
          <p:nvPr userDrawn="1"/>
        </p:nvSpPr>
        <p:spPr>
          <a:xfrm>
            <a:off x="12391603" y="1688515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29" name="Rechthoek 28"/>
          <p:cNvSpPr/>
          <p:nvPr userDrawn="1"/>
        </p:nvSpPr>
        <p:spPr>
          <a:xfrm>
            <a:off x="12757284" y="1754578"/>
            <a:ext cx="2817995" cy="3180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Selecteer de gewenste video</a:t>
            </a:r>
            <a:b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en klik op </a:t>
            </a:r>
            <a:r>
              <a: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‘Invoegen’</a:t>
            </a: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.</a:t>
            </a:r>
            <a:endParaRPr kumimoji="0" lang="nl-NL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grpSp>
        <p:nvGrpSpPr>
          <p:cNvPr id="30" name="Groep 29"/>
          <p:cNvGrpSpPr/>
          <p:nvPr userDrawn="1"/>
        </p:nvGrpSpPr>
        <p:grpSpPr>
          <a:xfrm>
            <a:off x="12757284" y="2166624"/>
            <a:ext cx="825500" cy="209550"/>
            <a:chOff x="12757284" y="2166624"/>
            <a:chExt cx="825500" cy="209550"/>
          </a:xfrm>
        </p:grpSpPr>
        <p:sp>
          <p:nvSpPr>
            <p:cNvPr id="60" name="Rechthoek 59"/>
            <p:cNvSpPr/>
            <p:nvPr userDrawn="1"/>
          </p:nvSpPr>
          <p:spPr>
            <a:xfrm>
              <a:off x="12757284" y="2166624"/>
              <a:ext cx="825500" cy="209550"/>
            </a:xfrm>
            <a:prstGeom prst="rect">
              <a:avLst/>
            </a:prstGeom>
            <a:solidFill>
              <a:srgbClr val="E5F1FB"/>
            </a:solidFill>
            <a:ln w="12700">
              <a:solidFill>
                <a:srgbClr val="0B7E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voegen</a:t>
              </a:r>
            </a:p>
          </p:txBody>
        </p:sp>
        <p:cxnSp>
          <p:nvCxnSpPr>
            <p:cNvPr id="61" name="Rechte verbindingslijn 60"/>
            <p:cNvCxnSpPr/>
            <p:nvPr userDrawn="1"/>
          </p:nvCxnSpPr>
          <p:spPr>
            <a:xfrm>
              <a:off x="13407929" y="2199024"/>
              <a:ext cx="0" cy="142717"/>
            </a:xfrm>
            <a:prstGeom prst="line">
              <a:avLst/>
            </a:prstGeom>
            <a:noFill/>
            <a:ln w="3175" cap="flat" cmpd="sng" algn="ctr">
              <a:solidFill>
                <a:srgbClr val="44546A"/>
              </a:solidFill>
              <a:prstDash val="solid"/>
            </a:ln>
            <a:effectLst/>
          </p:spPr>
        </p:cxnSp>
        <p:sp>
          <p:nvSpPr>
            <p:cNvPr id="62" name="Gelijkbenige driehoek 61"/>
            <p:cNvSpPr/>
            <p:nvPr userDrawn="1"/>
          </p:nvSpPr>
          <p:spPr>
            <a:xfrm rot="10800000">
              <a:off x="13448749" y="2250678"/>
              <a:ext cx="86866" cy="51147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</p:grpSp>
      <p:sp>
        <p:nvSpPr>
          <p:cNvPr id="31" name="Ovaal 30"/>
          <p:cNvSpPr/>
          <p:nvPr userDrawn="1"/>
        </p:nvSpPr>
        <p:spPr>
          <a:xfrm>
            <a:off x="12391603" y="2613716"/>
            <a:ext cx="260914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32" name="Rechthoek 31"/>
          <p:cNvSpPr/>
          <p:nvPr userDrawn="1"/>
        </p:nvSpPr>
        <p:spPr>
          <a:xfrm>
            <a:off x="12757285" y="2679780"/>
            <a:ext cx="2817996" cy="6259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Klik met de rechter muisknop op de miniatuurweergave van de dia en kies</a:t>
            </a:r>
            <a:b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´Dia herstellen´</a:t>
            </a:r>
            <a:r>
              <a: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.</a:t>
            </a:r>
            <a:endParaRPr kumimoji="0" lang="nl-NL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cxnSp>
        <p:nvCxnSpPr>
          <p:cNvPr id="33" name="Rechte verbindingslijn 32"/>
          <p:cNvCxnSpPr>
            <a:cxnSpLocks/>
          </p:cNvCxnSpPr>
          <p:nvPr userDrawn="1"/>
        </p:nvCxnSpPr>
        <p:spPr>
          <a:xfrm>
            <a:off x="12397263" y="2481906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39" name="Rechthoek 38"/>
          <p:cNvSpPr/>
          <p:nvPr userDrawn="1"/>
        </p:nvSpPr>
        <p:spPr>
          <a:xfrm>
            <a:off x="13717198" y="3515867"/>
            <a:ext cx="1176476" cy="580946"/>
          </a:xfrm>
          <a:prstGeom prst="rect">
            <a:avLst/>
          </a:prstGeom>
          <a:solidFill>
            <a:schemeClr val="bg1"/>
          </a:solidFill>
          <a:ln w="12700">
            <a:solidFill>
              <a:srgbClr val="D1D1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nl-NL" sz="800" b="0" noProof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hthoek 39"/>
          <p:cNvSpPr/>
          <p:nvPr userDrawn="1"/>
        </p:nvSpPr>
        <p:spPr>
          <a:xfrm>
            <a:off x="13739162" y="3827256"/>
            <a:ext cx="1145758" cy="261256"/>
          </a:xfrm>
          <a:prstGeom prst="rect">
            <a:avLst/>
          </a:prstGeom>
          <a:solidFill>
            <a:srgbClr val="FCE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noProof="0">
              <a:solidFill>
                <a:schemeClr val="tx1"/>
              </a:solidFill>
            </a:endParaRPr>
          </a:p>
        </p:txBody>
      </p:sp>
      <p:grpSp>
        <p:nvGrpSpPr>
          <p:cNvPr id="41" name="Groep 40"/>
          <p:cNvGrpSpPr/>
          <p:nvPr userDrawn="1"/>
        </p:nvGrpSpPr>
        <p:grpSpPr>
          <a:xfrm>
            <a:off x="13799148" y="3581369"/>
            <a:ext cx="155951" cy="131922"/>
            <a:chOff x="12968836" y="3354170"/>
            <a:chExt cx="404806" cy="342433"/>
          </a:xfrm>
        </p:grpSpPr>
        <p:sp>
          <p:nvSpPr>
            <p:cNvPr id="54" name="Rechthoek: afgeronde hoeken 53"/>
            <p:cNvSpPr/>
            <p:nvPr userDrawn="1"/>
          </p:nvSpPr>
          <p:spPr>
            <a:xfrm>
              <a:off x="12968836" y="3354170"/>
              <a:ext cx="404806" cy="342433"/>
            </a:xfrm>
            <a:prstGeom prst="roundRect">
              <a:avLst>
                <a:gd name="adj" fmla="val 2911"/>
              </a:avLst>
            </a:prstGeom>
            <a:solidFill>
              <a:schemeClr val="bg1"/>
            </a:solidFill>
            <a:ln w="12700">
              <a:solidFill>
                <a:srgbClr val="8181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Rechthoek 54"/>
            <p:cNvSpPr/>
            <p:nvPr userDrawn="1"/>
          </p:nvSpPr>
          <p:spPr>
            <a:xfrm>
              <a:off x="13025180" y="3401181"/>
              <a:ext cx="305213" cy="41563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6" name="Rechthoek 55"/>
            <p:cNvSpPr/>
            <p:nvPr userDrawn="1"/>
          </p:nvSpPr>
          <p:spPr>
            <a:xfrm>
              <a:off x="13025181" y="3471575"/>
              <a:ext cx="118778" cy="181691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7" name="Rechthoek 56"/>
            <p:cNvSpPr/>
            <p:nvPr userDrawn="1"/>
          </p:nvSpPr>
          <p:spPr>
            <a:xfrm>
              <a:off x="13180812" y="3481982"/>
              <a:ext cx="13527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8" name="Rechthoek 57"/>
            <p:cNvSpPr/>
            <p:nvPr userDrawn="1"/>
          </p:nvSpPr>
          <p:spPr>
            <a:xfrm>
              <a:off x="13180812" y="3554800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59" name="Rechthoek 58"/>
            <p:cNvSpPr/>
            <p:nvPr userDrawn="1"/>
          </p:nvSpPr>
          <p:spPr>
            <a:xfrm>
              <a:off x="13180812" y="3627618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oep 41"/>
          <p:cNvGrpSpPr/>
          <p:nvPr userDrawn="1"/>
        </p:nvGrpSpPr>
        <p:grpSpPr>
          <a:xfrm>
            <a:off x="13779593" y="3880692"/>
            <a:ext cx="166739" cy="218963"/>
            <a:chOff x="12940828" y="3950597"/>
            <a:chExt cx="432813" cy="568367"/>
          </a:xfrm>
        </p:grpSpPr>
        <p:grpSp>
          <p:nvGrpSpPr>
            <p:cNvPr id="46" name="Groep 45"/>
            <p:cNvGrpSpPr/>
            <p:nvPr userDrawn="1"/>
          </p:nvGrpSpPr>
          <p:grpSpPr>
            <a:xfrm>
              <a:off x="13000382" y="4006891"/>
              <a:ext cx="373259" cy="315747"/>
              <a:chOff x="12968836" y="3354170"/>
              <a:chExt cx="404806" cy="342433"/>
            </a:xfrm>
          </p:grpSpPr>
          <p:sp>
            <p:nvSpPr>
              <p:cNvPr id="48" name="Rechthoek: afgeronde hoeken 47"/>
              <p:cNvSpPr/>
              <p:nvPr userDrawn="1"/>
            </p:nvSpPr>
            <p:spPr>
              <a:xfrm>
                <a:off x="12968836" y="3354170"/>
                <a:ext cx="404806" cy="342433"/>
              </a:xfrm>
              <a:prstGeom prst="roundRect">
                <a:avLst>
                  <a:gd name="adj" fmla="val 2911"/>
                </a:avLst>
              </a:prstGeom>
              <a:solidFill>
                <a:schemeClr val="bg1"/>
              </a:solidFill>
              <a:ln w="12700">
                <a:solidFill>
                  <a:srgbClr val="81818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Rechthoek 48"/>
              <p:cNvSpPr/>
              <p:nvPr userDrawn="1"/>
            </p:nvSpPr>
            <p:spPr>
              <a:xfrm>
                <a:off x="13025180" y="3401181"/>
                <a:ext cx="305213" cy="4156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13025181" y="3471575"/>
                <a:ext cx="118778" cy="181691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Rechthoek 50"/>
              <p:cNvSpPr/>
              <p:nvPr userDrawn="1"/>
            </p:nvSpPr>
            <p:spPr>
              <a:xfrm>
                <a:off x="13180812" y="3481982"/>
                <a:ext cx="13527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13180812" y="3554800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Rechthoek 52"/>
              <p:cNvSpPr/>
              <p:nvPr userDrawn="1"/>
            </p:nvSpPr>
            <p:spPr>
              <a:xfrm>
                <a:off x="13180812" y="3627618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7" name="Boog 46"/>
            <p:cNvSpPr/>
            <p:nvPr userDrawn="1"/>
          </p:nvSpPr>
          <p:spPr>
            <a:xfrm rot="17637075">
              <a:off x="12776155" y="4115270"/>
              <a:ext cx="568367" cy="239021"/>
            </a:xfrm>
            <a:prstGeom prst="arc">
              <a:avLst>
                <a:gd name="adj1" fmla="val 15959368"/>
                <a:gd name="adj2" fmla="val 1354623"/>
              </a:avLst>
            </a:prstGeom>
            <a:noFill/>
            <a:ln w="19050" cap="flat" cmpd="sng" algn="ctr">
              <a:solidFill>
                <a:srgbClr val="4D82B8"/>
              </a:solidFill>
              <a:prstDash val="solid"/>
              <a:headEnd type="arrow" w="med" len="sm"/>
            </a:ln>
            <a:effectLst/>
          </p:spPr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3" name="Tekstvak 42"/>
          <p:cNvSpPr txBox="1"/>
          <p:nvPr userDrawn="1"/>
        </p:nvSpPr>
        <p:spPr>
          <a:xfrm>
            <a:off x="13957562" y="3554977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12175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b="0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eling</a:t>
            </a:r>
          </a:p>
        </p:txBody>
      </p:sp>
      <p:sp>
        <p:nvSpPr>
          <p:cNvPr id="44" name="Tekstvak 43"/>
          <p:cNvSpPr txBox="1"/>
          <p:nvPr userDrawn="1"/>
        </p:nvSpPr>
        <p:spPr>
          <a:xfrm>
            <a:off x="13944133" y="3876103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12175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b="0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a Herstellen</a:t>
            </a:r>
          </a:p>
        </p:txBody>
      </p:sp>
      <p:pic>
        <p:nvPicPr>
          <p:cNvPr id="45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69835" y="3962803"/>
            <a:ext cx="143086" cy="231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5" name="Video icoon"/>
          <p:cNvGrpSpPr/>
          <p:nvPr userDrawn="1"/>
        </p:nvGrpSpPr>
        <p:grpSpPr>
          <a:xfrm>
            <a:off x="12753147" y="1125073"/>
            <a:ext cx="318325" cy="320332"/>
            <a:chOff x="8066315" y="1676399"/>
            <a:chExt cx="1371600" cy="1380253"/>
          </a:xfrm>
        </p:grpSpPr>
        <p:sp>
          <p:nvSpPr>
            <p:cNvPr id="36" name="Rechthoek 35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37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38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</p:spTree>
    <p:extLst>
      <p:ext uri="{BB962C8B-B14F-4D97-AF65-F5344CB8AC3E}">
        <p14:creationId xmlns:p14="http://schemas.microsoft.com/office/powerpoint/2010/main" val="156936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Afbeelding 150">
            <a:extLst>
              <a:ext uri="{FF2B5EF4-FFF2-40B4-BE49-F238E27FC236}">
                <a16:creationId xmlns:a16="http://schemas.microsoft.com/office/drawing/2014/main" id="{0BE286FB-8201-4900-AC1B-5109DC42B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19" y="3229990"/>
            <a:ext cx="1639482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8" name="Tijdelijke aanduiding voor media 7"/>
          <p:cNvSpPr>
            <a:spLocks noGrp="1"/>
          </p:cNvSpPr>
          <p:nvPr>
            <p:ph type="media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bIns="180000" anchor="ctr"/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in te voegen</a:t>
            </a: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VIDEO #2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4" name="Groep 103"/>
          <p:cNvGrpSpPr/>
          <p:nvPr userDrawn="1"/>
        </p:nvGrpSpPr>
        <p:grpSpPr>
          <a:xfrm>
            <a:off x="12391603" y="-17883"/>
            <a:ext cx="3183678" cy="5235577"/>
            <a:chOff x="12391603" y="-17883"/>
            <a:chExt cx="3183678" cy="5235577"/>
          </a:xfrm>
        </p:grpSpPr>
        <p:grpSp>
          <p:nvGrpSpPr>
            <p:cNvPr id="105" name="Meer informatie"/>
            <p:cNvGrpSpPr/>
            <p:nvPr userDrawn="1"/>
          </p:nvGrpSpPr>
          <p:grpSpPr>
            <a:xfrm>
              <a:off x="12396764" y="4434421"/>
              <a:ext cx="3178515" cy="783273"/>
              <a:chOff x="-3741486" y="3359148"/>
              <a:chExt cx="3178515" cy="783273"/>
            </a:xfrm>
          </p:grpSpPr>
          <p:sp>
            <p:nvSpPr>
              <p:cNvPr id="14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49" name="Rechthoek 14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50" name="Rechte verbindingslijn 14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0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07" name="Rechthoek 10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Video invoegen</a:t>
                </a:r>
              </a:p>
            </p:txBody>
          </p:sp>
          <p:sp>
            <p:nvSpPr>
              <p:cNvPr id="108" name="Ovaal 10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09" name="Rechte verbindingslijn 10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0" name="Rechte verbindingslijn 10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1" name="Rechthoek 11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/video. Klik op het pictogram om een nieuwe video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Ovaal 11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14" name="Rechthoek 11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video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15" name="Groep 11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45" name="Rechthoek 14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46" name="Rechte verbindingslijn 14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47" name="Gelijkbenige driehoek 14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16" name="Ovaal 11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7" name="Rechthoek 11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8" name="Rechte verbindingslijn 11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19" name="Groep 11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4" name="Rechthoek 123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Rechthoek 124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26" name="Groep 125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39" name="Rechthoek: afgeronde hoeken 138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3" name="Rechthoek 142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27" name="Groep 126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1" name="Groep 130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3" name="Rechthoek: afgeronde hoeken 132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" name="Rechthoek 133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5" name="Rechthoek 134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6" name="Rechthoek 135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7" name="Rechthoek 136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32" name="Boog 131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28" name="Tekstvak 127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29" name="Tekstvak 128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0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20" name="Video icoon"/>
              <p:cNvGrpSpPr/>
              <p:nvPr userDrawn="1"/>
            </p:nvGrpSpPr>
            <p:grpSpPr>
              <a:xfrm>
                <a:off x="12753147" y="1125073"/>
                <a:ext cx="318325" cy="320332"/>
                <a:chOff x="8066315" y="1676399"/>
                <a:chExt cx="1371600" cy="1380253"/>
              </a:xfrm>
            </p:grpSpPr>
            <p:sp>
              <p:nvSpPr>
                <p:cNvPr id="121" name="Rechthoek 120"/>
                <p:cNvSpPr/>
                <p:nvPr userDrawn="1"/>
              </p:nvSpPr>
              <p:spPr>
                <a:xfrm>
                  <a:off x="8066315" y="1687286"/>
                  <a:ext cx="1360714" cy="1360714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22" name="Vrije vorm 112"/>
                <p:cNvSpPr/>
                <p:nvPr userDrawn="1"/>
              </p:nvSpPr>
              <p:spPr>
                <a:xfrm>
                  <a:off x="8077201" y="1676399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23" name="Vrije vorm 113"/>
                <p:cNvSpPr/>
                <p:nvPr userDrawn="1"/>
              </p:nvSpPr>
              <p:spPr>
                <a:xfrm>
                  <a:off x="8071339" y="2849823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</p:grpSp>
      <p:sp>
        <p:nvSpPr>
          <p:cNvPr id="13" name="Tijdelijke aanduiding voor datum 1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117FF8-6AC3-4C58-9D98-9D181C161D1A}" type="datetime2">
              <a:rPr lang="en-GB" smtClean="0"/>
              <a:t>Thursday, 29 September 2022</a:t>
            </a:fld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 vert="horz" lIns="0" tIns="36000" rIns="0" bIns="0" rtlCol="0" anchor="ctr">
            <a:noAutofit/>
          </a:bodyPr>
          <a:lstStyle>
            <a:lvl1pPr>
              <a:defRPr lang="nl-N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nl-NL" dirty="0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49648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3810" cy="272814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FFE59-BFA5-49CE-BB88-6FFB23EA7534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Grafiek</a:t>
            </a:r>
          </a:p>
        </p:txBody>
      </p:sp>
      <p:sp>
        <p:nvSpPr>
          <p:cNvPr id="9" name="Tijdelijke aanduiding voor grafiek 8"/>
          <p:cNvSpPr>
            <a:spLocks noGrp="1"/>
          </p:cNvSpPr>
          <p:nvPr userDrawn="1">
            <p:ph type="chart" sz="quarter" idx="15" hasCustomPrompt="1"/>
          </p:nvPr>
        </p:nvSpPr>
        <p:spPr>
          <a:xfrm>
            <a:off x="6464299" y="1179861"/>
            <a:ext cx="5357811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3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11450926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36" name="Groep 3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3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2" name="Rechthoek 4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43" name="Ovaal 4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5" name="Rechthoek 4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hthoek 4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9" name="Groep 4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0" name="Groep 9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1" name="Rechthoek 10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2" name="Pijl: punthaak 10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50" name="Groep 4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1" name="Groep 9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2" name="Rechthoek 9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3" name="Pijl: punthaak 9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2" name="Rechte verbindingslijn 5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9" name="Rechthoek 7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3" name="Rechthoek 8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4" name="Pijl: punthaak 8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4" name="Groep 5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8" name="Rechthoek 6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9" name="Groep 6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0" name="Groep 6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1" name="Groep 7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2" name="Rechthoek 7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3" name="Pijl: punthaak 7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5" name="Rechthoek 5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8" name="Rechthoek 5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59" name="Ovaal 5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0" name="Rechthoek 5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1" name="Ovaal 6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2" name="Rechthoek 6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63" name="Ovaal 6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4" name="Rechthoek 6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65" name="Ovaal 6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6" name="Rechthoek 6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67" name="Rechte verbindingslijn 6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8" name="Groep 107"/>
          <p:cNvGrpSpPr/>
          <p:nvPr userDrawn="1"/>
        </p:nvGrpSpPr>
        <p:grpSpPr>
          <a:xfrm>
            <a:off x="12391603" y="-17883"/>
            <a:ext cx="3183677" cy="6879634"/>
            <a:chOff x="12391603" y="-17883"/>
            <a:chExt cx="3183677" cy="6879634"/>
          </a:xfrm>
        </p:grpSpPr>
        <p:grpSp>
          <p:nvGrpSpPr>
            <p:cNvPr id="10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16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66" name="Rechthoek 16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7" name="Rechte verbindingslijn 16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51" name="Rechte verbindingslijn 150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52" name="Rechte verbindingslijn 151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53" name="Rechthoek 152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154" name="Ovaal 153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55" name="Rechthoek 154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grafiek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56" name="Groep 155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3" name="Rechte verbindingslijn 16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64" name="Gelijkbenige driehoek 16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157" name="Rechte verbindingslijn 156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58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159" name="Rechthoek 158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60" name="Rechthoek 159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61" name="Rechthoek 160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  <p:grpSp>
          <p:nvGrpSpPr>
            <p:cNvPr id="111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Rechthoek 112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114" name="Ovaal 113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5" name="Rechte verbindingslijn 114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6" name="Rechthoek 115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100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117" name="Groep 116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0" name="Tekstvak 119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121" name="Tekstvak 120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12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123" name="Groep 122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</p:grpSp>
            <p:grpSp>
              <p:nvGrpSpPr>
                <p:cNvPr id="124" name="Groep 123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125" name="Rechthoek 124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  <p:grpSp>
                <p:nvGrpSpPr>
                  <p:cNvPr id="126" name="Groep 125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127" name="Groep 126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132" name="Rechthoek 131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grpSp>
                    <p:nvGrpSpPr>
                      <p:cNvPr id="133" name="Groep 132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139" name="Rechte verbindingslijn 13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141" name="Groep 140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142" name="Rechte verbindingslijn 14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3" name="Rechte verbindingslijn 14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4" name="Rechte verbindingslijn 14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5" name="Rechte verbindingslijn 144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134" name="Rechte verbindingslijn 133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5" name="Groep 134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136" name="Rechte verbindingslijn 13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7" name="Rechte verbindingslijn 13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8" name="Rechte verbindingslijn 137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128" name="Groep 127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129" name="Rechthoek 128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130" name="Rechthoek: afgeronde bovenhoeken 129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131" name="Gelijkbenige driehoek 130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124507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299" y="365126"/>
            <a:ext cx="11453811" cy="272814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E8DDB-6577-4D63-9F56-8A3E4A74A0AB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Grafiek</a:t>
            </a:r>
          </a:p>
        </p:txBody>
      </p:sp>
      <p:sp>
        <p:nvSpPr>
          <p:cNvPr id="27" name="Tijdelijke aanduiding voor grafiek 8"/>
          <p:cNvSpPr>
            <a:spLocks noGrp="1"/>
          </p:cNvSpPr>
          <p:nvPr>
            <p:ph type="chart" sz="quarter" idx="15" hasCustomPrompt="1"/>
          </p:nvPr>
        </p:nvSpPr>
        <p:spPr>
          <a:xfrm>
            <a:off x="368301" y="1179861"/>
            <a:ext cx="11453810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2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3" y="-17883"/>
            <a:ext cx="3183677" cy="6879634"/>
            <a:chOff x="12391603" y="-17883"/>
            <a:chExt cx="3183677" cy="687963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30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2" name="Rechte verbindingslijn 31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3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34" name="Rechthoek 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35" name="Ovaal 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8" name="Rechthoek 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Ovaal 38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grafiek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1" name="Groep 40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47" name="Rechthoek 46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48" name="Rechte verbindingslijn 47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49" name="Gelijkbenige driehoek 48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3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44" name="Rechthoek 43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45" name="Rechthoek 44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46" name="Rechthoek 45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  <p:grpSp>
          <p:nvGrpSpPr>
            <p:cNvPr id="50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2" name="Rechthoek 51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5" name="Rechthoek 54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100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noProof="0" dirty="0">
                    <a:solidFill>
                      <a:schemeClr val="tx1"/>
                    </a:solidFill>
                    <a:latin typeface="+mn-lt"/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56" name="Groep 55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Rechthoek 57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Tekstvak 58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60" name="Tekstvak 59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61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62" name="Groep 61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85" name="Rechthoek 84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86" name="Rechthoek 85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87" name="Rechthoek 86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 noProof="0">
                      <a:solidFill>
                        <a:schemeClr val="tx2"/>
                      </a:solidFill>
                      <a:latin typeface="+mn-lt"/>
                    </a:endParaRPr>
                  </a:p>
                </p:txBody>
              </p:sp>
            </p:grpSp>
            <p:grpSp>
              <p:nvGrpSpPr>
                <p:cNvPr id="63" name="Groep 62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64" name="Rechthoek 63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  <p:grpSp>
                <p:nvGrpSpPr>
                  <p:cNvPr id="65" name="Groep 64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66" name="Groep 65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71" name="Rechthoek 70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grpSp>
                    <p:nvGrpSpPr>
                      <p:cNvPr id="72" name="Groep 71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78" name="Rechte verbindingslijn 77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9" name="Rechte verbindingslijn 7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80" name="Groep 79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81" name="Rechte verbindingslijn 80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2" name="Rechte verbindingslijn 8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3" name="Rechte verbindingslijn 8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4" name="Rechte verbindingslijn 8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73" name="Rechte verbindingslijn 72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74" name="Groep 73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75" name="Rechte verbindingslijn 74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6" name="Rechte verbindingslijn 7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7" name="Rechte verbindingslijn 7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67" name="Groep 66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68" name="Rechthoek 67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69" name="Rechthoek: afgeronde bovenhoeken 68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  <p:sp>
                    <p:nvSpPr>
                      <p:cNvPr id="70" name="Gelijkbenige driehoek 69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 noProof="0"/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107109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FCCAED-E0C6-46C0-964B-8C6C3FB4523E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Tabel</a:t>
            </a:r>
          </a:p>
        </p:txBody>
      </p:sp>
      <p:sp>
        <p:nvSpPr>
          <p:cNvPr id="37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6278568" y="1179861"/>
            <a:ext cx="5545132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3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39" name="Groep 38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0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5" name="Rechthoek 44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Ovaal 45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9" name="Rechte verbindingslijn 48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Rechthoek 50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52" name="Groep 51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3" name="Groep 92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9" name="Rechte verbindingslijn 98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0" name="Rechte verbindingslijn 99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1" name="Rechte verbindingslijn 100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4" name="Groep 93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5" name="Rechthoek 94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6" name="Pijl: punthaak 95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6" name="Groep 55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82" name="Rechthoek 81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3" name="Groep 82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4" name="Groep 83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1" name="Rechte verbindingslijn 90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2" name="Rechte verbindingslijn 91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5" name="Groep 84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6" name="Rechthoek 85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7" name="Pijl: punthaak 86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7" name="Groep 56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2" name="Groep 71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3" name="Groep 72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0" name="Rechte verbindingslijn 79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1" name="Rechte verbindingslijn 80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4" name="Groep 73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5" name="Rechthoek 7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6" name="Pijl: punthaak 7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8" name="Rechthoek 57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1" name="Rechthoek 60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66" name="Ovaal 65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7" name="Rechthoek 66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68" name="Ovaal 67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9" name="Rechthoek 68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41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4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38" name="Groep 137"/>
          <p:cNvGrpSpPr/>
          <p:nvPr userDrawn="1"/>
        </p:nvGrpSpPr>
        <p:grpSpPr>
          <a:xfrm>
            <a:off x="12391603" y="-17883"/>
            <a:ext cx="3183677" cy="3416764"/>
            <a:chOff x="12391603" y="-17883"/>
            <a:chExt cx="3183677" cy="3416764"/>
          </a:xfrm>
        </p:grpSpPr>
        <p:grpSp>
          <p:nvGrpSpPr>
            <p:cNvPr id="111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11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13" name="Rechthoek 11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4" name="Rechte verbindingslijn 11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5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116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126" name="Rechthoek 125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400" b="1" i="0" u="none" strike="noStrike" kern="0" cap="all" spc="0" normalizeH="0" baseline="0" noProof="0" dirty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+mj-l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127" name="Ovaal 126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128" name="Rechte verbindingslijn 127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129" name="Rechte verbindingslijn 128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130" name="Rechthoek 129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1100" b="0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(zie onderstaand voorbeeld).</a:t>
                  </a:r>
                  <a:endPara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1" name="Ovaal 130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132" name="Rechthoek 131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kumimoji="0" lang="nl-NL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OK’</a:t>
                  </a: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.</a:t>
                  </a:r>
                  <a:endPara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3" name="Groep 132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135" name="Rechthoek 134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136" name="Rechte verbindingslijn 135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137" name="Gelijkbenige driehoek 136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cxnSp>
              <p:nvCxnSpPr>
                <p:cNvPr id="134" name="Rechte verbindingslijn 133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117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cxnSp>
              <p:nvCxnSpPr>
                <p:cNvPr id="120" name="Rechte verbindingslijn 119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Rechte verbindingslijn 120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hthoek 124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27435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FCCAED-E0C6-46C0-964B-8C6C3FB4523E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Tabel</a:t>
            </a:r>
          </a:p>
        </p:txBody>
      </p:sp>
      <p:sp>
        <p:nvSpPr>
          <p:cNvPr id="37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6278568" y="1179861"/>
            <a:ext cx="5545132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3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39" name="Groep 38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0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5" name="Rechthoek 44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Ovaal 45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9" name="Rechte verbindingslijn 48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Rechthoek 50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52" name="Groep 51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3" name="Groep 92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9" name="Rechte verbindingslijn 98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0" name="Rechte verbindingslijn 99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1" name="Rechte verbindingslijn 100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4" name="Groep 93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5" name="Rechthoek 94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6" name="Pijl: punthaak 95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6" name="Groep 55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82" name="Rechthoek 81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3" name="Groep 82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4" name="Groep 83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1" name="Rechte verbindingslijn 90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2" name="Rechte verbindingslijn 91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5" name="Groep 84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6" name="Rechthoek 85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7" name="Pijl: punthaak 86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7" name="Groep 56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2" name="Groep 71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3" name="Groep 72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0" name="Rechte verbindingslijn 79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1" name="Rechte verbindingslijn 80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4" name="Groep 73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5" name="Rechthoek 7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6" name="Pijl: punthaak 7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8" name="Rechthoek 57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1" name="Rechthoek 60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66" name="Ovaal 65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7" name="Rechthoek 66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68" name="Ovaal 67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9" name="Rechthoek 68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41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4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38" name="Groep 137"/>
          <p:cNvGrpSpPr/>
          <p:nvPr userDrawn="1"/>
        </p:nvGrpSpPr>
        <p:grpSpPr>
          <a:xfrm>
            <a:off x="12391603" y="-17883"/>
            <a:ext cx="3183677" cy="3416764"/>
            <a:chOff x="12391603" y="-17883"/>
            <a:chExt cx="3183677" cy="3416764"/>
          </a:xfrm>
        </p:grpSpPr>
        <p:grpSp>
          <p:nvGrpSpPr>
            <p:cNvPr id="111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11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13" name="Rechthoek 11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4" name="Rechte verbindingslijn 11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5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116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126" name="Rechthoek 125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400" b="1" i="0" u="none" strike="noStrike" kern="0" cap="all" spc="0" normalizeH="0" baseline="0" noProof="0" dirty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+mj-l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127" name="Ovaal 126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128" name="Rechte verbindingslijn 127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129" name="Rechte verbindingslijn 128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130" name="Rechthoek 129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1100" b="0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(zie onderstaand voorbeeld).</a:t>
                  </a:r>
                  <a:endPara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1" name="Ovaal 130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132" name="Rechthoek 131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kumimoji="0" lang="nl-NL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OK’</a:t>
                  </a: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.</a:t>
                  </a:r>
                  <a:endPara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3" name="Groep 132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135" name="Rechthoek 134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136" name="Rechte verbindingslijn 135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137" name="Gelijkbenige driehoek 136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cxnSp>
              <p:nvCxnSpPr>
                <p:cNvPr id="134" name="Rechte verbindingslijn 133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117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cxnSp>
              <p:nvCxnSpPr>
                <p:cNvPr id="120" name="Rechte verbindingslijn 119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Rechte verbindingslijn 120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hthoek 124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0762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1533D-1DBF-4988-9853-8072848E1A63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Tabel</a:t>
            </a:r>
          </a:p>
        </p:txBody>
      </p:sp>
      <p:sp>
        <p:nvSpPr>
          <p:cNvPr id="26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368300" y="1179861"/>
            <a:ext cx="11455400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2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8" name="Groep 27"/>
          <p:cNvGrpSpPr/>
          <p:nvPr userDrawn="1"/>
        </p:nvGrpSpPr>
        <p:grpSpPr>
          <a:xfrm>
            <a:off x="12391603" y="-17883"/>
            <a:ext cx="3183677" cy="3416764"/>
            <a:chOff x="12391603" y="-17883"/>
            <a:chExt cx="3183677" cy="341676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53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31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41" name="Rechthoek 40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400" b="1" i="0" u="none" strike="noStrike" kern="0" cap="all" spc="0" normalizeH="0" baseline="0" noProof="0" dirty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+mj-l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42" name="Ovaal 41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43" name="Rechte verbindingslijn 42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44" name="Rechte verbindingslijn 43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45" name="Rechthoek 44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1100" b="0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(zie onderstaand voorbeeld).</a:t>
                  </a:r>
                  <a:endPara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6" name="Ovaal 45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47" name="Rechthoek 46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kumimoji="0" lang="nl-NL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OK’</a:t>
                  </a: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.</a:t>
                  </a:r>
                  <a:endPara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48" name="Groep 47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50" name="Rechthoek 49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51" name="Rechte verbindingslijn 50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52" name="Gelijkbenige driehoek 51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cxnSp>
              <p:nvCxnSpPr>
                <p:cNvPr id="49" name="Rechte verbindingslijn 48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32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33" name="Rechthoek 32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34" name="Rechthoek 33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cxnSp>
              <p:nvCxnSpPr>
                <p:cNvPr id="35" name="Rechte verbindingslijn 34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Rechte verbindingslijn 35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Rechte verbindingslijn 36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Rechte verbindingslijn 37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Rechte verbindingslijn 38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hthoek 39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84044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verz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E593F-7BE3-45C4-B9C1-6FC3E8AE4AD3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go Overzich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65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66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67" name="Rechthoek 166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8" name="Rechte verbindingslijn 167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69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70" name="Rechthoek 169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71" name="Ovaal 170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72" name="Rechte verbindingslijn 171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73" name="Rechte verbindingslijn 172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4" name="Rechthoek 173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75" name="Rechte verbindingslijn 174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6" name="Ovaal 175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77" name="Rechthoek 176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78" name="Groep 177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06" name="Rechthoek 205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07" name="Rechte verbindingslijn 206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08" name="Gelijkbenige driehoek 207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79" name="Groep 178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00" name="Rechthoek 199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Ovaal 200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Vrije vorm: vorm 201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3" name="Rechthoek: afgeronde hoeken 202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04" name="Rechte verbindingslijn 203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05" name="Rechte verbindingslijn 204"/>
                <p:cNvCxnSpPr>
                  <a:cxnSpLocks/>
                  <a:stCxn id="203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80" name="Ovaal 179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81" name="Rechthoek 180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Bijsnijd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82" name="Rechte verbindingslijn 18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83" name="Groep 182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184" name="Groep 183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187" name="Groep 186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194" name="Groep 193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197" name="Rechthoek 196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8" name="Rechthoek 197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9" name="Ovaal 198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000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95" name="Afbeelding 194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" name="Afbeelding 195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88" name="Groep 187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2" name="Rechthoek 191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3" name="Rechthoek 192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89" name="Groep 188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0" name="Rechthoek 189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1" name="Rechthoek 190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85" name="Rechthoek 184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86" name="Gelijkbenige driehoek 185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250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1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3092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2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42523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3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61954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4" name="Tijdelijke aanduiding voor verticale tekst 2"/>
          <p:cNvSpPr>
            <a:spLocks noGrp="1"/>
          </p:cNvSpPr>
          <p:nvPr>
            <p:ph type="body" orient="vert" idx="18" hasCustomPrompt="1"/>
          </p:nvPr>
        </p:nvSpPr>
        <p:spPr>
          <a:xfrm>
            <a:off x="81385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5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00816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6" name="Tijdelijke aanduiding voor verticale tekst 2"/>
          <p:cNvSpPr>
            <a:spLocks noGrp="1"/>
          </p:cNvSpPr>
          <p:nvPr>
            <p:ph type="body" orient="vert" idx="20" hasCustomPrompt="1"/>
          </p:nvPr>
        </p:nvSpPr>
        <p:spPr>
          <a:xfrm>
            <a:off x="3661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7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3092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42523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9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61954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81385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1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100816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61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23092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42523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61954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1385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100816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8" name="Tijdelijke aanduiding voor verticale tekst 2"/>
          <p:cNvSpPr>
            <a:spLocks noGrp="1"/>
          </p:cNvSpPr>
          <p:nvPr>
            <p:ph type="body" orient="vert" idx="32" hasCustomPrompt="1"/>
          </p:nvPr>
        </p:nvSpPr>
        <p:spPr>
          <a:xfrm>
            <a:off x="3661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23092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42523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61954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81385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3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00816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4" name="Tijdelijke aanduiding voor afbeelding 45"/>
          <p:cNvSpPr>
            <a:spLocks noGrp="1"/>
          </p:cNvSpPr>
          <p:nvPr>
            <p:ph type="pic" sz="quarter" idx="38" hasCustomPrompt="1"/>
          </p:nvPr>
        </p:nvSpPr>
        <p:spPr>
          <a:xfrm>
            <a:off x="6059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5" name="Tijdelijke aanduiding voor afbeelding 45"/>
          <p:cNvSpPr>
            <a:spLocks noGrp="1"/>
          </p:cNvSpPr>
          <p:nvPr>
            <p:ph type="pic" sz="quarter" idx="39" hasCustomPrompt="1"/>
          </p:nvPr>
        </p:nvSpPr>
        <p:spPr>
          <a:xfrm>
            <a:off x="25490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6" name="Tijdelijke aanduiding voor afbeelding 45"/>
          <p:cNvSpPr>
            <a:spLocks noGrp="1"/>
          </p:cNvSpPr>
          <p:nvPr>
            <p:ph type="pic" sz="quarter" idx="40" hasCustomPrompt="1"/>
          </p:nvPr>
        </p:nvSpPr>
        <p:spPr>
          <a:xfrm>
            <a:off x="44921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7" name="Tijdelijke aanduiding voor afbeelding 45"/>
          <p:cNvSpPr>
            <a:spLocks noGrp="1"/>
          </p:cNvSpPr>
          <p:nvPr>
            <p:ph type="pic" sz="quarter" idx="41" hasCustomPrompt="1"/>
          </p:nvPr>
        </p:nvSpPr>
        <p:spPr>
          <a:xfrm>
            <a:off x="64352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8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83783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9" name="Tijdelijke aanduiding voor afbeelding 45"/>
          <p:cNvSpPr>
            <a:spLocks noGrp="1"/>
          </p:cNvSpPr>
          <p:nvPr>
            <p:ph type="pic" sz="quarter" idx="43" hasCustomPrompt="1"/>
          </p:nvPr>
        </p:nvSpPr>
        <p:spPr>
          <a:xfrm>
            <a:off x="103214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0" name="Tijdelijke aanduiding voor afbeelding 45"/>
          <p:cNvSpPr>
            <a:spLocks noGrp="1"/>
          </p:cNvSpPr>
          <p:nvPr>
            <p:ph type="pic" sz="quarter" idx="44" hasCustomPrompt="1"/>
          </p:nvPr>
        </p:nvSpPr>
        <p:spPr>
          <a:xfrm>
            <a:off x="6059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1" name="Tijdelijke aanduiding voor afbeelding 45"/>
          <p:cNvSpPr>
            <a:spLocks noGrp="1"/>
          </p:cNvSpPr>
          <p:nvPr>
            <p:ph type="pic" sz="quarter" idx="45" hasCustomPrompt="1"/>
          </p:nvPr>
        </p:nvSpPr>
        <p:spPr>
          <a:xfrm>
            <a:off x="25490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2" name="Tijdelijke aanduiding voor afbeelding 45"/>
          <p:cNvSpPr>
            <a:spLocks noGrp="1"/>
          </p:cNvSpPr>
          <p:nvPr>
            <p:ph type="pic" sz="quarter" idx="46" hasCustomPrompt="1"/>
          </p:nvPr>
        </p:nvSpPr>
        <p:spPr>
          <a:xfrm>
            <a:off x="44921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3" name="Tijdelijke aanduiding voor afbeelding 45"/>
          <p:cNvSpPr>
            <a:spLocks noGrp="1"/>
          </p:cNvSpPr>
          <p:nvPr>
            <p:ph type="pic" sz="quarter" idx="47" hasCustomPrompt="1"/>
          </p:nvPr>
        </p:nvSpPr>
        <p:spPr>
          <a:xfrm>
            <a:off x="64352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4" name="Tijdelijke aanduiding voor afbeelding 45"/>
          <p:cNvSpPr>
            <a:spLocks noGrp="1"/>
          </p:cNvSpPr>
          <p:nvPr>
            <p:ph type="pic" sz="quarter" idx="48" hasCustomPrompt="1"/>
          </p:nvPr>
        </p:nvSpPr>
        <p:spPr>
          <a:xfrm>
            <a:off x="83783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5" name="Tijdelijke aanduiding voor afbeelding 45"/>
          <p:cNvSpPr>
            <a:spLocks noGrp="1"/>
          </p:cNvSpPr>
          <p:nvPr>
            <p:ph type="pic" sz="quarter" idx="49" hasCustomPrompt="1"/>
          </p:nvPr>
        </p:nvSpPr>
        <p:spPr>
          <a:xfrm>
            <a:off x="103214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6" name="Tijdelijke aanduiding voor afbeelding 45"/>
          <p:cNvSpPr>
            <a:spLocks noGrp="1"/>
          </p:cNvSpPr>
          <p:nvPr>
            <p:ph type="pic" sz="quarter" idx="50" hasCustomPrompt="1"/>
          </p:nvPr>
        </p:nvSpPr>
        <p:spPr>
          <a:xfrm>
            <a:off x="6059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7" name="Tijdelijke aanduiding voor afbeelding 45"/>
          <p:cNvSpPr>
            <a:spLocks noGrp="1"/>
          </p:cNvSpPr>
          <p:nvPr>
            <p:ph type="pic" sz="quarter" idx="51" hasCustomPrompt="1"/>
          </p:nvPr>
        </p:nvSpPr>
        <p:spPr>
          <a:xfrm>
            <a:off x="25490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8" name="Tijdelijke aanduiding voor afbeelding 45"/>
          <p:cNvSpPr>
            <a:spLocks noGrp="1"/>
          </p:cNvSpPr>
          <p:nvPr>
            <p:ph type="pic" sz="quarter" idx="52" hasCustomPrompt="1"/>
          </p:nvPr>
        </p:nvSpPr>
        <p:spPr>
          <a:xfrm>
            <a:off x="44921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9" name="Tijdelijke aanduiding voor afbeelding 45"/>
          <p:cNvSpPr>
            <a:spLocks noGrp="1"/>
          </p:cNvSpPr>
          <p:nvPr>
            <p:ph type="pic" sz="quarter" idx="53" hasCustomPrompt="1"/>
          </p:nvPr>
        </p:nvSpPr>
        <p:spPr>
          <a:xfrm>
            <a:off x="64352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0" name="Tijdelijke aanduiding voor afbeelding 45"/>
          <p:cNvSpPr>
            <a:spLocks noGrp="1"/>
          </p:cNvSpPr>
          <p:nvPr>
            <p:ph type="pic" sz="quarter" idx="54" hasCustomPrompt="1"/>
          </p:nvPr>
        </p:nvSpPr>
        <p:spPr>
          <a:xfrm>
            <a:off x="83783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1" name="Tijdelijke aanduiding voor afbeelding 45"/>
          <p:cNvSpPr>
            <a:spLocks noGrp="1"/>
          </p:cNvSpPr>
          <p:nvPr>
            <p:ph type="pic" sz="quarter" idx="55" hasCustomPrompt="1"/>
          </p:nvPr>
        </p:nvSpPr>
        <p:spPr>
          <a:xfrm>
            <a:off x="103214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2" name="Tijdelijke aanduiding voor afbeelding 45"/>
          <p:cNvSpPr>
            <a:spLocks noGrp="1"/>
          </p:cNvSpPr>
          <p:nvPr>
            <p:ph type="pic" sz="quarter" idx="56" hasCustomPrompt="1"/>
          </p:nvPr>
        </p:nvSpPr>
        <p:spPr>
          <a:xfrm>
            <a:off x="6059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3" name="Tijdelijke aanduiding voor afbeelding 45"/>
          <p:cNvSpPr>
            <a:spLocks noGrp="1"/>
          </p:cNvSpPr>
          <p:nvPr>
            <p:ph type="pic" sz="quarter" idx="57" hasCustomPrompt="1"/>
          </p:nvPr>
        </p:nvSpPr>
        <p:spPr>
          <a:xfrm>
            <a:off x="25490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4" name="Tijdelijke aanduiding voor afbeelding 45"/>
          <p:cNvSpPr>
            <a:spLocks noGrp="1"/>
          </p:cNvSpPr>
          <p:nvPr>
            <p:ph type="pic" sz="quarter" idx="58" hasCustomPrompt="1"/>
          </p:nvPr>
        </p:nvSpPr>
        <p:spPr>
          <a:xfrm>
            <a:off x="44921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5" name="Tijdelijke aanduiding voor afbeelding 45"/>
          <p:cNvSpPr>
            <a:spLocks noGrp="1"/>
          </p:cNvSpPr>
          <p:nvPr>
            <p:ph type="pic" sz="quarter" idx="59" hasCustomPrompt="1"/>
          </p:nvPr>
        </p:nvSpPr>
        <p:spPr>
          <a:xfrm>
            <a:off x="64352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6" name="Tijdelijke aanduiding voor afbeelding 45"/>
          <p:cNvSpPr>
            <a:spLocks noGrp="1"/>
          </p:cNvSpPr>
          <p:nvPr>
            <p:ph type="pic" sz="quarter" idx="60" hasCustomPrompt="1"/>
          </p:nvPr>
        </p:nvSpPr>
        <p:spPr>
          <a:xfrm>
            <a:off x="83783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7" name="Tijdelijke aanduiding voor afbeelding 45"/>
          <p:cNvSpPr>
            <a:spLocks noGrp="1"/>
          </p:cNvSpPr>
          <p:nvPr>
            <p:ph type="pic" sz="quarter" idx="61" hasCustomPrompt="1"/>
          </p:nvPr>
        </p:nvSpPr>
        <p:spPr>
          <a:xfrm>
            <a:off x="103214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</p:spTree>
    <p:extLst>
      <p:ext uri="{BB962C8B-B14F-4D97-AF65-F5344CB8AC3E}">
        <p14:creationId xmlns:p14="http://schemas.microsoft.com/office/powerpoint/2010/main" val="14636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4" grpId="0"/>
      <p:bldP spid="275" grpId="0"/>
      <p:bldP spid="276" grpId="0"/>
      <p:bldP spid="277" grpId="0"/>
      <p:bldP spid="278" grpId="0"/>
      <p:bldP spid="279" grpId="0"/>
      <p:bldP spid="280" grpId="0"/>
      <p:bldP spid="281" grpId="0"/>
      <p:bldP spid="282" grpId="0"/>
      <p:bldP spid="283" grpId="0"/>
      <p:bldP spid="284" grpId="0"/>
      <p:bldP spid="285" grpId="0"/>
      <p:bldP spid="286" grpId="0"/>
      <p:bldP spid="287" grpId="0"/>
      <p:bldP spid="288" grpId="0"/>
      <p:bldP spid="289" grpId="0"/>
      <p:bldP spid="290" grpId="0"/>
      <p:bldP spid="291" grpId="0"/>
      <p:bldP spid="292" grpId="0"/>
      <p:bldP spid="293" grpId="0"/>
      <p:bldP spid="294" grpId="0"/>
      <p:bldP spid="295" grpId="0"/>
      <p:bldP spid="296" grpId="0"/>
      <p:bldP spid="297" grpId="0"/>
    </p:bld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827659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29" hasCustomPrompt="1"/>
          </p:nvPr>
        </p:nvSpPr>
        <p:spPr>
          <a:xfrm>
            <a:off x="8276596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27659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5A383-15E1-40DF-ADA6-DD89136534A3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433313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9"/>
          <p:cNvSpPr>
            <a:spLocks noGrp="1"/>
          </p:cNvSpPr>
          <p:nvPr>
            <p:ph type="pic" sz="quarter" idx="26" hasCustomPrompt="1"/>
          </p:nvPr>
        </p:nvSpPr>
        <p:spPr>
          <a:xfrm>
            <a:off x="4333136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433313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2F03B4BA-F6F9-40B7-B0C8-69E5F24A8777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99" name="Afbeelding 98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5" name="Rechthoek 104"/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6" name="Ovaal 105"/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7" name="Rechte verbindingslijn 106"/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8" name="Rechte verbindingslijn 107"/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Rechthoek 108"/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0" name="Rechte verbindingslijn 109"/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1" name="Ovaal 110"/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2" name="Rechthoek 111"/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2" name="Groep 121"/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5" name="Rechthoek 154"/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6" name="Rechte verbindingslijn 155"/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7" name="Gelijkbenige driehoek 156"/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3" name="Groep 122"/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1" name="Vrije vorm: vorm 150"/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2" name="Rechthoek: afgeronde hoeken 151"/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53" name="Rechte verbindingslijn 152"/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4" name="Rechte verbindingslijn 153"/>
              <p:cNvCxnSpPr>
                <a:cxnSpLocks/>
                <a:stCxn id="15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24" name="Ovaal 123"/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25" name="Rechthoek 124"/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/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7" name="Groep 126"/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8" name="Rechthoek 127"/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Rechthoek 128"/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0" name="Groep 129"/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43" name="Rechthoek: afgeronde hoeken 142"/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" name="Rechthoek 143"/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5" name="Rechthoek 144"/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6" name="Rechthoek 145"/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7" name="Rechthoek 146"/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8" name="Rechthoek 147"/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1" name="Groep 130"/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5" name="Groep 134"/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7" name="Rechthoek: afgeronde hoeken 136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8" name="Rechthoek 137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9" name="Rechthoek 138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6" name="Boog 135"/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32" name="Tekstvak 131"/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33" name="Tekstvak 132"/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4" name="Picture 3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01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0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03" name="Rechthoek 10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04" name="Rechte verbindingslijn 10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61282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0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ED1B2-AC1D-4D61-852A-B25377DDEC99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0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3347271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afbeelding 39"/>
          <p:cNvSpPr>
            <a:spLocks noGrp="1"/>
          </p:cNvSpPr>
          <p:nvPr>
            <p:ph type="pic" sz="quarter" idx="32" hasCustomPrompt="1"/>
          </p:nvPr>
        </p:nvSpPr>
        <p:spPr>
          <a:xfrm>
            <a:off x="3347271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0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3347271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6304867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afbeelding 39"/>
          <p:cNvSpPr>
            <a:spLocks noGrp="1"/>
          </p:cNvSpPr>
          <p:nvPr>
            <p:ph type="pic" sz="quarter" idx="35" hasCustomPrompt="1"/>
          </p:nvPr>
        </p:nvSpPr>
        <p:spPr>
          <a:xfrm>
            <a:off x="6304867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6304867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9262462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9"/>
          <p:cNvSpPr>
            <a:spLocks noGrp="1"/>
          </p:cNvSpPr>
          <p:nvPr>
            <p:ph type="pic" sz="quarter" idx="38" hasCustomPrompt="1"/>
          </p:nvPr>
        </p:nvSpPr>
        <p:spPr>
          <a:xfrm>
            <a:off x="9262462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9262462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1" name="Groep 160">
            <a:extLst>
              <a:ext uri="{FF2B5EF4-FFF2-40B4-BE49-F238E27FC236}">
                <a16:creationId xmlns:a16="http://schemas.microsoft.com/office/drawing/2014/main" id="{FCCEFB53-926B-43A5-B15D-C393B347BA7A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62" name="Afbeelding 161">
              <a:extLst>
                <a:ext uri="{FF2B5EF4-FFF2-40B4-BE49-F238E27FC236}">
                  <a16:creationId xmlns:a16="http://schemas.microsoft.com/office/drawing/2014/main" id="{3A99021C-1B73-45AC-9E0D-0BA5D305DF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9B8684C5-75ED-478A-BBAD-52500D10A50D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1EF576AE-826F-49DE-AE9D-26CBDC98975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5" name="Rechte verbindingslijn 164">
              <a:extLst>
                <a:ext uri="{FF2B5EF4-FFF2-40B4-BE49-F238E27FC236}">
                  <a16:creationId xmlns:a16="http://schemas.microsoft.com/office/drawing/2014/main" id="{D2002A68-8E60-4B1A-AD5F-F4F94FC5C1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6" name="Rechte verbindingslijn 165">
              <a:extLst>
                <a:ext uri="{FF2B5EF4-FFF2-40B4-BE49-F238E27FC236}">
                  <a16:creationId xmlns:a16="http://schemas.microsoft.com/office/drawing/2014/main" id="{08E75B8E-FCBA-4D8D-A676-4CD4F31EA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0B3E36AC-A52B-4D6C-81A6-99225B4AF218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F6517321-962A-4431-9C8D-7BD93F887E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9" name="Ovaal 168">
              <a:extLst>
                <a:ext uri="{FF2B5EF4-FFF2-40B4-BE49-F238E27FC236}">
                  <a16:creationId xmlns:a16="http://schemas.microsoft.com/office/drawing/2014/main" id="{875DD6BB-72DA-4541-A07D-08C37A1D6B0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EC3C8B96-A4ED-4876-A4CC-821810C4296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71" name="Groep 170">
              <a:extLst>
                <a:ext uri="{FF2B5EF4-FFF2-40B4-BE49-F238E27FC236}">
                  <a16:creationId xmlns:a16="http://schemas.microsoft.com/office/drawing/2014/main" id="{F2357E44-78CA-45A3-956B-965161D93275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08" name="Rechthoek 207">
                <a:extLst>
                  <a:ext uri="{FF2B5EF4-FFF2-40B4-BE49-F238E27FC236}">
                    <a16:creationId xmlns:a16="http://schemas.microsoft.com/office/drawing/2014/main" id="{0968A9B8-C0BC-459A-BA15-75EF9F09CCA5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CA830A2C-618E-47BF-9D3A-55DD1546A2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0" name="Gelijkbenige driehoek 209">
                <a:extLst>
                  <a:ext uri="{FF2B5EF4-FFF2-40B4-BE49-F238E27FC236}">
                    <a16:creationId xmlns:a16="http://schemas.microsoft.com/office/drawing/2014/main" id="{56B033E5-EC50-4438-BF01-1AB2254EF26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8DC86FEC-AE61-41F2-B99F-7F06AC040A8E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2" name="Rechthoek 201">
                <a:extLst>
                  <a:ext uri="{FF2B5EF4-FFF2-40B4-BE49-F238E27FC236}">
                    <a16:creationId xmlns:a16="http://schemas.microsoft.com/office/drawing/2014/main" id="{0E48B30F-2417-4027-A68E-502802915B0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3" name="Ovaal 202">
                <a:extLst>
                  <a:ext uri="{FF2B5EF4-FFF2-40B4-BE49-F238E27FC236}">
                    <a16:creationId xmlns:a16="http://schemas.microsoft.com/office/drawing/2014/main" id="{6BB66B2B-0443-44EE-86EF-9ADAFA26DDA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4" name="Vrije vorm: vorm 203">
                <a:extLst>
                  <a:ext uri="{FF2B5EF4-FFF2-40B4-BE49-F238E27FC236}">
                    <a16:creationId xmlns:a16="http://schemas.microsoft.com/office/drawing/2014/main" id="{4BC0AA19-3AA7-4497-AC19-7BE63BB2CA6B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hoek: afgeronde hoeken 204">
                <a:extLst>
                  <a:ext uri="{FF2B5EF4-FFF2-40B4-BE49-F238E27FC236}">
                    <a16:creationId xmlns:a16="http://schemas.microsoft.com/office/drawing/2014/main" id="{F2A43995-E44A-4567-9C15-9B1ACE11309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6" name="Rechte verbindingslijn 205">
                <a:extLst>
                  <a:ext uri="{FF2B5EF4-FFF2-40B4-BE49-F238E27FC236}">
                    <a16:creationId xmlns:a16="http://schemas.microsoft.com/office/drawing/2014/main" id="{3C9BD617-A860-4012-A1F2-BFAAF3A2555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7" name="Rechte verbindingslijn 206">
                <a:extLst>
                  <a:ext uri="{FF2B5EF4-FFF2-40B4-BE49-F238E27FC236}">
                    <a16:creationId xmlns:a16="http://schemas.microsoft.com/office/drawing/2014/main" id="{ACAAB843-9003-4FC7-A8B5-E2ECD47E8001}"/>
                  </a:ext>
                </a:extLst>
              </p:cNvPr>
              <p:cNvCxnSpPr>
                <a:cxnSpLocks/>
                <a:stCxn id="20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3" name="Ovaal 172">
              <a:extLst>
                <a:ext uri="{FF2B5EF4-FFF2-40B4-BE49-F238E27FC236}">
                  <a16:creationId xmlns:a16="http://schemas.microsoft.com/office/drawing/2014/main" id="{6E96B380-58E2-471D-9744-63A03ABA625C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1C052F2-3015-408F-A310-B5C9BD9A681D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75" name="Rechte verbindingslijn 174">
              <a:extLst>
                <a:ext uri="{FF2B5EF4-FFF2-40B4-BE49-F238E27FC236}">
                  <a16:creationId xmlns:a16="http://schemas.microsoft.com/office/drawing/2014/main" id="{D1DC919E-DD42-4DE0-B301-429EE7292B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6" name="Groep 175">
              <a:extLst>
                <a:ext uri="{FF2B5EF4-FFF2-40B4-BE49-F238E27FC236}">
                  <a16:creationId xmlns:a16="http://schemas.microsoft.com/office/drawing/2014/main" id="{11B11B8F-B9C0-4E6E-A0BC-47375EC6A1CF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423346B5-4BFA-41F8-9AEC-3B60B611AB4A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99F3326D-20BC-4B71-8064-1442FB78EEED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3" name="Groep 182">
                <a:extLst>
                  <a:ext uri="{FF2B5EF4-FFF2-40B4-BE49-F238E27FC236}">
                    <a16:creationId xmlns:a16="http://schemas.microsoft.com/office/drawing/2014/main" id="{E9D47A58-71F3-4D64-9061-D9D134550845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6" name="Rechthoek: afgeronde hoeken 195">
                  <a:extLst>
                    <a:ext uri="{FF2B5EF4-FFF2-40B4-BE49-F238E27FC236}">
                      <a16:creationId xmlns:a16="http://schemas.microsoft.com/office/drawing/2014/main" id="{B0FC5052-23D2-4769-BB7E-B1A5E3ED711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48307DBB-7A5C-4ACC-9A6B-435633C63DB6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8" name="Rechthoek 197">
                  <a:extLst>
                    <a:ext uri="{FF2B5EF4-FFF2-40B4-BE49-F238E27FC236}">
                      <a16:creationId xmlns:a16="http://schemas.microsoft.com/office/drawing/2014/main" id="{86C2BE51-82C1-45ED-AEB9-F7264120349F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9" name="Rechthoek 198">
                  <a:extLst>
                    <a:ext uri="{FF2B5EF4-FFF2-40B4-BE49-F238E27FC236}">
                      <a16:creationId xmlns:a16="http://schemas.microsoft.com/office/drawing/2014/main" id="{47C69D9F-B551-4F47-90A1-C851A8E5CC0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0223528A-E41D-4AFB-B26F-4A80EC0B372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A1F2EA93-C5B2-4F45-9ECF-89EBAB3249DD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84" name="Groep 183">
                <a:extLst>
                  <a:ext uri="{FF2B5EF4-FFF2-40B4-BE49-F238E27FC236}">
                    <a16:creationId xmlns:a16="http://schemas.microsoft.com/office/drawing/2014/main" id="{FFFB3BA9-F231-4D9A-80B7-BA09F4FAF52E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88" name="Groep 187">
                  <a:extLst>
                    <a:ext uri="{FF2B5EF4-FFF2-40B4-BE49-F238E27FC236}">
                      <a16:creationId xmlns:a16="http://schemas.microsoft.com/office/drawing/2014/main" id="{28261D45-497A-4B0E-905B-83D8A856FEAF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0" name="Rechthoek: afgeronde hoeken 189">
                    <a:extLst>
                      <a:ext uri="{FF2B5EF4-FFF2-40B4-BE49-F238E27FC236}">
                        <a16:creationId xmlns:a16="http://schemas.microsoft.com/office/drawing/2014/main" id="{813C5FE2-9BC2-4D0C-9275-6200F9A394D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1" name="Rechthoek 190">
                    <a:extLst>
                      <a:ext uri="{FF2B5EF4-FFF2-40B4-BE49-F238E27FC236}">
                        <a16:creationId xmlns:a16="http://schemas.microsoft.com/office/drawing/2014/main" id="{0E32D907-F160-4E42-AE75-D29E33A59FC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2" name="Rechthoek 191">
                    <a:extLst>
                      <a:ext uri="{FF2B5EF4-FFF2-40B4-BE49-F238E27FC236}">
                        <a16:creationId xmlns:a16="http://schemas.microsoft.com/office/drawing/2014/main" id="{9B9E021B-097A-49A8-AA71-3B7093FBC6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3" name="Rechthoek 192">
                    <a:extLst>
                      <a:ext uri="{FF2B5EF4-FFF2-40B4-BE49-F238E27FC236}">
                        <a16:creationId xmlns:a16="http://schemas.microsoft.com/office/drawing/2014/main" id="{ACB73619-5777-4178-A38E-19DE7C9AB83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831B80DE-1C31-4CAF-9FB0-EDA412D0A3E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DF7F71AB-B3BD-4A7C-9009-E2121DA2F46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89" name="Boog 188">
                  <a:extLst>
                    <a:ext uri="{FF2B5EF4-FFF2-40B4-BE49-F238E27FC236}">
                      <a16:creationId xmlns:a16="http://schemas.microsoft.com/office/drawing/2014/main" id="{6959CB37-6156-4AE2-93C6-7635D136BD9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85" name="Tekstvak 184">
                <a:extLst>
                  <a:ext uri="{FF2B5EF4-FFF2-40B4-BE49-F238E27FC236}">
                    <a16:creationId xmlns:a16="http://schemas.microsoft.com/office/drawing/2014/main" id="{520AE291-3C80-410B-B153-EEFB1B14E11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6" name="Tekstvak 185">
                <a:extLst>
                  <a:ext uri="{FF2B5EF4-FFF2-40B4-BE49-F238E27FC236}">
                    <a16:creationId xmlns:a16="http://schemas.microsoft.com/office/drawing/2014/main" id="{ABE86CB3-3DDB-4585-95EA-8518FDD79CF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87" name="Picture 3">
                <a:extLst>
                  <a:ext uri="{FF2B5EF4-FFF2-40B4-BE49-F238E27FC236}">
                    <a16:creationId xmlns:a16="http://schemas.microsoft.com/office/drawing/2014/main" id="{50DA060E-9384-4105-A3A1-3A51710AAB8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77" name="Meer informatie">
              <a:extLst>
                <a:ext uri="{FF2B5EF4-FFF2-40B4-BE49-F238E27FC236}">
                  <a16:creationId xmlns:a16="http://schemas.microsoft.com/office/drawing/2014/main" id="{7DCCAA6E-486F-485A-9FF9-3E6DA4B44B5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78" name="Freeform 101">
                <a:extLst>
                  <a:ext uri="{FF2B5EF4-FFF2-40B4-BE49-F238E27FC236}">
                    <a16:creationId xmlns:a16="http://schemas.microsoft.com/office/drawing/2014/main" id="{F6307448-E31E-4DC1-A9CE-D9FE1DC727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79" name="Rechthoek 178">
                <a:extLst>
                  <a:ext uri="{FF2B5EF4-FFF2-40B4-BE49-F238E27FC236}">
                    <a16:creationId xmlns:a16="http://schemas.microsoft.com/office/drawing/2014/main" id="{051AC3A5-F246-43EC-9426-717DCF1A7781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0" name="Rechte verbindingslijn 179">
                <a:extLst>
                  <a:ext uri="{FF2B5EF4-FFF2-40B4-BE49-F238E27FC236}">
                    <a16:creationId xmlns:a16="http://schemas.microsoft.com/office/drawing/2014/main" id="{91214991-2318-4A98-B245-BFF671971D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8805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3251E7-C7A9-44D7-866A-8840D5E9178C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9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2755752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41" hasCustomPrompt="1"/>
          </p:nvPr>
        </p:nvSpPr>
        <p:spPr>
          <a:xfrm>
            <a:off x="2755752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42" hasCustomPrompt="1"/>
          </p:nvPr>
        </p:nvSpPr>
        <p:spPr>
          <a:xfrm>
            <a:off x="2755752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5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121829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6" name="Tijdelijke aanduiding voor afbeelding 39"/>
          <p:cNvSpPr>
            <a:spLocks noGrp="1"/>
          </p:cNvSpPr>
          <p:nvPr>
            <p:ph type="pic" sz="quarter" idx="44" hasCustomPrompt="1"/>
          </p:nvPr>
        </p:nvSpPr>
        <p:spPr>
          <a:xfrm>
            <a:off x="5121829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7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5121829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46" hasCustomPrompt="1"/>
          </p:nvPr>
        </p:nvSpPr>
        <p:spPr>
          <a:xfrm>
            <a:off x="7487906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9"/>
          <p:cNvSpPr>
            <a:spLocks noGrp="1"/>
          </p:cNvSpPr>
          <p:nvPr>
            <p:ph type="pic" sz="quarter" idx="47" hasCustomPrompt="1"/>
          </p:nvPr>
        </p:nvSpPr>
        <p:spPr>
          <a:xfrm>
            <a:off x="7487906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7487906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853983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2" name="Tijdelijke aanduiding voor afbeelding 39"/>
          <p:cNvSpPr>
            <a:spLocks noGrp="1"/>
          </p:cNvSpPr>
          <p:nvPr>
            <p:ph type="pic" sz="quarter" idx="50" hasCustomPrompt="1"/>
          </p:nvPr>
        </p:nvSpPr>
        <p:spPr>
          <a:xfrm>
            <a:off x="9853983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3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9853983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4" name="Groep 163">
            <a:extLst>
              <a:ext uri="{FF2B5EF4-FFF2-40B4-BE49-F238E27FC236}">
                <a16:creationId xmlns:a16="http://schemas.microsoft.com/office/drawing/2014/main" id="{38D2DAF9-87E2-49C7-8899-11CCDEE40A05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65" name="Afbeelding 164">
              <a:extLst>
                <a:ext uri="{FF2B5EF4-FFF2-40B4-BE49-F238E27FC236}">
                  <a16:creationId xmlns:a16="http://schemas.microsoft.com/office/drawing/2014/main" id="{1AA66F7B-7057-4205-9A25-50A1BEBFFC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0F966880-FA1E-4516-8D0A-EC1723CA8A23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7" name="Ovaal 166">
              <a:extLst>
                <a:ext uri="{FF2B5EF4-FFF2-40B4-BE49-F238E27FC236}">
                  <a16:creationId xmlns:a16="http://schemas.microsoft.com/office/drawing/2014/main" id="{6FECEAD8-89DC-4377-8B2B-6557251EB40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508E4D78-AA0E-4157-BC47-24FDCABC0A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9" name="Rechte verbindingslijn 168">
              <a:extLst>
                <a:ext uri="{FF2B5EF4-FFF2-40B4-BE49-F238E27FC236}">
                  <a16:creationId xmlns:a16="http://schemas.microsoft.com/office/drawing/2014/main" id="{052E3544-7CAA-4535-85BC-C02B48CEC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A8617A58-895C-451A-9D11-7AC862FAF372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5517C501-B8FD-46D9-8D82-F583E5CD4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2" name="Ovaal 171">
              <a:extLst>
                <a:ext uri="{FF2B5EF4-FFF2-40B4-BE49-F238E27FC236}">
                  <a16:creationId xmlns:a16="http://schemas.microsoft.com/office/drawing/2014/main" id="{218F8EBF-96BA-46A8-9FF6-B153943777DA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3" name="Rechthoek 172">
              <a:extLst>
                <a:ext uri="{FF2B5EF4-FFF2-40B4-BE49-F238E27FC236}">
                  <a16:creationId xmlns:a16="http://schemas.microsoft.com/office/drawing/2014/main" id="{A4F5CC46-C071-49C1-BFB7-D76F1689F569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74" name="Groep 173">
              <a:extLst>
                <a:ext uri="{FF2B5EF4-FFF2-40B4-BE49-F238E27FC236}">
                  <a16:creationId xmlns:a16="http://schemas.microsoft.com/office/drawing/2014/main" id="{B26FB392-FEE8-4B73-AAD0-AA67B6E1E3C8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11" name="Rechthoek 210">
                <a:extLst>
                  <a:ext uri="{FF2B5EF4-FFF2-40B4-BE49-F238E27FC236}">
                    <a16:creationId xmlns:a16="http://schemas.microsoft.com/office/drawing/2014/main" id="{312C51CE-15C8-4341-A38C-B6F0225BF78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id="{0284F455-F8EE-4D01-9D2C-D8625777D36B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3" name="Gelijkbenige driehoek 212">
                <a:extLst>
                  <a:ext uri="{FF2B5EF4-FFF2-40B4-BE49-F238E27FC236}">
                    <a16:creationId xmlns:a16="http://schemas.microsoft.com/office/drawing/2014/main" id="{DB65B57D-3EE2-4463-8BD2-8142290061A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5" name="Groep 174">
              <a:extLst>
                <a:ext uri="{FF2B5EF4-FFF2-40B4-BE49-F238E27FC236}">
                  <a16:creationId xmlns:a16="http://schemas.microsoft.com/office/drawing/2014/main" id="{C38E73B8-3EFB-4167-BB82-5C786D640CBD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5" name="Rechthoek 204">
                <a:extLst>
                  <a:ext uri="{FF2B5EF4-FFF2-40B4-BE49-F238E27FC236}">
                    <a16:creationId xmlns:a16="http://schemas.microsoft.com/office/drawing/2014/main" id="{50FE3A73-A9AA-4E92-90FF-C029BC236E9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6" name="Ovaal 205">
                <a:extLst>
                  <a:ext uri="{FF2B5EF4-FFF2-40B4-BE49-F238E27FC236}">
                    <a16:creationId xmlns:a16="http://schemas.microsoft.com/office/drawing/2014/main" id="{6109A826-A59A-494F-8EFB-9169389116BF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Vrije vorm: vorm 206">
                <a:extLst>
                  <a:ext uri="{FF2B5EF4-FFF2-40B4-BE49-F238E27FC236}">
                    <a16:creationId xmlns:a16="http://schemas.microsoft.com/office/drawing/2014/main" id="{C7FF406F-1CC2-4AC0-A17A-9305DD310A09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Rechthoek: afgeronde hoeken 207">
                <a:extLst>
                  <a:ext uri="{FF2B5EF4-FFF2-40B4-BE49-F238E27FC236}">
                    <a16:creationId xmlns:a16="http://schemas.microsoft.com/office/drawing/2014/main" id="{D8F14FC4-67C6-46E4-9736-D4263CDF915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B5F5ADCB-5B88-46E4-831E-1EB6CC3F62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0" name="Rechte verbindingslijn 209">
                <a:extLst>
                  <a:ext uri="{FF2B5EF4-FFF2-40B4-BE49-F238E27FC236}">
                    <a16:creationId xmlns:a16="http://schemas.microsoft.com/office/drawing/2014/main" id="{1EE24356-0697-4A22-9217-8F2333BB4BCC}"/>
                  </a:ext>
                </a:extLst>
              </p:cNvPr>
              <p:cNvCxnSpPr>
                <a:cxnSpLocks/>
                <a:stCxn id="20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6" name="Ovaal 175">
              <a:extLst>
                <a:ext uri="{FF2B5EF4-FFF2-40B4-BE49-F238E27FC236}">
                  <a16:creationId xmlns:a16="http://schemas.microsoft.com/office/drawing/2014/main" id="{5D9121B1-C8A4-4B09-A569-0817E41A2C73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E1BEF1BF-D9B8-4982-8EE8-BF23855D2C60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78" name="Rechte verbindingslijn 177">
              <a:extLst>
                <a:ext uri="{FF2B5EF4-FFF2-40B4-BE49-F238E27FC236}">
                  <a16:creationId xmlns:a16="http://schemas.microsoft.com/office/drawing/2014/main" id="{34CABE9A-775D-4F82-B986-4B8C5BC64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9" name="Groep 178">
              <a:extLst>
                <a:ext uri="{FF2B5EF4-FFF2-40B4-BE49-F238E27FC236}">
                  <a16:creationId xmlns:a16="http://schemas.microsoft.com/office/drawing/2014/main" id="{E9134E10-1CE7-464D-AF04-8ECE531BA052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4" name="Rechthoek 183">
                <a:extLst>
                  <a:ext uri="{FF2B5EF4-FFF2-40B4-BE49-F238E27FC236}">
                    <a16:creationId xmlns:a16="http://schemas.microsoft.com/office/drawing/2014/main" id="{B1F7EAE7-B41D-4220-9416-AAD62A602D14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141DA8B3-BC3C-409A-8179-8BC02A819CE7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6" name="Groep 185">
                <a:extLst>
                  <a:ext uri="{FF2B5EF4-FFF2-40B4-BE49-F238E27FC236}">
                    <a16:creationId xmlns:a16="http://schemas.microsoft.com/office/drawing/2014/main" id="{643B4677-1A21-4BBE-AF32-B315B05E9E2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FFB68C5E-FB3F-4929-B93C-87FBC4BDDFC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E53F557F-6C2E-4FF7-B600-2179C0A06F8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5D24B4BB-7526-4E17-8D3D-9DB221A68BE1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Rechthoek 201">
                  <a:extLst>
                    <a:ext uri="{FF2B5EF4-FFF2-40B4-BE49-F238E27FC236}">
                      <a16:creationId xmlns:a16="http://schemas.microsoft.com/office/drawing/2014/main" id="{6C266F8B-47DB-4A5E-B431-EC066AEC35B7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3" name="Rechthoek 202">
                  <a:extLst>
                    <a:ext uri="{FF2B5EF4-FFF2-40B4-BE49-F238E27FC236}">
                      <a16:creationId xmlns:a16="http://schemas.microsoft.com/office/drawing/2014/main" id="{2116B610-2150-4394-8176-6632BF44B15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4" name="Rechthoek 203">
                  <a:extLst>
                    <a:ext uri="{FF2B5EF4-FFF2-40B4-BE49-F238E27FC236}">
                      <a16:creationId xmlns:a16="http://schemas.microsoft.com/office/drawing/2014/main" id="{59B4C523-D9EB-4378-ACE4-56B180052AFC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87" name="Groep 186">
                <a:extLst>
                  <a:ext uri="{FF2B5EF4-FFF2-40B4-BE49-F238E27FC236}">
                    <a16:creationId xmlns:a16="http://schemas.microsoft.com/office/drawing/2014/main" id="{940F4B68-BC22-49C3-A4F2-965BEEBF280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25A6F0AA-9EC5-49D0-B594-E1ED76B3A07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3" name="Rechthoek: afgeronde hoeken 192">
                    <a:extLst>
                      <a:ext uri="{FF2B5EF4-FFF2-40B4-BE49-F238E27FC236}">
                        <a16:creationId xmlns:a16="http://schemas.microsoft.com/office/drawing/2014/main" id="{86F99140-AAB2-4A16-B9D5-187CDDB3722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27A1D887-2180-47CD-996B-EC4E25C1D4D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4666E821-9405-4676-8B3E-0B5AEBE2BD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6" name="Rechthoek 195">
                    <a:extLst>
                      <a:ext uri="{FF2B5EF4-FFF2-40B4-BE49-F238E27FC236}">
                        <a16:creationId xmlns:a16="http://schemas.microsoft.com/office/drawing/2014/main" id="{1F8C0A9C-8B44-40FE-A094-1B8B088E680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7" name="Rechthoek 196">
                    <a:extLst>
                      <a:ext uri="{FF2B5EF4-FFF2-40B4-BE49-F238E27FC236}">
                        <a16:creationId xmlns:a16="http://schemas.microsoft.com/office/drawing/2014/main" id="{2ED4EF97-7A18-4CBF-A0B7-034F4EEAB4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Rechthoek 197">
                    <a:extLst>
                      <a:ext uri="{FF2B5EF4-FFF2-40B4-BE49-F238E27FC236}">
                        <a16:creationId xmlns:a16="http://schemas.microsoft.com/office/drawing/2014/main" id="{27F78269-250C-43E4-B700-7E0B5BF7A85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92" name="Boog 191">
                  <a:extLst>
                    <a:ext uri="{FF2B5EF4-FFF2-40B4-BE49-F238E27FC236}">
                      <a16:creationId xmlns:a16="http://schemas.microsoft.com/office/drawing/2014/main" id="{75E668F1-0C05-4217-988B-50AF97A634D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88" name="Tekstvak 187">
                <a:extLst>
                  <a:ext uri="{FF2B5EF4-FFF2-40B4-BE49-F238E27FC236}">
                    <a16:creationId xmlns:a16="http://schemas.microsoft.com/office/drawing/2014/main" id="{30EB4B55-E56B-4583-AA82-FDC7719919DE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9" name="Tekstvak 188">
                <a:extLst>
                  <a:ext uri="{FF2B5EF4-FFF2-40B4-BE49-F238E27FC236}">
                    <a16:creationId xmlns:a16="http://schemas.microsoft.com/office/drawing/2014/main" id="{9ADD8F84-D59C-45C9-81B4-D6D15706F4F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0" name="Picture 3">
                <a:extLst>
                  <a:ext uri="{FF2B5EF4-FFF2-40B4-BE49-F238E27FC236}">
                    <a16:creationId xmlns:a16="http://schemas.microsoft.com/office/drawing/2014/main" id="{E53A0344-1CFE-470F-98BE-FF7AC14B512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80" name="Meer informatie">
              <a:extLst>
                <a:ext uri="{FF2B5EF4-FFF2-40B4-BE49-F238E27FC236}">
                  <a16:creationId xmlns:a16="http://schemas.microsoft.com/office/drawing/2014/main" id="{88D23574-171E-468F-BABD-5C1B3A8F73B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1" name="Freeform 101">
                <a:extLst>
                  <a:ext uri="{FF2B5EF4-FFF2-40B4-BE49-F238E27FC236}">
                    <a16:creationId xmlns:a16="http://schemas.microsoft.com/office/drawing/2014/main" id="{08DAF4CF-3A68-4123-B012-28C8481E3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6C1A78CE-E171-48F1-996E-87AFE5136D4E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3" name="Rechte verbindingslijn 182">
                <a:extLst>
                  <a:ext uri="{FF2B5EF4-FFF2-40B4-BE49-F238E27FC236}">
                    <a16:creationId xmlns:a16="http://schemas.microsoft.com/office/drawing/2014/main" id="{A053D5B9-E02C-49FE-8C1B-659A43A14E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25284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6" grpId="0" animBg="1"/>
      <p:bldP spid="12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animBg="1"/>
      <p:bldP spid="13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15957-692C-48D4-875C-7F1E2CC5B5AB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0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3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5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5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0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5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5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2023D4CD-0D2F-488F-8979-F801863C1E4B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E7E3A84-A1CB-4554-87B4-799657271A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2FDA28EB-165A-4F6B-A67F-4876D9A4091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DD239770-6FC9-4865-92D0-563B8BDAD9BC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85B0525-87C1-4F8E-9ACA-324252B82C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507CF792-CAD2-453E-ABC2-C4C9665DBC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D6BDF347-BE7D-4A98-9E6C-4FE7744C14A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4796338D-18A7-4BEF-9797-CCFCC3F140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54ABF31A-AAF4-4F88-923F-4CE50EA4225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E692BB84-0777-4E5C-A1B6-FA9D3794EFAB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BF9555C9-F52D-4C85-9223-328DDA3502F4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FAE68C26-8477-4846-A1C5-353C0D531B51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83EA00D4-333C-45A2-8B1D-21942EF9B103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FD9273D1-C47E-44D7-BEF9-5CE578B7BC1D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AA17CF37-CBFA-428F-B5B3-A00C3025EC2C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FF40D03D-2B54-40F7-B77F-EE568FD0C625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A648A5D0-BADF-4D49-B7A8-E053AE257244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32B3B0FA-D58C-4E59-A576-6A18E25AA24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E1F70F3D-91F1-4847-B1BB-E2E35068C201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D0F2971-CA6E-4546-A8CA-23C1563AD8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13C0F120-4455-4063-9DDE-D18589706281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0CC36644-F31B-4F69-B4F6-447BE223CE1A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F1E1984A-272F-41CE-8A4E-476CA1697415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6C7D05E3-3E63-402D-A979-769F955FA3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C12C77E7-0D22-48A0-9F34-B57DE3752C7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25014AF0-BCAA-4959-9EB0-4541AEA33CE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C1DC6569-CD9D-4FDF-9AE8-BC78EB50763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AD34B0E3-3E39-4C7D-B204-7351DBC49341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56CB8802-6F8A-406B-9834-B95BA04AED3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24AC5A4F-2FB6-4899-B3DD-0705E3C47A2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2E7491E0-FA1D-4963-A3DE-DD2610F442F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225E9DB3-142C-46E1-B605-028B61D63EDE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4EBD5C3C-B5E9-4050-AB08-3398239DE9C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1653F7D-CE37-4C55-818B-AADC8E7FE13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7603C3E1-332C-4897-8F0C-3DE9D8BDE18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B4632603-598A-4377-82AF-080FD589B5E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CCF4DC4-41E2-445C-8A55-87A5B25D746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4B6EB406-0F48-46D8-A741-DDAB8E6CFE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E93F871E-25FF-47EB-A6C9-D987E3F61C9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194C25A4-8037-4A71-8ED6-086DA8C58A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35D33EF9-CD43-4601-B574-6C8CDAD5DA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57630908-0B48-4C24-BB65-1B5EF84D7B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1CDE2840-C16A-4148-A926-1F57DB7D391C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DA8B9C17-1B7B-4234-BB48-2C25CC1B3C9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17B9E69D-8A4F-4714-95F0-3ED4DD40A7E6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C51B0559-355B-4BEB-B1AD-563175B8CD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CD612BB0-C25F-47D1-8D67-AAAAC4ACF570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8BE5F9EF-AB5A-4768-B474-A59DC55CD6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8D25D634-5D72-4B1F-B008-B0204AFC0EF0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6812577E-17E3-46B4-AF42-7E76F7B769A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95377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9CB8-8351-4F07-86D2-3D041D714B65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6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39" name="Tijdelijke aanduiding voor afbeelding 38"/>
          <p:cNvSpPr>
            <a:spLocks noGrp="1"/>
          </p:cNvSpPr>
          <p:nvPr>
            <p:ph type="pic" sz="quarter" idx="15" hasCustomPrompt="1"/>
          </p:nvPr>
        </p:nvSpPr>
        <p:spPr>
          <a:xfrm>
            <a:off x="366139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66139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17" hasCustomPrompt="1"/>
          </p:nvPr>
        </p:nvSpPr>
        <p:spPr>
          <a:xfrm>
            <a:off x="4254135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18" hasCustomPrompt="1"/>
          </p:nvPr>
        </p:nvSpPr>
        <p:spPr>
          <a:xfrm>
            <a:off x="4254135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afbeelding 42"/>
          <p:cNvSpPr>
            <a:spLocks noGrp="1"/>
          </p:cNvSpPr>
          <p:nvPr>
            <p:ph type="pic" sz="quarter" idx="19" hasCustomPrompt="1"/>
          </p:nvPr>
        </p:nvSpPr>
        <p:spPr>
          <a:xfrm>
            <a:off x="8142132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0" hasCustomPrompt="1"/>
          </p:nvPr>
        </p:nvSpPr>
        <p:spPr>
          <a:xfrm>
            <a:off x="8142132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4254682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8142679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4254682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8142679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1" name="Groep 100">
            <a:extLst>
              <a:ext uri="{FF2B5EF4-FFF2-40B4-BE49-F238E27FC236}">
                <a16:creationId xmlns:a16="http://schemas.microsoft.com/office/drawing/2014/main" id="{15857F41-B989-471B-967B-C6DA381108DD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2" name="Afbeelding 101">
              <a:extLst>
                <a:ext uri="{FF2B5EF4-FFF2-40B4-BE49-F238E27FC236}">
                  <a16:creationId xmlns:a16="http://schemas.microsoft.com/office/drawing/2014/main" id="{A870EF52-3EC8-43DF-9D29-95AE71288A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2E2E0576-B523-43B5-850A-13D35A708B8B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5E89C9B1-C154-41D7-A955-6E9C06FD58C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5" name="Rechte verbindingslijn 104">
              <a:extLst>
                <a:ext uri="{FF2B5EF4-FFF2-40B4-BE49-F238E27FC236}">
                  <a16:creationId xmlns:a16="http://schemas.microsoft.com/office/drawing/2014/main" id="{6C97EE4C-0822-4420-8727-59022FEC4E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6" name="Rechte verbindingslijn 105">
              <a:extLst>
                <a:ext uri="{FF2B5EF4-FFF2-40B4-BE49-F238E27FC236}">
                  <a16:creationId xmlns:a16="http://schemas.microsoft.com/office/drawing/2014/main" id="{C0192459-E41F-4415-82CA-286E7E35C6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D2303889-DCFD-4ABC-AE5F-92ABB46C0E7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07B0AC0E-6871-45AE-A4BC-06EC75E136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Ovaal 108">
              <a:extLst>
                <a:ext uri="{FF2B5EF4-FFF2-40B4-BE49-F238E27FC236}">
                  <a16:creationId xmlns:a16="http://schemas.microsoft.com/office/drawing/2014/main" id="{629AA207-9EA7-45B5-917F-5C9C87AADCB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A0A1ADFC-BD66-4D46-AEFF-6365412AC59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1" name="Groep 110">
              <a:extLst>
                <a:ext uri="{FF2B5EF4-FFF2-40B4-BE49-F238E27FC236}">
                  <a16:creationId xmlns:a16="http://schemas.microsoft.com/office/drawing/2014/main" id="{BE3704B8-19AE-44B2-84DD-311B6280B7D3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48" name="Rechthoek 147">
                <a:extLst>
                  <a:ext uri="{FF2B5EF4-FFF2-40B4-BE49-F238E27FC236}">
                    <a16:creationId xmlns:a16="http://schemas.microsoft.com/office/drawing/2014/main" id="{E1BDB5FF-A1FE-414D-9062-CF192274847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8488FD0-826A-4130-9516-7FC529D398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0" name="Gelijkbenige driehoek 149">
                <a:extLst>
                  <a:ext uri="{FF2B5EF4-FFF2-40B4-BE49-F238E27FC236}">
                    <a16:creationId xmlns:a16="http://schemas.microsoft.com/office/drawing/2014/main" id="{0D4BE829-8B24-4DF7-BA8F-A8C867CA17A3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2" name="Groep 111">
              <a:extLst>
                <a:ext uri="{FF2B5EF4-FFF2-40B4-BE49-F238E27FC236}">
                  <a16:creationId xmlns:a16="http://schemas.microsoft.com/office/drawing/2014/main" id="{C29314E0-C9E0-4313-A93A-B7E4177005E2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2" name="Rechthoek 141">
                <a:extLst>
                  <a:ext uri="{FF2B5EF4-FFF2-40B4-BE49-F238E27FC236}">
                    <a16:creationId xmlns:a16="http://schemas.microsoft.com/office/drawing/2014/main" id="{896E01D5-DB99-4855-B018-0F9C4C6B853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3" name="Ovaal 142">
                <a:extLst>
                  <a:ext uri="{FF2B5EF4-FFF2-40B4-BE49-F238E27FC236}">
                    <a16:creationId xmlns:a16="http://schemas.microsoft.com/office/drawing/2014/main" id="{0D0C7CB6-8AFF-4231-93BF-E8FD29F2CA8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Vrije vorm: vorm 143">
                <a:extLst>
                  <a:ext uri="{FF2B5EF4-FFF2-40B4-BE49-F238E27FC236}">
                    <a16:creationId xmlns:a16="http://schemas.microsoft.com/office/drawing/2014/main" id="{91B5AAC4-DC71-4CC0-9455-2F44543529C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5" name="Rechthoek: afgeronde hoeken 144">
                <a:extLst>
                  <a:ext uri="{FF2B5EF4-FFF2-40B4-BE49-F238E27FC236}">
                    <a16:creationId xmlns:a16="http://schemas.microsoft.com/office/drawing/2014/main" id="{DA99D02D-080C-4987-A7B0-6E0A31603C3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1B8D256D-35B8-437E-AE80-420F7A97D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0AD788BD-6370-40C7-98BE-1490E80764B0}"/>
                  </a:ext>
                </a:extLst>
              </p:cNvPr>
              <p:cNvCxnSpPr>
                <a:cxnSpLocks/>
                <a:stCxn id="14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3" name="Ovaal 112">
              <a:extLst>
                <a:ext uri="{FF2B5EF4-FFF2-40B4-BE49-F238E27FC236}">
                  <a16:creationId xmlns:a16="http://schemas.microsoft.com/office/drawing/2014/main" id="{A70FFDE7-131F-480B-B932-726F6C45D9E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3AEF02A3-F861-44DA-BCD2-6408602B821C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5" name="Rechte verbindingslijn 114">
              <a:extLst>
                <a:ext uri="{FF2B5EF4-FFF2-40B4-BE49-F238E27FC236}">
                  <a16:creationId xmlns:a16="http://schemas.microsoft.com/office/drawing/2014/main" id="{96958C1C-CE12-4038-8448-FED528AD3A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6" name="Groep 115">
              <a:extLst>
                <a:ext uri="{FF2B5EF4-FFF2-40B4-BE49-F238E27FC236}">
                  <a16:creationId xmlns:a16="http://schemas.microsoft.com/office/drawing/2014/main" id="{E4E65CC9-58CA-4653-A7C6-F7432D5B95B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92EC5354-9636-459E-B29B-5494B6E1790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0BB5AD8E-B811-46FF-80F7-B65C00C96CF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3" name="Groep 122">
                <a:extLst>
                  <a:ext uri="{FF2B5EF4-FFF2-40B4-BE49-F238E27FC236}">
                    <a16:creationId xmlns:a16="http://schemas.microsoft.com/office/drawing/2014/main" id="{B38A7F26-4817-4C66-A0A0-149754A3F8D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6" name="Rechthoek: afgeronde hoeken 135">
                  <a:extLst>
                    <a:ext uri="{FF2B5EF4-FFF2-40B4-BE49-F238E27FC236}">
                      <a16:creationId xmlns:a16="http://schemas.microsoft.com/office/drawing/2014/main" id="{3005B21F-6409-4021-8E8B-9157C010D658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Rechthoek 136">
                  <a:extLst>
                    <a:ext uri="{FF2B5EF4-FFF2-40B4-BE49-F238E27FC236}">
                      <a16:creationId xmlns:a16="http://schemas.microsoft.com/office/drawing/2014/main" id="{86FD35EB-EC9F-4A12-A22F-D9B0B154BF6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8" name="Rechthoek 137">
                  <a:extLst>
                    <a:ext uri="{FF2B5EF4-FFF2-40B4-BE49-F238E27FC236}">
                      <a16:creationId xmlns:a16="http://schemas.microsoft.com/office/drawing/2014/main" id="{E6ECADEC-469F-4154-9273-452BD1BF563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9" name="Rechthoek 138">
                  <a:extLst>
                    <a:ext uri="{FF2B5EF4-FFF2-40B4-BE49-F238E27FC236}">
                      <a16:creationId xmlns:a16="http://schemas.microsoft.com/office/drawing/2014/main" id="{C90A59F8-397D-45F9-9C76-429E13C15F80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0868208-453C-4C67-9E78-56C862F85586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91A8B57E-8213-4887-989E-1D4DE1B7612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B0AD3E93-0A7C-40A4-A6E8-A0364A62EFF4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28" name="Groep 127">
                  <a:extLst>
                    <a:ext uri="{FF2B5EF4-FFF2-40B4-BE49-F238E27FC236}">
                      <a16:creationId xmlns:a16="http://schemas.microsoft.com/office/drawing/2014/main" id="{ADCA2C49-FDA6-4B41-BE2C-7708EE3995D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0" name="Rechthoek: afgeronde hoeken 129">
                    <a:extLst>
                      <a:ext uri="{FF2B5EF4-FFF2-40B4-BE49-F238E27FC236}">
                        <a16:creationId xmlns:a16="http://schemas.microsoft.com/office/drawing/2014/main" id="{495951BC-862A-4DAC-B2D6-F5AF5E04521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1" name="Rechthoek 130">
                    <a:extLst>
                      <a:ext uri="{FF2B5EF4-FFF2-40B4-BE49-F238E27FC236}">
                        <a16:creationId xmlns:a16="http://schemas.microsoft.com/office/drawing/2014/main" id="{33063CC8-0B68-4342-93A6-F407CD7F6DD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2" name="Rechthoek 131">
                    <a:extLst>
                      <a:ext uri="{FF2B5EF4-FFF2-40B4-BE49-F238E27FC236}">
                        <a16:creationId xmlns:a16="http://schemas.microsoft.com/office/drawing/2014/main" id="{413F39D5-CBB6-41D2-80B5-227FDCA896B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3" name="Rechthoek 132">
                    <a:extLst>
                      <a:ext uri="{FF2B5EF4-FFF2-40B4-BE49-F238E27FC236}">
                        <a16:creationId xmlns:a16="http://schemas.microsoft.com/office/drawing/2014/main" id="{52C06138-D291-4537-839F-E889A542FED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5C7B60AB-964D-4E92-A693-EA6E2D400F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F8001413-F0CF-4478-9381-C80198A177B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29" name="Boog 128">
                  <a:extLst>
                    <a:ext uri="{FF2B5EF4-FFF2-40B4-BE49-F238E27FC236}">
                      <a16:creationId xmlns:a16="http://schemas.microsoft.com/office/drawing/2014/main" id="{09686D01-B21A-4CB1-A78F-2735510F753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5" name="Tekstvak 124">
                <a:extLst>
                  <a:ext uri="{FF2B5EF4-FFF2-40B4-BE49-F238E27FC236}">
                    <a16:creationId xmlns:a16="http://schemas.microsoft.com/office/drawing/2014/main" id="{F4719A93-C6D3-465E-94B5-6FEF96AF7FAA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6" name="Tekstvak 125">
                <a:extLst>
                  <a:ext uri="{FF2B5EF4-FFF2-40B4-BE49-F238E27FC236}">
                    <a16:creationId xmlns:a16="http://schemas.microsoft.com/office/drawing/2014/main" id="{01AB81AC-EE0F-4075-B94C-AE4151253E4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27" name="Picture 3">
                <a:extLst>
                  <a:ext uri="{FF2B5EF4-FFF2-40B4-BE49-F238E27FC236}">
                    <a16:creationId xmlns:a16="http://schemas.microsoft.com/office/drawing/2014/main" id="{93585FC1-63F9-4CDF-BACE-1F86B4B0B93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17" name="Meer informatie">
              <a:extLst>
                <a:ext uri="{FF2B5EF4-FFF2-40B4-BE49-F238E27FC236}">
                  <a16:creationId xmlns:a16="http://schemas.microsoft.com/office/drawing/2014/main" id="{939E70E3-F062-4D17-97CE-48B4AB252B89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FEE73CF0-8620-4616-AB61-B04780C99E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ECDDA453-0761-4B0C-96B4-0FEB1A676D7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221FF874-811D-4196-8E59-4C2EAA8C4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58497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E962A-4464-4B2D-845B-3611510397D8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8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0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6" name="Tijdelijke aanduiding voor afbeelding 25"/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366140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ijdelijke aanduiding voor verticale tekst 2"/>
          <p:cNvSpPr>
            <a:spLocks noGrp="1"/>
          </p:cNvSpPr>
          <p:nvPr userDrawn="1">
            <p:ph type="body" orient="vert" idx="1" hasCustomPrompt="1"/>
          </p:nvPr>
        </p:nvSpPr>
        <p:spPr>
          <a:xfrm>
            <a:off x="36613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3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5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25" hasCustomPrompt="1"/>
          </p:nvPr>
        </p:nvSpPr>
        <p:spPr>
          <a:xfrm>
            <a:off x="327911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27924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5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0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29" hasCustomPrompt="1"/>
          </p:nvPr>
        </p:nvSpPr>
        <p:spPr>
          <a:xfrm>
            <a:off x="619195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619235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5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5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33" hasCustomPrompt="1"/>
          </p:nvPr>
        </p:nvSpPr>
        <p:spPr>
          <a:xfrm>
            <a:off x="910506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910546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D9128478-8C0D-4681-B5B9-EBEF56C19DA9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49F5619-1183-4ED5-A6D1-B3512F3091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7A37222-3472-4707-B094-4EDC4E970E85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E0ECCD0B-F29F-4131-9893-8D978BDD428F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F791C5A-2C46-4591-8482-FB360B876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1E869321-727C-46FB-8558-3584912934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2F4516D0-BFAD-475B-977C-970C6E52656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C5FE596F-F131-446E-A67D-D915FAC3DA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8D4CAF09-7A25-4757-8236-1057389EE7D1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12188EF3-1ACE-497B-9D56-9ACF5C0467C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221D81F7-AA11-48D4-91A2-A3E6EFDD963A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646BA45C-E145-4343-881C-50F803078D4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B923E6D8-2E1E-4334-869D-7E9104E391C6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3747406D-EE85-4C28-A452-D7C78E26907A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13089058-935D-4F18-B5FA-60814DDC3454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A1ECD4B1-4DC6-47B5-A60F-81822BC6E4D7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8CB59066-6A85-48EF-BBE8-9A47DF60D9E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7A79FD76-C2AD-477F-AA71-9D8FEE362D6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C290FE69-03E4-4B54-BC27-597F806251B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2B68BEF-DB8E-474B-AC3A-DDFC152213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D59A6737-199D-4894-A7FA-67FE34E597C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857BF560-F009-4803-A230-400133577AD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74C33C40-AAC1-40A5-87B3-59169BC12AE8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35F0EE3C-ED30-4557-AF99-6C6603C0A14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EA6D422-4E22-4388-8C43-E6D0B27AB7C9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436F710E-D9FA-43C4-BB34-A22941C6C2D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A4CBDCC3-2529-45BB-A607-196B1E4085D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3D7680E5-E6A4-4954-A295-8CAED7E6290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8121FB31-3D5A-4584-8B2E-CB66AF12A5BF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C70447AF-40E8-43C8-981D-1A83B575805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F41A3CB3-8303-4601-92EE-E1C231D2D4C5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6E4D7F9E-6E0B-4B26-9AF6-BB3EFEDCAC3A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DA0C2B62-2E17-463E-A626-8E0C2883B1E5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EEE200D-17F8-4C0E-BA59-9545467AC9A1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C7B48FB7-1F7A-4458-B518-00B36104FDCD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109EBBE0-0362-4633-BA7F-21622FA76839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A8943640-AEEC-41B6-85D2-7DB33FBBD92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ED6257F9-6B2B-4A27-A3B3-0E467291F4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936E2621-9381-433C-992B-FAF5EACD24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9D01458B-6373-4D52-97EA-E0C615BC33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939AC8AB-CC03-4E2A-B46B-A262F6CC501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86AB080-55B3-4A04-AD9C-720AB204EE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943A8A59-84FC-4444-81E9-859513D3659D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B133FE93-38C4-4C8C-8F59-59F8C99AE27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B8391F26-FF22-463B-A710-D104045CAC49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751A0F8F-57EC-4743-9879-66D27F274FF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0CC5BD32-B4AB-4B64-8B93-06EAC657593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63DF006-B3C4-4983-A590-95EB18EF1E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1C8B8442-8AB6-450D-92CC-97648BA06B4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24113A3B-9C9C-4D73-8B61-836646054A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56915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3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1" grpId="0" animBg="1"/>
      <p:bldP spid="4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animBg="1"/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49" grpId="0" animBg="1"/>
      <p:bldP spid="5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7B59BE-8FA0-49AE-86F6-5A8B7DCB6324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32" name="Tijdelijke aanduiding voor afbeelding 31"/>
          <p:cNvSpPr>
            <a:spLocks noGrp="1"/>
          </p:cNvSpPr>
          <p:nvPr>
            <p:ph type="pic" sz="quarter" idx="15" hasCustomPrompt="1"/>
          </p:nvPr>
        </p:nvSpPr>
        <p:spPr>
          <a:xfrm>
            <a:off x="366140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6" hasCustomPrompt="1"/>
          </p:nvPr>
        </p:nvSpPr>
        <p:spPr>
          <a:xfrm>
            <a:off x="366140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" name="Tijdelijke aanduiding voor afbeelding 36"/>
          <p:cNvSpPr>
            <a:spLocks noGrp="1"/>
          </p:cNvSpPr>
          <p:nvPr>
            <p:ph type="pic" sz="quarter" idx="33" hasCustomPrompt="1"/>
          </p:nvPr>
        </p:nvSpPr>
        <p:spPr>
          <a:xfrm>
            <a:off x="2696490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8" name="Tijdelijke aanduiding voor afbeelding 37"/>
          <p:cNvSpPr>
            <a:spLocks noGrp="1"/>
          </p:cNvSpPr>
          <p:nvPr>
            <p:ph type="pic" sz="quarter" idx="34" hasCustomPrompt="1"/>
          </p:nvPr>
        </p:nvSpPr>
        <p:spPr>
          <a:xfrm>
            <a:off x="2696490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9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269656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269656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37" hasCustomPrompt="1"/>
          </p:nvPr>
        </p:nvSpPr>
        <p:spPr>
          <a:xfrm>
            <a:off x="5026841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38" hasCustomPrompt="1"/>
          </p:nvPr>
        </p:nvSpPr>
        <p:spPr>
          <a:xfrm>
            <a:off x="5026841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502699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502699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41" hasCustomPrompt="1"/>
          </p:nvPr>
        </p:nvSpPr>
        <p:spPr>
          <a:xfrm>
            <a:off x="735719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735719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735742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44" hasCustomPrompt="1"/>
          </p:nvPr>
        </p:nvSpPr>
        <p:spPr>
          <a:xfrm>
            <a:off x="735742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45" hasCustomPrompt="1"/>
          </p:nvPr>
        </p:nvSpPr>
        <p:spPr>
          <a:xfrm>
            <a:off x="968754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afbeelding 49"/>
          <p:cNvSpPr>
            <a:spLocks noGrp="1"/>
          </p:cNvSpPr>
          <p:nvPr>
            <p:ph type="pic" sz="quarter" idx="46" hasCustomPrompt="1"/>
          </p:nvPr>
        </p:nvSpPr>
        <p:spPr>
          <a:xfrm>
            <a:off x="968754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9687860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2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9687860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1E0C6CC2-19DB-46E6-AEF8-7FD357C4564C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E0123D1E-CA29-45C9-909C-72D1C418AF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E78FCE7-F175-463D-AF54-EEAE35A9CBC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F22C8D3A-1DB2-4CF6-808E-3A5B59CB6D83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E744F881-8F86-4191-86E7-7DE4509974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F90C3423-6582-4C90-A92E-488F9117FBA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C5D0843C-0B4E-4015-9234-05B811163D1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A1D54500-4514-4998-824D-049F03848E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6C2CC2C0-719E-4072-82E7-35A56782C6F0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C9594C5E-2B64-48A5-8121-92AC4EA39FA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464EACA4-5959-47E5-96B7-303F92E38F86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81877875-32CC-4E99-991A-0CA769630E7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28300FFA-FA98-4D5A-8977-26BADD105C19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EBA77F2A-1AF8-4939-ACD9-E4D18B9713E2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D8B77BB4-D2AA-4F6A-B206-BFBCD2C23FE5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70EEDAE-F5A7-41F6-9993-91D28F0A9F4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7F64BA8B-5B44-417C-A46C-48B84D41E4A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AB38CDB7-9B99-4F83-AF8C-717C8207B8C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F407228E-B000-40C6-9A57-BFA7232ACF0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66C21FE-E1E3-454F-9786-803C7EA6B31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46B388D4-1702-43AB-94E0-108087A9F61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F39DB916-DA01-440D-A48F-09E0C27FD917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81B109FE-9358-4AD3-8EBB-A25E18406404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7FD4005A-DB6D-42AC-B265-2DBA8CD940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7E46035-D16E-4B0E-9E2E-142B5973E377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B6D2D40A-87B8-462A-B9D3-49720EDA42A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561BF64D-F188-492E-B4EC-2578D4484120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86A829C4-CD2E-469C-A84B-25D97DDEF69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A15F658F-322A-4083-B9BE-EA17A45E044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3C759B2-3B6C-441B-B00D-E723B65CA67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EA5EEF62-02E8-4929-946D-BF49F9BDCECC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87624029-FBF2-47A2-A749-7AE88F3DEC89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72951251-0717-4CCC-A655-125D0E2B8B3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DD0328FA-BE13-4E58-859F-EE7190419DD0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E539A306-B6D3-4476-8058-BA718F09FF31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2AE25E84-F249-4A8F-962E-D975FA817EFA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E7BFC05-1DDB-4AC5-9E15-3FA64A4B25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C8D2042C-8CB2-4C1C-A187-8267231430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1740C2E7-8329-4051-A535-F5BB0A9B488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599C96F6-E316-48EA-8380-07450BD89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16004FEF-9B06-44B9-B46D-2AD360DD11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6196B6E-D6C9-40C8-94DE-A13899365F1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D36886EC-DA84-48DF-AC07-6E1041BC6146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0B5BF3EF-56BE-4AB9-988E-7ADB2A1667E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0C8060E8-1B60-42CE-9B7C-B38C0E1984DB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64D0B05B-0308-4D30-A750-D85378FF929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642A6EA6-024D-4406-A2B2-956A41AB2BE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41163F3-DDE7-4A3F-B6F9-C686C32AC4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469615A6-F34D-4428-B408-2E485E2CAE6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1E58E517-1682-403D-9CF1-CC229544DD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058652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animBg="1"/>
      <p:bldP spid="38" grpId="0" animBg="1"/>
      <p:bldP spid="3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/>
      <p:bldP spid="46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ele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FFE13-101D-446B-8D1D-6FE45D8C38A8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99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6648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366975" y="2788898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36697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1"/>
          <p:cNvSpPr>
            <a:spLocks noGrp="1"/>
          </p:cNvSpPr>
          <p:nvPr>
            <p:ph type="pic" sz="quarter" idx="18" hasCustomPrompt="1"/>
          </p:nvPr>
        </p:nvSpPr>
        <p:spPr>
          <a:xfrm>
            <a:off x="36697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53297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5" name="Tijdelijke aanduiding voor afbeelding 31"/>
          <p:cNvSpPr>
            <a:spLocks noGrp="1"/>
          </p:cNvSpPr>
          <p:nvPr>
            <p:ph type="pic" sz="quarter" idx="20" hasCustomPrompt="1"/>
          </p:nvPr>
        </p:nvSpPr>
        <p:spPr>
          <a:xfrm>
            <a:off x="153297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69897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1"/>
          <p:cNvSpPr>
            <a:spLocks noGrp="1"/>
          </p:cNvSpPr>
          <p:nvPr>
            <p:ph type="pic" sz="quarter" idx="22" hasCustomPrompt="1"/>
          </p:nvPr>
        </p:nvSpPr>
        <p:spPr>
          <a:xfrm>
            <a:off x="269897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6496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9" name="Tijdelijke aanduiding voor afbeelding 31"/>
          <p:cNvSpPr>
            <a:spLocks noGrp="1"/>
          </p:cNvSpPr>
          <p:nvPr>
            <p:ph type="pic" sz="quarter" idx="24" hasCustomPrompt="1"/>
          </p:nvPr>
        </p:nvSpPr>
        <p:spPr>
          <a:xfrm>
            <a:off x="386496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0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5030967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1" name="Tijdelijke aanduiding voor afbeelding 31"/>
          <p:cNvSpPr>
            <a:spLocks noGrp="1"/>
          </p:cNvSpPr>
          <p:nvPr>
            <p:ph type="pic" sz="quarter" idx="26" hasCustomPrompt="1"/>
          </p:nvPr>
        </p:nvSpPr>
        <p:spPr>
          <a:xfrm>
            <a:off x="5030967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619696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1"/>
          <p:cNvSpPr>
            <a:spLocks noGrp="1"/>
          </p:cNvSpPr>
          <p:nvPr>
            <p:ph type="pic" sz="quarter" idx="28" hasCustomPrompt="1"/>
          </p:nvPr>
        </p:nvSpPr>
        <p:spPr>
          <a:xfrm>
            <a:off x="619696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736296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5" name="Tijdelijke aanduiding voor afbeelding 31"/>
          <p:cNvSpPr>
            <a:spLocks noGrp="1"/>
          </p:cNvSpPr>
          <p:nvPr>
            <p:ph type="pic" sz="quarter" idx="30" hasCustomPrompt="1"/>
          </p:nvPr>
        </p:nvSpPr>
        <p:spPr>
          <a:xfrm>
            <a:off x="736296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6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969495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7" name="Tijdelijke aanduiding voor afbeelding 31"/>
          <p:cNvSpPr>
            <a:spLocks noGrp="1"/>
          </p:cNvSpPr>
          <p:nvPr>
            <p:ph type="pic" sz="quarter" idx="32" hasCustomPrompt="1"/>
          </p:nvPr>
        </p:nvSpPr>
        <p:spPr>
          <a:xfrm>
            <a:off x="969495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852896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1"/>
          <p:cNvSpPr>
            <a:spLocks noGrp="1"/>
          </p:cNvSpPr>
          <p:nvPr>
            <p:ph type="pic" sz="quarter" idx="34" hasCustomPrompt="1"/>
          </p:nvPr>
        </p:nvSpPr>
        <p:spPr>
          <a:xfrm>
            <a:off x="852896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1086095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1" name="Tijdelijke aanduiding voor afbeelding 31"/>
          <p:cNvSpPr>
            <a:spLocks noGrp="1"/>
          </p:cNvSpPr>
          <p:nvPr>
            <p:ph type="pic" sz="quarter" idx="36" hasCustomPrompt="1"/>
          </p:nvPr>
        </p:nvSpPr>
        <p:spPr>
          <a:xfrm>
            <a:off x="1086095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53297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3" name="Tijdelijke aanduiding voor afbeelding 31"/>
          <p:cNvSpPr>
            <a:spLocks noGrp="1"/>
          </p:cNvSpPr>
          <p:nvPr>
            <p:ph type="pic" sz="quarter" idx="38" hasCustomPrompt="1"/>
          </p:nvPr>
        </p:nvSpPr>
        <p:spPr>
          <a:xfrm>
            <a:off x="153297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269897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5" name="Tijdelijke aanduiding voor afbeelding 31"/>
          <p:cNvSpPr>
            <a:spLocks noGrp="1"/>
          </p:cNvSpPr>
          <p:nvPr>
            <p:ph type="pic" sz="quarter" idx="40" hasCustomPrompt="1"/>
          </p:nvPr>
        </p:nvSpPr>
        <p:spPr>
          <a:xfrm>
            <a:off x="269897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41" hasCustomPrompt="1"/>
          </p:nvPr>
        </p:nvSpPr>
        <p:spPr>
          <a:xfrm>
            <a:off x="386496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7" name="Tijdelijke aanduiding voor afbeelding 31"/>
          <p:cNvSpPr>
            <a:spLocks noGrp="1"/>
          </p:cNvSpPr>
          <p:nvPr>
            <p:ph type="pic" sz="quarter" idx="42" hasCustomPrompt="1"/>
          </p:nvPr>
        </p:nvSpPr>
        <p:spPr>
          <a:xfrm>
            <a:off x="386496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8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030967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9" name="Tijdelijke aanduiding voor afbeelding 31"/>
          <p:cNvSpPr>
            <a:spLocks noGrp="1"/>
          </p:cNvSpPr>
          <p:nvPr>
            <p:ph type="pic" sz="quarter" idx="44" hasCustomPrompt="1"/>
          </p:nvPr>
        </p:nvSpPr>
        <p:spPr>
          <a:xfrm>
            <a:off x="5030967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0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6196965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1" name="Tijdelijke aanduiding voor afbeelding 31"/>
          <p:cNvSpPr>
            <a:spLocks noGrp="1"/>
          </p:cNvSpPr>
          <p:nvPr>
            <p:ph type="pic" sz="quarter" idx="46" hasCustomPrompt="1"/>
          </p:nvPr>
        </p:nvSpPr>
        <p:spPr>
          <a:xfrm>
            <a:off x="6196965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2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736296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3" name="Tijdelijke aanduiding voor afbeelding 31"/>
          <p:cNvSpPr>
            <a:spLocks noGrp="1"/>
          </p:cNvSpPr>
          <p:nvPr>
            <p:ph type="pic" sz="quarter" idx="48" hasCustomPrompt="1"/>
          </p:nvPr>
        </p:nvSpPr>
        <p:spPr>
          <a:xfrm>
            <a:off x="736296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4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69495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5" name="Tijdelijke aanduiding voor afbeelding 31"/>
          <p:cNvSpPr>
            <a:spLocks noGrp="1"/>
          </p:cNvSpPr>
          <p:nvPr>
            <p:ph type="pic" sz="quarter" idx="50" hasCustomPrompt="1"/>
          </p:nvPr>
        </p:nvSpPr>
        <p:spPr>
          <a:xfrm>
            <a:off x="969495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6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852896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7" name="Tijdelijke aanduiding voor afbeelding 31"/>
          <p:cNvSpPr>
            <a:spLocks noGrp="1"/>
          </p:cNvSpPr>
          <p:nvPr>
            <p:ph type="pic" sz="quarter" idx="52" hasCustomPrompt="1"/>
          </p:nvPr>
        </p:nvSpPr>
        <p:spPr>
          <a:xfrm>
            <a:off x="852896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8" name="Tijdelijke aanduiding voor verticale tekst 2"/>
          <p:cNvSpPr>
            <a:spLocks noGrp="1"/>
          </p:cNvSpPr>
          <p:nvPr>
            <p:ph type="body" orient="vert" idx="53" hasCustomPrompt="1"/>
          </p:nvPr>
        </p:nvSpPr>
        <p:spPr>
          <a:xfrm>
            <a:off x="1086095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9" name="Tijdelijke aanduiding voor afbeelding 31"/>
          <p:cNvSpPr>
            <a:spLocks noGrp="1"/>
          </p:cNvSpPr>
          <p:nvPr>
            <p:ph type="pic" sz="quarter" idx="54" hasCustomPrompt="1"/>
          </p:nvPr>
        </p:nvSpPr>
        <p:spPr>
          <a:xfrm>
            <a:off x="1086095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7" name="Tijdelijke aanduiding voor verticale tekst 2"/>
          <p:cNvSpPr>
            <a:spLocks noGrp="1"/>
          </p:cNvSpPr>
          <p:nvPr>
            <p:ph type="body" orient="vert" idx="55" hasCustomPrompt="1"/>
          </p:nvPr>
        </p:nvSpPr>
        <p:spPr>
          <a:xfrm>
            <a:off x="153297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68" name="Tijdelijke aanduiding voor afbeelding 31"/>
          <p:cNvSpPr>
            <a:spLocks noGrp="1"/>
          </p:cNvSpPr>
          <p:nvPr>
            <p:ph type="pic" sz="quarter" idx="56" hasCustomPrompt="1"/>
          </p:nvPr>
        </p:nvSpPr>
        <p:spPr>
          <a:xfrm>
            <a:off x="153297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9" name="Tijdelijke aanduiding voor verticale tekst 2"/>
          <p:cNvSpPr>
            <a:spLocks noGrp="1"/>
          </p:cNvSpPr>
          <p:nvPr>
            <p:ph type="body" orient="vert" idx="57" hasCustomPrompt="1"/>
          </p:nvPr>
        </p:nvSpPr>
        <p:spPr>
          <a:xfrm>
            <a:off x="386496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0" name="Tijdelijke aanduiding voor afbeelding 31"/>
          <p:cNvSpPr>
            <a:spLocks noGrp="1"/>
          </p:cNvSpPr>
          <p:nvPr>
            <p:ph type="pic" sz="quarter" idx="58" hasCustomPrompt="1"/>
          </p:nvPr>
        </p:nvSpPr>
        <p:spPr>
          <a:xfrm>
            <a:off x="386496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1" name="Tijdelijke aanduiding voor verticale tekst 2"/>
          <p:cNvSpPr>
            <a:spLocks noGrp="1"/>
          </p:cNvSpPr>
          <p:nvPr>
            <p:ph type="body" orient="vert" idx="59" hasCustomPrompt="1"/>
          </p:nvPr>
        </p:nvSpPr>
        <p:spPr>
          <a:xfrm>
            <a:off x="5030967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2" name="Tijdelijke aanduiding voor afbeelding 31"/>
          <p:cNvSpPr>
            <a:spLocks noGrp="1"/>
          </p:cNvSpPr>
          <p:nvPr>
            <p:ph type="pic" sz="quarter" idx="60" hasCustomPrompt="1"/>
          </p:nvPr>
        </p:nvSpPr>
        <p:spPr>
          <a:xfrm>
            <a:off x="5030967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3" name="Tijdelijke aanduiding voor verticale tekst 2"/>
          <p:cNvSpPr>
            <a:spLocks noGrp="1"/>
          </p:cNvSpPr>
          <p:nvPr>
            <p:ph type="body" orient="vert" idx="61" hasCustomPrompt="1"/>
          </p:nvPr>
        </p:nvSpPr>
        <p:spPr>
          <a:xfrm>
            <a:off x="6196965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4" name="Tijdelijke aanduiding voor afbeelding 31"/>
          <p:cNvSpPr>
            <a:spLocks noGrp="1"/>
          </p:cNvSpPr>
          <p:nvPr>
            <p:ph type="pic" sz="quarter" idx="62" hasCustomPrompt="1"/>
          </p:nvPr>
        </p:nvSpPr>
        <p:spPr>
          <a:xfrm>
            <a:off x="6196965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5" name="Tijdelijke aanduiding voor verticale tekst 2"/>
          <p:cNvSpPr>
            <a:spLocks noGrp="1"/>
          </p:cNvSpPr>
          <p:nvPr>
            <p:ph type="body" orient="vert" idx="63" hasCustomPrompt="1"/>
          </p:nvPr>
        </p:nvSpPr>
        <p:spPr>
          <a:xfrm>
            <a:off x="736296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6" name="Tijdelijke aanduiding voor afbeelding 31"/>
          <p:cNvSpPr>
            <a:spLocks noGrp="1"/>
          </p:cNvSpPr>
          <p:nvPr>
            <p:ph type="pic" sz="quarter" idx="64" hasCustomPrompt="1"/>
          </p:nvPr>
        </p:nvSpPr>
        <p:spPr>
          <a:xfrm>
            <a:off x="736296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7" name="Tijdelijke aanduiding voor verticale tekst 2"/>
          <p:cNvSpPr>
            <a:spLocks noGrp="1"/>
          </p:cNvSpPr>
          <p:nvPr>
            <p:ph type="body" orient="vert" idx="65" hasCustomPrompt="1"/>
          </p:nvPr>
        </p:nvSpPr>
        <p:spPr>
          <a:xfrm>
            <a:off x="969495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8" name="Tijdelijke aanduiding voor afbeelding 31"/>
          <p:cNvSpPr>
            <a:spLocks noGrp="1"/>
          </p:cNvSpPr>
          <p:nvPr>
            <p:ph type="pic" sz="quarter" idx="66" hasCustomPrompt="1"/>
          </p:nvPr>
        </p:nvSpPr>
        <p:spPr>
          <a:xfrm>
            <a:off x="969495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9" name="Tijdelijke aanduiding voor verticale tekst 2"/>
          <p:cNvSpPr>
            <a:spLocks noGrp="1"/>
          </p:cNvSpPr>
          <p:nvPr>
            <p:ph type="body" orient="vert" idx="67" hasCustomPrompt="1"/>
          </p:nvPr>
        </p:nvSpPr>
        <p:spPr>
          <a:xfrm>
            <a:off x="8528961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0" name="Tijdelijke aanduiding voor afbeelding 31"/>
          <p:cNvSpPr>
            <a:spLocks noGrp="1"/>
          </p:cNvSpPr>
          <p:nvPr>
            <p:ph type="pic" sz="quarter" idx="68" hasCustomPrompt="1"/>
          </p:nvPr>
        </p:nvSpPr>
        <p:spPr>
          <a:xfrm>
            <a:off x="8528961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81" name="Tijdelijke aanduiding voor verticale tekst 2"/>
          <p:cNvSpPr>
            <a:spLocks noGrp="1"/>
          </p:cNvSpPr>
          <p:nvPr>
            <p:ph type="body" orient="vert" idx="69" hasCustomPrompt="1"/>
          </p:nvPr>
        </p:nvSpPr>
        <p:spPr>
          <a:xfrm>
            <a:off x="1086095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2" name="Tijdelijke aanduiding voor afbeelding 31"/>
          <p:cNvSpPr>
            <a:spLocks noGrp="1"/>
          </p:cNvSpPr>
          <p:nvPr>
            <p:ph type="pic" sz="quarter" idx="70" hasCustomPrompt="1"/>
          </p:nvPr>
        </p:nvSpPr>
        <p:spPr>
          <a:xfrm>
            <a:off x="1086095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grpSp>
        <p:nvGrpSpPr>
          <p:cNvPr id="183" name="Groep 182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Bijsnijd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000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0542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7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9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0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1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5" grpId="0" animBg="1"/>
      <p:bldP spid="1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/>
      <p:bldP spid="12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1" grpId="0" animBg="1"/>
      <p:bldP spid="12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3" grpId="0" animBg="1"/>
      <p:bldP spid="12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/>
      <p:bldP spid="12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7" grpId="0" animBg="1"/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/>
      <p:bldP spid="13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3" grpId="0" animBg="1"/>
      <p:bldP spid="1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animBg="1"/>
      <p:bldP spid="13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7" grpId="0" animBg="1"/>
      <p:bldP spid="13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9" grpId="0" animBg="1"/>
      <p:bldP spid="1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1" grpId="0" animBg="1"/>
      <p:bldP spid="14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3" grpId="0" animBg="1"/>
      <p:bldP spid="1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animBg="1"/>
      <p:bldP spid="14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7" grpId="0" animBg="1"/>
      <p:bldP spid="1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9" grpId="0" animBg="1"/>
      <p:bldP spid="1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8" grpId="0" animBg="1"/>
      <p:bldP spid="1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0" grpId="0" animBg="1"/>
      <p:bldP spid="1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2" grpId="0" animBg="1"/>
      <p:bldP spid="1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4" grpId="0" animBg="1"/>
      <p:bldP spid="1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6" grpId="0" animBg="1"/>
      <p:bldP spid="1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8" grpId="0" animBg="1"/>
      <p:bldP spid="1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0" grpId="0" animBg="1"/>
      <p:bldP spid="1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2" grpId="0" animBg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1533D-1DBF-4988-9853-8072848E1A63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Tabel</a:t>
            </a:r>
          </a:p>
        </p:txBody>
      </p:sp>
      <p:sp>
        <p:nvSpPr>
          <p:cNvPr id="26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368300" y="1179861"/>
            <a:ext cx="11455400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2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8" name="Groep 27"/>
          <p:cNvGrpSpPr/>
          <p:nvPr userDrawn="1"/>
        </p:nvGrpSpPr>
        <p:grpSpPr>
          <a:xfrm>
            <a:off x="12391603" y="-17883"/>
            <a:ext cx="3183677" cy="3416764"/>
            <a:chOff x="12391603" y="-17883"/>
            <a:chExt cx="3183677" cy="341676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53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31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41" name="Rechthoek 40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400" b="1" i="0" u="none" strike="noStrike" kern="0" cap="all" spc="0" normalizeH="0" baseline="0" noProof="0" dirty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+mj-l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42" name="Ovaal 41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43" name="Rechte verbindingslijn 42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44" name="Rechte verbindingslijn 43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45" name="Rechthoek 44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1100" b="0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(zie onderstaand voorbeeld).</a:t>
                  </a:r>
                  <a:endPara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6" name="Ovaal 45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47" name="Rechthoek 46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accent1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kumimoji="0" lang="nl-NL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OK’</a:t>
                  </a:r>
                  <a:r>
                    <a:rPr kumimoji="0" lang="nl-NL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.</a:t>
                  </a:r>
                  <a:endPara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48" name="Groep 47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50" name="Rechthoek 49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51" name="Rechte verbindingslijn 50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52" name="Gelijkbenige driehoek 51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cxnSp>
              <p:nvCxnSpPr>
                <p:cNvPr id="49" name="Rechte verbindingslijn 48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32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33" name="Rechthoek 32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sp>
              <p:nvSpPr>
                <p:cNvPr id="34" name="Rechthoek 33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  <p:cxnSp>
              <p:nvCxnSpPr>
                <p:cNvPr id="35" name="Rechte verbindingslijn 34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Rechte verbindingslijn 35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Rechte verbindingslijn 36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Rechte verbindingslijn 37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Rechte verbindingslijn 38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hthoek 39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2718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rectiele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BDB68-A24E-4A0C-B907-BB9ACC3908CF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83" name="Groep 182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Bijsnijd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000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351" name="Tijdelijke aanduiding voor verticale tekst 2">
            <a:extLst>
              <a:ext uri="{FF2B5EF4-FFF2-40B4-BE49-F238E27FC236}">
                <a16:creationId xmlns:a16="http://schemas.microsoft.com/office/drawing/2014/main" id="{14293AD2-5837-4071-844A-CF9B4C8E7AF4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5627391" y="1273157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2" name="Tijdelijke aanduiding voor afbeelding 31">
            <a:extLst>
              <a:ext uri="{FF2B5EF4-FFF2-40B4-BE49-F238E27FC236}">
                <a16:creationId xmlns:a16="http://schemas.microsoft.com/office/drawing/2014/main" id="{31C292F8-365A-42F0-A852-406D5067D3A0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5627391" y="1275303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3" name="Tijdelijke aanduiding voor verticale tekst 2">
            <a:extLst>
              <a:ext uri="{FF2B5EF4-FFF2-40B4-BE49-F238E27FC236}">
                <a16:creationId xmlns:a16="http://schemas.microsoft.com/office/drawing/2014/main" id="{3546D6F5-C676-40A9-869B-8EFFA5AA167D}"/>
              </a:ext>
            </a:extLst>
          </p:cNvPr>
          <p:cNvSpPr>
            <a:spLocks noGrp="1"/>
          </p:cNvSpPr>
          <p:nvPr>
            <p:ph type="body" orient="vert" idx="61" hasCustomPrompt="1"/>
          </p:nvPr>
        </p:nvSpPr>
        <p:spPr>
          <a:xfrm>
            <a:off x="3300938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4" name="Tijdelijke aanduiding voor afbeelding 31">
            <a:extLst>
              <a:ext uri="{FF2B5EF4-FFF2-40B4-BE49-F238E27FC236}">
                <a16:creationId xmlns:a16="http://schemas.microsoft.com/office/drawing/2014/main" id="{19A7FBEA-B915-4628-84CB-AAE0E645B7B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300938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5" name="Tijdelijke aanduiding voor verticale tekst 2">
            <a:extLst>
              <a:ext uri="{FF2B5EF4-FFF2-40B4-BE49-F238E27FC236}">
                <a16:creationId xmlns:a16="http://schemas.microsoft.com/office/drawing/2014/main" id="{C013B144-0A0D-497E-9CB4-D7698C524BA4}"/>
              </a:ext>
            </a:extLst>
          </p:cNvPr>
          <p:cNvSpPr>
            <a:spLocks noGrp="1"/>
          </p:cNvSpPr>
          <p:nvPr>
            <p:ph type="body" orient="vert" idx="63" hasCustomPrompt="1"/>
          </p:nvPr>
        </p:nvSpPr>
        <p:spPr>
          <a:xfrm>
            <a:off x="4466112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6" name="Tijdelijke aanduiding voor afbeelding 31">
            <a:extLst>
              <a:ext uri="{FF2B5EF4-FFF2-40B4-BE49-F238E27FC236}">
                <a16:creationId xmlns:a16="http://schemas.microsoft.com/office/drawing/2014/main" id="{6507DC2E-D07A-43FD-A01D-E8C2C5DB65E1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466112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7" name="Tijdelijke aanduiding voor verticale tekst 2">
            <a:extLst>
              <a:ext uri="{FF2B5EF4-FFF2-40B4-BE49-F238E27FC236}">
                <a16:creationId xmlns:a16="http://schemas.microsoft.com/office/drawing/2014/main" id="{83EC8DC8-0A58-457F-A794-EF5F437A5D57}"/>
              </a:ext>
            </a:extLst>
          </p:cNvPr>
          <p:cNvSpPr>
            <a:spLocks noGrp="1"/>
          </p:cNvSpPr>
          <p:nvPr>
            <p:ph type="body" orient="vert" idx="65" hasCustomPrompt="1"/>
          </p:nvPr>
        </p:nvSpPr>
        <p:spPr>
          <a:xfrm>
            <a:off x="5627025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8" name="Tijdelijke aanduiding voor afbeelding 31">
            <a:extLst>
              <a:ext uri="{FF2B5EF4-FFF2-40B4-BE49-F238E27FC236}">
                <a16:creationId xmlns:a16="http://schemas.microsoft.com/office/drawing/2014/main" id="{DC89F17D-F4CD-4E8D-A88A-98CD7D88CBD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5627025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9" name="Tijdelijke aanduiding voor verticale tekst 2">
            <a:extLst>
              <a:ext uri="{FF2B5EF4-FFF2-40B4-BE49-F238E27FC236}">
                <a16:creationId xmlns:a16="http://schemas.microsoft.com/office/drawing/2014/main" id="{B09EFA52-2194-4D04-AFD3-0EE8B5EFFCCD}"/>
              </a:ext>
            </a:extLst>
          </p:cNvPr>
          <p:cNvSpPr>
            <a:spLocks noGrp="1"/>
          </p:cNvSpPr>
          <p:nvPr>
            <p:ph type="body" orient="vert" idx="67" hasCustomPrompt="1"/>
          </p:nvPr>
        </p:nvSpPr>
        <p:spPr>
          <a:xfrm>
            <a:off x="6760801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0" name="Tijdelijke aanduiding voor afbeelding 31">
            <a:extLst>
              <a:ext uri="{FF2B5EF4-FFF2-40B4-BE49-F238E27FC236}">
                <a16:creationId xmlns:a16="http://schemas.microsoft.com/office/drawing/2014/main" id="{A24E315D-EA10-4DEF-95BB-C8CE4FFB11A4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6760801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1" name="Tijdelijke aanduiding voor verticale tekst 2">
            <a:extLst>
              <a:ext uri="{FF2B5EF4-FFF2-40B4-BE49-F238E27FC236}">
                <a16:creationId xmlns:a16="http://schemas.microsoft.com/office/drawing/2014/main" id="{8C45A7BE-A6A5-46D1-836D-6BAE04F801EE}"/>
              </a:ext>
            </a:extLst>
          </p:cNvPr>
          <p:cNvSpPr>
            <a:spLocks noGrp="1"/>
          </p:cNvSpPr>
          <p:nvPr>
            <p:ph type="body" orient="vert" idx="69" hasCustomPrompt="1"/>
          </p:nvPr>
        </p:nvSpPr>
        <p:spPr>
          <a:xfrm>
            <a:off x="7919783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2" name="Tijdelijke aanduiding voor afbeelding 31">
            <a:extLst>
              <a:ext uri="{FF2B5EF4-FFF2-40B4-BE49-F238E27FC236}">
                <a16:creationId xmlns:a16="http://schemas.microsoft.com/office/drawing/2014/main" id="{70A28BCC-A31D-4DF1-B9E3-C2C142D837B7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7919783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3" name="Tijdelijke aanduiding voor verticale tekst 2">
            <a:extLst>
              <a:ext uri="{FF2B5EF4-FFF2-40B4-BE49-F238E27FC236}">
                <a16:creationId xmlns:a16="http://schemas.microsoft.com/office/drawing/2014/main" id="{A0474310-937A-48E0-8BA1-9B4140C7BB4F}"/>
              </a:ext>
            </a:extLst>
          </p:cNvPr>
          <p:cNvSpPr>
            <a:spLocks noGrp="1"/>
          </p:cNvSpPr>
          <p:nvPr>
            <p:ph type="body" orient="vert" idx="71" hasCustomPrompt="1"/>
          </p:nvPr>
        </p:nvSpPr>
        <p:spPr>
          <a:xfrm>
            <a:off x="18685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4" name="Tijdelijke aanduiding voor afbeelding 31">
            <a:extLst>
              <a:ext uri="{FF2B5EF4-FFF2-40B4-BE49-F238E27FC236}">
                <a16:creationId xmlns:a16="http://schemas.microsoft.com/office/drawing/2014/main" id="{3CBF5ECA-BEE2-473A-8E52-D03352A5EDDF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18685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5" name="Tijdelijke aanduiding voor verticale tekst 2">
            <a:extLst>
              <a:ext uri="{FF2B5EF4-FFF2-40B4-BE49-F238E27FC236}">
                <a16:creationId xmlns:a16="http://schemas.microsoft.com/office/drawing/2014/main" id="{E5DD920C-0DD7-43B5-80F2-1553606E5496}"/>
              </a:ext>
            </a:extLst>
          </p:cNvPr>
          <p:cNvSpPr>
            <a:spLocks noGrp="1"/>
          </p:cNvSpPr>
          <p:nvPr>
            <p:ph type="body" orient="vert" idx="73" hasCustomPrompt="1"/>
          </p:nvPr>
        </p:nvSpPr>
        <p:spPr>
          <a:xfrm>
            <a:off x="1196287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6" name="Tijdelijke aanduiding voor afbeelding 31">
            <a:extLst>
              <a:ext uri="{FF2B5EF4-FFF2-40B4-BE49-F238E27FC236}">
                <a16:creationId xmlns:a16="http://schemas.microsoft.com/office/drawing/2014/main" id="{41CE60B6-643B-4FA5-AFD6-F71184104FEB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1196287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7" name="Tijdelijke aanduiding voor verticale tekst 2">
            <a:extLst>
              <a:ext uri="{FF2B5EF4-FFF2-40B4-BE49-F238E27FC236}">
                <a16:creationId xmlns:a16="http://schemas.microsoft.com/office/drawing/2014/main" id="{0E055054-668D-45F3-AC9E-E98016952F7F}"/>
              </a:ext>
            </a:extLst>
          </p:cNvPr>
          <p:cNvSpPr>
            <a:spLocks noGrp="1"/>
          </p:cNvSpPr>
          <p:nvPr>
            <p:ph type="body" orient="vert" idx="75" hasCustomPrompt="1"/>
          </p:nvPr>
        </p:nvSpPr>
        <p:spPr>
          <a:xfrm>
            <a:off x="2178401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8" name="Tijdelijke aanduiding voor afbeelding 31">
            <a:extLst>
              <a:ext uri="{FF2B5EF4-FFF2-40B4-BE49-F238E27FC236}">
                <a16:creationId xmlns:a16="http://schemas.microsoft.com/office/drawing/2014/main" id="{61EF5895-2F2F-41FA-BD25-A9ACEE183E07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2178401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9" name="Tijdelijke aanduiding voor verticale tekst 2">
            <a:extLst>
              <a:ext uri="{FF2B5EF4-FFF2-40B4-BE49-F238E27FC236}">
                <a16:creationId xmlns:a16="http://schemas.microsoft.com/office/drawing/2014/main" id="{1C5CEB20-7748-4A99-9912-BBFD8F504873}"/>
              </a:ext>
            </a:extLst>
          </p:cNvPr>
          <p:cNvSpPr>
            <a:spLocks noGrp="1"/>
          </p:cNvSpPr>
          <p:nvPr>
            <p:ph type="body" orient="vert" idx="77" hasCustomPrompt="1"/>
          </p:nvPr>
        </p:nvSpPr>
        <p:spPr>
          <a:xfrm>
            <a:off x="316992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0" name="Tijdelijke aanduiding voor afbeelding 31">
            <a:extLst>
              <a:ext uri="{FF2B5EF4-FFF2-40B4-BE49-F238E27FC236}">
                <a16:creationId xmlns:a16="http://schemas.microsoft.com/office/drawing/2014/main" id="{8F724066-6267-4012-A0AE-9AFF34BFAEF3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16992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1" name="Tijdelijke aanduiding voor verticale tekst 2">
            <a:extLst>
              <a:ext uri="{FF2B5EF4-FFF2-40B4-BE49-F238E27FC236}">
                <a16:creationId xmlns:a16="http://schemas.microsoft.com/office/drawing/2014/main" id="{5549D103-FD4C-40BD-9381-7A2A04ACE976}"/>
              </a:ext>
            </a:extLst>
          </p:cNvPr>
          <p:cNvSpPr>
            <a:spLocks noGrp="1"/>
          </p:cNvSpPr>
          <p:nvPr>
            <p:ph type="body" orient="vert" idx="79" hasCustomPrompt="1"/>
          </p:nvPr>
        </p:nvSpPr>
        <p:spPr>
          <a:xfrm>
            <a:off x="417561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2" name="Tijdelijke aanduiding voor afbeelding 31">
            <a:extLst>
              <a:ext uri="{FF2B5EF4-FFF2-40B4-BE49-F238E27FC236}">
                <a16:creationId xmlns:a16="http://schemas.microsoft.com/office/drawing/2014/main" id="{77371A9C-44E1-4AF9-AEF3-D57D35EC1BDB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417561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3" name="Tijdelijke aanduiding voor verticale tekst 2">
            <a:extLst>
              <a:ext uri="{FF2B5EF4-FFF2-40B4-BE49-F238E27FC236}">
                <a16:creationId xmlns:a16="http://schemas.microsoft.com/office/drawing/2014/main" id="{714A5014-6E42-4ED5-8E6B-6B8B1A3EDEC8}"/>
              </a:ext>
            </a:extLst>
          </p:cNvPr>
          <p:cNvSpPr>
            <a:spLocks noGrp="1"/>
          </p:cNvSpPr>
          <p:nvPr>
            <p:ph type="body" orient="vert" idx="81" hasCustomPrompt="1"/>
          </p:nvPr>
        </p:nvSpPr>
        <p:spPr>
          <a:xfrm>
            <a:off x="517047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4" name="Tijdelijke aanduiding voor afbeelding 31">
            <a:extLst>
              <a:ext uri="{FF2B5EF4-FFF2-40B4-BE49-F238E27FC236}">
                <a16:creationId xmlns:a16="http://schemas.microsoft.com/office/drawing/2014/main" id="{5B04C9C5-8DDC-42DA-A688-232C243D2E1F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17047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5" name="Tijdelijke aanduiding voor verticale tekst 2">
            <a:extLst>
              <a:ext uri="{FF2B5EF4-FFF2-40B4-BE49-F238E27FC236}">
                <a16:creationId xmlns:a16="http://schemas.microsoft.com/office/drawing/2014/main" id="{B8514DCC-110B-47C6-B106-1D96A43C6875}"/>
              </a:ext>
            </a:extLst>
          </p:cNvPr>
          <p:cNvSpPr>
            <a:spLocks noGrp="1"/>
          </p:cNvSpPr>
          <p:nvPr>
            <p:ph type="body" orient="vert" idx="83" hasCustomPrompt="1"/>
          </p:nvPr>
        </p:nvSpPr>
        <p:spPr>
          <a:xfrm>
            <a:off x="618874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6" name="Tijdelijke aanduiding voor afbeelding 31">
            <a:extLst>
              <a:ext uri="{FF2B5EF4-FFF2-40B4-BE49-F238E27FC236}">
                <a16:creationId xmlns:a16="http://schemas.microsoft.com/office/drawing/2014/main" id="{0464B692-CE9D-4CCC-BD48-184F82D2E128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618874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7" name="Tijdelijke aanduiding voor verticale tekst 2">
            <a:extLst>
              <a:ext uri="{FF2B5EF4-FFF2-40B4-BE49-F238E27FC236}">
                <a16:creationId xmlns:a16="http://schemas.microsoft.com/office/drawing/2014/main" id="{0EFDBC1E-2C3E-49F2-BAB9-80B028E7925A}"/>
              </a:ext>
            </a:extLst>
          </p:cNvPr>
          <p:cNvSpPr>
            <a:spLocks noGrp="1"/>
          </p:cNvSpPr>
          <p:nvPr>
            <p:ph type="body" orient="vert" idx="85" hasCustomPrompt="1"/>
          </p:nvPr>
        </p:nvSpPr>
        <p:spPr>
          <a:xfrm>
            <a:off x="7172109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8" name="Tijdelijke aanduiding voor afbeelding 31">
            <a:extLst>
              <a:ext uri="{FF2B5EF4-FFF2-40B4-BE49-F238E27FC236}">
                <a16:creationId xmlns:a16="http://schemas.microsoft.com/office/drawing/2014/main" id="{9C5F1BD7-86D5-4851-9BE4-35B8C2CA6372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7172109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9" name="Tijdelijke aanduiding voor verticale tekst 2">
            <a:extLst>
              <a:ext uri="{FF2B5EF4-FFF2-40B4-BE49-F238E27FC236}">
                <a16:creationId xmlns:a16="http://schemas.microsoft.com/office/drawing/2014/main" id="{4730FF30-C1DE-481D-B4CC-37F59AE69C53}"/>
              </a:ext>
            </a:extLst>
          </p:cNvPr>
          <p:cNvSpPr>
            <a:spLocks noGrp="1"/>
          </p:cNvSpPr>
          <p:nvPr>
            <p:ph type="body" orient="vert" idx="87" hasCustomPrompt="1"/>
          </p:nvPr>
        </p:nvSpPr>
        <p:spPr>
          <a:xfrm>
            <a:off x="8180801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0" name="Tijdelijke aanduiding voor afbeelding 31">
            <a:extLst>
              <a:ext uri="{FF2B5EF4-FFF2-40B4-BE49-F238E27FC236}">
                <a16:creationId xmlns:a16="http://schemas.microsoft.com/office/drawing/2014/main" id="{3A9287F3-0467-4BC6-AAAF-456CD7B58A04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8180801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1" name="Tijdelijke aanduiding voor verticale tekst 2">
            <a:extLst>
              <a:ext uri="{FF2B5EF4-FFF2-40B4-BE49-F238E27FC236}">
                <a16:creationId xmlns:a16="http://schemas.microsoft.com/office/drawing/2014/main" id="{416A12B1-AEC0-4EFE-B2A0-2EF8B86739E9}"/>
              </a:ext>
            </a:extLst>
          </p:cNvPr>
          <p:cNvSpPr>
            <a:spLocks noGrp="1"/>
          </p:cNvSpPr>
          <p:nvPr>
            <p:ph type="body" orient="vert" idx="89" hasCustomPrompt="1"/>
          </p:nvPr>
        </p:nvSpPr>
        <p:spPr>
          <a:xfrm>
            <a:off x="9185605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2" name="Tijdelijke aanduiding voor afbeelding 31">
            <a:extLst>
              <a:ext uri="{FF2B5EF4-FFF2-40B4-BE49-F238E27FC236}">
                <a16:creationId xmlns:a16="http://schemas.microsoft.com/office/drawing/2014/main" id="{A02ABF61-1E62-4C1D-98E4-D71576C67151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9185605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3" name="Tijdelijke aanduiding voor verticale tekst 2">
            <a:extLst>
              <a:ext uri="{FF2B5EF4-FFF2-40B4-BE49-F238E27FC236}">
                <a16:creationId xmlns:a16="http://schemas.microsoft.com/office/drawing/2014/main" id="{780E81C4-4C3D-4918-9B7E-5C13BDA880F3}"/>
              </a:ext>
            </a:extLst>
          </p:cNvPr>
          <p:cNvSpPr>
            <a:spLocks noGrp="1"/>
          </p:cNvSpPr>
          <p:nvPr>
            <p:ph type="body" orient="vert" idx="91" hasCustomPrompt="1"/>
          </p:nvPr>
        </p:nvSpPr>
        <p:spPr>
          <a:xfrm>
            <a:off x="1017220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4" name="Tijdelijke aanduiding voor afbeelding 31">
            <a:extLst>
              <a:ext uri="{FF2B5EF4-FFF2-40B4-BE49-F238E27FC236}">
                <a16:creationId xmlns:a16="http://schemas.microsoft.com/office/drawing/2014/main" id="{A11EEA0B-06CF-46E4-B49E-619F39CD8FCE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1017220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5" name="Tijdelijke aanduiding voor verticale tekst 2">
            <a:extLst>
              <a:ext uri="{FF2B5EF4-FFF2-40B4-BE49-F238E27FC236}">
                <a16:creationId xmlns:a16="http://schemas.microsoft.com/office/drawing/2014/main" id="{D3F3124F-387F-41B9-9AD4-17B8B8938093}"/>
              </a:ext>
            </a:extLst>
          </p:cNvPr>
          <p:cNvSpPr>
            <a:spLocks noGrp="1"/>
          </p:cNvSpPr>
          <p:nvPr>
            <p:ph type="body" orient="vert" idx="93" hasCustomPrompt="1"/>
          </p:nvPr>
        </p:nvSpPr>
        <p:spPr>
          <a:xfrm>
            <a:off x="1118003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6" name="Tijdelijke aanduiding voor afbeelding 31">
            <a:extLst>
              <a:ext uri="{FF2B5EF4-FFF2-40B4-BE49-F238E27FC236}">
                <a16:creationId xmlns:a16="http://schemas.microsoft.com/office/drawing/2014/main" id="{1666C2E9-EB03-4BE0-A719-C01BCB15744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1118003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2312729-E02A-43BC-A267-1B37FDF68AD8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00938" y="2455939"/>
            <a:ext cx="1211263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8" name="Tijdelijke aanduiding voor tekst 7">
            <a:extLst>
              <a:ext uri="{FF2B5EF4-FFF2-40B4-BE49-F238E27FC236}">
                <a16:creationId xmlns:a16="http://schemas.microsoft.com/office/drawing/2014/main" id="{0F1BE2BF-85C1-4D56-96AA-702D436423AB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97539" y="4101385"/>
            <a:ext cx="1472006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9" name="Tijdelijke aanduiding voor tekst 7">
            <a:extLst>
              <a:ext uri="{FF2B5EF4-FFF2-40B4-BE49-F238E27FC236}">
                <a16:creationId xmlns:a16="http://schemas.microsoft.com/office/drawing/2014/main" id="{4E575E57-AA1F-447B-B420-AA5E8340FD08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627025" y="971917"/>
            <a:ext cx="1491010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8263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2" grpId="0" animBg="1"/>
      <p:bldP spid="3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4" grpId="0" animBg="1"/>
      <p:bldP spid="3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6" grpId="0" animBg="1"/>
      <p:bldP spid="3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8" grpId="0" animBg="1"/>
      <p:bldP spid="3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0" grpId="0" animBg="1"/>
      <p:bldP spid="3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2" grpId="0" animBg="1"/>
      <p:bldP spid="3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4" grpId="0" animBg="1"/>
      <p:bldP spid="3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6" grpId="0" animBg="1"/>
      <p:bldP spid="3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8" grpId="0" animBg="1"/>
      <p:bldP spid="3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0" grpId="0" animBg="1"/>
      <p:bldP spid="3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2" grpId="0" animBg="1"/>
      <p:bldP spid="3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4" grpId="0" animBg="1"/>
      <p:bldP spid="3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6" grpId="0" animBg="1"/>
      <p:bldP spid="3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8" grpId="0" animBg="1"/>
      <p:bldP spid="3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0" grpId="0" animBg="1"/>
      <p:bldP spid="3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2" grpId="0" animBg="1"/>
      <p:bldP spid="38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4" grpId="0" animBg="1"/>
      <p:bldP spid="38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6" grpId="0" animBg="1"/>
    </p:bld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Feedback communicer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16" name="Rechthoek 15"/>
          <p:cNvSpPr/>
          <p:nvPr userDrawn="1"/>
        </p:nvSpPr>
        <p:spPr>
          <a:xfrm>
            <a:off x="701536" y="1700810"/>
            <a:ext cx="10800649" cy="435649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te klant,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j PPT Solutions communiceren we feedback met opmerkingen in PowerPoint.</a:t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nneer u feedback heeft wat betrekking heeft op een dia in de presentatie, ga dan naar de desbetreffende dia en volg de volgende stappen: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ze stappen kunt u uitvoeren door de gehele presentatie en eventueel ook antwoord geven op onze communicatie via opmerkingen.</a:t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 volgende stappen kunt u uitvoeren om antwoord te geven op evt. opmerkingen of om naar de vorige/volgende opmerking in de presentatie te gaan:</a:t>
            </a: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Feedback communiceren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2267220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4838993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" name="Rechthoek 36"/>
            <p:cNvSpPr/>
            <p:nvPr userDrawn="1"/>
          </p:nvSpPr>
          <p:spPr>
            <a:xfrm>
              <a:off x="0" y="277158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" name="Rechthoek 37"/>
            <p:cNvSpPr/>
            <p:nvPr userDrawn="1"/>
          </p:nvSpPr>
          <p:spPr>
            <a:xfrm>
              <a:off x="0" y="320061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9" name="Rechthoek 38"/>
            <p:cNvSpPr/>
            <p:nvPr userDrawn="1"/>
          </p:nvSpPr>
          <p:spPr>
            <a:xfrm>
              <a:off x="0" y="3666199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48" name="Rechthoek 47"/>
            <p:cNvSpPr/>
            <p:nvPr userDrawn="1"/>
          </p:nvSpPr>
          <p:spPr>
            <a:xfrm>
              <a:off x="0" y="538020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dirty="0">
                <a:solidFill>
                  <a:srgbClr val="0096A5"/>
                </a:solidFill>
                <a:latin typeface="Oswald" panose="02000503000000000000" pitchFamily="2" charset="0"/>
              </a:rPr>
              <a:t>Feedback communicatie</a:t>
            </a:r>
            <a:endParaRPr lang="en-US" sz="18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  <p:grpSp>
        <p:nvGrpSpPr>
          <p:cNvPr id="67" name="Groep 66"/>
          <p:cNvGrpSpPr/>
          <p:nvPr userDrawn="1"/>
        </p:nvGrpSpPr>
        <p:grpSpPr>
          <a:xfrm>
            <a:off x="696791" y="2472280"/>
            <a:ext cx="9936052" cy="1694973"/>
            <a:chOff x="695521" y="2472279"/>
            <a:chExt cx="9917939" cy="1694973"/>
          </a:xfrm>
        </p:grpSpPr>
        <p:grpSp>
          <p:nvGrpSpPr>
            <p:cNvPr id="18" name="Groep 17"/>
            <p:cNvGrpSpPr/>
            <p:nvPr/>
          </p:nvGrpSpPr>
          <p:grpSpPr>
            <a:xfrm>
              <a:off x="695521" y="2477768"/>
              <a:ext cx="9917939" cy="1643724"/>
              <a:chOff x="607174" y="2060848"/>
              <a:chExt cx="9917939" cy="1643724"/>
            </a:xfrm>
          </p:grpSpPr>
          <p:sp>
            <p:nvSpPr>
              <p:cNvPr id="23" name="Tekstvak 22"/>
              <p:cNvSpPr txBox="1"/>
              <p:nvPr/>
            </p:nvSpPr>
            <p:spPr>
              <a:xfrm>
                <a:off x="1020057" y="2060849"/>
                <a:ext cx="4824536" cy="2654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a naar de tab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Invoegen’.</a:t>
                </a:r>
              </a:p>
            </p:txBody>
          </p:sp>
          <p:sp>
            <p:nvSpPr>
              <p:cNvPr id="24" name="Ovaal 23"/>
              <p:cNvSpPr/>
              <p:nvPr/>
            </p:nvSpPr>
            <p:spPr>
              <a:xfrm>
                <a:off x="607174" y="2060848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1</a:t>
                </a:r>
              </a:p>
            </p:txBody>
          </p:sp>
          <p:sp>
            <p:nvSpPr>
              <p:cNvPr id="25" name="Tekstvak 24"/>
              <p:cNvSpPr txBox="1"/>
              <p:nvPr/>
            </p:nvSpPr>
            <p:spPr>
              <a:xfrm>
                <a:off x="1020057" y="2483279"/>
                <a:ext cx="482453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Klik op de knop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Opmerking’.</a:t>
                </a:r>
              </a:p>
            </p:txBody>
          </p:sp>
          <p:sp>
            <p:nvSpPr>
              <p:cNvPr id="26" name="Ovaal 25"/>
              <p:cNvSpPr/>
              <p:nvPr/>
            </p:nvSpPr>
            <p:spPr>
              <a:xfrm>
                <a:off x="607174" y="2488475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</a:t>
                </a:r>
              </a:p>
            </p:txBody>
          </p:sp>
          <p:sp>
            <p:nvSpPr>
              <p:cNvPr id="27" name="Tekstvak 26"/>
              <p:cNvSpPr txBox="1"/>
              <p:nvPr/>
            </p:nvSpPr>
            <p:spPr>
              <a:xfrm>
                <a:off x="1020057" y="2931615"/>
                <a:ext cx="95050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r verschijnt nu een klein spreekwolkje op de slide en het venster voor opmerkingen opent zich aan de zijkant.</a:t>
                </a:r>
              </a:p>
              <a:p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yp uw feedback in het tekst vak in het venster voor opmerkingen.</a:t>
                </a:r>
              </a:p>
            </p:txBody>
          </p:sp>
          <p:sp>
            <p:nvSpPr>
              <p:cNvPr id="28" name="Ovaal 27"/>
              <p:cNvSpPr/>
              <p:nvPr/>
            </p:nvSpPr>
            <p:spPr>
              <a:xfrm>
                <a:off x="607174" y="291608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3</a:t>
                </a:r>
              </a:p>
            </p:txBody>
          </p:sp>
          <p:sp>
            <p:nvSpPr>
              <p:cNvPr id="29" name="Tekstvak 28"/>
              <p:cNvSpPr txBox="1"/>
              <p:nvPr/>
            </p:nvSpPr>
            <p:spPr>
              <a:xfrm>
                <a:off x="1020057" y="3416540"/>
                <a:ext cx="72936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u dit gedaan heeft, kunt u het spreekwolkje op de juiste plaats op de dia slepen. 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Zo is het voor ons duidelijk op welk deel van de content, op de dia, uw feedback betrekking heeft.</a:t>
                </a:r>
              </a:p>
            </p:txBody>
          </p:sp>
          <p:sp>
            <p:nvSpPr>
              <p:cNvPr id="30" name="Ovaal 29"/>
              <p:cNvSpPr/>
              <p:nvPr/>
            </p:nvSpPr>
            <p:spPr>
              <a:xfrm>
                <a:off x="607174" y="341654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4</a:t>
                </a:r>
              </a:p>
            </p:txBody>
          </p:sp>
        </p:grpSp>
        <p:pic>
          <p:nvPicPr>
            <p:cNvPr id="51" name="Afbeelding 5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2913" y="2472279"/>
              <a:ext cx="1822207" cy="26537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2" name="Afbeelding 51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92913" y="2840765"/>
              <a:ext cx="432050" cy="376815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6" name="Afbeelding 55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2793592"/>
              <a:ext cx="2144324" cy="880792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8" name="Afbeelding 57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3767202"/>
              <a:ext cx="419100" cy="40005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grpSp>
        <p:nvGrpSpPr>
          <p:cNvPr id="66" name="Groep 65"/>
          <p:cNvGrpSpPr/>
          <p:nvPr userDrawn="1"/>
        </p:nvGrpSpPr>
        <p:grpSpPr>
          <a:xfrm>
            <a:off x="691994" y="4957010"/>
            <a:ext cx="10940890" cy="992294"/>
            <a:chOff x="690732" y="4957010"/>
            <a:chExt cx="10920946" cy="992294"/>
          </a:xfrm>
        </p:grpSpPr>
        <p:grpSp>
          <p:nvGrpSpPr>
            <p:cNvPr id="41" name="Groep 40"/>
            <p:cNvGrpSpPr/>
            <p:nvPr/>
          </p:nvGrpSpPr>
          <p:grpSpPr>
            <a:xfrm>
              <a:off x="690732" y="5052264"/>
              <a:ext cx="10920946" cy="807860"/>
              <a:chOff x="612279" y="4917797"/>
              <a:chExt cx="10920946" cy="807860"/>
            </a:xfrm>
          </p:grpSpPr>
          <p:sp>
            <p:nvSpPr>
              <p:cNvPr id="44" name="Tekstvak 43"/>
              <p:cNvSpPr txBox="1"/>
              <p:nvPr/>
            </p:nvSpPr>
            <p:spPr>
              <a:xfrm>
                <a:off x="1020057" y="4933332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en u een opmerking van PPT Solutions ziet staan, Kunt u antwoorden door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nder de opmerking, waar een tekst vak staat met de beschrijving ‘Beantwoorden’, uw antwoord te typen.</a:t>
                </a:r>
              </a:p>
            </p:txBody>
          </p:sp>
          <p:sp>
            <p:nvSpPr>
              <p:cNvPr id="45" name="Ovaal 44"/>
              <p:cNvSpPr/>
              <p:nvPr/>
            </p:nvSpPr>
            <p:spPr>
              <a:xfrm>
                <a:off x="612279" y="4917797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</a:t>
                </a:r>
              </a:p>
            </p:txBody>
          </p:sp>
          <p:sp>
            <p:nvSpPr>
              <p:cNvPr id="46" name="Tekstvak 45"/>
              <p:cNvSpPr txBox="1"/>
              <p:nvPr/>
            </p:nvSpPr>
            <p:spPr>
              <a:xfrm>
                <a:off x="1020057" y="5437625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zijn in de rechter bovenhoek twee knopjes zichtbaar.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et het linker knopje gaat u naar de vorige opmerking in de presentatie en met het rechter knopje gaat u naar de volgende.</a:t>
                </a:r>
              </a:p>
            </p:txBody>
          </p:sp>
          <p:sp>
            <p:nvSpPr>
              <p:cNvPr id="47" name="Ovaal 46"/>
              <p:cNvSpPr/>
              <p:nvPr/>
            </p:nvSpPr>
            <p:spPr>
              <a:xfrm>
                <a:off x="612279" y="542209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B</a:t>
                </a:r>
              </a:p>
            </p:txBody>
          </p:sp>
        </p:grpSp>
        <p:pic>
          <p:nvPicPr>
            <p:cNvPr id="63" name="Afbeelding 62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21581" y="4957010"/>
              <a:ext cx="1677516" cy="529469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65" name="Afbeelding 64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21580" y="5568546"/>
              <a:ext cx="673648" cy="380758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sp>
        <p:nvSpPr>
          <p:cNvPr id="43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dirty="0"/>
          </a:p>
        </p:txBody>
      </p:sp>
      <p:cxnSp>
        <p:nvCxnSpPr>
          <p:cNvPr id="42" name="Rechte verbindingslijn 41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703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Video instructi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hthoek 10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Video instructies - YouTube links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es – YouTube links</a:t>
            </a:r>
          </a:p>
        </p:txBody>
      </p:sp>
      <p:cxnSp>
        <p:nvCxnSpPr>
          <p:cNvPr id="49" name="Rechte verbindingslijn 48"/>
          <p:cNvCxnSpPr/>
          <p:nvPr userDrawn="1"/>
        </p:nvCxnSpPr>
        <p:spPr>
          <a:xfrm>
            <a:off x="3394123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echte verbindingslijn 49"/>
          <p:cNvCxnSpPr/>
          <p:nvPr userDrawn="1"/>
        </p:nvCxnSpPr>
        <p:spPr>
          <a:xfrm>
            <a:off x="6094285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chte verbindingslijn 58"/>
          <p:cNvCxnSpPr>
            <a:cxnSpLocks/>
          </p:cNvCxnSpPr>
          <p:nvPr userDrawn="1"/>
        </p:nvCxnSpPr>
        <p:spPr>
          <a:xfrm flipH="1">
            <a:off x="672268" y="3879057"/>
            <a:ext cx="8122180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H2">
            <a:hlinkClick r:id="" action="ppaction://noaction"/>
          </p:cNvPr>
          <p:cNvSpPr txBox="1"/>
          <p:nvPr userDrawn="1"/>
        </p:nvSpPr>
        <p:spPr>
          <a:xfrm>
            <a:off x="1031406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Werken met Tekst Niveau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nl-NL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hM16rifWsjU</a:t>
            </a:r>
            <a:r>
              <a:rPr lang="nl-NL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2" name="H2">
            <a:hlinkClick r:id="" action="ppaction://noaction"/>
          </p:cNvPr>
          <p:cNvSpPr txBox="1"/>
          <p:nvPr userDrawn="1"/>
        </p:nvSpPr>
        <p:spPr>
          <a:xfrm>
            <a:off x="3781120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Afbeeldingen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09yTK-OTEPA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3" name="H2">
            <a:hlinkClick r:id="" action="ppaction://noaction"/>
          </p:cNvPr>
          <p:cNvSpPr txBox="1"/>
          <p:nvPr userDrawn="1"/>
        </p:nvSpPr>
        <p:spPr>
          <a:xfrm>
            <a:off x="6481282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Grafieken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fbByse1_RSY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79" name="Grafiek icoon"/>
          <p:cNvGrpSpPr/>
          <p:nvPr userDrawn="1"/>
        </p:nvGrpSpPr>
        <p:grpSpPr>
          <a:xfrm>
            <a:off x="7264959" y="2184002"/>
            <a:ext cx="358817" cy="389873"/>
            <a:chOff x="12468049" y="1754144"/>
            <a:chExt cx="339072" cy="369091"/>
          </a:xfrm>
        </p:grpSpPr>
        <p:sp>
          <p:nvSpPr>
            <p:cNvPr id="80" name="Rechthoek 79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81" name="Rechthoek 80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82" name="Rechthoek 8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</p:grpSp>
      <p:sp>
        <p:nvSpPr>
          <p:cNvPr id="83" name="H2">
            <a:hlinkClick r:id="" action="ppaction://noaction"/>
          </p:cNvPr>
          <p:cNvSpPr txBox="1"/>
          <p:nvPr userDrawn="1"/>
        </p:nvSpPr>
        <p:spPr>
          <a:xfrm>
            <a:off x="1066304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Tabellen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IIjbiKAotek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4" name="H2">
            <a:hlinkClick r:id="" action="ppaction://noaction"/>
          </p:cNvPr>
          <p:cNvSpPr txBox="1"/>
          <p:nvPr userDrawn="1"/>
        </p:nvSpPr>
        <p:spPr>
          <a:xfrm>
            <a:off x="3816019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Video’s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H_4HH09zxC0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5" name="H2">
            <a:hlinkClick r:id="" action="ppaction://noaction"/>
          </p:cNvPr>
          <p:cNvSpPr txBox="1"/>
          <p:nvPr userDrawn="1"/>
        </p:nvSpPr>
        <p:spPr>
          <a:xfrm>
            <a:off x="6516180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chemeClr val="accent2"/>
                </a:solidFill>
                <a:latin typeface="+mj-lt"/>
              </a:rPr>
              <a:t> </a:t>
            </a:r>
            <a:br>
              <a:rPr lang="nl-NL" sz="1200" noProof="0" dirty="0">
                <a:solidFill>
                  <a:schemeClr val="tx2"/>
                </a:solidFill>
                <a:latin typeface="+mj-lt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Meer Tips &amp; Tricks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7"/>
              </a:rPr>
              <a:t>www.pptsolutions.nl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86" name="Tabel icoon"/>
          <p:cNvGrpSpPr/>
          <p:nvPr userDrawn="1"/>
        </p:nvGrpSpPr>
        <p:grpSpPr>
          <a:xfrm>
            <a:off x="1808088" y="4385924"/>
            <a:ext cx="447825" cy="403759"/>
            <a:chOff x="6072040" y="3376043"/>
            <a:chExt cx="1227920" cy="1109109"/>
          </a:xfrm>
        </p:grpSpPr>
        <p:sp>
          <p:nvSpPr>
            <p:cNvPr id="87" name="Rechthoek 86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88" name="Rechthoek 87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cxnSp>
          <p:nvCxnSpPr>
            <p:cNvPr id="89" name="Rechte verbindingslijn 88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Rechte verbindingslijn 89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Rechte verbindingslijn 90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Rechte verbindingslijn 91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Rechte verbindingslijn 92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hthoek 93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</p:grpSp>
      <p:grpSp>
        <p:nvGrpSpPr>
          <p:cNvPr id="97" name="Video icoon"/>
          <p:cNvGrpSpPr/>
          <p:nvPr userDrawn="1"/>
        </p:nvGrpSpPr>
        <p:grpSpPr>
          <a:xfrm>
            <a:off x="4603376" y="4392447"/>
            <a:ext cx="401285" cy="403079"/>
            <a:chOff x="8066315" y="1676399"/>
            <a:chExt cx="1371600" cy="1380253"/>
          </a:xfrm>
        </p:grpSpPr>
        <p:sp>
          <p:nvSpPr>
            <p:cNvPr id="98" name="Rechthoek 97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99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100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</p:grpSp>
      <p:sp>
        <p:nvSpPr>
          <p:cNvPr id="101" name="Freeform 17"/>
          <p:cNvSpPr>
            <a:spLocks noEditPoints="1"/>
          </p:cNvSpPr>
          <p:nvPr userDrawn="1"/>
        </p:nvSpPr>
        <p:spPr bwMode="auto">
          <a:xfrm>
            <a:off x="7294860" y="4392446"/>
            <a:ext cx="409961" cy="409214"/>
          </a:xfrm>
          <a:custGeom>
            <a:avLst/>
            <a:gdLst>
              <a:gd name="T0" fmla="*/ 281 w 445"/>
              <a:gd name="T1" fmla="*/ 374 h 445"/>
              <a:gd name="T2" fmla="*/ 320 w 445"/>
              <a:gd name="T3" fmla="*/ 366 h 445"/>
              <a:gd name="T4" fmla="*/ 297 w 445"/>
              <a:gd name="T5" fmla="*/ 330 h 445"/>
              <a:gd name="T6" fmla="*/ 98 w 445"/>
              <a:gd name="T7" fmla="*/ 344 h 445"/>
              <a:gd name="T8" fmla="*/ 175 w 445"/>
              <a:gd name="T9" fmla="*/ 390 h 445"/>
              <a:gd name="T10" fmla="*/ 147 w 445"/>
              <a:gd name="T11" fmla="*/ 329 h 445"/>
              <a:gd name="T12" fmla="*/ 171 w 445"/>
              <a:gd name="T13" fmla="*/ 324 h 445"/>
              <a:gd name="T14" fmla="*/ 200 w 445"/>
              <a:gd name="T15" fmla="*/ 384 h 445"/>
              <a:gd name="T16" fmla="*/ 234 w 445"/>
              <a:gd name="T17" fmla="*/ 392 h 445"/>
              <a:gd name="T18" fmla="*/ 265 w 445"/>
              <a:gd name="T19" fmla="*/ 349 h 445"/>
              <a:gd name="T20" fmla="*/ 310 w 445"/>
              <a:gd name="T21" fmla="*/ 232 h 445"/>
              <a:gd name="T22" fmla="*/ 306 w 445"/>
              <a:gd name="T23" fmla="*/ 290 h 445"/>
              <a:gd name="T24" fmla="*/ 358 w 445"/>
              <a:gd name="T25" fmla="*/ 330 h 445"/>
              <a:gd name="T26" fmla="*/ 393 w 445"/>
              <a:gd name="T27" fmla="*/ 260 h 445"/>
              <a:gd name="T28" fmla="*/ 159 w 445"/>
              <a:gd name="T29" fmla="*/ 232 h 445"/>
              <a:gd name="T30" fmla="*/ 201 w 445"/>
              <a:gd name="T31" fmla="*/ 295 h 445"/>
              <a:gd name="T32" fmla="*/ 284 w 445"/>
              <a:gd name="T33" fmla="*/ 268 h 445"/>
              <a:gd name="T34" fmla="*/ 48 w 445"/>
              <a:gd name="T35" fmla="*/ 232 h 445"/>
              <a:gd name="T36" fmla="*/ 62 w 445"/>
              <a:gd name="T37" fmla="*/ 292 h 445"/>
              <a:gd name="T38" fmla="*/ 98 w 445"/>
              <a:gd name="T39" fmla="*/ 317 h 445"/>
              <a:gd name="T40" fmla="*/ 139 w 445"/>
              <a:gd name="T41" fmla="*/ 281 h 445"/>
              <a:gd name="T42" fmla="*/ 48 w 445"/>
              <a:gd name="T43" fmla="*/ 232 h 445"/>
              <a:gd name="T44" fmla="*/ 223 w 445"/>
              <a:gd name="T45" fmla="*/ 148 h 445"/>
              <a:gd name="T46" fmla="*/ 162 w 445"/>
              <a:gd name="T47" fmla="*/ 173 h 445"/>
              <a:gd name="T48" fmla="*/ 284 w 445"/>
              <a:gd name="T49" fmla="*/ 173 h 445"/>
              <a:gd name="T50" fmla="*/ 69 w 445"/>
              <a:gd name="T51" fmla="*/ 138 h 445"/>
              <a:gd name="T52" fmla="*/ 48 w 445"/>
              <a:gd name="T53" fmla="*/ 208 h 445"/>
              <a:gd name="T54" fmla="*/ 143 w 445"/>
              <a:gd name="T55" fmla="*/ 137 h 445"/>
              <a:gd name="T56" fmla="*/ 82 w 445"/>
              <a:gd name="T57" fmla="*/ 117 h 445"/>
              <a:gd name="T58" fmla="*/ 302 w 445"/>
              <a:gd name="T59" fmla="*/ 136 h 445"/>
              <a:gd name="T60" fmla="*/ 396 w 445"/>
              <a:gd name="T61" fmla="*/ 208 h 445"/>
              <a:gd name="T62" fmla="*/ 373 w 445"/>
              <a:gd name="T63" fmla="*/ 133 h 445"/>
              <a:gd name="T64" fmla="*/ 281 w 445"/>
              <a:gd name="T65" fmla="*/ 71 h 445"/>
              <a:gd name="T66" fmla="*/ 319 w 445"/>
              <a:gd name="T67" fmla="*/ 105 h 445"/>
              <a:gd name="T68" fmla="*/ 296 w 445"/>
              <a:gd name="T69" fmla="*/ 64 h 445"/>
              <a:gd name="T70" fmla="*/ 146 w 445"/>
              <a:gd name="T71" fmla="*/ 65 h 445"/>
              <a:gd name="T72" fmla="*/ 121 w 445"/>
              <a:gd name="T73" fmla="*/ 108 h 445"/>
              <a:gd name="T74" fmla="*/ 165 w 445"/>
              <a:gd name="T75" fmla="*/ 72 h 445"/>
              <a:gd name="T76" fmla="*/ 212 w 445"/>
              <a:gd name="T77" fmla="*/ 52 h 445"/>
              <a:gd name="T78" fmla="*/ 180 w 445"/>
              <a:gd name="T79" fmla="*/ 96 h 445"/>
              <a:gd name="T80" fmla="*/ 238 w 445"/>
              <a:gd name="T81" fmla="*/ 124 h 445"/>
              <a:gd name="T82" fmla="*/ 255 w 445"/>
              <a:gd name="T83" fmla="*/ 75 h 445"/>
              <a:gd name="T84" fmla="*/ 223 w 445"/>
              <a:gd name="T85" fmla="*/ 49 h 445"/>
              <a:gd name="T86" fmla="*/ 293 w 445"/>
              <a:gd name="T87" fmla="*/ 11 h 445"/>
              <a:gd name="T88" fmla="*/ 380 w 445"/>
              <a:gd name="T89" fmla="*/ 65 h 445"/>
              <a:gd name="T90" fmla="*/ 433 w 445"/>
              <a:gd name="T91" fmla="*/ 151 h 445"/>
              <a:gd name="T92" fmla="*/ 442 w 445"/>
              <a:gd name="T93" fmla="*/ 258 h 445"/>
              <a:gd name="T94" fmla="*/ 402 w 445"/>
              <a:gd name="T95" fmla="*/ 353 h 445"/>
              <a:gd name="T96" fmla="*/ 325 w 445"/>
              <a:gd name="T97" fmla="*/ 420 h 445"/>
              <a:gd name="T98" fmla="*/ 223 w 445"/>
              <a:gd name="T99" fmla="*/ 445 h 445"/>
              <a:gd name="T100" fmla="*/ 120 w 445"/>
              <a:gd name="T101" fmla="*/ 420 h 445"/>
              <a:gd name="T102" fmla="*/ 43 w 445"/>
              <a:gd name="T103" fmla="*/ 353 h 445"/>
              <a:gd name="T104" fmla="*/ 2 w 445"/>
              <a:gd name="T105" fmla="*/ 258 h 445"/>
              <a:gd name="T106" fmla="*/ 11 w 445"/>
              <a:gd name="T107" fmla="*/ 151 h 445"/>
              <a:gd name="T108" fmla="*/ 66 w 445"/>
              <a:gd name="T109" fmla="*/ 65 h 445"/>
              <a:gd name="T110" fmla="*/ 152 w 445"/>
              <a:gd name="T111" fmla="*/ 11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45" h="445">
                <a:moveTo>
                  <a:pt x="297" y="330"/>
                </a:moveTo>
                <a:lnTo>
                  <a:pt x="289" y="353"/>
                </a:lnTo>
                <a:lnTo>
                  <a:pt x="281" y="374"/>
                </a:lnTo>
                <a:lnTo>
                  <a:pt x="270" y="390"/>
                </a:lnTo>
                <a:lnTo>
                  <a:pt x="296" y="380"/>
                </a:lnTo>
                <a:lnTo>
                  <a:pt x="320" y="366"/>
                </a:lnTo>
                <a:lnTo>
                  <a:pt x="342" y="350"/>
                </a:lnTo>
                <a:lnTo>
                  <a:pt x="319" y="339"/>
                </a:lnTo>
                <a:lnTo>
                  <a:pt x="297" y="330"/>
                </a:lnTo>
                <a:close/>
                <a:moveTo>
                  <a:pt x="147" y="329"/>
                </a:moveTo>
                <a:lnTo>
                  <a:pt x="120" y="337"/>
                </a:lnTo>
                <a:lnTo>
                  <a:pt x="98" y="344"/>
                </a:lnTo>
                <a:lnTo>
                  <a:pt x="121" y="364"/>
                </a:lnTo>
                <a:lnTo>
                  <a:pt x="146" y="379"/>
                </a:lnTo>
                <a:lnTo>
                  <a:pt x="175" y="390"/>
                </a:lnTo>
                <a:lnTo>
                  <a:pt x="165" y="373"/>
                </a:lnTo>
                <a:lnTo>
                  <a:pt x="155" y="352"/>
                </a:lnTo>
                <a:lnTo>
                  <a:pt x="147" y="329"/>
                </a:lnTo>
                <a:close/>
                <a:moveTo>
                  <a:pt x="238" y="320"/>
                </a:moveTo>
                <a:lnTo>
                  <a:pt x="203" y="320"/>
                </a:lnTo>
                <a:lnTo>
                  <a:pt x="171" y="324"/>
                </a:lnTo>
                <a:lnTo>
                  <a:pt x="180" y="349"/>
                </a:lnTo>
                <a:lnTo>
                  <a:pt x="190" y="368"/>
                </a:lnTo>
                <a:lnTo>
                  <a:pt x="200" y="384"/>
                </a:lnTo>
                <a:lnTo>
                  <a:pt x="212" y="392"/>
                </a:lnTo>
                <a:lnTo>
                  <a:pt x="223" y="396"/>
                </a:lnTo>
                <a:lnTo>
                  <a:pt x="234" y="392"/>
                </a:lnTo>
                <a:lnTo>
                  <a:pt x="245" y="384"/>
                </a:lnTo>
                <a:lnTo>
                  <a:pt x="255" y="368"/>
                </a:lnTo>
                <a:lnTo>
                  <a:pt x="265" y="349"/>
                </a:lnTo>
                <a:lnTo>
                  <a:pt x="273" y="325"/>
                </a:lnTo>
                <a:lnTo>
                  <a:pt x="238" y="320"/>
                </a:lnTo>
                <a:close/>
                <a:moveTo>
                  <a:pt x="310" y="232"/>
                </a:moveTo>
                <a:lnTo>
                  <a:pt x="309" y="254"/>
                </a:lnTo>
                <a:lnTo>
                  <a:pt x="308" y="272"/>
                </a:lnTo>
                <a:lnTo>
                  <a:pt x="306" y="290"/>
                </a:lnTo>
                <a:lnTo>
                  <a:pt x="302" y="306"/>
                </a:lnTo>
                <a:lnTo>
                  <a:pt x="331" y="316"/>
                </a:lnTo>
                <a:lnTo>
                  <a:pt x="358" y="330"/>
                </a:lnTo>
                <a:lnTo>
                  <a:pt x="373" y="308"/>
                </a:lnTo>
                <a:lnTo>
                  <a:pt x="385" y="285"/>
                </a:lnTo>
                <a:lnTo>
                  <a:pt x="393" y="260"/>
                </a:lnTo>
                <a:lnTo>
                  <a:pt x="396" y="232"/>
                </a:lnTo>
                <a:lnTo>
                  <a:pt x="310" y="232"/>
                </a:lnTo>
                <a:close/>
                <a:moveTo>
                  <a:pt x="159" y="232"/>
                </a:moveTo>
                <a:lnTo>
                  <a:pt x="162" y="267"/>
                </a:lnTo>
                <a:lnTo>
                  <a:pt x="166" y="299"/>
                </a:lnTo>
                <a:lnTo>
                  <a:pt x="201" y="295"/>
                </a:lnTo>
                <a:lnTo>
                  <a:pt x="239" y="295"/>
                </a:lnTo>
                <a:lnTo>
                  <a:pt x="278" y="301"/>
                </a:lnTo>
                <a:lnTo>
                  <a:pt x="284" y="268"/>
                </a:lnTo>
                <a:lnTo>
                  <a:pt x="286" y="232"/>
                </a:lnTo>
                <a:lnTo>
                  <a:pt x="159" y="232"/>
                </a:lnTo>
                <a:close/>
                <a:moveTo>
                  <a:pt x="48" y="232"/>
                </a:moveTo>
                <a:lnTo>
                  <a:pt x="50" y="255"/>
                </a:lnTo>
                <a:lnTo>
                  <a:pt x="56" y="275"/>
                </a:lnTo>
                <a:lnTo>
                  <a:pt x="62" y="292"/>
                </a:lnTo>
                <a:lnTo>
                  <a:pt x="71" y="308"/>
                </a:lnTo>
                <a:lnTo>
                  <a:pt x="82" y="324"/>
                </a:lnTo>
                <a:lnTo>
                  <a:pt x="98" y="317"/>
                </a:lnTo>
                <a:lnTo>
                  <a:pt x="119" y="311"/>
                </a:lnTo>
                <a:lnTo>
                  <a:pt x="142" y="304"/>
                </a:lnTo>
                <a:lnTo>
                  <a:pt x="139" y="281"/>
                </a:lnTo>
                <a:lnTo>
                  <a:pt x="137" y="257"/>
                </a:lnTo>
                <a:lnTo>
                  <a:pt x="135" y="232"/>
                </a:lnTo>
                <a:lnTo>
                  <a:pt x="48" y="232"/>
                </a:lnTo>
                <a:close/>
                <a:moveTo>
                  <a:pt x="278" y="141"/>
                </a:moveTo>
                <a:lnTo>
                  <a:pt x="250" y="146"/>
                </a:lnTo>
                <a:lnTo>
                  <a:pt x="223" y="148"/>
                </a:lnTo>
                <a:lnTo>
                  <a:pt x="193" y="146"/>
                </a:lnTo>
                <a:lnTo>
                  <a:pt x="166" y="143"/>
                </a:lnTo>
                <a:lnTo>
                  <a:pt x="162" y="173"/>
                </a:lnTo>
                <a:lnTo>
                  <a:pt x="159" y="208"/>
                </a:lnTo>
                <a:lnTo>
                  <a:pt x="286" y="208"/>
                </a:lnTo>
                <a:lnTo>
                  <a:pt x="284" y="173"/>
                </a:lnTo>
                <a:lnTo>
                  <a:pt x="278" y="141"/>
                </a:lnTo>
                <a:close/>
                <a:moveTo>
                  <a:pt x="82" y="117"/>
                </a:moveTo>
                <a:lnTo>
                  <a:pt x="69" y="138"/>
                </a:lnTo>
                <a:lnTo>
                  <a:pt x="59" y="160"/>
                </a:lnTo>
                <a:lnTo>
                  <a:pt x="51" y="184"/>
                </a:lnTo>
                <a:lnTo>
                  <a:pt x="48" y="208"/>
                </a:lnTo>
                <a:lnTo>
                  <a:pt x="135" y="208"/>
                </a:lnTo>
                <a:lnTo>
                  <a:pt x="138" y="172"/>
                </a:lnTo>
                <a:lnTo>
                  <a:pt x="143" y="137"/>
                </a:lnTo>
                <a:lnTo>
                  <a:pt x="119" y="131"/>
                </a:lnTo>
                <a:lnTo>
                  <a:pt x="99" y="124"/>
                </a:lnTo>
                <a:lnTo>
                  <a:pt x="82" y="117"/>
                </a:lnTo>
                <a:close/>
                <a:moveTo>
                  <a:pt x="358" y="111"/>
                </a:moveTo>
                <a:lnTo>
                  <a:pt x="331" y="125"/>
                </a:lnTo>
                <a:lnTo>
                  <a:pt x="302" y="136"/>
                </a:lnTo>
                <a:lnTo>
                  <a:pt x="308" y="171"/>
                </a:lnTo>
                <a:lnTo>
                  <a:pt x="310" y="208"/>
                </a:lnTo>
                <a:lnTo>
                  <a:pt x="396" y="208"/>
                </a:lnTo>
                <a:lnTo>
                  <a:pt x="393" y="183"/>
                </a:lnTo>
                <a:lnTo>
                  <a:pt x="385" y="158"/>
                </a:lnTo>
                <a:lnTo>
                  <a:pt x="373" y="133"/>
                </a:lnTo>
                <a:lnTo>
                  <a:pt x="358" y="111"/>
                </a:lnTo>
                <a:close/>
                <a:moveTo>
                  <a:pt x="270" y="54"/>
                </a:moveTo>
                <a:lnTo>
                  <a:pt x="281" y="71"/>
                </a:lnTo>
                <a:lnTo>
                  <a:pt x="289" y="90"/>
                </a:lnTo>
                <a:lnTo>
                  <a:pt x="297" y="113"/>
                </a:lnTo>
                <a:lnTo>
                  <a:pt x="319" y="105"/>
                </a:lnTo>
                <a:lnTo>
                  <a:pt x="342" y="95"/>
                </a:lnTo>
                <a:lnTo>
                  <a:pt x="320" y="77"/>
                </a:lnTo>
                <a:lnTo>
                  <a:pt x="296" y="64"/>
                </a:lnTo>
                <a:lnTo>
                  <a:pt x="270" y="54"/>
                </a:lnTo>
                <a:close/>
                <a:moveTo>
                  <a:pt x="175" y="54"/>
                </a:moveTo>
                <a:lnTo>
                  <a:pt x="146" y="65"/>
                </a:lnTo>
                <a:lnTo>
                  <a:pt x="121" y="80"/>
                </a:lnTo>
                <a:lnTo>
                  <a:pt x="98" y="99"/>
                </a:lnTo>
                <a:lnTo>
                  <a:pt x="121" y="108"/>
                </a:lnTo>
                <a:lnTo>
                  <a:pt x="149" y="115"/>
                </a:lnTo>
                <a:lnTo>
                  <a:pt x="155" y="91"/>
                </a:lnTo>
                <a:lnTo>
                  <a:pt x="165" y="72"/>
                </a:lnTo>
                <a:lnTo>
                  <a:pt x="175" y="54"/>
                </a:lnTo>
                <a:close/>
                <a:moveTo>
                  <a:pt x="223" y="49"/>
                </a:moveTo>
                <a:lnTo>
                  <a:pt x="212" y="52"/>
                </a:lnTo>
                <a:lnTo>
                  <a:pt x="200" y="61"/>
                </a:lnTo>
                <a:lnTo>
                  <a:pt x="190" y="75"/>
                </a:lnTo>
                <a:lnTo>
                  <a:pt x="180" y="96"/>
                </a:lnTo>
                <a:lnTo>
                  <a:pt x="171" y="120"/>
                </a:lnTo>
                <a:lnTo>
                  <a:pt x="203" y="124"/>
                </a:lnTo>
                <a:lnTo>
                  <a:pt x="238" y="124"/>
                </a:lnTo>
                <a:lnTo>
                  <a:pt x="273" y="120"/>
                </a:lnTo>
                <a:lnTo>
                  <a:pt x="265" y="95"/>
                </a:lnTo>
                <a:lnTo>
                  <a:pt x="255" y="75"/>
                </a:lnTo>
                <a:lnTo>
                  <a:pt x="245" y="61"/>
                </a:lnTo>
                <a:lnTo>
                  <a:pt x="234" y="52"/>
                </a:lnTo>
                <a:lnTo>
                  <a:pt x="223" y="49"/>
                </a:lnTo>
                <a:close/>
                <a:moveTo>
                  <a:pt x="223" y="0"/>
                </a:moveTo>
                <a:lnTo>
                  <a:pt x="259" y="3"/>
                </a:lnTo>
                <a:lnTo>
                  <a:pt x="293" y="11"/>
                </a:lnTo>
                <a:lnTo>
                  <a:pt x="325" y="25"/>
                </a:lnTo>
                <a:lnTo>
                  <a:pt x="354" y="42"/>
                </a:lnTo>
                <a:lnTo>
                  <a:pt x="380" y="65"/>
                </a:lnTo>
                <a:lnTo>
                  <a:pt x="402" y="90"/>
                </a:lnTo>
                <a:lnTo>
                  <a:pt x="420" y="120"/>
                </a:lnTo>
                <a:lnTo>
                  <a:pt x="433" y="151"/>
                </a:lnTo>
                <a:lnTo>
                  <a:pt x="442" y="186"/>
                </a:lnTo>
                <a:lnTo>
                  <a:pt x="445" y="222"/>
                </a:lnTo>
                <a:lnTo>
                  <a:pt x="442" y="258"/>
                </a:lnTo>
                <a:lnTo>
                  <a:pt x="433" y="292"/>
                </a:lnTo>
                <a:lnTo>
                  <a:pt x="420" y="325"/>
                </a:lnTo>
                <a:lnTo>
                  <a:pt x="402" y="353"/>
                </a:lnTo>
                <a:lnTo>
                  <a:pt x="380" y="379"/>
                </a:lnTo>
                <a:lnTo>
                  <a:pt x="354" y="402"/>
                </a:lnTo>
                <a:lnTo>
                  <a:pt x="325" y="420"/>
                </a:lnTo>
                <a:lnTo>
                  <a:pt x="293" y="434"/>
                </a:lnTo>
                <a:lnTo>
                  <a:pt x="259" y="441"/>
                </a:lnTo>
                <a:lnTo>
                  <a:pt x="223" y="445"/>
                </a:lnTo>
                <a:lnTo>
                  <a:pt x="187" y="441"/>
                </a:lnTo>
                <a:lnTo>
                  <a:pt x="152" y="434"/>
                </a:lnTo>
                <a:lnTo>
                  <a:pt x="120" y="420"/>
                </a:lnTo>
                <a:lnTo>
                  <a:pt x="91" y="402"/>
                </a:lnTo>
                <a:lnTo>
                  <a:pt x="66" y="379"/>
                </a:lnTo>
                <a:lnTo>
                  <a:pt x="43" y="353"/>
                </a:lnTo>
                <a:lnTo>
                  <a:pt x="25" y="325"/>
                </a:lnTo>
                <a:lnTo>
                  <a:pt x="11" y="292"/>
                </a:lnTo>
                <a:lnTo>
                  <a:pt x="2" y="258"/>
                </a:lnTo>
                <a:lnTo>
                  <a:pt x="0" y="222"/>
                </a:lnTo>
                <a:lnTo>
                  <a:pt x="2" y="186"/>
                </a:lnTo>
                <a:lnTo>
                  <a:pt x="11" y="151"/>
                </a:lnTo>
                <a:lnTo>
                  <a:pt x="25" y="120"/>
                </a:lnTo>
                <a:lnTo>
                  <a:pt x="43" y="90"/>
                </a:lnTo>
                <a:lnTo>
                  <a:pt x="66" y="65"/>
                </a:lnTo>
                <a:lnTo>
                  <a:pt x="91" y="42"/>
                </a:lnTo>
                <a:lnTo>
                  <a:pt x="120" y="25"/>
                </a:lnTo>
                <a:lnTo>
                  <a:pt x="152" y="11"/>
                </a:lnTo>
                <a:lnTo>
                  <a:pt x="187" y="3"/>
                </a:lnTo>
                <a:lnTo>
                  <a:pt x="223" y="0"/>
                </a:ln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800" noProof="0" dirty="0"/>
          </a:p>
        </p:txBody>
      </p:sp>
      <p:grpSp>
        <p:nvGrpSpPr>
          <p:cNvPr id="120" name="Knop uitleg"/>
          <p:cNvGrpSpPr/>
          <p:nvPr userDrawn="1"/>
        </p:nvGrpSpPr>
        <p:grpSpPr>
          <a:xfrm>
            <a:off x="9508901" y="2860359"/>
            <a:ext cx="1947767" cy="2037397"/>
            <a:chOff x="9275416" y="2755352"/>
            <a:chExt cx="1944216" cy="2037397"/>
          </a:xfrm>
        </p:grpSpPr>
        <p:sp>
          <p:nvSpPr>
            <p:cNvPr id="43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 dirty="0">
                <a:solidFill>
                  <a:schemeClr val="tx1"/>
                </a:solidFill>
              </a:endParaRPr>
            </a:p>
          </p:txBody>
        </p:sp>
        <p:grpSp>
          <p:nvGrpSpPr>
            <p:cNvPr id="42" name="Groep 41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36" name="Ovaal 35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deze dia in de diavoorstelling en klik</a:t>
                </a:r>
                <a:b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</a:br>
                <a: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 de </a:t>
                </a:r>
                <a:r>
                  <a:rPr lang="nl-NL" sz="1200" kern="1200" noProof="0" dirty="0" err="1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youtube</a:t>
                </a:r>
                <a: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-link</a:t>
                </a:r>
                <a:endParaRPr lang="nl-NL" sz="1000" kern="1200" noProof="0" dirty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17" name="Groep 116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18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noProof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9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noProof="0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grpSp>
        <p:nvGrpSpPr>
          <p:cNvPr id="128" name="HYPERLINK" hidden="1"/>
          <p:cNvGrpSpPr/>
          <p:nvPr userDrawn="1"/>
        </p:nvGrpSpPr>
        <p:grpSpPr>
          <a:xfrm>
            <a:off x="674999" y="1599166"/>
            <a:ext cx="8081505" cy="4559785"/>
            <a:chOff x="673768" y="1599165"/>
            <a:chExt cx="8066773" cy="4559785"/>
          </a:xfrm>
        </p:grpSpPr>
        <p:sp>
          <p:nvSpPr>
            <p:cNvPr id="121" name="HYPERLINK">
              <a:hlinkClick r:id="rId2"/>
            </p:cNvPr>
            <p:cNvSpPr/>
            <p:nvPr userDrawn="1"/>
          </p:nvSpPr>
          <p:spPr>
            <a:xfrm>
              <a:off x="673768" y="1599165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3" name="HYPERLINK">
              <a:hlinkClick r:id="rId3"/>
            </p:cNvPr>
            <p:cNvSpPr/>
            <p:nvPr userDrawn="1"/>
          </p:nvSpPr>
          <p:spPr>
            <a:xfrm>
              <a:off x="3465094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4" name="HYPERLINK">
              <a:hlinkClick r:id="rId4"/>
            </p:cNvPr>
            <p:cNvSpPr/>
            <p:nvPr userDrawn="1"/>
          </p:nvSpPr>
          <p:spPr>
            <a:xfrm>
              <a:off x="6148301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5" name="HYPERLINK">
              <a:hlinkClick r:id="rId5"/>
            </p:cNvPr>
            <p:cNvSpPr/>
            <p:nvPr userDrawn="1"/>
          </p:nvSpPr>
          <p:spPr>
            <a:xfrm>
              <a:off x="673768" y="3932073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6" name="HYPERLINK">
              <a:hlinkClick r:id="rId6"/>
            </p:cNvPr>
            <p:cNvSpPr/>
            <p:nvPr userDrawn="1"/>
          </p:nvSpPr>
          <p:spPr>
            <a:xfrm>
              <a:off x="3454453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7" name="HYPERLINK">
              <a:hlinkClick r:id="rId7"/>
            </p:cNvPr>
            <p:cNvSpPr/>
            <p:nvPr userDrawn="1"/>
          </p:nvSpPr>
          <p:spPr>
            <a:xfrm>
              <a:off x="6149692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58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noProof="0" dirty="0"/>
          </a:p>
        </p:txBody>
      </p:sp>
      <p:cxnSp>
        <p:nvCxnSpPr>
          <p:cNvPr id="60" name="Rechte verbindingslijn 59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 noProof="0" dirty="0">
              <a:solidFill>
                <a:prstClr val="black"/>
              </a:solidFill>
            </a:endParaRPr>
          </a:p>
        </p:txBody>
      </p:sp>
      <p:grpSp>
        <p:nvGrpSpPr>
          <p:cNvPr id="4" name="Groep 3"/>
          <p:cNvGrpSpPr/>
          <p:nvPr userDrawn="1"/>
        </p:nvGrpSpPr>
        <p:grpSpPr>
          <a:xfrm>
            <a:off x="1630522" y="2276771"/>
            <a:ext cx="758666" cy="226154"/>
            <a:chOff x="1607118" y="2276771"/>
            <a:chExt cx="757283" cy="226154"/>
          </a:xfrm>
        </p:grpSpPr>
        <p:grpSp>
          <p:nvGrpSpPr>
            <p:cNvPr id="71" name="Groep 70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60" name="Groep 159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64" name="Rechte verbindingslijn 163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5" name="Rechte verbindingslijn 164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6" name="Rechte verbindingslijn 165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7" name="Rechte verbindingslijn 166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8" name="Rechte verbindingslijn 167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61" name="Groep 160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3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74" name="Groep 73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51" name="Groep 150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55" name="Rechte verbindingslijn 154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7" name="Rechte verbindingslijn 156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8" name="Rechte verbindingslijn 157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9" name="Rechte verbindingslijn 158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52" name="Groep 151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53" name="Rechthoek 152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4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79" name="Groep 178"/>
          <p:cNvGrpSpPr/>
          <p:nvPr userDrawn="1"/>
        </p:nvGrpSpPr>
        <p:grpSpPr>
          <a:xfrm>
            <a:off x="4573974" y="2179391"/>
            <a:ext cx="369155" cy="398538"/>
            <a:chOff x="14466489" y="1001522"/>
            <a:chExt cx="290627" cy="314333"/>
          </a:xfrm>
        </p:grpSpPr>
        <p:sp>
          <p:nvSpPr>
            <p:cNvPr id="200" name="Rechthoek 199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b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Ovaal 200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 dirty="0">
                <a:solidFill>
                  <a:schemeClr val="tx1"/>
                </a:solidFill>
              </a:endParaRPr>
            </a:p>
          </p:txBody>
        </p:sp>
        <p:sp>
          <p:nvSpPr>
            <p:cNvPr id="202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b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4" name="Rechte verbindingslijn 203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5" name="Rechte verbindingslijn 204"/>
            <p:cNvCxnSpPr>
              <a:cxnSpLocks/>
              <a:stCxn id="203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2336526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Dia plakken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hthoek 59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pt-BR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Dia plakken (3)</a:t>
            </a:r>
            <a:endParaRPr lang="nl-NL" sz="1400" noProof="0" dirty="0">
              <a:solidFill>
                <a:srgbClr val="303E48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noProof="0" dirty="0">
                <a:solidFill>
                  <a:srgbClr val="0096A5"/>
                </a:solidFill>
                <a:latin typeface="Oswald" panose="02000503000000000000" pitchFamily="2" charset="0"/>
              </a:rPr>
              <a:t>Voordat je begint…</a:t>
            </a:r>
          </a:p>
        </p:txBody>
      </p:sp>
      <p:grpSp>
        <p:nvGrpSpPr>
          <p:cNvPr id="63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64" name="Rechthoek 63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5" name="Rechthoek 64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6" name="Rechthoek 65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7" name="Rechthoek 66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68" name="Rechthoek 67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9" name="Rechthoek 68"/>
            <p:cNvSpPr/>
            <p:nvPr userDrawn="1"/>
          </p:nvSpPr>
          <p:spPr>
            <a:xfrm rot="5400000">
              <a:off x="760320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71" name="Rechthoek 70"/>
            <p:cNvSpPr/>
            <p:nvPr userDrawn="1"/>
          </p:nvSpPr>
          <p:spPr>
            <a:xfrm>
              <a:off x="0" y="4558336"/>
              <a:ext cx="12169774" cy="180239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4" name="Rechthoek 73"/>
            <p:cNvSpPr/>
            <p:nvPr userDrawn="1"/>
          </p:nvSpPr>
          <p:spPr>
            <a:xfrm rot="5400000">
              <a:off x="288408" y="5406273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5" name="Rechthoek 74"/>
            <p:cNvSpPr/>
            <p:nvPr userDrawn="1"/>
          </p:nvSpPr>
          <p:spPr>
            <a:xfrm rot="5400000">
              <a:off x="4146704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6" name="Rechthoek 75"/>
            <p:cNvSpPr/>
            <p:nvPr userDrawn="1"/>
          </p:nvSpPr>
          <p:spPr>
            <a:xfrm rot="5400000">
              <a:off x="4598789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80" name="Rechthoek 79"/>
            <p:cNvSpPr/>
            <p:nvPr userDrawn="1"/>
          </p:nvSpPr>
          <p:spPr>
            <a:xfrm rot="5400000">
              <a:off x="7990288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7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dirty="0"/>
          </a:p>
        </p:txBody>
      </p:sp>
      <p:cxnSp>
        <p:nvCxnSpPr>
          <p:cNvPr id="62" name="Rechte verbindingslijn 61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>
              <a:solidFill>
                <a:prstClr val="black"/>
              </a:solidFill>
            </a:endParaRPr>
          </a:p>
        </p:txBody>
      </p:sp>
      <p:grpSp>
        <p:nvGrpSpPr>
          <p:cNvPr id="81" name="Groep 80"/>
          <p:cNvGrpSpPr/>
          <p:nvPr userDrawn="1"/>
        </p:nvGrpSpPr>
        <p:grpSpPr>
          <a:xfrm>
            <a:off x="692520" y="2165458"/>
            <a:ext cx="10846190" cy="3437453"/>
            <a:chOff x="435100" y="2165458"/>
            <a:chExt cx="10826418" cy="3437453"/>
          </a:xfrm>
        </p:grpSpPr>
        <p:pic>
          <p:nvPicPr>
            <p:cNvPr id="83" name="Afbeelding 82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0052" y="3108088"/>
              <a:ext cx="2720614" cy="145024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4" name="Afbeelding 8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455" y="3108088"/>
              <a:ext cx="2700576" cy="1452486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5" name="Afbeelding 8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02632" y="2165458"/>
              <a:ext cx="1676146" cy="1676147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6" name="Afbeelding 8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1291" y="2165459"/>
              <a:ext cx="1676146" cy="1676146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87" name="Groep 86"/>
            <p:cNvGrpSpPr/>
            <p:nvPr/>
          </p:nvGrpSpPr>
          <p:grpSpPr>
            <a:xfrm>
              <a:off x="689183" y="2317897"/>
              <a:ext cx="1819124" cy="1488559"/>
              <a:chOff x="1576217" y="1539637"/>
              <a:chExt cx="2497599" cy="2043743"/>
            </a:xfrm>
          </p:grpSpPr>
          <p:sp>
            <p:nvSpPr>
              <p:cNvPr id="106" name="Ovaal 105"/>
              <p:cNvSpPr/>
              <p:nvPr/>
            </p:nvSpPr>
            <p:spPr>
              <a:xfrm>
                <a:off x="1576217" y="2624542"/>
                <a:ext cx="268099" cy="268101"/>
              </a:xfrm>
              <a:prstGeom prst="ellipse">
                <a:avLst/>
              </a:prstGeom>
              <a:solidFill>
                <a:schemeClr val="bg1">
                  <a:alpha val="0"/>
                </a:schemeClr>
              </a:solidFill>
              <a:ln w="19050">
                <a:solidFill>
                  <a:srgbClr val="0096A5"/>
                </a:solidFill>
              </a:ln>
              <a:effectLst>
                <a:outerShdw dir="8100000" sx="105000" sy="105000" algn="tr" rotWithShape="0">
                  <a:srgbClr val="000000">
                    <a:alpha val="6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nl-NL" sz="1800">
                  <a:latin typeface="+mn-lt"/>
                </a:endParaRPr>
              </a:p>
            </p:txBody>
          </p:sp>
          <p:cxnSp>
            <p:nvCxnSpPr>
              <p:cNvPr id="107" name="Rechte verbindingslijn 106"/>
              <p:cNvCxnSpPr>
                <a:cxnSpLocks/>
              </p:cNvCxnSpPr>
              <p:nvPr/>
            </p:nvCxnSpPr>
            <p:spPr>
              <a:xfrm flipH="1">
                <a:off x="1710267" y="1539637"/>
                <a:ext cx="2013194" cy="1093496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chte verbindingslijn 107"/>
              <p:cNvCxnSpPr>
                <a:cxnSpLocks/>
              </p:cNvCxnSpPr>
              <p:nvPr/>
            </p:nvCxnSpPr>
            <p:spPr>
              <a:xfrm flipH="1" flipV="1">
                <a:off x="1693333" y="2878667"/>
                <a:ext cx="2380483" cy="704713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ep 87"/>
            <p:cNvGrpSpPr/>
            <p:nvPr/>
          </p:nvGrpSpPr>
          <p:grpSpPr>
            <a:xfrm>
              <a:off x="4524700" y="3531339"/>
              <a:ext cx="135750" cy="135750"/>
              <a:chOff x="6569918" y="3240107"/>
              <a:chExt cx="430310" cy="430310"/>
            </a:xfrm>
          </p:grpSpPr>
          <p:sp>
            <p:nvSpPr>
              <p:cNvPr id="104" name="Ovaal 103"/>
              <p:cNvSpPr/>
              <p:nvPr/>
            </p:nvSpPr>
            <p:spPr>
              <a:xfrm>
                <a:off x="6569918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  <p:sp>
            <p:nvSpPr>
              <p:cNvPr id="105" name="Vermenigvuldigen 49"/>
              <p:cNvSpPr/>
              <p:nvPr/>
            </p:nvSpPr>
            <p:spPr>
              <a:xfrm>
                <a:off x="6579279" y="3259665"/>
                <a:ext cx="403927" cy="403927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</p:grpSp>
        <p:sp>
          <p:nvSpPr>
            <p:cNvPr id="89" name="Ovaal 88"/>
            <p:cNvSpPr/>
            <p:nvPr/>
          </p:nvSpPr>
          <p:spPr>
            <a:xfrm>
              <a:off x="4507854" y="3501955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nl-NL" sz="1800">
                <a:latin typeface="+mn-lt"/>
              </a:endParaRPr>
            </a:p>
          </p:txBody>
        </p:sp>
        <p:cxnSp>
          <p:nvCxnSpPr>
            <p:cNvPr id="90" name="Rechte verbindingslijn 89"/>
            <p:cNvCxnSpPr>
              <a:cxnSpLocks/>
              <a:stCxn id="86" idx="1"/>
            </p:cNvCxnSpPr>
            <p:nvPr/>
          </p:nvCxnSpPr>
          <p:spPr>
            <a:xfrm flipH="1">
              <a:off x="4602924" y="2410925"/>
              <a:ext cx="1383833" cy="1076554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Afbeelding 9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8637" y="3108088"/>
              <a:ext cx="2730611" cy="144455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cxnSp>
          <p:nvCxnSpPr>
            <p:cNvPr id="92" name="Rechte verbindingslijn 91"/>
            <p:cNvCxnSpPr>
              <a:cxnSpLocks/>
            </p:cNvCxnSpPr>
            <p:nvPr/>
          </p:nvCxnSpPr>
          <p:spPr>
            <a:xfrm flipH="1" flipV="1">
              <a:off x="4634821" y="3710764"/>
              <a:ext cx="1935123" cy="127589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al 92"/>
            <p:cNvSpPr/>
            <p:nvPr/>
          </p:nvSpPr>
          <p:spPr>
            <a:xfrm>
              <a:off x="43510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schemeClr val="bg1"/>
                  </a:solidFill>
                  <a:latin typeface="+mn-lt"/>
                </a:rPr>
                <a:t>A</a:t>
              </a:r>
              <a:endParaRPr lang="nl-NL" sz="1000" b="1" cap="all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4" name="Ovaal 93"/>
            <p:cNvSpPr/>
            <p:nvPr/>
          </p:nvSpPr>
          <p:spPr>
            <a:xfrm>
              <a:off x="4273589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schemeClr val="bg1"/>
                  </a:solidFill>
                  <a:latin typeface="+mn-lt"/>
                </a:rPr>
                <a:t>B</a:t>
              </a:r>
              <a:endParaRPr lang="nl-NL" sz="1000" b="1" cap="all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95" name="Groep 94"/>
            <p:cNvGrpSpPr/>
            <p:nvPr/>
          </p:nvGrpSpPr>
          <p:grpSpPr>
            <a:xfrm>
              <a:off x="6610285" y="2756643"/>
              <a:ext cx="433398" cy="433398"/>
              <a:chOff x="7376403" y="3240107"/>
              <a:chExt cx="430310" cy="430310"/>
            </a:xfrm>
          </p:grpSpPr>
          <p:sp>
            <p:nvSpPr>
              <p:cNvPr id="102" name="Ovaal 101"/>
              <p:cNvSpPr/>
              <p:nvPr/>
            </p:nvSpPr>
            <p:spPr>
              <a:xfrm>
                <a:off x="7376403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  <p:sp>
            <p:nvSpPr>
              <p:cNvPr id="103" name="Vermenigvuldigen 40"/>
              <p:cNvSpPr/>
              <p:nvPr/>
            </p:nvSpPr>
            <p:spPr>
              <a:xfrm>
                <a:off x="7389594" y="3259666"/>
                <a:ext cx="403928" cy="403928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</p:grpSp>
        <p:sp>
          <p:nvSpPr>
            <p:cNvPr id="96" name="Tekstvak 95"/>
            <p:cNvSpPr txBox="1"/>
            <p:nvPr/>
          </p:nvSpPr>
          <p:spPr>
            <a:xfrm>
              <a:off x="8516760" y="4854881"/>
              <a:ext cx="2697316" cy="748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defRPr sz="1000">
                  <a:solidFill>
                    <a:srgbClr val="44546A"/>
                  </a:solidFill>
                </a:defRPr>
              </a:lvl1pPr>
            </a:lstStyle>
            <a:p>
              <a:pPr lvl="0"/>
              <a:r>
                <a:rPr lang="nl-NL" sz="1000" dirty="0">
                  <a:solidFill>
                    <a:srgbClr val="44546A"/>
                  </a:solidFill>
                  <a:latin typeface="+mn-lt"/>
                </a:rPr>
                <a:t>Klik met je rechter muisknop op de dia aan de linker kant. Klik daarna op dia herstellen om de opmaak weer correct </a:t>
              </a:r>
              <a:br>
                <a:rPr lang="nl-NL" sz="1000" dirty="0">
                  <a:solidFill>
                    <a:srgbClr val="44546A"/>
                  </a:solidFill>
                  <a:latin typeface="+mn-lt"/>
                </a:rPr>
              </a:br>
              <a:r>
                <a:rPr lang="nl-NL" sz="1000" dirty="0">
                  <a:solidFill>
                    <a:srgbClr val="44546A"/>
                  </a:solidFill>
                  <a:latin typeface="+mn-lt"/>
                </a:rPr>
                <a:t>te krijgen.</a:t>
              </a:r>
            </a:p>
          </p:txBody>
        </p:sp>
        <p:sp>
          <p:nvSpPr>
            <p:cNvPr id="97" name="Ovaal 96"/>
            <p:cNvSpPr/>
            <p:nvPr/>
          </p:nvSpPr>
          <p:spPr>
            <a:xfrm>
              <a:off x="8456782" y="3712390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nl-NL" sz="1800">
                <a:latin typeface="+mn-lt"/>
              </a:endParaRPr>
            </a:p>
          </p:txBody>
        </p:sp>
        <p:cxnSp>
          <p:nvCxnSpPr>
            <p:cNvPr id="98" name="Rechte verbindingslijn 97"/>
            <p:cNvCxnSpPr>
              <a:cxnSpLocks/>
              <a:stCxn id="100" idx="1"/>
            </p:cNvCxnSpPr>
            <p:nvPr/>
          </p:nvCxnSpPr>
          <p:spPr>
            <a:xfrm flipH="1">
              <a:off x="8535648" y="2410449"/>
              <a:ext cx="1297966" cy="1315831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Rechte verbindingslijn 98"/>
            <p:cNvCxnSpPr>
              <a:cxnSpLocks/>
              <a:stCxn id="100" idx="4"/>
              <a:endCxn id="97" idx="5"/>
            </p:cNvCxnSpPr>
            <p:nvPr/>
          </p:nvCxnSpPr>
          <p:spPr>
            <a:xfrm flipH="1">
              <a:off x="8623456" y="3838353"/>
              <a:ext cx="1801616" cy="40710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0" name="Afbeelding 99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88624" y="2165459"/>
              <a:ext cx="1672894" cy="1672894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1" name="Ovaal 100"/>
            <p:cNvSpPr/>
            <p:nvPr/>
          </p:nvSpPr>
          <p:spPr>
            <a:xfrm>
              <a:off x="811798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schemeClr val="bg1"/>
                  </a:solidFill>
                  <a:latin typeface="+mn-lt"/>
                </a:rPr>
                <a:t>C</a:t>
              </a:r>
              <a:endParaRPr lang="nl-NL" sz="1000" b="1" cap="all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09" name="Tekstvak 108"/>
          <p:cNvSpPr txBox="1"/>
          <p:nvPr userDrawn="1"/>
        </p:nvSpPr>
        <p:spPr>
          <a:xfrm>
            <a:off x="1072994" y="4853681"/>
            <a:ext cx="2773568" cy="8078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nl-NL" sz="1000" dirty="0">
                <a:solidFill>
                  <a:srgbClr val="44546A"/>
                </a:solidFill>
                <a:latin typeface="+mn-lt"/>
              </a:rPr>
              <a:t>Klik op </a:t>
            </a:r>
            <a:r>
              <a:rPr lang="nl-NL" sz="1000" b="1" dirty="0">
                <a:solidFill>
                  <a:srgbClr val="44546A"/>
                </a:solidFill>
                <a:latin typeface="+mn-lt"/>
              </a:rPr>
              <a:t>“nieuwe dia”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om een </a:t>
            </a:r>
            <a:r>
              <a:rPr lang="nl-NL" sz="1000" b="1" dirty="0">
                <a:solidFill>
                  <a:srgbClr val="44546A"/>
                </a:solidFill>
                <a:latin typeface="+mn-lt"/>
              </a:rPr>
              <a:t>template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</a:t>
            </a:r>
            <a:br>
              <a:rPr lang="nl-NL" sz="1000" dirty="0">
                <a:solidFill>
                  <a:srgbClr val="44546A"/>
                </a:solidFill>
                <a:latin typeface="+mn-lt"/>
              </a:rPr>
            </a:br>
            <a:r>
              <a:rPr lang="nl-NL" sz="1000" dirty="0">
                <a:solidFill>
                  <a:srgbClr val="44546A"/>
                </a:solidFill>
                <a:latin typeface="+mn-lt"/>
              </a:rPr>
              <a:t>slide toe te voegen.</a:t>
            </a:r>
            <a:endParaRPr lang="en-GB" sz="1000" dirty="0">
              <a:solidFill>
                <a:srgbClr val="44546A"/>
              </a:solidFill>
              <a:latin typeface="+mn-lt"/>
            </a:endParaRPr>
          </a:p>
        </p:txBody>
      </p:sp>
      <p:sp>
        <p:nvSpPr>
          <p:cNvPr id="110" name="Tekstvak 109"/>
          <p:cNvSpPr txBox="1"/>
          <p:nvPr userDrawn="1"/>
        </p:nvSpPr>
        <p:spPr>
          <a:xfrm>
            <a:off x="4935951" y="4853681"/>
            <a:ext cx="2748843" cy="7504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nl-NL"/>
            </a:defPPr>
            <a:lvl1pPr>
              <a:lnSpc>
                <a:spcPct val="90000"/>
              </a:lnSpc>
              <a:defRPr sz="1050">
                <a:solidFill>
                  <a:srgbClr val="44546A"/>
                </a:solidFill>
              </a:defRPr>
            </a:lvl1pPr>
          </a:lstStyle>
          <a:p>
            <a:pPr lvl="0"/>
            <a:r>
              <a:rPr lang="nl-NL" sz="1000" b="1" dirty="0">
                <a:solidFill>
                  <a:srgbClr val="FF7800"/>
                </a:solidFill>
                <a:latin typeface="+mn-lt"/>
              </a:rPr>
              <a:t>Let op: </a:t>
            </a:r>
            <a:br>
              <a:rPr lang="nl-NL" sz="1000" dirty="0">
                <a:latin typeface="+mn-lt"/>
              </a:rPr>
            </a:br>
            <a:r>
              <a:rPr lang="nl-NL" sz="1000" dirty="0">
                <a:solidFill>
                  <a:srgbClr val="44546A"/>
                </a:solidFill>
                <a:latin typeface="+mn-lt"/>
              </a:rPr>
              <a:t>Het is </a:t>
            </a:r>
            <a:r>
              <a:rPr lang="nl-NL" sz="1000" b="1" u="sng" dirty="0">
                <a:solidFill>
                  <a:srgbClr val="44546A"/>
                </a:solidFill>
                <a:latin typeface="+mn-lt"/>
              </a:rPr>
              <a:t>niet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mogelijk een slide te kopiëren </a:t>
            </a:r>
            <a:br>
              <a:rPr lang="nl-NL" sz="1000" dirty="0">
                <a:solidFill>
                  <a:srgbClr val="44546A"/>
                </a:solidFill>
                <a:latin typeface="+mn-lt"/>
              </a:rPr>
            </a:br>
            <a:r>
              <a:rPr lang="nl-NL" sz="1000" dirty="0">
                <a:solidFill>
                  <a:srgbClr val="44546A"/>
                </a:solidFill>
                <a:latin typeface="+mn-lt"/>
              </a:rPr>
              <a:t>met een </a:t>
            </a:r>
            <a:r>
              <a:rPr lang="nl-NL" sz="1000" b="1" dirty="0">
                <a:solidFill>
                  <a:srgbClr val="44546A"/>
                </a:solidFill>
                <a:latin typeface="+mn-lt"/>
              </a:rPr>
              <a:t>andere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opmaak. Teksten en andere objecten dienen </a:t>
            </a:r>
            <a:r>
              <a:rPr lang="nl-NL" sz="1000" b="1" dirty="0">
                <a:solidFill>
                  <a:srgbClr val="FF7800"/>
                </a:solidFill>
                <a:latin typeface="+mn-lt"/>
              </a:rPr>
              <a:t>één-voor-één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te worden over gekopieerd.</a:t>
            </a:r>
          </a:p>
        </p:txBody>
      </p:sp>
    </p:spTree>
    <p:extLst>
      <p:ext uri="{BB962C8B-B14F-4D97-AF65-F5344CB8AC3E}">
        <p14:creationId xmlns:p14="http://schemas.microsoft.com/office/powerpoint/2010/main" val="321386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verz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E593F-7BE3-45C4-B9C1-6FC3E8AE4AD3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go Overzich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65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66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67" name="Rechthoek 166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8" name="Rechte verbindingslijn 167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69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70" name="Rechthoek 169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71" name="Ovaal 170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72" name="Rechte verbindingslijn 171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73" name="Rechte verbindingslijn 172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4" name="Rechthoek 173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75" name="Rechte verbindingslijn 174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6" name="Ovaal 175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77" name="Rechthoek 176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78" name="Groep 177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06" name="Rechthoek 205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07" name="Rechte verbindingslijn 206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08" name="Gelijkbenige driehoek 207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79" name="Groep 178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00" name="Rechthoek 199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Ovaal 200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Vrije vorm: vorm 201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3" name="Rechthoek: afgeronde hoeken 202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04" name="Rechte verbindingslijn 203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05" name="Rechte verbindingslijn 204"/>
                <p:cNvCxnSpPr>
                  <a:cxnSpLocks/>
                  <a:stCxn id="203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80" name="Ovaal 179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81" name="Rechthoek 180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Bijsnijd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82" name="Rechte verbindingslijn 18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83" name="Groep 182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184" name="Groep 183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187" name="Groep 186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194" name="Groep 193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197" name="Rechthoek 196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8" name="Rechthoek 197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9" name="Ovaal 198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000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95" name="Afbeelding 194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" name="Afbeelding 195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88" name="Groep 187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2" name="Rechthoek 191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3" name="Rechthoek 192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89" name="Groep 188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0" name="Rechthoek 189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1" name="Rechthoek 190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85" name="Rechthoek 184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86" name="Gelijkbenige driehoek 185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250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1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3092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2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42523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3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61954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4" name="Tijdelijke aanduiding voor verticale tekst 2"/>
          <p:cNvSpPr>
            <a:spLocks noGrp="1"/>
          </p:cNvSpPr>
          <p:nvPr>
            <p:ph type="body" orient="vert" idx="18" hasCustomPrompt="1"/>
          </p:nvPr>
        </p:nvSpPr>
        <p:spPr>
          <a:xfrm>
            <a:off x="81385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5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0081639" y="1173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6" name="Tijdelijke aanduiding voor verticale tekst 2"/>
          <p:cNvSpPr>
            <a:spLocks noGrp="1"/>
          </p:cNvSpPr>
          <p:nvPr>
            <p:ph type="body" orient="vert" idx="20" hasCustomPrompt="1"/>
          </p:nvPr>
        </p:nvSpPr>
        <p:spPr>
          <a:xfrm>
            <a:off x="3661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7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3092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42523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9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61954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81385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1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10081639" y="2380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61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23092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42523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61954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1385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10081639" y="35867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8" name="Tijdelijke aanduiding voor verticale tekst 2"/>
          <p:cNvSpPr>
            <a:spLocks noGrp="1"/>
          </p:cNvSpPr>
          <p:nvPr>
            <p:ph type="body" orient="vert" idx="32" hasCustomPrompt="1"/>
          </p:nvPr>
        </p:nvSpPr>
        <p:spPr>
          <a:xfrm>
            <a:off x="3661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23092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42523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61954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81385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3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0081639" y="4793200"/>
            <a:ext cx="1726082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4" name="Tijdelijke aanduiding voor afbeelding 45"/>
          <p:cNvSpPr>
            <a:spLocks noGrp="1"/>
          </p:cNvSpPr>
          <p:nvPr>
            <p:ph type="pic" sz="quarter" idx="38" hasCustomPrompt="1"/>
          </p:nvPr>
        </p:nvSpPr>
        <p:spPr>
          <a:xfrm>
            <a:off x="6059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5" name="Tijdelijke aanduiding voor afbeelding 45"/>
          <p:cNvSpPr>
            <a:spLocks noGrp="1"/>
          </p:cNvSpPr>
          <p:nvPr>
            <p:ph type="pic" sz="quarter" idx="39" hasCustomPrompt="1"/>
          </p:nvPr>
        </p:nvSpPr>
        <p:spPr>
          <a:xfrm>
            <a:off x="25490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6" name="Tijdelijke aanduiding voor afbeelding 45"/>
          <p:cNvSpPr>
            <a:spLocks noGrp="1"/>
          </p:cNvSpPr>
          <p:nvPr>
            <p:ph type="pic" sz="quarter" idx="40" hasCustomPrompt="1"/>
          </p:nvPr>
        </p:nvSpPr>
        <p:spPr>
          <a:xfrm>
            <a:off x="44921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7" name="Tijdelijke aanduiding voor afbeelding 45"/>
          <p:cNvSpPr>
            <a:spLocks noGrp="1"/>
          </p:cNvSpPr>
          <p:nvPr>
            <p:ph type="pic" sz="quarter" idx="41" hasCustomPrompt="1"/>
          </p:nvPr>
        </p:nvSpPr>
        <p:spPr>
          <a:xfrm>
            <a:off x="64352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8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83783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9" name="Tijdelijke aanduiding voor afbeelding 45"/>
          <p:cNvSpPr>
            <a:spLocks noGrp="1"/>
          </p:cNvSpPr>
          <p:nvPr>
            <p:ph type="pic" sz="quarter" idx="43" hasCustomPrompt="1"/>
          </p:nvPr>
        </p:nvSpPr>
        <p:spPr>
          <a:xfrm>
            <a:off x="10321474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0" name="Tijdelijke aanduiding voor afbeelding 45"/>
          <p:cNvSpPr>
            <a:spLocks noGrp="1"/>
          </p:cNvSpPr>
          <p:nvPr>
            <p:ph type="pic" sz="quarter" idx="44" hasCustomPrompt="1"/>
          </p:nvPr>
        </p:nvSpPr>
        <p:spPr>
          <a:xfrm>
            <a:off x="6059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1" name="Tijdelijke aanduiding voor afbeelding 45"/>
          <p:cNvSpPr>
            <a:spLocks noGrp="1"/>
          </p:cNvSpPr>
          <p:nvPr>
            <p:ph type="pic" sz="quarter" idx="45" hasCustomPrompt="1"/>
          </p:nvPr>
        </p:nvSpPr>
        <p:spPr>
          <a:xfrm>
            <a:off x="25490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2" name="Tijdelijke aanduiding voor afbeelding 45"/>
          <p:cNvSpPr>
            <a:spLocks noGrp="1"/>
          </p:cNvSpPr>
          <p:nvPr>
            <p:ph type="pic" sz="quarter" idx="46" hasCustomPrompt="1"/>
          </p:nvPr>
        </p:nvSpPr>
        <p:spPr>
          <a:xfrm>
            <a:off x="44921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3" name="Tijdelijke aanduiding voor afbeelding 45"/>
          <p:cNvSpPr>
            <a:spLocks noGrp="1"/>
          </p:cNvSpPr>
          <p:nvPr>
            <p:ph type="pic" sz="quarter" idx="47" hasCustomPrompt="1"/>
          </p:nvPr>
        </p:nvSpPr>
        <p:spPr>
          <a:xfrm>
            <a:off x="64352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4" name="Tijdelijke aanduiding voor afbeelding 45"/>
          <p:cNvSpPr>
            <a:spLocks noGrp="1"/>
          </p:cNvSpPr>
          <p:nvPr>
            <p:ph type="pic" sz="quarter" idx="48" hasCustomPrompt="1"/>
          </p:nvPr>
        </p:nvSpPr>
        <p:spPr>
          <a:xfrm>
            <a:off x="83783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5" name="Tijdelijke aanduiding voor afbeelding 45"/>
          <p:cNvSpPr>
            <a:spLocks noGrp="1"/>
          </p:cNvSpPr>
          <p:nvPr>
            <p:ph type="pic" sz="quarter" idx="49" hasCustomPrompt="1"/>
          </p:nvPr>
        </p:nvSpPr>
        <p:spPr>
          <a:xfrm>
            <a:off x="10321474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6" name="Tijdelijke aanduiding voor afbeelding 45"/>
          <p:cNvSpPr>
            <a:spLocks noGrp="1"/>
          </p:cNvSpPr>
          <p:nvPr>
            <p:ph type="pic" sz="quarter" idx="50" hasCustomPrompt="1"/>
          </p:nvPr>
        </p:nvSpPr>
        <p:spPr>
          <a:xfrm>
            <a:off x="6059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7" name="Tijdelijke aanduiding voor afbeelding 45"/>
          <p:cNvSpPr>
            <a:spLocks noGrp="1"/>
          </p:cNvSpPr>
          <p:nvPr>
            <p:ph type="pic" sz="quarter" idx="51" hasCustomPrompt="1"/>
          </p:nvPr>
        </p:nvSpPr>
        <p:spPr>
          <a:xfrm>
            <a:off x="25490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8" name="Tijdelijke aanduiding voor afbeelding 45"/>
          <p:cNvSpPr>
            <a:spLocks noGrp="1"/>
          </p:cNvSpPr>
          <p:nvPr>
            <p:ph type="pic" sz="quarter" idx="52" hasCustomPrompt="1"/>
          </p:nvPr>
        </p:nvSpPr>
        <p:spPr>
          <a:xfrm>
            <a:off x="44921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9" name="Tijdelijke aanduiding voor afbeelding 45"/>
          <p:cNvSpPr>
            <a:spLocks noGrp="1"/>
          </p:cNvSpPr>
          <p:nvPr>
            <p:ph type="pic" sz="quarter" idx="53" hasCustomPrompt="1"/>
          </p:nvPr>
        </p:nvSpPr>
        <p:spPr>
          <a:xfrm>
            <a:off x="64352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0" name="Tijdelijke aanduiding voor afbeelding 45"/>
          <p:cNvSpPr>
            <a:spLocks noGrp="1"/>
          </p:cNvSpPr>
          <p:nvPr>
            <p:ph type="pic" sz="quarter" idx="54" hasCustomPrompt="1"/>
          </p:nvPr>
        </p:nvSpPr>
        <p:spPr>
          <a:xfrm>
            <a:off x="83783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1" name="Tijdelijke aanduiding voor afbeelding 45"/>
          <p:cNvSpPr>
            <a:spLocks noGrp="1"/>
          </p:cNvSpPr>
          <p:nvPr>
            <p:ph type="pic" sz="quarter" idx="55" hasCustomPrompt="1"/>
          </p:nvPr>
        </p:nvSpPr>
        <p:spPr>
          <a:xfrm>
            <a:off x="10321474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2" name="Tijdelijke aanduiding voor afbeelding 45"/>
          <p:cNvSpPr>
            <a:spLocks noGrp="1"/>
          </p:cNvSpPr>
          <p:nvPr>
            <p:ph type="pic" sz="quarter" idx="56" hasCustomPrompt="1"/>
          </p:nvPr>
        </p:nvSpPr>
        <p:spPr>
          <a:xfrm>
            <a:off x="6059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3" name="Tijdelijke aanduiding voor afbeelding 45"/>
          <p:cNvSpPr>
            <a:spLocks noGrp="1"/>
          </p:cNvSpPr>
          <p:nvPr>
            <p:ph type="pic" sz="quarter" idx="57" hasCustomPrompt="1"/>
          </p:nvPr>
        </p:nvSpPr>
        <p:spPr>
          <a:xfrm>
            <a:off x="25490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4" name="Tijdelijke aanduiding voor afbeelding 45"/>
          <p:cNvSpPr>
            <a:spLocks noGrp="1"/>
          </p:cNvSpPr>
          <p:nvPr>
            <p:ph type="pic" sz="quarter" idx="58" hasCustomPrompt="1"/>
          </p:nvPr>
        </p:nvSpPr>
        <p:spPr>
          <a:xfrm>
            <a:off x="44921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5" name="Tijdelijke aanduiding voor afbeelding 45"/>
          <p:cNvSpPr>
            <a:spLocks noGrp="1"/>
          </p:cNvSpPr>
          <p:nvPr>
            <p:ph type="pic" sz="quarter" idx="59" hasCustomPrompt="1"/>
          </p:nvPr>
        </p:nvSpPr>
        <p:spPr>
          <a:xfrm>
            <a:off x="64352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6" name="Tijdelijke aanduiding voor afbeelding 45"/>
          <p:cNvSpPr>
            <a:spLocks noGrp="1"/>
          </p:cNvSpPr>
          <p:nvPr>
            <p:ph type="pic" sz="quarter" idx="60" hasCustomPrompt="1"/>
          </p:nvPr>
        </p:nvSpPr>
        <p:spPr>
          <a:xfrm>
            <a:off x="83783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7" name="Tijdelijke aanduiding voor afbeelding 45"/>
          <p:cNvSpPr>
            <a:spLocks noGrp="1"/>
          </p:cNvSpPr>
          <p:nvPr>
            <p:ph type="pic" sz="quarter" idx="61" hasCustomPrompt="1"/>
          </p:nvPr>
        </p:nvSpPr>
        <p:spPr>
          <a:xfrm>
            <a:off x="10321474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</p:spTree>
    <p:extLst>
      <p:ext uri="{BB962C8B-B14F-4D97-AF65-F5344CB8AC3E}">
        <p14:creationId xmlns:p14="http://schemas.microsoft.com/office/powerpoint/2010/main" val="2547801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4" grpId="0"/>
      <p:bldP spid="275" grpId="0"/>
      <p:bldP spid="276" grpId="0"/>
      <p:bldP spid="277" grpId="0"/>
      <p:bldP spid="278" grpId="0"/>
      <p:bldP spid="279" grpId="0"/>
      <p:bldP spid="280" grpId="0"/>
      <p:bldP spid="281" grpId="0"/>
      <p:bldP spid="282" grpId="0"/>
      <p:bldP spid="283" grpId="0"/>
      <p:bldP spid="284" grpId="0"/>
      <p:bldP spid="285" grpId="0"/>
      <p:bldP spid="286" grpId="0"/>
      <p:bldP spid="287" grpId="0"/>
      <p:bldP spid="288" grpId="0"/>
      <p:bldP spid="289" grpId="0"/>
      <p:bldP spid="290" grpId="0"/>
      <p:bldP spid="291" grpId="0"/>
      <p:bldP spid="292" grpId="0"/>
      <p:bldP spid="293" grpId="0"/>
      <p:bldP spid="294" grpId="0"/>
      <p:bldP spid="295" grpId="0"/>
      <p:bldP spid="296" grpId="0"/>
      <p:bldP spid="297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ekstvak 30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ro slide</a:t>
            </a:r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84" name="Afbeelding 8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35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36" name="Rechthoek 3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37" name="Ovaal 3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8" name="Rechte verbindingslijn 3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9" name="Rechte verbindingslijn 3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0" name="Rechthoek 3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2" name="Ovaal 4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4" name="Groep 43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77" name="Rechthoek 76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78" name="Rechte verbindingslijn 77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79" name="Gelijkbenige driehoek 78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45" name="Groep 4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Ovaal 71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Vrije vorm: vorm 72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Rechthoek: afgeronde hoeken 73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75" name="Rechte verbindingslijn 74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76" name="Rechte verbindingslijn 75"/>
                <p:cNvCxnSpPr>
                  <a:cxnSpLocks/>
                  <a:stCxn id="74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46" name="Ovaal 4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7" name="Rechthoek 4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8" name="Rechte verbindingslijn 4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9" name="Groep 4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Rechthoek 50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2" name="Groep 51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65" name="Rechthoek: afgeronde hoeken 64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Rechthoek 65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8" name="Rechthoek 67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9" name="Rechthoek 68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53" name="Groep 52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57" name="Groep 56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59" name="Rechthoek: afgeronde hoeken 58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0" name="Rechthoek 59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60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62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4" name="Rechthoek 63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58" name="Boog 57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54" name="Tekstvak 53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55" name="Tekstvak 54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56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8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8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82" name="Rechthoek 8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3" name="Rechte verbindingslijn 8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0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1308217" y="826943"/>
            <a:ext cx="6282061" cy="2208357"/>
          </a:xfrm>
          <a:solidFill>
            <a:schemeClr val="tx2">
              <a:alpha val="90000"/>
            </a:schemeClr>
          </a:solidFill>
        </p:spPr>
        <p:txBody>
          <a:bodyPr vert="horz"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7798" y="1331380"/>
            <a:ext cx="5822898" cy="423198"/>
          </a:xfrm>
        </p:spPr>
        <p:txBody>
          <a:bodyPr wrap="none" anchor="ctr"/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rijfsnaam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37798" y="2415716"/>
            <a:ext cx="5822898" cy="3960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60350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827659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29" hasCustomPrompt="1"/>
          </p:nvPr>
        </p:nvSpPr>
        <p:spPr>
          <a:xfrm>
            <a:off x="8276596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27659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5A383-15E1-40DF-ADA6-DD89136534A3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433313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9"/>
          <p:cNvSpPr>
            <a:spLocks noGrp="1"/>
          </p:cNvSpPr>
          <p:nvPr>
            <p:ph type="pic" sz="quarter" idx="26" hasCustomPrompt="1"/>
          </p:nvPr>
        </p:nvSpPr>
        <p:spPr>
          <a:xfrm>
            <a:off x="4333136" y="1179859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433313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2F03B4BA-F6F9-40B7-B0C8-69E5F24A8777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99" name="Afbeelding 98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5" name="Rechthoek 104"/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6" name="Ovaal 105"/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7" name="Rechte verbindingslijn 106"/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8" name="Rechte verbindingslijn 107"/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Rechthoek 108"/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0" name="Rechte verbindingslijn 109"/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1" name="Ovaal 110"/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2" name="Rechthoek 111"/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2" name="Groep 121"/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5" name="Rechthoek 154"/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6" name="Rechte verbindingslijn 155"/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7" name="Gelijkbenige driehoek 156"/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3" name="Groep 122"/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1" name="Vrije vorm: vorm 150"/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2" name="Rechthoek: afgeronde hoeken 151"/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53" name="Rechte verbindingslijn 152"/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4" name="Rechte verbindingslijn 153"/>
              <p:cNvCxnSpPr>
                <a:cxnSpLocks/>
                <a:stCxn id="15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24" name="Ovaal 123"/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25" name="Rechthoek 124"/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/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7" name="Groep 126"/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8" name="Rechthoek 127"/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Rechthoek 128"/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0" name="Groep 129"/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43" name="Rechthoek: afgeronde hoeken 142"/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" name="Rechthoek 143"/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5" name="Rechthoek 144"/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6" name="Rechthoek 145"/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7" name="Rechthoek 146"/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8" name="Rechthoek 147"/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1" name="Groep 130"/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5" name="Groep 134"/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7" name="Rechthoek: afgeronde hoeken 136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8" name="Rechthoek 137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9" name="Rechthoek 138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6" name="Boog 135"/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32" name="Tekstvak 131"/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33" name="Tekstvak 132"/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4" name="Picture 3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01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0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03" name="Rechthoek 10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04" name="Rechte verbindingslijn 10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7210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7882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6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ED1B2-AC1D-4D61-852A-B25377DDEC99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0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3347271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afbeelding 39"/>
          <p:cNvSpPr>
            <a:spLocks noGrp="1"/>
          </p:cNvSpPr>
          <p:nvPr>
            <p:ph type="pic" sz="quarter" idx="32" hasCustomPrompt="1"/>
          </p:nvPr>
        </p:nvSpPr>
        <p:spPr>
          <a:xfrm>
            <a:off x="3347271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0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3347271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6304867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afbeelding 39"/>
          <p:cNvSpPr>
            <a:spLocks noGrp="1"/>
          </p:cNvSpPr>
          <p:nvPr>
            <p:ph type="pic" sz="quarter" idx="35" hasCustomPrompt="1"/>
          </p:nvPr>
        </p:nvSpPr>
        <p:spPr>
          <a:xfrm>
            <a:off x="6304867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6304867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9262462" y="1179858"/>
            <a:ext cx="2574534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9"/>
          <p:cNvSpPr>
            <a:spLocks noGrp="1"/>
          </p:cNvSpPr>
          <p:nvPr>
            <p:ph type="pic" sz="quarter" idx="38" hasCustomPrompt="1"/>
          </p:nvPr>
        </p:nvSpPr>
        <p:spPr>
          <a:xfrm>
            <a:off x="9262462" y="1179859"/>
            <a:ext cx="2574534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9262462" y="4949937"/>
            <a:ext cx="2574534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1" name="Groep 160">
            <a:extLst>
              <a:ext uri="{FF2B5EF4-FFF2-40B4-BE49-F238E27FC236}">
                <a16:creationId xmlns:a16="http://schemas.microsoft.com/office/drawing/2014/main" id="{FCCEFB53-926B-43A5-B15D-C393B347BA7A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62" name="Afbeelding 161">
              <a:extLst>
                <a:ext uri="{FF2B5EF4-FFF2-40B4-BE49-F238E27FC236}">
                  <a16:creationId xmlns:a16="http://schemas.microsoft.com/office/drawing/2014/main" id="{3A99021C-1B73-45AC-9E0D-0BA5D305DF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9B8684C5-75ED-478A-BBAD-52500D10A50D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1EF576AE-826F-49DE-AE9D-26CBDC98975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5" name="Rechte verbindingslijn 164">
              <a:extLst>
                <a:ext uri="{FF2B5EF4-FFF2-40B4-BE49-F238E27FC236}">
                  <a16:creationId xmlns:a16="http://schemas.microsoft.com/office/drawing/2014/main" id="{D2002A68-8E60-4B1A-AD5F-F4F94FC5C1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6" name="Rechte verbindingslijn 165">
              <a:extLst>
                <a:ext uri="{FF2B5EF4-FFF2-40B4-BE49-F238E27FC236}">
                  <a16:creationId xmlns:a16="http://schemas.microsoft.com/office/drawing/2014/main" id="{08E75B8E-FCBA-4D8D-A676-4CD4F31EA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0B3E36AC-A52B-4D6C-81A6-99225B4AF218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F6517321-962A-4431-9C8D-7BD93F887E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9" name="Ovaal 168">
              <a:extLst>
                <a:ext uri="{FF2B5EF4-FFF2-40B4-BE49-F238E27FC236}">
                  <a16:creationId xmlns:a16="http://schemas.microsoft.com/office/drawing/2014/main" id="{875DD6BB-72DA-4541-A07D-08C37A1D6B0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EC3C8B96-A4ED-4876-A4CC-821810C4296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71" name="Groep 170">
              <a:extLst>
                <a:ext uri="{FF2B5EF4-FFF2-40B4-BE49-F238E27FC236}">
                  <a16:creationId xmlns:a16="http://schemas.microsoft.com/office/drawing/2014/main" id="{F2357E44-78CA-45A3-956B-965161D93275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08" name="Rechthoek 207">
                <a:extLst>
                  <a:ext uri="{FF2B5EF4-FFF2-40B4-BE49-F238E27FC236}">
                    <a16:creationId xmlns:a16="http://schemas.microsoft.com/office/drawing/2014/main" id="{0968A9B8-C0BC-459A-BA15-75EF9F09CCA5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CA830A2C-618E-47BF-9D3A-55DD1546A2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0" name="Gelijkbenige driehoek 209">
                <a:extLst>
                  <a:ext uri="{FF2B5EF4-FFF2-40B4-BE49-F238E27FC236}">
                    <a16:creationId xmlns:a16="http://schemas.microsoft.com/office/drawing/2014/main" id="{56B033E5-EC50-4438-BF01-1AB2254EF26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8DC86FEC-AE61-41F2-B99F-7F06AC040A8E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2" name="Rechthoek 201">
                <a:extLst>
                  <a:ext uri="{FF2B5EF4-FFF2-40B4-BE49-F238E27FC236}">
                    <a16:creationId xmlns:a16="http://schemas.microsoft.com/office/drawing/2014/main" id="{0E48B30F-2417-4027-A68E-502802915B0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3" name="Ovaal 202">
                <a:extLst>
                  <a:ext uri="{FF2B5EF4-FFF2-40B4-BE49-F238E27FC236}">
                    <a16:creationId xmlns:a16="http://schemas.microsoft.com/office/drawing/2014/main" id="{6BB66B2B-0443-44EE-86EF-9ADAFA26DDA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4" name="Vrije vorm: vorm 203">
                <a:extLst>
                  <a:ext uri="{FF2B5EF4-FFF2-40B4-BE49-F238E27FC236}">
                    <a16:creationId xmlns:a16="http://schemas.microsoft.com/office/drawing/2014/main" id="{4BC0AA19-3AA7-4497-AC19-7BE63BB2CA6B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hoek: afgeronde hoeken 204">
                <a:extLst>
                  <a:ext uri="{FF2B5EF4-FFF2-40B4-BE49-F238E27FC236}">
                    <a16:creationId xmlns:a16="http://schemas.microsoft.com/office/drawing/2014/main" id="{F2A43995-E44A-4567-9C15-9B1ACE11309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6" name="Rechte verbindingslijn 205">
                <a:extLst>
                  <a:ext uri="{FF2B5EF4-FFF2-40B4-BE49-F238E27FC236}">
                    <a16:creationId xmlns:a16="http://schemas.microsoft.com/office/drawing/2014/main" id="{3C9BD617-A860-4012-A1F2-BFAAF3A2555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7" name="Rechte verbindingslijn 206">
                <a:extLst>
                  <a:ext uri="{FF2B5EF4-FFF2-40B4-BE49-F238E27FC236}">
                    <a16:creationId xmlns:a16="http://schemas.microsoft.com/office/drawing/2014/main" id="{ACAAB843-9003-4FC7-A8B5-E2ECD47E8001}"/>
                  </a:ext>
                </a:extLst>
              </p:cNvPr>
              <p:cNvCxnSpPr>
                <a:cxnSpLocks/>
                <a:stCxn id="20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3" name="Ovaal 172">
              <a:extLst>
                <a:ext uri="{FF2B5EF4-FFF2-40B4-BE49-F238E27FC236}">
                  <a16:creationId xmlns:a16="http://schemas.microsoft.com/office/drawing/2014/main" id="{6E96B380-58E2-471D-9744-63A03ABA625C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1C052F2-3015-408F-A310-B5C9BD9A681D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75" name="Rechte verbindingslijn 174">
              <a:extLst>
                <a:ext uri="{FF2B5EF4-FFF2-40B4-BE49-F238E27FC236}">
                  <a16:creationId xmlns:a16="http://schemas.microsoft.com/office/drawing/2014/main" id="{D1DC919E-DD42-4DE0-B301-429EE7292B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6" name="Groep 175">
              <a:extLst>
                <a:ext uri="{FF2B5EF4-FFF2-40B4-BE49-F238E27FC236}">
                  <a16:creationId xmlns:a16="http://schemas.microsoft.com/office/drawing/2014/main" id="{11B11B8F-B9C0-4E6E-A0BC-47375EC6A1CF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423346B5-4BFA-41F8-9AEC-3B60B611AB4A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99F3326D-20BC-4B71-8064-1442FB78EEED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3" name="Groep 182">
                <a:extLst>
                  <a:ext uri="{FF2B5EF4-FFF2-40B4-BE49-F238E27FC236}">
                    <a16:creationId xmlns:a16="http://schemas.microsoft.com/office/drawing/2014/main" id="{E9D47A58-71F3-4D64-9061-D9D134550845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6" name="Rechthoek: afgeronde hoeken 195">
                  <a:extLst>
                    <a:ext uri="{FF2B5EF4-FFF2-40B4-BE49-F238E27FC236}">
                      <a16:creationId xmlns:a16="http://schemas.microsoft.com/office/drawing/2014/main" id="{B0FC5052-23D2-4769-BB7E-B1A5E3ED711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48307DBB-7A5C-4ACC-9A6B-435633C63DB6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8" name="Rechthoek 197">
                  <a:extLst>
                    <a:ext uri="{FF2B5EF4-FFF2-40B4-BE49-F238E27FC236}">
                      <a16:creationId xmlns:a16="http://schemas.microsoft.com/office/drawing/2014/main" id="{86C2BE51-82C1-45ED-AEB9-F7264120349F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9" name="Rechthoek 198">
                  <a:extLst>
                    <a:ext uri="{FF2B5EF4-FFF2-40B4-BE49-F238E27FC236}">
                      <a16:creationId xmlns:a16="http://schemas.microsoft.com/office/drawing/2014/main" id="{47C69D9F-B551-4F47-90A1-C851A8E5CC0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0223528A-E41D-4AFB-B26F-4A80EC0B372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A1F2EA93-C5B2-4F45-9ECF-89EBAB3249DD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84" name="Groep 183">
                <a:extLst>
                  <a:ext uri="{FF2B5EF4-FFF2-40B4-BE49-F238E27FC236}">
                    <a16:creationId xmlns:a16="http://schemas.microsoft.com/office/drawing/2014/main" id="{FFFB3BA9-F231-4D9A-80B7-BA09F4FAF52E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88" name="Groep 187">
                  <a:extLst>
                    <a:ext uri="{FF2B5EF4-FFF2-40B4-BE49-F238E27FC236}">
                      <a16:creationId xmlns:a16="http://schemas.microsoft.com/office/drawing/2014/main" id="{28261D45-497A-4B0E-905B-83D8A856FEAF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0" name="Rechthoek: afgeronde hoeken 189">
                    <a:extLst>
                      <a:ext uri="{FF2B5EF4-FFF2-40B4-BE49-F238E27FC236}">
                        <a16:creationId xmlns:a16="http://schemas.microsoft.com/office/drawing/2014/main" id="{813C5FE2-9BC2-4D0C-9275-6200F9A394D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1" name="Rechthoek 190">
                    <a:extLst>
                      <a:ext uri="{FF2B5EF4-FFF2-40B4-BE49-F238E27FC236}">
                        <a16:creationId xmlns:a16="http://schemas.microsoft.com/office/drawing/2014/main" id="{0E32D907-F160-4E42-AE75-D29E33A59FC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2" name="Rechthoek 191">
                    <a:extLst>
                      <a:ext uri="{FF2B5EF4-FFF2-40B4-BE49-F238E27FC236}">
                        <a16:creationId xmlns:a16="http://schemas.microsoft.com/office/drawing/2014/main" id="{9B9E021B-097A-49A8-AA71-3B7093FBC6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3" name="Rechthoek 192">
                    <a:extLst>
                      <a:ext uri="{FF2B5EF4-FFF2-40B4-BE49-F238E27FC236}">
                        <a16:creationId xmlns:a16="http://schemas.microsoft.com/office/drawing/2014/main" id="{ACB73619-5777-4178-A38E-19DE7C9AB83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831B80DE-1C31-4CAF-9FB0-EDA412D0A3E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DF7F71AB-B3BD-4A7C-9009-E2121DA2F46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89" name="Boog 188">
                  <a:extLst>
                    <a:ext uri="{FF2B5EF4-FFF2-40B4-BE49-F238E27FC236}">
                      <a16:creationId xmlns:a16="http://schemas.microsoft.com/office/drawing/2014/main" id="{6959CB37-6156-4AE2-93C6-7635D136BD9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85" name="Tekstvak 184">
                <a:extLst>
                  <a:ext uri="{FF2B5EF4-FFF2-40B4-BE49-F238E27FC236}">
                    <a16:creationId xmlns:a16="http://schemas.microsoft.com/office/drawing/2014/main" id="{520AE291-3C80-410B-B153-EEFB1B14E11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6" name="Tekstvak 185">
                <a:extLst>
                  <a:ext uri="{FF2B5EF4-FFF2-40B4-BE49-F238E27FC236}">
                    <a16:creationId xmlns:a16="http://schemas.microsoft.com/office/drawing/2014/main" id="{ABE86CB3-3DDB-4585-95EA-8518FDD79CF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87" name="Picture 3">
                <a:extLst>
                  <a:ext uri="{FF2B5EF4-FFF2-40B4-BE49-F238E27FC236}">
                    <a16:creationId xmlns:a16="http://schemas.microsoft.com/office/drawing/2014/main" id="{50DA060E-9384-4105-A3A1-3A51710AAB8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77" name="Meer informatie">
              <a:extLst>
                <a:ext uri="{FF2B5EF4-FFF2-40B4-BE49-F238E27FC236}">
                  <a16:creationId xmlns:a16="http://schemas.microsoft.com/office/drawing/2014/main" id="{7DCCAA6E-486F-485A-9FF9-3E6DA4B44B5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78" name="Freeform 101">
                <a:extLst>
                  <a:ext uri="{FF2B5EF4-FFF2-40B4-BE49-F238E27FC236}">
                    <a16:creationId xmlns:a16="http://schemas.microsoft.com/office/drawing/2014/main" id="{F6307448-E31E-4DC1-A9CE-D9FE1DC727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79" name="Rechthoek 178">
                <a:extLst>
                  <a:ext uri="{FF2B5EF4-FFF2-40B4-BE49-F238E27FC236}">
                    <a16:creationId xmlns:a16="http://schemas.microsoft.com/office/drawing/2014/main" id="{051AC3A5-F246-43EC-9426-717DCF1A7781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0" name="Rechte verbindingslijn 179">
                <a:extLst>
                  <a:ext uri="{FF2B5EF4-FFF2-40B4-BE49-F238E27FC236}">
                    <a16:creationId xmlns:a16="http://schemas.microsoft.com/office/drawing/2014/main" id="{91214991-2318-4A98-B245-BFF671971D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22690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3251E7-C7A9-44D7-866A-8840D5E9178C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9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2755752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41" hasCustomPrompt="1"/>
          </p:nvPr>
        </p:nvSpPr>
        <p:spPr>
          <a:xfrm>
            <a:off x="2755752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42" hasCustomPrompt="1"/>
          </p:nvPr>
        </p:nvSpPr>
        <p:spPr>
          <a:xfrm>
            <a:off x="2755752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5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121829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6" name="Tijdelijke aanduiding voor afbeelding 39"/>
          <p:cNvSpPr>
            <a:spLocks noGrp="1"/>
          </p:cNvSpPr>
          <p:nvPr>
            <p:ph type="pic" sz="quarter" idx="44" hasCustomPrompt="1"/>
          </p:nvPr>
        </p:nvSpPr>
        <p:spPr>
          <a:xfrm>
            <a:off x="5121829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7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5121829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46" hasCustomPrompt="1"/>
          </p:nvPr>
        </p:nvSpPr>
        <p:spPr>
          <a:xfrm>
            <a:off x="7487906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9"/>
          <p:cNvSpPr>
            <a:spLocks noGrp="1"/>
          </p:cNvSpPr>
          <p:nvPr>
            <p:ph type="pic" sz="quarter" idx="47" hasCustomPrompt="1"/>
          </p:nvPr>
        </p:nvSpPr>
        <p:spPr>
          <a:xfrm>
            <a:off x="7487906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7487906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853983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2" name="Tijdelijke aanduiding voor afbeelding 39"/>
          <p:cNvSpPr>
            <a:spLocks noGrp="1"/>
          </p:cNvSpPr>
          <p:nvPr>
            <p:ph type="pic" sz="quarter" idx="50" hasCustomPrompt="1"/>
          </p:nvPr>
        </p:nvSpPr>
        <p:spPr>
          <a:xfrm>
            <a:off x="9853983" y="1179859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3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9853983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4" name="Groep 163">
            <a:extLst>
              <a:ext uri="{FF2B5EF4-FFF2-40B4-BE49-F238E27FC236}">
                <a16:creationId xmlns:a16="http://schemas.microsoft.com/office/drawing/2014/main" id="{38D2DAF9-87E2-49C7-8899-11CCDEE40A05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65" name="Afbeelding 164">
              <a:extLst>
                <a:ext uri="{FF2B5EF4-FFF2-40B4-BE49-F238E27FC236}">
                  <a16:creationId xmlns:a16="http://schemas.microsoft.com/office/drawing/2014/main" id="{1AA66F7B-7057-4205-9A25-50A1BEBFFC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0F966880-FA1E-4516-8D0A-EC1723CA8A23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7" name="Ovaal 166">
              <a:extLst>
                <a:ext uri="{FF2B5EF4-FFF2-40B4-BE49-F238E27FC236}">
                  <a16:creationId xmlns:a16="http://schemas.microsoft.com/office/drawing/2014/main" id="{6FECEAD8-89DC-4377-8B2B-6557251EB40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508E4D78-AA0E-4157-BC47-24FDCABC0A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9" name="Rechte verbindingslijn 168">
              <a:extLst>
                <a:ext uri="{FF2B5EF4-FFF2-40B4-BE49-F238E27FC236}">
                  <a16:creationId xmlns:a16="http://schemas.microsoft.com/office/drawing/2014/main" id="{052E3544-7CAA-4535-85BC-C02B48CEC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A8617A58-895C-451A-9D11-7AC862FAF372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5517C501-B8FD-46D9-8D82-F583E5CD4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2" name="Ovaal 171">
              <a:extLst>
                <a:ext uri="{FF2B5EF4-FFF2-40B4-BE49-F238E27FC236}">
                  <a16:creationId xmlns:a16="http://schemas.microsoft.com/office/drawing/2014/main" id="{218F8EBF-96BA-46A8-9FF6-B153943777DA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3" name="Rechthoek 172">
              <a:extLst>
                <a:ext uri="{FF2B5EF4-FFF2-40B4-BE49-F238E27FC236}">
                  <a16:creationId xmlns:a16="http://schemas.microsoft.com/office/drawing/2014/main" id="{A4F5CC46-C071-49C1-BFB7-D76F1689F569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74" name="Groep 173">
              <a:extLst>
                <a:ext uri="{FF2B5EF4-FFF2-40B4-BE49-F238E27FC236}">
                  <a16:creationId xmlns:a16="http://schemas.microsoft.com/office/drawing/2014/main" id="{B26FB392-FEE8-4B73-AAD0-AA67B6E1E3C8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11" name="Rechthoek 210">
                <a:extLst>
                  <a:ext uri="{FF2B5EF4-FFF2-40B4-BE49-F238E27FC236}">
                    <a16:creationId xmlns:a16="http://schemas.microsoft.com/office/drawing/2014/main" id="{312C51CE-15C8-4341-A38C-B6F0225BF78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id="{0284F455-F8EE-4D01-9D2C-D8625777D36B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3" name="Gelijkbenige driehoek 212">
                <a:extLst>
                  <a:ext uri="{FF2B5EF4-FFF2-40B4-BE49-F238E27FC236}">
                    <a16:creationId xmlns:a16="http://schemas.microsoft.com/office/drawing/2014/main" id="{DB65B57D-3EE2-4463-8BD2-8142290061A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5" name="Groep 174">
              <a:extLst>
                <a:ext uri="{FF2B5EF4-FFF2-40B4-BE49-F238E27FC236}">
                  <a16:creationId xmlns:a16="http://schemas.microsoft.com/office/drawing/2014/main" id="{C38E73B8-3EFB-4167-BB82-5C786D640CBD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5" name="Rechthoek 204">
                <a:extLst>
                  <a:ext uri="{FF2B5EF4-FFF2-40B4-BE49-F238E27FC236}">
                    <a16:creationId xmlns:a16="http://schemas.microsoft.com/office/drawing/2014/main" id="{50FE3A73-A9AA-4E92-90FF-C029BC236E9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6" name="Ovaal 205">
                <a:extLst>
                  <a:ext uri="{FF2B5EF4-FFF2-40B4-BE49-F238E27FC236}">
                    <a16:creationId xmlns:a16="http://schemas.microsoft.com/office/drawing/2014/main" id="{6109A826-A59A-494F-8EFB-9169389116BF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Vrije vorm: vorm 206">
                <a:extLst>
                  <a:ext uri="{FF2B5EF4-FFF2-40B4-BE49-F238E27FC236}">
                    <a16:creationId xmlns:a16="http://schemas.microsoft.com/office/drawing/2014/main" id="{C7FF406F-1CC2-4AC0-A17A-9305DD310A09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Rechthoek: afgeronde hoeken 207">
                <a:extLst>
                  <a:ext uri="{FF2B5EF4-FFF2-40B4-BE49-F238E27FC236}">
                    <a16:creationId xmlns:a16="http://schemas.microsoft.com/office/drawing/2014/main" id="{D8F14FC4-67C6-46E4-9736-D4263CDF915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B5F5ADCB-5B88-46E4-831E-1EB6CC3F62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0" name="Rechte verbindingslijn 209">
                <a:extLst>
                  <a:ext uri="{FF2B5EF4-FFF2-40B4-BE49-F238E27FC236}">
                    <a16:creationId xmlns:a16="http://schemas.microsoft.com/office/drawing/2014/main" id="{1EE24356-0697-4A22-9217-8F2333BB4BCC}"/>
                  </a:ext>
                </a:extLst>
              </p:cNvPr>
              <p:cNvCxnSpPr>
                <a:cxnSpLocks/>
                <a:stCxn id="20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6" name="Ovaal 175">
              <a:extLst>
                <a:ext uri="{FF2B5EF4-FFF2-40B4-BE49-F238E27FC236}">
                  <a16:creationId xmlns:a16="http://schemas.microsoft.com/office/drawing/2014/main" id="{5D9121B1-C8A4-4B09-A569-0817E41A2C73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E1BEF1BF-D9B8-4982-8EE8-BF23855D2C60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78" name="Rechte verbindingslijn 177">
              <a:extLst>
                <a:ext uri="{FF2B5EF4-FFF2-40B4-BE49-F238E27FC236}">
                  <a16:creationId xmlns:a16="http://schemas.microsoft.com/office/drawing/2014/main" id="{34CABE9A-775D-4F82-B986-4B8C5BC64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9" name="Groep 178">
              <a:extLst>
                <a:ext uri="{FF2B5EF4-FFF2-40B4-BE49-F238E27FC236}">
                  <a16:creationId xmlns:a16="http://schemas.microsoft.com/office/drawing/2014/main" id="{E9134E10-1CE7-464D-AF04-8ECE531BA052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4" name="Rechthoek 183">
                <a:extLst>
                  <a:ext uri="{FF2B5EF4-FFF2-40B4-BE49-F238E27FC236}">
                    <a16:creationId xmlns:a16="http://schemas.microsoft.com/office/drawing/2014/main" id="{B1F7EAE7-B41D-4220-9416-AAD62A602D14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141DA8B3-BC3C-409A-8179-8BC02A819CE7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6" name="Groep 185">
                <a:extLst>
                  <a:ext uri="{FF2B5EF4-FFF2-40B4-BE49-F238E27FC236}">
                    <a16:creationId xmlns:a16="http://schemas.microsoft.com/office/drawing/2014/main" id="{643B4677-1A21-4BBE-AF32-B315B05E9E2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FFB68C5E-FB3F-4929-B93C-87FBC4BDDFC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E53F557F-6C2E-4FF7-B600-2179C0A06F8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5D24B4BB-7526-4E17-8D3D-9DB221A68BE1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Rechthoek 201">
                  <a:extLst>
                    <a:ext uri="{FF2B5EF4-FFF2-40B4-BE49-F238E27FC236}">
                      <a16:creationId xmlns:a16="http://schemas.microsoft.com/office/drawing/2014/main" id="{6C266F8B-47DB-4A5E-B431-EC066AEC35B7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3" name="Rechthoek 202">
                  <a:extLst>
                    <a:ext uri="{FF2B5EF4-FFF2-40B4-BE49-F238E27FC236}">
                      <a16:creationId xmlns:a16="http://schemas.microsoft.com/office/drawing/2014/main" id="{2116B610-2150-4394-8176-6632BF44B15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4" name="Rechthoek 203">
                  <a:extLst>
                    <a:ext uri="{FF2B5EF4-FFF2-40B4-BE49-F238E27FC236}">
                      <a16:creationId xmlns:a16="http://schemas.microsoft.com/office/drawing/2014/main" id="{59B4C523-D9EB-4378-ACE4-56B180052AFC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87" name="Groep 186">
                <a:extLst>
                  <a:ext uri="{FF2B5EF4-FFF2-40B4-BE49-F238E27FC236}">
                    <a16:creationId xmlns:a16="http://schemas.microsoft.com/office/drawing/2014/main" id="{940F4B68-BC22-49C3-A4F2-965BEEBF280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25A6F0AA-9EC5-49D0-B594-E1ED76B3A07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3" name="Rechthoek: afgeronde hoeken 192">
                    <a:extLst>
                      <a:ext uri="{FF2B5EF4-FFF2-40B4-BE49-F238E27FC236}">
                        <a16:creationId xmlns:a16="http://schemas.microsoft.com/office/drawing/2014/main" id="{86F99140-AAB2-4A16-B9D5-187CDDB3722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27A1D887-2180-47CD-996B-EC4E25C1D4D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4666E821-9405-4676-8B3E-0B5AEBE2BD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6" name="Rechthoek 195">
                    <a:extLst>
                      <a:ext uri="{FF2B5EF4-FFF2-40B4-BE49-F238E27FC236}">
                        <a16:creationId xmlns:a16="http://schemas.microsoft.com/office/drawing/2014/main" id="{1F8C0A9C-8B44-40FE-A094-1B8B088E680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7" name="Rechthoek 196">
                    <a:extLst>
                      <a:ext uri="{FF2B5EF4-FFF2-40B4-BE49-F238E27FC236}">
                        <a16:creationId xmlns:a16="http://schemas.microsoft.com/office/drawing/2014/main" id="{2ED4EF97-7A18-4CBF-A0B7-034F4EEAB4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Rechthoek 197">
                    <a:extLst>
                      <a:ext uri="{FF2B5EF4-FFF2-40B4-BE49-F238E27FC236}">
                        <a16:creationId xmlns:a16="http://schemas.microsoft.com/office/drawing/2014/main" id="{27F78269-250C-43E4-B700-7E0B5BF7A85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92" name="Boog 191">
                  <a:extLst>
                    <a:ext uri="{FF2B5EF4-FFF2-40B4-BE49-F238E27FC236}">
                      <a16:creationId xmlns:a16="http://schemas.microsoft.com/office/drawing/2014/main" id="{75E668F1-0C05-4217-988B-50AF97A634D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88" name="Tekstvak 187">
                <a:extLst>
                  <a:ext uri="{FF2B5EF4-FFF2-40B4-BE49-F238E27FC236}">
                    <a16:creationId xmlns:a16="http://schemas.microsoft.com/office/drawing/2014/main" id="{30EB4B55-E56B-4583-AA82-FDC7719919DE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9" name="Tekstvak 188">
                <a:extLst>
                  <a:ext uri="{FF2B5EF4-FFF2-40B4-BE49-F238E27FC236}">
                    <a16:creationId xmlns:a16="http://schemas.microsoft.com/office/drawing/2014/main" id="{9ADD8F84-D59C-45C9-81B4-D6D15706F4F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0" name="Picture 3">
                <a:extLst>
                  <a:ext uri="{FF2B5EF4-FFF2-40B4-BE49-F238E27FC236}">
                    <a16:creationId xmlns:a16="http://schemas.microsoft.com/office/drawing/2014/main" id="{E53A0344-1CFE-470F-98BE-FF7AC14B512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80" name="Meer informatie">
              <a:extLst>
                <a:ext uri="{FF2B5EF4-FFF2-40B4-BE49-F238E27FC236}">
                  <a16:creationId xmlns:a16="http://schemas.microsoft.com/office/drawing/2014/main" id="{88D23574-171E-468F-BABD-5C1B3A8F73B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1" name="Freeform 101">
                <a:extLst>
                  <a:ext uri="{FF2B5EF4-FFF2-40B4-BE49-F238E27FC236}">
                    <a16:creationId xmlns:a16="http://schemas.microsoft.com/office/drawing/2014/main" id="{08DAF4CF-3A68-4123-B012-28C8481E3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6C1A78CE-E171-48F1-996E-87AFE5136D4E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3" name="Rechte verbindingslijn 182">
                <a:extLst>
                  <a:ext uri="{FF2B5EF4-FFF2-40B4-BE49-F238E27FC236}">
                    <a16:creationId xmlns:a16="http://schemas.microsoft.com/office/drawing/2014/main" id="{A053D5B9-E02C-49FE-8C1B-659A43A14E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207548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6" grpId="0" animBg="1"/>
      <p:bldP spid="12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animBg="1"/>
      <p:bldP spid="13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15957-692C-48D4-875C-7F1E2CC5B5AB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0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3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5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5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0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5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5" y="1179861"/>
            <a:ext cx="2720414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2023D4CD-0D2F-488F-8979-F801863C1E4B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E7E3A84-A1CB-4554-87B4-799657271A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2FDA28EB-165A-4F6B-A67F-4876D9A4091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DD239770-6FC9-4865-92D0-563B8BDAD9BC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85B0525-87C1-4F8E-9ACA-324252B82C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507CF792-CAD2-453E-ABC2-C4C9665DBC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D6BDF347-BE7D-4A98-9E6C-4FE7744C14A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4796338D-18A7-4BEF-9797-CCFCC3F140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54ABF31A-AAF4-4F88-923F-4CE50EA4225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E692BB84-0777-4E5C-A1B6-FA9D3794EFAB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BF9555C9-F52D-4C85-9223-328DDA3502F4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FAE68C26-8477-4846-A1C5-353C0D531B51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83EA00D4-333C-45A2-8B1D-21942EF9B103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FD9273D1-C47E-44D7-BEF9-5CE578B7BC1D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AA17CF37-CBFA-428F-B5B3-A00C3025EC2C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FF40D03D-2B54-40F7-B77F-EE568FD0C625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A648A5D0-BADF-4D49-B7A8-E053AE257244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32B3B0FA-D58C-4E59-A576-6A18E25AA24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E1F70F3D-91F1-4847-B1BB-E2E35068C201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D0F2971-CA6E-4546-A8CA-23C1563AD8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13C0F120-4455-4063-9DDE-D18589706281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0CC36644-F31B-4F69-B4F6-447BE223CE1A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F1E1984A-272F-41CE-8A4E-476CA1697415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6C7D05E3-3E63-402D-A979-769F955FA3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C12C77E7-0D22-48A0-9F34-B57DE3752C7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25014AF0-BCAA-4959-9EB0-4541AEA33CE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C1DC6569-CD9D-4FDF-9AE8-BC78EB50763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AD34B0E3-3E39-4C7D-B204-7351DBC49341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56CB8802-6F8A-406B-9834-B95BA04AED3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24AC5A4F-2FB6-4899-B3DD-0705E3C47A2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2E7491E0-FA1D-4963-A3DE-DD2610F442F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225E9DB3-142C-46E1-B605-028B61D63EDE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4EBD5C3C-B5E9-4050-AB08-3398239DE9C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1653F7D-CE37-4C55-818B-AADC8E7FE13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7603C3E1-332C-4897-8F0C-3DE9D8BDE18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B4632603-598A-4377-82AF-080FD589B5E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CCF4DC4-41E2-445C-8A55-87A5B25D746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4B6EB406-0F48-46D8-A741-DDAB8E6CFE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E93F871E-25FF-47EB-A6C9-D987E3F61C9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194C25A4-8037-4A71-8ED6-086DA8C58A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35D33EF9-CD43-4601-B574-6C8CDAD5DA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57630908-0B48-4C24-BB65-1B5EF84D7B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1CDE2840-C16A-4148-A926-1F57DB7D391C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DA8B9C17-1B7B-4234-BB48-2C25CC1B3C9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17B9E69D-8A4F-4714-95F0-3ED4DD40A7E6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C51B0559-355B-4BEB-B1AD-563175B8CD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CD612BB0-C25F-47D1-8D67-AAAAC4ACF570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8BE5F9EF-AB5A-4768-B474-A59DC55CD6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8D25D634-5D72-4B1F-B008-B0204AFC0EF0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6812577E-17E3-46B4-AF42-7E76F7B769A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545499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9CB8-8351-4F07-86D2-3D041D714B65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6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39" name="Tijdelijke aanduiding voor afbeelding 38"/>
          <p:cNvSpPr>
            <a:spLocks noGrp="1"/>
          </p:cNvSpPr>
          <p:nvPr>
            <p:ph type="pic" sz="quarter" idx="15" hasCustomPrompt="1"/>
          </p:nvPr>
        </p:nvSpPr>
        <p:spPr>
          <a:xfrm>
            <a:off x="366139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66139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17" hasCustomPrompt="1"/>
          </p:nvPr>
        </p:nvSpPr>
        <p:spPr>
          <a:xfrm>
            <a:off x="4254135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18" hasCustomPrompt="1"/>
          </p:nvPr>
        </p:nvSpPr>
        <p:spPr>
          <a:xfrm>
            <a:off x="4254135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afbeelding 42"/>
          <p:cNvSpPr>
            <a:spLocks noGrp="1"/>
          </p:cNvSpPr>
          <p:nvPr>
            <p:ph type="pic" sz="quarter" idx="19" hasCustomPrompt="1"/>
          </p:nvPr>
        </p:nvSpPr>
        <p:spPr>
          <a:xfrm>
            <a:off x="8142132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0" hasCustomPrompt="1"/>
          </p:nvPr>
        </p:nvSpPr>
        <p:spPr>
          <a:xfrm>
            <a:off x="8142132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4254682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8142679" y="2801257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4254682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8142679" y="5225142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1" name="Groep 100">
            <a:extLst>
              <a:ext uri="{FF2B5EF4-FFF2-40B4-BE49-F238E27FC236}">
                <a16:creationId xmlns:a16="http://schemas.microsoft.com/office/drawing/2014/main" id="{15857F41-B989-471B-967B-C6DA381108DD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2" name="Afbeelding 101">
              <a:extLst>
                <a:ext uri="{FF2B5EF4-FFF2-40B4-BE49-F238E27FC236}">
                  <a16:creationId xmlns:a16="http://schemas.microsoft.com/office/drawing/2014/main" id="{A870EF52-3EC8-43DF-9D29-95AE71288A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2E2E0576-B523-43B5-850A-13D35A708B8B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5E89C9B1-C154-41D7-A955-6E9C06FD58C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5" name="Rechte verbindingslijn 104">
              <a:extLst>
                <a:ext uri="{FF2B5EF4-FFF2-40B4-BE49-F238E27FC236}">
                  <a16:creationId xmlns:a16="http://schemas.microsoft.com/office/drawing/2014/main" id="{6C97EE4C-0822-4420-8727-59022FEC4E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6" name="Rechte verbindingslijn 105">
              <a:extLst>
                <a:ext uri="{FF2B5EF4-FFF2-40B4-BE49-F238E27FC236}">
                  <a16:creationId xmlns:a16="http://schemas.microsoft.com/office/drawing/2014/main" id="{C0192459-E41F-4415-82CA-286E7E35C6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D2303889-DCFD-4ABC-AE5F-92ABB46C0E7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07B0AC0E-6871-45AE-A4BC-06EC75E136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Ovaal 108">
              <a:extLst>
                <a:ext uri="{FF2B5EF4-FFF2-40B4-BE49-F238E27FC236}">
                  <a16:creationId xmlns:a16="http://schemas.microsoft.com/office/drawing/2014/main" id="{629AA207-9EA7-45B5-917F-5C9C87AADCB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A0A1ADFC-BD66-4D46-AEFF-6365412AC59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1" name="Groep 110">
              <a:extLst>
                <a:ext uri="{FF2B5EF4-FFF2-40B4-BE49-F238E27FC236}">
                  <a16:creationId xmlns:a16="http://schemas.microsoft.com/office/drawing/2014/main" id="{BE3704B8-19AE-44B2-84DD-311B6280B7D3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48" name="Rechthoek 147">
                <a:extLst>
                  <a:ext uri="{FF2B5EF4-FFF2-40B4-BE49-F238E27FC236}">
                    <a16:creationId xmlns:a16="http://schemas.microsoft.com/office/drawing/2014/main" id="{E1BDB5FF-A1FE-414D-9062-CF192274847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8488FD0-826A-4130-9516-7FC529D398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0" name="Gelijkbenige driehoek 149">
                <a:extLst>
                  <a:ext uri="{FF2B5EF4-FFF2-40B4-BE49-F238E27FC236}">
                    <a16:creationId xmlns:a16="http://schemas.microsoft.com/office/drawing/2014/main" id="{0D4BE829-8B24-4DF7-BA8F-A8C867CA17A3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2" name="Groep 111">
              <a:extLst>
                <a:ext uri="{FF2B5EF4-FFF2-40B4-BE49-F238E27FC236}">
                  <a16:creationId xmlns:a16="http://schemas.microsoft.com/office/drawing/2014/main" id="{C29314E0-C9E0-4313-A93A-B7E4177005E2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2" name="Rechthoek 141">
                <a:extLst>
                  <a:ext uri="{FF2B5EF4-FFF2-40B4-BE49-F238E27FC236}">
                    <a16:creationId xmlns:a16="http://schemas.microsoft.com/office/drawing/2014/main" id="{896E01D5-DB99-4855-B018-0F9C4C6B853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3" name="Ovaal 142">
                <a:extLst>
                  <a:ext uri="{FF2B5EF4-FFF2-40B4-BE49-F238E27FC236}">
                    <a16:creationId xmlns:a16="http://schemas.microsoft.com/office/drawing/2014/main" id="{0D0C7CB6-8AFF-4231-93BF-E8FD29F2CA8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Vrije vorm: vorm 143">
                <a:extLst>
                  <a:ext uri="{FF2B5EF4-FFF2-40B4-BE49-F238E27FC236}">
                    <a16:creationId xmlns:a16="http://schemas.microsoft.com/office/drawing/2014/main" id="{91B5AAC4-DC71-4CC0-9455-2F44543529C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5" name="Rechthoek: afgeronde hoeken 144">
                <a:extLst>
                  <a:ext uri="{FF2B5EF4-FFF2-40B4-BE49-F238E27FC236}">
                    <a16:creationId xmlns:a16="http://schemas.microsoft.com/office/drawing/2014/main" id="{DA99D02D-080C-4987-A7B0-6E0A31603C3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1B8D256D-35B8-437E-AE80-420F7A97D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0AD788BD-6370-40C7-98BE-1490E80764B0}"/>
                  </a:ext>
                </a:extLst>
              </p:cNvPr>
              <p:cNvCxnSpPr>
                <a:cxnSpLocks/>
                <a:stCxn id="14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3" name="Ovaal 112">
              <a:extLst>
                <a:ext uri="{FF2B5EF4-FFF2-40B4-BE49-F238E27FC236}">
                  <a16:creationId xmlns:a16="http://schemas.microsoft.com/office/drawing/2014/main" id="{A70FFDE7-131F-480B-B932-726F6C45D9E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3AEF02A3-F861-44DA-BCD2-6408602B821C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5" name="Rechte verbindingslijn 114">
              <a:extLst>
                <a:ext uri="{FF2B5EF4-FFF2-40B4-BE49-F238E27FC236}">
                  <a16:creationId xmlns:a16="http://schemas.microsoft.com/office/drawing/2014/main" id="{96958C1C-CE12-4038-8448-FED528AD3A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6" name="Groep 115">
              <a:extLst>
                <a:ext uri="{FF2B5EF4-FFF2-40B4-BE49-F238E27FC236}">
                  <a16:creationId xmlns:a16="http://schemas.microsoft.com/office/drawing/2014/main" id="{E4E65CC9-58CA-4653-A7C6-F7432D5B95B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92EC5354-9636-459E-B29B-5494B6E1790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0BB5AD8E-B811-46FF-80F7-B65C00C96CF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3" name="Groep 122">
                <a:extLst>
                  <a:ext uri="{FF2B5EF4-FFF2-40B4-BE49-F238E27FC236}">
                    <a16:creationId xmlns:a16="http://schemas.microsoft.com/office/drawing/2014/main" id="{B38A7F26-4817-4C66-A0A0-149754A3F8D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6" name="Rechthoek: afgeronde hoeken 135">
                  <a:extLst>
                    <a:ext uri="{FF2B5EF4-FFF2-40B4-BE49-F238E27FC236}">
                      <a16:creationId xmlns:a16="http://schemas.microsoft.com/office/drawing/2014/main" id="{3005B21F-6409-4021-8E8B-9157C010D658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Rechthoek 136">
                  <a:extLst>
                    <a:ext uri="{FF2B5EF4-FFF2-40B4-BE49-F238E27FC236}">
                      <a16:creationId xmlns:a16="http://schemas.microsoft.com/office/drawing/2014/main" id="{86FD35EB-EC9F-4A12-A22F-D9B0B154BF6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8" name="Rechthoek 137">
                  <a:extLst>
                    <a:ext uri="{FF2B5EF4-FFF2-40B4-BE49-F238E27FC236}">
                      <a16:creationId xmlns:a16="http://schemas.microsoft.com/office/drawing/2014/main" id="{E6ECADEC-469F-4154-9273-452BD1BF563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9" name="Rechthoek 138">
                  <a:extLst>
                    <a:ext uri="{FF2B5EF4-FFF2-40B4-BE49-F238E27FC236}">
                      <a16:creationId xmlns:a16="http://schemas.microsoft.com/office/drawing/2014/main" id="{C90A59F8-397D-45F9-9C76-429E13C15F80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0868208-453C-4C67-9E78-56C862F85586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91A8B57E-8213-4887-989E-1D4DE1B7612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B0AD3E93-0A7C-40A4-A6E8-A0364A62EFF4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28" name="Groep 127">
                  <a:extLst>
                    <a:ext uri="{FF2B5EF4-FFF2-40B4-BE49-F238E27FC236}">
                      <a16:creationId xmlns:a16="http://schemas.microsoft.com/office/drawing/2014/main" id="{ADCA2C49-FDA6-4B41-BE2C-7708EE3995D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0" name="Rechthoek: afgeronde hoeken 129">
                    <a:extLst>
                      <a:ext uri="{FF2B5EF4-FFF2-40B4-BE49-F238E27FC236}">
                        <a16:creationId xmlns:a16="http://schemas.microsoft.com/office/drawing/2014/main" id="{495951BC-862A-4DAC-B2D6-F5AF5E04521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1" name="Rechthoek 130">
                    <a:extLst>
                      <a:ext uri="{FF2B5EF4-FFF2-40B4-BE49-F238E27FC236}">
                        <a16:creationId xmlns:a16="http://schemas.microsoft.com/office/drawing/2014/main" id="{33063CC8-0B68-4342-93A6-F407CD7F6DD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2" name="Rechthoek 131">
                    <a:extLst>
                      <a:ext uri="{FF2B5EF4-FFF2-40B4-BE49-F238E27FC236}">
                        <a16:creationId xmlns:a16="http://schemas.microsoft.com/office/drawing/2014/main" id="{413F39D5-CBB6-41D2-80B5-227FDCA896B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3" name="Rechthoek 132">
                    <a:extLst>
                      <a:ext uri="{FF2B5EF4-FFF2-40B4-BE49-F238E27FC236}">
                        <a16:creationId xmlns:a16="http://schemas.microsoft.com/office/drawing/2014/main" id="{52C06138-D291-4537-839F-E889A542FED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5C7B60AB-964D-4E92-A693-EA6E2D400F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F8001413-F0CF-4478-9381-C80198A177B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29" name="Boog 128">
                  <a:extLst>
                    <a:ext uri="{FF2B5EF4-FFF2-40B4-BE49-F238E27FC236}">
                      <a16:creationId xmlns:a16="http://schemas.microsoft.com/office/drawing/2014/main" id="{09686D01-B21A-4CB1-A78F-2735510F753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5" name="Tekstvak 124">
                <a:extLst>
                  <a:ext uri="{FF2B5EF4-FFF2-40B4-BE49-F238E27FC236}">
                    <a16:creationId xmlns:a16="http://schemas.microsoft.com/office/drawing/2014/main" id="{F4719A93-C6D3-465E-94B5-6FEF96AF7FAA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6" name="Tekstvak 125">
                <a:extLst>
                  <a:ext uri="{FF2B5EF4-FFF2-40B4-BE49-F238E27FC236}">
                    <a16:creationId xmlns:a16="http://schemas.microsoft.com/office/drawing/2014/main" id="{01AB81AC-EE0F-4075-B94C-AE4151253E4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27" name="Picture 3">
                <a:extLst>
                  <a:ext uri="{FF2B5EF4-FFF2-40B4-BE49-F238E27FC236}">
                    <a16:creationId xmlns:a16="http://schemas.microsoft.com/office/drawing/2014/main" id="{93585FC1-63F9-4CDF-BACE-1F86B4B0B93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17" name="Meer informatie">
              <a:extLst>
                <a:ext uri="{FF2B5EF4-FFF2-40B4-BE49-F238E27FC236}">
                  <a16:creationId xmlns:a16="http://schemas.microsoft.com/office/drawing/2014/main" id="{939E70E3-F062-4D17-97CE-48B4AB252B89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FEE73CF0-8620-4616-AB61-B04780C99E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ECDDA453-0761-4B0C-96B4-0FEB1A676D7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221FF874-811D-4196-8E59-4C2EAA8C4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1175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E962A-4464-4B2D-845B-3611510397D8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8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0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6" name="Tijdelijke aanduiding voor afbeelding 25"/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366140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ijdelijke aanduiding voor verticale tekst 2"/>
          <p:cNvSpPr>
            <a:spLocks noGrp="1"/>
          </p:cNvSpPr>
          <p:nvPr userDrawn="1">
            <p:ph type="body" orient="vert" idx="1" hasCustomPrompt="1"/>
          </p:nvPr>
        </p:nvSpPr>
        <p:spPr>
          <a:xfrm>
            <a:off x="36613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3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5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25" hasCustomPrompt="1"/>
          </p:nvPr>
        </p:nvSpPr>
        <p:spPr>
          <a:xfrm>
            <a:off x="327911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27924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5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0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29" hasCustomPrompt="1"/>
          </p:nvPr>
        </p:nvSpPr>
        <p:spPr>
          <a:xfrm>
            <a:off x="619195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619235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5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5" y="1179862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33" hasCustomPrompt="1"/>
          </p:nvPr>
        </p:nvSpPr>
        <p:spPr>
          <a:xfrm>
            <a:off x="9105065" y="3603747"/>
            <a:ext cx="2720414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9105469" y="2801257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2"/>
            <a:ext cx="272001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D9128478-8C0D-4681-B5B9-EBEF56C19DA9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49F5619-1183-4ED5-A6D1-B3512F3091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7A37222-3472-4707-B094-4EDC4E970E85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E0ECCD0B-F29F-4131-9893-8D978BDD428F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F791C5A-2C46-4591-8482-FB360B876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1E869321-727C-46FB-8558-3584912934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2F4516D0-BFAD-475B-977C-970C6E52656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C5FE596F-F131-446E-A67D-D915FAC3DA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8D4CAF09-7A25-4757-8236-1057389EE7D1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12188EF3-1ACE-497B-9D56-9ACF5C0467C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221D81F7-AA11-48D4-91A2-A3E6EFDD963A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646BA45C-E145-4343-881C-50F803078D4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B923E6D8-2E1E-4334-869D-7E9104E391C6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3747406D-EE85-4C28-A452-D7C78E26907A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13089058-935D-4F18-B5FA-60814DDC3454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A1ECD4B1-4DC6-47B5-A60F-81822BC6E4D7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8CB59066-6A85-48EF-BBE8-9A47DF60D9E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7A79FD76-C2AD-477F-AA71-9D8FEE362D6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C290FE69-03E4-4B54-BC27-597F806251B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2B68BEF-DB8E-474B-AC3A-DDFC152213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D59A6737-199D-4894-A7FA-67FE34E597C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857BF560-F009-4803-A230-400133577AD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74C33C40-AAC1-40A5-87B3-59169BC12AE8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35F0EE3C-ED30-4557-AF99-6C6603C0A14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EA6D422-4E22-4388-8C43-E6D0B27AB7C9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436F710E-D9FA-43C4-BB34-A22941C6C2D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A4CBDCC3-2529-45BB-A607-196B1E4085D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3D7680E5-E6A4-4954-A295-8CAED7E6290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8121FB31-3D5A-4584-8B2E-CB66AF12A5BF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C70447AF-40E8-43C8-981D-1A83B575805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F41A3CB3-8303-4601-92EE-E1C231D2D4C5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6E4D7F9E-6E0B-4B26-9AF6-BB3EFEDCAC3A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DA0C2B62-2E17-463E-A626-8E0C2883B1E5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EEE200D-17F8-4C0E-BA59-9545467AC9A1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C7B48FB7-1F7A-4458-B518-00B36104FDCD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109EBBE0-0362-4633-BA7F-21622FA76839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A8943640-AEEC-41B6-85D2-7DB33FBBD92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ED6257F9-6B2B-4A27-A3B3-0E467291F4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936E2621-9381-433C-992B-FAF5EACD24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9D01458B-6373-4D52-97EA-E0C615BC33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939AC8AB-CC03-4E2A-B46B-A262F6CC501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86AB080-55B3-4A04-AD9C-720AB204EE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943A8A59-84FC-4444-81E9-859513D3659D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B133FE93-38C4-4C8C-8F59-59F8C99AE27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B8391F26-FF22-463B-A710-D104045CAC49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751A0F8F-57EC-4743-9879-66D27F274FF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0CC5BD32-B4AB-4B64-8B93-06EAC657593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63DF006-B3C4-4983-A590-95EB18EF1E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1C8B8442-8AB6-450D-92CC-97648BA06B4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24113A3B-9C9C-4D73-8B61-836646054A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34482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3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1" grpId="0" animBg="1"/>
      <p:bldP spid="4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animBg="1"/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49" grpId="0" animBg="1"/>
      <p:bldP spid="5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7B59BE-8FA0-49AE-86F6-5A8B7DCB6324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32" name="Tijdelijke aanduiding voor afbeelding 31"/>
          <p:cNvSpPr>
            <a:spLocks noGrp="1"/>
          </p:cNvSpPr>
          <p:nvPr>
            <p:ph type="pic" sz="quarter" idx="15" hasCustomPrompt="1"/>
          </p:nvPr>
        </p:nvSpPr>
        <p:spPr>
          <a:xfrm>
            <a:off x="366140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6" hasCustomPrompt="1"/>
          </p:nvPr>
        </p:nvSpPr>
        <p:spPr>
          <a:xfrm>
            <a:off x="366140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" name="Tijdelijke aanduiding voor afbeelding 36"/>
          <p:cNvSpPr>
            <a:spLocks noGrp="1"/>
          </p:cNvSpPr>
          <p:nvPr>
            <p:ph type="pic" sz="quarter" idx="33" hasCustomPrompt="1"/>
          </p:nvPr>
        </p:nvSpPr>
        <p:spPr>
          <a:xfrm>
            <a:off x="2696490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8" name="Tijdelijke aanduiding voor afbeelding 37"/>
          <p:cNvSpPr>
            <a:spLocks noGrp="1"/>
          </p:cNvSpPr>
          <p:nvPr>
            <p:ph type="pic" sz="quarter" idx="34" hasCustomPrompt="1"/>
          </p:nvPr>
        </p:nvSpPr>
        <p:spPr>
          <a:xfrm>
            <a:off x="2696490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9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269656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269656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37" hasCustomPrompt="1"/>
          </p:nvPr>
        </p:nvSpPr>
        <p:spPr>
          <a:xfrm>
            <a:off x="5026841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38" hasCustomPrompt="1"/>
          </p:nvPr>
        </p:nvSpPr>
        <p:spPr>
          <a:xfrm>
            <a:off x="5026841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502699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502699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41" hasCustomPrompt="1"/>
          </p:nvPr>
        </p:nvSpPr>
        <p:spPr>
          <a:xfrm>
            <a:off x="735719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735719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7357429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44" hasCustomPrompt="1"/>
          </p:nvPr>
        </p:nvSpPr>
        <p:spPr>
          <a:xfrm>
            <a:off x="7357429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45" hasCustomPrompt="1"/>
          </p:nvPr>
        </p:nvSpPr>
        <p:spPr>
          <a:xfrm>
            <a:off x="968754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afbeelding 49"/>
          <p:cNvSpPr>
            <a:spLocks noGrp="1"/>
          </p:cNvSpPr>
          <p:nvPr>
            <p:ph type="pic" sz="quarter" idx="46" hasCustomPrompt="1"/>
          </p:nvPr>
        </p:nvSpPr>
        <p:spPr>
          <a:xfrm>
            <a:off x="968754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9687860" y="2801257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2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9687860" y="5225142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1E0C6CC2-19DB-46E6-AEF8-7FD357C4564C}"/>
              </a:ext>
            </a:extLst>
          </p:cNvPr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E0123D1E-CA29-45C9-909C-72D1C418AF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E78FCE7-F175-463D-AF54-EEAE35A9CBC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F22C8D3A-1DB2-4CF6-808E-3A5B59CB6D83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E744F881-8F86-4191-86E7-7DE4509974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F90C3423-6582-4C90-A92E-488F9117FBA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C5D0843C-0B4E-4015-9234-05B811163D1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A1D54500-4514-4998-824D-049F03848E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6C2CC2C0-719E-4072-82E7-35A56782C6F0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C9594C5E-2B64-48A5-8121-92AC4EA39FA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464EACA4-5959-47E5-96B7-303F92E38F86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81877875-32CC-4E99-991A-0CA769630E7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28300FFA-FA98-4D5A-8977-26BADD105C19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EBA77F2A-1AF8-4939-ACD9-E4D18B9713E2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D8B77BB4-D2AA-4F6A-B206-BFBCD2C23FE5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70EEDAE-F5A7-41F6-9993-91D28F0A9F4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7F64BA8B-5B44-417C-A46C-48B84D41E4A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AB38CDB7-9B99-4F83-AF8C-717C8207B8C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F407228E-B000-40C6-9A57-BFA7232ACF0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66C21FE-E1E3-454F-9786-803C7EA6B31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46B388D4-1702-43AB-94E0-108087A9F61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F39DB916-DA01-440D-A48F-09E0C27FD917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81B109FE-9358-4AD3-8EBB-A25E18406404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7FD4005A-DB6D-42AC-B265-2DBA8CD940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7E46035-D16E-4B0E-9E2E-142B5973E377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B6D2D40A-87B8-462A-B9D3-49720EDA42A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561BF64D-F188-492E-B4EC-2578D4484120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86A829C4-CD2E-469C-A84B-25D97DDEF69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A15F658F-322A-4083-B9BE-EA17A45E044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3C759B2-3B6C-441B-B00D-E723B65CA67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EA5EEF62-02E8-4929-946D-BF49F9BDCECC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87624029-FBF2-47A2-A749-7AE88F3DEC89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72951251-0717-4CCC-A655-125D0E2B8B3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DD0328FA-BE13-4E58-859F-EE7190419DD0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E539A306-B6D3-4476-8058-BA718F09FF31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2AE25E84-F249-4A8F-962E-D975FA817EFA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E7BFC05-1DDB-4AC5-9E15-3FA64A4B25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C8D2042C-8CB2-4C1C-A187-8267231430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1740C2E7-8329-4051-A535-F5BB0A9B488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599C96F6-E316-48EA-8380-07450BD89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16004FEF-9B06-44B9-B46D-2AD360DD11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6196B6E-D6C9-40C8-94DE-A13899365F1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D36886EC-DA84-48DF-AC07-6E1041BC6146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noProof="0"/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0B5BF3EF-56BE-4AB9-988E-7ADB2A1667E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0C8060E8-1B60-42CE-9B7C-B38C0E1984DB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64D0B05B-0308-4D30-A750-D85378FF929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642A6EA6-024D-4406-A2B2-956A41AB2BE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41163F3-DDE7-4A3F-B6F9-C686C32AC4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469615A6-F34D-4428-B408-2E485E2CAE6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1E58E517-1682-403D-9CF1-CC229544DD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79047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animBg="1"/>
      <p:bldP spid="38" grpId="0" animBg="1"/>
      <p:bldP spid="3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/>
      <p:bldP spid="46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ele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FFE13-101D-446B-8D1D-6FE45D8C38A8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99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6648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366975" y="2788898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36697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1"/>
          <p:cNvSpPr>
            <a:spLocks noGrp="1"/>
          </p:cNvSpPr>
          <p:nvPr>
            <p:ph type="pic" sz="quarter" idx="18" hasCustomPrompt="1"/>
          </p:nvPr>
        </p:nvSpPr>
        <p:spPr>
          <a:xfrm>
            <a:off x="36697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53297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5" name="Tijdelijke aanduiding voor afbeelding 31"/>
          <p:cNvSpPr>
            <a:spLocks noGrp="1"/>
          </p:cNvSpPr>
          <p:nvPr>
            <p:ph type="pic" sz="quarter" idx="20" hasCustomPrompt="1"/>
          </p:nvPr>
        </p:nvSpPr>
        <p:spPr>
          <a:xfrm>
            <a:off x="153297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69897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1"/>
          <p:cNvSpPr>
            <a:spLocks noGrp="1"/>
          </p:cNvSpPr>
          <p:nvPr>
            <p:ph type="pic" sz="quarter" idx="22" hasCustomPrompt="1"/>
          </p:nvPr>
        </p:nvSpPr>
        <p:spPr>
          <a:xfrm>
            <a:off x="269897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6496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9" name="Tijdelijke aanduiding voor afbeelding 31"/>
          <p:cNvSpPr>
            <a:spLocks noGrp="1"/>
          </p:cNvSpPr>
          <p:nvPr>
            <p:ph type="pic" sz="quarter" idx="24" hasCustomPrompt="1"/>
          </p:nvPr>
        </p:nvSpPr>
        <p:spPr>
          <a:xfrm>
            <a:off x="386496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0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5030967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1" name="Tijdelijke aanduiding voor afbeelding 31"/>
          <p:cNvSpPr>
            <a:spLocks noGrp="1"/>
          </p:cNvSpPr>
          <p:nvPr>
            <p:ph type="pic" sz="quarter" idx="26" hasCustomPrompt="1"/>
          </p:nvPr>
        </p:nvSpPr>
        <p:spPr>
          <a:xfrm>
            <a:off x="5030967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619696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1"/>
          <p:cNvSpPr>
            <a:spLocks noGrp="1"/>
          </p:cNvSpPr>
          <p:nvPr>
            <p:ph type="pic" sz="quarter" idx="28" hasCustomPrompt="1"/>
          </p:nvPr>
        </p:nvSpPr>
        <p:spPr>
          <a:xfrm>
            <a:off x="619696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736296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5" name="Tijdelijke aanduiding voor afbeelding 31"/>
          <p:cNvSpPr>
            <a:spLocks noGrp="1"/>
          </p:cNvSpPr>
          <p:nvPr>
            <p:ph type="pic" sz="quarter" idx="30" hasCustomPrompt="1"/>
          </p:nvPr>
        </p:nvSpPr>
        <p:spPr>
          <a:xfrm>
            <a:off x="736296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6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969495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7" name="Tijdelijke aanduiding voor afbeelding 31"/>
          <p:cNvSpPr>
            <a:spLocks noGrp="1"/>
          </p:cNvSpPr>
          <p:nvPr>
            <p:ph type="pic" sz="quarter" idx="32" hasCustomPrompt="1"/>
          </p:nvPr>
        </p:nvSpPr>
        <p:spPr>
          <a:xfrm>
            <a:off x="969495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852896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1"/>
          <p:cNvSpPr>
            <a:spLocks noGrp="1"/>
          </p:cNvSpPr>
          <p:nvPr>
            <p:ph type="pic" sz="quarter" idx="34" hasCustomPrompt="1"/>
          </p:nvPr>
        </p:nvSpPr>
        <p:spPr>
          <a:xfrm>
            <a:off x="852896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1086095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1" name="Tijdelijke aanduiding voor afbeelding 31"/>
          <p:cNvSpPr>
            <a:spLocks noGrp="1"/>
          </p:cNvSpPr>
          <p:nvPr>
            <p:ph type="pic" sz="quarter" idx="36" hasCustomPrompt="1"/>
          </p:nvPr>
        </p:nvSpPr>
        <p:spPr>
          <a:xfrm>
            <a:off x="1086095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53297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3" name="Tijdelijke aanduiding voor afbeelding 31"/>
          <p:cNvSpPr>
            <a:spLocks noGrp="1"/>
          </p:cNvSpPr>
          <p:nvPr>
            <p:ph type="pic" sz="quarter" idx="38" hasCustomPrompt="1"/>
          </p:nvPr>
        </p:nvSpPr>
        <p:spPr>
          <a:xfrm>
            <a:off x="153297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269897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5" name="Tijdelijke aanduiding voor afbeelding 31"/>
          <p:cNvSpPr>
            <a:spLocks noGrp="1"/>
          </p:cNvSpPr>
          <p:nvPr>
            <p:ph type="pic" sz="quarter" idx="40" hasCustomPrompt="1"/>
          </p:nvPr>
        </p:nvSpPr>
        <p:spPr>
          <a:xfrm>
            <a:off x="269897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41" hasCustomPrompt="1"/>
          </p:nvPr>
        </p:nvSpPr>
        <p:spPr>
          <a:xfrm>
            <a:off x="386496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7" name="Tijdelijke aanduiding voor afbeelding 31"/>
          <p:cNvSpPr>
            <a:spLocks noGrp="1"/>
          </p:cNvSpPr>
          <p:nvPr>
            <p:ph type="pic" sz="quarter" idx="42" hasCustomPrompt="1"/>
          </p:nvPr>
        </p:nvSpPr>
        <p:spPr>
          <a:xfrm>
            <a:off x="386496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8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030967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9" name="Tijdelijke aanduiding voor afbeelding 31"/>
          <p:cNvSpPr>
            <a:spLocks noGrp="1"/>
          </p:cNvSpPr>
          <p:nvPr>
            <p:ph type="pic" sz="quarter" idx="44" hasCustomPrompt="1"/>
          </p:nvPr>
        </p:nvSpPr>
        <p:spPr>
          <a:xfrm>
            <a:off x="5030967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0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6196965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1" name="Tijdelijke aanduiding voor afbeelding 31"/>
          <p:cNvSpPr>
            <a:spLocks noGrp="1"/>
          </p:cNvSpPr>
          <p:nvPr>
            <p:ph type="pic" sz="quarter" idx="46" hasCustomPrompt="1"/>
          </p:nvPr>
        </p:nvSpPr>
        <p:spPr>
          <a:xfrm>
            <a:off x="6196965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2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736296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3" name="Tijdelijke aanduiding voor afbeelding 31"/>
          <p:cNvSpPr>
            <a:spLocks noGrp="1"/>
          </p:cNvSpPr>
          <p:nvPr>
            <p:ph type="pic" sz="quarter" idx="48" hasCustomPrompt="1"/>
          </p:nvPr>
        </p:nvSpPr>
        <p:spPr>
          <a:xfrm>
            <a:off x="736296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4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69495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5" name="Tijdelijke aanduiding voor afbeelding 31"/>
          <p:cNvSpPr>
            <a:spLocks noGrp="1"/>
          </p:cNvSpPr>
          <p:nvPr>
            <p:ph type="pic" sz="quarter" idx="50" hasCustomPrompt="1"/>
          </p:nvPr>
        </p:nvSpPr>
        <p:spPr>
          <a:xfrm>
            <a:off x="969495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6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852896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7" name="Tijdelijke aanduiding voor afbeelding 31"/>
          <p:cNvSpPr>
            <a:spLocks noGrp="1"/>
          </p:cNvSpPr>
          <p:nvPr>
            <p:ph type="pic" sz="quarter" idx="52" hasCustomPrompt="1"/>
          </p:nvPr>
        </p:nvSpPr>
        <p:spPr>
          <a:xfrm>
            <a:off x="852896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8" name="Tijdelijke aanduiding voor verticale tekst 2"/>
          <p:cNvSpPr>
            <a:spLocks noGrp="1"/>
          </p:cNvSpPr>
          <p:nvPr>
            <p:ph type="body" orient="vert" idx="53" hasCustomPrompt="1"/>
          </p:nvPr>
        </p:nvSpPr>
        <p:spPr>
          <a:xfrm>
            <a:off x="1086095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9" name="Tijdelijke aanduiding voor afbeelding 31"/>
          <p:cNvSpPr>
            <a:spLocks noGrp="1"/>
          </p:cNvSpPr>
          <p:nvPr>
            <p:ph type="pic" sz="quarter" idx="54" hasCustomPrompt="1"/>
          </p:nvPr>
        </p:nvSpPr>
        <p:spPr>
          <a:xfrm>
            <a:off x="1086095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7" name="Tijdelijke aanduiding voor verticale tekst 2"/>
          <p:cNvSpPr>
            <a:spLocks noGrp="1"/>
          </p:cNvSpPr>
          <p:nvPr>
            <p:ph type="body" orient="vert" idx="55" hasCustomPrompt="1"/>
          </p:nvPr>
        </p:nvSpPr>
        <p:spPr>
          <a:xfrm>
            <a:off x="153297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68" name="Tijdelijke aanduiding voor afbeelding 31"/>
          <p:cNvSpPr>
            <a:spLocks noGrp="1"/>
          </p:cNvSpPr>
          <p:nvPr>
            <p:ph type="pic" sz="quarter" idx="56" hasCustomPrompt="1"/>
          </p:nvPr>
        </p:nvSpPr>
        <p:spPr>
          <a:xfrm>
            <a:off x="153297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9" name="Tijdelijke aanduiding voor verticale tekst 2"/>
          <p:cNvSpPr>
            <a:spLocks noGrp="1"/>
          </p:cNvSpPr>
          <p:nvPr>
            <p:ph type="body" orient="vert" idx="57" hasCustomPrompt="1"/>
          </p:nvPr>
        </p:nvSpPr>
        <p:spPr>
          <a:xfrm>
            <a:off x="386496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0" name="Tijdelijke aanduiding voor afbeelding 31"/>
          <p:cNvSpPr>
            <a:spLocks noGrp="1"/>
          </p:cNvSpPr>
          <p:nvPr>
            <p:ph type="pic" sz="quarter" idx="58" hasCustomPrompt="1"/>
          </p:nvPr>
        </p:nvSpPr>
        <p:spPr>
          <a:xfrm>
            <a:off x="386496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1" name="Tijdelijke aanduiding voor verticale tekst 2"/>
          <p:cNvSpPr>
            <a:spLocks noGrp="1"/>
          </p:cNvSpPr>
          <p:nvPr>
            <p:ph type="body" orient="vert" idx="59" hasCustomPrompt="1"/>
          </p:nvPr>
        </p:nvSpPr>
        <p:spPr>
          <a:xfrm>
            <a:off x="5030967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2" name="Tijdelijke aanduiding voor afbeelding 31"/>
          <p:cNvSpPr>
            <a:spLocks noGrp="1"/>
          </p:cNvSpPr>
          <p:nvPr>
            <p:ph type="pic" sz="quarter" idx="60" hasCustomPrompt="1"/>
          </p:nvPr>
        </p:nvSpPr>
        <p:spPr>
          <a:xfrm>
            <a:off x="5030967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3" name="Tijdelijke aanduiding voor verticale tekst 2"/>
          <p:cNvSpPr>
            <a:spLocks noGrp="1"/>
          </p:cNvSpPr>
          <p:nvPr>
            <p:ph type="body" orient="vert" idx="61" hasCustomPrompt="1"/>
          </p:nvPr>
        </p:nvSpPr>
        <p:spPr>
          <a:xfrm>
            <a:off x="6196965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4" name="Tijdelijke aanduiding voor afbeelding 31"/>
          <p:cNvSpPr>
            <a:spLocks noGrp="1"/>
          </p:cNvSpPr>
          <p:nvPr>
            <p:ph type="pic" sz="quarter" idx="62" hasCustomPrompt="1"/>
          </p:nvPr>
        </p:nvSpPr>
        <p:spPr>
          <a:xfrm>
            <a:off x="6196965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5" name="Tijdelijke aanduiding voor verticale tekst 2"/>
          <p:cNvSpPr>
            <a:spLocks noGrp="1"/>
          </p:cNvSpPr>
          <p:nvPr>
            <p:ph type="body" orient="vert" idx="63" hasCustomPrompt="1"/>
          </p:nvPr>
        </p:nvSpPr>
        <p:spPr>
          <a:xfrm>
            <a:off x="736296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6" name="Tijdelijke aanduiding voor afbeelding 31"/>
          <p:cNvSpPr>
            <a:spLocks noGrp="1"/>
          </p:cNvSpPr>
          <p:nvPr>
            <p:ph type="pic" sz="quarter" idx="64" hasCustomPrompt="1"/>
          </p:nvPr>
        </p:nvSpPr>
        <p:spPr>
          <a:xfrm>
            <a:off x="736296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7" name="Tijdelijke aanduiding voor verticale tekst 2"/>
          <p:cNvSpPr>
            <a:spLocks noGrp="1"/>
          </p:cNvSpPr>
          <p:nvPr>
            <p:ph type="body" orient="vert" idx="65" hasCustomPrompt="1"/>
          </p:nvPr>
        </p:nvSpPr>
        <p:spPr>
          <a:xfrm>
            <a:off x="969495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8" name="Tijdelijke aanduiding voor afbeelding 31"/>
          <p:cNvSpPr>
            <a:spLocks noGrp="1"/>
          </p:cNvSpPr>
          <p:nvPr>
            <p:ph type="pic" sz="quarter" idx="66" hasCustomPrompt="1"/>
          </p:nvPr>
        </p:nvSpPr>
        <p:spPr>
          <a:xfrm>
            <a:off x="969495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9" name="Tijdelijke aanduiding voor verticale tekst 2"/>
          <p:cNvSpPr>
            <a:spLocks noGrp="1"/>
          </p:cNvSpPr>
          <p:nvPr>
            <p:ph type="body" orient="vert" idx="67" hasCustomPrompt="1"/>
          </p:nvPr>
        </p:nvSpPr>
        <p:spPr>
          <a:xfrm>
            <a:off x="8528961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0" name="Tijdelijke aanduiding voor afbeelding 31"/>
          <p:cNvSpPr>
            <a:spLocks noGrp="1"/>
          </p:cNvSpPr>
          <p:nvPr>
            <p:ph type="pic" sz="quarter" idx="68" hasCustomPrompt="1"/>
          </p:nvPr>
        </p:nvSpPr>
        <p:spPr>
          <a:xfrm>
            <a:off x="8528961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81" name="Tijdelijke aanduiding voor verticale tekst 2"/>
          <p:cNvSpPr>
            <a:spLocks noGrp="1"/>
          </p:cNvSpPr>
          <p:nvPr>
            <p:ph type="body" orient="vert" idx="69" hasCustomPrompt="1"/>
          </p:nvPr>
        </p:nvSpPr>
        <p:spPr>
          <a:xfrm>
            <a:off x="1086095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2" name="Tijdelijke aanduiding voor afbeelding 31"/>
          <p:cNvSpPr>
            <a:spLocks noGrp="1"/>
          </p:cNvSpPr>
          <p:nvPr>
            <p:ph type="pic" sz="quarter" idx="70" hasCustomPrompt="1"/>
          </p:nvPr>
        </p:nvSpPr>
        <p:spPr>
          <a:xfrm>
            <a:off x="1086095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grpSp>
        <p:nvGrpSpPr>
          <p:cNvPr id="183" name="Groep 182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Bijsnijd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000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85618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7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9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0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1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5" grpId="0" animBg="1"/>
      <p:bldP spid="1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/>
      <p:bldP spid="12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1" grpId="0" animBg="1"/>
      <p:bldP spid="12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3" grpId="0" animBg="1"/>
      <p:bldP spid="12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/>
      <p:bldP spid="12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7" grpId="0" animBg="1"/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/>
      <p:bldP spid="13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3" grpId="0" animBg="1"/>
      <p:bldP spid="1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animBg="1"/>
      <p:bldP spid="13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7" grpId="0" animBg="1"/>
      <p:bldP spid="13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9" grpId="0" animBg="1"/>
      <p:bldP spid="1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1" grpId="0" animBg="1"/>
      <p:bldP spid="14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3" grpId="0" animBg="1"/>
      <p:bldP spid="1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animBg="1"/>
      <p:bldP spid="14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7" grpId="0" animBg="1"/>
      <p:bldP spid="1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9" grpId="0" animBg="1"/>
      <p:bldP spid="1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8" grpId="0" animBg="1"/>
      <p:bldP spid="1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0" grpId="0" animBg="1"/>
      <p:bldP spid="1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2" grpId="0" animBg="1"/>
      <p:bldP spid="1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4" grpId="0" animBg="1"/>
      <p:bldP spid="1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6" grpId="0" animBg="1"/>
      <p:bldP spid="1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8" grpId="0" animBg="1"/>
      <p:bldP spid="1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0" grpId="0" animBg="1"/>
      <p:bldP spid="1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2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rectiele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BDB68-A24E-4A0C-B907-BB9ACC3908CF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83" name="Groep 182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Bijsnijd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000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351" name="Tijdelijke aanduiding voor verticale tekst 2">
            <a:extLst>
              <a:ext uri="{FF2B5EF4-FFF2-40B4-BE49-F238E27FC236}">
                <a16:creationId xmlns:a16="http://schemas.microsoft.com/office/drawing/2014/main" id="{14293AD2-5837-4071-844A-CF9B4C8E7AF4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5627391" y="1273157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2" name="Tijdelijke aanduiding voor afbeelding 31">
            <a:extLst>
              <a:ext uri="{FF2B5EF4-FFF2-40B4-BE49-F238E27FC236}">
                <a16:creationId xmlns:a16="http://schemas.microsoft.com/office/drawing/2014/main" id="{31C292F8-365A-42F0-A852-406D5067D3A0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5627391" y="1275303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3" name="Tijdelijke aanduiding voor verticale tekst 2">
            <a:extLst>
              <a:ext uri="{FF2B5EF4-FFF2-40B4-BE49-F238E27FC236}">
                <a16:creationId xmlns:a16="http://schemas.microsoft.com/office/drawing/2014/main" id="{3546D6F5-C676-40A9-869B-8EFFA5AA167D}"/>
              </a:ext>
            </a:extLst>
          </p:cNvPr>
          <p:cNvSpPr>
            <a:spLocks noGrp="1"/>
          </p:cNvSpPr>
          <p:nvPr>
            <p:ph type="body" orient="vert" idx="61" hasCustomPrompt="1"/>
          </p:nvPr>
        </p:nvSpPr>
        <p:spPr>
          <a:xfrm>
            <a:off x="3300938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4" name="Tijdelijke aanduiding voor afbeelding 31">
            <a:extLst>
              <a:ext uri="{FF2B5EF4-FFF2-40B4-BE49-F238E27FC236}">
                <a16:creationId xmlns:a16="http://schemas.microsoft.com/office/drawing/2014/main" id="{19A7FBEA-B915-4628-84CB-AAE0E645B7B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300938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5" name="Tijdelijke aanduiding voor verticale tekst 2">
            <a:extLst>
              <a:ext uri="{FF2B5EF4-FFF2-40B4-BE49-F238E27FC236}">
                <a16:creationId xmlns:a16="http://schemas.microsoft.com/office/drawing/2014/main" id="{C013B144-0A0D-497E-9CB4-D7698C524BA4}"/>
              </a:ext>
            </a:extLst>
          </p:cNvPr>
          <p:cNvSpPr>
            <a:spLocks noGrp="1"/>
          </p:cNvSpPr>
          <p:nvPr>
            <p:ph type="body" orient="vert" idx="63" hasCustomPrompt="1"/>
          </p:nvPr>
        </p:nvSpPr>
        <p:spPr>
          <a:xfrm>
            <a:off x="4466112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6" name="Tijdelijke aanduiding voor afbeelding 31">
            <a:extLst>
              <a:ext uri="{FF2B5EF4-FFF2-40B4-BE49-F238E27FC236}">
                <a16:creationId xmlns:a16="http://schemas.microsoft.com/office/drawing/2014/main" id="{6507DC2E-D07A-43FD-A01D-E8C2C5DB65E1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466112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7" name="Tijdelijke aanduiding voor verticale tekst 2">
            <a:extLst>
              <a:ext uri="{FF2B5EF4-FFF2-40B4-BE49-F238E27FC236}">
                <a16:creationId xmlns:a16="http://schemas.microsoft.com/office/drawing/2014/main" id="{83EC8DC8-0A58-457F-A794-EF5F437A5D57}"/>
              </a:ext>
            </a:extLst>
          </p:cNvPr>
          <p:cNvSpPr>
            <a:spLocks noGrp="1"/>
          </p:cNvSpPr>
          <p:nvPr>
            <p:ph type="body" orient="vert" idx="65" hasCustomPrompt="1"/>
          </p:nvPr>
        </p:nvSpPr>
        <p:spPr>
          <a:xfrm>
            <a:off x="5627025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8" name="Tijdelijke aanduiding voor afbeelding 31">
            <a:extLst>
              <a:ext uri="{FF2B5EF4-FFF2-40B4-BE49-F238E27FC236}">
                <a16:creationId xmlns:a16="http://schemas.microsoft.com/office/drawing/2014/main" id="{DC89F17D-F4CD-4E8D-A88A-98CD7D88CBD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5627025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9" name="Tijdelijke aanduiding voor verticale tekst 2">
            <a:extLst>
              <a:ext uri="{FF2B5EF4-FFF2-40B4-BE49-F238E27FC236}">
                <a16:creationId xmlns:a16="http://schemas.microsoft.com/office/drawing/2014/main" id="{B09EFA52-2194-4D04-AFD3-0EE8B5EFFCCD}"/>
              </a:ext>
            </a:extLst>
          </p:cNvPr>
          <p:cNvSpPr>
            <a:spLocks noGrp="1"/>
          </p:cNvSpPr>
          <p:nvPr>
            <p:ph type="body" orient="vert" idx="67" hasCustomPrompt="1"/>
          </p:nvPr>
        </p:nvSpPr>
        <p:spPr>
          <a:xfrm>
            <a:off x="6760801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0" name="Tijdelijke aanduiding voor afbeelding 31">
            <a:extLst>
              <a:ext uri="{FF2B5EF4-FFF2-40B4-BE49-F238E27FC236}">
                <a16:creationId xmlns:a16="http://schemas.microsoft.com/office/drawing/2014/main" id="{A24E315D-EA10-4DEF-95BB-C8CE4FFB11A4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6760801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1" name="Tijdelijke aanduiding voor verticale tekst 2">
            <a:extLst>
              <a:ext uri="{FF2B5EF4-FFF2-40B4-BE49-F238E27FC236}">
                <a16:creationId xmlns:a16="http://schemas.microsoft.com/office/drawing/2014/main" id="{8C45A7BE-A6A5-46D1-836D-6BAE04F801EE}"/>
              </a:ext>
            </a:extLst>
          </p:cNvPr>
          <p:cNvSpPr>
            <a:spLocks noGrp="1"/>
          </p:cNvSpPr>
          <p:nvPr>
            <p:ph type="body" orient="vert" idx="69" hasCustomPrompt="1"/>
          </p:nvPr>
        </p:nvSpPr>
        <p:spPr>
          <a:xfrm>
            <a:off x="7919783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2" name="Tijdelijke aanduiding voor afbeelding 31">
            <a:extLst>
              <a:ext uri="{FF2B5EF4-FFF2-40B4-BE49-F238E27FC236}">
                <a16:creationId xmlns:a16="http://schemas.microsoft.com/office/drawing/2014/main" id="{70A28BCC-A31D-4DF1-B9E3-C2C142D837B7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7919783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3" name="Tijdelijke aanduiding voor verticale tekst 2">
            <a:extLst>
              <a:ext uri="{FF2B5EF4-FFF2-40B4-BE49-F238E27FC236}">
                <a16:creationId xmlns:a16="http://schemas.microsoft.com/office/drawing/2014/main" id="{A0474310-937A-48E0-8BA1-9B4140C7BB4F}"/>
              </a:ext>
            </a:extLst>
          </p:cNvPr>
          <p:cNvSpPr>
            <a:spLocks noGrp="1"/>
          </p:cNvSpPr>
          <p:nvPr>
            <p:ph type="body" orient="vert" idx="71" hasCustomPrompt="1"/>
          </p:nvPr>
        </p:nvSpPr>
        <p:spPr>
          <a:xfrm>
            <a:off x="18685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4" name="Tijdelijke aanduiding voor afbeelding 31">
            <a:extLst>
              <a:ext uri="{FF2B5EF4-FFF2-40B4-BE49-F238E27FC236}">
                <a16:creationId xmlns:a16="http://schemas.microsoft.com/office/drawing/2014/main" id="{3CBF5ECA-BEE2-473A-8E52-D03352A5EDDF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18685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5" name="Tijdelijke aanduiding voor verticale tekst 2">
            <a:extLst>
              <a:ext uri="{FF2B5EF4-FFF2-40B4-BE49-F238E27FC236}">
                <a16:creationId xmlns:a16="http://schemas.microsoft.com/office/drawing/2014/main" id="{E5DD920C-0DD7-43B5-80F2-1553606E5496}"/>
              </a:ext>
            </a:extLst>
          </p:cNvPr>
          <p:cNvSpPr>
            <a:spLocks noGrp="1"/>
          </p:cNvSpPr>
          <p:nvPr>
            <p:ph type="body" orient="vert" idx="73" hasCustomPrompt="1"/>
          </p:nvPr>
        </p:nvSpPr>
        <p:spPr>
          <a:xfrm>
            <a:off x="1196287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6" name="Tijdelijke aanduiding voor afbeelding 31">
            <a:extLst>
              <a:ext uri="{FF2B5EF4-FFF2-40B4-BE49-F238E27FC236}">
                <a16:creationId xmlns:a16="http://schemas.microsoft.com/office/drawing/2014/main" id="{41CE60B6-643B-4FA5-AFD6-F71184104FEB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1196287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7" name="Tijdelijke aanduiding voor verticale tekst 2">
            <a:extLst>
              <a:ext uri="{FF2B5EF4-FFF2-40B4-BE49-F238E27FC236}">
                <a16:creationId xmlns:a16="http://schemas.microsoft.com/office/drawing/2014/main" id="{0E055054-668D-45F3-AC9E-E98016952F7F}"/>
              </a:ext>
            </a:extLst>
          </p:cNvPr>
          <p:cNvSpPr>
            <a:spLocks noGrp="1"/>
          </p:cNvSpPr>
          <p:nvPr>
            <p:ph type="body" orient="vert" idx="75" hasCustomPrompt="1"/>
          </p:nvPr>
        </p:nvSpPr>
        <p:spPr>
          <a:xfrm>
            <a:off x="2178401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8" name="Tijdelijke aanduiding voor afbeelding 31">
            <a:extLst>
              <a:ext uri="{FF2B5EF4-FFF2-40B4-BE49-F238E27FC236}">
                <a16:creationId xmlns:a16="http://schemas.microsoft.com/office/drawing/2014/main" id="{61EF5895-2F2F-41FA-BD25-A9ACEE183E07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2178401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9" name="Tijdelijke aanduiding voor verticale tekst 2">
            <a:extLst>
              <a:ext uri="{FF2B5EF4-FFF2-40B4-BE49-F238E27FC236}">
                <a16:creationId xmlns:a16="http://schemas.microsoft.com/office/drawing/2014/main" id="{1C5CEB20-7748-4A99-9912-BBFD8F504873}"/>
              </a:ext>
            </a:extLst>
          </p:cNvPr>
          <p:cNvSpPr>
            <a:spLocks noGrp="1"/>
          </p:cNvSpPr>
          <p:nvPr>
            <p:ph type="body" orient="vert" idx="77" hasCustomPrompt="1"/>
          </p:nvPr>
        </p:nvSpPr>
        <p:spPr>
          <a:xfrm>
            <a:off x="316992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0" name="Tijdelijke aanduiding voor afbeelding 31">
            <a:extLst>
              <a:ext uri="{FF2B5EF4-FFF2-40B4-BE49-F238E27FC236}">
                <a16:creationId xmlns:a16="http://schemas.microsoft.com/office/drawing/2014/main" id="{8F724066-6267-4012-A0AE-9AFF34BFAEF3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16992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1" name="Tijdelijke aanduiding voor verticale tekst 2">
            <a:extLst>
              <a:ext uri="{FF2B5EF4-FFF2-40B4-BE49-F238E27FC236}">
                <a16:creationId xmlns:a16="http://schemas.microsoft.com/office/drawing/2014/main" id="{5549D103-FD4C-40BD-9381-7A2A04ACE976}"/>
              </a:ext>
            </a:extLst>
          </p:cNvPr>
          <p:cNvSpPr>
            <a:spLocks noGrp="1"/>
          </p:cNvSpPr>
          <p:nvPr>
            <p:ph type="body" orient="vert" idx="79" hasCustomPrompt="1"/>
          </p:nvPr>
        </p:nvSpPr>
        <p:spPr>
          <a:xfrm>
            <a:off x="417561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2" name="Tijdelijke aanduiding voor afbeelding 31">
            <a:extLst>
              <a:ext uri="{FF2B5EF4-FFF2-40B4-BE49-F238E27FC236}">
                <a16:creationId xmlns:a16="http://schemas.microsoft.com/office/drawing/2014/main" id="{77371A9C-44E1-4AF9-AEF3-D57D35EC1BDB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417561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3" name="Tijdelijke aanduiding voor verticale tekst 2">
            <a:extLst>
              <a:ext uri="{FF2B5EF4-FFF2-40B4-BE49-F238E27FC236}">
                <a16:creationId xmlns:a16="http://schemas.microsoft.com/office/drawing/2014/main" id="{714A5014-6E42-4ED5-8E6B-6B8B1A3EDEC8}"/>
              </a:ext>
            </a:extLst>
          </p:cNvPr>
          <p:cNvSpPr>
            <a:spLocks noGrp="1"/>
          </p:cNvSpPr>
          <p:nvPr>
            <p:ph type="body" orient="vert" idx="81" hasCustomPrompt="1"/>
          </p:nvPr>
        </p:nvSpPr>
        <p:spPr>
          <a:xfrm>
            <a:off x="517047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4" name="Tijdelijke aanduiding voor afbeelding 31">
            <a:extLst>
              <a:ext uri="{FF2B5EF4-FFF2-40B4-BE49-F238E27FC236}">
                <a16:creationId xmlns:a16="http://schemas.microsoft.com/office/drawing/2014/main" id="{5B04C9C5-8DDC-42DA-A688-232C243D2E1F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17047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5" name="Tijdelijke aanduiding voor verticale tekst 2">
            <a:extLst>
              <a:ext uri="{FF2B5EF4-FFF2-40B4-BE49-F238E27FC236}">
                <a16:creationId xmlns:a16="http://schemas.microsoft.com/office/drawing/2014/main" id="{B8514DCC-110B-47C6-B106-1D96A43C6875}"/>
              </a:ext>
            </a:extLst>
          </p:cNvPr>
          <p:cNvSpPr>
            <a:spLocks noGrp="1"/>
          </p:cNvSpPr>
          <p:nvPr>
            <p:ph type="body" orient="vert" idx="83" hasCustomPrompt="1"/>
          </p:nvPr>
        </p:nvSpPr>
        <p:spPr>
          <a:xfrm>
            <a:off x="618874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6" name="Tijdelijke aanduiding voor afbeelding 31">
            <a:extLst>
              <a:ext uri="{FF2B5EF4-FFF2-40B4-BE49-F238E27FC236}">
                <a16:creationId xmlns:a16="http://schemas.microsoft.com/office/drawing/2014/main" id="{0464B692-CE9D-4CCC-BD48-184F82D2E128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618874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7" name="Tijdelijke aanduiding voor verticale tekst 2">
            <a:extLst>
              <a:ext uri="{FF2B5EF4-FFF2-40B4-BE49-F238E27FC236}">
                <a16:creationId xmlns:a16="http://schemas.microsoft.com/office/drawing/2014/main" id="{0EFDBC1E-2C3E-49F2-BAB9-80B028E7925A}"/>
              </a:ext>
            </a:extLst>
          </p:cNvPr>
          <p:cNvSpPr>
            <a:spLocks noGrp="1"/>
          </p:cNvSpPr>
          <p:nvPr>
            <p:ph type="body" orient="vert" idx="85" hasCustomPrompt="1"/>
          </p:nvPr>
        </p:nvSpPr>
        <p:spPr>
          <a:xfrm>
            <a:off x="7172109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8" name="Tijdelijke aanduiding voor afbeelding 31">
            <a:extLst>
              <a:ext uri="{FF2B5EF4-FFF2-40B4-BE49-F238E27FC236}">
                <a16:creationId xmlns:a16="http://schemas.microsoft.com/office/drawing/2014/main" id="{9C5F1BD7-86D5-4851-9BE4-35B8C2CA6372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7172109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9" name="Tijdelijke aanduiding voor verticale tekst 2">
            <a:extLst>
              <a:ext uri="{FF2B5EF4-FFF2-40B4-BE49-F238E27FC236}">
                <a16:creationId xmlns:a16="http://schemas.microsoft.com/office/drawing/2014/main" id="{4730FF30-C1DE-481D-B4CC-37F59AE69C53}"/>
              </a:ext>
            </a:extLst>
          </p:cNvPr>
          <p:cNvSpPr>
            <a:spLocks noGrp="1"/>
          </p:cNvSpPr>
          <p:nvPr>
            <p:ph type="body" orient="vert" idx="87" hasCustomPrompt="1"/>
          </p:nvPr>
        </p:nvSpPr>
        <p:spPr>
          <a:xfrm>
            <a:off x="8180801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0" name="Tijdelijke aanduiding voor afbeelding 31">
            <a:extLst>
              <a:ext uri="{FF2B5EF4-FFF2-40B4-BE49-F238E27FC236}">
                <a16:creationId xmlns:a16="http://schemas.microsoft.com/office/drawing/2014/main" id="{3A9287F3-0467-4BC6-AAAF-456CD7B58A04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8180801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1" name="Tijdelijke aanduiding voor verticale tekst 2">
            <a:extLst>
              <a:ext uri="{FF2B5EF4-FFF2-40B4-BE49-F238E27FC236}">
                <a16:creationId xmlns:a16="http://schemas.microsoft.com/office/drawing/2014/main" id="{416A12B1-AEC0-4EFE-B2A0-2EF8B86739E9}"/>
              </a:ext>
            </a:extLst>
          </p:cNvPr>
          <p:cNvSpPr>
            <a:spLocks noGrp="1"/>
          </p:cNvSpPr>
          <p:nvPr>
            <p:ph type="body" orient="vert" idx="89" hasCustomPrompt="1"/>
          </p:nvPr>
        </p:nvSpPr>
        <p:spPr>
          <a:xfrm>
            <a:off x="9185605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2" name="Tijdelijke aanduiding voor afbeelding 31">
            <a:extLst>
              <a:ext uri="{FF2B5EF4-FFF2-40B4-BE49-F238E27FC236}">
                <a16:creationId xmlns:a16="http://schemas.microsoft.com/office/drawing/2014/main" id="{A02ABF61-1E62-4C1D-98E4-D71576C67151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9185605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3" name="Tijdelijke aanduiding voor verticale tekst 2">
            <a:extLst>
              <a:ext uri="{FF2B5EF4-FFF2-40B4-BE49-F238E27FC236}">
                <a16:creationId xmlns:a16="http://schemas.microsoft.com/office/drawing/2014/main" id="{780E81C4-4C3D-4918-9B7E-5C13BDA880F3}"/>
              </a:ext>
            </a:extLst>
          </p:cNvPr>
          <p:cNvSpPr>
            <a:spLocks noGrp="1"/>
          </p:cNvSpPr>
          <p:nvPr>
            <p:ph type="body" orient="vert" idx="91" hasCustomPrompt="1"/>
          </p:nvPr>
        </p:nvSpPr>
        <p:spPr>
          <a:xfrm>
            <a:off x="1017220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4" name="Tijdelijke aanduiding voor afbeelding 31">
            <a:extLst>
              <a:ext uri="{FF2B5EF4-FFF2-40B4-BE49-F238E27FC236}">
                <a16:creationId xmlns:a16="http://schemas.microsoft.com/office/drawing/2014/main" id="{A11EEA0B-06CF-46E4-B49E-619F39CD8FCE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1017220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5" name="Tijdelijke aanduiding voor verticale tekst 2">
            <a:extLst>
              <a:ext uri="{FF2B5EF4-FFF2-40B4-BE49-F238E27FC236}">
                <a16:creationId xmlns:a16="http://schemas.microsoft.com/office/drawing/2014/main" id="{D3F3124F-387F-41B9-9AD4-17B8B8938093}"/>
              </a:ext>
            </a:extLst>
          </p:cNvPr>
          <p:cNvSpPr>
            <a:spLocks noGrp="1"/>
          </p:cNvSpPr>
          <p:nvPr>
            <p:ph type="body" orient="vert" idx="93" hasCustomPrompt="1"/>
          </p:nvPr>
        </p:nvSpPr>
        <p:spPr>
          <a:xfrm>
            <a:off x="1118003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6" name="Tijdelijke aanduiding voor afbeelding 31">
            <a:extLst>
              <a:ext uri="{FF2B5EF4-FFF2-40B4-BE49-F238E27FC236}">
                <a16:creationId xmlns:a16="http://schemas.microsoft.com/office/drawing/2014/main" id="{1666C2E9-EB03-4BE0-A719-C01BCB15744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1118003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2312729-E02A-43BC-A267-1B37FDF68AD8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00938" y="2455939"/>
            <a:ext cx="1211263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8" name="Tijdelijke aanduiding voor tekst 7">
            <a:extLst>
              <a:ext uri="{FF2B5EF4-FFF2-40B4-BE49-F238E27FC236}">
                <a16:creationId xmlns:a16="http://schemas.microsoft.com/office/drawing/2014/main" id="{0F1BE2BF-85C1-4D56-96AA-702D436423AB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97539" y="4101385"/>
            <a:ext cx="1472006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9" name="Tijdelijke aanduiding voor tekst 7">
            <a:extLst>
              <a:ext uri="{FF2B5EF4-FFF2-40B4-BE49-F238E27FC236}">
                <a16:creationId xmlns:a16="http://schemas.microsoft.com/office/drawing/2014/main" id="{4E575E57-AA1F-447B-B420-AA5E8340FD08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627025" y="971917"/>
            <a:ext cx="1491010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92185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2" grpId="0" animBg="1"/>
      <p:bldP spid="3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4" grpId="0" animBg="1"/>
      <p:bldP spid="3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6" grpId="0" animBg="1"/>
      <p:bldP spid="3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8" grpId="0" animBg="1"/>
      <p:bldP spid="3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0" grpId="0" animBg="1"/>
      <p:bldP spid="3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2" grpId="0" animBg="1"/>
      <p:bldP spid="3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4" grpId="0" animBg="1"/>
      <p:bldP spid="3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6" grpId="0" animBg="1"/>
      <p:bldP spid="3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8" grpId="0" animBg="1"/>
      <p:bldP spid="3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0" grpId="0" animBg="1"/>
      <p:bldP spid="3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2" grpId="0" animBg="1"/>
      <p:bldP spid="3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4" grpId="0" animBg="1"/>
      <p:bldP spid="3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6" grpId="0" animBg="1"/>
      <p:bldP spid="3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8" grpId="0" animBg="1"/>
      <p:bldP spid="3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0" grpId="0" animBg="1"/>
      <p:bldP spid="3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2" grpId="0" animBg="1"/>
      <p:bldP spid="38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4" grpId="0" animBg="1"/>
      <p:bldP spid="38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6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Feedback communicer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16" name="Rechthoek 15"/>
          <p:cNvSpPr/>
          <p:nvPr userDrawn="1"/>
        </p:nvSpPr>
        <p:spPr>
          <a:xfrm>
            <a:off x="701536" y="1700810"/>
            <a:ext cx="10800649" cy="435649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te klant,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j PPT Solutions communiceren we feedback met opmerkingen in PowerPoint.</a:t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nneer u feedback heeft wat betrekking heeft op een dia in de presentatie, ga dan naar de desbetreffende dia en volg de volgende stappen: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ze stappen kunt u uitvoeren door de gehele presentatie en eventueel ook antwoord geven op onze communicatie via opmerkingen.</a:t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 volgende stappen kunt u uitvoeren om antwoord te geven op evt. opmerkingen of om naar de vorige/volgende opmerking in de presentatie te gaan:</a:t>
            </a: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Feedback communiceren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2267220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4838993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" name="Rechthoek 36"/>
            <p:cNvSpPr/>
            <p:nvPr userDrawn="1"/>
          </p:nvSpPr>
          <p:spPr>
            <a:xfrm>
              <a:off x="0" y="277158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" name="Rechthoek 37"/>
            <p:cNvSpPr/>
            <p:nvPr userDrawn="1"/>
          </p:nvSpPr>
          <p:spPr>
            <a:xfrm>
              <a:off x="0" y="320061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9" name="Rechthoek 38"/>
            <p:cNvSpPr/>
            <p:nvPr userDrawn="1"/>
          </p:nvSpPr>
          <p:spPr>
            <a:xfrm>
              <a:off x="0" y="3666199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48" name="Rechthoek 47"/>
            <p:cNvSpPr/>
            <p:nvPr userDrawn="1"/>
          </p:nvSpPr>
          <p:spPr>
            <a:xfrm>
              <a:off x="0" y="538020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dirty="0">
                <a:solidFill>
                  <a:srgbClr val="0096A5"/>
                </a:solidFill>
                <a:latin typeface="Oswald" panose="02000503000000000000" pitchFamily="2" charset="0"/>
              </a:rPr>
              <a:t>Feedback communicatie</a:t>
            </a:r>
            <a:endParaRPr lang="en-US" sz="18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  <p:grpSp>
        <p:nvGrpSpPr>
          <p:cNvPr id="67" name="Groep 66"/>
          <p:cNvGrpSpPr/>
          <p:nvPr userDrawn="1"/>
        </p:nvGrpSpPr>
        <p:grpSpPr>
          <a:xfrm>
            <a:off x="696791" y="2472280"/>
            <a:ext cx="9936052" cy="1694973"/>
            <a:chOff x="695521" y="2472279"/>
            <a:chExt cx="9917939" cy="1694973"/>
          </a:xfrm>
        </p:grpSpPr>
        <p:grpSp>
          <p:nvGrpSpPr>
            <p:cNvPr id="18" name="Groep 17"/>
            <p:cNvGrpSpPr/>
            <p:nvPr/>
          </p:nvGrpSpPr>
          <p:grpSpPr>
            <a:xfrm>
              <a:off x="695521" y="2477768"/>
              <a:ext cx="9917939" cy="1643724"/>
              <a:chOff x="607174" y="2060848"/>
              <a:chExt cx="9917939" cy="1643724"/>
            </a:xfrm>
          </p:grpSpPr>
          <p:sp>
            <p:nvSpPr>
              <p:cNvPr id="23" name="Tekstvak 22"/>
              <p:cNvSpPr txBox="1"/>
              <p:nvPr/>
            </p:nvSpPr>
            <p:spPr>
              <a:xfrm>
                <a:off x="1020057" y="2060849"/>
                <a:ext cx="4824536" cy="2654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a naar de tab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Invoegen’.</a:t>
                </a:r>
              </a:p>
            </p:txBody>
          </p:sp>
          <p:sp>
            <p:nvSpPr>
              <p:cNvPr id="24" name="Ovaal 23"/>
              <p:cNvSpPr/>
              <p:nvPr/>
            </p:nvSpPr>
            <p:spPr>
              <a:xfrm>
                <a:off x="607174" y="2060848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1</a:t>
                </a:r>
              </a:p>
            </p:txBody>
          </p:sp>
          <p:sp>
            <p:nvSpPr>
              <p:cNvPr id="25" name="Tekstvak 24"/>
              <p:cNvSpPr txBox="1"/>
              <p:nvPr/>
            </p:nvSpPr>
            <p:spPr>
              <a:xfrm>
                <a:off x="1020057" y="2483279"/>
                <a:ext cx="482453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Klik op de knop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Opmerking’.</a:t>
                </a:r>
              </a:p>
            </p:txBody>
          </p:sp>
          <p:sp>
            <p:nvSpPr>
              <p:cNvPr id="26" name="Ovaal 25"/>
              <p:cNvSpPr/>
              <p:nvPr/>
            </p:nvSpPr>
            <p:spPr>
              <a:xfrm>
                <a:off x="607174" y="2488475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</a:t>
                </a:r>
              </a:p>
            </p:txBody>
          </p:sp>
          <p:sp>
            <p:nvSpPr>
              <p:cNvPr id="27" name="Tekstvak 26"/>
              <p:cNvSpPr txBox="1"/>
              <p:nvPr/>
            </p:nvSpPr>
            <p:spPr>
              <a:xfrm>
                <a:off x="1020057" y="2931615"/>
                <a:ext cx="95050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r verschijnt nu een klein spreekwolkje op de slide en het venster voor opmerkingen opent zich aan de zijkant.</a:t>
                </a:r>
              </a:p>
              <a:p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yp uw feedback in het tekst vak in het venster voor opmerkingen.</a:t>
                </a:r>
              </a:p>
            </p:txBody>
          </p:sp>
          <p:sp>
            <p:nvSpPr>
              <p:cNvPr id="28" name="Ovaal 27"/>
              <p:cNvSpPr/>
              <p:nvPr/>
            </p:nvSpPr>
            <p:spPr>
              <a:xfrm>
                <a:off x="607174" y="291608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3</a:t>
                </a:r>
              </a:p>
            </p:txBody>
          </p:sp>
          <p:sp>
            <p:nvSpPr>
              <p:cNvPr id="29" name="Tekstvak 28"/>
              <p:cNvSpPr txBox="1"/>
              <p:nvPr/>
            </p:nvSpPr>
            <p:spPr>
              <a:xfrm>
                <a:off x="1020057" y="3416540"/>
                <a:ext cx="72936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u dit gedaan heeft, kunt u het spreekwolkje op de juiste plaats op de dia slepen. 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Zo is het voor ons duidelijk op welk deel van de content, op de dia, uw feedback betrekking heeft.</a:t>
                </a:r>
              </a:p>
            </p:txBody>
          </p:sp>
          <p:sp>
            <p:nvSpPr>
              <p:cNvPr id="30" name="Ovaal 29"/>
              <p:cNvSpPr/>
              <p:nvPr/>
            </p:nvSpPr>
            <p:spPr>
              <a:xfrm>
                <a:off x="607174" y="341654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4</a:t>
                </a:r>
              </a:p>
            </p:txBody>
          </p:sp>
        </p:grpSp>
        <p:pic>
          <p:nvPicPr>
            <p:cNvPr id="51" name="Afbeelding 5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2913" y="2472279"/>
              <a:ext cx="1822207" cy="26537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2" name="Afbeelding 51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92913" y="2840765"/>
              <a:ext cx="432050" cy="376815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6" name="Afbeelding 55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2793592"/>
              <a:ext cx="2144324" cy="880792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8" name="Afbeelding 57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3767202"/>
              <a:ext cx="419100" cy="40005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grpSp>
        <p:nvGrpSpPr>
          <p:cNvPr id="66" name="Groep 65"/>
          <p:cNvGrpSpPr/>
          <p:nvPr userDrawn="1"/>
        </p:nvGrpSpPr>
        <p:grpSpPr>
          <a:xfrm>
            <a:off x="691994" y="4957010"/>
            <a:ext cx="10940890" cy="992294"/>
            <a:chOff x="690732" y="4957010"/>
            <a:chExt cx="10920946" cy="992294"/>
          </a:xfrm>
        </p:grpSpPr>
        <p:grpSp>
          <p:nvGrpSpPr>
            <p:cNvPr id="41" name="Groep 40"/>
            <p:cNvGrpSpPr/>
            <p:nvPr/>
          </p:nvGrpSpPr>
          <p:grpSpPr>
            <a:xfrm>
              <a:off x="690732" y="5052264"/>
              <a:ext cx="10920946" cy="807860"/>
              <a:chOff x="612279" y="4917797"/>
              <a:chExt cx="10920946" cy="807860"/>
            </a:xfrm>
          </p:grpSpPr>
          <p:sp>
            <p:nvSpPr>
              <p:cNvPr id="44" name="Tekstvak 43"/>
              <p:cNvSpPr txBox="1"/>
              <p:nvPr/>
            </p:nvSpPr>
            <p:spPr>
              <a:xfrm>
                <a:off x="1020057" y="4933332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en u een opmerking van PPT Solutions ziet staan, Kunt u antwoorden door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nder de opmerking, waar een tekst vak staat met de beschrijving ‘Beantwoorden’, uw antwoord te typen.</a:t>
                </a:r>
              </a:p>
            </p:txBody>
          </p:sp>
          <p:sp>
            <p:nvSpPr>
              <p:cNvPr id="45" name="Ovaal 44"/>
              <p:cNvSpPr/>
              <p:nvPr/>
            </p:nvSpPr>
            <p:spPr>
              <a:xfrm>
                <a:off x="612279" y="4917797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</a:t>
                </a:r>
              </a:p>
            </p:txBody>
          </p:sp>
          <p:sp>
            <p:nvSpPr>
              <p:cNvPr id="46" name="Tekstvak 45"/>
              <p:cNvSpPr txBox="1"/>
              <p:nvPr/>
            </p:nvSpPr>
            <p:spPr>
              <a:xfrm>
                <a:off x="1020057" y="5437625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zijn in de rechter bovenhoek twee knopjes zichtbaar.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et het linker knopje gaat u naar de vorige opmerking in de presentatie en met het rechter knopje gaat u naar de volgende.</a:t>
                </a:r>
              </a:p>
            </p:txBody>
          </p:sp>
          <p:sp>
            <p:nvSpPr>
              <p:cNvPr id="47" name="Ovaal 46"/>
              <p:cNvSpPr/>
              <p:nvPr/>
            </p:nvSpPr>
            <p:spPr>
              <a:xfrm>
                <a:off x="612279" y="542209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B</a:t>
                </a:r>
              </a:p>
            </p:txBody>
          </p:sp>
        </p:grpSp>
        <p:pic>
          <p:nvPicPr>
            <p:cNvPr id="63" name="Afbeelding 62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21581" y="4957010"/>
              <a:ext cx="1677516" cy="529469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65" name="Afbeelding 64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21580" y="5568546"/>
              <a:ext cx="673648" cy="380758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sp>
        <p:nvSpPr>
          <p:cNvPr id="43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dirty="0"/>
          </a:p>
        </p:txBody>
      </p:sp>
      <p:cxnSp>
        <p:nvCxnSpPr>
          <p:cNvPr id="42" name="Rechte verbindingslijn 41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701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B6C14-EFE3-4271-AD2A-8DCD724904D4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genda</a:t>
            </a:r>
          </a:p>
        </p:txBody>
      </p:sp>
      <p:sp>
        <p:nvSpPr>
          <p:cNvPr id="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10" name="Rechthoek 9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11" name="Ovaal 10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" name="Rechte verbindingslijn 11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" name="Rechthoek 12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4" name="Rechte verbindingslijn 13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Rechte verbindingslijn 14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hthoek 15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" name="Groep 16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72" name="Rechte verbindingslijn 7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3" name="Rechte verbindingslijn 7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4" name="Rechte verbindingslijn 7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5" name="Rechte verbindingslijn 7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6" name="Rechte verbindingslijn 7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9" name="Groep 6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Pijl: punthaak 7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" name="Groep 17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63" name="Rechte verbindingslijn 6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4" name="Rechte verbindingslijn 6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5" name="Rechte verbindingslijn 6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6" name="Rechte verbindingslijn 6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7" name="Rechte verbindingslijn 6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0" name="Groep 5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61" name="Rechthoek 6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" name="Pijl: punthaak 6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" name="Rechte verbindingslijn 18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1" name="Groep 20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48" name="Rechthoek 4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49" name="Groep 4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50" name="Groep 4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54" name="Rechte verbindingslijn 5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5" name="Rechte verbindingslijn 5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6" name="Rechte verbindingslijn 5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7" name="Rechte verbindingslijn 5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8" name="Rechte verbindingslijn 5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51" name="Groep 5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52" name="Rechthoek 5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3" name="Pijl: punthaak 5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" name="Groep 21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9" name="Groep 3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43" name="Rechte verbindingslijn 4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4" name="Rechte verbindingslijn 4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5" name="Rechte verbindingslijn 4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6" name="Rechte verbindingslijn 4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7" name="Rechte verbindingslijn 4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40" name="Groep 3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41" name="Rechthoek 4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2" name="Pijl: punthaak 4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" name="Rechthoek 2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25" name="Rechthoek 2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26" name="Rechte verbindingslijn 2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7" name="Rechthoek 2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28" name="Ovaal 2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Ovaal 2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32" name="Ovaal 3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34" name="Ovaal 3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35" name="Rechthoek 3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7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7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0" name="Rechte verbindingslijn 7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82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9695" y="1273840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89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1172872" y="1273840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369695" y="2078021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69695" y="2882202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9695" y="368638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369695" y="4490564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1172872" y="4490564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369695" y="529474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06" name="Tijdelijke aanduiding voor verticale tekst 2">
            <a:extLst>
              <a:ext uri="{FF2B5EF4-FFF2-40B4-BE49-F238E27FC236}">
                <a16:creationId xmlns:a16="http://schemas.microsoft.com/office/drawing/2014/main" id="{5D87FE67-1EE4-4AB8-935B-42793EDED5D3}"/>
              </a:ext>
            </a:extLst>
          </p:cNvPr>
          <p:cNvSpPr>
            <a:spLocks noGrp="1"/>
          </p:cNvSpPr>
          <p:nvPr>
            <p:ph type="body" orient="vert" idx="44" hasCustomPrompt="1"/>
          </p:nvPr>
        </p:nvSpPr>
        <p:spPr>
          <a:xfrm>
            <a:off x="1172872" y="2078021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verticale tekst 2">
            <a:extLst>
              <a:ext uri="{FF2B5EF4-FFF2-40B4-BE49-F238E27FC236}">
                <a16:creationId xmlns:a16="http://schemas.microsoft.com/office/drawing/2014/main" id="{46E11900-4AC3-42DC-9EA5-FB6867C53B00}"/>
              </a:ext>
            </a:extLst>
          </p:cNvPr>
          <p:cNvSpPr>
            <a:spLocks noGrp="1"/>
          </p:cNvSpPr>
          <p:nvPr>
            <p:ph type="body" orient="vert" idx="45" hasCustomPrompt="1"/>
          </p:nvPr>
        </p:nvSpPr>
        <p:spPr>
          <a:xfrm>
            <a:off x="1172872" y="2882202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>
            <a:extLst>
              <a:ext uri="{FF2B5EF4-FFF2-40B4-BE49-F238E27FC236}">
                <a16:creationId xmlns:a16="http://schemas.microsoft.com/office/drawing/2014/main" id="{99E8DD11-097A-45EB-AAF7-EC25BE66AA9F}"/>
              </a:ext>
            </a:extLst>
          </p:cNvPr>
          <p:cNvSpPr>
            <a:spLocks noGrp="1"/>
          </p:cNvSpPr>
          <p:nvPr>
            <p:ph type="body" orient="vert" idx="46" hasCustomPrompt="1"/>
          </p:nvPr>
        </p:nvSpPr>
        <p:spPr>
          <a:xfrm>
            <a:off x="1172872" y="3686383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>
            <a:extLst>
              <a:ext uri="{FF2B5EF4-FFF2-40B4-BE49-F238E27FC236}">
                <a16:creationId xmlns:a16="http://schemas.microsoft.com/office/drawing/2014/main" id="{711A31A4-DA9C-4BBB-B5C7-183BEC7EF686}"/>
              </a:ext>
            </a:extLst>
          </p:cNvPr>
          <p:cNvSpPr>
            <a:spLocks noGrp="1"/>
          </p:cNvSpPr>
          <p:nvPr>
            <p:ph type="body" orient="vert" idx="47" hasCustomPrompt="1"/>
          </p:nvPr>
        </p:nvSpPr>
        <p:spPr>
          <a:xfrm>
            <a:off x="1172872" y="5294743"/>
            <a:ext cx="4616450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</p:spTree>
    <p:extLst>
      <p:ext uri="{BB962C8B-B14F-4D97-AF65-F5344CB8AC3E}">
        <p14:creationId xmlns:p14="http://schemas.microsoft.com/office/powerpoint/2010/main" val="168555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Video instructi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hthoek 10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Video instructies - YouTube links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es – YouTube links</a:t>
            </a:r>
          </a:p>
        </p:txBody>
      </p:sp>
      <p:cxnSp>
        <p:nvCxnSpPr>
          <p:cNvPr id="49" name="Rechte verbindingslijn 48"/>
          <p:cNvCxnSpPr/>
          <p:nvPr userDrawn="1"/>
        </p:nvCxnSpPr>
        <p:spPr>
          <a:xfrm>
            <a:off x="3394123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echte verbindingslijn 49"/>
          <p:cNvCxnSpPr/>
          <p:nvPr userDrawn="1"/>
        </p:nvCxnSpPr>
        <p:spPr>
          <a:xfrm>
            <a:off x="6094285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chte verbindingslijn 58"/>
          <p:cNvCxnSpPr>
            <a:cxnSpLocks/>
          </p:cNvCxnSpPr>
          <p:nvPr userDrawn="1"/>
        </p:nvCxnSpPr>
        <p:spPr>
          <a:xfrm flipH="1">
            <a:off x="672268" y="3879057"/>
            <a:ext cx="8122180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H2">
            <a:hlinkClick r:id="" action="ppaction://noaction"/>
          </p:cNvPr>
          <p:cNvSpPr txBox="1"/>
          <p:nvPr userDrawn="1"/>
        </p:nvSpPr>
        <p:spPr>
          <a:xfrm>
            <a:off x="1031406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Werken met Tekst Niveau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nl-NL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hM16rifWsjU</a:t>
            </a:r>
            <a:r>
              <a:rPr lang="nl-NL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2" name="H2">
            <a:hlinkClick r:id="" action="ppaction://noaction"/>
          </p:cNvPr>
          <p:cNvSpPr txBox="1"/>
          <p:nvPr userDrawn="1"/>
        </p:nvSpPr>
        <p:spPr>
          <a:xfrm>
            <a:off x="3781120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Afbeeldingen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09yTK-OTEPA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3" name="H2">
            <a:hlinkClick r:id="" action="ppaction://noaction"/>
          </p:cNvPr>
          <p:cNvSpPr txBox="1"/>
          <p:nvPr userDrawn="1"/>
        </p:nvSpPr>
        <p:spPr>
          <a:xfrm>
            <a:off x="6481282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Grafieken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fbByse1_RSY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79" name="Grafiek icoon"/>
          <p:cNvGrpSpPr/>
          <p:nvPr userDrawn="1"/>
        </p:nvGrpSpPr>
        <p:grpSpPr>
          <a:xfrm>
            <a:off x="7264959" y="2184002"/>
            <a:ext cx="358817" cy="389873"/>
            <a:chOff x="12468049" y="1754144"/>
            <a:chExt cx="339072" cy="369091"/>
          </a:xfrm>
        </p:grpSpPr>
        <p:sp>
          <p:nvSpPr>
            <p:cNvPr id="80" name="Rechthoek 79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81" name="Rechthoek 80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82" name="Rechthoek 8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</p:grpSp>
      <p:sp>
        <p:nvSpPr>
          <p:cNvPr id="83" name="H2">
            <a:hlinkClick r:id="" action="ppaction://noaction"/>
          </p:cNvPr>
          <p:cNvSpPr txBox="1"/>
          <p:nvPr userDrawn="1"/>
        </p:nvSpPr>
        <p:spPr>
          <a:xfrm>
            <a:off x="1066304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Tabellen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IIjbiKAotek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4" name="H2">
            <a:hlinkClick r:id="" action="ppaction://noaction"/>
          </p:cNvPr>
          <p:cNvSpPr txBox="1"/>
          <p:nvPr userDrawn="1"/>
        </p:nvSpPr>
        <p:spPr>
          <a:xfrm>
            <a:off x="3816019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Werken met Video’s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H_4HH09zxC0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5" name="H2">
            <a:hlinkClick r:id="" action="ppaction://noaction"/>
          </p:cNvPr>
          <p:cNvSpPr txBox="1"/>
          <p:nvPr userDrawn="1"/>
        </p:nvSpPr>
        <p:spPr>
          <a:xfrm>
            <a:off x="6516180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noProof="0" dirty="0">
                <a:solidFill>
                  <a:schemeClr val="accent2"/>
                </a:solidFill>
                <a:latin typeface="+mj-lt"/>
              </a:rPr>
              <a:t> </a:t>
            </a:r>
            <a:br>
              <a:rPr lang="nl-NL" sz="1200" noProof="0" dirty="0">
                <a:solidFill>
                  <a:schemeClr val="tx2"/>
                </a:solidFill>
                <a:latin typeface="+mj-lt"/>
              </a:rPr>
            </a:br>
            <a:r>
              <a:rPr lang="nl-NL" sz="1200" kern="1200" noProof="0" dirty="0">
                <a:solidFill>
                  <a:srgbClr val="44546A"/>
                </a:solidFill>
                <a:latin typeface="Oswald" panose="02000503000000000000" pitchFamily="2" charset="0"/>
                <a:ea typeface="+mn-ea"/>
                <a:cs typeface="+mn-cs"/>
              </a:rPr>
              <a:t>Meer Tips &amp; Tricks</a:t>
            </a: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7"/>
              </a:rPr>
              <a:t>www.pptsolutions.nl</a:t>
            </a:r>
            <a:r>
              <a:rPr lang="nl-NL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86" name="Tabel icoon"/>
          <p:cNvGrpSpPr/>
          <p:nvPr userDrawn="1"/>
        </p:nvGrpSpPr>
        <p:grpSpPr>
          <a:xfrm>
            <a:off x="1808088" y="4385924"/>
            <a:ext cx="447825" cy="403759"/>
            <a:chOff x="6072040" y="3376043"/>
            <a:chExt cx="1227920" cy="1109109"/>
          </a:xfrm>
        </p:grpSpPr>
        <p:sp>
          <p:nvSpPr>
            <p:cNvPr id="87" name="Rechthoek 86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88" name="Rechthoek 87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cxnSp>
          <p:nvCxnSpPr>
            <p:cNvPr id="89" name="Rechte verbindingslijn 88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Rechte verbindingslijn 89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Rechte verbindingslijn 90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Rechte verbindingslijn 91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Rechte verbindingslijn 92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hthoek 93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</p:grpSp>
      <p:grpSp>
        <p:nvGrpSpPr>
          <p:cNvPr id="97" name="Video icoon"/>
          <p:cNvGrpSpPr/>
          <p:nvPr userDrawn="1"/>
        </p:nvGrpSpPr>
        <p:grpSpPr>
          <a:xfrm>
            <a:off x="4603376" y="4392447"/>
            <a:ext cx="401285" cy="403079"/>
            <a:chOff x="8066315" y="1676399"/>
            <a:chExt cx="1371600" cy="1380253"/>
          </a:xfrm>
        </p:grpSpPr>
        <p:sp>
          <p:nvSpPr>
            <p:cNvPr id="98" name="Rechthoek 97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99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  <p:sp>
          <p:nvSpPr>
            <p:cNvPr id="100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 dirty="0"/>
            </a:p>
          </p:txBody>
        </p:sp>
      </p:grpSp>
      <p:sp>
        <p:nvSpPr>
          <p:cNvPr id="101" name="Freeform 17"/>
          <p:cNvSpPr>
            <a:spLocks noEditPoints="1"/>
          </p:cNvSpPr>
          <p:nvPr userDrawn="1"/>
        </p:nvSpPr>
        <p:spPr bwMode="auto">
          <a:xfrm>
            <a:off x="7294860" y="4392446"/>
            <a:ext cx="409961" cy="409214"/>
          </a:xfrm>
          <a:custGeom>
            <a:avLst/>
            <a:gdLst>
              <a:gd name="T0" fmla="*/ 281 w 445"/>
              <a:gd name="T1" fmla="*/ 374 h 445"/>
              <a:gd name="T2" fmla="*/ 320 w 445"/>
              <a:gd name="T3" fmla="*/ 366 h 445"/>
              <a:gd name="T4" fmla="*/ 297 w 445"/>
              <a:gd name="T5" fmla="*/ 330 h 445"/>
              <a:gd name="T6" fmla="*/ 98 w 445"/>
              <a:gd name="T7" fmla="*/ 344 h 445"/>
              <a:gd name="T8" fmla="*/ 175 w 445"/>
              <a:gd name="T9" fmla="*/ 390 h 445"/>
              <a:gd name="T10" fmla="*/ 147 w 445"/>
              <a:gd name="T11" fmla="*/ 329 h 445"/>
              <a:gd name="T12" fmla="*/ 171 w 445"/>
              <a:gd name="T13" fmla="*/ 324 h 445"/>
              <a:gd name="T14" fmla="*/ 200 w 445"/>
              <a:gd name="T15" fmla="*/ 384 h 445"/>
              <a:gd name="T16" fmla="*/ 234 w 445"/>
              <a:gd name="T17" fmla="*/ 392 h 445"/>
              <a:gd name="T18" fmla="*/ 265 w 445"/>
              <a:gd name="T19" fmla="*/ 349 h 445"/>
              <a:gd name="T20" fmla="*/ 310 w 445"/>
              <a:gd name="T21" fmla="*/ 232 h 445"/>
              <a:gd name="T22" fmla="*/ 306 w 445"/>
              <a:gd name="T23" fmla="*/ 290 h 445"/>
              <a:gd name="T24" fmla="*/ 358 w 445"/>
              <a:gd name="T25" fmla="*/ 330 h 445"/>
              <a:gd name="T26" fmla="*/ 393 w 445"/>
              <a:gd name="T27" fmla="*/ 260 h 445"/>
              <a:gd name="T28" fmla="*/ 159 w 445"/>
              <a:gd name="T29" fmla="*/ 232 h 445"/>
              <a:gd name="T30" fmla="*/ 201 w 445"/>
              <a:gd name="T31" fmla="*/ 295 h 445"/>
              <a:gd name="T32" fmla="*/ 284 w 445"/>
              <a:gd name="T33" fmla="*/ 268 h 445"/>
              <a:gd name="T34" fmla="*/ 48 w 445"/>
              <a:gd name="T35" fmla="*/ 232 h 445"/>
              <a:gd name="T36" fmla="*/ 62 w 445"/>
              <a:gd name="T37" fmla="*/ 292 h 445"/>
              <a:gd name="T38" fmla="*/ 98 w 445"/>
              <a:gd name="T39" fmla="*/ 317 h 445"/>
              <a:gd name="T40" fmla="*/ 139 w 445"/>
              <a:gd name="T41" fmla="*/ 281 h 445"/>
              <a:gd name="T42" fmla="*/ 48 w 445"/>
              <a:gd name="T43" fmla="*/ 232 h 445"/>
              <a:gd name="T44" fmla="*/ 223 w 445"/>
              <a:gd name="T45" fmla="*/ 148 h 445"/>
              <a:gd name="T46" fmla="*/ 162 w 445"/>
              <a:gd name="T47" fmla="*/ 173 h 445"/>
              <a:gd name="T48" fmla="*/ 284 w 445"/>
              <a:gd name="T49" fmla="*/ 173 h 445"/>
              <a:gd name="T50" fmla="*/ 69 w 445"/>
              <a:gd name="T51" fmla="*/ 138 h 445"/>
              <a:gd name="T52" fmla="*/ 48 w 445"/>
              <a:gd name="T53" fmla="*/ 208 h 445"/>
              <a:gd name="T54" fmla="*/ 143 w 445"/>
              <a:gd name="T55" fmla="*/ 137 h 445"/>
              <a:gd name="T56" fmla="*/ 82 w 445"/>
              <a:gd name="T57" fmla="*/ 117 h 445"/>
              <a:gd name="T58" fmla="*/ 302 w 445"/>
              <a:gd name="T59" fmla="*/ 136 h 445"/>
              <a:gd name="T60" fmla="*/ 396 w 445"/>
              <a:gd name="T61" fmla="*/ 208 h 445"/>
              <a:gd name="T62" fmla="*/ 373 w 445"/>
              <a:gd name="T63" fmla="*/ 133 h 445"/>
              <a:gd name="T64" fmla="*/ 281 w 445"/>
              <a:gd name="T65" fmla="*/ 71 h 445"/>
              <a:gd name="T66" fmla="*/ 319 w 445"/>
              <a:gd name="T67" fmla="*/ 105 h 445"/>
              <a:gd name="T68" fmla="*/ 296 w 445"/>
              <a:gd name="T69" fmla="*/ 64 h 445"/>
              <a:gd name="T70" fmla="*/ 146 w 445"/>
              <a:gd name="T71" fmla="*/ 65 h 445"/>
              <a:gd name="T72" fmla="*/ 121 w 445"/>
              <a:gd name="T73" fmla="*/ 108 h 445"/>
              <a:gd name="T74" fmla="*/ 165 w 445"/>
              <a:gd name="T75" fmla="*/ 72 h 445"/>
              <a:gd name="T76" fmla="*/ 212 w 445"/>
              <a:gd name="T77" fmla="*/ 52 h 445"/>
              <a:gd name="T78" fmla="*/ 180 w 445"/>
              <a:gd name="T79" fmla="*/ 96 h 445"/>
              <a:gd name="T80" fmla="*/ 238 w 445"/>
              <a:gd name="T81" fmla="*/ 124 h 445"/>
              <a:gd name="T82" fmla="*/ 255 w 445"/>
              <a:gd name="T83" fmla="*/ 75 h 445"/>
              <a:gd name="T84" fmla="*/ 223 w 445"/>
              <a:gd name="T85" fmla="*/ 49 h 445"/>
              <a:gd name="T86" fmla="*/ 293 w 445"/>
              <a:gd name="T87" fmla="*/ 11 h 445"/>
              <a:gd name="T88" fmla="*/ 380 w 445"/>
              <a:gd name="T89" fmla="*/ 65 h 445"/>
              <a:gd name="T90" fmla="*/ 433 w 445"/>
              <a:gd name="T91" fmla="*/ 151 h 445"/>
              <a:gd name="T92" fmla="*/ 442 w 445"/>
              <a:gd name="T93" fmla="*/ 258 h 445"/>
              <a:gd name="T94" fmla="*/ 402 w 445"/>
              <a:gd name="T95" fmla="*/ 353 h 445"/>
              <a:gd name="T96" fmla="*/ 325 w 445"/>
              <a:gd name="T97" fmla="*/ 420 h 445"/>
              <a:gd name="T98" fmla="*/ 223 w 445"/>
              <a:gd name="T99" fmla="*/ 445 h 445"/>
              <a:gd name="T100" fmla="*/ 120 w 445"/>
              <a:gd name="T101" fmla="*/ 420 h 445"/>
              <a:gd name="T102" fmla="*/ 43 w 445"/>
              <a:gd name="T103" fmla="*/ 353 h 445"/>
              <a:gd name="T104" fmla="*/ 2 w 445"/>
              <a:gd name="T105" fmla="*/ 258 h 445"/>
              <a:gd name="T106" fmla="*/ 11 w 445"/>
              <a:gd name="T107" fmla="*/ 151 h 445"/>
              <a:gd name="T108" fmla="*/ 66 w 445"/>
              <a:gd name="T109" fmla="*/ 65 h 445"/>
              <a:gd name="T110" fmla="*/ 152 w 445"/>
              <a:gd name="T111" fmla="*/ 11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45" h="445">
                <a:moveTo>
                  <a:pt x="297" y="330"/>
                </a:moveTo>
                <a:lnTo>
                  <a:pt x="289" y="353"/>
                </a:lnTo>
                <a:lnTo>
                  <a:pt x="281" y="374"/>
                </a:lnTo>
                <a:lnTo>
                  <a:pt x="270" y="390"/>
                </a:lnTo>
                <a:lnTo>
                  <a:pt x="296" y="380"/>
                </a:lnTo>
                <a:lnTo>
                  <a:pt x="320" y="366"/>
                </a:lnTo>
                <a:lnTo>
                  <a:pt x="342" y="350"/>
                </a:lnTo>
                <a:lnTo>
                  <a:pt x="319" y="339"/>
                </a:lnTo>
                <a:lnTo>
                  <a:pt x="297" y="330"/>
                </a:lnTo>
                <a:close/>
                <a:moveTo>
                  <a:pt x="147" y="329"/>
                </a:moveTo>
                <a:lnTo>
                  <a:pt x="120" y="337"/>
                </a:lnTo>
                <a:lnTo>
                  <a:pt x="98" y="344"/>
                </a:lnTo>
                <a:lnTo>
                  <a:pt x="121" y="364"/>
                </a:lnTo>
                <a:lnTo>
                  <a:pt x="146" y="379"/>
                </a:lnTo>
                <a:lnTo>
                  <a:pt x="175" y="390"/>
                </a:lnTo>
                <a:lnTo>
                  <a:pt x="165" y="373"/>
                </a:lnTo>
                <a:lnTo>
                  <a:pt x="155" y="352"/>
                </a:lnTo>
                <a:lnTo>
                  <a:pt x="147" y="329"/>
                </a:lnTo>
                <a:close/>
                <a:moveTo>
                  <a:pt x="238" y="320"/>
                </a:moveTo>
                <a:lnTo>
                  <a:pt x="203" y="320"/>
                </a:lnTo>
                <a:lnTo>
                  <a:pt x="171" y="324"/>
                </a:lnTo>
                <a:lnTo>
                  <a:pt x="180" y="349"/>
                </a:lnTo>
                <a:lnTo>
                  <a:pt x="190" y="368"/>
                </a:lnTo>
                <a:lnTo>
                  <a:pt x="200" y="384"/>
                </a:lnTo>
                <a:lnTo>
                  <a:pt x="212" y="392"/>
                </a:lnTo>
                <a:lnTo>
                  <a:pt x="223" y="396"/>
                </a:lnTo>
                <a:lnTo>
                  <a:pt x="234" y="392"/>
                </a:lnTo>
                <a:lnTo>
                  <a:pt x="245" y="384"/>
                </a:lnTo>
                <a:lnTo>
                  <a:pt x="255" y="368"/>
                </a:lnTo>
                <a:lnTo>
                  <a:pt x="265" y="349"/>
                </a:lnTo>
                <a:lnTo>
                  <a:pt x="273" y="325"/>
                </a:lnTo>
                <a:lnTo>
                  <a:pt x="238" y="320"/>
                </a:lnTo>
                <a:close/>
                <a:moveTo>
                  <a:pt x="310" y="232"/>
                </a:moveTo>
                <a:lnTo>
                  <a:pt x="309" y="254"/>
                </a:lnTo>
                <a:lnTo>
                  <a:pt x="308" y="272"/>
                </a:lnTo>
                <a:lnTo>
                  <a:pt x="306" y="290"/>
                </a:lnTo>
                <a:lnTo>
                  <a:pt x="302" y="306"/>
                </a:lnTo>
                <a:lnTo>
                  <a:pt x="331" y="316"/>
                </a:lnTo>
                <a:lnTo>
                  <a:pt x="358" y="330"/>
                </a:lnTo>
                <a:lnTo>
                  <a:pt x="373" y="308"/>
                </a:lnTo>
                <a:lnTo>
                  <a:pt x="385" y="285"/>
                </a:lnTo>
                <a:lnTo>
                  <a:pt x="393" y="260"/>
                </a:lnTo>
                <a:lnTo>
                  <a:pt x="396" y="232"/>
                </a:lnTo>
                <a:lnTo>
                  <a:pt x="310" y="232"/>
                </a:lnTo>
                <a:close/>
                <a:moveTo>
                  <a:pt x="159" y="232"/>
                </a:moveTo>
                <a:lnTo>
                  <a:pt x="162" y="267"/>
                </a:lnTo>
                <a:lnTo>
                  <a:pt x="166" y="299"/>
                </a:lnTo>
                <a:lnTo>
                  <a:pt x="201" y="295"/>
                </a:lnTo>
                <a:lnTo>
                  <a:pt x="239" y="295"/>
                </a:lnTo>
                <a:lnTo>
                  <a:pt x="278" y="301"/>
                </a:lnTo>
                <a:lnTo>
                  <a:pt x="284" y="268"/>
                </a:lnTo>
                <a:lnTo>
                  <a:pt x="286" y="232"/>
                </a:lnTo>
                <a:lnTo>
                  <a:pt x="159" y="232"/>
                </a:lnTo>
                <a:close/>
                <a:moveTo>
                  <a:pt x="48" y="232"/>
                </a:moveTo>
                <a:lnTo>
                  <a:pt x="50" y="255"/>
                </a:lnTo>
                <a:lnTo>
                  <a:pt x="56" y="275"/>
                </a:lnTo>
                <a:lnTo>
                  <a:pt x="62" y="292"/>
                </a:lnTo>
                <a:lnTo>
                  <a:pt x="71" y="308"/>
                </a:lnTo>
                <a:lnTo>
                  <a:pt x="82" y="324"/>
                </a:lnTo>
                <a:lnTo>
                  <a:pt x="98" y="317"/>
                </a:lnTo>
                <a:lnTo>
                  <a:pt x="119" y="311"/>
                </a:lnTo>
                <a:lnTo>
                  <a:pt x="142" y="304"/>
                </a:lnTo>
                <a:lnTo>
                  <a:pt x="139" y="281"/>
                </a:lnTo>
                <a:lnTo>
                  <a:pt x="137" y="257"/>
                </a:lnTo>
                <a:lnTo>
                  <a:pt x="135" y="232"/>
                </a:lnTo>
                <a:lnTo>
                  <a:pt x="48" y="232"/>
                </a:lnTo>
                <a:close/>
                <a:moveTo>
                  <a:pt x="278" y="141"/>
                </a:moveTo>
                <a:lnTo>
                  <a:pt x="250" y="146"/>
                </a:lnTo>
                <a:lnTo>
                  <a:pt x="223" y="148"/>
                </a:lnTo>
                <a:lnTo>
                  <a:pt x="193" y="146"/>
                </a:lnTo>
                <a:lnTo>
                  <a:pt x="166" y="143"/>
                </a:lnTo>
                <a:lnTo>
                  <a:pt x="162" y="173"/>
                </a:lnTo>
                <a:lnTo>
                  <a:pt x="159" y="208"/>
                </a:lnTo>
                <a:lnTo>
                  <a:pt x="286" y="208"/>
                </a:lnTo>
                <a:lnTo>
                  <a:pt x="284" y="173"/>
                </a:lnTo>
                <a:lnTo>
                  <a:pt x="278" y="141"/>
                </a:lnTo>
                <a:close/>
                <a:moveTo>
                  <a:pt x="82" y="117"/>
                </a:moveTo>
                <a:lnTo>
                  <a:pt x="69" y="138"/>
                </a:lnTo>
                <a:lnTo>
                  <a:pt x="59" y="160"/>
                </a:lnTo>
                <a:lnTo>
                  <a:pt x="51" y="184"/>
                </a:lnTo>
                <a:lnTo>
                  <a:pt x="48" y="208"/>
                </a:lnTo>
                <a:lnTo>
                  <a:pt x="135" y="208"/>
                </a:lnTo>
                <a:lnTo>
                  <a:pt x="138" y="172"/>
                </a:lnTo>
                <a:lnTo>
                  <a:pt x="143" y="137"/>
                </a:lnTo>
                <a:lnTo>
                  <a:pt x="119" y="131"/>
                </a:lnTo>
                <a:lnTo>
                  <a:pt x="99" y="124"/>
                </a:lnTo>
                <a:lnTo>
                  <a:pt x="82" y="117"/>
                </a:lnTo>
                <a:close/>
                <a:moveTo>
                  <a:pt x="358" y="111"/>
                </a:moveTo>
                <a:lnTo>
                  <a:pt x="331" y="125"/>
                </a:lnTo>
                <a:lnTo>
                  <a:pt x="302" y="136"/>
                </a:lnTo>
                <a:lnTo>
                  <a:pt x="308" y="171"/>
                </a:lnTo>
                <a:lnTo>
                  <a:pt x="310" y="208"/>
                </a:lnTo>
                <a:lnTo>
                  <a:pt x="396" y="208"/>
                </a:lnTo>
                <a:lnTo>
                  <a:pt x="393" y="183"/>
                </a:lnTo>
                <a:lnTo>
                  <a:pt x="385" y="158"/>
                </a:lnTo>
                <a:lnTo>
                  <a:pt x="373" y="133"/>
                </a:lnTo>
                <a:lnTo>
                  <a:pt x="358" y="111"/>
                </a:lnTo>
                <a:close/>
                <a:moveTo>
                  <a:pt x="270" y="54"/>
                </a:moveTo>
                <a:lnTo>
                  <a:pt x="281" y="71"/>
                </a:lnTo>
                <a:lnTo>
                  <a:pt x="289" y="90"/>
                </a:lnTo>
                <a:lnTo>
                  <a:pt x="297" y="113"/>
                </a:lnTo>
                <a:lnTo>
                  <a:pt x="319" y="105"/>
                </a:lnTo>
                <a:lnTo>
                  <a:pt x="342" y="95"/>
                </a:lnTo>
                <a:lnTo>
                  <a:pt x="320" y="77"/>
                </a:lnTo>
                <a:lnTo>
                  <a:pt x="296" y="64"/>
                </a:lnTo>
                <a:lnTo>
                  <a:pt x="270" y="54"/>
                </a:lnTo>
                <a:close/>
                <a:moveTo>
                  <a:pt x="175" y="54"/>
                </a:moveTo>
                <a:lnTo>
                  <a:pt x="146" y="65"/>
                </a:lnTo>
                <a:lnTo>
                  <a:pt x="121" y="80"/>
                </a:lnTo>
                <a:lnTo>
                  <a:pt x="98" y="99"/>
                </a:lnTo>
                <a:lnTo>
                  <a:pt x="121" y="108"/>
                </a:lnTo>
                <a:lnTo>
                  <a:pt x="149" y="115"/>
                </a:lnTo>
                <a:lnTo>
                  <a:pt x="155" y="91"/>
                </a:lnTo>
                <a:lnTo>
                  <a:pt x="165" y="72"/>
                </a:lnTo>
                <a:lnTo>
                  <a:pt x="175" y="54"/>
                </a:lnTo>
                <a:close/>
                <a:moveTo>
                  <a:pt x="223" y="49"/>
                </a:moveTo>
                <a:lnTo>
                  <a:pt x="212" y="52"/>
                </a:lnTo>
                <a:lnTo>
                  <a:pt x="200" y="61"/>
                </a:lnTo>
                <a:lnTo>
                  <a:pt x="190" y="75"/>
                </a:lnTo>
                <a:lnTo>
                  <a:pt x="180" y="96"/>
                </a:lnTo>
                <a:lnTo>
                  <a:pt x="171" y="120"/>
                </a:lnTo>
                <a:lnTo>
                  <a:pt x="203" y="124"/>
                </a:lnTo>
                <a:lnTo>
                  <a:pt x="238" y="124"/>
                </a:lnTo>
                <a:lnTo>
                  <a:pt x="273" y="120"/>
                </a:lnTo>
                <a:lnTo>
                  <a:pt x="265" y="95"/>
                </a:lnTo>
                <a:lnTo>
                  <a:pt x="255" y="75"/>
                </a:lnTo>
                <a:lnTo>
                  <a:pt x="245" y="61"/>
                </a:lnTo>
                <a:lnTo>
                  <a:pt x="234" y="52"/>
                </a:lnTo>
                <a:lnTo>
                  <a:pt x="223" y="49"/>
                </a:lnTo>
                <a:close/>
                <a:moveTo>
                  <a:pt x="223" y="0"/>
                </a:moveTo>
                <a:lnTo>
                  <a:pt x="259" y="3"/>
                </a:lnTo>
                <a:lnTo>
                  <a:pt x="293" y="11"/>
                </a:lnTo>
                <a:lnTo>
                  <a:pt x="325" y="25"/>
                </a:lnTo>
                <a:lnTo>
                  <a:pt x="354" y="42"/>
                </a:lnTo>
                <a:lnTo>
                  <a:pt x="380" y="65"/>
                </a:lnTo>
                <a:lnTo>
                  <a:pt x="402" y="90"/>
                </a:lnTo>
                <a:lnTo>
                  <a:pt x="420" y="120"/>
                </a:lnTo>
                <a:lnTo>
                  <a:pt x="433" y="151"/>
                </a:lnTo>
                <a:lnTo>
                  <a:pt x="442" y="186"/>
                </a:lnTo>
                <a:lnTo>
                  <a:pt x="445" y="222"/>
                </a:lnTo>
                <a:lnTo>
                  <a:pt x="442" y="258"/>
                </a:lnTo>
                <a:lnTo>
                  <a:pt x="433" y="292"/>
                </a:lnTo>
                <a:lnTo>
                  <a:pt x="420" y="325"/>
                </a:lnTo>
                <a:lnTo>
                  <a:pt x="402" y="353"/>
                </a:lnTo>
                <a:lnTo>
                  <a:pt x="380" y="379"/>
                </a:lnTo>
                <a:lnTo>
                  <a:pt x="354" y="402"/>
                </a:lnTo>
                <a:lnTo>
                  <a:pt x="325" y="420"/>
                </a:lnTo>
                <a:lnTo>
                  <a:pt x="293" y="434"/>
                </a:lnTo>
                <a:lnTo>
                  <a:pt x="259" y="441"/>
                </a:lnTo>
                <a:lnTo>
                  <a:pt x="223" y="445"/>
                </a:lnTo>
                <a:lnTo>
                  <a:pt x="187" y="441"/>
                </a:lnTo>
                <a:lnTo>
                  <a:pt x="152" y="434"/>
                </a:lnTo>
                <a:lnTo>
                  <a:pt x="120" y="420"/>
                </a:lnTo>
                <a:lnTo>
                  <a:pt x="91" y="402"/>
                </a:lnTo>
                <a:lnTo>
                  <a:pt x="66" y="379"/>
                </a:lnTo>
                <a:lnTo>
                  <a:pt x="43" y="353"/>
                </a:lnTo>
                <a:lnTo>
                  <a:pt x="25" y="325"/>
                </a:lnTo>
                <a:lnTo>
                  <a:pt x="11" y="292"/>
                </a:lnTo>
                <a:lnTo>
                  <a:pt x="2" y="258"/>
                </a:lnTo>
                <a:lnTo>
                  <a:pt x="0" y="222"/>
                </a:lnTo>
                <a:lnTo>
                  <a:pt x="2" y="186"/>
                </a:lnTo>
                <a:lnTo>
                  <a:pt x="11" y="151"/>
                </a:lnTo>
                <a:lnTo>
                  <a:pt x="25" y="120"/>
                </a:lnTo>
                <a:lnTo>
                  <a:pt x="43" y="90"/>
                </a:lnTo>
                <a:lnTo>
                  <a:pt x="66" y="65"/>
                </a:lnTo>
                <a:lnTo>
                  <a:pt x="91" y="42"/>
                </a:lnTo>
                <a:lnTo>
                  <a:pt x="120" y="25"/>
                </a:lnTo>
                <a:lnTo>
                  <a:pt x="152" y="11"/>
                </a:lnTo>
                <a:lnTo>
                  <a:pt x="187" y="3"/>
                </a:lnTo>
                <a:lnTo>
                  <a:pt x="223" y="0"/>
                </a:ln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800" noProof="0" dirty="0"/>
          </a:p>
        </p:txBody>
      </p:sp>
      <p:grpSp>
        <p:nvGrpSpPr>
          <p:cNvPr id="120" name="Knop uitleg"/>
          <p:cNvGrpSpPr/>
          <p:nvPr userDrawn="1"/>
        </p:nvGrpSpPr>
        <p:grpSpPr>
          <a:xfrm>
            <a:off x="9508901" y="2860359"/>
            <a:ext cx="1947767" cy="2037397"/>
            <a:chOff x="9275416" y="2755352"/>
            <a:chExt cx="1944216" cy="2037397"/>
          </a:xfrm>
        </p:grpSpPr>
        <p:sp>
          <p:nvSpPr>
            <p:cNvPr id="43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 dirty="0">
                <a:solidFill>
                  <a:schemeClr val="tx1"/>
                </a:solidFill>
              </a:endParaRPr>
            </a:p>
          </p:txBody>
        </p:sp>
        <p:grpSp>
          <p:nvGrpSpPr>
            <p:cNvPr id="42" name="Groep 41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36" name="Ovaal 35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deze dia in de diavoorstelling en klik</a:t>
                </a:r>
                <a:b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</a:br>
                <a: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 de </a:t>
                </a:r>
                <a:r>
                  <a:rPr lang="nl-NL" sz="1200" kern="1200" noProof="0" dirty="0" err="1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youtube</a:t>
                </a:r>
                <a:r>
                  <a:rPr lang="nl-NL" sz="1200" kern="1200" noProof="0" dirty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-link</a:t>
                </a:r>
                <a:endParaRPr lang="nl-NL" sz="1000" kern="1200" noProof="0" dirty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17" name="Groep 116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18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noProof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9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noProof="0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grpSp>
        <p:nvGrpSpPr>
          <p:cNvPr id="128" name="HYPERLINK" hidden="1"/>
          <p:cNvGrpSpPr/>
          <p:nvPr userDrawn="1"/>
        </p:nvGrpSpPr>
        <p:grpSpPr>
          <a:xfrm>
            <a:off x="674999" y="1599166"/>
            <a:ext cx="8081505" cy="4559785"/>
            <a:chOff x="673768" y="1599165"/>
            <a:chExt cx="8066773" cy="4559785"/>
          </a:xfrm>
        </p:grpSpPr>
        <p:sp>
          <p:nvSpPr>
            <p:cNvPr id="121" name="HYPERLINK">
              <a:hlinkClick r:id="rId2"/>
            </p:cNvPr>
            <p:cNvSpPr/>
            <p:nvPr userDrawn="1"/>
          </p:nvSpPr>
          <p:spPr>
            <a:xfrm>
              <a:off x="673768" y="1599165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3" name="HYPERLINK">
              <a:hlinkClick r:id="rId3"/>
            </p:cNvPr>
            <p:cNvSpPr/>
            <p:nvPr userDrawn="1"/>
          </p:nvSpPr>
          <p:spPr>
            <a:xfrm>
              <a:off x="3465094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4" name="HYPERLINK">
              <a:hlinkClick r:id="rId4"/>
            </p:cNvPr>
            <p:cNvSpPr/>
            <p:nvPr userDrawn="1"/>
          </p:nvSpPr>
          <p:spPr>
            <a:xfrm>
              <a:off x="6148301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5" name="HYPERLINK">
              <a:hlinkClick r:id="rId5"/>
            </p:cNvPr>
            <p:cNvSpPr/>
            <p:nvPr userDrawn="1"/>
          </p:nvSpPr>
          <p:spPr>
            <a:xfrm>
              <a:off x="673768" y="3932073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6" name="HYPERLINK">
              <a:hlinkClick r:id="rId6"/>
            </p:cNvPr>
            <p:cNvSpPr/>
            <p:nvPr userDrawn="1"/>
          </p:nvSpPr>
          <p:spPr>
            <a:xfrm>
              <a:off x="3454453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7" name="HYPERLINK">
              <a:hlinkClick r:id="rId7"/>
            </p:cNvPr>
            <p:cNvSpPr/>
            <p:nvPr userDrawn="1"/>
          </p:nvSpPr>
          <p:spPr>
            <a:xfrm>
              <a:off x="6149692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58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noProof="0" dirty="0"/>
          </a:p>
        </p:txBody>
      </p:sp>
      <p:cxnSp>
        <p:nvCxnSpPr>
          <p:cNvPr id="60" name="Rechte verbindingslijn 59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 noProof="0" dirty="0">
              <a:solidFill>
                <a:prstClr val="black"/>
              </a:solidFill>
            </a:endParaRPr>
          </a:p>
        </p:txBody>
      </p:sp>
      <p:grpSp>
        <p:nvGrpSpPr>
          <p:cNvPr id="4" name="Groep 3"/>
          <p:cNvGrpSpPr/>
          <p:nvPr userDrawn="1"/>
        </p:nvGrpSpPr>
        <p:grpSpPr>
          <a:xfrm>
            <a:off x="1630522" y="2276771"/>
            <a:ext cx="758666" cy="226154"/>
            <a:chOff x="1607118" y="2276771"/>
            <a:chExt cx="757283" cy="226154"/>
          </a:xfrm>
        </p:grpSpPr>
        <p:grpSp>
          <p:nvGrpSpPr>
            <p:cNvPr id="71" name="Groep 70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60" name="Groep 159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64" name="Rechte verbindingslijn 163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5" name="Rechte verbindingslijn 164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6" name="Rechte verbindingslijn 165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7" name="Rechte verbindingslijn 166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8" name="Rechte verbindingslijn 167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61" name="Groep 160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3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74" name="Groep 73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51" name="Groep 150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55" name="Rechte verbindingslijn 154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7" name="Rechte verbindingslijn 156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8" name="Rechte verbindingslijn 157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9" name="Rechte verbindingslijn 158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52" name="Groep 151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53" name="Rechthoek 152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4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79" name="Groep 178"/>
          <p:cNvGrpSpPr/>
          <p:nvPr userDrawn="1"/>
        </p:nvGrpSpPr>
        <p:grpSpPr>
          <a:xfrm>
            <a:off x="4573974" y="2179391"/>
            <a:ext cx="369155" cy="398538"/>
            <a:chOff x="14466489" y="1001522"/>
            <a:chExt cx="290627" cy="314333"/>
          </a:xfrm>
        </p:grpSpPr>
        <p:sp>
          <p:nvSpPr>
            <p:cNvPr id="200" name="Rechthoek 199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b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Ovaal 200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 dirty="0">
                <a:solidFill>
                  <a:schemeClr val="tx1"/>
                </a:solidFill>
              </a:endParaRPr>
            </a:p>
          </p:txBody>
        </p:sp>
        <p:sp>
          <p:nvSpPr>
            <p:cNvPr id="202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000" b="1" noProof="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b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4" name="Rechte verbindingslijn 203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5" name="Rechte verbindingslijn 204"/>
            <p:cNvCxnSpPr>
              <a:cxnSpLocks/>
              <a:stCxn id="203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86566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Dia plakken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hthoek 59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pt-BR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Dia plakken (3)</a:t>
            </a:r>
            <a:endParaRPr lang="nl-NL" sz="1400" noProof="0" dirty="0">
              <a:solidFill>
                <a:srgbClr val="303E48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noProof="0" dirty="0">
                <a:solidFill>
                  <a:srgbClr val="0096A5"/>
                </a:solidFill>
                <a:latin typeface="Oswald" panose="02000503000000000000" pitchFamily="2" charset="0"/>
              </a:rPr>
              <a:t>Voordat je begint…</a:t>
            </a:r>
          </a:p>
        </p:txBody>
      </p:sp>
      <p:grpSp>
        <p:nvGrpSpPr>
          <p:cNvPr id="63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64" name="Rechthoek 63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5" name="Rechthoek 64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6" name="Rechthoek 65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7" name="Rechthoek 66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68" name="Rechthoek 67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9" name="Rechthoek 68"/>
            <p:cNvSpPr/>
            <p:nvPr userDrawn="1"/>
          </p:nvSpPr>
          <p:spPr>
            <a:xfrm rot="5400000">
              <a:off x="760320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71" name="Rechthoek 70"/>
            <p:cNvSpPr/>
            <p:nvPr userDrawn="1"/>
          </p:nvSpPr>
          <p:spPr>
            <a:xfrm>
              <a:off x="0" y="4558336"/>
              <a:ext cx="12169774" cy="180239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4" name="Rechthoek 73"/>
            <p:cNvSpPr/>
            <p:nvPr userDrawn="1"/>
          </p:nvSpPr>
          <p:spPr>
            <a:xfrm rot="5400000">
              <a:off x="288408" y="5406273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5" name="Rechthoek 74"/>
            <p:cNvSpPr/>
            <p:nvPr userDrawn="1"/>
          </p:nvSpPr>
          <p:spPr>
            <a:xfrm rot="5400000">
              <a:off x="4146704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6" name="Rechthoek 75"/>
            <p:cNvSpPr/>
            <p:nvPr userDrawn="1"/>
          </p:nvSpPr>
          <p:spPr>
            <a:xfrm rot="5400000">
              <a:off x="4598789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80" name="Rechthoek 79"/>
            <p:cNvSpPr/>
            <p:nvPr userDrawn="1"/>
          </p:nvSpPr>
          <p:spPr>
            <a:xfrm rot="5400000">
              <a:off x="7990288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7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dirty="0"/>
          </a:p>
        </p:txBody>
      </p:sp>
      <p:cxnSp>
        <p:nvCxnSpPr>
          <p:cNvPr id="62" name="Rechte verbindingslijn 61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>
              <a:solidFill>
                <a:prstClr val="black"/>
              </a:solidFill>
            </a:endParaRPr>
          </a:p>
        </p:txBody>
      </p:sp>
      <p:grpSp>
        <p:nvGrpSpPr>
          <p:cNvPr id="81" name="Groep 80"/>
          <p:cNvGrpSpPr/>
          <p:nvPr userDrawn="1"/>
        </p:nvGrpSpPr>
        <p:grpSpPr>
          <a:xfrm>
            <a:off x="692520" y="2165458"/>
            <a:ext cx="10846190" cy="3437453"/>
            <a:chOff x="435100" y="2165458"/>
            <a:chExt cx="10826418" cy="3437453"/>
          </a:xfrm>
        </p:grpSpPr>
        <p:pic>
          <p:nvPicPr>
            <p:cNvPr id="83" name="Afbeelding 82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0052" y="3108088"/>
              <a:ext cx="2720614" cy="145024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4" name="Afbeelding 8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455" y="3108088"/>
              <a:ext cx="2700576" cy="1452486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5" name="Afbeelding 8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02632" y="2165458"/>
              <a:ext cx="1676146" cy="1676147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6" name="Afbeelding 8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1291" y="2165459"/>
              <a:ext cx="1676146" cy="1676146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87" name="Groep 86"/>
            <p:cNvGrpSpPr/>
            <p:nvPr/>
          </p:nvGrpSpPr>
          <p:grpSpPr>
            <a:xfrm>
              <a:off x="689183" y="2317897"/>
              <a:ext cx="1819124" cy="1488559"/>
              <a:chOff x="1576217" y="1539637"/>
              <a:chExt cx="2497599" cy="2043743"/>
            </a:xfrm>
          </p:grpSpPr>
          <p:sp>
            <p:nvSpPr>
              <p:cNvPr id="106" name="Ovaal 105"/>
              <p:cNvSpPr/>
              <p:nvPr/>
            </p:nvSpPr>
            <p:spPr>
              <a:xfrm>
                <a:off x="1576217" y="2624542"/>
                <a:ext cx="268099" cy="268101"/>
              </a:xfrm>
              <a:prstGeom prst="ellipse">
                <a:avLst/>
              </a:prstGeom>
              <a:solidFill>
                <a:schemeClr val="bg1">
                  <a:alpha val="0"/>
                </a:schemeClr>
              </a:solidFill>
              <a:ln w="19050">
                <a:solidFill>
                  <a:srgbClr val="0096A5"/>
                </a:solidFill>
              </a:ln>
              <a:effectLst>
                <a:outerShdw dir="8100000" sx="105000" sy="105000" algn="tr" rotWithShape="0">
                  <a:srgbClr val="000000">
                    <a:alpha val="6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nl-NL" sz="1800">
                  <a:latin typeface="+mn-lt"/>
                </a:endParaRPr>
              </a:p>
            </p:txBody>
          </p:sp>
          <p:cxnSp>
            <p:nvCxnSpPr>
              <p:cNvPr id="107" name="Rechte verbindingslijn 106"/>
              <p:cNvCxnSpPr>
                <a:cxnSpLocks/>
              </p:cNvCxnSpPr>
              <p:nvPr/>
            </p:nvCxnSpPr>
            <p:spPr>
              <a:xfrm flipH="1">
                <a:off x="1710267" y="1539637"/>
                <a:ext cx="2013194" cy="1093496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chte verbindingslijn 107"/>
              <p:cNvCxnSpPr>
                <a:cxnSpLocks/>
              </p:cNvCxnSpPr>
              <p:nvPr/>
            </p:nvCxnSpPr>
            <p:spPr>
              <a:xfrm flipH="1" flipV="1">
                <a:off x="1693333" y="2878667"/>
                <a:ext cx="2380483" cy="704713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ep 87"/>
            <p:cNvGrpSpPr/>
            <p:nvPr/>
          </p:nvGrpSpPr>
          <p:grpSpPr>
            <a:xfrm>
              <a:off x="4524700" y="3531339"/>
              <a:ext cx="135750" cy="135750"/>
              <a:chOff x="6569918" y="3240107"/>
              <a:chExt cx="430310" cy="430310"/>
            </a:xfrm>
          </p:grpSpPr>
          <p:sp>
            <p:nvSpPr>
              <p:cNvPr id="104" name="Ovaal 103"/>
              <p:cNvSpPr/>
              <p:nvPr/>
            </p:nvSpPr>
            <p:spPr>
              <a:xfrm>
                <a:off x="6569918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  <p:sp>
            <p:nvSpPr>
              <p:cNvPr id="105" name="Vermenigvuldigen 49"/>
              <p:cNvSpPr/>
              <p:nvPr/>
            </p:nvSpPr>
            <p:spPr>
              <a:xfrm>
                <a:off x="6579279" y="3259665"/>
                <a:ext cx="403927" cy="403927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</p:grpSp>
        <p:sp>
          <p:nvSpPr>
            <p:cNvPr id="89" name="Ovaal 88"/>
            <p:cNvSpPr/>
            <p:nvPr/>
          </p:nvSpPr>
          <p:spPr>
            <a:xfrm>
              <a:off x="4507854" y="3501955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nl-NL" sz="1800">
                <a:latin typeface="+mn-lt"/>
              </a:endParaRPr>
            </a:p>
          </p:txBody>
        </p:sp>
        <p:cxnSp>
          <p:nvCxnSpPr>
            <p:cNvPr id="90" name="Rechte verbindingslijn 89"/>
            <p:cNvCxnSpPr>
              <a:cxnSpLocks/>
              <a:stCxn id="86" idx="1"/>
            </p:cNvCxnSpPr>
            <p:nvPr/>
          </p:nvCxnSpPr>
          <p:spPr>
            <a:xfrm flipH="1">
              <a:off x="4602924" y="2410925"/>
              <a:ext cx="1383833" cy="1076554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Afbeelding 9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8637" y="3108088"/>
              <a:ext cx="2730611" cy="144455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cxnSp>
          <p:nvCxnSpPr>
            <p:cNvPr id="92" name="Rechte verbindingslijn 91"/>
            <p:cNvCxnSpPr>
              <a:cxnSpLocks/>
            </p:cNvCxnSpPr>
            <p:nvPr/>
          </p:nvCxnSpPr>
          <p:spPr>
            <a:xfrm flipH="1" flipV="1">
              <a:off x="4634821" y="3710764"/>
              <a:ext cx="1935123" cy="127589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al 92"/>
            <p:cNvSpPr/>
            <p:nvPr/>
          </p:nvSpPr>
          <p:spPr>
            <a:xfrm>
              <a:off x="43510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schemeClr val="bg1"/>
                  </a:solidFill>
                  <a:latin typeface="+mn-lt"/>
                </a:rPr>
                <a:t>A</a:t>
              </a:r>
              <a:endParaRPr lang="nl-NL" sz="1000" b="1" cap="all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4" name="Ovaal 93"/>
            <p:cNvSpPr/>
            <p:nvPr/>
          </p:nvSpPr>
          <p:spPr>
            <a:xfrm>
              <a:off x="4273589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schemeClr val="bg1"/>
                  </a:solidFill>
                  <a:latin typeface="+mn-lt"/>
                </a:rPr>
                <a:t>B</a:t>
              </a:r>
              <a:endParaRPr lang="nl-NL" sz="1000" b="1" cap="all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95" name="Groep 94"/>
            <p:cNvGrpSpPr/>
            <p:nvPr/>
          </p:nvGrpSpPr>
          <p:grpSpPr>
            <a:xfrm>
              <a:off x="6610285" y="2756643"/>
              <a:ext cx="433398" cy="433398"/>
              <a:chOff x="7376403" y="3240107"/>
              <a:chExt cx="430310" cy="430310"/>
            </a:xfrm>
          </p:grpSpPr>
          <p:sp>
            <p:nvSpPr>
              <p:cNvPr id="102" name="Ovaal 101"/>
              <p:cNvSpPr/>
              <p:nvPr/>
            </p:nvSpPr>
            <p:spPr>
              <a:xfrm>
                <a:off x="7376403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  <p:sp>
            <p:nvSpPr>
              <p:cNvPr id="103" name="Vermenigvuldigen 40"/>
              <p:cNvSpPr/>
              <p:nvPr/>
            </p:nvSpPr>
            <p:spPr>
              <a:xfrm>
                <a:off x="7389594" y="3259666"/>
                <a:ext cx="403928" cy="403928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latin typeface="+mn-lt"/>
                </a:endParaRPr>
              </a:p>
            </p:txBody>
          </p:sp>
        </p:grpSp>
        <p:sp>
          <p:nvSpPr>
            <p:cNvPr id="96" name="Tekstvak 95"/>
            <p:cNvSpPr txBox="1"/>
            <p:nvPr/>
          </p:nvSpPr>
          <p:spPr>
            <a:xfrm>
              <a:off x="8516760" y="4854881"/>
              <a:ext cx="2697316" cy="748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defRPr sz="1000">
                  <a:solidFill>
                    <a:srgbClr val="44546A"/>
                  </a:solidFill>
                </a:defRPr>
              </a:lvl1pPr>
            </a:lstStyle>
            <a:p>
              <a:pPr lvl="0"/>
              <a:r>
                <a:rPr lang="nl-NL" sz="1000" dirty="0">
                  <a:solidFill>
                    <a:srgbClr val="44546A"/>
                  </a:solidFill>
                  <a:latin typeface="+mn-lt"/>
                </a:rPr>
                <a:t>Klik met je rechter muisknop op de dia aan de linker kant. Klik daarna op dia herstellen om de opmaak weer correct </a:t>
              </a:r>
              <a:br>
                <a:rPr lang="nl-NL" sz="1000" dirty="0">
                  <a:solidFill>
                    <a:srgbClr val="44546A"/>
                  </a:solidFill>
                  <a:latin typeface="+mn-lt"/>
                </a:rPr>
              </a:br>
              <a:r>
                <a:rPr lang="nl-NL" sz="1000" dirty="0">
                  <a:solidFill>
                    <a:srgbClr val="44546A"/>
                  </a:solidFill>
                  <a:latin typeface="+mn-lt"/>
                </a:rPr>
                <a:t>te krijgen.</a:t>
              </a:r>
            </a:p>
          </p:txBody>
        </p:sp>
        <p:sp>
          <p:nvSpPr>
            <p:cNvPr id="97" name="Ovaal 96"/>
            <p:cNvSpPr/>
            <p:nvPr/>
          </p:nvSpPr>
          <p:spPr>
            <a:xfrm>
              <a:off x="8456782" y="3712390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nl-NL" sz="1800">
                <a:latin typeface="+mn-lt"/>
              </a:endParaRPr>
            </a:p>
          </p:txBody>
        </p:sp>
        <p:cxnSp>
          <p:nvCxnSpPr>
            <p:cNvPr id="98" name="Rechte verbindingslijn 97"/>
            <p:cNvCxnSpPr>
              <a:cxnSpLocks/>
              <a:stCxn id="100" idx="1"/>
            </p:cNvCxnSpPr>
            <p:nvPr/>
          </p:nvCxnSpPr>
          <p:spPr>
            <a:xfrm flipH="1">
              <a:off x="8535648" y="2410449"/>
              <a:ext cx="1297966" cy="1315831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Rechte verbindingslijn 98"/>
            <p:cNvCxnSpPr>
              <a:cxnSpLocks/>
              <a:stCxn id="100" idx="4"/>
              <a:endCxn id="97" idx="5"/>
            </p:cNvCxnSpPr>
            <p:nvPr/>
          </p:nvCxnSpPr>
          <p:spPr>
            <a:xfrm flipH="1">
              <a:off x="8623456" y="3838353"/>
              <a:ext cx="1801616" cy="40710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0" name="Afbeelding 99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88624" y="2165459"/>
              <a:ext cx="1672894" cy="1672894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1" name="Ovaal 100"/>
            <p:cNvSpPr/>
            <p:nvPr/>
          </p:nvSpPr>
          <p:spPr>
            <a:xfrm>
              <a:off x="811798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schemeClr val="bg1"/>
                  </a:solidFill>
                  <a:latin typeface="+mn-lt"/>
                </a:rPr>
                <a:t>C</a:t>
              </a:r>
              <a:endParaRPr lang="nl-NL" sz="1000" b="1" cap="all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09" name="Tekstvak 108"/>
          <p:cNvSpPr txBox="1"/>
          <p:nvPr userDrawn="1"/>
        </p:nvSpPr>
        <p:spPr>
          <a:xfrm>
            <a:off x="1072994" y="4853681"/>
            <a:ext cx="2773568" cy="8078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nl-NL" sz="1000" dirty="0">
                <a:solidFill>
                  <a:srgbClr val="44546A"/>
                </a:solidFill>
                <a:latin typeface="+mn-lt"/>
              </a:rPr>
              <a:t>Klik op </a:t>
            </a:r>
            <a:r>
              <a:rPr lang="nl-NL" sz="1000" b="1" dirty="0">
                <a:solidFill>
                  <a:srgbClr val="44546A"/>
                </a:solidFill>
                <a:latin typeface="+mn-lt"/>
              </a:rPr>
              <a:t>“nieuwe dia”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om een </a:t>
            </a:r>
            <a:r>
              <a:rPr lang="nl-NL" sz="1000" b="1" dirty="0">
                <a:solidFill>
                  <a:srgbClr val="44546A"/>
                </a:solidFill>
                <a:latin typeface="+mn-lt"/>
              </a:rPr>
              <a:t>template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</a:t>
            </a:r>
            <a:br>
              <a:rPr lang="nl-NL" sz="1000" dirty="0">
                <a:solidFill>
                  <a:srgbClr val="44546A"/>
                </a:solidFill>
                <a:latin typeface="+mn-lt"/>
              </a:rPr>
            </a:br>
            <a:r>
              <a:rPr lang="nl-NL" sz="1000" dirty="0">
                <a:solidFill>
                  <a:srgbClr val="44546A"/>
                </a:solidFill>
                <a:latin typeface="+mn-lt"/>
              </a:rPr>
              <a:t>slide toe te voegen.</a:t>
            </a:r>
            <a:endParaRPr lang="en-GB" sz="1000" dirty="0">
              <a:solidFill>
                <a:srgbClr val="44546A"/>
              </a:solidFill>
              <a:latin typeface="+mn-lt"/>
            </a:endParaRPr>
          </a:p>
        </p:txBody>
      </p:sp>
      <p:sp>
        <p:nvSpPr>
          <p:cNvPr id="110" name="Tekstvak 109"/>
          <p:cNvSpPr txBox="1"/>
          <p:nvPr userDrawn="1"/>
        </p:nvSpPr>
        <p:spPr>
          <a:xfrm>
            <a:off x="4935951" y="4853681"/>
            <a:ext cx="2748843" cy="7504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nl-NL"/>
            </a:defPPr>
            <a:lvl1pPr>
              <a:lnSpc>
                <a:spcPct val="90000"/>
              </a:lnSpc>
              <a:defRPr sz="1050">
                <a:solidFill>
                  <a:srgbClr val="44546A"/>
                </a:solidFill>
              </a:defRPr>
            </a:lvl1pPr>
          </a:lstStyle>
          <a:p>
            <a:pPr lvl="0"/>
            <a:r>
              <a:rPr lang="nl-NL" sz="1000" b="1" dirty="0">
                <a:solidFill>
                  <a:srgbClr val="FF7800"/>
                </a:solidFill>
                <a:latin typeface="+mn-lt"/>
              </a:rPr>
              <a:t>Let op: </a:t>
            </a:r>
            <a:br>
              <a:rPr lang="nl-NL" sz="1000" dirty="0">
                <a:latin typeface="+mn-lt"/>
              </a:rPr>
            </a:br>
            <a:r>
              <a:rPr lang="nl-NL" sz="1000" dirty="0">
                <a:solidFill>
                  <a:srgbClr val="44546A"/>
                </a:solidFill>
                <a:latin typeface="+mn-lt"/>
              </a:rPr>
              <a:t>Het is </a:t>
            </a:r>
            <a:r>
              <a:rPr lang="nl-NL" sz="1000" b="1" u="sng" dirty="0">
                <a:solidFill>
                  <a:srgbClr val="44546A"/>
                </a:solidFill>
                <a:latin typeface="+mn-lt"/>
              </a:rPr>
              <a:t>niet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mogelijk een slide te kopiëren </a:t>
            </a:r>
            <a:br>
              <a:rPr lang="nl-NL" sz="1000" dirty="0">
                <a:solidFill>
                  <a:srgbClr val="44546A"/>
                </a:solidFill>
                <a:latin typeface="+mn-lt"/>
              </a:rPr>
            </a:br>
            <a:r>
              <a:rPr lang="nl-NL" sz="1000" dirty="0">
                <a:solidFill>
                  <a:srgbClr val="44546A"/>
                </a:solidFill>
                <a:latin typeface="+mn-lt"/>
              </a:rPr>
              <a:t>met een </a:t>
            </a:r>
            <a:r>
              <a:rPr lang="nl-NL" sz="1000" b="1" dirty="0">
                <a:solidFill>
                  <a:srgbClr val="44546A"/>
                </a:solidFill>
                <a:latin typeface="+mn-lt"/>
              </a:rPr>
              <a:t>andere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opmaak. Teksten en andere objecten dienen </a:t>
            </a:r>
            <a:r>
              <a:rPr lang="nl-NL" sz="1000" b="1" dirty="0">
                <a:solidFill>
                  <a:srgbClr val="FF7800"/>
                </a:solidFill>
                <a:latin typeface="+mn-lt"/>
              </a:rPr>
              <a:t>één-voor-één</a:t>
            </a:r>
            <a:r>
              <a:rPr lang="nl-NL" sz="1000" dirty="0">
                <a:solidFill>
                  <a:srgbClr val="44546A"/>
                </a:solidFill>
                <a:latin typeface="+mn-lt"/>
              </a:rPr>
              <a:t> te worden over gekopieerd.</a:t>
            </a:r>
          </a:p>
        </p:txBody>
      </p:sp>
    </p:spTree>
    <p:extLst>
      <p:ext uri="{BB962C8B-B14F-4D97-AF65-F5344CB8AC3E}">
        <p14:creationId xmlns:p14="http://schemas.microsoft.com/office/powerpoint/2010/main" val="294237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ekstvak 30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Intro slide</a:t>
            </a:r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84" name="Afbeelding 8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35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36" name="Rechthoek 3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37" name="Ovaal 3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8" name="Rechte verbindingslijn 3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9" name="Rechte verbindingslijn 3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0" name="Rechthoek 3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2" name="Ovaal 4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4" name="Groep 43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77" name="Rechthoek 76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78" name="Rechte verbindingslijn 77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79" name="Gelijkbenige driehoek 78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45" name="Groep 4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Ovaal 71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Vrije vorm: vorm 72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" name="Rechthoek: afgeronde hoeken 73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75" name="Rechte verbindingslijn 74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76" name="Rechte verbindingslijn 75"/>
                <p:cNvCxnSpPr>
                  <a:cxnSpLocks/>
                  <a:stCxn id="74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46" name="Ovaal 4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7" name="Rechthoek 4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8" name="Rechte verbindingslijn 4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9" name="Groep 4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Rechthoek 50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52" name="Groep 51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65" name="Rechthoek: afgeronde hoeken 64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Rechthoek 65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8" name="Rechthoek 67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9" name="Rechthoek 68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53" name="Groep 52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57" name="Groep 56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59" name="Rechthoek: afgeronde hoeken 58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0" name="Rechthoek 59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1" name="Rechthoek 60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Rechthoek 62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4" name="Rechthoek 63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58" name="Boog 57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54" name="Tekstvak 53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55" name="Tekstvak 54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56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8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8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Rechthoek 8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3" name="Rechte verbindingslijn 8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0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1308219" y="826943"/>
            <a:ext cx="6282061" cy="2208357"/>
          </a:xfrm>
          <a:solidFill>
            <a:schemeClr val="tx2">
              <a:alpha val="90000"/>
            </a:schemeClr>
          </a:solidFill>
        </p:spPr>
        <p:txBody>
          <a:bodyPr vert="horz"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7797" y="1331380"/>
            <a:ext cx="5822899" cy="423198"/>
          </a:xfrm>
        </p:spPr>
        <p:txBody>
          <a:bodyPr wrap="none" anchor="ctr"/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rijfsnaam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37797" y="2415716"/>
            <a:ext cx="5822899" cy="3960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92625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  <p:bldP spid="3" grpId="0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ekstvak 30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Intro slide</a:t>
            </a:r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84" name="Afbeelding 8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35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36" name="Rechthoek 3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37" name="Ovaal 3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8" name="Rechte verbindingslijn 3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9" name="Rechte verbindingslijn 3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0" name="Rechthoek 3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2" name="Ovaal 4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4" name="Groep 43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77" name="Rechthoek 76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78" name="Rechte verbindingslijn 77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79" name="Gelijkbenige driehoek 78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45" name="Groep 4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Ovaal 71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Vrije vorm: vorm 72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" name="Rechthoek: afgeronde hoeken 73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75" name="Rechte verbindingslijn 74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76" name="Rechte verbindingslijn 75"/>
                <p:cNvCxnSpPr>
                  <a:cxnSpLocks/>
                  <a:stCxn id="74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46" name="Ovaal 4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7" name="Rechthoek 4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8" name="Rechte verbindingslijn 4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9" name="Groep 4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Rechthoek 50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52" name="Groep 51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65" name="Rechthoek: afgeronde hoeken 64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Rechthoek 65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8" name="Rechthoek 67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9" name="Rechthoek 68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53" name="Groep 52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57" name="Groep 56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59" name="Rechthoek: afgeronde hoeken 58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0" name="Rechthoek 59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1" name="Rechthoek 60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Rechthoek 62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4" name="Rechthoek 63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58" name="Boog 57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54" name="Tekstvak 53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55" name="Tekstvak 54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56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8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8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Rechthoek 8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3" name="Rechte verbindingslijn 8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0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1308219" y="826943"/>
            <a:ext cx="6282061" cy="2208357"/>
          </a:xfrm>
          <a:solidFill>
            <a:schemeClr val="tx2">
              <a:alpha val="90000"/>
            </a:schemeClr>
          </a:solidFill>
        </p:spPr>
        <p:txBody>
          <a:bodyPr vert="horz"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7797" y="1331380"/>
            <a:ext cx="5822899" cy="423198"/>
          </a:xfrm>
        </p:spPr>
        <p:txBody>
          <a:bodyPr wrap="none" anchor="ctr"/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rijfsnaam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37797" y="2415716"/>
            <a:ext cx="5822899" cy="3960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44107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B6C14-EFE3-4271-AD2A-8DCD724904D4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agenda</a:t>
            </a:r>
          </a:p>
        </p:txBody>
      </p:sp>
      <p:sp>
        <p:nvSpPr>
          <p:cNvPr id="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10" name="Rechthoek 9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11" name="Ovaal 10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" name="Rechte verbindingslijn 11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" name="Rechthoek 12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4" name="Rechte verbindingslijn 13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Rechte verbindingslijn 14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hthoek 15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7" name="Groep 16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72" name="Rechte verbindingslijn 7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3" name="Rechte verbindingslijn 7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4" name="Rechte verbindingslijn 7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5" name="Rechte verbindingslijn 7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6" name="Rechte verbindingslijn 7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9" name="Groep 6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1" name="Pijl: punthaak 7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18" name="Groep 17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63" name="Rechte verbindingslijn 6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4" name="Rechte verbindingslijn 6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5" name="Rechte verbindingslijn 6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6" name="Rechte verbindingslijn 6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7" name="Rechte verbindingslijn 6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0" name="Groep 5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61" name="Rechthoek 6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2" name="Pijl: punthaak 6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19" name="Rechte verbindingslijn 18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1" name="Groep 20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48" name="Rechthoek 4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49" name="Groep 4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50" name="Groep 4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54" name="Rechte verbindingslijn 5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5" name="Rechte verbindingslijn 5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6" name="Rechte verbindingslijn 5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7" name="Rechte verbindingslijn 5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8" name="Rechte verbindingslijn 5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51" name="Groep 5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52" name="Rechthoek 5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3" name="Pijl: punthaak 5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" name="Groep 21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9" name="Groep 3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43" name="Rechte verbindingslijn 4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4" name="Rechte verbindingslijn 4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5" name="Rechte verbindingslijn 4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6" name="Rechte verbindingslijn 4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7" name="Rechte verbindingslijn 4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40" name="Groep 3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41" name="Rechthoek 4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" name="Pijl: punthaak 4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" name="Rechthoek 2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25" name="Rechthoek 2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26" name="Rechte verbindingslijn 2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7" name="Rechthoek 2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28" name="Ovaal 2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Ovaal 2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32" name="Ovaal 3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34" name="Ovaal 3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35" name="Rechthoek 3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7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7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0" name="Rechte verbindingslijn 7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82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9695" y="1273840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89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1172873" y="1273840"/>
            <a:ext cx="4616451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369695" y="2078021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69695" y="2882202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9695" y="368638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369695" y="4490564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1172873" y="4490564"/>
            <a:ext cx="4616451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369695" y="529474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06" name="Tijdelijke aanduiding voor verticale tekst 2">
            <a:extLst>
              <a:ext uri="{FF2B5EF4-FFF2-40B4-BE49-F238E27FC236}">
                <a16:creationId xmlns:a16="http://schemas.microsoft.com/office/drawing/2014/main" id="{5D87FE67-1EE4-4AB8-935B-42793EDED5D3}"/>
              </a:ext>
            </a:extLst>
          </p:cNvPr>
          <p:cNvSpPr>
            <a:spLocks noGrp="1"/>
          </p:cNvSpPr>
          <p:nvPr>
            <p:ph type="body" orient="vert" idx="44" hasCustomPrompt="1"/>
          </p:nvPr>
        </p:nvSpPr>
        <p:spPr>
          <a:xfrm>
            <a:off x="1172873" y="2078021"/>
            <a:ext cx="4616451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verticale tekst 2">
            <a:extLst>
              <a:ext uri="{FF2B5EF4-FFF2-40B4-BE49-F238E27FC236}">
                <a16:creationId xmlns:a16="http://schemas.microsoft.com/office/drawing/2014/main" id="{46E11900-4AC3-42DC-9EA5-FB6867C53B00}"/>
              </a:ext>
            </a:extLst>
          </p:cNvPr>
          <p:cNvSpPr>
            <a:spLocks noGrp="1"/>
          </p:cNvSpPr>
          <p:nvPr>
            <p:ph type="body" orient="vert" idx="45" hasCustomPrompt="1"/>
          </p:nvPr>
        </p:nvSpPr>
        <p:spPr>
          <a:xfrm>
            <a:off x="1172873" y="2882202"/>
            <a:ext cx="4616451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>
            <a:extLst>
              <a:ext uri="{FF2B5EF4-FFF2-40B4-BE49-F238E27FC236}">
                <a16:creationId xmlns:a16="http://schemas.microsoft.com/office/drawing/2014/main" id="{99E8DD11-097A-45EB-AAF7-EC25BE66AA9F}"/>
              </a:ext>
            </a:extLst>
          </p:cNvPr>
          <p:cNvSpPr>
            <a:spLocks noGrp="1"/>
          </p:cNvSpPr>
          <p:nvPr>
            <p:ph type="body" orient="vert" idx="46" hasCustomPrompt="1"/>
          </p:nvPr>
        </p:nvSpPr>
        <p:spPr>
          <a:xfrm>
            <a:off x="1172873" y="3686383"/>
            <a:ext cx="4616451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>
            <a:extLst>
              <a:ext uri="{FF2B5EF4-FFF2-40B4-BE49-F238E27FC236}">
                <a16:creationId xmlns:a16="http://schemas.microsoft.com/office/drawing/2014/main" id="{711A31A4-DA9C-4BBB-B5C7-183BEC7EF686}"/>
              </a:ext>
            </a:extLst>
          </p:cNvPr>
          <p:cNvSpPr>
            <a:spLocks noGrp="1"/>
          </p:cNvSpPr>
          <p:nvPr>
            <p:ph type="body" orient="vert" idx="47" hasCustomPrompt="1"/>
          </p:nvPr>
        </p:nvSpPr>
        <p:spPr>
          <a:xfrm>
            <a:off x="1172873" y="5294743"/>
            <a:ext cx="4616451" cy="540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</p:spTree>
    <p:extLst>
      <p:ext uri="{BB962C8B-B14F-4D97-AF65-F5344CB8AC3E}">
        <p14:creationId xmlns:p14="http://schemas.microsoft.com/office/powerpoint/2010/main" val="147171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86193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72255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 (W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160938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144000" rIns="216000" bIns="144000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DBD2DC-8738-4717-AA7B-00FBAC64661C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tekst (WIT)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52624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Tekst + 2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/>
          <p:cNvSpPr>
            <a:spLocks noGrp="1"/>
          </p:cNvSpPr>
          <p:nvPr>
            <p:ph type="pic" sz="quarter" idx="15" hasCustomPrompt="1"/>
          </p:nvPr>
        </p:nvSpPr>
        <p:spPr>
          <a:xfrm>
            <a:off x="8592000" y="0"/>
            <a:ext cx="3600000" cy="6444878"/>
          </a:xfrm>
          <a:custGeom>
            <a:avLst/>
            <a:gdLst>
              <a:gd name="connsiteX0" fmla="*/ 0 w 3600000"/>
              <a:gd name="connsiteY0" fmla="*/ 0 h 6455571"/>
              <a:gd name="connsiteX1" fmla="*/ 3600000 w 3600000"/>
              <a:gd name="connsiteY1" fmla="*/ 0 h 6455571"/>
              <a:gd name="connsiteX2" fmla="*/ 3600000 w 3600000"/>
              <a:gd name="connsiteY2" fmla="*/ 6455571 h 6455571"/>
              <a:gd name="connsiteX3" fmla="*/ 3596827 w 3600000"/>
              <a:gd name="connsiteY3" fmla="*/ 6294120 h 6455571"/>
              <a:gd name="connsiteX4" fmla="*/ 2522687 w 3600000"/>
              <a:gd name="connsiteY4" fmla="*/ 6294120 h 6455571"/>
              <a:gd name="connsiteX5" fmla="*/ 1905628 w 3600000"/>
              <a:gd name="connsiteY5" fmla="*/ 6454140 h 6455571"/>
              <a:gd name="connsiteX6" fmla="*/ 0 w 3600000"/>
              <a:gd name="connsiteY6" fmla="*/ 6454400 h 6455571"/>
              <a:gd name="connsiteX0" fmla="*/ 0 w 3600000"/>
              <a:gd name="connsiteY0" fmla="*/ 0 h 6454400"/>
              <a:gd name="connsiteX1" fmla="*/ 3600000 w 3600000"/>
              <a:gd name="connsiteY1" fmla="*/ 0 h 6454400"/>
              <a:gd name="connsiteX2" fmla="*/ 3596827 w 3600000"/>
              <a:gd name="connsiteY2" fmla="*/ 6294120 h 6454400"/>
              <a:gd name="connsiteX3" fmla="*/ 2522687 w 3600000"/>
              <a:gd name="connsiteY3" fmla="*/ 6294120 h 6454400"/>
              <a:gd name="connsiteX4" fmla="*/ 1905628 w 3600000"/>
              <a:gd name="connsiteY4" fmla="*/ 6454140 h 6454400"/>
              <a:gd name="connsiteX5" fmla="*/ 0 w 3600000"/>
              <a:gd name="connsiteY5" fmla="*/ 6454400 h 6454400"/>
              <a:gd name="connsiteX6" fmla="*/ 0 w 3600000"/>
              <a:gd name="connsiteY6" fmla="*/ 0 h 6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00000" h="6454400">
                <a:moveTo>
                  <a:pt x="0" y="0"/>
                </a:moveTo>
                <a:lnTo>
                  <a:pt x="3600000" y="0"/>
                </a:lnTo>
                <a:cubicBezTo>
                  <a:pt x="3598942" y="2098040"/>
                  <a:pt x="3597885" y="4196080"/>
                  <a:pt x="3596827" y="6294120"/>
                </a:cubicBezTo>
                <a:lnTo>
                  <a:pt x="2522687" y="6294120"/>
                </a:lnTo>
                <a:lnTo>
                  <a:pt x="1905628" y="6454140"/>
                </a:lnTo>
                <a:lnTo>
                  <a:pt x="0" y="6454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2" y="365126"/>
            <a:ext cx="7855401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2" y="1179861"/>
            <a:ext cx="7855401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68247-4C70-4F5A-848A-E80CB1D293C0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75% tekst + 25% afbeelding</a:t>
            </a:r>
          </a:p>
        </p:txBody>
      </p:sp>
      <p:sp>
        <p:nvSpPr>
          <p:cNvPr id="54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785400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55" name="Groep 54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5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61" name="Rechthoek 6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4" name="Rechthoek 6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65" name="Rechte verbindingslijn 6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Rechthoek 6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8" name="Groep 6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8" name="Groep 11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22" name="Rechte verbindingslijn 12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3" name="Rechte verbindingslijn 12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2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2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2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9" name="Groep 11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0" name="Rechthoek 11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1" name="Pijl: punthaak 12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9" name="Groep 6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9" name="Groep 10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13" name="Rechte verbindingslijn 11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4" name="Rechte verbindingslijn 11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0" name="Groep 10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1" name="Rechthoek 11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2" name="Pijl: punthaak 11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71" name="Rechte verbindingslijn 7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72" name="Groep 7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8" name="Rechthoek 9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00" name="Groep 9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04" name="Rechte verbindingslijn 10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0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0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0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8" name="Rechte verbindingslijn 10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1" name="Groep 10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2" name="Rechthoek 10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03" name="Pijl: punthaak 10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73" name="Groep 7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7" name="Rechthoek 8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8" name="Groep 8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9" name="Groep 8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93" name="Rechte verbindingslijn 9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4" name="Rechte verbindingslijn 9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5" name="Rechte verbindingslijn 9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6" name="Rechte verbindingslijn 9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0" name="Groep 8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1" name="Rechthoek 9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2" name="Pijl: punthaak 9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74" name="Rechthoek 7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75" name="Rechthoek 7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76" name="Rechte verbindingslijn 7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7" name="Rechthoek 7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8" name="Ovaal 7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Ovaal 7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81" name="Rechthoek 8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82" name="Ovaal 8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83" name="Rechthoek 8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84" name="Ovaal 8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85" name="Rechthoek 8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86" name="Rechte verbindingslijn 8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ep 126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28" name="Afbeelding 12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34" name="Rechthoek 1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35" name="Ovaal 1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36" name="Rechte verbindingslijn 1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7" name="Rechte verbindingslijn 1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8" name="Rechthoek 1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40" name="Ovaal 13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41" name="Rechthoek 14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2" name="Groep 14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75" name="Rechthoek 17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76" name="Rechte verbindingslijn 17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7" name="Gelijkbenige driehoek 17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3" name="Groep 14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9" name="Rechthoek 16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0" name="Ovaal 16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Vrije vorm: vorm 17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Rechthoek: afgeronde hoeken 17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73" name="Rechte verbindingslijn 17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74" name="Rechte verbindingslijn 173"/>
                <p:cNvCxnSpPr>
                  <a:cxnSpLocks/>
                  <a:stCxn id="17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44" name="Ovaal 14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45" name="Rechthoek 14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46" name="Rechte verbindingslijn 14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7" name="Groep 14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8" name="Rechthoek 14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Rechthoek 14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50" name="Groep 14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63" name="Rechthoek: afgeronde hoeken 16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4" name="Rechthoek 16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5" name="Rechthoek 16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6" name="Rechthoek 16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7" name="Rechthoek 16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8" name="Rechthoek 16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51" name="Groep 15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55" name="Groep 15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7" name="Rechthoek: afgeronde hoeken 15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" name="Rechthoek 15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9" name="Rechthoek 15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60" name="Rechthoek 15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61" name="Rechthoek 16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62" name="Rechthoek 16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56" name="Boog 15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52" name="Tekstvak 15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53" name="Tekstvak 152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5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3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3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Rechthoek 13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33" name="Rechte verbindingslijn 13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83051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2" y="365126"/>
            <a:ext cx="5543551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2" y="1179861"/>
            <a:ext cx="5543551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EE8C-7FDD-4575-BB02-CE56659B47F9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5" y="0"/>
            <a:ext cx="5899595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110723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tussenruim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102"/>
            <a:ext cx="5900400" cy="6444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2" y="365126"/>
            <a:ext cx="5543551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BAD87-9DA1-4179-B89C-3A13243D9DF2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5" y="0"/>
            <a:ext cx="5899595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21147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46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8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2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1467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aangeslo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738"/>
            <a:ext cx="6096001" cy="644663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2" y="365126"/>
            <a:ext cx="5543551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F9849-415E-44AF-87B9-ADAEFF451B68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afbeelding</a:t>
            </a:r>
          </a:p>
        </p:txBody>
      </p:sp>
      <p:sp>
        <p:nvSpPr>
          <p:cNvPr id="176" name="Tijdelijke aanduiding voor afbeelding 175">
            <a:extLst>
              <a:ext uri="{FF2B5EF4-FFF2-40B4-BE49-F238E27FC236}">
                <a16:creationId xmlns:a16="http://schemas.microsoft.com/office/drawing/2014/main" id="{7C5210DE-B7D5-45EB-AABB-494A14F33D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443898"/>
          </a:xfrm>
          <a:custGeom>
            <a:avLst/>
            <a:gdLst>
              <a:gd name="connsiteX0" fmla="*/ 0 w 6096000"/>
              <a:gd name="connsiteY0" fmla="*/ 0 h 6443898"/>
              <a:gd name="connsiteX1" fmla="*/ 196406 w 6096000"/>
              <a:gd name="connsiteY1" fmla="*/ 0 h 6443898"/>
              <a:gd name="connsiteX2" fmla="*/ 368300 w 6096000"/>
              <a:gd name="connsiteY2" fmla="*/ 0 h 6443898"/>
              <a:gd name="connsiteX3" fmla="*/ 424269 w 6096000"/>
              <a:gd name="connsiteY3" fmla="*/ 0 h 6443898"/>
              <a:gd name="connsiteX4" fmla="*/ 2786743 w 6096000"/>
              <a:gd name="connsiteY4" fmla="*/ 0 h 6443898"/>
              <a:gd name="connsiteX5" fmla="*/ 6096000 w 6096000"/>
              <a:gd name="connsiteY5" fmla="*/ 0 h 6443898"/>
              <a:gd name="connsiteX6" fmla="*/ 6092827 w 6096000"/>
              <a:gd name="connsiteY6" fmla="*/ 6283249 h 6443898"/>
              <a:gd name="connsiteX7" fmla="*/ 5018687 w 6096000"/>
              <a:gd name="connsiteY7" fmla="*/ 6283249 h 6443898"/>
              <a:gd name="connsiteX8" fmla="*/ 4401628 w 6096000"/>
              <a:gd name="connsiteY8" fmla="*/ 6443348 h 6443898"/>
              <a:gd name="connsiteX9" fmla="*/ 424269 w 6096000"/>
              <a:gd name="connsiteY9" fmla="*/ 6443891 h 6443898"/>
              <a:gd name="connsiteX10" fmla="*/ 424269 w 6096000"/>
              <a:gd name="connsiteY10" fmla="*/ 6443898 h 6443898"/>
              <a:gd name="connsiteX11" fmla="*/ 368300 w 6096000"/>
              <a:gd name="connsiteY11" fmla="*/ 6443898 h 6443898"/>
              <a:gd name="connsiteX12" fmla="*/ 196406 w 6096000"/>
              <a:gd name="connsiteY12" fmla="*/ 6443898 h 6443898"/>
              <a:gd name="connsiteX13" fmla="*/ 0 w 6096000"/>
              <a:gd name="connsiteY13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96000" h="6443898">
                <a:moveTo>
                  <a:pt x="0" y="0"/>
                </a:moveTo>
                <a:lnTo>
                  <a:pt x="196406" y="0"/>
                </a:lnTo>
                <a:lnTo>
                  <a:pt x="368300" y="0"/>
                </a:lnTo>
                <a:lnTo>
                  <a:pt x="424269" y="0"/>
                </a:lnTo>
                <a:lnTo>
                  <a:pt x="2786743" y="0"/>
                </a:lnTo>
                <a:lnTo>
                  <a:pt x="6096000" y="0"/>
                </a:lnTo>
                <a:cubicBezTo>
                  <a:pt x="6094942" y="2094416"/>
                  <a:pt x="6093885" y="4188833"/>
                  <a:pt x="6092827" y="6283249"/>
                </a:cubicBezTo>
                <a:lnTo>
                  <a:pt x="5018687" y="6283249"/>
                </a:lnTo>
                <a:lnTo>
                  <a:pt x="4401628" y="6443348"/>
                </a:lnTo>
                <a:lnTo>
                  <a:pt x="424269" y="6443891"/>
                </a:lnTo>
                <a:lnTo>
                  <a:pt x="424269" y="6443898"/>
                </a:lnTo>
                <a:lnTo>
                  <a:pt x="368300" y="6443898"/>
                </a:lnTo>
                <a:lnTo>
                  <a:pt x="196406" y="6443898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24469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176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% Tekst + 7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8301" y="365126"/>
            <a:ext cx="2863851" cy="272814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1" y="1179861"/>
            <a:ext cx="2863851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67D4D-F226-49BB-9F34-C40F1A3D8743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75% tekst + 25% afbeelding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5" hasCustomPrompt="1"/>
          </p:nvPr>
        </p:nvSpPr>
        <p:spPr>
          <a:xfrm>
            <a:off x="3600451" y="0"/>
            <a:ext cx="8591551" cy="6444288"/>
          </a:xfrm>
          <a:custGeom>
            <a:avLst/>
            <a:gdLst>
              <a:gd name="connsiteX0" fmla="*/ 0 w 8591551"/>
              <a:gd name="connsiteY0" fmla="*/ 0 h 6441603"/>
              <a:gd name="connsiteX1" fmla="*/ 8591551 w 8591551"/>
              <a:gd name="connsiteY1" fmla="*/ 0 h 6441603"/>
              <a:gd name="connsiteX2" fmla="*/ 8591551 w 8591551"/>
              <a:gd name="connsiteY2" fmla="*/ 6441603 h 6441603"/>
              <a:gd name="connsiteX3" fmla="*/ 8588378 w 8591551"/>
              <a:gd name="connsiteY3" fmla="*/ 6280152 h 6441603"/>
              <a:gd name="connsiteX4" fmla="*/ 7514238 w 8591551"/>
              <a:gd name="connsiteY4" fmla="*/ 6280152 h 6441603"/>
              <a:gd name="connsiteX5" fmla="*/ 6897179 w 8591551"/>
              <a:gd name="connsiteY5" fmla="*/ 6440172 h 6441603"/>
              <a:gd name="connsiteX6" fmla="*/ 0 w 8591551"/>
              <a:gd name="connsiteY6" fmla="*/ 6441112 h 6441603"/>
              <a:gd name="connsiteX0" fmla="*/ 0 w 8591551"/>
              <a:gd name="connsiteY0" fmla="*/ 0 h 6441112"/>
              <a:gd name="connsiteX1" fmla="*/ 8591551 w 8591551"/>
              <a:gd name="connsiteY1" fmla="*/ 0 h 6441112"/>
              <a:gd name="connsiteX2" fmla="*/ 8588378 w 8591551"/>
              <a:gd name="connsiteY2" fmla="*/ 6280152 h 6441112"/>
              <a:gd name="connsiteX3" fmla="*/ 7514238 w 8591551"/>
              <a:gd name="connsiteY3" fmla="*/ 6280152 h 6441112"/>
              <a:gd name="connsiteX4" fmla="*/ 6897179 w 8591551"/>
              <a:gd name="connsiteY4" fmla="*/ 6440172 h 6441112"/>
              <a:gd name="connsiteX5" fmla="*/ 0 w 8591551"/>
              <a:gd name="connsiteY5" fmla="*/ 6441112 h 6441112"/>
              <a:gd name="connsiteX6" fmla="*/ 0 w 8591551"/>
              <a:gd name="connsiteY6" fmla="*/ 0 h 6441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91551" h="6441112">
                <a:moveTo>
                  <a:pt x="0" y="0"/>
                </a:moveTo>
                <a:lnTo>
                  <a:pt x="8591551" y="0"/>
                </a:lnTo>
                <a:cubicBezTo>
                  <a:pt x="8590493" y="2093384"/>
                  <a:pt x="8589436" y="4186768"/>
                  <a:pt x="8588378" y="6280152"/>
                </a:cubicBezTo>
                <a:lnTo>
                  <a:pt x="7514238" y="6280152"/>
                </a:lnTo>
                <a:lnTo>
                  <a:pt x="6897179" y="6440172"/>
                </a:lnTo>
                <a:lnTo>
                  <a:pt x="0" y="644111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369699" y="743900"/>
            <a:ext cx="286245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grpSp>
        <p:nvGrpSpPr>
          <p:cNvPr id="35" name="Groep 34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3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1" name="Rechthoek 4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42" name="Ovaal 4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4" name="Rechthoek 4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5" name="Rechte verbindingslijn 4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Rechthoek 4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8" name="Groep 4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8" name="Groep 9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2" name="Rechte verbindingslijn 10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9" name="Groep 9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0" name="Rechthoek 9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1" name="Pijl: punthaak 10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9" name="Groep 4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2" name="Groep 5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8" name="Rechthoek 7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9" name="Groep 7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0" name="Groep 7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4" name="Rechte verbindingslijn 8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2" name="Rechthoek 8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3" name="Pijl: punthaak 8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7" name="Rechthoek 6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9" name="Groep 6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3" name="Rechte verbindingslijn 7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0" name="Groep 6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1" name="Rechthoek 7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2" name="Pijl: punthaak 7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4" name="Rechthoek 5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5" name="Rechthoek 5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58" name="Ovaal 5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Ovaal 5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1" name="Rechthoek 6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Rechthoek 3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0" name="Rechte verbindingslijn 3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7" name="Groep 106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8" name="Afbeelding 10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0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14" name="Rechthoek 11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15" name="Ovaal 11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6" name="Rechte verbindingslijn 11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7" name="Rechte verbindingslijn 11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8" name="Rechthoek 11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9" name="Rechte verbindingslijn 11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20" name="Ovaal 11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21" name="Rechthoek 12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22" name="Groep 12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55" name="Rechthoek 15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57" name="Gelijkbenige driehoek 15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3" name="Groep 12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49" name="Rechthoek 14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Ovaal 14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1" name="Vrije vorm: vorm 15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2" name="Rechthoek: afgeronde hoeken 15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53" name="Rechte verbindingslijn 15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54" name="Rechte verbindingslijn 153"/>
                <p:cNvCxnSpPr>
                  <a:cxnSpLocks/>
                  <a:stCxn id="15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24" name="Ovaal 12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27" name="Groep 12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8" name="Rechthoek 12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Rechthoek 12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43" name="Rechthoek: afgeronde hoeken 14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5" name="Rechthoek 14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31" name="Groep 13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5" name="Groep 13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7" name="Rechthoek: afgeronde hoeken 13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9" name="Rechthoek 13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0" name="Rechthoek 13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1" name="Rechthoek 14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2" name="Rechthoek 14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36" name="Boog 13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Tekstvak 13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33" name="Tekstvak 132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1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Rechthoek 11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3" name="Rechte verbindingslijn 11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68169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Blauw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C128D-1DCE-4FF8-9162-5773BCB691D1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7950200" y="-279400"/>
            <a:ext cx="4241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afbeelding (Titel blauw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41496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Wit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BC885B-BB59-494C-89AD-2601A479C9EC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8242302" y="-279400"/>
            <a:ext cx="3949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afbeelding (Titel wit 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215581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Afbeelding 6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20" y="3229993"/>
            <a:ext cx="1639483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42872"/>
              <a:gd name="connsiteX1" fmla="*/ 12192000 w 12192000"/>
              <a:gd name="connsiteY1" fmla="*/ 0 h 6442872"/>
              <a:gd name="connsiteX2" fmla="*/ 12192000 w 12192000"/>
              <a:gd name="connsiteY2" fmla="*/ 6442872 h 6442872"/>
              <a:gd name="connsiteX3" fmla="*/ 12188827 w 12192000"/>
              <a:gd name="connsiteY3" fmla="*/ 6281739 h 6442872"/>
              <a:gd name="connsiteX4" fmla="*/ 11114687 w 12192000"/>
              <a:gd name="connsiteY4" fmla="*/ 6281739 h 6442872"/>
              <a:gd name="connsiteX5" fmla="*/ 10497628 w 12192000"/>
              <a:gd name="connsiteY5" fmla="*/ 6441444 h 6442872"/>
              <a:gd name="connsiteX6" fmla="*/ 0 w 12192000"/>
              <a:gd name="connsiteY6" fmla="*/ 6442872 h 6442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42872">
                <a:moveTo>
                  <a:pt x="0" y="0"/>
                </a:moveTo>
                <a:lnTo>
                  <a:pt x="12192000" y="0"/>
                </a:lnTo>
                <a:lnTo>
                  <a:pt x="12192000" y="6442872"/>
                </a:lnTo>
                <a:lnTo>
                  <a:pt x="12188827" y="6281739"/>
                </a:lnTo>
                <a:lnTo>
                  <a:pt x="11114687" y="6281739"/>
                </a:lnTo>
                <a:lnTo>
                  <a:pt x="10497628" y="6441444"/>
                </a:lnTo>
                <a:lnTo>
                  <a:pt x="0" y="64428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DD93-F15A-4221-BFC8-25C51F8873DA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video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14" name="Meer informatie"/>
          <p:cNvGrpSpPr/>
          <p:nvPr userDrawn="1"/>
        </p:nvGrpSpPr>
        <p:grpSpPr>
          <a:xfrm>
            <a:off x="12396765" y="4434425"/>
            <a:ext cx="3178515" cy="783273"/>
            <a:chOff x="-3741486" y="3359148"/>
            <a:chExt cx="3178515" cy="783273"/>
          </a:xfrm>
        </p:grpSpPr>
        <p:sp>
          <p:nvSpPr>
            <p:cNvPr id="15" name="Freeform 101"/>
            <p:cNvSpPr>
              <a:spLocks noEditPoints="1"/>
            </p:cNvSpPr>
            <p:nvPr/>
          </p:nvSpPr>
          <p:spPr bwMode="auto">
            <a:xfrm>
              <a:off x="-3741486" y="3359148"/>
              <a:ext cx="255753" cy="255753"/>
            </a:xfrm>
            <a:custGeom>
              <a:avLst/>
              <a:gdLst>
                <a:gd name="T0" fmla="*/ 0 w 292"/>
                <a:gd name="T1" fmla="*/ 146 h 292"/>
                <a:gd name="T2" fmla="*/ 4 w 292"/>
                <a:gd name="T3" fmla="*/ 113 h 292"/>
                <a:gd name="T4" fmla="*/ 14 w 292"/>
                <a:gd name="T5" fmla="*/ 82 h 292"/>
                <a:gd name="T6" fmla="*/ 31 w 292"/>
                <a:gd name="T7" fmla="*/ 55 h 292"/>
                <a:gd name="T8" fmla="*/ 53 w 292"/>
                <a:gd name="T9" fmla="*/ 32 h 292"/>
                <a:gd name="T10" fmla="*/ 81 w 292"/>
                <a:gd name="T11" fmla="*/ 15 h 292"/>
                <a:gd name="T12" fmla="*/ 112 w 292"/>
                <a:gd name="T13" fmla="*/ 4 h 292"/>
                <a:gd name="T14" fmla="*/ 145 w 292"/>
                <a:gd name="T15" fmla="*/ 0 h 292"/>
                <a:gd name="T16" fmla="*/ 179 w 292"/>
                <a:gd name="T17" fmla="*/ 4 h 292"/>
                <a:gd name="T18" fmla="*/ 209 w 292"/>
                <a:gd name="T19" fmla="*/ 15 h 292"/>
                <a:gd name="T20" fmla="*/ 237 w 292"/>
                <a:gd name="T21" fmla="*/ 32 h 292"/>
                <a:gd name="T22" fmla="*/ 259 w 292"/>
                <a:gd name="T23" fmla="*/ 55 h 292"/>
                <a:gd name="T24" fmla="*/ 276 w 292"/>
                <a:gd name="T25" fmla="*/ 82 h 292"/>
                <a:gd name="T26" fmla="*/ 288 w 292"/>
                <a:gd name="T27" fmla="*/ 113 h 292"/>
                <a:gd name="T28" fmla="*/ 292 w 292"/>
                <a:gd name="T29" fmla="*/ 146 h 292"/>
                <a:gd name="T30" fmla="*/ 288 w 292"/>
                <a:gd name="T31" fmla="*/ 180 h 292"/>
                <a:gd name="T32" fmla="*/ 276 w 292"/>
                <a:gd name="T33" fmla="*/ 210 h 292"/>
                <a:gd name="T34" fmla="*/ 259 w 292"/>
                <a:gd name="T35" fmla="*/ 237 h 292"/>
                <a:gd name="T36" fmla="*/ 237 w 292"/>
                <a:gd name="T37" fmla="*/ 260 h 292"/>
                <a:gd name="T38" fmla="*/ 209 w 292"/>
                <a:gd name="T39" fmla="*/ 278 h 292"/>
                <a:gd name="T40" fmla="*/ 179 w 292"/>
                <a:gd name="T41" fmla="*/ 288 h 292"/>
                <a:gd name="T42" fmla="*/ 145 w 292"/>
                <a:gd name="T43" fmla="*/ 292 h 292"/>
                <a:gd name="T44" fmla="*/ 112 w 292"/>
                <a:gd name="T45" fmla="*/ 288 h 292"/>
                <a:gd name="T46" fmla="*/ 81 w 292"/>
                <a:gd name="T47" fmla="*/ 278 h 292"/>
                <a:gd name="T48" fmla="*/ 53 w 292"/>
                <a:gd name="T49" fmla="*/ 260 h 292"/>
                <a:gd name="T50" fmla="*/ 31 w 292"/>
                <a:gd name="T51" fmla="*/ 237 h 292"/>
                <a:gd name="T52" fmla="*/ 14 w 292"/>
                <a:gd name="T53" fmla="*/ 210 h 292"/>
                <a:gd name="T54" fmla="*/ 4 w 292"/>
                <a:gd name="T55" fmla="*/ 180 h 292"/>
                <a:gd name="T56" fmla="*/ 0 w 292"/>
                <a:gd name="T57" fmla="*/ 146 h 292"/>
                <a:gd name="T58" fmla="*/ 102 w 292"/>
                <a:gd name="T59" fmla="*/ 121 h 292"/>
                <a:gd name="T60" fmla="*/ 102 w 292"/>
                <a:gd name="T61" fmla="*/ 142 h 292"/>
                <a:gd name="T62" fmla="*/ 120 w 292"/>
                <a:gd name="T63" fmla="*/ 142 h 292"/>
                <a:gd name="T64" fmla="*/ 120 w 292"/>
                <a:gd name="T65" fmla="*/ 223 h 292"/>
                <a:gd name="T66" fmla="*/ 102 w 292"/>
                <a:gd name="T67" fmla="*/ 223 h 292"/>
                <a:gd name="T68" fmla="*/ 102 w 292"/>
                <a:gd name="T69" fmla="*/ 244 h 292"/>
                <a:gd name="T70" fmla="*/ 188 w 292"/>
                <a:gd name="T71" fmla="*/ 244 h 292"/>
                <a:gd name="T72" fmla="*/ 188 w 292"/>
                <a:gd name="T73" fmla="*/ 223 h 292"/>
                <a:gd name="T74" fmla="*/ 170 w 292"/>
                <a:gd name="T75" fmla="*/ 223 h 292"/>
                <a:gd name="T76" fmla="*/ 170 w 292"/>
                <a:gd name="T77" fmla="*/ 142 h 292"/>
                <a:gd name="T78" fmla="*/ 188 w 292"/>
                <a:gd name="T79" fmla="*/ 142 h 292"/>
                <a:gd name="T80" fmla="*/ 188 w 292"/>
                <a:gd name="T81" fmla="*/ 121 h 292"/>
                <a:gd name="T82" fmla="*/ 102 w 292"/>
                <a:gd name="T83" fmla="*/ 121 h 292"/>
                <a:gd name="T84" fmla="*/ 115 w 292"/>
                <a:gd name="T85" fmla="*/ 79 h 292"/>
                <a:gd name="T86" fmla="*/ 117 w 292"/>
                <a:gd name="T87" fmla="*/ 92 h 292"/>
                <a:gd name="T88" fmla="*/ 124 w 292"/>
                <a:gd name="T89" fmla="*/ 101 h 292"/>
                <a:gd name="T90" fmla="*/ 133 w 292"/>
                <a:gd name="T91" fmla="*/ 108 h 292"/>
                <a:gd name="T92" fmla="*/ 145 w 292"/>
                <a:gd name="T93" fmla="*/ 110 h 292"/>
                <a:gd name="T94" fmla="*/ 157 w 292"/>
                <a:gd name="T95" fmla="*/ 108 h 292"/>
                <a:gd name="T96" fmla="*/ 167 w 292"/>
                <a:gd name="T97" fmla="*/ 101 h 292"/>
                <a:gd name="T98" fmla="*/ 174 w 292"/>
                <a:gd name="T99" fmla="*/ 92 h 292"/>
                <a:gd name="T100" fmla="*/ 176 w 292"/>
                <a:gd name="T101" fmla="*/ 79 h 292"/>
                <a:gd name="T102" fmla="*/ 174 w 292"/>
                <a:gd name="T103" fmla="*/ 67 h 292"/>
                <a:gd name="T104" fmla="*/ 167 w 292"/>
                <a:gd name="T105" fmla="*/ 58 h 292"/>
                <a:gd name="T106" fmla="*/ 157 w 292"/>
                <a:gd name="T107" fmla="*/ 51 h 292"/>
                <a:gd name="T108" fmla="*/ 145 w 292"/>
                <a:gd name="T109" fmla="*/ 49 h 292"/>
                <a:gd name="T110" fmla="*/ 133 w 292"/>
                <a:gd name="T111" fmla="*/ 51 h 292"/>
                <a:gd name="T112" fmla="*/ 124 w 292"/>
                <a:gd name="T113" fmla="*/ 58 h 292"/>
                <a:gd name="T114" fmla="*/ 117 w 292"/>
                <a:gd name="T115" fmla="*/ 67 h 292"/>
                <a:gd name="T116" fmla="*/ 115 w 292"/>
                <a:gd name="T117" fmla="*/ 79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2" h="292">
                  <a:moveTo>
                    <a:pt x="0" y="146"/>
                  </a:moveTo>
                  <a:lnTo>
                    <a:pt x="4" y="113"/>
                  </a:lnTo>
                  <a:lnTo>
                    <a:pt x="14" y="82"/>
                  </a:lnTo>
                  <a:lnTo>
                    <a:pt x="31" y="55"/>
                  </a:lnTo>
                  <a:lnTo>
                    <a:pt x="53" y="32"/>
                  </a:lnTo>
                  <a:lnTo>
                    <a:pt x="81" y="15"/>
                  </a:lnTo>
                  <a:lnTo>
                    <a:pt x="112" y="4"/>
                  </a:lnTo>
                  <a:lnTo>
                    <a:pt x="145" y="0"/>
                  </a:lnTo>
                  <a:lnTo>
                    <a:pt x="179" y="4"/>
                  </a:lnTo>
                  <a:lnTo>
                    <a:pt x="209" y="15"/>
                  </a:lnTo>
                  <a:lnTo>
                    <a:pt x="237" y="32"/>
                  </a:lnTo>
                  <a:lnTo>
                    <a:pt x="259" y="55"/>
                  </a:lnTo>
                  <a:lnTo>
                    <a:pt x="276" y="82"/>
                  </a:lnTo>
                  <a:lnTo>
                    <a:pt x="288" y="113"/>
                  </a:lnTo>
                  <a:lnTo>
                    <a:pt x="292" y="146"/>
                  </a:lnTo>
                  <a:lnTo>
                    <a:pt x="288" y="180"/>
                  </a:lnTo>
                  <a:lnTo>
                    <a:pt x="276" y="210"/>
                  </a:lnTo>
                  <a:lnTo>
                    <a:pt x="259" y="237"/>
                  </a:lnTo>
                  <a:lnTo>
                    <a:pt x="237" y="260"/>
                  </a:lnTo>
                  <a:lnTo>
                    <a:pt x="209" y="278"/>
                  </a:lnTo>
                  <a:lnTo>
                    <a:pt x="179" y="288"/>
                  </a:lnTo>
                  <a:lnTo>
                    <a:pt x="145" y="292"/>
                  </a:lnTo>
                  <a:lnTo>
                    <a:pt x="112" y="288"/>
                  </a:lnTo>
                  <a:lnTo>
                    <a:pt x="81" y="278"/>
                  </a:lnTo>
                  <a:lnTo>
                    <a:pt x="53" y="260"/>
                  </a:lnTo>
                  <a:lnTo>
                    <a:pt x="31" y="237"/>
                  </a:lnTo>
                  <a:lnTo>
                    <a:pt x="14" y="210"/>
                  </a:lnTo>
                  <a:lnTo>
                    <a:pt x="4" y="180"/>
                  </a:lnTo>
                  <a:lnTo>
                    <a:pt x="0" y="146"/>
                  </a:lnTo>
                  <a:close/>
                  <a:moveTo>
                    <a:pt x="102" y="121"/>
                  </a:moveTo>
                  <a:lnTo>
                    <a:pt x="102" y="142"/>
                  </a:lnTo>
                  <a:lnTo>
                    <a:pt x="120" y="142"/>
                  </a:lnTo>
                  <a:lnTo>
                    <a:pt x="120" y="223"/>
                  </a:lnTo>
                  <a:lnTo>
                    <a:pt x="102" y="223"/>
                  </a:lnTo>
                  <a:lnTo>
                    <a:pt x="102" y="244"/>
                  </a:lnTo>
                  <a:lnTo>
                    <a:pt x="188" y="244"/>
                  </a:lnTo>
                  <a:lnTo>
                    <a:pt x="188" y="223"/>
                  </a:lnTo>
                  <a:lnTo>
                    <a:pt x="170" y="223"/>
                  </a:lnTo>
                  <a:lnTo>
                    <a:pt x="170" y="142"/>
                  </a:lnTo>
                  <a:lnTo>
                    <a:pt x="188" y="142"/>
                  </a:lnTo>
                  <a:lnTo>
                    <a:pt x="188" y="121"/>
                  </a:lnTo>
                  <a:lnTo>
                    <a:pt x="102" y="121"/>
                  </a:lnTo>
                  <a:close/>
                  <a:moveTo>
                    <a:pt x="115" y="79"/>
                  </a:moveTo>
                  <a:lnTo>
                    <a:pt x="117" y="92"/>
                  </a:lnTo>
                  <a:lnTo>
                    <a:pt x="124" y="101"/>
                  </a:lnTo>
                  <a:lnTo>
                    <a:pt x="133" y="108"/>
                  </a:lnTo>
                  <a:lnTo>
                    <a:pt x="145" y="110"/>
                  </a:lnTo>
                  <a:lnTo>
                    <a:pt x="157" y="108"/>
                  </a:lnTo>
                  <a:lnTo>
                    <a:pt x="167" y="101"/>
                  </a:lnTo>
                  <a:lnTo>
                    <a:pt x="174" y="92"/>
                  </a:lnTo>
                  <a:lnTo>
                    <a:pt x="176" y="79"/>
                  </a:lnTo>
                  <a:lnTo>
                    <a:pt x="174" y="67"/>
                  </a:lnTo>
                  <a:lnTo>
                    <a:pt x="167" y="58"/>
                  </a:lnTo>
                  <a:lnTo>
                    <a:pt x="157" y="51"/>
                  </a:lnTo>
                  <a:lnTo>
                    <a:pt x="145" y="49"/>
                  </a:lnTo>
                  <a:lnTo>
                    <a:pt x="133" y="51"/>
                  </a:lnTo>
                  <a:lnTo>
                    <a:pt x="124" y="58"/>
                  </a:lnTo>
                  <a:lnTo>
                    <a:pt x="117" y="67"/>
                  </a:lnTo>
                  <a:lnTo>
                    <a:pt x="115" y="79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100">
                <a:solidFill>
                  <a:prstClr val="black"/>
                </a:solidFill>
              </a:endParaRPr>
            </a:p>
          </p:txBody>
        </p:sp>
        <p:sp>
          <p:nvSpPr>
            <p:cNvPr id="16" name="Rechthoek 15"/>
            <p:cNvSpPr/>
            <p:nvPr userDrawn="1"/>
          </p:nvSpPr>
          <p:spPr>
            <a:xfrm>
              <a:off x="-3380966" y="3431177"/>
              <a:ext cx="2817995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Meer weten?</a:t>
              </a:r>
              <a:b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Ga naar dia </a:t>
              </a:r>
              <a:r>
                <a:rPr lang="nl-NL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instructies – YouTube links’</a:t>
              </a:r>
              <a: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open deze in de diavoorstelling en klik op de gewenste video link.</a:t>
              </a:r>
            </a:p>
          </p:txBody>
        </p:sp>
        <p:cxnSp>
          <p:nvCxnSpPr>
            <p:cNvPr id="17" name="Rechte verbindingslijn 16"/>
            <p:cNvCxnSpPr>
              <a:cxnSpLocks/>
            </p:cNvCxnSpPr>
            <p:nvPr userDrawn="1"/>
          </p:nvCxnSpPr>
          <p:spPr>
            <a:xfrm>
              <a:off x="-3740987" y="4142421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</p:grpSp>
      <p:sp>
        <p:nvSpPr>
          <p:cNvPr id="21" name="Rechthoek 20"/>
          <p:cNvSpPr/>
          <p:nvPr userDrawn="1"/>
        </p:nvSpPr>
        <p:spPr>
          <a:xfrm>
            <a:off x="12397264" y="-17883"/>
            <a:ext cx="3178016" cy="19161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80000"/>
              </a:lnSpc>
              <a:defRPr/>
            </a:pPr>
            <a:r>
              <a:rPr lang="nl-NL" sz="1400" b="1" kern="0" cap="all" dirty="0">
                <a:solidFill>
                  <a:srgbClr val="002C51"/>
                </a:solidFill>
                <a:cs typeface="Segoe UI Light" panose="020B0502040204020203" pitchFamily="34" charset="0"/>
              </a:rPr>
              <a:t>Video invoegen</a:t>
            </a:r>
          </a:p>
        </p:txBody>
      </p:sp>
      <p:sp>
        <p:nvSpPr>
          <p:cNvPr id="22" name="Ovaal 21"/>
          <p:cNvSpPr/>
          <p:nvPr userDrawn="1"/>
        </p:nvSpPr>
        <p:spPr>
          <a:xfrm>
            <a:off x="12391604" y="348609"/>
            <a:ext cx="260915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nl-NL" sz="1100" kern="0" dirty="0">
                <a:solidFill>
                  <a:prstClr val="white"/>
                </a:solidFill>
                <a:cs typeface="Segoe UI Light" panose="020B0502040204020203" pitchFamily="34" charset="0"/>
              </a:rPr>
              <a:t>1</a:t>
            </a:r>
          </a:p>
        </p:txBody>
      </p:sp>
      <p:cxnSp>
        <p:nvCxnSpPr>
          <p:cNvPr id="24" name="Rechte verbindingslijn 23"/>
          <p:cNvCxnSpPr>
            <a:cxnSpLocks/>
          </p:cNvCxnSpPr>
          <p:nvPr userDrawn="1"/>
        </p:nvCxnSpPr>
        <p:spPr>
          <a:xfrm>
            <a:off x="12397266" y="223752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25" name="Rechte verbindingslijn 24"/>
          <p:cNvCxnSpPr>
            <a:cxnSpLocks/>
          </p:cNvCxnSpPr>
          <p:nvPr userDrawn="1"/>
        </p:nvCxnSpPr>
        <p:spPr>
          <a:xfrm>
            <a:off x="12397266" y="1560050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6" name="Rechthoek 25"/>
          <p:cNvSpPr/>
          <p:nvPr userDrawn="1"/>
        </p:nvSpPr>
        <p:spPr>
          <a:xfrm>
            <a:off x="12757285" y="414673"/>
            <a:ext cx="2817995" cy="59542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39200"/>
              </a:buClr>
              <a:buFont typeface="Arial" panose="020B0604020202020204" pitchFamily="34" charset="0"/>
              <a:buNone/>
              <a:defRPr/>
            </a:pP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Wanneer nodig, verwijder de bestaande afbeelding/video. Klik op het pictogram om een nieuwe video in te voegen.</a:t>
            </a:r>
            <a:b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</a:br>
            <a:r>
              <a:rPr lang="nl-NL" sz="1100" i="1" kern="0">
                <a:solidFill>
                  <a:srgbClr val="000000"/>
                </a:solidFill>
                <a:cs typeface="Segoe UI Light" panose="020B0502040204020203" pitchFamily="34" charset="0"/>
              </a:rPr>
              <a:t>(zie onderstaand voorbeeld).</a:t>
            </a:r>
            <a:endParaRPr lang="nl-NL" sz="1100" kern="0">
              <a:solidFill>
                <a:srgbClr val="000000"/>
              </a:solidFill>
              <a:cs typeface="Segoe UI Light" panose="020B0502040204020203" pitchFamily="34" charset="0"/>
            </a:endParaRPr>
          </a:p>
        </p:txBody>
      </p:sp>
      <p:cxnSp>
        <p:nvCxnSpPr>
          <p:cNvPr id="27" name="Rechte verbindingslijn 26"/>
          <p:cNvCxnSpPr>
            <a:cxnSpLocks/>
          </p:cNvCxnSpPr>
          <p:nvPr userDrawn="1"/>
        </p:nvCxnSpPr>
        <p:spPr>
          <a:xfrm>
            <a:off x="12397266" y="4316583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8" name="Ovaal 27"/>
          <p:cNvSpPr/>
          <p:nvPr userDrawn="1"/>
        </p:nvSpPr>
        <p:spPr>
          <a:xfrm>
            <a:off x="12391604" y="1688515"/>
            <a:ext cx="260915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nl-NL" sz="1100" kern="0">
                <a:solidFill>
                  <a:prstClr val="white"/>
                </a:solidFill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29" name="Rechthoek 28"/>
          <p:cNvSpPr/>
          <p:nvPr userDrawn="1"/>
        </p:nvSpPr>
        <p:spPr>
          <a:xfrm>
            <a:off x="12757285" y="1754578"/>
            <a:ext cx="2817995" cy="3180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39200"/>
              </a:buClr>
              <a:buFont typeface="Arial" panose="020B0604020202020204" pitchFamily="34" charset="0"/>
              <a:buNone/>
              <a:defRPr/>
            </a:pP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Selecteer de gewenste video</a:t>
            </a:r>
            <a:b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</a:b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en klik op </a:t>
            </a:r>
            <a:r>
              <a:rPr lang="nl-NL" sz="1100" b="1" kern="0">
                <a:solidFill>
                  <a:srgbClr val="000000"/>
                </a:solidFill>
                <a:cs typeface="Segoe UI Light" panose="020B0502040204020203" pitchFamily="34" charset="0"/>
              </a:rPr>
              <a:t>‘Invoegen’</a:t>
            </a: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.</a:t>
            </a:r>
            <a:endParaRPr lang="nl-NL" sz="1100" b="1" kern="0">
              <a:solidFill>
                <a:srgbClr val="000000"/>
              </a:solidFill>
              <a:cs typeface="Segoe UI Light" panose="020B0502040204020203" pitchFamily="34" charset="0"/>
            </a:endParaRPr>
          </a:p>
        </p:txBody>
      </p:sp>
      <p:grpSp>
        <p:nvGrpSpPr>
          <p:cNvPr id="30" name="Groep 29"/>
          <p:cNvGrpSpPr/>
          <p:nvPr userDrawn="1"/>
        </p:nvGrpSpPr>
        <p:grpSpPr>
          <a:xfrm>
            <a:off x="12757286" y="2166624"/>
            <a:ext cx="825500" cy="209550"/>
            <a:chOff x="12757284" y="2166624"/>
            <a:chExt cx="825500" cy="209550"/>
          </a:xfrm>
        </p:grpSpPr>
        <p:sp>
          <p:nvSpPr>
            <p:cNvPr id="60" name="Rechthoek 59"/>
            <p:cNvSpPr/>
            <p:nvPr userDrawn="1"/>
          </p:nvSpPr>
          <p:spPr>
            <a:xfrm>
              <a:off x="12757284" y="2166624"/>
              <a:ext cx="825500" cy="209550"/>
            </a:xfrm>
            <a:prstGeom prst="rect">
              <a:avLst/>
            </a:prstGeom>
            <a:solidFill>
              <a:srgbClr val="E5F1FB"/>
            </a:solidFill>
            <a:ln w="12700">
              <a:solidFill>
                <a:srgbClr val="0B7E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voegen</a:t>
              </a:r>
            </a:p>
          </p:txBody>
        </p:sp>
        <p:cxnSp>
          <p:nvCxnSpPr>
            <p:cNvPr id="61" name="Rechte verbindingslijn 60"/>
            <p:cNvCxnSpPr/>
            <p:nvPr userDrawn="1"/>
          </p:nvCxnSpPr>
          <p:spPr>
            <a:xfrm>
              <a:off x="13407929" y="2199024"/>
              <a:ext cx="0" cy="142717"/>
            </a:xfrm>
            <a:prstGeom prst="line">
              <a:avLst/>
            </a:prstGeom>
            <a:noFill/>
            <a:ln w="3175" cap="flat" cmpd="sng" algn="ctr">
              <a:solidFill>
                <a:srgbClr val="44546A"/>
              </a:solidFill>
              <a:prstDash val="solid"/>
            </a:ln>
            <a:effectLst/>
          </p:spPr>
        </p:cxnSp>
        <p:sp>
          <p:nvSpPr>
            <p:cNvPr id="62" name="Gelijkbenige driehoek 61"/>
            <p:cNvSpPr/>
            <p:nvPr userDrawn="1"/>
          </p:nvSpPr>
          <p:spPr>
            <a:xfrm rot="10800000">
              <a:off x="13448749" y="2250678"/>
              <a:ext cx="86866" cy="51147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</p:grpSp>
      <p:sp>
        <p:nvSpPr>
          <p:cNvPr id="31" name="Ovaal 30"/>
          <p:cNvSpPr/>
          <p:nvPr userDrawn="1"/>
        </p:nvSpPr>
        <p:spPr>
          <a:xfrm>
            <a:off x="12391604" y="2613720"/>
            <a:ext cx="260915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nl-NL" sz="1100" kern="0">
                <a:solidFill>
                  <a:prstClr val="white"/>
                </a:solidFill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32" name="Rechthoek 31"/>
          <p:cNvSpPr/>
          <p:nvPr userDrawn="1"/>
        </p:nvSpPr>
        <p:spPr>
          <a:xfrm>
            <a:off x="12757287" y="2679780"/>
            <a:ext cx="2817996" cy="6259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39200"/>
              </a:buClr>
              <a:buFont typeface="Arial" panose="020B0604020202020204" pitchFamily="34" charset="0"/>
              <a:buNone/>
              <a:defRPr/>
            </a:pP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Klik met de rechter muisknop op de miniatuurweergave van de dia en kies</a:t>
            </a:r>
            <a:b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</a:br>
            <a:r>
              <a:rPr lang="nl-NL" sz="1100" b="1" kern="0">
                <a:solidFill>
                  <a:srgbClr val="000000"/>
                </a:solidFill>
                <a:cs typeface="Segoe UI Light" panose="020B0502040204020203" pitchFamily="34" charset="0"/>
              </a:rPr>
              <a:t>´Dia herstellen´</a:t>
            </a: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.</a:t>
            </a:r>
            <a:endParaRPr lang="nl-NL" sz="1100" b="1" kern="0">
              <a:solidFill>
                <a:srgbClr val="000000"/>
              </a:solidFill>
              <a:cs typeface="Segoe UI Light" panose="020B0502040204020203" pitchFamily="34" charset="0"/>
            </a:endParaRPr>
          </a:p>
        </p:txBody>
      </p:sp>
      <p:cxnSp>
        <p:nvCxnSpPr>
          <p:cNvPr id="33" name="Rechte verbindingslijn 32"/>
          <p:cNvCxnSpPr>
            <a:cxnSpLocks/>
          </p:cNvCxnSpPr>
          <p:nvPr userDrawn="1"/>
        </p:nvCxnSpPr>
        <p:spPr>
          <a:xfrm>
            <a:off x="12397266" y="2481906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39" name="Rechthoek 38"/>
          <p:cNvSpPr/>
          <p:nvPr userDrawn="1"/>
        </p:nvSpPr>
        <p:spPr>
          <a:xfrm>
            <a:off x="13717199" y="3515867"/>
            <a:ext cx="1176476" cy="580946"/>
          </a:xfrm>
          <a:prstGeom prst="rect">
            <a:avLst/>
          </a:prstGeom>
          <a:solidFill>
            <a:schemeClr val="bg1"/>
          </a:solidFill>
          <a:ln w="12700">
            <a:solidFill>
              <a:srgbClr val="D1D1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nl-NL" sz="8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hthoek 39"/>
          <p:cNvSpPr/>
          <p:nvPr userDrawn="1"/>
        </p:nvSpPr>
        <p:spPr>
          <a:xfrm>
            <a:off x="13739163" y="3827256"/>
            <a:ext cx="1145759" cy="261256"/>
          </a:xfrm>
          <a:prstGeom prst="rect">
            <a:avLst/>
          </a:prstGeom>
          <a:solidFill>
            <a:srgbClr val="FCE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>
              <a:solidFill>
                <a:prstClr val="black"/>
              </a:solidFill>
            </a:endParaRPr>
          </a:p>
        </p:txBody>
      </p:sp>
      <p:grpSp>
        <p:nvGrpSpPr>
          <p:cNvPr id="41" name="Groep 40"/>
          <p:cNvGrpSpPr/>
          <p:nvPr userDrawn="1"/>
        </p:nvGrpSpPr>
        <p:grpSpPr>
          <a:xfrm>
            <a:off x="13799151" y="3581369"/>
            <a:ext cx="155951" cy="131922"/>
            <a:chOff x="12968836" y="3354170"/>
            <a:chExt cx="404806" cy="342433"/>
          </a:xfrm>
        </p:grpSpPr>
        <p:sp>
          <p:nvSpPr>
            <p:cNvPr id="54" name="Rechthoek: afgeronde hoeken 53"/>
            <p:cNvSpPr/>
            <p:nvPr userDrawn="1"/>
          </p:nvSpPr>
          <p:spPr>
            <a:xfrm>
              <a:off x="12968836" y="3354170"/>
              <a:ext cx="404806" cy="342433"/>
            </a:xfrm>
            <a:prstGeom prst="roundRect">
              <a:avLst>
                <a:gd name="adj" fmla="val 2911"/>
              </a:avLst>
            </a:prstGeom>
            <a:solidFill>
              <a:schemeClr val="bg1"/>
            </a:solidFill>
            <a:ln w="12700">
              <a:solidFill>
                <a:srgbClr val="8181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Rechthoek 54"/>
            <p:cNvSpPr/>
            <p:nvPr userDrawn="1"/>
          </p:nvSpPr>
          <p:spPr>
            <a:xfrm>
              <a:off x="13025180" y="3401181"/>
              <a:ext cx="305213" cy="41563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6" name="Rechthoek 55"/>
            <p:cNvSpPr/>
            <p:nvPr userDrawn="1"/>
          </p:nvSpPr>
          <p:spPr>
            <a:xfrm>
              <a:off x="13025181" y="3471575"/>
              <a:ext cx="118778" cy="181691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7" name="Rechthoek 56"/>
            <p:cNvSpPr/>
            <p:nvPr userDrawn="1"/>
          </p:nvSpPr>
          <p:spPr>
            <a:xfrm>
              <a:off x="13180812" y="3481982"/>
              <a:ext cx="13527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8" name="Rechthoek 57"/>
            <p:cNvSpPr/>
            <p:nvPr userDrawn="1"/>
          </p:nvSpPr>
          <p:spPr>
            <a:xfrm>
              <a:off x="13180812" y="3554800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9" name="Rechthoek 58"/>
            <p:cNvSpPr/>
            <p:nvPr userDrawn="1"/>
          </p:nvSpPr>
          <p:spPr>
            <a:xfrm>
              <a:off x="13180812" y="3627618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</p:grpSp>
      <p:grpSp>
        <p:nvGrpSpPr>
          <p:cNvPr id="42" name="Groep 41"/>
          <p:cNvGrpSpPr/>
          <p:nvPr userDrawn="1"/>
        </p:nvGrpSpPr>
        <p:grpSpPr>
          <a:xfrm>
            <a:off x="13779593" y="3880693"/>
            <a:ext cx="166739" cy="218963"/>
            <a:chOff x="12940828" y="3950597"/>
            <a:chExt cx="432813" cy="568367"/>
          </a:xfrm>
        </p:grpSpPr>
        <p:grpSp>
          <p:nvGrpSpPr>
            <p:cNvPr id="46" name="Groep 45"/>
            <p:cNvGrpSpPr/>
            <p:nvPr userDrawn="1"/>
          </p:nvGrpSpPr>
          <p:grpSpPr>
            <a:xfrm>
              <a:off x="13000382" y="4006891"/>
              <a:ext cx="373259" cy="315747"/>
              <a:chOff x="12968836" y="3354170"/>
              <a:chExt cx="404806" cy="342433"/>
            </a:xfrm>
          </p:grpSpPr>
          <p:sp>
            <p:nvSpPr>
              <p:cNvPr id="48" name="Rechthoek: afgeronde hoeken 47"/>
              <p:cNvSpPr/>
              <p:nvPr userDrawn="1"/>
            </p:nvSpPr>
            <p:spPr>
              <a:xfrm>
                <a:off x="12968836" y="3354170"/>
                <a:ext cx="404806" cy="342433"/>
              </a:xfrm>
              <a:prstGeom prst="roundRect">
                <a:avLst>
                  <a:gd name="adj" fmla="val 2911"/>
                </a:avLst>
              </a:prstGeom>
              <a:solidFill>
                <a:schemeClr val="bg1"/>
              </a:solidFill>
              <a:ln w="12700">
                <a:solidFill>
                  <a:srgbClr val="81818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Rechthoek 48"/>
              <p:cNvSpPr/>
              <p:nvPr userDrawn="1"/>
            </p:nvSpPr>
            <p:spPr>
              <a:xfrm>
                <a:off x="13025180" y="3401181"/>
                <a:ext cx="305213" cy="4156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13025181" y="3471575"/>
                <a:ext cx="118778" cy="181691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Rechthoek 50"/>
              <p:cNvSpPr/>
              <p:nvPr userDrawn="1"/>
            </p:nvSpPr>
            <p:spPr>
              <a:xfrm>
                <a:off x="13180812" y="3481982"/>
                <a:ext cx="13527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13180812" y="3554800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Rechthoek 52"/>
              <p:cNvSpPr/>
              <p:nvPr userDrawn="1"/>
            </p:nvSpPr>
            <p:spPr>
              <a:xfrm>
                <a:off x="13180812" y="3627618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7" name="Boog 46"/>
            <p:cNvSpPr/>
            <p:nvPr userDrawn="1"/>
          </p:nvSpPr>
          <p:spPr>
            <a:xfrm rot="17637075">
              <a:off x="12776155" y="4115270"/>
              <a:ext cx="568367" cy="239021"/>
            </a:xfrm>
            <a:prstGeom prst="arc">
              <a:avLst>
                <a:gd name="adj1" fmla="val 15959368"/>
                <a:gd name="adj2" fmla="val 1354623"/>
              </a:avLst>
            </a:prstGeom>
            <a:noFill/>
            <a:ln w="19050" cap="flat" cmpd="sng" algn="ctr">
              <a:solidFill>
                <a:srgbClr val="4D82B8"/>
              </a:solidFill>
              <a:prstDash val="solid"/>
              <a:headEnd type="arrow" w="med" len="sm"/>
            </a:ln>
            <a:effectLst/>
          </p:spPr>
          <p:txBody>
            <a:bodyPr rtlCol="0" anchor="ctr"/>
            <a:lstStyle/>
            <a:p>
              <a:pPr algn="ctr"/>
              <a:endParaRPr lang="nl-NL">
                <a:solidFill>
                  <a:prstClr val="black"/>
                </a:solidFill>
              </a:endParaRPr>
            </a:p>
          </p:txBody>
        </p:sp>
      </p:grpSp>
      <p:sp>
        <p:nvSpPr>
          <p:cNvPr id="43" name="Tekstvak 42"/>
          <p:cNvSpPr txBox="1"/>
          <p:nvPr userDrawn="1"/>
        </p:nvSpPr>
        <p:spPr>
          <a:xfrm>
            <a:off x="13957563" y="3554981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7512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ling</a:t>
            </a:r>
          </a:p>
        </p:txBody>
      </p:sp>
      <p:sp>
        <p:nvSpPr>
          <p:cNvPr id="44" name="Tekstvak 43"/>
          <p:cNvSpPr txBox="1"/>
          <p:nvPr userDrawn="1"/>
        </p:nvSpPr>
        <p:spPr>
          <a:xfrm>
            <a:off x="13944136" y="3876103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7512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 Herstellen</a:t>
            </a:r>
          </a:p>
        </p:txBody>
      </p:sp>
      <p:pic>
        <p:nvPicPr>
          <p:cNvPr id="45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69837" y="3962807"/>
            <a:ext cx="143087" cy="231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5" name="Video icoon"/>
          <p:cNvGrpSpPr/>
          <p:nvPr userDrawn="1"/>
        </p:nvGrpSpPr>
        <p:grpSpPr>
          <a:xfrm>
            <a:off x="12753148" y="1125073"/>
            <a:ext cx="318325" cy="320332"/>
            <a:chOff x="8066315" y="1676399"/>
            <a:chExt cx="1371600" cy="1380253"/>
          </a:xfrm>
        </p:grpSpPr>
        <p:sp>
          <p:nvSpPr>
            <p:cNvPr id="36" name="Rechthoek 35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37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38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1053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Afbeelding 150">
            <a:extLst>
              <a:ext uri="{FF2B5EF4-FFF2-40B4-BE49-F238E27FC236}">
                <a16:creationId xmlns:a16="http://schemas.microsoft.com/office/drawing/2014/main" id="{0BE286FB-8201-4900-AC1B-5109DC42B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20" y="3229993"/>
            <a:ext cx="1639483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8" name="Tijdelijke aanduiding voor media 7"/>
          <p:cNvSpPr>
            <a:spLocks noGrp="1"/>
          </p:cNvSpPr>
          <p:nvPr>
            <p:ph type="media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bIns="180000" anchor="ctr"/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in te voegen</a:t>
            </a: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VIDEO #2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4" name="Groep 103"/>
          <p:cNvGrpSpPr/>
          <p:nvPr userDrawn="1"/>
        </p:nvGrpSpPr>
        <p:grpSpPr>
          <a:xfrm>
            <a:off x="12391604" y="-17883"/>
            <a:ext cx="3183679" cy="5235577"/>
            <a:chOff x="12391603" y="-17883"/>
            <a:chExt cx="3183678" cy="5235577"/>
          </a:xfrm>
        </p:grpSpPr>
        <p:grpSp>
          <p:nvGrpSpPr>
            <p:cNvPr id="105" name="Meer informatie"/>
            <p:cNvGrpSpPr/>
            <p:nvPr userDrawn="1"/>
          </p:nvGrpSpPr>
          <p:grpSpPr>
            <a:xfrm>
              <a:off x="12396764" y="4434421"/>
              <a:ext cx="3178515" cy="783273"/>
              <a:chOff x="-3741486" y="3359148"/>
              <a:chExt cx="3178515" cy="783273"/>
            </a:xfrm>
          </p:grpSpPr>
          <p:sp>
            <p:nvSpPr>
              <p:cNvPr id="14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Rechthoek 14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50" name="Rechte verbindingslijn 14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0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07" name="Rechthoek 10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Video invoegen</a:t>
                </a:r>
              </a:p>
            </p:txBody>
          </p:sp>
          <p:sp>
            <p:nvSpPr>
              <p:cNvPr id="108" name="Ovaal 10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09" name="Rechte verbindingslijn 10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0" name="Rechte verbindingslijn 10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1" name="Rechthoek 11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/video. Klik op het pictogram om een nieuwe video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Ovaal 11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14" name="Rechthoek 11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video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15" name="Groep 11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45" name="Rechthoek 14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46" name="Rechte verbindingslijn 14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47" name="Gelijkbenige driehoek 14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16" name="Ovaal 11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7" name="Rechthoek 11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8" name="Rechte verbindingslijn 11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19" name="Groep 11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4" name="Rechthoek 123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Rechthoek 124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26" name="Groep 125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39" name="Rechthoek: afgeronde hoeken 138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3" name="Rechthoek 142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27" name="Groep 126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1" name="Groep 130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3" name="Rechthoek: afgeronde hoeken 132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" name="Rechthoek 133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5" name="Rechthoek 134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6" name="Rechthoek 135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7" name="Rechthoek 136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32" name="Boog 131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28" name="Tekstvak 127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29" name="Tekstvak 128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0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20" name="Video icoon"/>
              <p:cNvGrpSpPr/>
              <p:nvPr userDrawn="1"/>
            </p:nvGrpSpPr>
            <p:grpSpPr>
              <a:xfrm>
                <a:off x="12753147" y="1125073"/>
                <a:ext cx="318325" cy="320332"/>
                <a:chOff x="8066315" y="1676399"/>
                <a:chExt cx="1371600" cy="1380253"/>
              </a:xfrm>
            </p:grpSpPr>
            <p:sp>
              <p:nvSpPr>
                <p:cNvPr id="121" name="Rechthoek 120"/>
                <p:cNvSpPr/>
                <p:nvPr userDrawn="1"/>
              </p:nvSpPr>
              <p:spPr>
                <a:xfrm>
                  <a:off x="8066315" y="1687286"/>
                  <a:ext cx="1360714" cy="1360714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2" name="Vrije vorm 112"/>
                <p:cNvSpPr/>
                <p:nvPr userDrawn="1"/>
              </p:nvSpPr>
              <p:spPr>
                <a:xfrm>
                  <a:off x="8077201" y="1676399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3" name="Vrije vorm 113"/>
                <p:cNvSpPr/>
                <p:nvPr userDrawn="1"/>
              </p:nvSpPr>
              <p:spPr>
                <a:xfrm>
                  <a:off x="8071339" y="2849823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sp>
        <p:nvSpPr>
          <p:cNvPr id="13" name="Tijdelijke aanduiding voor datum 1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117FF8-6AC3-4C58-9D98-9D181C161D1A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 vert="horz" lIns="0" tIns="36000" rIns="0" bIns="0" rtlCol="0" anchor="ctr">
            <a:noAutofit/>
          </a:bodyPr>
          <a:lstStyle>
            <a:lvl1pPr>
              <a:defRPr lang="nl-N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nl-NL" dirty="0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166469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1" y="365126"/>
            <a:ext cx="11453811" cy="272814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2" y="1179861"/>
            <a:ext cx="5543551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FFE59-BFA5-49CE-BB88-6FFB23EA7534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Grafiek</a:t>
            </a:r>
          </a:p>
        </p:txBody>
      </p:sp>
      <p:sp>
        <p:nvSpPr>
          <p:cNvPr id="9" name="Tijdelijke aanduiding voor grafiek 8"/>
          <p:cNvSpPr>
            <a:spLocks noGrp="1"/>
          </p:cNvSpPr>
          <p:nvPr userDrawn="1">
            <p:ph type="chart" sz="quarter" idx="15" hasCustomPrompt="1"/>
          </p:nvPr>
        </p:nvSpPr>
        <p:spPr>
          <a:xfrm>
            <a:off x="6464301" y="1179865"/>
            <a:ext cx="5357811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3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0927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36" name="Groep 3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3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2" name="Rechthoek 4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43" name="Ovaal 4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5" name="Rechthoek 4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hthoek 4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9" name="Groep 4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0" name="Groep 9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1" name="Rechthoek 10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2" name="Pijl: punthaak 10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50" name="Groep 4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1" name="Groep 9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2" name="Rechthoek 9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3" name="Pijl: punthaak 9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2" name="Rechte verbindingslijn 5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9" name="Rechthoek 7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3" name="Rechthoek 8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4" name="Pijl: punthaak 8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4" name="Groep 5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8" name="Rechthoek 6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9" name="Groep 6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0" name="Groep 6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1" name="Groep 7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2" name="Rechthoek 7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3" name="Pijl: punthaak 7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5" name="Rechthoek 5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8" name="Rechthoek 5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59" name="Ovaal 5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0" name="Rechthoek 5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Ovaal 6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2" name="Rechthoek 6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63" name="Ovaal 6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4" name="Rechthoek 6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65" name="Ovaal 6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6" name="Rechthoek 6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67" name="Rechte verbindingslijn 6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8" name="Groep 107"/>
          <p:cNvGrpSpPr/>
          <p:nvPr userDrawn="1"/>
        </p:nvGrpSpPr>
        <p:grpSpPr>
          <a:xfrm>
            <a:off x="12391604" y="-17883"/>
            <a:ext cx="3183677" cy="6879634"/>
            <a:chOff x="12391603" y="-17883"/>
            <a:chExt cx="3183677" cy="6879634"/>
          </a:xfrm>
        </p:grpSpPr>
        <p:grpSp>
          <p:nvGrpSpPr>
            <p:cNvPr id="10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16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Rechthoek 16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7" name="Rechte verbindingslijn 16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51" name="Rechte verbindingslijn 150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52" name="Rechte verbindingslijn 151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53" name="Rechthoek 152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sp>
            <p:nvSpPr>
              <p:cNvPr id="154" name="Ovaal 153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55" name="Rechthoek 154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grafiek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56" name="Groep 155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3" name="Rechte verbindingslijn 16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64" name="Gelijkbenige driehoek 16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cxnSp>
            <p:nvCxnSpPr>
              <p:cNvPr id="157" name="Rechte verbindingslijn 156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58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159" name="Rechthoek 158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0" name="Rechthoek 159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1" name="Rechthoek 160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111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Rechthoek 112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114" name="Ovaal 113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5" name="Rechte verbindingslijn 114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6" name="Rechthoek 115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defRPr/>
                </a:pPr>
                <a:r>
                  <a:rPr lang="nl-NL" sz="1100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117" name="Groep 116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" name="Tekstvak 119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121" name="Tekstvak 120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12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123" name="Groep 122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</p:grpSp>
            <p:grpSp>
              <p:nvGrpSpPr>
                <p:cNvPr id="124" name="Groep 123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125" name="Rechthoek 124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white"/>
                      </a:solidFill>
                    </a:endParaRPr>
                  </a:p>
                </p:txBody>
              </p:sp>
              <p:grpSp>
                <p:nvGrpSpPr>
                  <p:cNvPr id="126" name="Groep 125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127" name="Groep 126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132" name="Rechthoek 131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grpSp>
                    <p:nvGrpSpPr>
                      <p:cNvPr id="133" name="Groep 132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139" name="Rechte verbindingslijn 13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141" name="Groep 140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142" name="Rechte verbindingslijn 14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3" name="Rechte verbindingslijn 14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4" name="Rechte verbindingslijn 14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5" name="Rechte verbindingslijn 144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134" name="Rechte verbindingslijn 133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5" name="Groep 134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136" name="Rechte verbindingslijn 13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7" name="Rechte verbindingslijn 13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8" name="Rechte verbindingslijn 137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128" name="Groep 127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129" name="Rechthoek 128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130" name="Rechthoek: afgeronde bovenhoeken 129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131" name="Gelijkbenige driehoek 130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79630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1" y="365126"/>
            <a:ext cx="11453811" cy="272814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E8DDB-6577-4D63-9F56-8A3E4A74A0AB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Grafiek</a:t>
            </a:r>
          </a:p>
        </p:txBody>
      </p:sp>
      <p:sp>
        <p:nvSpPr>
          <p:cNvPr id="27" name="Tijdelijke aanduiding voor grafiek 8"/>
          <p:cNvSpPr>
            <a:spLocks noGrp="1"/>
          </p:cNvSpPr>
          <p:nvPr>
            <p:ph type="chart" sz="quarter" idx="15" hasCustomPrompt="1"/>
          </p:nvPr>
        </p:nvSpPr>
        <p:spPr>
          <a:xfrm>
            <a:off x="368301" y="1179865"/>
            <a:ext cx="11453811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2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4" y="-17883"/>
            <a:ext cx="3183677" cy="6879634"/>
            <a:chOff x="12391603" y="-17883"/>
            <a:chExt cx="3183677" cy="687963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30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2" name="Rechte verbindingslijn 31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3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34" name="Rechthoek 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35" name="Ovaal 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8" name="Rechthoek 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Ovaal 38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grafiek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1" name="Groep 40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47" name="Rechthoek 46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48" name="Rechte verbindingslijn 47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49" name="Gelijkbenige driehoek 48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3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44" name="Rechthoek 43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" name="Rechthoek 44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6" name="Rechthoek 45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50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2" name="Rechthoek 51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5" name="Rechthoek 54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defRPr/>
                </a:pPr>
                <a:r>
                  <a:rPr lang="nl-NL" sz="1100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56" name="Groep 55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Rechthoek 57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Tekstvak 58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60" name="Tekstvak 59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61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62" name="Groep 61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85" name="Rechthoek 84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86" name="Rechthoek 85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87" name="Rechthoek 86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</p:grpSp>
            <p:grpSp>
              <p:nvGrpSpPr>
                <p:cNvPr id="63" name="Groep 62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64" name="Rechthoek 63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white"/>
                      </a:solidFill>
                    </a:endParaRPr>
                  </a:p>
                </p:txBody>
              </p:sp>
              <p:grpSp>
                <p:nvGrpSpPr>
                  <p:cNvPr id="65" name="Groep 64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66" name="Groep 65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71" name="Rechthoek 70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grpSp>
                    <p:nvGrpSpPr>
                      <p:cNvPr id="72" name="Groep 71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78" name="Rechte verbindingslijn 77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9" name="Rechte verbindingslijn 7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80" name="Groep 79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81" name="Rechte verbindingslijn 80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2" name="Rechte verbindingslijn 8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3" name="Rechte verbindingslijn 8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4" name="Rechte verbindingslijn 8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73" name="Rechte verbindingslijn 72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74" name="Groep 73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75" name="Rechte verbindingslijn 74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6" name="Rechte verbindingslijn 7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7" name="Rechte verbindingslijn 7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67" name="Groep 66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68" name="Rechthoek 67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69" name="Rechthoek: afgeronde bovenhoeken 68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70" name="Gelijkbenige driehoek 69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385517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2" y="1179861"/>
            <a:ext cx="5543551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FCCAED-E0C6-46C0-964B-8C6C3FB4523E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Tabel</a:t>
            </a:r>
          </a:p>
        </p:txBody>
      </p:sp>
      <p:sp>
        <p:nvSpPr>
          <p:cNvPr id="37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6278570" y="1179861"/>
            <a:ext cx="5545132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3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39" name="Groep 38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40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5" name="Rechthoek 44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46" name="Ovaal 45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9" name="Rechte verbindingslijn 48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Rechthoek 50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52" name="Groep 51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3" name="Groep 92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9" name="Rechte verbindingslijn 98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0" name="Rechte verbindingslijn 99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1" name="Rechte verbindingslijn 100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4" name="Groep 93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5" name="Rechthoek 94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6" name="Pijl: punthaak 95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6" name="Groep 55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82" name="Rechthoek 81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3" name="Groep 82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4" name="Groep 83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1" name="Rechte verbindingslijn 90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2" name="Rechte verbindingslijn 91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5" name="Groep 84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6" name="Rechthoek 85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7" name="Pijl: punthaak 86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7" name="Groep 56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2" name="Groep 71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3" name="Groep 72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0" name="Rechte verbindingslijn 79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1" name="Rechte verbindingslijn 80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4" name="Groep 73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5" name="Rechthoek 7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6" name="Pijl: punthaak 7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8" name="Rechthoek 57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1" name="Rechthoek 60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66" name="Ovaal 65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7" name="Rechthoek 66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68" name="Ovaal 67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9" name="Rechthoek 68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41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4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38" name="Groep 137"/>
          <p:cNvGrpSpPr/>
          <p:nvPr userDrawn="1"/>
        </p:nvGrpSpPr>
        <p:grpSpPr>
          <a:xfrm>
            <a:off x="12391604" y="-17883"/>
            <a:ext cx="3183677" cy="3416764"/>
            <a:chOff x="12391603" y="-17883"/>
            <a:chExt cx="3183677" cy="3416764"/>
          </a:xfrm>
        </p:grpSpPr>
        <p:grpSp>
          <p:nvGrpSpPr>
            <p:cNvPr id="111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11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Rechthoek 11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4" name="Rechte verbindingslijn 11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5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116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126" name="Rechthoek 125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>
                    <a:lnSpc>
                      <a:spcPct val="80000"/>
                    </a:lnSpc>
                    <a:defRPr/>
                  </a:pPr>
                  <a:r>
                    <a:rPr lang="nl-NL" sz="1400" b="1" kern="0" cap="all" dirty="0">
                      <a:solidFill>
                        <a:srgbClr val="002C51"/>
                      </a:solidFill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127" name="Ovaal 126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128" name="Rechte verbindingslijn 127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129" name="Rechte verbindingslijn 128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130" name="Rechthoek 129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nl-NL" sz="1100" i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(zie onderstaand voorbeeld).</a:t>
                  </a:r>
                  <a:endPara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1" name="Ovaal 130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 dirty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132" name="Rechthoek 131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lang="nl-NL" sz="1100" b="1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OK’</a:t>
                  </a: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.</a:t>
                  </a:r>
                  <a:endPara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3" name="Groep 132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135" name="Rechthoek 134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136" name="Rechte verbindingslijn 135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137" name="Gelijkbenige driehoek 136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cxnSp>
              <p:nvCxnSpPr>
                <p:cNvPr id="134" name="Rechte verbindingslijn 133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117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cxnSp>
              <p:nvCxnSpPr>
                <p:cNvPr id="120" name="Rechte verbindingslijn 119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Rechte verbindingslijn 120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hthoek 124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4808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1533D-1DBF-4988-9853-8072848E1A63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Tabel</a:t>
            </a:r>
          </a:p>
        </p:txBody>
      </p:sp>
      <p:sp>
        <p:nvSpPr>
          <p:cNvPr id="26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368300" y="1179861"/>
            <a:ext cx="11455400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2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8" name="Groep 27"/>
          <p:cNvGrpSpPr/>
          <p:nvPr userDrawn="1"/>
        </p:nvGrpSpPr>
        <p:grpSpPr>
          <a:xfrm>
            <a:off x="12391604" y="-17883"/>
            <a:ext cx="3183677" cy="3416764"/>
            <a:chOff x="12391603" y="-17883"/>
            <a:chExt cx="3183677" cy="341676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53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31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41" name="Rechthoek 40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>
                    <a:lnSpc>
                      <a:spcPct val="80000"/>
                    </a:lnSpc>
                    <a:defRPr/>
                  </a:pPr>
                  <a:r>
                    <a:rPr lang="nl-NL" sz="1400" b="1" kern="0" cap="all" dirty="0">
                      <a:solidFill>
                        <a:srgbClr val="002C51"/>
                      </a:solidFill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42" name="Ovaal 41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43" name="Rechte verbindingslijn 42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44" name="Rechte verbindingslijn 43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45" name="Rechthoek 44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nl-NL" sz="1100" i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(zie onderstaand voorbeeld).</a:t>
                  </a:r>
                  <a:endPara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6" name="Ovaal 45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 dirty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47" name="Rechthoek 46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lang="nl-NL" sz="1100" b="1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OK’</a:t>
                  </a: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.</a:t>
                  </a:r>
                  <a:endPara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48" name="Groep 47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50" name="Rechthoek 49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51" name="Rechte verbindingslijn 50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52" name="Gelijkbenige driehoek 51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cxnSp>
              <p:nvCxnSpPr>
                <p:cNvPr id="49" name="Rechte verbindingslijn 48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32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33" name="Rechthoek 32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Rechthoek 33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cxnSp>
              <p:nvCxnSpPr>
                <p:cNvPr id="35" name="Rechte verbindingslijn 34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Rechte verbindingslijn 35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Rechte verbindingslijn 36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Rechte verbindingslijn 37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Rechte verbindingslijn 38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hthoek 39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3577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 (W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8812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144000" rIns="216000" bIns="144000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DBD2DC-8738-4717-AA7B-00FBAC64661C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% tekst (WIT)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95317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verz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E593F-7BE3-45C4-B9C1-6FC3E8AE4AD3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Logo Overzich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grpSp>
          <p:nvGrpSpPr>
            <p:cNvPr id="165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66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Rechthoek 166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8" name="Rechte verbindingslijn 167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69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70" name="Rechthoek 169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71" name="Ovaal 170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72" name="Rechte verbindingslijn 171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73" name="Rechte verbindingslijn 172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4" name="Rechthoek 173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75" name="Rechte verbindingslijn 174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6" name="Ovaal 175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77" name="Rechthoek 176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78" name="Groep 177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06" name="Rechthoek 205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07" name="Rechte verbindingslijn 206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08" name="Gelijkbenige driehoek 207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79" name="Groep 178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00" name="Rechthoek 199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Ovaal 200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Vrije vorm: vorm 201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Rechthoek: afgeronde hoeken 202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04" name="Rechte verbindingslijn 203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05" name="Rechte verbindingslijn 204"/>
                <p:cNvCxnSpPr>
                  <a:cxnSpLocks/>
                  <a:stCxn id="203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80" name="Ovaal 179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81" name="Rechthoek 180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 en klik op de kn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Bijsnijd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82" name="Rechte verbindingslijn 18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83" name="Groep 182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184" name="Groep 183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187" name="Groep 186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194" name="Groep 193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197" name="Rechthoek 196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8" name="Rechthoek 197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9" name="Ovaal 198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nl-NL" sz="1000" b="1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95" name="Afbeelding 194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" name="Afbeelding 195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88" name="Groep 187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2" name="Rechthoek 191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93" name="Rechthoek 192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189" name="Groep 188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0" name="Rechthoek 189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91" name="Rechthoek 190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85" name="Rechthoek 184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86" name="Gelijkbenige driehoek 185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250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1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3092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2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42523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3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61954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4" name="Tijdelijke aanduiding voor verticale tekst 2"/>
          <p:cNvSpPr>
            <a:spLocks noGrp="1"/>
          </p:cNvSpPr>
          <p:nvPr>
            <p:ph type="body" orient="vert" idx="18" hasCustomPrompt="1"/>
          </p:nvPr>
        </p:nvSpPr>
        <p:spPr>
          <a:xfrm>
            <a:off x="81385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5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00816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6" name="Tijdelijke aanduiding voor verticale tekst 2"/>
          <p:cNvSpPr>
            <a:spLocks noGrp="1"/>
          </p:cNvSpPr>
          <p:nvPr>
            <p:ph type="body" orient="vert" idx="20" hasCustomPrompt="1"/>
          </p:nvPr>
        </p:nvSpPr>
        <p:spPr>
          <a:xfrm>
            <a:off x="3661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7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3092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42523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9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61954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81385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1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100816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61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23092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42523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61954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1385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100816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8" name="Tijdelijke aanduiding voor verticale tekst 2"/>
          <p:cNvSpPr>
            <a:spLocks noGrp="1"/>
          </p:cNvSpPr>
          <p:nvPr>
            <p:ph type="body" orient="vert" idx="32" hasCustomPrompt="1"/>
          </p:nvPr>
        </p:nvSpPr>
        <p:spPr>
          <a:xfrm>
            <a:off x="3661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23092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42523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61954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81385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3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00816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4" name="Tijdelijke aanduiding voor afbeelding 45"/>
          <p:cNvSpPr>
            <a:spLocks noGrp="1"/>
          </p:cNvSpPr>
          <p:nvPr>
            <p:ph type="pic" sz="quarter" idx="38" hasCustomPrompt="1"/>
          </p:nvPr>
        </p:nvSpPr>
        <p:spPr>
          <a:xfrm>
            <a:off x="6059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5" name="Tijdelijke aanduiding voor afbeelding 45"/>
          <p:cNvSpPr>
            <a:spLocks noGrp="1"/>
          </p:cNvSpPr>
          <p:nvPr>
            <p:ph type="pic" sz="quarter" idx="39" hasCustomPrompt="1"/>
          </p:nvPr>
        </p:nvSpPr>
        <p:spPr>
          <a:xfrm>
            <a:off x="25490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6" name="Tijdelijke aanduiding voor afbeelding 45"/>
          <p:cNvSpPr>
            <a:spLocks noGrp="1"/>
          </p:cNvSpPr>
          <p:nvPr>
            <p:ph type="pic" sz="quarter" idx="40" hasCustomPrompt="1"/>
          </p:nvPr>
        </p:nvSpPr>
        <p:spPr>
          <a:xfrm>
            <a:off x="44921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7" name="Tijdelijke aanduiding voor afbeelding 45"/>
          <p:cNvSpPr>
            <a:spLocks noGrp="1"/>
          </p:cNvSpPr>
          <p:nvPr>
            <p:ph type="pic" sz="quarter" idx="41" hasCustomPrompt="1"/>
          </p:nvPr>
        </p:nvSpPr>
        <p:spPr>
          <a:xfrm>
            <a:off x="64352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8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83783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9" name="Tijdelijke aanduiding voor afbeelding 45"/>
          <p:cNvSpPr>
            <a:spLocks noGrp="1"/>
          </p:cNvSpPr>
          <p:nvPr>
            <p:ph type="pic" sz="quarter" idx="43" hasCustomPrompt="1"/>
          </p:nvPr>
        </p:nvSpPr>
        <p:spPr>
          <a:xfrm>
            <a:off x="103214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0" name="Tijdelijke aanduiding voor afbeelding 45"/>
          <p:cNvSpPr>
            <a:spLocks noGrp="1"/>
          </p:cNvSpPr>
          <p:nvPr>
            <p:ph type="pic" sz="quarter" idx="44" hasCustomPrompt="1"/>
          </p:nvPr>
        </p:nvSpPr>
        <p:spPr>
          <a:xfrm>
            <a:off x="6059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1" name="Tijdelijke aanduiding voor afbeelding 45"/>
          <p:cNvSpPr>
            <a:spLocks noGrp="1"/>
          </p:cNvSpPr>
          <p:nvPr>
            <p:ph type="pic" sz="quarter" idx="45" hasCustomPrompt="1"/>
          </p:nvPr>
        </p:nvSpPr>
        <p:spPr>
          <a:xfrm>
            <a:off x="25490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2" name="Tijdelijke aanduiding voor afbeelding 45"/>
          <p:cNvSpPr>
            <a:spLocks noGrp="1"/>
          </p:cNvSpPr>
          <p:nvPr>
            <p:ph type="pic" sz="quarter" idx="46" hasCustomPrompt="1"/>
          </p:nvPr>
        </p:nvSpPr>
        <p:spPr>
          <a:xfrm>
            <a:off x="44921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3" name="Tijdelijke aanduiding voor afbeelding 45"/>
          <p:cNvSpPr>
            <a:spLocks noGrp="1"/>
          </p:cNvSpPr>
          <p:nvPr>
            <p:ph type="pic" sz="quarter" idx="47" hasCustomPrompt="1"/>
          </p:nvPr>
        </p:nvSpPr>
        <p:spPr>
          <a:xfrm>
            <a:off x="64352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4" name="Tijdelijke aanduiding voor afbeelding 45"/>
          <p:cNvSpPr>
            <a:spLocks noGrp="1"/>
          </p:cNvSpPr>
          <p:nvPr>
            <p:ph type="pic" sz="quarter" idx="48" hasCustomPrompt="1"/>
          </p:nvPr>
        </p:nvSpPr>
        <p:spPr>
          <a:xfrm>
            <a:off x="83783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5" name="Tijdelijke aanduiding voor afbeelding 45"/>
          <p:cNvSpPr>
            <a:spLocks noGrp="1"/>
          </p:cNvSpPr>
          <p:nvPr>
            <p:ph type="pic" sz="quarter" idx="49" hasCustomPrompt="1"/>
          </p:nvPr>
        </p:nvSpPr>
        <p:spPr>
          <a:xfrm>
            <a:off x="103214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6" name="Tijdelijke aanduiding voor afbeelding 45"/>
          <p:cNvSpPr>
            <a:spLocks noGrp="1"/>
          </p:cNvSpPr>
          <p:nvPr>
            <p:ph type="pic" sz="quarter" idx="50" hasCustomPrompt="1"/>
          </p:nvPr>
        </p:nvSpPr>
        <p:spPr>
          <a:xfrm>
            <a:off x="6059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7" name="Tijdelijke aanduiding voor afbeelding 45"/>
          <p:cNvSpPr>
            <a:spLocks noGrp="1"/>
          </p:cNvSpPr>
          <p:nvPr>
            <p:ph type="pic" sz="quarter" idx="51" hasCustomPrompt="1"/>
          </p:nvPr>
        </p:nvSpPr>
        <p:spPr>
          <a:xfrm>
            <a:off x="25490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8" name="Tijdelijke aanduiding voor afbeelding 45"/>
          <p:cNvSpPr>
            <a:spLocks noGrp="1"/>
          </p:cNvSpPr>
          <p:nvPr>
            <p:ph type="pic" sz="quarter" idx="52" hasCustomPrompt="1"/>
          </p:nvPr>
        </p:nvSpPr>
        <p:spPr>
          <a:xfrm>
            <a:off x="44921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9" name="Tijdelijke aanduiding voor afbeelding 45"/>
          <p:cNvSpPr>
            <a:spLocks noGrp="1"/>
          </p:cNvSpPr>
          <p:nvPr>
            <p:ph type="pic" sz="quarter" idx="53" hasCustomPrompt="1"/>
          </p:nvPr>
        </p:nvSpPr>
        <p:spPr>
          <a:xfrm>
            <a:off x="64352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0" name="Tijdelijke aanduiding voor afbeelding 45"/>
          <p:cNvSpPr>
            <a:spLocks noGrp="1"/>
          </p:cNvSpPr>
          <p:nvPr>
            <p:ph type="pic" sz="quarter" idx="54" hasCustomPrompt="1"/>
          </p:nvPr>
        </p:nvSpPr>
        <p:spPr>
          <a:xfrm>
            <a:off x="83783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1" name="Tijdelijke aanduiding voor afbeelding 45"/>
          <p:cNvSpPr>
            <a:spLocks noGrp="1"/>
          </p:cNvSpPr>
          <p:nvPr>
            <p:ph type="pic" sz="quarter" idx="55" hasCustomPrompt="1"/>
          </p:nvPr>
        </p:nvSpPr>
        <p:spPr>
          <a:xfrm>
            <a:off x="103214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2" name="Tijdelijke aanduiding voor afbeelding 45"/>
          <p:cNvSpPr>
            <a:spLocks noGrp="1"/>
          </p:cNvSpPr>
          <p:nvPr>
            <p:ph type="pic" sz="quarter" idx="56" hasCustomPrompt="1"/>
          </p:nvPr>
        </p:nvSpPr>
        <p:spPr>
          <a:xfrm>
            <a:off x="6059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3" name="Tijdelijke aanduiding voor afbeelding 45"/>
          <p:cNvSpPr>
            <a:spLocks noGrp="1"/>
          </p:cNvSpPr>
          <p:nvPr>
            <p:ph type="pic" sz="quarter" idx="57" hasCustomPrompt="1"/>
          </p:nvPr>
        </p:nvSpPr>
        <p:spPr>
          <a:xfrm>
            <a:off x="25490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4" name="Tijdelijke aanduiding voor afbeelding 45"/>
          <p:cNvSpPr>
            <a:spLocks noGrp="1"/>
          </p:cNvSpPr>
          <p:nvPr>
            <p:ph type="pic" sz="quarter" idx="58" hasCustomPrompt="1"/>
          </p:nvPr>
        </p:nvSpPr>
        <p:spPr>
          <a:xfrm>
            <a:off x="44921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5" name="Tijdelijke aanduiding voor afbeelding 45"/>
          <p:cNvSpPr>
            <a:spLocks noGrp="1"/>
          </p:cNvSpPr>
          <p:nvPr>
            <p:ph type="pic" sz="quarter" idx="59" hasCustomPrompt="1"/>
          </p:nvPr>
        </p:nvSpPr>
        <p:spPr>
          <a:xfrm>
            <a:off x="64352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6" name="Tijdelijke aanduiding voor afbeelding 45"/>
          <p:cNvSpPr>
            <a:spLocks noGrp="1"/>
          </p:cNvSpPr>
          <p:nvPr>
            <p:ph type="pic" sz="quarter" idx="60" hasCustomPrompt="1"/>
          </p:nvPr>
        </p:nvSpPr>
        <p:spPr>
          <a:xfrm>
            <a:off x="83783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7" name="Tijdelijke aanduiding voor afbeelding 45"/>
          <p:cNvSpPr>
            <a:spLocks noGrp="1"/>
          </p:cNvSpPr>
          <p:nvPr>
            <p:ph type="pic" sz="quarter" idx="61" hasCustomPrompt="1"/>
          </p:nvPr>
        </p:nvSpPr>
        <p:spPr>
          <a:xfrm>
            <a:off x="103214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</p:spTree>
    <p:extLst>
      <p:ext uri="{BB962C8B-B14F-4D97-AF65-F5344CB8AC3E}">
        <p14:creationId xmlns:p14="http://schemas.microsoft.com/office/powerpoint/2010/main" val="90303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4" grpId="0"/>
      <p:bldP spid="275" grpId="0"/>
      <p:bldP spid="276" grpId="0"/>
      <p:bldP spid="277" grpId="0"/>
      <p:bldP spid="278" grpId="0"/>
      <p:bldP spid="279" grpId="0"/>
      <p:bldP spid="280" grpId="0"/>
      <p:bldP spid="281" grpId="0"/>
      <p:bldP spid="282" grpId="0"/>
      <p:bldP spid="283" grpId="0"/>
      <p:bldP spid="284" grpId="0"/>
      <p:bldP spid="285" grpId="0"/>
      <p:bldP spid="286" grpId="0"/>
      <p:bldP spid="287" grpId="0"/>
      <p:bldP spid="288" grpId="0"/>
      <p:bldP spid="289" grpId="0"/>
      <p:bldP spid="290" grpId="0"/>
      <p:bldP spid="291" grpId="0"/>
      <p:bldP spid="292" grpId="0"/>
      <p:bldP spid="293" grpId="0"/>
      <p:bldP spid="294" grpId="0"/>
      <p:bldP spid="295" grpId="0"/>
      <p:bldP spid="296" grpId="0"/>
      <p:bldP spid="297" grpId="0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827659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29" hasCustomPrompt="1"/>
          </p:nvPr>
        </p:nvSpPr>
        <p:spPr>
          <a:xfrm>
            <a:off x="8276596" y="1179863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27659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63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5A383-15E1-40DF-ADA6-DD89136534A3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3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433313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9"/>
          <p:cNvSpPr>
            <a:spLocks noGrp="1"/>
          </p:cNvSpPr>
          <p:nvPr>
            <p:ph type="pic" sz="quarter" idx="26" hasCustomPrompt="1"/>
          </p:nvPr>
        </p:nvSpPr>
        <p:spPr>
          <a:xfrm>
            <a:off x="4333136" y="1179863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433313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2F03B4BA-F6F9-40B7-B0C8-69E5F24A8777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99" name="Afbeelding 98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5" name="Rechthoek 104"/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6" name="Ovaal 105"/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7" name="Rechte verbindingslijn 106"/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8" name="Rechte verbindingslijn 107"/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Rechthoek 108"/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0" name="Rechte verbindingslijn 109"/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1" name="Ovaal 110"/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2" name="Rechthoek 111"/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2" name="Groep 121"/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5" name="Rechthoek 154"/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6" name="Rechte verbindingslijn 155"/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7" name="Gelijkbenige driehoek 156"/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23" name="Groep 122"/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Vrije vorm: vorm 150"/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Rechthoek: afgeronde hoeken 151"/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53" name="Rechte verbindingslijn 152"/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4" name="Rechte verbindingslijn 153"/>
              <p:cNvCxnSpPr>
                <a:cxnSpLocks/>
                <a:stCxn id="15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24" name="Ovaal 123"/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25" name="Rechthoek 124"/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/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7" name="Groep 126"/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8" name="Rechthoek 127"/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Rechthoek 128"/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30" name="Groep 129"/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43" name="Rechthoek: afgeronde hoeken 142"/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" name="Rechthoek 143"/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5" name="Rechthoek 144"/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6" name="Rechthoek 145"/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7" name="Rechthoek 146"/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8" name="Rechthoek 147"/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1" name="Groep 130"/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5" name="Groep 134"/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7" name="Rechthoek: afgeronde hoeken 136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8" name="Rechthoek 137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9" name="Rechthoek 138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6" name="Boog 135"/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32" name="Tekstvak 131"/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33" name="Tekstvak 132"/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4" name="Picture 3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01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0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Rechthoek 10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04" name="Rechte verbindingslijn 10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345879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8291701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9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7" y="1179858"/>
            <a:ext cx="2574535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7" y="1179863"/>
            <a:ext cx="2574535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ED1B2-AC1D-4D61-852A-B25377DDEC99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4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7" y="4949937"/>
            <a:ext cx="2574535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0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3347273" y="1179858"/>
            <a:ext cx="2574535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afbeelding 39"/>
          <p:cNvSpPr>
            <a:spLocks noGrp="1"/>
          </p:cNvSpPr>
          <p:nvPr>
            <p:ph type="pic" sz="quarter" idx="32" hasCustomPrompt="1"/>
          </p:nvPr>
        </p:nvSpPr>
        <p:spPr>
          <a:xfrm>
            <a:off x="3347273" y="1179863"/>
            <a:ext cx="2574535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0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3347273" y="4949937"/>
            <a:ext cx="2574535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6304869" y="1179858"/>
            <a:ext cx="2574535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afbeelding 39"/>
          <p:cNvSpPr>
            <a:spLocks noGrp="1"/>
          </p:cNvSpPr>
          <p:nvPr>
            <p:ph type="pic" sz="quarter" idx="35" hasCustomPrompt="1"/>
          </p:nvPr>
        </p:nvSpPr>
        <p:spPr>
          <a:xfrm>
            <a:off x="6304869" y="1179863"/>
            <a:ext cx="2574535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6304869" y="4949937"/>
            <a:ext cx="2574535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9262463" y="1179858"/>
            <a:ext cx="2574535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9"/>
          <p:cNvSpPr>
            <a:spLocks noGrp="1"/>
          </p:cNvSpPr>
          <p:nvPr>
            <p:ph type="pic" sz="quarter" idx="38" hasCustomPrompt="1"/>
          </p:nvPr>
        </p:nvSpPr>
        <p:spPr>
          <a:xfrm>
            <a:off x="9262463" y="1179863"/>
            <a:ext cx="2574535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9262463" y="4949937"/>
            <a:ext cx="2574535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1" name="Groep 160">
            <a:extLst>
              <a:ext uri="{FF2B5EF4-FFF2-40B4-BE49-F238E27FC236}">
                <a16:creationId xmlns:a16="http://schemas.microsoft.com/office/drawing/2014/main" id="{FCCEFB53-926B-43A5-B15D-C393B347BA7A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62" name="Afbeelding 161">
              <a:extLst>
                <a:ext uri="{FF2B5EF4-FFF2-40B4-BE49-F238E27FC236}">
                  <a16:creationId xmlns:a16="http://schemas.microsoft.com/office/drawing/2014/main" id="{3A99021C-1B73-45AC-9E0D-0BA5D305DF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9B8684C5-75ED-478A-BBAD-52500D10A50D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1EF576AE-826F-49DE-AE9D-26CBDC98975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5" name="Rechte verbindingslijn 164">
              <a:extLst>
                <a:ext uri="{FF2B5EF4-FFF2-40B4-BE49-F238E27FC236}">
                  <a16:creationId xmlns:a16="http://schemas.microsoft.com/office/drawing/2014/main" id="{D2002A68-8E60-4B1A-AD5F-F4F94FC5C1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6" name="Rechte verbindingslijn 165">
              <a:extLst>
                <a:ext uri="{FF2B5EF4-FFF2-40B4-BE49-F238E27FC236}">
                  <a16:creationId xmlns:a16="http://schemas.microsoft.com/office/drawing/2014/main" id="{08E75B8E-FCBA-4D8D-A676-4CD4F31EA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0B3E36AC-A52B-4D6C-81A6-99225B4AF218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F6517321-962A-4431-9C8D-7BD93F887E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9" name="Ovaal 168">
              <a:extLst>
                <a:ext uri="{FF2B5EF4-FFF2-40B4-BE49-F238E27FC236}">
                  <a16:creationId xmlns:a16="http://schemas.microsoft.com/office/drawing/2014/main" id="{875DD6BB-72DA-4541-A07D-08C37A1D6B0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EC3C8B96-A4ED-4876-A4CC-821810C4296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71" name="Groep 170">
              <a:extLst>
                <a:ext uri="{FF2B5EF4-FFF2-40B4-BE49-F238E27FC236}">
                  <a16:creationId xmlns:a16="http://schemas.microsoft.com/office/drawing/2014/main" id="{F2357E44-78CA-45A3-956B-965161D93275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08" name="Rechthoek 207">
                <a:extLst>
                  <a:ext uri="{FF2B5EF4-FFF2-40B4-BE49-F238E27FC236}">
                    <a16:creationId xmlns:a16="http://schemas.microsoft.com/office/drawing/2014/main" id="{0968A9B8-C0BC-459A-BA15-75EF9F09CCA5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CA830A2C-618E-47BF-9D3A-55DD1546A2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0" name="Gelijkbenige driehoek 209">
                <a:extLst>
                  <a:ext uri="{FF2B5EF4-FFF2-40B4-BE49-F238E27FC236}">
                    <a16:creationId xmlns:a16="http://schemas.microsoft.com/office/drawing/2014/main" id="{56B033E5-EC50-4438-BF01-1AB2254EF26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8DC86FEC-AE61-41F2-B99F-7F06AC040A8E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2" name="Rechthoek 201">
                <a:extLst>
                  <a:ext uri="{FF2B5EF4-FFF2-40B4-BE49-F238E27FC236}">
                    <a16:creationId xmlns:a16="http://schemas.microsoft.com/office/drawing/2014/main" id="{0E48B30F-2417-4027-A68E-502802915B0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3" name="Ovaal 202">
                <a:extLst>
                  <a:ext uri="{FF2B5EF4-FFF2-40B4-BE49-F238E27FC236}">
                    <a16:creationId xmlns:a16="http://schemas.microsoft.com/office/drawing/2014/main" id="{6BB66B2B-0443-44EE-86EF-9ADAFA26DDA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Vrije vorm: vorm 203">
                <a:extLst>
                  <a:ext uri="{FF2B5EF4-FFF2-40B4-BE49-F238E27FC236}">
                    <a16:creationId xmlns:a16="http://schemas.microsoft.com/office/drawing/2014/main" id="{4BC0AA19-3AA7-4497-AC19-7BE63BB2CA6B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Rechthoek: afgeronde hoeken 204">
                <a:extLst>
                  <a:ext uri="{FF2B5EF4-FFF2-40B4-BE49-F238E27FC236}">
                    <a16:creationId xmlns:a16="http://schemas.microsoft.com/office/drawing/2014/main" id="{F2A43995-E44A-4567-9C15-9B1ACE11309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6" name="Rechte verbindingslijn 205">
                <a:extLst>
                  <a:ext uri="{FF2B5EF4-FFF2-40B4-BE49-F238E27FC236}">
                    <a16:creationId xmlns:a16="http://schemas.microsoft.com/office/drawing/2014/main" id="{3C9BD617-A860-4012-A1F2-BFAAF3A2555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7" name="Rechte verbindingslijn 206">
                <a:extLst>
                  <a:ext uri="{FF2B5EF4-FFF2-40B4-BE49-F238E27FC236}">
                    <a16:creationId xmlns:a16="http://schemas.microsoft.com/office/drawing/2014/main" id="{ACAAB843-9003-4FC7-A8B5-E2ECD47E8001}"/>
                  </a:ext>
                </a:extLst>
              </p:cNvPr>
              <p:cNvCxnSpPr>
                <a:cxnSpLocks/>
                <a:stCxn id="20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3" name="Ovaal 172">
              <a:extLst>
                <a:ext uri="{FF2B5EF4-FFF2-40B4-BE49-F238E27FC236}">
                  <a16:creationId xmlns:a16="http://schemas.microsoft.com/office/drawing/2014/main" id="{6E96B380-58E2-471D-9744-63A03ABA625C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1C052F2-3015-408F-A310-B5C9BD9A681D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75" name="Rechte verbindingslijn 174">
              <a:extLst>
                <a:ext uri="{FF2B5EF4-FFF2-40B4-BE49-F238E27FC236}">
                  <a16:creationId xmlns:a16="http://schemas.microsoft.com/office/drawing/2014/main" id="{D1DC919E-DD42-4DE0-B301-429EE7292B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6" name="Groep 175">
              <a:extLst>
                <a:ext uri="{FF2B5EF4-FFF2-40B4-BE49-F238E27FC236}">
                  <a16:creationId xmlns:a16="http://schemas.microsoft.com/office/drawing/2014/main" id="{11B11B8F-B9C0-4E6E-A0BC-47375EC6A1CF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423346B5-4BFA-41F8-9AEC-3B60B611AB4A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99F3326D-20BC-4B71-8064-1442FB78EEED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3" name="Groep 182">
                <a:extLst>
                  <a:ext uri="{FF2B5EF4-FFF2-40B4-BE49-F238E27FC236}">
                    <a16:creationId xmlns:a16="http://schemas.microsoft.com/office/drawing/2014/main" id="{E9D47A58-71F3-4D64-9061-D9D134550845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6" name="Rechthoek: afgeronde hoeken 195">
                  <a:extLst>
                    <a:ext uri="{FF2B5EF4-FFF2-40B4-BE49-F238E27FC236}">
                      <a16:creationId xmlns:a16="http://schemas.microsoft.com/office/drawing/2014/main" id="{B0FC5052-23D2-4769-BB7E-B1A5E3ED711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48307DBB-7A5C-4ACC-9A6B-435633C63DB6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Rechthoek 197">
                  <a:extLst>
                    <a:ext uri="{FF2B5EF4-FFF2-40B4-BE49-F238E27FC236}">
                      <a16:creationId xmlns:a16="http://schemas.microsoft.com/office/drawing/2014/main" id="{86C2BE51-82C1-45ED-AEB9-F7264120349F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Rechthoek 198">
                  <a:extLst>
                    <a:ext uri="{FF2B5EF4-FFF2-40B4-BE49-F238E27FC236}">
                      <a16:creationId xmlns:a16="http://schemas.microsoft.com/office/drawing/2014/main" id="{47C69D9F-B551-4F47-90A1-C851A8E5CC0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0223528A-E41D-4AFB-B26F-4A80EC0B372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A1F2EA93-C5B2-4F45-9ECF-89EBAB3249DD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4" name="Groep 183">
                <a:extLst>
                  <a:ext uri="{FF2B5EF4-FFF2-40B4-BE49-F238E27FC236}">
                    <a16:creationId xmlns:a16="http://schemas.microsoft.com/office/drawing/2014/main" id="{FFFB3BA9-F231-4D9A-80B7-BA09F4FAF52E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88" name="Groep 187">
                  <a:extLst>
                    <a:ext uri="{FF2B5EF4-FFF2-40B4-BE49-F238E27FC236}">
                      <a16:creationId xmlns:a16="http://schemas.microsoft.com/office/drawing/2014/main" id="{28261D45-497A-4B0E-905B-83D8A856FEAF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0" name="Rechthoek: afgeronde hoeken 189">
                    <a:extLst>
                      <a:ext uri="{FF2B5EF4-FFF2-40B4-BE49-F238E27FC236}">
                        <a16:creationId xmlns:a16="http://schemas.microsoft.com/office/drawing/2014/main" id="{813C5FE2-9BC2-4D0C-9275-6200F9A394D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1" name="Rechthoek 190">
                    <a:extLst>
                      <a:ext uri="{FF2B5EF4-FFF2-40B4-BE49-F238E27FC236}">
                        <a16:creationId xmlns:a16="http://schemas.microsoft.com/office/drawing/2014/main" id="{0E32D907-F160-4E42-AE75-D29E33A59FC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2" name="Rechthoek 191">
                    <a:extLst>
                      <a:ext uri="{FF2B5EF4-FFF2-40B4-BE49-F238E27FC236}">
                        <a16:creationId xmlns:a16="http://schemas.microsoft.com/office/drawing/2014/main" id="{9B9E021B-097A-49A8-AA71-3B7093FBC6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3" name="Rechthoek 192">
                    <a:extLst>
                      <a:ext uri="{FF2B5EF4-FFF2-40B4-BE49-F238E27FC236}">
                        <a16:creationId xmlns:a16="http://schemas.microsoft.com/office/drawing/2014/main" id="{ACB73619-5777-4178-A38E-19DE7C9AB83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831B80DE-1C31-4CAF-9FB0-EDA412D0A3E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DF7F71AB-B3BD-4A7C-9009-E2121DA2F46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89" name="Boog 188">
                  <a:extLst>
                    <a:ext uri="{FF2B5EF4-FFF2-40B4-BE49-F238E27FC236}">
                      <a16:creationId xmlns:a16="http://schemas.microsoft.com/office/drawing/2014/main" id="{6959CB37-6156-4AE2-93C6-7635D136BD9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85" name="Tekstvak 184">
                <a:extLst>
                  <a:ext uri="{FF2B5EF4-FFF2-40B4-BE49-F238E27FC236}">
                    <a16:creationId xmlns:a16="http://schemas.microsoft.com/office/drawing/2014/main" id="{520AE291-3C80-410B-B153-EEFB1B14E11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6" name="Tekstvak 185">
                <a:extLst>
                  <a:ext uri="{FF2B5EF4-FFF2-40B4-BE49-F238E27FC236}">
                    <a16:creationId xmlns:a16="http://schemas.microsoft.com/office/drawing/2014/main" id="{ABE86CB3-3DDB-4585-95EA-8518FDD79CF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87" name="Picture 3">
                <a:extLst>
                  <a:ext uri="{FF2B5EF4-FFF2-40B4-BE49-F238E27FC236}">
                    <a16:creationId xmlns:a16="http://schemas.microsoft.com/office/drawing/2014/main" id="{50DA060E-9384-4105-A3A1-3A51710AAB8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77" name="Meer informatie">
              <a:extLst>
                <a:ext uri="{FF2B5EF4-FFF2-40B4-BE49-F238E27FC236}">
                  <a16:creationId xmlns:a16="http://schemas.microsoft.com/office/drawing/2014/main" id="{7DCCAA6E-486F-485A-9FF9-3E6DA4B44B5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78" name="Freeform 101">
                <a:extLst>
                  <a:ext uri="{FF2B5EF4-FFF2-40B4-BE49-F238E27FC236}">
                    <a16:creationId xmlns:a16="http://schemas.microsoft.com/office/drawing/2014/main" id="{F6307448-E31E-4DC1-A9CE-D9FE1DC727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Rechthoek 178">
                <a:extLst>
                  <a:ext uri="{FF2B5EF4-FFF2-40B4-BE49-F238E27FC236}">
                    <a16:creationId xmlns:a16="http://schemas.microsoft.com/office/drawing/2014/main" id="{051AC3A5-F246-43EC-9426-717DCF1A7781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0" name="Rechte verbindingslijn 179">
                <a:extLst>
                  <a:ext uri="{FF2B5EF4-FFF2-40B4-BE49-F238E27FC236}">
                    <a16:creationId xmlns:a16="http://schemas.microsoft.com/office/drawing/2014/main" id="{91214991-2318-4A98-B245-BFF671971D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29671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6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6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3251E7-C7A9-44D7-866A-8840D5E9178C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6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9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2755752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41" hasCustomPrompt="1"/>
          </p:nvPr>
        </p:nvSpPr>
        <p:spPr>
          <a:xfrm>
            <a:off x="2755752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42" hasCustomPrompt="1"/>
          </p:nvPr>
        </p:nvSpPr>
        <p:spPr>
          <a:xfrm>
            <a:off x="2755752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5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121831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6" name="Tijdelijke aanduiding voor afbeelding 39"/>
          <p:cNvSpPr>
            <a:spLocks noGrp="1"/>
          </p:cNvSpPr>
          <p:nvPr>
            <p:ph type="pic" sz="quarter" idx="44" hasCustomPrompt="1"/>
          </p:nvPr>
        </p:nvSpPr>
        <p:spPr>
          <a:xfrm>
            <a:off x="5121831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7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5121831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46" hasCustomPrompt="1"/>
          </p:nvPr>
        </p:nvSpPr>
        <p:spPr>
          <a:xfrm>
            <a:off x="7487908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9"/>
          <p:cNvSpPr>
            <a:spLocks noGrp="1"/>
          </p:cNvSpPr>
          <p:nvPr>
            <p:ph type="pic" sz="quarter" idx="47" hasCustomPrompt="1"/>
          </p:nvPr>
        </p:nvSpPr>
        <p:spPr>
          <a:xfrm>
            <a:off x="7487908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7487908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853983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2" name="Tijdelijke aanduiding voor afbeelding 39"/>
          <p:cNvSpPr>
            <a:spLocks noGrp="1"/>
          </p:cNvSpPr>
          <p:nvPr>
            <p:ph type="pic" sz="quarter" idx="50" hasCustomPrompt="1"/>
          </p:nvPr>
        </p:nvSpPr>
        <p:spPr>
          <a:xfrm>
            <a:off x="9853983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3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9853983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4" name="Groep 163">
            <a:extLst>
              <a:ext uri="{FF2B5EF4-FFF2-40B4-BE49-F238E27FC236}">
                <a16:creationId xmlns:a16="http://schemas.microsoft.com/office/drawing/2014/main" id="{38D2DAF9-87E2-49C7-8899-11CCDEE40A05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65" name="Afbeelding 164">
              <a:extLst>
                <a:ext uri="{FF2B5EF4-FFF2-40B4-BE49-F238E27FC236}">
                  <a16:creationId xmlns:a16="http://schemas.microsoft.com/office/drawing/2014/main" id="{1AA66F7B-7057-4205-9A25-50A1BEBFFC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0F966880-FA1E-4516-8D0A-EC1723CA8A23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7" name="Ovaal 166">
              <a:extLst>
                <a:ext uri="{FF2B5EF4-FFF2-40B4-BE49-F238E27FC236}">
                  <a16:creationId xmlns:a16="http://schemas.microsoft.com/office/drawing/2014/main" id="{6FECEAD8-89DC-4377-8B2B-6557251EB40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508E4D78-AA0E-4157-BC47-24FDCABC0A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9" name="Rechte verbindingslijn 168">
              <a:extLst>
                <a:ext uri="{FF2B5EF4-FFF2-40B4-BE49-F238E27FC236}">
                  <a16:creationId xmlns:a16="http://schemas.microsoft.com/office/drawing/2014/main" id="{052E3544-7CAA-4535-85BC-C02B48CEC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A8617A58-895C-451A-9D11-7AC862FAF372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5517C501-B8FD-46D9-8D82-F583E5CD4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2" name="Ovaal 171">
              <a:extLst>
                <a:ext uri="{FF2B5EF4-FFF2-40B4-BE49-F238E27FC236}">
                  <a16:creationId xmlns:a16="http://schemas.microsoft.com/office/drawing/2014/main" id="{218F8EBF-96BA-46A8-9FF6-B153943777DA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3" name="Rechthoek 172">
              <a:extLst>
                <a:ext uri="{FF2B5EF4-FFF2-40B4-BE49-F238E27FC236}">
                  <a16:creationId xmlns:a16="http://schemas.microsoft.com/office/drawing/2014/main" id="{A4F5CC46-C071-49C1-BFB7-D76F1689F569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74" name="Groep 173">
              <a:extLst>
                <a:ext uri="{FF2B5EF4-FFF2-40B4-BE49-F238E27FC236}">
                  <a16:creationId xmlns:a16="http://schemas.microsoft.com/office/drawing/2014/main" id="{B26FB392-FEE8-4B73-AAD0-AA67B6E1E3C8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11" name="Rechthoek 210">
                <a:extLst>
                  <a:ext uri="{FF2B5EF4-FFF2-40B4-BE49-F238E27FC236}">
                    <a16:creationId xmlns:a16="http://schemas.microsoft.com/office/drawing/2014/main" id="{312C51CE-15C8-4341-A38C-B6F0225BF78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id="{0284F455-F8EE-4D01-9D2C-D8625777D36B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3" name="Gelijkbenige driehoek 212">
                <a:extLst>
                  <a:ext uri="{FF2B5EF4-FFF2-40B4-BE49-F238E27FC236}">
                    <a16:creationId xmlns:a16="http://schemas.microsoft.com/office/drawing/2014/main" id="{DB65B57D-3EE2-4463-8BD2-8142290061A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5" name="Groep 174">
              <a:extLst>
                <a:ext uri="{FF2B5EF4-FFF2-40B4-BE49-F238E27FC236}">
                  <a16:creationId xmlns:a16="http://schemas.microsoft.com/office/drawing/2014/main" id="{C38E73B8-3EFB-4167-BB82-5C786D640CBD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5" name="Rechthoek 204">
                <a:extLst>
                  <a:ext uri="{FF2B5EF4-FFF2-40B4-BE49-F238E27FC236}">
                    <a16:creationId xmlns:a16="http://schemas.microsoft.com/office/drawing/2014/main" id="{50FE3A73-A9AA-4E92-90FF-C029BC236E9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6" name="Ovaal 205">
                <a:extLst>
                  <a:ext uri="{FF2B5EF4-FFF2-40B4-BE49-F238E27FC236}">
                    <a16:creationId xmlns:a16="http://schemas.microsoft.com/office/drawing/2014/main" id="{6109A826-A59A-494F-8EFB-9169389116BF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Vrije vorm: vorm 206">
                <a:extLst>
                  <a:ext uri="{FF2B5EF4-FFF2-40B4-BE49-F238E27FC236}">
                    <a16:creationId xmlns:a16="http://schemas.microsoft.com/office/drawing/2014/main" id="{C7FF406F-1CC2-4AC0-A17A-9305DD310A09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Rechthoek: afgeronde hoeken 207">
                <a:extLst>
                  <a:ext uri="{FF2B5EF4-FFF2-40B4-BE49-F238E27FC236}">
                    <a16:creationId xmlns:a16="http://schemas.microsoft.com/office/drawing/2014/main" id="{D8F14FC4-67C6-46E4-9736-D4263CDF915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B5F5ADCB-5B88-46E4-831E-1EB6CC3F62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0" name="Rechte verbindingslijn 209">
                <a:extLst>
                  <a:ext uri="{FF2B5EF4-FFF2-40B4-BE49-F238E27FC236}">
                    <a16:creationId xmlns:a16="http://schemas.microsoft.com/office/drawing/2014/main" id="{1EE24356-0697-4A22-9217-8F2333BB4BCC}"/>
                  </a:ext>
                </a:extLst>
              </p:cNvPr>
              <p:cNvCxnSpPr>
                <a:cxnSpLocks/>
                <a:stCxn id="20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6" name="Ovaal 175">
              <a:extLst>
                <a:ext uri="{FF2B5EF4-FFF2-40B4-BE49-F238E27FC236}">
                  <a16:creationId xmlns:a16="http://schemas.microsoft.com/office/drawing/2014/main" id="{5D9121B1-C8A4-4B09-A569-0817E41A2C73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E1BEF1BF-D9B8-4982-8EE8-BF23855D2C60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78" name="Rechte verbindingslijn 177">
              <a:extLst>
                <a:ext uri="{FF2B5EF4-FFF2-40B4-BE49-F238E27FC236}">
                  <a16:creationId xmlns:a16="http://schemas.microsoft.com/office/drawing/2014/main" id="{34CABE9A-775D-4F82-B986-4B8C5BC64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9" name="Groep 178">
              <a:extLst>
                <a:ext uri="{FF2B5EF4-FFF2-40B4-BE49-F238E27FC236}">
                  <a16:creationId xmlns:a16="http://schemas.microsoft.com/office/drawing/2014/main" id="{E9134E10-1CE7-464D-AF04-8ECE531BA052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4" name="Rechthoek 183">
                <a:extLst>
                  <a:ext uri="{FF2B5EF4-FFF2-40B4-BE49-F238E27FC236}">
                    <a16:creationId xmlns:a16="http://schemas.microsoft.com/office/drawing/2014/main" id="{B1F7EAE7-B41D-4220-9416-AAD62A602D14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141DA8B3-BC3C-409A-8179-8BC02A819CE7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6" name="Groep 185">
                <a:extLst>
                  <a:ext uri="{FF2B5EF4-FFF2-40B4-BE49-F238E27FC236}">
                    <a16:creationId xmlns:a16="http://schemas.microsoft.com/office/drawing/2014/main" id="{643B4677-1A21-4BBE-AF32-B315B05E9E2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FFB68C5E-FB3F-4929-B93C-87FBC4BDDFC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E53F557F-6C2E-4FF7-B600-2179C0A06F8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5D24B4BB-7526-4E17-8D3D-9DB221A68BE1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Rechthoek 201">
                  <a:extLst>
                    <a:ext uri="{FF2B5EF4-FFF2-40B4-BE49-F238E27FC236}">
                      <a16:creationId xmlns:a16="http://schemas.microsoft.com/office/drawing/2014/main" id="{6C266F8B-47DB-4A5E-B431-EC066AEC35B7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Rechthoek 202">
                  <a:extLst>
                    <a:ext uri="{FF2B5EF4-FFF2-40B4-BE49-F238E27FC236}">
                      <a16:creationId xmlns:a16="http://schemas.microsoft.com/office/drawing/2014/main" id="{2116B610-2150-4394-8176-6632BF44B15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Rechthoek 203">
                  <a:extLst>
                    <a:ext uri="{FF2B5EF4-FFF2-40B4-BE49-F238E27FC236}">
                      <a16:creationId xmlns:a16="http://schemas.microsoft.com/office/drawing/2014/main" id="{59B4C523-D9EB-4378-ACE4-56B180052AFC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7" name="Groep 186">
                <a:extLst>
                  <a:ext uri="{FF2B5EF4-FFF2-40B4-BE49-F238E27FC236}">
                    <a16:creationId xmlns:a16="http://schemas.microsoft.com/office/drawing/2014/main" id="{940F4B68-BC22-49C3-A4F2-965BEEBF280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25A6F0AA-9EC5-49D0-B594-E1ED76B3A07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3" name="Rechthoek: afgeronde hoeken 192">
                    <a:extLst>
                      <a:ext uri="{FF2B5EF4-FFF2-40B4-BE49-F238E27FC236}">
                        <a16:creationId xmlns:a16="http://schemas.microsoft.com/office/drawing/2014/main" id="{86F99140-AAB2-4A16-B9D5-187CDDB3722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27A1D887-2180-47CD-996B-EC4E25C1D4D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4666E821-9405-4676-8B3E-0B5AEBE2BD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6" name="Rechthoek 195">
                    <a:extLst>
                      <a:ext uri="{FF2B5EF4-FFF2-40B4-BE49-F238E27FC236}">
                        <a16:creationId xmlns:a16="http://schemas.microsoft.com/office/drawing/2014/main" id="{1F8C0A9C-8B44-40FE-A094-1B8B088E680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7" name="Rechthoek 196">
                    <a:extLst>
                      <a:ext uri="{FF2B5EF4-FFF2-40B4-BE49-F238E27FC236}">
                        <a16:creationId xmlns:a16="http://schemas.microsoft.com/office/drawing/2014/main" id="{2ED4EF97-7A18-4CBF-A0B7-034F4EEAB4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8" name="Rechthoek 197">
                    <a:extLst>
                      <a:ext uri="{FF2B5EF4-FFF2-40B4-BE49-F238E27FC236}">
                        <a16:creationId xmlns:a16="http://schemas.microsoft.com/office/drawing/2014/main" id="{27F78269-250C-43E4-B700-7E0B5BF7A85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92" name="Boog 191">
                  <a:extLst>
                    <a:ext uri="{FF2B5EF4-FFF2-40B4-BE49-F238E27FC236}">
                      <a16:creationId xmlns:a16="http://schemas.microsoft.com/office/drawing/2014/main" id="{75E668F1-0C05-4217-988B-50AF97A634D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88" name="Tekstvak 187">
                <a:extLst>
                  <a:ext uri="{FF2B5EF4-FFF2-40B4-BE49-F238E27FC236}">
                    <a16:creationId xmlns:a16="http://schemas.microsoft.com/office/drawing/2014/main" id="{30EB4B55-E56B-4583-AA82-FDC7719919DE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9" name="Tekstvak 188">
                <a:extLst>
                  <a:ext uri="{FF2B5EF4-FFF2-40B4-BE49-F238E27FC236}">
                    <a16:creationId xmlns:a16="http://schemas.microsoft.com/office/drawing/2014/main" id="{9ADD8F84-D59C-45C9-81B4-D6D15706F4F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0" name="Picture 3">
                <a:extLst>
                  <a:ext uri="{FF2B5EF4-FFF2-40B4-BE49-F238E27FC236}">
                    <a16:creationId xmlns:a16="http://schemas.microsoft.com/office/drawing/2014/main" id="{E53A0344-1CFE-470F-98BE-FF7AC14B512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80" name="Meer informatie">
              <a:extLst>
                <a:ext uri="{FF2B5EF4-FFF2-40B4-BE49-F238E27FC236}">
                  <a16:creationId xmlns:a16="http://schemas.microsoft.com/office/drawing/2014/main" id="{88D23574-171E-468F-BABD-5C1B3A8F73B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1" name="Freeform 101">
                <a:extLst>
                  <a:ext uri="{FF2B5EF4-FFF2-40B4-BE49-F238E27FC236}">
                    <a16:creationId xmlns:a16="http://schemas.microsoft.com/office/drawing/2014/main" id="{08DAF4CF-3A68-4123-B012-28C8481E3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6C1A78CE-E171-48F1-996E-87AFE5136D4E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3" name="Rechte verbindingslijn 182">
                <a:extLst>
                  <a:ext uri="{FF2B5EF4-FFF2-40B4-BE49-F238E27FC236}">
                    <a16:creationId xmlns:a16="http://schemas.microsoft.com/office/drawing/2014/main" id="{A053D5B9-E02C-49FE-8C1B-659A43A14E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41183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6" grpId="0" animBg="1"/>
      <p:bldP spid="12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animBg="1"/>
      <p:bldP spid="13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15957-692C-48D4-875C-7F1E2CC5B5AB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4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2" y="1179861"/>
            <a:ext cx="2720415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40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7" y="1179861"/>
            <a:ext cx="2720415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6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1" y="1179861"/>
            <a:ext cx="2720415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60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7" y="1179861"/>
            <a:ext cx="2720415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2023D4CD-0D2F-488F-8979-F801863C1E4B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E7E3A84-A1CB-4554-87B4-799657271A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2FDA28EB-165A-4F6B-A67F-4876D9A4091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DD239770-6FC9-4865-92D0-563B8BDAD9BC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85B0525-87C1-4F8E-9ACA-324252B82C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507CF792-CAD2-453E-ABC2-C4C9665DBC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D6BDF347-BE7D-4A98-9E6C-4FE7744C14A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4796338D-18A7-4BEF-9797-CCFCC3F140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54ABF31A-AAF4-4F88-923F-4CE50EA4225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E692BB84-0777-4E5C-A1B6-FA9D3794EFAB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BF9555C9-F52D-4C85-9223-328DDA3502F4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FAE68C26-8477-4846-A1C5-353C0D531B51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83EA00D4-333C-45A2-8B1D-21942EF9B103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FD9273D1-C47E-44D7-BEF9-5CE578B7BC1D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AA17CF37-CBFA-428F-B5B3-A00C3025EC2C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FF40D03D-2B54-40F7-B77F-EE568FD0C625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A648A5D0-BADF-4D49-B7A8-E053AE257244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32B3B0FA-D58C-4E59-A576-6A18E25AA24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E1F70F3D-91F1-4847-B1BB-E2E35068C201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D0F2971-CA6E-4546-A8CA-23C1563AD8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13C0F120-4455-4063-9DDE-D18589706281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0CC36644-F31B-4F69-B4F6-447BE223CE1A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F1E1984A-272F-41CE-8A4E-476CA1697415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6C7D05E3-3E63-402D-A979-769F955FA3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C12C77E7-0D22-48A0-9F34-B57DE3752C7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25014AF0-BCAA-4959-9EB0-4541AEA33CE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C1DC6569-CD9D-4FDF-9AE8-BC78EB50763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AD34B0E3-3E39-4C7D-B204-7351DBC49341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56CB8802-6F8A-406B-9834-B95BA04AED3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24AC5A4F-2FB6-4899-B3DD-0705E3C47A2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2E7491E0-FA1D-4963-A3DE-DD2610F442F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225E9DB3-142C-46E1-B605-028B61D63EDE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4EBD5C3C-B5E9-4050-AB08-3398239DE9C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1653F7D-CE37-4C55-818B-AADC8E7FE13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7603C3E1-332C-4897-8F0C-3DE9D8BDE18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B4632603-598A-4377-82AF-080FD589B5E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CCF4DC4-41E2-445C-8A55-87A5B25D746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4B6EB406-0F48-46D8-A741-DDAB8E6CFE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E93F871E-25FF-47EB-A6C9-D987E3F61C9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194C25A4-8037-4A71-8ED6-086DA8C58A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35D33EF9-CD43-4601-B574-6C8CDAD5DA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57630908-0B48-4C24-BB65-1B5EF84D7B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1CDE2840-C16A-4148-A926-1F57DB7D391C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DA8B9C17-1B7B-4234-BB48-2C25CC1B3C9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17B9E69D-8A4F-4714-95F0-3ED4DD40A7E6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C51B0559-355B-4BEB-B1AD-563175B8CD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CD612BB0-C25F-47D1-8D67-AAAAC4ACF570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8BE5F9EF-AB5A-4768-B474-A59DC55CD6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8D25D634-5D72-4B1F-B008-B0204AFC0EF0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6812577E-17E3-46B4-AF42-7E76F7B769A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51965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9CB8-8351-4F07-86D2-3D041D714B65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6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39" name="Tijdelijke aanduiding voor afbeelding 38"/>
          <p:cNvSpPr>
            <a:spLocks noGrp="1"/>
          </p:cNvSpPr>
          <p:nvPr>
            <p:ph type="pic" sz="quarter" idx="15" hasCustomPrompt="1"/>
          </p:nvPr>
        </p:nvSpPr>
        <p:spPr>
          <a:xfrm>
            <a:off x="366141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66141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17" hasCustomPrompt="1"/>
          </p:nvPr>
        </p:nvSpPr>
        <p:spPr>
          <a:xfrm>
            <a:off x="4254137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18" hasCustomPrompt="1"/>
          </p:nvPr>
        </p:nvSpPr>
        <p:spPr>
          <a:xfrm>
            <a:off x="4254137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afbeelding 42"/>
          <p:cNvSpPr>
            <a:spLocks noGrp="1"/>
          </p:cNvSpPr>
          <p:nvPr>
            <p:ph type="pic" sz="quarter" idx="19" hasCustomPrompt="1"/>
          </p:nvPr>
        </p:nvSpPr>
        <p:spPr>
          <a:xfrm>
            <a:off x="8142133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0" hasCustomPrompt="1"/>
          </p:nvPr>
        </p:nvSpPr>
        <p:spPr>
          <a:xfrm>
            <a:off x="8142133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61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4254683" y="2801261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8142679" y="2801261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6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4254683" y="5225146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8142679" y="5225146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1" name="Groep 100">
            <a:extLst>
              <a:ext uri="{FF2B5EF4-FFF2-40B4-BE49-F238E27FC236}">
                <a16:creationId xmlns:a16="http://schemas.microsoft.com/office/drawing/2014/main" id="{15857F41-B989-471B-967B-C6DA381108DD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2" name="Afbeelding 101">
              <a:extLst>
                <a:ext uri="{FF2B5EF4-FFF2-40B4-BE49-F238E27FC236}">
                  <a16:creationId xmlns:a16="http://schemas.microsoft.com/office/drawing/2014/main" id="{A870EF52-3EC8-43DF-9D29-95AE71288A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2E2E0576-B523-43B5-850A-13D35A708B8B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5E89C9B1-C154-41D7-A955-6E9C06FD58C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5" name="Rechte verbindingslijn 104">
              <a:extLst>
                <a:ext uri="{FF2B5EF4-FFF2-40B4-BE49-F238E27FC236}">
                  <a16:creationId xmlns:a16="http://schemas.microsoft.com/office/drawing/2014/main" id="{6C97EE4C-0822-4420-8727-59022FEC4E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6" name="Rechte verbindingslijn 105">
              <a:extLst>
                <a:ext uri="{FF2B5EF4-FFF2-40B4-BE49-F238E27FC236}">
                  <a16:creationId xmlns:a16="http://schemas.microsoft.com/office/drawing/2014/main" id="{C0192459-E41F-4415-82CA-286E7E35C6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D2303889-DCFD-4ABC-AE5F-92ABB46C0E7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07B0AC0E-6871-45AE-A4BC-06EC75E136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Ovaal 108">
              <a:extLst>
                <a:ext uri="{FF2B5EF4-FFF2-40B4-BE49-F238E27FC236}">
                  <a16:creationId xmlns:a16="http://schemas.microsoft.com/office/drawing/2014/main" id="{629AA207-9EA7-45B5-917F-5C9C87AADCB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A0A1ADFC-BD66-4D46-AEFF-6365412AC59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1" name="Groep 110">
              <a:extLst>
                <a:ext uri="{FF2B5EF4-FFF2-40B4-BE49-F238E27FC236}">
                  <a16:creationId xmlns:a16="http://schemas.microsoft.com/office/drawing/2014/main" id="{BE3704B8-19AE-44B2-84DD-311B6280B7D3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48" name="Rechthoek 147">
                <a:extLst>
                  <a:ext uri="{FF2B5EF4-FFF2-40B4-BE49-F238E27FC236}">
                    <a16:creationId xmlns:a16="http://schemas.microsoft.com/office/drawing/2014/main" id="{E1BDB5FF-A1FE-414D-9062-CF192274847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8488FD0-826A-4130-9516-7FC529D398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0" name="Gelijkbenige driehoek 149">
                <a:extLst>
                  <a:ext uri="{FF2B5EF4-FFF2-40B4-BE49-F238E27FC236}">
                    <a16:creationId xmlns:a16="http://schemas.microsoft.com/office/drawing/2014/main" id="{0D4BE829-8B24-4DF7-BA8F-A8C867CA17A3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2" name="Groep 111">
              <a:extLst>
                <a:ext uri="{FF2B5EF4-FFF2-40B4-BE49-F238E27FC236}">
                  <a16:creationId xmlns:a16="http://schemas.microsoft.com/office/drawing/2014/main" id="{C29314E0-C9E0-4313-A93A-B7E4177005E2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2" name="Rechthoek 141">
                <a:extLst>
                  <a:ext uri="{FF2B5EF4-FFF2-40B4-BE49-F238E27FC236}">
                    <a16:creationId xmlns:a16="http://schemas.microsoft.com/office/drawing/2014/main" id="{896E01D5-DB99-4855-B018-0F9C4C6B853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3" name="Ovaal 142">
                <a:extLst>
                  <a:ext uri="{FF2B5EF4-FFF2-40B4-BE49-F238E27FC236}">
                    <a16:creationId xmlns:a16="http://schemas.microsoft.com/office/drawing/2014/main" id="{0D0C7CB6-8AFF-4231-93BF-E8FD29F2CA8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Vrije vorm: vorm 143">
                <a:extLst>
                  <a:ext uri="{FF2B5EF4-FFF2-40B4-BE49-F238E27FC236}">
                    <a16:creationId xmlns:a16="http://schemas.microsoft.com/office/drawing/2014/main" id="{91B5AAC4-DC71-4CC0-9455-2F44543529C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Rechthoek: afgeronde hoeken 144">
                <a:extLst>
                  <a:ext uri="{FF2B5EF4-FFF2-40B4-BE49-F238E27FC236}">
                    <a16:creationId xmlns:a16="http://schemas.microsoft.com/office/drawing/2014/main" id="{DA99D02D-080C-4987-A7B0-6E0A31603C3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1B8D256D-35B8-437E-AE80-420F7A97D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0AD788BD-6370-40C7-98BE-1490E80764B0}"/>
                  </a:ext>
                </a:extLst>
              </p:cNvPr>
              <p:cNvCxnSpPr>
                <a:cxnSpLocks/>
                <a:stCxn id="14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3" name="Ovaal 112">
              <a:extLst>
                <a:ext uri="{FF2B5EF4-FFF2-40B4-BE49-F238E27FC236}">
                  <a16:creationId xmlns:a16="http://schemas.microsoft.com/office/drawing/2014/main" id="{A70FFDE7-131F-480B-B932-726F6C45D9E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3AEF02A3-F861-44DA-BCD2-6408602B821C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5" name="Rechte verbindingslijn 114">
              <a:extLst>
                <a:ext uri="{FF2B5EF4-FFF2-40B4-BE49-F238E27FC236}">
                  <a16:creationId xmlns:a16="http://schemas.microsoft.com/office/drawing/2014/main" id="{96958C1C-CE12-4038-8448-FED528AD3A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6" name="Groep 115">
              <a:extLst>
                <a:ext uri="{FF2B5EF4-FFF2-40B4-BE49-F238E27FC236}">
                  <a16:creationId xmlns:a16="http://schemas.microsoft.com/office/drawing/2014/main" id="{E4E65CC9-58CA-4653-A7C6-F7432D5B95B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92EC5354-9636-459E-B29B-5494B6E1790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0BB5AD8E-B811-46FF-80F7-B65C00C96CF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3" name="Groep 122">
                <a:extLst>
                  <a:ext uri="{FF2B5EF4-FFF2-40B4-BE49-F238E27FC236}">
                    <a16:creationId xmlns:a16="http://schemas.microsoft.com/office/drawing/2014/main" id="{B38A7F26-4817-4C66-A0A0-149754A3F8D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6" name="Rechthoek: afgeronde hoeken 135">
                  <a:extLst>
                    <a:ext uri="{FF2B5EF4-FFF2-40B4-BE49-F238E27FC236}">
                      <a16:creationId xmlns:a16="http://schemas.microsoft.com/office/drawing/2014/main" id="{3005B21F-6409-4021-8E8B-9157C010D658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Rechthoek 136">
                  <a:extLst>
                    <a:ext uri="{FF2B5EF4-FFF2-40B4-BE49-F238E27FC236}">
                      <a16:creationId xmlns:a16="http://schemas.microsoft.com/office/drawing/2014/main" id="{86FD35EB-EC9F-4A12-A22F-D9B0B154BF6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8" name="Rechthoek 137">
                  <a:extLst>
                    <a:ext uri="{FF2B5EF4-FFF2-40B4-BE49-F238E27FC236}">
                      <a16:creationId xmlns:a16="http://schemas.microsoft.com/office/drawing/2014/main" id="{E6ECADEC-469F-4154-9273-452BD1BF563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9" name="Rechthoek 138">
                  <a:extLst>
                    <a:ext uri="{FF2B5EF4-FFF2-40B4-BE49-F238E27FC236}">
                      <a16:creationId xmlns:a16="http://schemas.microsoft.com/office/drawing/2014/main" id="{C90A59F8-397D-45F9-9C76-429E13C15F80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0868208-453C-4C67-9E78-56C862F85586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91A8B57E-8213-4887-989E-1D4DE1B7612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B0AD3E93-0A7C-40A4-A6E8-A0364A62EFF4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28" name="Groep 127">
                  <a:extLst>
                    <a:ext uri="{FF2B5EF4-FFF2-40B4-BE49-F238E27FC236}">
                      <a16:creationId xmlns:a16="http://schemas.microsoft.com/office/drawing/2014/main" id="{ADCA2C49-FDA6-4B41-BE2C-7708EE3995D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0" name="Rechthoek: afgeronde hoeken 129">
                    <a:extLst>
                      <a:ext uri="{FF2B5EF4-FFF2-40B4-BE49-F238E27FC236}">
                        <a16:creationId xmlns:a16="http://schemas.microsoft.com/office/drawing/2014/main" id="{495951BC-862A-4DAC-B2D6-F5AF5E04521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1" name="Rechthoek 130">
                    <a:extLst>
                      <a:ext uri="{FF2B5EF4-FFF2-40B4-BE49-F238E27FC236}">
                        <a16:creationId xmlns:a16="http://schemas.microsoft.com/office/drawing/2014/main" id="{33063CC8-0B68-4342-93A6-F407CD7F6DD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2" name="Rechthoek 131">
                    <a:extLst>
                      <a:ext uri="{FF2B5EF4-FFF2-40B4-BE49-F238E27FC236}">
                        <a16:creationId xmlns:a16="http://schemas.microsoft.com/office/drawing/2014/main" id="{413F39D5-CBB6-41D2-80B5-227FDCA896B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3" name="Rechthoek 132">
                    <a:extLst>
                      <a:ext uri="{FF2B5EF4-FFF2-40B4-BE49-F238E27FC236}">
                        <a16:creationId xmlns:a16="http://schemas.microsoft.com/office/drawing/2014/main" id="{52C06138-D291-4537-839F-E889A542FED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5C7B60AB-964D-4E92-A693-EA6E2D400F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F8001413-F0CF-4478-9381-C80198A177B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29" name="Boog 128">
                  <a:extLst>
                    <a:ext uri="{FF2B5EF4-FFF2-40B4-BE49-F238E27FC236}">
                      <a16:creationId xmlns:a16="http://schemas.microsoft.com/office/drawing/2014/main" id="{09686D01-B21A-4CB1-A78F-2735510F753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5" name="Tekstvak 124">
                <a:extLst>
                  <a:ext uri="{FF2B5EF4-FFF2-40B4-BE49-F238E27FC236}">
                    <a16:creationId xmlns:a16="http://schemas.microsoft.com/office/drawing/2014/main" id="{F4719A93-C6D3-465E-94B5-6FEF96AF7FAA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6" name="Tekstvak 125">
                <a:extLst>
                  <a:ext uri="{FF2B5EF4-FFF2-40B4-BE49-F238E27FC236}">
                    <a16:creationId xmlns:a16="http://schemas.microsoft.com/office/drawing/2014/main" id="{01AB81AC-EE0F-4075-B94C-AE4151253E4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27" name="Picture 3">
                <a:extLst>
                  <a:ext uri="{FF2B5EF4-FFF2-40B4-BE49-F238E27FC236}">
                    <a16:creationId xmlns:a16="http://schemas.microsoft.com/office/drawing/2014/main" id="{93585FC1-63F9-4CDF-BACE-1F86B4B0B93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17" name="Meer informatie">
              <a:extLst>
                <a:ext uri="{FF2B5EF4-FFF2-40B4-BE49-F238E27FC236}">
                  <a16:creationId xmlns:a16="http://schemas.microsoft.com/office/drawing/2014/main" id="{939E70E3-F062-4D17-97CE-48B4AB252B89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FEE73CF0-8620-4616-AB61-B04780C99E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ECDDA453-0761-4B0C-96B4-0FEB1A676D7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221FF874-811D-4196-8E59-4C2EAA8C4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02721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E962A-4464-4B2D-845B-3611510397D8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8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2" y="1179862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6" name="Tijdelijke aanduiding voor afbeelding 25"/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366142" y="3603747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ijdelijke aanduiding voor verticale tekst 2"/>
          <p:cNvSpPr>
            <a:spLocks noGrp="1"/>
          </p:cNvSpPr>
          <p:nvPr userDrawn="1">
            <p:ph type="body" orient="vert" idx="1" hasCustomPrompt="1"/>
          </p:nvPr>
        </p:nvSpPr>
        <p:spPr>
          <a:xfrm>
            <a:off x="366140" y="2801261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40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7" y="1179862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25" hasCustomPrompt="1"/>
          </p:nvPr>
        </p:nvSpPr>
        <p:spPr>
          <a:xfrm>
            <a:off x="3279117" y="3603747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279249" y="2801261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6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1" y="1179862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29" hasCustomPrompt="1"/>
          </p:nvPr>
        </p:nvSpPr>
        <p:spPr>
          <a:xfrm>
            <a:off x="6191956" y="3603747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6192360" y="2801261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60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7" y="1179862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33" hasCustomPrompt="1"/>
          </p:nvPr>
        </p:nvSpPr>
        <p:spPr>
          <a:xfrm>
            <a:off x="9105067" y="3603747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9105469" y="2801261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D9128478-8C0D-4681-B5B9-EBEF56C19DA9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49F5619-1183-4ED5-A6D1-B3512F3091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7A37222-3472-4707-B094-4EDC4E970E85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E0ECCD0B-F29F-4131-9893-8D978BDD428F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F791C5A-2C46-4591-8482-FB360B876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1E869321-727C-46FB-8558-3584912934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2F4516D0-BFAD-475B-977C-970C6E52656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C5FE596F-F131-446E-A67D-D915FAC3DA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8D4CAF09-7A25-4757-8236-1057389EE7D1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12188EF3-1ACE-497B-9D56-9ACF5C0467C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221D81F7-AA11-48D4-91A2-A3E6EFDD963A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646BA45C-E145-4343-881C-50F803078D4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B923E6D8-2E1E-4334-869D-7E9104E391C6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3747406D-EE85-4C28-A452-D7C78E26907A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13089058-935D-4F18-B5FA-60814DDC3454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A1ECD4B1-4DC6-47B5-A60F-81822BC6E4D7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8CB59066-6A85-48EF-BBE8-9A47DF60D9E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7A79FD76-C2AD-477F-AA71-9D8FEE362D6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C290FE69-03E4-4B54-BC27-597F806251B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2B68BEF-DB8E-474B-AC3A-DDFC152213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D59A6737-199D-4894-A7FA-67FE34E597C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857BF560-F009-4803-A230-400133577AD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74C33C40-AAC1-40A5-87B3-59169BC12AE8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35F0EE3C-ED30-4557-AF99-6C6603C0A14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EA6D422-4E22-4388-8C43-E6D0B27AB7C9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436F710E-D9FA-43C4-BB34-A22941C6C2D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A4CBDCC3-2529-45BB-A607-196B1E4085D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3D7680E5-E6A4-4954-A295-8CAED7E6290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8121FB31-3D5A-4584-8B2E-CB66AF12A5BF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C70447AF-40E8-43C8-981D-1A83B575805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F41A3CB3-8303-4601-92EE-E1C231D2D4C5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6E4D7F9E-6E0B-4B26-9AF6-BB3EFEDCAC3A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DA0C2B62-2E17-463E-A626-8E0C2883B1E5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EEE200D-17F8-4C0E-BA59-9545467AC9A1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C7B48FB7-1F7A-4458-B518-00B36104FDCD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109EBBE0-0362-4633-BA7F-21622FA76839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A8943640-AEEC-41B6-85D2-7DB33FBBD92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ED6257F9-6B2B-4A27-A3B3-0E467291F4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936E2621-9381-433C-992B-FAF5EACD24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9D01458B-6373-4D52-97EA-E0C615BC33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939AC8AB-CC03-4E2A-B46B-A262F6CC501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86AB080-55B3-4A04-AD9C-720AB204EE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943A8A59-84FC-4444-81E9-859513D3659D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B133FE93-38C4-4C8C-8F59-59F8C99AE27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B8391F26-FF22-463B-A710-D104045CAC49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751A0F8F-57EC-4743-9879-66D27F274FF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0CC5BD32-B4AB-4B64-8B93-06EAC657593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63DF006-B3C4-4983-A590-95EB18EF1E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1C8B8442-8AB6-450D-92CC-97648BA06B4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24113A3B-9C9C-4D73-8B61-836646054A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97071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3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1" grpId="0" animBg="1"/>
      <p:bldP spid="4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animBg="1"/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49" grpId="0" animBg="1"/>
      <p:bldP spid="5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7B59BE-8FA0-49AE-86F6-5A8B7DCB6324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sp>
        <p:nvSpPr>
          <p:cNvPr id="32" name="Tijdelijke aanduiding voor afbeelding 31"/>
          <p:cNvSpPr>
            <a:spLocks noGrp="1"/>
          </p:cNvSpPr>
          <p:nvPr>
            <p:ph type="pic" sz="quarter" idx="15" hasCustomPrompt="1"/>
          </p:nvPr>
        </p:nvSpPr>
        <p:spPr>
          <a:xfrm>
            <a:off x="36614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6" hasCustomPrompt="1"/>
          </p:nvPr>
        </p:nvSpPr>
        <p:spPr>
          <a:xfrm>
            <a:off x="36614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41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41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" name="Tijdelijke aanduiding voor afbeelding 36"/>
          <p:cNvSpPr>
            <a:spLocks noGrp="1"/>
          </p:cNvSpPr>
          <p:nvPr>
            <p:ph type="pic" sz="quarter" idx="33" hasCustomPrompt="1"/>
          </p:nvPr>
        </p:nvSpPr>
        <p:spPr>
          <a:xfrm>
            <a:off x="2696491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8" name="Tijdelijke aanduiding voor afbeelding 37"/>
          <p:cNvSpPr>
            <a:spLocks noGrp="1"/>
          </p:cNvSpPr>
          <p:nvPr>
            <p:ph type="pic" sz="quarter" idx="34" hasCustomPrompt="1"/>
          </p:nvPr>
        </p:nvSpPr>
        <p:spPr>
          <a:xfrm>
            <a:off x="2696491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9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2696569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2696569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37" hasCustomPrompt="1"/>
          </p:nvPr>
        </p:nvSpPr>
        <p:spPr>
          <a:xfrm>
            <a:off x="5026844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38" hasCustomPrompt="1"/>
          </p:nvPr>
        </p:nvSpPr>
        <p:spPr>
          <a:xfrm>
            <a:off x="5026844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5027001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5027001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41" hasCustomPrompt="1"/>
          </p:nvPr>
        </p:nvSpPr>
        <p:spPr>
          <a:xfrm>
            <a:off x="7357194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7357194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7357429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44" hasCustomPrompt="1"/>
          </p:nvPr>
        </p:nvSpPr>
        <p:spPr>
          <a:xfrm>
            <a:off x="7357429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45" hasCustomPrompt="1"/>
          </p:nvPr>
        </p:nvSpPr>
        <p:spPr>
          <a:xfrm>
            <a:off x="9687545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afbeelding 49"/>
          <p:cNvSpPr>
            <a:spLocks noGrp="1"/>
          </p:cNvSpPr>
          <p:nvPr>
            <p:ph type="pic" sz="quarter" idx="46" hasCustomPrompt="1"/>
          </p:nvPr>
        </p:nvSpPr>
        <p:spPr>
          <a:xfrm>
            <a:off x="9687545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9687861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2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9687861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1E0C6CC2-19DB-46E6-AEF8-7FD357C4564C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E0123D1E-CA29-45C9-909C-72D1C418AF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E78FCE7-F175-463D-AF54-EEAE35A9CBC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F22C8D3A-1DB2-4CF6-808E-3A5B59CB6D83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E744F881-8F86-4191-86E7-7DE4509974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F90C3423-6582-4C90-A92E-488F9117FBA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C5D0843C-0B4E-4015-9234-05B811163D1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A1D54500-4514-4998-824D-049F03848E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6C2CC2C0-719E-4072-82E7-35A56782C6F0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C9594C5E-2B64-48A5-8121-92AC4EA39FA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464EACA4-5959-47E5-96B7-303F92E38F86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81877875-32CC-4E99-991A-0CA769630E7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28300FFA-FA98-4D5A-8977-26BADD105C19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EBA77F2A-1AF8-4939-ACD9-E4D18B9713E2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D8B77BB4-D2AA-4F6A-B206-BFBCD2C23FE5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70EEDAE-F5A7-41F6-9993-91D28F0A9F4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7F64BA8B-5B44-417C-A46C-48B84D41E4A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AB38CDB7-9B99-4F83-AF8C-717C8207B8C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F407228E-B000-40C6-9A57-BFA7232ACF0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66C21FE-E1E3-454F-9786-803C7EA6B31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46B388D4-1702-43AB-94E0-108087A9F61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F39DB916-DA01-440D-A48F-09E0C27FD917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81B109FE-9358-4AD3-8EBB-A25E18406404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7FD4005A-DB6D-42AC-B265-2DBA8CD940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7E46035-D16E-4B0E-9E2E-142B5973E377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B6D2D40A-87B8-462A-B9D3-49720EDA42A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561BF64D-F188-492E-B4EC-2578D4484120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86A829C4-CD2E-469C-A84B-25D97DDEF69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A15F658F-322A-4083-B9BE-EA17A45E044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3C759B2-3B6C-441B-B00D-E723B65CA67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EA5EEF62-02E8-4929-946D-BF49F9BDCECC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87624029-FBF2-47A2-A749-7AE88F3DEC89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72951251-0717-4CCC-A655-125D0E2B8B3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DD0328FA-BE13-4E58-859F-EE7190419DD0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E539A306-B6D3-4476-8058-BA718F09FF31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2AE25E84-F249-4A8F-962E-D975FA817EFA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E7BFC05-1DDB-4AC5-9E15-3FA64A4B25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C8D2042C-8CB2-4C1C-A187-8267231430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1740C2E7-8329-4051-A535-F5BB0A9B488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599C96F6-E316-48EA-8380-07450BD89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16004FEF-9B06-44B9-B46D-2AD360DD11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6196B6E-D6C9-40C8-94DE-A13899365F1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D36886EC-DA84-48DF-AC07-6E1041BC6146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0B5BF3EF-56BE-4AB9-988E-7ADB2A1667E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0C8060E8-1B60-42CE-9B7C-B38C0E1984DB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64D0B05B-0308-4D30-A750-D85378FF929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642A6EA6-024D-4406-A2B2-956A41AB2BE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41163F3-DDE7-4A3F-B6F9-C686C32AC4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469615A6-F34D-4428-B408-2E485E2CAE6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1E58E517-1682-403D-9CF1-CC229544DD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7909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animBg="1"/>
      <p:bldP spid="38" grpId="0" animBg="1"/>
      <p:bldP spid="3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/>
      <p:bldP spid="46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ele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FFE13-101D-446B-8D1D-6FE45D8C38A8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99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6648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366975" y="2788898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36697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1"/>
          <p:cNvSpPr>
            <a:spLocks noGrp="1"/>
          </p:cNvSpPr>
          <p:nvPr>
            <p:ph type="pic" sz="quarter" idx="18" hasCustomPrompt="1"/>
          </p:nvPr>
        </p:nvSpPr>
        <p:spPr>
          <a:xfrm>
            <a:off x="36697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53297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5" name="Tijdelijke aanduiding voor afbeelding 31"/>
          <p:cNvSpPr>
            <a:spLocks noGrp="1"/>
          </p:cNvSpPr>
          <p:nvPr>
            <p:ph type="pic" sz="quarter" idx="20" hasCustomPrompt="1"/>
          </p:nvPr>
        </p:nvSpPr>
        <p:spPr>
          <a:xfrm>
            <a:off x="153297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69897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1"/>
          <p:cNvSpPr>
            <a:spLocks noGrp="1"/>
          </p:cNvSpPr>
          <p:nvPr>
            <p:ph type="pic" sz="quarter" idx="22" hasCustomPrompt="1"/>
          </p:nvPr>
        </p:nvSpPr>
        <p:spPr>
          <a:xfrm>
            <a:off x="269897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6496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9" name="Tijdelijke aanduiding voor afbeelding 31"/>
          <p:cNvSpPr>
            <a:spLocks noGrp="1"/>
          </p:cNvSpPr>
          <p:nvPr>
            <p:ph type="pic" sz="quarter" idx="24" hasCustomPrompt="1"/>
          </p:nvPr>
        </p:nvSpPr>
        <p:spPr>
          <a:xfrm>
            <a:off x="386496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0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5030967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1" name="Tijdelijke aanduiding voor afbeelding 31"/>
          <p:cNvSpPr>
            <a:spLocks noGrp="1"/>
          </p:cNvSpPr>
          <p:nvPr>
            <p:ph type="pic" sz="quarter" idx="26" hasCustomPrompt="1"/>
          </p:nvPr>
        </p:nvSpPr>
        <p:spPr>
          <a:xfrm>
            <a:off x="5030967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619696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1"/>
          <p:cNvSpPr>
            <a:spLocks noGrp="1"/>
          </p:cNvSpPr>
          <p:nvPr>
            <p:ph type="pic" sz="quarter" idx="28" hasCustomPrompt="1"/>
          </p:nvPr>
        </p:nvSpPr>
        <p:spPr>
          <a:xfrm>
            <a:off x="619696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736296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5" name="Tijdelijke aanduiding voor afbeelding 31"/>
          <p:cNvSpPr>
            <a:spLocks noGrp="1"/>
          </p:cNvSpPr>
          <p:nvPr>
            <p:ph type="pic" sz="quarter" idx="30" hasCustomPrompt="1"/>
          </p:nvPr>
        </p:nvSpPr>
        <p:spPr>
          <a:xfrm>
            <a:off x="736296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6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969495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7" name="Tijdelijke aanduiding voor afbeelding 31"/>
          <p:cNvSpPr>
            <a:spLocks noGrp="1"/>
          </p:cNvSpPr>
          <p:nvPr>
            <p:ph type="pic" sz="quarter" idx="32" hasCustomPrompt="1"/>
          </p:nvPr>
        </p:nvSpPr>
        <p:spPr>
          <a:xfrm>
            <a:off x="969495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852896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1"/>
          <p:cNvSpPr>
            <a:spLocks noGrp="1"/>
          </p:cNvSpPr>
          <p:nvPr>
            <p:ph type="pic" sz="quarter" idx="34" hasCustomPrompt="1"/>
          </p:nvPr>
        </p:nvSpPr>
        <p:spPr>
          <a:xfrm>
            <a:off x="852896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1086095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1" name="Tijdelijke aanduiding voor afbeelding 31"/>
          <p:cNvSpPr>
            <a:spLocks noGrp="1"/>
          </p:cNvSpPr>
          <p:nvPr>
            <p:ph type="pic" sz="quarter" idx="36" hasCustomPrompt="1"/>
          </p:nvPr>
        </p:nvSpPr>
        <p:spPr>
          <a:xfrm>
            <a:off x="1086095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53297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3" name="Tijdelijke aanduiding voor afbeelding 31"/>
          <p:cNvSpPr>
            <a:spLocks noGrp="1"/>
          </p:cNvSpPr>
          <p:nvPr>
            <p:ph type="pic" sz="quarter" idx="38" hasCustomPrompt="1"/>
          </p:nvPr>
        </p:nvSpPr>
        <p:spPr>
          <a:xfrm>
            <a:off x="153297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269897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5" name="Tijdelijke aanduiding voor afbeelding 31"/>
          <p:cNvSpPr>
            <a:spLocks noGrp="1"/>
          </p:cNvSpPr>
          <p:nvPr>
            <p:ph type="pic" sz="quarter" idx="40" hasCustomPrompt="1"/>
          </p:nvPr>
        </p:nvSpPr>
        <p:spPr>
          <a:xfrm>
            <a:off x="269897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41" hasCustomPrompt="1"/>
          </p:nvPr>
        </p:nvSpPr>
        <p:spPr>
          <a:xfrm>
            <a:off x="386496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7" name="Tijdelijke aanduiding voor afbeelding 31"/>
          <p:cNvSpPr>
            <a:spLocks noGrp="1"/>
          </p:cNvSpPr>
          <p:nvPr>
            <p:ph type="pic" sz="quarter" idx="42" hasCustomPrompt="1"/>
          </p:nvPr>
        </p:nvSpPr>
        <p:spPr>
          <a:xfrm>
            <a:off x="386496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8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030967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9" name="Tijdelijke aanduiding voor afbeelding 31"/>
          <p:cNvSpPr>
            <a:spLocks noGrp="1"/>
          </p:cNvSpPr>
          <p:nvPr>
            <p:ph type="pic" sz="quarter" idx="44" hasCustomPrompt="1"/>
          </p:nvPr>
        </p:nvSpPr>
        <p:spPr>
          <a:xfrm>
            <a:off x="5030967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0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6196965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1" name="Tijdelijke aanduiding voor afbeelding 31"/>
          <p:cNvSpPr>
            <a:spLocks noGrp="1"/>
          </p:cNvSpPr>
          <p:nvPr>
            <p:ph type="pic" sz="quarter" idx="46" hasCustomPrompt="1"/>
          </p:nvPr>
        </p:nvSpPr>
        <p:spPr>
          <a:xfrm>
            <a:off x="6196965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2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736296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3" name="Tijdelijke aanduiding voor afbeelding 31"/>
          <p:cNvSpPr>
            <a:spLocks noGrp="1"/>
          </p:cNvSpPr>
          <p:nvPr>
            <p:ph type="pic" sz="quarter" idx="48" hasCustomPrompt="1"/>
          </p:nvPr>
        </p:nvSpPr>
        <p:spPr>
          <a:xfrm>
            <a:off x="736296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4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69495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5" name="Tijdelijke aanduiding voor afbeelding 31"/>
          <p:cNvSpPr>
            <a:spLocks noGrp="1"/>
          </p:cNvSpPr>
          <p:nvPr>
            <p:ph type="pic" sz="quarter" idx="50" hasCustomPrompt="1"/>
          </p:nvPr>
        </p:nvSpPr>
        <p:spPr>
          <a:xfrm>
            <a:off x="969495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6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852896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7" name="Tijdelijke aanduiding voor afbeelding 31"/>
          <p:cNvSpPr>
            <a:spLocks noGrp="1"/>
          </p:cNvSpPr>
          <p:nvPr>
            <p:ph type="pic" sz="quarter" idx="52" hasCustomPrompt="1"/>
          </p:nvPr>
        </p:nvSpPr>
        <p:spPr>
          <a:xfrm>
            <a:off x="852896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8" name="Tijdelijke aanduiding voor verticale tekst 2"/>
          <p:cNvSpPr>
            <a:spLocks noGrp="1"/>
          </p:cNvSpPr>
          <p:nvPr>
            <p:ph type="body" orient="vert" idx="53" hasCustomPrompt="1"/>
          </p:nvPr>
        </p:nvSpPr>
        <p:spPr>
          <a:xfrm>
            <a:off x="1086095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9" name="Tijdelijke aanduiding voor afbeelding 31"/>
          <p:cNvSpPr>
            <a:spLocks noGrp="1"/>
          </p:cNvSpPr>
          <p:nvPr>
            <p:ph type="pic" sz="quarter" idx="54" hasCustomPrompt="1"/>
          </p:nvPr>
        </p:nvSpPr>
        <p:spPr>
          <a:xfrm>
            <a:off x="1086095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7" name="Tijdelijke aanduiding voor verticale tekst 2"/>
          <p:cNvSpPr>
            <a:spLocks noGrp="1"/>
          </p:cNvSpPr>
          <p:nvPr>
            <p:ph type="body" orient="vert" idx="55" hasCustomPrompt="1"/>
          </p:nvPr>
        </p:nvSpPr>
        <p:spPr>
          <a:xfrm>
            <a:off x="153297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68" name="Tijdelijke aanduiding voor afbeelding 31"/>
          <p:cNvSpPr>
            <a:spLocks noGrp="1"/>
          </p:cNvSpPr>
          <p:nvPr>
            <p:ph type="pic" sz="quarter" idx="56" hasCustomPrompt="1"/>
          </p:nvPr>
        </p:nvSpPr>
        <p:spPr>
          <a:xfrm>
            <a:off x="153297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9" name="Tijdelijke aanduiding voor verticale tekst 2"/>
          <p:cNvSpPr>
            <a:spLocks noGrp="1"/>
          </p:cNvSpPr>
          <p:nvPr>
            <p:ph type="body" orient="vert" idx="57" hasCustomPrompt="1"/>
          </p:nvPr>
        </p:nvSpPr>
        <p:spPr>
          <a:xfrm>
            <a:off x="386496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0" name="Tijdelijke aanduiding voor afbeelding 31"/>
          <p:cNvSpPr>
            <a:spLocks noGrp="1"/>
          </p:cNvSpPr>
          <p:nvPr>
            <p:ph type="pic" sz="quarter" idx="58" hasCustomPrompt="1"/>
          </p:nvPr>
        </p:nvSpPr>
        <p:spPr>
          <a:xfrm>
            <a:off x="386496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1" name="Tijdelijke aanduiding voor verticale tekst 2"/>
          <p:cNvSpPr>
            <a:spLocks noGrp="1"/>
          </p:cNvSpPr>
          <p:nvPr>
            <p:ph type="body" orient="vert" idx="59" hasCustomPrompt="1"/>
          </p:nvPr>
        </p:nvSpPr>
        <p:spPr>
          <a:xfrm>
            <a:off x="5030967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2" name="Tijdelijke aanduiding voor afbeelding 31"/>
          <p:cNvSpPr>
            <a:spLocks noGrp="1"/>
          </p:cNvSpPr>
          <p:nvPr>
            <p:ph type="pic" sz="quarter" idx="60" hasCustomPrompt="1"/>
          </p:nvPr>
        </p:nvSpPr>
        <p:spPr>
          <a:xfrm>
            <a:off x="5030967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3" name="Tijdelijke aanduiding voor verticale tekst 2"/>
          <p:cNvSpPr>
            <a:spLocks noGrp="1"/>
          </p:cNvSpPr>
          <p:nvPr>
            <p:ph type="body" orient="vert" idx="61" hasCustomPrompt="1"/>
          </p:nvPr>
        </p:nvSpPr>
        <p:spPr>
          <a:xfrm>
            <a:off x="6196965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4" name="Tijdelijke aanduiding voor afbeelding 31"/>
          <p:cNvSpPr>
            <a:spLocks noGrp="1"/>
          </p:cNvSpPr>
          <p:nvPr>
            <p:ph type="pic" sz="quarter" idx="62" hasCustomPrompt="1"/>
          </p:nvPr>
        </p:nvSpPr>
        <p:spPr>
          <a:xfrm>
            <a:off x="6196965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5" name="Tijdelijke aanduiding voor verticale tekst 2"/>
          <p:cNvSpPr>
            <a:spLocks noGrp="1"/>
          </p:cNvSpPr>
          <p:nvPr>
            <p:ph type="body" orient="vert" idx="63" hasCustomPrompt="1"/>
          </p:nvPr>
        </p:nvSpPr>
        <p:spPr>
          <a:xfrm>
            <a:off x="736296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6" name="Tijdelijke aanduiding voor afbeelding 31"/>
          <p:cNvSpPr>
            <a:spLocks noGrp="1"/>
          </p:cNvSpPr>
          <p:nvPr>
            <p:ph type="pic" sz="quarter" idx="64" hasCustomPrompt="1"/>
          </p:nvPr>
        </p:nvSpPr>
        <p:spPr>
          <a:xfrm>
            <a:off x="736296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7" name="Tijdelijke aanduiding voor verticale tekst 2"/>
          <p:cNvSpPr>
            <a:spLocks noGrp="1"/>
          </p:cNvSpPr>
          <p:nvPr>
            <p:ph type="body" orient="vert" idx="65" hasCustomPrompt="1"/>
          </p:nvPr>
        </p:nvSpPr>
        <p:spPr>
          <a:xfrm>
            <a:off x="969495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8" name="Tijdelijke aanduiding voor afbeelding 31"/>
          <p:cNvSpPr>
            <a:spLocks noGrp="1"/>
          </p:cNvSpPr>
          <p:nvPr>
            <p:ph type="pic" sz="quarter" idx="66" hasCustomPrompt="1"/>
          </p:nvPr>
        </p:nvSpPr>
        <p:spPr>
          <a:xfrm>
            <a:off x="969495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9" name="Tijdelijke aanduiding voor verticale tekst 2"/>
          <p:cNvSpPr>
            <a:spLocks noGrp="1"/>
          </p:cNvSpPr>
          <p:nvPr>
            <p:ph type="body" orient="vert" idx="67" hasCustomPrompt="1"/>
          </p:nvPr>
        </p:nvSpPr>
        <p:spPr>
          <a:xfrm>
            <a:off x="8528961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0" name="Tijdelijke aanduiding voor afbeelding 31"/>
          <p:cNvSpPr>
            <a:spLocks noGrp="1"/>
          </p:cNvSpPr>
          <p:nvPr>
            <p:ph type="pic" sz="quarter" idx="68" hasCustomPrompt="1"/>
          </p:nvPr>
        </p:nvSpPr>
        <p:spPr>
          <a:xfrm>
            <a:off x="8528961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81" name="Tijdelijke aanduiding voor verticale tekst 2"/>
          <p:cNvSpPr>
            <a:spLocks noGrp="1"/>
          </p:cNvSpPr>
          <p:nvPr>
            <p:ph type="body" orient="vert" idx="69" hasCustomPrompt="1"/>
          </p:nvPr>
        </p:nvSpPr>
        <p:spPr>
          <a:xfrm>
            <a:off x="1086095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2" name="Tijdelijke aanduiding voor afbeelding 31"/>
          <p:cNvSpPr>
            <a:spLocks noGrp="1"/>
          </p:cNvSpPr>
          <p:nvPr>
            <p:ph type="pic" sz="quarter" idx="70" hasCustomPrompt="1"/>
          </p:nvPr>
        </p:nvSpPr>
        <p:spPr>
          <a:xfrm>
            <a:off x="1086095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grpSp>
        <p:nvGrpSpPr>
          <p:cNvPr id="183" name="Groep 182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 en klik op de kn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Bijsnijd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nl-NL" sz="1000" b="1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7355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7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9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0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1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5" grpId="0" animBg="1"/>
      <p:bldP spid="1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/>
      <p:bldP spid="12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1" grpId="0" animBg="1"/>
      <p:bldP spid="12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3" grpId="0" animBg="1"/>
      <p:bldP spid="12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/>
      <p:bldP spid="12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7" grpId="0" animBg="1"/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/>
      <p:bldP spid="13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3" grpId="0" animBg="1"/>
      <p:bldP spid="1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animBg="1"/>
      <p:bldP spid="13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7" grpId="0" animBg="1"/>
      <p:bldP spid="13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9" grpId="0" animBg="1"/>
      <p:bldP spid="1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1" grpId="0" animBg="1"/>
      <p:bldP spid="14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3" grpId="0" animBg="1"/>
      <p:bldP spid="1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animBg="1"/>
      <p:bldP spid="14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7" grpId="0" animBg="1"/>
      <p:bldP spid="1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9" grpId="0" animBg="1"/>
      <p:bldP spid="1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8" grpId="0" animBg="1"/>
      <p:bldP spid="1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0" grpId="0" animBg="1"/>
      <p:bldP spid="1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2" grpId="0" animBg="1"/>
      <p:bldP spid="1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4" grpId="0" animBg="1"/>
      <p:bldP spid="1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6" grpId="0" animBg="1"/>
      <p:bldP spid="1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8" grpId="0" animBg="1"/>
      <p:bldP spid="1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0" grpId="0" animBg="1"/>
      <p:bldP spid="1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2" grpId="0" animBg="1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rectiele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BDB68-A24E-4A0C-B907-BB9ACC3908CF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83" name="Groep 182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 en klik op de kn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Bijsnijd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nl-NL" sz="1000" b="1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2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351" name="Tijdelijke aanduiding voor verticale tekst 2">
            <a:extLst>
              <a:ext uri="{FF2B5EF4-FFF2-40B4-BE49-F238E27FC236}">
                <a16:creationId xmlns:a16="http://schemas.microsoft.com/office/drawing/2014/main" id="{14293AD2-5837-4071-844A-CF9B4C8E7AF4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5627394" y="1273157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2" name="Tijdelijke aanduiding voor afbeelding 31">
            <a:extLst>
              <a:ext uri="{FF2B5EF4-FFF2-40B4-BE49-F238E27FC236}">
                <a16:creationId xmlns:a16="http://schemas.microsoft.com/office/drawing/2014/main" id="{31C292F8-365A-42F0-A852-406D5067D3A0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5627394" y="1275303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3" name="Tijdelijke aanduiding voor verticale tekst 2">
            <a:extLst>
              <a:ext uri="{FF2B5EF4-FFF2-40B4-BE49-F238E27FC236}">
                <a16:creationId xmlns:a16="http://schemas.microsoft.com/office/drawing/2014/main" id="{3546D6F5-C676-40A9-869B-8EFFA5AA167D}"/>
              </a:ext>
            </a:extLst>
          </p:cNvPr>
          <p:cNvSpPr>
            <a:spLocks noGrp="1"/>
          </p:cNvSpPr>
          <p:nvPr>
            <p:ph type="body" orient="vert" idx="61" hasCustomPrompt="1"/>
          </p:nvPr>
        </p:nvSpPr>
        <p:spPr>
          <a:xfrm>
            <a:off x="3300941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4" name="Tijdelijke aanduiding voor afbeelding 31">
            <a:extLst>
              <a:ext uri="{FF2B5EF4-FFF2-40B4-BE49-F238E27FC236}">
                <a16:creationId xmlns:a16="http://schemas.microsoft.com/office/drawing/2014/main" id="{19A7FBEA-B915-4628-84CB-AAE0E645B7B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300941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5" name="Tijdelijke aanduiding voor verticale tekst 2">
            <a:extLst>
              <a:ext uri="{FF2B5EF4-FFF2-40B4-BE49-F238E27FC236}">
                <a16:creationId xmlns:a16="http://schemas.microsoft.com/office/drawing/2014/main" id="{C013B144-0A0D-497E-9CB4-D7698C524BA4}"/>
              </a:ext>
            </a:extLst>
          </p:cNvPr>
          <p:cNvSpPr>
            <a:spLocks noGrp="1"/>
          </p:cNvSpPr>
          <p:nvPr>
            <p:ph type="body" orient="vert" idx="63" hasCustomPrompt="1"/>
          </p:nvPr>
        </p:nvSpPr>
        <p:spPr>
          <a:xfrm>
            <a:off x="4466114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6" name="Tijdelijke aanduiding voor afbeelding 31">
            <a:extLst>
              <a:ext uri="{FF2B5EF4-FFF2-40B4-BE49-F238E27FC236}">
                <a16:creationId xmlns:a16="http://schemas.microsoft.com/office/drawing/2014/main" id="{6507DC2E-D07A-43FD-A01D-E8C2C5DB65E1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466114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7" name="Tijdelijke aanduiding voor verticale tekst 2">
            <a:extLst>
              <a:ext uri="{FF2B5EF4-FFF2-40B4-BE49-F238E27FC236}">
                <a16:creationId xmlns:a16="http://schemas.microsoft.com/office/drawing/2014/main" id="{83EC8DC8-0A58-457F-A794-EF5F437A5D57}"/>
              </a:ext>
            </a:extLst>
          </p:cNvPr>
          <p:cNvSpPr>
            <a:spLocks noGrp="1"/>
          </p:cNvSpPr>
          <p:nvPr>
            <p:ph type="body" orient="vert" idx="65" hasCustomPrompt="1"/>
          </p:nvPr>
        </p:nvSpPr>
        <p:spPr>
          <a:xfrm>
            <a:off x="5627028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8" name="Tijdelijke aanduiding voor afbeelding 31">
            <a:extLst>
              <a:ext uri="{FF2B5EF4-FFF2-40B4-BE49-F238E27FC236}">
                <a16:creationId xmlns:a16="http://schemas.microsoft.com/office/drawing/2014/main" id="{DC89F17D-F4CD-4E8D-A88A-98CD7D88CBD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5627028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9" name="Tijdelijke aanduiding voor verticale tekst 2">
            <a:extLst>
              <a:ext uri="{FF2B5EF4-FFF2-40B4-BE49-F238E27FC236}">
                <a16:creationId xmlns:a16="http://schemas.microsoft.com/office/drawing/2014/main" id="{B09EFA52-2194-4D04-AFD3-0EE8B5EFFCCD}"/>
              </a:ext>
            </a:extLst>
          </p:cNvPr>
          <p:cNvSpPr>
            <a:spLocks noGrp="1"/>
          </p:cNvSpPr>
          <p:nvPr>
            <p:ph type="body" orient="vert" idx="67" hasCustomPrompt="1"/>
          </p:nvPr>
        </p:nvSpPr>
        <p:spPr>
          <a:xfrm>
            <a:off x="6760803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0" name="Tijdelijke aanduiding voor afbeelding 31">
            <a:extLst>
              <a:ext uri="{FF2B5EF4-FFF2-40B4-BE49-F238E27FC236}">
                <a16:creationId xmlns:a16="http://schemas.microsoft.com/office/drawing/2014/main" id="{A24E315D-EA10-4DEF-95BB-C8CE4FFB11A4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6760803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1" name="Tijdelijke aanduiding voor verticale tekst 2">
            <a:extLst>
              <a:ext uri="{FF2B5EF4-FFF2-40B4-BE49-F238E27FC236}">
                <a16:creationId xmlns:a16="http://schemas.microsoft.com/office/drawing/2014/main" id="{8C45A7BE-A6A5-46D1-836D-6BAE04F801EE}"/>
              </a:ext>
            </a:extLst>
          </p:cNvPr>
          <p:cNvSpPr>
            <a:spLocks noGrp="1"/>
          </p:cNvSpPr>
          <p:nvPr>
            <p:ph type="body" orient="vert" idx="69" hasCustomPrompt="1"/>
          </p:nvPr>
        </p:nvSpPr>
        <p:spPr>
          <a:xfrm>
            <a:off x="7919786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2" name="Tijdelijke aanduiding voor afbeelding 31">
            <a:extLst>
              <a:ext uri="{FF2B5EF4-FFF2-40B4-BE49-F238E27FC236}">
                <a16:creationId xmlns:a16="http://schemas.microsoft.com/office/drawing/2014/main" id="{70A28BCC-A31D-4DF1-B9E3-C2C142D837B7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7919786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3" name="Tijdelijke aanduiding voor verticale tekst 2">
            <a:extLst>
              <a:ext uri="{FF2B5EF4-FFF2-40B4-BE49-F238E27FC236}">
                <a16:creationId xmlns:a16="http://schemas.microsoft.com/office/drawing/2014/main" id="{A0474310-937A-48E0-8BA1-9B4140C7BB4F}"/>
              </a:ext>
            </a:extLst>
          </p:cNvPr>
          <p:cNvSpPr>
            <a:spLocks noGrp="1"/>
          </p:cNvSpPr>
          <p:nvPr>
            <p:ph type="body" orient="vert" idx="71" hasCustomPrompt="1"/>
          </p:nvPr>
        </p:nvSpPr>
        <p:spPr>
          <a:xfrm>
            <a:off x="18685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4" name="Tijdelijke aanduiding voor afbeelding 31">
            <a:extLst>
              <a:ext uri="{FF2B5EF4-FFF2-40B4-BE49-F238E27FC236}">
                <a16:creationId xmlns:a16="http://schemas.microsoft.com/office/drawing/2014/main" id="{3CBF5ECA-BEE2-473A-8E52-D03352A5EDDF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18685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5" name="Tijdelijke aanduiding voor verticale tekst 2">
            <a:extLst>
              <a:ext uri="{FF2B5EF4-FFF2-40B4-BE49-F238E27FC236}">
                <a16:creationId xmlns:a16="http://schemas.microsoft.com/office/drawing/2014/main" id="{E5DD920C-0DD7-43B5-80F2-1553606E5496}"/>
              </a:ext>
            </a:extLst>
          </p:cNvPr>
          <p:cNvSpPr>
            <a:spLocks noGrp="1"/>
          </p:cNvSpPr>
          <p:nvPr>
            <p:ph type="body" orient="vert" idx="73" hasCustomPrompt="1"/>
          </p:nvPr>
        </p:nvSpPr>
        <p:spPr>
          <a:xfrm>
            <a:off x="119629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6" name="Tijdelijke aanduiding voor afbeelding 31">
            <a:extLst>
              <a:ext uri="{FF2B5EF4-FFF2-40B4-BE49-F238E27FC236}">
                <a16:creationId xmlns:a16="http://schemas.microsoft.com/office/drawing/2014/main" id="{41CE60B6-643B-4FA5-AFD6-F71184104FEB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119629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7" name="Tijdelijke aanduiding voor verticale tekst 2">
            <a:extLst>
              <a:ext uri="{FF2B5EF4-FFF2-40B4-BE49-F238E27FC236}">
                <a16:creationId xmlns:a16="http://schemas.microsoft.com/office/drawing/2014/main" id="{0E055054-668D-45F3-AC9E-E98016952F7F}"/>
              </a:ext>
            </a:extLst>
          </p:cNvPr>
          <p:cNvSpPr>
            <a:spLocks noGrp="1"/>
          </p:cNvSpPr>
          <p:nvPr>
            <p:ph type="body" orient="vert" idx="75" hasCustomPrompt="1"/>
          </p:nvPr>
        </p:nvSpPr>
        <p:spPr>
          <a:xfrm>
            <a:off x="217840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8" name="Tijdelijke aanduiding voor afbeelding 31">
            <a:extLst>
              <a:ext uri="{FF2B5EF4-FFF2-40B4-BE49-F238E27FC236}">
                <a16:creationId xmlns:a16="http://schemas.microsoft.com/office/drawing/2014/main" id="{61EF5895-2F2F-41FA-BD25-A9ACEE183E07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217840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9" name="Tijdelijke aanduiding voor verticale tekst 2">
            <a:extLst>
              <a:ext uri="{FF2B5EF4-FFF2-40B4-BE49-F238E27FC236}">
                <a16:creationId xmlns:a16="http://schemas.microsoft.com/office/drawing/2014/main" id="{1C5CEB20-7748-4A99-9912-BBFD8F504873}"/>
              </a:ext>
            </a:extLst>
          </p:cNvPr>
          <p:cNvSpPr>
            <a:spLocks noGrp="1"/>
          </p:cNvSpPr>
          <p:nvPr>
            <p:ph type="body" orient="vert" idx="77" hasCustomPrompt="1"/>
          </p:nvPr>
        </p:nvSpPr>
        <p:spPr>
          <a:xfrm>
            <a:off x="3169925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0" name="Tijdelijke aanduiding voor afbeelding 31">
            <a:extLst>
              <a:ext uri="{FF2B5EF4-FFF2-40B4-BE49-F238E27FC236}">
                <a16:creationId xmlns:a16="http://schemas.microsoft.com/office/drawing/2014/main" id="{8F724066-6267-4012-A0AE-9AFF34BFAEF3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169925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1" name="Tijdelijke aanduiding voor verticale tekst 2">
            <a:extLst>
              <a:ext uri="{FF2B5EF4-FFF2-40B4-BE49-F238E27FC236}">
                <a16:creationId xmlns:a16="http://schemas.microsoft.com/office/drawing/2014/main" id="{5549D103-FD4C-40BD-9381-7A2A04ACE976}"/>
              </a:ext>
            </a:extLst>
          </p:cNvPr>
          <p:cNvSpPr>
            <a:spLocks noGrp="1"/>
          </p:cNvSpPr>
          <p:nvPr>
            <p:ph type="body" orient="vert" idx="79" hasCustomPrompt="1"/>
          </p:nvPr>
        </p:nvSpPr>
        <p:spPr>
          <a:xfrm>
            <a:off x="417561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2" name="Tijdelijke aanduiding voor afbeelding 31">
            <a:extLst>
              <a:ext uri="{FF2B5EF4-FFF2-40B4-BE49-F238E27FC236}">
                <a16:creationId xmlns:a16="http://schemas.microsoft.com/office/drawing/2014/main" id="{77371A9C-44E1-4AF9-AEF3-D57D35EC1BDB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417561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3" name="Tijdelijke aanduiding voor verticale tekst 2">
            <a:extLst>
              <a:ext uri="{FF2B5EF4-FFF2-40B4-BE49-F238E27FC236}">
                <a16:creationId xmlns:a16="http://schemas.microsoft.com/office/drawing/2014/main" id="{714A5014-6E42-4ED5-8E6B-6B8B1A3EDEC8}"/>
              </a:ext>
            </a:extLst>
          </p:cNvPr>
          <p:cNvSpPr>
            <a:spLocks noGrp="1"/>
          </p:cNvSpPr>
          <p:nvPr>
            <p:ph type="body" orient="vert" idx="81" hasCustomPrompt="1"/>
          </p:nvPr>
        </p:nvSpPr>
        <p:spPr>
          <a:xfrm>
            <a:off x="517047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4" name="Tijdelijke aanduiding voor afbeelding 31">
            <a:extLst>
              <a:ext uri="{FF2B5EF4-FFF2-40B4-BE49-F238E27FC236}">
                <a16:creationId xmlns:a16="http://schemas.microsoft.com/office/drawing/2014/main" id="{5B04C9C5-8DDC-42DA-A688-232C243D2E1F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17047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5" name="Tijdelijke aanduiding voor verticale tekst 2">
            <a:extLst>
              <a:ext uri="{FF2B5EF4-FFF2-40B4-BE49-F238E27FC236}">
                <a16:creationId xmlns:a16="http://schemas.microsoft.com/office/drawing/2014/main" id="{B8514DCC-110B-47C6-B106-1D96A43C6875}"/>
              </a:ext>
            </a:extLst>
          </p:cNvPr>
          <p:cNvSpPr>
            <a:spLocks noGrp="1"/>
          </p:cNvSpPr>
          <p:nvPr>
            <p:ph type="body" orient="vert" idx="83" hasCustomPrompt="1"/>
          </p:nvPr>
        </p:nvSpPr>
        <p:spPr>
          <a:xfrm>
            <a:off x="618874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6" name="Tijdelijke aanduiding voor afbeelding 31">
            <a:extLst>
              <a:ext uri="{FF2B5EF4-FFF2-40B4-BE49-F238E27FC236}">
                <a16:creationId xmlns:a16="http://schemas.microsoft.com/office/drawing/2014/main" id="{0464B692-CE9D-4CCC-BD48-184F82D2E128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618874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7" name="Tijdelijke aanduiding voor verticale tekst 2">
            <a:extLst>
              <a:ext uri="{FF2B5EF4-FFF2-40B4-BE49-F238E27FC236}">
                <a16:creationId xmlns:a16="http://schemas.microsoft.com/office/drawing/2014/main" id="{0EFDBC1E-2C3E-49F2-BAB9-80B028E7925A}"/>
              </a:ext>
            </a:extLst>
          </p:cNvPr>
          <p:cNvSpPr>
            <a:spLocks noGrp="1"/>
          </p:cNvSpPr>
          <p:nvPr>
            <p:ph type="body" orient="vert" idx="85" hasCustomPrompt="1"/>
          </p:nvPr>
        </p:nvSpPr>
        <p:spPr>
          <a:xfrm>
            <a:off x="717211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8" name="Tijdelijke aanduiding voor afbeelding 31">
            <a:extLst>
              <a:ext uri="{FF2B5EF4-FFF2-40B4-BE49-F238E27FC236}">
                <a16:creationId xmlns:a16="http://schemas.microsoft.com/office/drawing/2014/main" id="{9C5F1BD7-86D5-4851-9BE4-35B8C2CA6372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717211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9" name="Tijdelijke aanduiding voor verticale tekst 2">
            <a:extLst>
              <a:ext uri="{FF2B5EF4-FFF2-40B4-BE49-F238E27FC236}">
                <a16:creationId xmlns:a16="http://schemas.microsoft.com/office/drawing/2014/main" id="{4730FF30-C1DE-481D-B4CC-37F59AE69C53}"/>
              </a:ext>
            </a:extLst>
          </p:cNvPr>
          <p:cNvSpPr>
            <a:spLocks noGrp="1"/>
          </p:cNvSpPr>
          <p:nvPr>
            <p:ph type="body" orient="vert" idx="87" hasCustomPrompt="1"/>
          </p:nvPr>
        </p:nvSpPr>
        <p:spPr>
          <a:xfrm>
            <a:off x="818080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0" name="Tijdelijke aanduiding voor afbeelding 31">
            <a:extLst>
              <a:ext uri="{FF2B5EF4-FFF2-40B4-BE49-F238E27FC236}">
                <a16:creationId xmlns:a16="http://schemas.microsoft.com/office/drawing/2014/main" id="{3A9287F3-0467-4BC6-AAAF-456CD7B58A04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818080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1" name="Tijdelijke aanduiding voor verticale tekst 2">
            <a:extLst>
              <a:ext uri="{FF2B5EF4-FFF2-40B4-BE49-F238E27FC236}">
                <a16:creationId xmlns:a16="http://schemas.microsoft.com/office/drawing/2014/main" id="{416A12B1-AEC0-4EFE-B2A0-2EF8B86739E9}"/>
              </a:ext>
            </a:extLst>
          </p:cNvPr>
          <p:cNvSpPr>
            <a:spLocks noGrp="1"/>
          </p:cNvSpPr>
          <p:nvPr>
            <p:ph type="body" orient="vert" idx="89" hasCustomPrompt="1"/>
          </p:nvPr>
        </p:nvSpPr>
        <p:spPr>
          <a:xfrm>
            <a:off x="9185608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2" name="Tijdelijke aanduiding voor afbeelding 31">
            <a:extLst>
              <a:ext uri="{FF2B5EF4-FFF2-40B4-BE49-F238E27FC236}">
                <a16:creationId xmlns:a16="http://schemas.microsoft.com/office/drawing/2014/main" id="{A02ABF61-1E62-4C1D-98E4-D71576C67151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9185608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3" name="Tijdelijke aanduiding voor verticale tekst 2">
            <a:extLst>
              <a:ext uri="{FF2B5EF4-FFF2-40B4-BE49-F238E27FC236}">
                <a16:creationId xmlns:a16="http://schemas.microsoft.com/office/drawing/2014/main" id="{780E81C4-4C3D-4918-9B7E-5C13BDA880F3}"/>
              </a:ext>
            </a:extLst>
          </p:cNvPr>
          <p:cNvSpPr>
            <a:spLocks noGrp="1"/>
          </p:cNvSpPr>
          <p:nvPr>
            <p:ph type="body" orient="vert" idx="91" hasCustomPrompt="1"/>
          </p:nvPr>
        </p:nvSpPr>
        <p:spPr>
          <a:xfrm>
            <a:off x="10172206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4" name="Tijdelijke aanduiding voor afbeelding 31">
            <a:extLst>
              <a:ext uri="{FF2B5EF4-FFF2-40B4-BE49-F238E27FC236}">
                <a16:creationId xmlns:a16="http://schemas.microsoft.com/office/drawing/2014/main" id="{A11EEA0B-06CF-46E4-B49E-619F39CD8FCE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10172206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5" name="Tijdelijke aanduiding voor verticale tekst 2">
            <a:extLst>
              <a:ext uri="{FF2B5EF4-FFF2-40B4-BE49-F238E27FC236}">
                <a16:creationId xmlns:a16="http://schemas.microsoft.com/office/drawing/2014/main" id="{D3F3124F-387F-41B9-9AD4-17B8B8938093}"/>
              </a:ext>
            </a:extLst>
          </p:cNvPr>
          <p:cNvSpPr>
            <a:spLocks noGrp="1"/>
          </p:cNvSpPr>
          <p:nvPr>
            <p:ph type="body" orient="vert" idx="93" hasCustomPrompt="1"/>
          </p:nvPr>
        </p:nvSpPr>
        <p:spPr>
          <a:xfrm>
            <a:off x="11180033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6" name="Tijdelijke aanduiding voor afbeelding 31">
            <a:extLst>
              <a:ext uri="{FF2B5EF4-FFF2-40B4-BE49-F238E27FC236}">
                <a16:creationId xmlns:a16="http://schemas.microsoft.com/office/drawing/2014/main" id="{1666C2E9-EB03-4BE0-A719-C01BCB15744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11180033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2312729-E02A-43BC-A267-1B37FDF68AD8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00941" y="2455939"/>
            <a:ext cx="1211263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8" name="Tijdelijke aanduiding voor tekst 7">
            <a:extLst>
              <a:ext uri="{FF2B5EF4-FFF2-40B4-BE49-F238E27FC236}">
                <a16:creationId xmlns:a16="http://schemas.microsoft.com/office/drawing/2014/main" id="{0F1BE2BF-85C1-4D56-96AA-702D436423AB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97541" y="4101385"/>
            <a:ext cx="1472007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9" name="Tijdelijke aanduiding voor tekst 7">
            <a:extLst>
              <a:ext uri="{FF2B5EF4-FFF2-40B4-BE49-F238E27FC236}">
                <a16:creationId xmlns:a16="http://schemas.microsoft.com/office/drawing/2014/main" id="{4E575E57-AA1F-447B-B420-AA5E8340FD08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627025" y="971917"/>
            <a:ext cx="1491011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286537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2" grpId="0" animBg="1"/>
      <p:bldP spid="3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4" grpId="0" animBg="1"/>
      <p:bldP spid="3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6" grpId="0" animBg="1"/>
      <p:bldP spid="3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8" grpId="0" animBg="1"/>
      <p:bldP spid="3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0" grpId="0" animBg="1"/>
      <p:bldP spid="3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2" grpId="0" animBg="1"/>
      <p:bldP spid="3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4" grpId="0" animBg="1"/>
      <p:bldP spid="3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6" grpId="0" animBg="1"/>
      <p:bldP spid="3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8" grpId="0" animBg="1"/>
      <p:bldP spid="3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0" grpId="0" animBg="1"/>
      <p:bldP spid="3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2" grpId="0" animBg="1"/>
      <p:bldP spid="3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4" grpId="0" animBg="1"/>
      <p:bldP spid="3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6" grpId="0" animBg="1"/>
      <p:bldP spid="3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8" grpId="0" animBg="1"/>
      <p:bldP spid="3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0" grpId="0" animBg="1"/>
      <p:bldP spid="3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2" grpId="0" animBg="1"/>
      <p:bldP spid="38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4" grpId="0" animBg="1"/>
      <p:bldP spid="38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6" grpId="0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Tekst + 2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/>
          <p:cNvSpPr>
            <a:spLocks noGrp="1"/>
          </p:cNvSpPr>
          <p:nvPr>
            <p:ph type="pic" sz="quarter" idx="15" hasCustomPrompt="1"/>
          </p:nvPr>
        </p:nvSpPr>
        <p:spPr>
          <a:xfrm>
            <a:off x="8592000" y="0"/>
            <a:ext cx="3600000" cy="6444878"/>
          </a:xfrm>
          <a:custGeom>
            <a:avLst/>
            <a:gdLst>
              <a:gd name="connsiteX0" fmla="*/ 0 w 3600000"/>
              <a:gd name="connsiteY0" fmla="*/ 0 h 6455571"/>
              <a:gd name="connsiteX1" fmla="*/ 3600000 w 3600000"/>
              <a:gd name="connsiteY1" fmla="*/ 0 h 6455571"/>
              <a:gd name="connsiteX2" fmla="*/ 3600000 w 3600000"/>
              <a:gd name="connsiteY2" fmla="*/ 6455571 h 6455571"/>
              <a:gd name="connsiteX3" fmla="*/ 3596827 w 3600000"/>
              <a:gd name="connsiteY3" fmla="*/ 6294120 h 6455571"/>
              <a:gd name="connsiteX4" fmla="*/ 2522687 w 3600000"/>
              <a:gd name="connsiteY4" fmla="*/ 6294120 h 6455571"/>
              <a:gd name="connsiteX5" fmla="*/ 1905628 w 3600000"/>
              <a:gd name="connsiteY5" fmla="*/ 6454140 h 6455571"/>
              <a:gd name="connsiteX6" fmla="*/ 0 w 3600000"/>
              <a:gd name="connsiteY6" fmla="*/ 6454400 h 6455571"/>
              <a:gd name="connsiteX0" fmla="*/ 0 w 3600000"/>
              <a:gd name="connsiteY0" fmla="*/ 0 h 6454400"/>
              <a:gd name="connsiteX1" fmla="*/ 3600000 w 3600000"/>
              <a:gd name="connsiteY1" fmla="*/ 0 h 6454400"/>
              <a:gd name="connsiteX2" fmla="*/ 3596827 w 3600000"/>
              <a:gd name="connsiteY2" fmla="*/ 6294120 h 6454400"/>
              <a:gd name="connsiteX3" fmla="*/ 2522687 w 3600000"/>
              <a:gd name="connsiteY3" fmla="*/ 6294120 h 6454400"/>
              <a:gd name="connsiteX4" fmla="*/ 1905628 w 3600000"/>
              <a:gd name="connsiteY4" fmla="*/ 6454140 h 6454400"/>
              <a:gd name="connsiteX5" fmla="*/ 0 w 3600000"/>
              <a:gd name="connsiteY5" fmla="*/ 6454400 h 6454400"/>
              <a:gd name="connsiteX6" fmla="*/ 0 w 3600000"/>
              <a:gd name="connsiteY6" fmla="*/ 0 h 6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00000" h="6454400">
                <a:moveTo>
                  <a:pt x="0" y="0"/>
                </a:moveTo>
                <a:lnTo>
                  <a:pt x="3600000" y="0"/>
                </a:lnTo>
                <a:cubicBezTo>
                  <a:pt x="3598942" y="2098040"/>
                  <a:pt x="3597885" y="4196080"/>
                  <a:pt x="3596827" y="6294120"/>
                </a:cubicBezTo>
                <a:lnTo>
                  <a:pt x="2522687" y="6294120"/>
                </a:lnTo>
                <a:lnTo>
                  <a:pt x="1905628" y="6454140"/>
                </a:lnTo>
                <a:lnTo>
                  <a:pt x="0" y="6454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7855401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7855401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68247-4C70-4F5A-848A-E80CB1D293C0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75% tekst + 25% afbeelding</a:t>
            </a:r>
          </a:p>
        </p:txBody>
      </p:sp>
      <p:sp>
        <p:nvSpPr>
          <p:cNvPr id="54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785400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55" name="Groep 54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5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61" name="Rechthoek 6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4" name="Rechthoek 6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65" name="Rechte verbindingslijn 6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Rechthoek 6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8" name="Groep 6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8" name="Groep 11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22" name="Rechte verbindingslijn 12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3" name="Rechte verbindingslijn 12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2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2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2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9" name="Groep 11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0" name="Rechthoek 11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1" name="Pijl: punthaak 12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9" name="Groep 6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9" name="Groep 10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13" name="Rechte verbindingslijn 11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4" name="Rechte verbindingslijn 11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0" name="Groep 10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1" name="Rechthoek 11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2" name="Pijl: punthaak 11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71" name="Rechte verbindingslijn 7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72" name="Groep 7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8" name="Rechthoek 9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00" name="Groep 9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04" name="Rechte verbindingslijn 10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0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0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0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8" name="Rechte verbindingslijn 10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1" name="Groep 10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2" name="Rechthoek 10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3" name="Pijl: punthaak 10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73" name="Groep 7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7" name="Rechthoek 8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8" name="Groep 8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9" name="Groep 8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93" name="Rechte verbindingslijn 9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4" name="Rechte verbindingslijn 9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5" name="Rechte verbindingslijn 9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6" name="Rechte verbindingslijn 9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0" name="Groep 8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1" name="Rechthoek 9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2" name="Pijl: punthaak 9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74" name="Rechthoek 7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75" name="Rechthoek 7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76" name="Rechte verbindingslijn 7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7" name="Rechthoek 7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8" name="Ovaal 7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Ovaal 7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81" name="Rechthoek 8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82" name="Ovaal 8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83" name="Rechthoek 8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84" name="Ovaal 8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85" name="Rechthoek 8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86" name="Rechte verbindingslijn 8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ep 12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8" name="Afbeelding 12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34" name="Rechthoek 1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35" name="Ovaal 1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36" name="Rechte verbindingslijn 1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7" name="Rechte verbindingslijn 1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8" name="Rechthoek 1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40" name="Ovaal 13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41" name="Rechthoek 14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2" name="Groep 14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75" name="Rechthoek 17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76" name="Rechte verbindingslijn 17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7" name="Gelijkbenige driehoek 17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3" name="Groep 14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9" name="Rechthoek 16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0" name="Ovaal 16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1" name="Vrije vorm: vorm 17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2" name="Rechthoek: afgeronde hoeken 17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73" name="Rechte verbindingslijn 17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74" name="Rechte verbindingslijn 173"/>
                <p:cNvCxnSpPr>
                  <a:cxnSpLocks/>
                  <a:stCxn id="17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44" name="Ovaal 14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45" name="Rechthoek 14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46" name="Rechte verbindingslijn 14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7" name="Groep 14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8" name="Rechthoek 14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Rechthoek 14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50" name="Groep 14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63" name="Rechthoek: afgeronde hoeken 16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4" name="Rechthoek 16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6" name="Rechthoek 16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7" name="Rechthoek 16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8" name="Rechthoek 16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51" name="Groep 15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55" name="Groep 15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7" name="Rechthoek: afgeronde hoeken 15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" name="Rechthoek 15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9" name="Rechthoek 15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0" name="Rechthoek 15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1" name="Rechthoek 16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2" name="Rechthoek 16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56" name="Boog 15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52" name="Tekstvak 15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53" name="Tekstvak 152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5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3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3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32" name="Rechthoek 13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33" name="Rechte verbindingslijn 13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15309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Feedback communicer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 dirty="0">
              <a:solidFill>
                <a:prstClr val="black"/>
              </a:solidFill>
            </a:endParaRPr>
          </a:p>
        </p:txBody>
      </p:sp>
      <p:sp>
        <p:nvSpPr>
          <p:cNvPr id="16" name="Rechthoek 15"/>
          <p:cNvSpPr/>
          <p:nvPr userDrawn="1"/>
        </p:nvSpPr>
        <p:spPr>
          <a:xfrm>
            <a:off x="701538" y="1700810"/>
            <a:ext cx="10800649" cy="435649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te klant,</a:t>
            </a: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j PPT Solutions communiceren we feedback met opmerkingen in PowerPoint.</a:t>
            </a: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nneer u feedback heeft wat betrekking heeft op een dia in de presentatie, ga dan naar de desbetreffende dia en volg de volgende stappen:</a:t>
            </a: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ze stappen kunt u uitvoeren door de gehele presentatie en eventueel ook antwoord geven op onze communicatie via opmerkingen.</a:t>
            </a: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 volgende stappen kunt u uitvoeren om antwoord te geven op evt. opmerkingen of om naar de vorige/volgende opmerking in de presentatie te gaan:</a:t>
            </a: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6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Feedback communiceren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3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2267220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4838993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7" name="Rechthoek 36"/>
            <p:cNvSpPr/>
            <p:nvPr userDrawn="1"/>
          </p:nvSpPr>
          <p:spPr>
            <a:xfrm>
              <a:off x="0" y="277158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" name="Rechthoek 37"/>
            <p:cNvSpPr/>
            <p:nvPr userDrawn="1"/>
          </p:nvSpPr>
          <p:spPr>
            <a:xfrm>
              <a:off x="0" y="320061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" name="Rechthoek 38"/>
            <p:cNvSpPr/>
            <p:nvPr userDrawn="1"/>
          </p:nvSpPr>
          <p:spPr>
            <a:xfrm>
              <a:off x="0" y="3666199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8" name="Rechthoek 47"/>
            <p:cNvSpPr/>
            <p:nvPr userDrawn="1"/>
          </p:nvSpPr>
          <p:spPr>
            <a:xfrm>
              <a:off x="0" y="538020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4" y="692699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6A5"/>
                </a:solidFill>
                <a:latin typeface="Oswald" panose="02000503000000000000" pitchFamily="2" charset="0"/>
              </a:rPr>
              <a:t>Feedback communicatie</a:t>
            </a:r>
            <a:endParaRPr lang="en-US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  <p:grpSp>
        <p:nvGrpSpPr>
          <p:cNvPr id="67" name="Groep 66"/>
          <p:cNvGrpSpPr/>
          <p:nvPr userDrawn="1"/>
        </p:nvGrpSpPr>
        <p:grpSpPr>
          <a:xfrm>
            <a:off x="696791" y="2472284"/>
            <a:ext cx="9936052" cy="1694973"/>
            <a:chOff x="695521" y="2472279"/>
            <a:chExt cx="9917939" cy="1694973"/>
          </a:xfrm>
        </p:grpSpPr>
        <p:grpSp>
          <p:nvGrpSpPr>
            <p:cNvPr id="18" name="Groep 17"/>
            <p:cNvGrpSpPr/>
            <p:nvPr/>
          </p:nvGrpSpPr>
          <p:grpSpPr>
            <a:xfrm>
              <a:off x="695521" y="2477768"/>
              <a:ext cx="9917939" cy="1643724"/>
              <a:chOff x="607174" y="2060848"/>
              <a:chExt cx="9917939" cy="1643724"/>
            </a:xfrm>
          </p:grpSpPr>
          <p:sp>
            <p:nvSpPr>
              <p:cNvPr id="23" name="Tekstvak 22"/>
              <p:cNvSpPr txBox="1"/>
              <p:nvPr/>
            </p:nvSpPr>
            <p:spPr>
              <a:xfrm>
                <a:off x="1020057" y="2060849"/>
                <a:ext cx="4824536" cy="2654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a naar de tab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Invoegen’.</a:t>
                </a:r>
              </a:p>
            </p:txBody>
          </p:sp>
          <p:sp>
            <p:nvSpPr>
              <p:cNvPr id="24" name="Ovaal 23"/>
              <p:cNvSpPr/>
              <p:nvPr/>
            </p:nvSpPr>
            <p:spPr>
              <a:xfrm>
                <a:off x="607174" y="2060848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1</a:t>
                </a:r>
              </a:p>
            </p:txBody>
          </p:sp>
          <p:sp>
            <p:nvSpPr>
              <p:cNvPr id="25" name="Tekstvak 24"/>
              <p:cNvSpPr txBox="1"/>
              <p:nvPr/>
            </p:nvSpPr>
            <p:spPr>
              <a:xfrm>
                <a:off x="1020057" y="2483279"/>
                <a:ext cx="482453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Klik op de knop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Opmerking’.</a:t>
                </a:r>
              </a:p>
            </p:txBody>
          </p:sp>
          <p:sp>
            <p:nvSpPr>
              <p:cNvPr id="26" name="Ovaal 25"/>
              <p:cNvSpPr/>
              <p:nvPr/>
            </p:nvSpPr>
            <p:spPr>
              <a:xfrm>
                <a:off x="607174" y="2488475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</a:t>
                </a:r>
              </a:p>
            </p:txBody>
          </p:sp>
          <p:sp>
            <p:nvSpPr>
              <p:cNvPr id="27" name="Tekstvak 26"/>
              <p:cNvSpPr txBox="1"/>
              <p:nvPr/>
            </p:nvSpPr>
            <p:spPr>
              <a:xfrm>
                <a:off x="1020057" y="2931615"/>
                <a:ext cx="95050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r verschijnt nu een klein spreekwolkje op de slide en het venster voor opmerkingen opent zich aan de zijkant.</a:t>
                </a:r>
              </a:p>
              <a:p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yp uw feedback in het tekst vak in het venster voor opmerkingen.</a:t>
                </a:r>
              </a:p>
            </p:txBody>
          </p:sp>
          <p:sp>
            <p:nvSpPr>
              <p:cNvPr id="28" name="Ovaal 27"/>
              <p:cNvSpPr/>
              <p:nvPr/>
            </p:nvSpPr>
            <p:spPr>
              <a:xfrm>
                <a:off x="607174" y="291608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3</a:t>
                </a:r>
              </a:p>
            </p:txBody>
          </p:sp>
          <p:sp>
            <p:nvSpPr>
              <p:cNvPr id="29" name="Tekstvak 28"/>
              <p:cNvSpPr txBox="1"/>
              <p:nvPr/>
            </p:nvSpPr>
            <p:spPr>
              <a:xfrm>
                <a:off x="1020057" y="3416540"/>
                <a:ext cx="72936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u dit gedaan heeft, kunt u het spreekwolkje op de juiste plaats op de dia slepen. 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Zo is het voor ons duidelijk op welk deel van de content, op de dia, uw feedback betrekking heeft.</a:t>
                </a:r>
              </a:p>
            </p:txBody>
          </p:sp>
          <p:sp>
            <p:nvSpPr>
              <p:cNvPr id="30" name="Ovaal 29"/>
              <p:cNvSpPr/>
              <p:nvPr/>
            </p:nvSpPr>
            <p:spPr>
              <a:xfrm>
                <a:off x="607174" y="341654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4</a:t>
                </a:r>
              </a:p>
            </p:txBody>
          </p:sp>
        </p:grpSp>
        <p:pic>
          <p:nvPicPr>
            <p:cNvPr id="51" name="Afbeelding 5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2913" y="2472279"/>
              <a:ext cx="1822207" cy="26537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2" name="Afbeelding 51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92913" y="2840765"/>
              <a:ext cx="432050" cy="376815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6" name="Afbeelding 55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2793592"/>
              <a:ext cx="2144324" cy="880792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8" name="Afbeelding 57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3767202"/>
              <a:ext cx="419100" cy="40005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grpSp>
        <p:nvGrpSpPr>
          <p:cNvPr id="66" name="Groep 65"/>
          <p:cNvGrpSpPr/>
          <p:nvPr userDrawn="1"/>
        </p:nvGrpSpPr>
        <p:grpSpPr>
          <a:xfrm>
            <a:off x="691993" y="4957010"/>
            <a:ext cx="10940891" cy="992294"/>
            <a:chOff x="690732" y="4957010"/>
            <a:chExt cx="10920946" cy="992294"/>
          </a:xfrm>
        </p:grpSpPr>
        <p:grpSp>
          <p:nvGrpSpPr>
            <p:cNvPr id="41" name="Groep 40"/>
            <p:cNvGrpSpPr/>
            <p:nvPr/>
          </p:nvGrpSpPr>
          <p:grpSpPr>
            <a:xfrm>
              <a:off x="690732" y="5052264"/>
              <a:ext cx="10920946" cy="807860"/>
              <a:chOff x="612279" y="4917797"/>
              <a:chExt cx="10920946" cy="807860"/>
            </a:xfrm>
          </p:grpSpPr>
          <p:sp>
            <p:nvSpPr>
              <p:cNvPr id="44" name="Tekstvak 43"/>
              <p:cNvSpPr txBox="1"/>
              <p:nvPr/>
            </p:nvSpPr>
            <p:spPr>
              <a:xfrm>
                <a:off x="1020057" y="4933332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en u een opmerking van PPT Solutions ziet staan, Kunt u antwoorden door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nder de opmerking, waar een tekst vak staat met de beschrijving ‘Beantwoorden’, uw antwoord te typen.</a:t>
                </a:r>
              </a:p>
            </p:txBody>
          </p:sp>
          <p:sp>
            <p:nvSpPr>
              <p:cNvPr id="45" name="Ovaal 44"/>
              <p:cNvSpPr/>
              <p:nvPr/>
            </p:nvSpPr>
            <p:spPr>
              <a:xfrm>
                <a:off x="612279" y="4917797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</a:t>
                </a:r>
              </a:p>
            </p:txBody>
          </p:sp>
          <p:sp>
            <p:nvSpPr>
              <p:cNvPr id="46" name="Tekstvak 45"/>
              <p:cNvSpPr txBox="1"/>
              <p:nvPr/>
            </p:nvSpPr>
            <p:spPr>
              <a:xfrm>
                <a:off x="1020057" y="5437625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zijn in de rechter bovenhoek twee knopjes zichtbaar.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et het linker knopje gaat u naar de vorige opmerking in de presentatie en met het rechter knopje gaat u naar de volgende.</a:t>
                </a:r>
              </a:p>
            </p:txBody>
          </p:sp>
          <p:sp>
            <p:nvSpPr>
              <p:cNvPr id="47" name="Ovaal 46"/>
              <p:cNvSpPr/>
              <p:nvPr/>
            </p:nvSpPr>
            <p:spPr>
              <a:xfrm>
                <a:off x="612279" y="542209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B</a:t>
                </a:r>
              </a:p>
            </p:txBody>
          </p:sp>
        </p:grpSp>
        <p:pic>
          <p:nvPicPr>
            <p:cNvPr id="63" name="Afbeelding 62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21581" y="4957010"/>
              <a:ext cx="1677516" cy="529469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65" name="Afbeelding 64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21580" y="5568546"/>
              <a:ext cx="673648" cy="380758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sp>
        <p:nvSpPr>
          <p:cNvPr id="43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A78"/>
              </a:buClr>
              <a:buFont typeface="Courier New" panose="02070309020205020404" pitchFamily="49" charset="0"/>
              <a:buNone/>
            </a:pPr>
            <a:endParaRPr dirty="0">
              <a:solidFill>
                <a:prstClr val="white"/>
              </a:solidFill>
            </a:endParaRPr>
          </a:p>
        </p:txBody>
      </p:sp>
      <p:cxnSp>
        <p:nvCxnSpPr>
          <p:cNvPr id="42" name="Rechte verbindingslijn 41"/>
          <p:cNvCxnSpPr>
            <a:cxnSpLocks/>
          </p:cNvCxnSpPr>
          <p:nvPr userDrawn="1"/>
        </p:nvCxnSpPr>
        <p:spPr>
          <a:xfrm>
            <a:off x="693964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Vrije vorm 308"/>
          <p:cNvSpPr/>
          <p:nvPr userDrawn="1"/>
        </p:nvSpPr>
        <p:spPr>
          <a:xfrm>
            <a:off x="11056397" y="692698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281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Video instructi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hthoek 10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 dirty="0">
              <a:solidFill>
                <a:prstClr val="black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6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Video instructies - YouTube links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3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4" y="692699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6A5"/>
                </a:solidFill>
                <a:latin typeface="Oswald" panose="02000503000000000000" pitchFamily="2" charset="0"/>
              </a:rPr>
              <a:t>Video instructies – YouTube links</a:t>
            </a:r>
          </a:p>
        </p:txBody>
      </p:sp>
      <p:cxnSp>
        <p:nvCxnSpPr>
          <p:cNvPr id="49" name="Rechte verbindingslijn 48"/>
          <p:cNvCxnSpPr/>
          <p:nvPr userDrawn="1"/>
        </p:nvCxnSpPr>
        <p:spPr>
          <a:xfrm>
            <a:off x="3394123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echte verbindingslijn 49"/>
          <p:cNvCxnSpPr/>
          <p:nvPr userDrawn="1"/>
        </p:nvCxnSpPr>
        <p:spPr>
          <a:xfrm>
            <a:off x="6094285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chte verbindingslijn 58"/>
          <p:cNvCxnSpPr>
            <a:cxnSpLocks/>
          </p:cNvCxnSpPr>
          <p:nvPr userDrawn="1"/>
        </p:nvCxnSpPr>
        <p:spPr>
          <a:xfrm flipH="1">
            <a:off x="672270" y="3879057"/>
            <a:ext cx="8122180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H2">
            <a:hlinkClick r:id="" action="ppaction://noaction"/>
          </p:cNvPr>
          <p:cNvSpPr txBox="1"/>
          <p:nvPr userDrawn="1"/>
        </p:nvSpPr>
        <p:spPr>
          <a:xfrm>
            <a:off x="1031409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Tekst Niveau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hM16rifWsjU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2" name="H2">
            <a:hlinkClick r:id="" action="ppaction://noaction"/>
          </p:cNvPr>
          <p:cNvSpPr txBox="1"/>
          <p:nvPr userDrawn="1"/>
        </p:nvSpPr>
        <p:spPr>
          <a:xfrm>
            <a:off x="3781123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Afbeeldingen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09yTK-OTEPA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3" name="H2">
            <a:hlinkClick r:id="" action="ppaction://noaction"/>
          </p:cNvPr>
          <p:cNvSpPr txBox="1"/>
          <p:nvPr userDrawn="1"/>
        </p:nvSpPr>
        <p:spPr>
          <a:xfrm>
            <a:off x="6481285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Grafieken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fbByse1_RSY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79" name="Grafiek icoon"/>
          <p:cNvGrpSpPr/>
          <p:nvPr userDrawn="1"/>
        </p:nvGrpSpPr>
        <p:grpSpPr>
          <a:xfrm>
            <a:off x="7264959" y="2184006"/>
            <a:ext cx="358817" cy="389873"/>
            <a:chOff x="12468049" y="1754144"/>
            <a:chExt cx="339072" cy="369091"/>
          </a:xfrm>
        </p:grpSpPr>
        <p:sp>
          <p:nvSpPr>
            <p:cNvPr id="80" name="Rechthoek 79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81" name="Rechthoek 80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82" name="Rechthoek 8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</p:grpSp>
      <p:sp>
        <p:nvSpPr>
          <p:cNvPr id="83" name="H2">
            <a:hlinkClick r:id="" action="ppaction://noaction"/>
          </p:cNvPr>
          <p:cNvSpPr txBox="1"/>
          <p:nvPr userDrawn="1"/>
        </p:nvSpPr>
        <p:spPr>
          <a:xfrm>
            <a:off x="1066307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Tabellen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IIjbiKAotek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4" name="H2">
            <a:hlinkClick r:id="" action="ppaction://noaction"/>
          </p:cNvPr>
          <p:cNvSpPr txBox="1"/>
          <p:nvPr userDrawn="1"/>
        </p:nvSpPr>
        <p:spPr>
          <a:xfrm>
            <a:off x="3816022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Video’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H_4HH09zxC0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5" name="H2">
            <a:hlinkClick r:id="" action="ppaction://noaction"/>
          </p:cNvPr>
          <p:cNvSpPr txBox="1"/>
          <p:nvPr userDrawn="1"/>
        </p:nvSpPr>
        <p:spPr>
          <a:xfrm>
            <a:off x="6516183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8A78"/>
                </a:solidFill>
              </a:rPr>
              <a:t> </a:t>
            </a:r>
            <a:br>
              <a:rPr lang="nl-NL" sz="1200" dirty="0">
                <a:solidFill>
                  <a:srgbClr val="002C51"/>
                </a:solidFill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Meer Tips &amp; Trick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7"/>
              </a:rPr>
              <a:t>www.pptsolutions.nl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86" name="Tabel icoon"/>
          <p:cNvGrpSpPr/>
          <p:nvPr userDrawn="1"/>
        </p:nvGrpSpPr>
        <p:grpSpPr>
          <a:xfrm>
            <a:off x="1808090" y="4385928"/>
            <a:ext cx="447825" cy="403759"/>
            <a:chOff x="6072040" y="3376043"/>
            <a:chExt cx="1227920" cy="1109109"/>
          </a:xfrm>
        </p:grpSpPr>
        <p:sp>
          <p:nvSpPr>
            <p:cNvPr id="87" name="Rechthoek 86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88" name="Rechthoek 87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cxnSp>
          <p:nvCxnSpPr>
            <p:cNvPr id="89" name="Rechte verbindingslijn 88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Rechte verbindingslijn 89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Rechte verbindingslijn 90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Rechte verbindingslijn 91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Rechte verbindingslijn 92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hthoek 93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7" name="Video icoon"/>
          <p:cNvGrpSpPr/>
          <p:nvPr userDrawn="1"/>
        </p:nvGrpSpPr>
        <p:grpSpPr>
          <a:xfrm>
            <a:off x="4603376" y="4392451"/>
            <a:ext cx="401285" cy="403079"/>
            <a:chOff x="8066315" y="1676399"/>
            <a:chExt cx="1371600" cy="1380253"/>
          </a:xfrm>
        </p:grpSpPr>
        <p:sp>
          <p:nvSpPr>
            <p:cNvPr id="98" name="Rechthoek 97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99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100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</p:grpSp>
      <p:sp>
        <p:nvSpPr>
          <p:cNvPr id="101" name="Freeform 17"/>
          <p:cNvSpPr>
            <a:spLocks noEditPoints="1"/>
          </p:cNvSpPr>
          <p:nvPr userDrawn="1"/>
        </p:nvSpPr>
        <p:spPr bwMode="auto">
          <a:xfrm>
            <a:off x="7294862" y="4392446"/>
            <a:ext cx="409961" cy="409214"/>
          </a:xfrm>
          <a:custGeom>
            <a:avLst/>
            <a:gdLst>
              <a:gd name="T0" fmla="*/ 281 w 445"/>
              <a:gd name="T1" fmla="*/ 374 h 445"/>
              <a:gd name="T2" fmla="*/ 320 w 445"/>
              <a:gd name="T3" fmla="*/ 366 h 445"/>
              <a:gd name="T4" fmla="*/ 297 w 445"/>
              <a:gd name="T5" fmla="*/ 330 h 445"/>
              <a:gd name="T6" fmla="*/ 98 w 445"/>
              <a:gd name="T7" fmla="*/ 344 h 445"/>
              <a:gd name="T8" fmla="*/ 175 w 445"/>
              <a:gd name="T9" fmla="*/ 390 h 445"/>
              <a:gd name="T10" fmla="*/ 147 w 445"/>
              <a:gd name="T11" fmla="*/ 329 h 445"/>
              <a:gd name="T12" fmla="*/ 171 w 445"/>
              <a:gd name="T13" fmla="*/ 324 h 445"/>
              <a:gd name="T14" fmla="*/ 200 w 445"/>
              <a:gd name="T15" fmla="*/ 384 h 445"/>
              <a:gd name="T16" fmla="*/ 234 w 445"/>
              <a:gd name="T17" fmla="*/ 392 h 445"/>
              <a:gd name="T18" fmla="*/ 265 w 445"/>
              <a:gd name="T19" fmla="*/ 349 h 445"/>
              <a:gd name="T20" fmla="*/ 310 w 445"/>
              <a:gd name="T21" fmla="*/ 232 h 445"/>
              <a:gd name="T22" fmla="*/ 306 w 445"/>
              <a:gd name="T23" fmla="*/ 290 h 445"/>
              <a:gd name="T24" fmla="*/ 358 w 445"/>
              <a:gd name="T25" fmla="*/ 330 h 445"/>
              <a:gd name="T26" fmla="*/ 393 w 445"/>
              <a:gd name="T27" fmla="*/ 260 h 445"/>
              <a:gd name="T28" fmla="*/ 159 w 445"/>
              <a:gd name="T29" fmla="*/ 232 h 445"/>
              <a:gd name="T30" fmla="*/ 201 w 445"/>
              <a:gd name="T31" fmla="*/ 295 h 445"/>
              <a:gd name="T32" fmla="*/ 284 w 445"/>
              <a:gd name="T33" fmla="*/ 268 h 445"/>
              <a:gd name="T34" fmla="*/ 48 w 445"/>
              <a:gd name="T35" fmla="*/ 232 h 445"/>
              <a:gd name="T36" fmla="*/ 62 w 445"/>
              <a:gd name="T37" fmla="*/ 292 h 445"/>
              <a:gd name="T38" fmla="*/ 98 w 445"/>
              <a:gd name="T39" fmla="*/ 317 h 445"/>
              <a:gd name="T40" fmla="*/ 139 w 445"/>
              <a:gd name="T41" fmla="*/ 281 h 445"/>
              <a:gd name="T42" fmla="*/ 48 w 445"/>
              <a:gd name="T43" fmla="*/ 232 h 445"/>
              <a:gd name="T44" fmla="*/ 223 w 445"/>
              <a:gd name="T45" fmla="*/ 148 h 445"/>
              <a:gd name="T46" fmla="*/ 162 w 445"/>
              <a:gd name="T47" fmla="*/ 173 h 445"/>
              <a:gd name="T48" fmla="*/ 284 w 445"/>
              <a:gd name="T49" fmla="*/ 173 h 445"/>
              <a:gd name="T50" fmla="*/ 69 w 445"/>
              <a:gd name="T51" fmla="*/ 138 h 445"/>
              <a:gd name="T52" fmla="*/ 48 w 445"/>
              <a:gd name="T53" fmla="*/ 208 h 445"/>
              <a:gd name="T54" fmla="*/ 143 w 445"/>
              <a:gd name="T55" fmla="*/ 137 h 445"/>
              <a:gd name="T56" fmla="*/ 82 w 445"/>
              <a:gd name="T57" fmla="*/ 117 h 445"/>
              <a:gd name="T58" fmla="*/ 302 w 445"/>
              <a:gd name="T59" fmla="*/ 136 h 445"/>
              <a:gd name="T60" fmla="*/ 396 w 445"/>
              <a:gd name="T61" fmla="*/ 208 h 445"/>
              <a:gd name="T62" fmla="*/ 373 w 445"/>
              <a:gd name="T63" fmla="*/ 133 h 445"/>
              <a:gd name="T64" fmla="*/ 281 w 445"/>
              <a:gd name="T65" fmla="*/ 71 h 445"/>
              <a:gd name="T66" fmla="*/ 319 w 445"/>
              <a:gd name="T67" fmla="*/ 105 h 445"/>
              <a:gd name="T68" fmla="*/ 296 w 445"/>
              <a:gd name="T69" fmla="*/ 64 h 445"/>
              <a:gd name="T70" fmla="*/ 146 w 445"/>
              <a:gd name="T71" fmla="*/ 65 h 445"/>
              <a:gd name="T72" fmla="*/ 121 w 445"/>
              <a:gd name="T73" fmla="*/ 108 h 445"/>
              <a:gd name="T74" fmla="*/ 165 w 445"/>
              <a:gd name="T75" fmla="*/ 72 h 445"/>
              <a:gd name="T76" fmla="*/ 212 w 445"/>
              <a:gd name="T77" fmla="*/ 52 h 445"/>
              <a:gd name="T78" fmla="*/ 180 w 445"/>
              <a:gd name="T79" fmla="*/ 96 h 445"/>
              <a:gd name="T80" fmla="*/ 238 w 445"/>
              <a:gd name="T81" fmla="*/ 124 h 445"/>
              <a:gd name="T82" fmla="*/ 255 w 445"/>
              <a:gd name="T83" fmla="*/ 75 h 445"/>
              <a:gd name="T84" fmla="*/ 223 w 445"/>
              <a:gd name="T85" fmla="*/ 49 h 445"/>
              <a:gd name="T86" fmla="*/ 293 w 445"/>
              <a:gd name="T87" fmla="*/ 11 h 445"/>
              <a:gd name="T88" fmla="*/ 380 w 445"/>
              <a:gd name="T89" fmla="*/ 65 h 445"/>
              <a:gd name="T90" fmla="*/ 433 w 445"/>
              <a:gd name="T91" fmla="*/ 151 h 445"/>
              <a:gd name="T92" fmla="*/ 442 w 445"/>
              <a:gd name="T93" fmla="*/ 258 h 445"/>
              <a:gd name="T94" fmla="*/ 402 w 445"/>
              <a:gd name="T95" fmla="*/ 353 h 445"/>
              <a:gd name="T96" fmla="*/ 325 w 445"/>
              <a:gd name="T97" fmla="*/ 420 h 445"/>
              <a:gd name="T98" fmla="*/ 223 w 445"/>
              <a:gd name="T99" fmla="*/ 445 h 445"/>
              <a:gd name="T100" fmla="*/ 120 w 445"/>
              <a:gd name="T101" fmla="*/ 420 h 445"/>
              <a:gd name="T102" fmla="*/ 43 w 445"/>
              <a:gd name="T103" fmla="*/ 353 h 445"/>
              <a:gd name="T104" fmla="*/ 2 w 445"/>
              <a:gd name="T105" fmla="*/ 258 h 445"/>
              <a:gd name="T106" fmla="*/ 11 w 445"/>
              <a:gd name="T107" fmla="*/ 151 h 445"/>
              <a:gd name="T108" fmla="*/ 66 w 445"/>
              <a:gd name="T109" fmla="*/ 65 h 445"/>
              <a:gd name="T110" fmla="*/ 152 w 445"/>
              <a:gd name="T111" fmla="*/ 11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45" h="445">
                <a:moveTo>
                  <a:pt x="297" y="330"/>
                </a:moveTo>
                <a:lnTo>
                  <a:pt x="289" y="353"/>
                </a:lnTo>
                <a:lnTo>
                  <a:pt x="281" y="374"/>
                </a:lnTo>
                <a:lnTo>
                  <a:pt x="270" y="390"/>
                </a:lnTo>
                <a:lnTo>
                  <a:pt x="296" y="380"/>
                </a:lnTo>
                <a:lnTo>
                  <a:pt x="320" y="366"/>
                </a:lnTo>
                <a:lnTo>
                  <a:pt x="342" y="350"/>
                </a:lnTo>
                <a:lnTo>
                  <a:pt x="319" y="339"/>
                </a:lnTo>
                <a:lnTo>
                  <a:pt x="297" y="330"/>
                </a:lnTo>
                <a:close/>
                <a:moveTo>
                  <a:pt x="147" y="329"/>
                </a:moveTo>
                <a:lnTo>
                  <a:pt x="120" y="337"/>
                </a:lnTo>
                <a:lnTo>
                  <a:pt x="98" y="344"/>
                </a:lnTo>
                <a:lnTo>
                  <a:pt x="121" y="364"/>
                </a:lnTo>
                <a:lnTo>
                  <a:pt x="146" y="379"/>
                </a:lnTo>
                <a:lnTo>
                  <a:pt x="175" y="390"/>
                </a:lnTo>
                <a:lnTo>
                  <a:pt x="165" y="373"/>
                </a:lnTo>
                <a:lnTo>
                  <a:pt x="155" y="352"/>
                </a:lnTo>
                <a:lnTo>
                  <a:pt x="147" y="329"/>
                </a:lnTo>
                <a:close/>
                <a:moveTo>
                  <a:pt x="238" y="320"/>
                </a:moveTo>
                <a:lnTo>
                  <a:pt x="203" y="320"/>
                </a:lnTo>
                <a:lnTo>
                  <a:pt x="171" y="324"/>
                </a:lnTo>
                <a:lnTo>
                  <a:pt x="180" y="349"/>
                </a:lnTo>
                <a:lnTo>
                  <a:pt x="190" y="368"/>
                </a:lnTo>
                <a:lnTo>
                  <a:pt x="200" y="384"/>
                </a:lnTo>
                <a:lnTo>
                  <a:pt x="212" y="392"/>
                </a:lnTo>
                <a:lnTo>
                  <a:pt x="223" y="396"/>
                </a:lnTo>
                <a:lnTo>
                  <a:pt x="234" y="392"/>
                </a:lnTo>
                <a:lnTo>
                  <a:pt x="245" y="384"/>
                </a:lnTo>
                <a:lnTo>
                  <a:pt x="255" y="368"/>
                </a:lnTo>
                <a:lnTo>
                  <a:pt x="265" y="349"/>
                </a:lnTo>
                <a:lnTo>
                  <a:pt x="273" y="325"/>
                </a:lnTo>
                <a:lnTo>
                  <a:pt x="238" y="320"/>
                </a:lnTo>
                <a:close/>
                <a:moveTo>
                  <a:pt x="310" y="232"/>
                </a:moveTo>
                <a:lnTo>
                  <a:pt x="309" y="254"/>
                </a:lnTo>
                <a:lnTo>
                  <a:pt x="308" y="272"/>
                </a:lnTo>
                <a:lnTo>
                  <a:pt x="306" y="290"/>
                </a:lnTo>
                <a:lnTo>
                  <a:pt x="302" y="306"/>
                </a:lnTo>
                <a:lnTo>
                  <a:pt x="331" y="316"/>
                </a:lnTo>
                <a:lnTo>
                  <a:pt x="358" y="330"/>
                </a:lnTo>
                <a:lnTo>
                  <a:pt x="373" y="308"/>
                </a:lnTo>
                <a:lnTo>
                  <a:pt x="385" y="285"/>
                </a:lnTo>
                <a:lnTo>
                  <a:pt x="393" y="260"/>
                </a:lnTo>
                <a:lnTo>
                  <a:pt x="396" y="232"/>
                </a:lnTo>
                <a:lnTo>
                  <a:pt x="310" y="232"/>
                </a:lnTo>
                <a:close/>
                <a:moveTo>
                  <a:pt x="159" y="232"/>
                </a:moveTo>
                <a:lnTo>
                  <a:pt x="162" y="267"/>
                </a:lnTo>
                <a:lnTo>
                  <a:pt x="166" y="299"/>
                </a:lnTo>
                <a:lnTo>
                  <a:pt x="201" y="295"/>
                </a:lnTo>
                <a:lnTo>
                  <a:pt x="239" y="295"/>
                </a:lnTo>
                <a:lnTo>
                  <a:pt x="278" y="301"/>
                </a:lnTo>
                <a:lnTo>
                  <a:pt x="284" y="268"/>
                </a:lnTo>
                <a:lnTo>
                  <a:pt x="286" y="232"/>
                </a:lnTo>
                <a:lnTo>
                  <a:pt x="159" y="232"/>
                </a:lnTo>
                <a:close/>
                <a:moveTo>
                  <a:pt x="48" y="232"/>
                </a:moveTo>
                <a:lnTo>
                  <a:pt x="50" y="255"/>
                </a:lnTo>
                <a:lnTo>
                  <a:pt x="56" y="275"/>
                </a:lnTo>
                <a:lnTo>
                  <a:pt x="62" y="292"/>
                </a:lnTo>
                <a:lnTo>
                  <a:pt x="71" y="308"/>
                </a:lnTo>
                <a:lnTo>
                  <a:pt x="82" y="324"/>
                </a:lnTo>
                <a:lnTo>
                  <a:pt x="98" y="317"/>
                </a:lnTo>
                <a:lnTo>
                  <a:pt x="119" y="311"/>
                </a:lnTo>
                <a:lnTo>
                  <a:pt x="142" y="304"/>
                </a:lnTo>
                <a:lnTo>
                  <a:pt x="139" y="281"/>
                </a:lnTo>
                <a:lnTo>
                  <a:pt x="137" y="257"/>
                </a:lnTo>
                <a:lnTo>
                  <a:pt x="135" y="232"/>
                </a:lnTo>
                <a:lnTo>
                  <a:pt x="48" y="232"/>
                </a:lnTo>
                <a:close/>
                <a:moveTo>
                  <a:pt x="278" y="141"/>
                </a:moveTo>
                <a:lnTo>
                  <a:pt x="250" y="146"/>
                </a:lnTo>
                <a:lnTo>
                  <a:pt x="223" y="148"/>
                </a:lnTo>
                <a:lnTo>
                  <a:pt x="193" y="146"/>
                </a:lnTo>
                <a:lnTo>
                  <a:pt x="166" y="143"/>
                </a:lnTo>
                <a:lnTo>
                  <a:pt x="162" y="173"/>
                </a:lnTo>
                <a:lnTo>
                  <a:pt x="159" y="208"/>
                </a:lnTo>
                <a:lnTo>
                  <a:pt x="286" y="208"/>
                </a:lnTo>
                <a:lnTo>
                  <a:pt x="284" y="173"/>
                </a:lnTo>
                <a:lnTo>
                  <a:pt x="278" y="141"/>
                </a:lnTo>
                <a:close/>
                <a:moveTo>
                  <a:pt x="82" y="117"/>
                </a:moveTo>
                <a:lnTo>
                  <a:pt x="69" y="138"/>
                </a:lnTo>
                <a:lnTo>
                  <a:pt x="59" y="160"/>
                </a:lnTo>
                <a:lnTo>
                  <a:pt x="51" y="184"/>
                </a:lnTo>
                <a:lnTo>
                  <a:pt x="48" y="208"/>
                </a:lnTo>
                <a:lnTo>
                  <a:pt x="135" y="208"/>
                </a:lnTo>
                <a:lnTo>
                  <a:pt x="138" y="172"/>
                </a:lnTo>
                <a:lnTo>
                  <a:pt x="143" y="137"/>
                </a:lnTo>
                <a:lnTo>
                  <a:pt x="119" y="131"/>
                </a:lnTo>
                <a:lnTo>
                  <a:pt x="99" y="124"/>
                </a:lnTo>
                <a:lnTo>
                  <a:pt x="82" y="117"/>
                </a:lnTo>
                <a:close/>
                <a:moveTo>
                  <a:pt x="358" y="111"/>
                </a:moveTo>
                <a:lnTo>
                  <a:pt x="331" y="125"/>
                </a:lnTo>
                <a:lnTo>
                  <a:pt x="302" y="136"/>
                </a:lnTo>
                <a:lnTo>
                  <a:pt x="308" y="171"/>
                </a:lnTo>
                <a:lnTo>
                  <a:pt x="310" y="208"/>
                </a:lnTo>
                <a:lnTo>
                  <a:pt x="396" y="208"/>
                </a:lnTo>
                <a:lnTo>
                  <a:pt x="393" y="183"/>
                </a:lnTo>
                <a:lnTo>
                  <a:pt x="385" y="158"/>
                </a:lnTo>
                <a:lnTo>
                  <a:pt x="373" y="133"/>
                </a:lnTo>
                <a:lnTo>
                  <a:pt x="358" y="111"/>
                </a:lnTo>
                <a:close/>
                <a:moveTo>
                  <a:pt x="270" y="54"/>
                </a:moveTo>
                <a:lnTo>
                  <a:pt x="281" y="71"/>
                </a:lnTo>
                <a:lnTo>
                  <a:pt x="289" y="90"/>
                </a:lnTo>
                <a:lnTo>
                  <a:pt x="297" y="113"/>
                </a:lnTo>
                <a:lnTo>
                  <a:pt x="319" y="105"/>
                </a:lnTo>
                <a:lnTo>
                  <a:pt x="342" y="95"/>
                </a:lnTo>
                <a:lnTo>
                  <a:pt x="320" y="77"/>
                </a:lnTo>
                <a:lnTo>
                  <a:pt x="296" y="64"/>
                </a:lnTo>
                <a:lnTo>
                  <a:pt x="270" y="54"/>
                </a:lnTo>
                <a:close/>
                <a:moveTo>
                  <a:pt x="175" y="54"/>
                </a:moveTo>
                <a:lnTo>
                  <a:pt x="146" y="65"/>
                </a:lnTo>
                <a:lnTo>
                  <a:pt x="121" y="80"/>
                </a:lnTo>
                <a:lnTo>
                  <a:pt x="98" y="99"/>
                </a:lnTo>
                <a:lnTo>
                  <a:pt x="121" y="108"/>
                </a:lnTo>
                <a:lnTo>
                  <a:pt x="149" y="115"/>
                </a:lnTo>
                <a:lnTo>
                  <a:pt x="155" y="91"/>
                </a:lnTo>
                <a:lnTo>
                  <a:pt x="165" y="72"/>
                </a:lnTo>
                <a:lnTo>
                  <a:pt x="175" y="54"/>
                </a:lnTo>
                <a:close/>
                <a:moveTo>
                  <a:pt x="223" y="49"/>
                </a:moveTo>
                <a:lnTo>
                  <a:pt x="212" y="52"/>
                </a:lnTo>
                <a:lnTo>
                  <a:pt x="200" y="61"/>
                </a:lnTo>
                <a:lnTo>
                  <a:pt x="190" y="75"/>
                </a:lnTo>
                <a:lnTo>
                  <a:pt x="180" y="96"/>
                </a:lnTo>
                <a:lnTo>
                  <a:pt x="171" y="120"/>
                </a:lnTo>
                <a:lnTo>
                  <a:pt x="203" y="124"/>
                </a:lnTo>
                <a:lnTo>
                  <a:pt x="238" y="124"/>
                </a:lnTo>
                <a:lnTo>
                  <a:pt x="273" y="120"/>
                </a:lnTo>
                <a:lnTo>
                  <a:pt x="265" y="95"/>
                </a:lnTo>
                <a:lnTo>
                  <a:pt x="255" y="75"/>
                </a:lnTo>
                <a:lnTo>
                  <a:pt x="245" y="61"/>
                </a:lnTo>
                <a:lnTo>
                  <a:pt x="234" y="52"/>
                </a:lnTo>
                <a:lnTo>
                  <a:pt x="223" y="49"/>
                </a:lnTo>
                <a:close/>
                <a:moveTo>
                  <a:pt x="223" y="0"/>
                </a:moveTo>
                <a:lnTo>
                  <a:pt x="259" y="3"/>
                </a:lnTo>
                <a:lnTo>
                  <a:pt x="293" y="11"/>
                </a:lnTo>
                <a:lnTo>
                  <a:pt x="325" y="25"/>
                </a:lnTo>
                <a:lnTo>
                  <a:pt x="354" y="42"/>
                </a:lnTo>
                <a:lnTo>
                  <a:pt x="380" y="65"/>
                </a:lnTo>
                <a:lnTo>
                  <a:pt x="402" y="90"/>
                </a:lnTo>
                <a:lnTo>
                  <a:pt x="420" y="120"/>
                </a:lnTo>
                <a:lnTo>
                  <a:pt x="433" y="151"/>
                </a:lnTo>
                <a:lnTo>
                  <a:pt x="442" y="186"/>
                </a:lnTo>
                <a:lnTo>
                  <a:pt x="445" y="222"/>
                </a:lnTo>
                <a:lnTo>
                  <a:pt x="442" y="258"/>
                </a:lnTo>
                <a:lnTo>
                  <a:pt x="433" y="292"/>
                </a:lnTo>
                <a:lnTo>
                  <a:pt x="420" y="325"/>
                </a:lnTo>
                <a:lnTo>
                  <a:pt x="402" y="353"/>
                </a:lnTo>
                <a:lnTo>
                  <a:pt x="380" y="379"/>
                </a:lnTo>
                <a:lnTo>
                  <a:pt x="354" y="402"/>
                </a:lnTo>
                <a:lnTo>
                  <a:pt x="325" y="420"/>
                </a:lnTo>
                <a:lnTo>
                  <a:pt x="293" y="434"/>
                </a:lnTo>
                <a:lnTo>
                  <a:pt x="259" y="441"/>
                </a:lnTo>
                <a:lnTo>
                  <a:pt x="223" y="445"/>
                </a:lnTo>
                <a:lnTo>
                  <a:pt x="187" y="441"/>
                </a:lnTo>
                <a:lnTo>
                  <a:pt x="152" y="434"/>
                </a:lnTo>
                <a:lnTo>
                  <a:pt x="120" y="420"/>
                </a:lnTo>
                <a:lnTo>
                  <a:pt x="91" y="402"/>
                </a:lnTo>
                <a:lnTo>
                  <a:pt x="66" y="379"/>
                </a:lnTo>
                <a:lnTo>
                  <a:pt x="43" y="353"/>
                </a:lnTo>
                <a:lnTo>
                  <a:pt x="25" y="325"/>
                </a:lnTo>
                <a:lnTo>
                  <a:pt x="11" y="292"/>
                </a:lnTo>
                <a:lnTo>
                  <a:pt x="2" y="258"/>
                </a:lnTo>
                <a:lnTo>
                  <a:pt x="0" y="222"/>
                </a:lnTo>
                <a:lnTo>
                  <a:pt x="2" y="186"/>
                </a:lnTo>
                <a:lnTo>
                  <a:pt x="11" y="151"/>
                </a:lnTo>
                <a:lnTo>
                  <a:pt x="25" y="120"/>
                </a:lnTo>
                <a:lnTo>
                  <a:pt x="43" y="90"/>
                </a:lnTo>
                <a:lnTo>
                  <a:pt x="66" y="65"/>
                </a:lnTo>
                <a:lnTo>
                  <a:pt x="91" y="42"/>
                </a:lnTo>
                <a:lnTo>
                  <a:pt x="120" y="25"/>
                </a:lnTo>
                <a:lnTo>
                  <a:pt x="152" y="11"/>
                </a:lnTo>
                <a:lnTo>
                  <a:pt x="187" y="3"/>
                </a:lnTo>
                <a:lnTo>
                  <a:pt x="223" y="0"/>
                </a:ln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solidFill>
                <a:prstClr val="black"/>
              </a:solidFill>
            </a:endParaRPr>
          </a:p>
        </p:txBody>
      </p:sp>
      <p:grpSp>
        <p:nvGrpSpPr>
          <p:cNvPr id="120" name="Knop uitleg"/>
          <p:cNvGrpSpPr/>
          <p:nvPr userDrawn="1"/>
        </p:nvGrpSpPr>
        <p:grpSpPr>
          <a:xfrm>
            <a:off x="9508903" y="2860360"/>
            <a:ext cx="1947767" cy="2037397"/>
            <a:chOff x="9275416" y="2755352"/>
            <a:chExt cx="1944216" cy="2037397"/>
          </a:xfrm>
        </p:grpSpPr>
        <p:sp>
          <p:nvSpPr>
            <p:cNvPr id="43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 dirty="0">
                <a:solidFill>
                  <a:prstClr val="black"/>
                </a:solidFill>
              </a:endParaRPr>
            </a:p>
          </p:txBody>
        </p:sp>
        <p:grpSp>
          <p:nvGrpSpPr>
            <p:cNvPr id="42" name="Groep 41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36" name="Ovaal 35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deze dia in de diavoorstelling en klik</a:t>
                </a:r>
                <a:b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</a:br>
                <a: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 de </a:t>
                </a:r>
                <a:r>
                  <a:rPr lang="nl-NL" sz="1200" dirty="0" err="1">
                    <a:solidFill>
                      <a:srgbClr val="FFFFFF"/>
                    </a:solidFill>
                    <a:latin typeface="Oswald" panose="02000503000000000000" pitchFamily="2" charset="0"/>
                  </a:rPr>
                  <a:t>youtube</a:t>
                </a:r>
                <a: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  <a:t>-link</a:t>
                </a:r>
                <a:endParaRPr lang="nl-NL" sz="1000" dirty="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17" name="Groep 116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18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9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28" name="HYPERLINK" hidden="1"/>
          <p:cNvGrpSpPr/>
          <p:nvPr userDrawn="1"/>
        </p:nvGrpSpPr>
        <p:grpSpPr>
          <a:xfrm>
            <a:off x="675002" y="1599166"/>
            <a:ext cx="8081505" cy="4559785"/>
            <a:chOff x="673768" y="1599165"/>
            <a:chExt cx="8066773" cy="4559785"/>
          </a:xfrm>
        </p:grpSpPr>
        <p:sp>
          <p:nvSpPr>
            <p:cNvPr id="121" name="HYPERLINK">
              <a:hlinkClick r:id="rId2"/>
            </p:cNvPr>
            <p:cNvSpPr/>
            <p:nvPr userDrawn="1"/>
          </p:nvSpPr>
          <p:spPr>
            <a:xfrm>
              <a:off x="673768" y="1599165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3" name="HYPERLINK">
              <a:hlinkClick r:id="rId3"/>
            </p:cNvPr>
            <p:cNvSpPr/>
            <p:nvPr userDrawn="1"/>
          </p:nvSpPr>
          <p:spPr>
            <a:xfrm>
              <a:off x="3465094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4" name="HYPERLINK">
              <a:hlinkClick r:id="rId4"/>
            </p:cNvPr>
            <p:cNvSpPr/>
            <p:nvPr userDrawn="1"/>
          </p:nvSpPr>
          <p:spPr>
            <a:xfrm>
              <a:off x="6148301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5" name="HYPERLINK">
              <a:hlinkClick r:id="rId5"/>
            </p:cNvPr>
            <p:cNvSpPr/>
            <p:nvPr userDrawn="1"/>
          </p:nvSpPr>
          <p:spPr>
            <a:xfrm>
              <a:off x="673768" y="3932073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6" name="HYPERLINK">
              <a:hlinkClick r:id="rId6"/>
            </p:cNvPr>
            <p:cNvSpPr/>
            <p:nvPr userDrawn="1"/>
          </p:nvSpPr>
          <p:spPr>
            <a:xfrm>
              <a:off x="3454453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7" name="HYPERLINK">
              <a:hlinkClick r:id="rId7"/>
            </p:cNvPr>
            <p:cNvSpPr/>
            <p:nvPr userDrawn="1"/>
          </p:nvSpPr>
          <p:spPr>
            <a:xfrm>
              <a:off x="6149692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58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A78"/>
              </a:buClr>
              <a:buFont typeface="Courier New" panose="02070309020205020404" pitchFamily="49" charset="0"/>
              <a:buNone/>
            </a:pPr>
            <a:endParaRPr dirty="0">
              <a:solidFill>
                <a:prstClr val="white"/>
              </a:solidFill>
            </a:endParaRPr>
          </a:p>
        </p:txBody>
      </p:sp>
      <p:cxnSp>
        <p:nvCxnSpPr>
          <p:cNvPr id="60" name="Rechte verbindingslijn 59"/>
          <p:cNvCxnSpPr>
            <a:cxnSpLocks/>
          </p:cNvCxnSpPr>
          <p:nvPr userDrawn="1"/>
        </p:nvCxnSpPr>
        <p:spPr>
          <a:xfrm>
            <a:off x="693964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Vrije vorm 308"/>
          <p:cNvSpPr/>
          <p:nvPr userDrawn="1"/>
        </p:nvSpPr>
        <p:spPr>
          <a:xfrm>
            <a:off x="11056397" y="692698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solidFill>
                <a:prstClr val="black"/>
              </a:solidFill>
            </a:endParaRPr>
          </a:p>
        </p:txBody>
      </p:sp>
      <p:grpSp>
        <p:nvGrpSpPr>
          <p:cNvPr id="4" name="Groep 3"/>
          <p:cNvGrpSpPr/>
          <p:nvPr userDrawn="1"/>
        </p:nvGrpSpPr>
        <p:grpSpPr>
          <a:xfrm>
            <a:off x="1630521" y="2276771"/>
            <a:ext cx="758667" cy="226154"/>
            <a:chOff x="1607118" y="2276771"/>
            <a:chExt cx="757283" cy="226154"/>
          </a:xfrm>
        </p:grpSpPr>
        <p:grpSp>
          <p:nvGrpSpPr>
            <p:cNvPr id="71" name="Groep 70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60" name="Groep 159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64" name="Rechte verbindingslijn 163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5" name="Rechte verbindingslijn 164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6" name="Rechte verbindingslijn 165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7" name="Rechte verbindingslijn 166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8" name="Rechte verbindingslijn 167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61" name="Groep 160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74" name="Groep 73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51" name="Groep 150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55" name="Rechte verbindingslijn 154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7" name="Rechte verbindingslijn 156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8" name="Rechte verbindingslijn 157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9" name="Rechte verbindingslijn 158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52" name="Groep 151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53" name="Rechthoek 152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4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grpSp>
        <p:nvGrpSpPr>
          <p:cNvPr id="179" name="Groep 178"/>
          <p:cNvGrpSpPr/>
          <p:nvPr userDrawn="1"/>
        </p:nvGrpSpPr>
        <p:grpSpPr>
          <a:xfrm>
            <a:off x="4573976" y="2179391"/>
            <a:ext cx="369155" cy="398538"/>
            <a:chOff x="14466489" y="1001522"/>
            <a:chExt cx="290627" cy="314333"/>
          </a:xfrm>
        </p:grpSpPr>
        <p:sp>
          <p:nvSpPr>
            <p:cNvPr id="200" name="Rechthoek 199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Ovaal 200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202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203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4" name="Rechte verbindingslijn 203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5" name="Rechte verbindingslijn 204"/>
            <p:cNvCxnSpPr>
              <a:cxnSpLocks/>
              <a:stCxn id="203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339377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Dia plakken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hthoek 59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 dirty="0">
              <a:solidFill>
                <a:prstClr val="black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6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pt-BR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Dia plakken (3)</a:t>
            </a:r>
            <a:endParaRPr lang="nl-NL" sz="1400" dirty="0">
              <a:solidFill>
                <a:srgbClr val="303E48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Tekstvak 6"/>
          <p:cNvSpPr txBox="1"/>
          <p:nvPr userDrawn="1"/>
        </p:nvSpPr>
        <p:spPr>
          <a:xfrm>
            <a:off x="693964" y="692699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6A5"/>
                </a:solidFill>
                <a:latin typeface="Oswald" panose="02000503000000000000" pitchFamily="2" charset="0"/>
              </a:rPr>
              <a:t>Voordat je begint…</a:t>
            </a:r>
          </a:p>
        </p:txBody>
      </p:sp>
      <p:grpSp>
        <p:nvGrpSpPr>
          <p:cNvPr id="63" name="GRID" hidden="1"/>
          <p:cNvGrpSpPr/>
          <p:nvPr userDrawn="1"/>
        </p:nvGrpSpPr>
        <p:grpSpPr>
          <a:xfrm>
            <a:off x="3" y="0"/>
            <a:ext cx="12191999" cy="6858000"/>
            <a:chOff x="0" y="0"/>
            <a:chExt cx="12169774" cy="6858000"/>
          </a:xfrm>
        </p:grpSpPr>
        <p:sp>
          <p:nvSpPr>
            <p:cNvPr id="64" name="Rechthoek 63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5" name="Rechthoek 64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6" name="Rechthoek 65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7" name="Rechthoek 66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8" name="Rechthoek 67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9" name="Rechthoek 68"/>
            <p:cNvSpPr/>
            <p:nvPr userDrawn="1"/>
          </p:nvSpPr>
          <p:spPr>
            <a:xfrm rot="5400000">
              <a:off x="760320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1" name="Rechthoek 70"/>
            <p:cNvSpPr/>
            <p:nvPr userDrawn="1"/>
          </p:nvSpPr>
          <p:spPr>
            <a:xfrm>
              <a:off x="0" y="4558336"/>
              <a:ext cx="12169774" cy="180239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4" name="Rechthoek 73"/>
            <p:cNvSpPr/>
            <p:nvPr userDrawn="1"/>
          </p:nvSpPr>
          <p:spPr>
            <a:xfrm rot="5400000">
              <a:off x="288408" y="5406273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5" name="Rechthoek 74"/>
            <p:cNvSpPr/>
            <p:nvPr userDrawn="1"/>
          </p:nvSpPr>
          <p:spPr>
            <a:xfrm rot="5400000">
              <a:off x="4146704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6" name="Rechthoek 75"/>
            <p:cNvSpPr/>
            <p:nvPr userDrawn="1"/>
          </p:nvSpPr>
          <p:spPr>
            <a:xfrm rot="5400000">
              <a:off x="4598789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0" name="Rechthoek 79"/>
            <p:cNvSpPr/>
            <p:nvPr userDrawn="1"/>
          </p:nvSpPr>
          <p:spPr>
            <a:xfrm rot="5400000">
              <a:off x="7990288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7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A78"/>
              </a:buClr>
              <a:buFont typeface="Courier New" panose="02070309020205020404" pitchFamily="49" charset="0"/>
              <a:buNone/>
            </a:pPr>
            <a:endParaRPr dirty="0">
              <a:solidFill>
                <a:prstClr val="white"/>
              </a:solidFill>
            </a:endParaRPr>
          </a:p>
        </p:txBody>
      </p:sp>
      <p:cxnSp>
        <p:nvCxnSpPr>
          <p:cNvPr id="62" name="Rechte verbindingslijn 61"/>
          <p:cNvCxnSpPr>
            <a:cxnSpLocks/>
          </p:cNvCxnSpPr>
          <p:nvPr userDrawn="1"/>
        </p:nvCxnSpPr>
        <p:spPr>
          <a:xfrm>
            <a:off x="693964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Vrije vorm 308"/>
          <p:cNvSpPr/>
          <p:nvPr userDrawn="1"/>
        </p:nvSpPr>
        <p:spPr>
          <a:xfrm>
            <a:off x="11056397" y="692698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>
              <a:solidFill>
                <a:prstClr val="black"/>
              </a:solidFill>
            </a:endParaRPr>
          </a:p>
        </p:txBody>
      </p:sp>
      <p:grpSp>
        <p:nvGrpSpPr>
          <p:cNvPr id="81" name="Groep 80"/>
          <p:cNvGrpSpPr/>
          <p:nvPr userDrawn="1"/>
        </p:nvGrpSpPr>
        <p:grpSpPr>
          <a:xfrm>
            <a:off x="692522" y="2165458"/>
            <a:ext cx="10846191" cy="3437453"/>
            <a:chOff x="435100" y="2165458"/>
            <a:chExt cx="10826418" cy="3437453"/>
          </a:xfrm>
        </p:grpSpPr>
        <p:pic>
          <p:nvPicPr>
            <p:cNvPr id="83" name="Afbeelding 82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0052" y="3108088"/>
              <a:ext cx="2720614" cy="145024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4" name="Afbeelding 8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455" y="3108088"/>
              <a:ext cx="2700576" cy="1452486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5" name="Afbeelding 8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02632" y="2165458"/>
              <a:ext cx="1676146" cy="1676147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6" name="Afbeelding 8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1291" y="2165459"/>
              <a:ext cx="1676146" cy="1676146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87" name="Groep 86"/>
            <p:cNvGrpSpPr/>
            <p:nvPr/>
          </p:nvGrpSpPr>
          <p:grpSpPr>
            <a:xfrm>
              <a:off x="689183" y="2317897"/>
              <a:ext cx="1819124" cy="1488559"/>
              <a:chOff x="1576217" y="1539637"/>
              <a:chExt cx="2497599" cy="2043743"/>
            </a:xfrm>
          </p:grpSpPr>
          <p:sp>
            <p:nvSpPr>
              <p:cNvPr id="106" name="Ovaal 105"/>
              <p:cNvSpPr/>
              <p:nvPr/>
            </p:nvSpPr>
            <p:spPr>
              <a:xfrm>
                <a:off x="1576217" y="2624542"/>
                <a:ext cx="268099" cy="268101"/>
              </a:xfrm>
              <a:prstGeom prst="ellipse">
                <a:avLst/>
              </a:prstGeom>
              <a:solidFill>
                <a:schemeClr val="bg1">
                  <a:alpha val="0"/>
                </a:schemeClr>
              </a:solidFill>
              <a:ln w="19050">
                <a:solidFill>
                  <a:srgbClr val="0096A5"/>
                </a:solidFill>
              </a:ln>
              <a:effectLst>
                <a:outerShdw dir="8100000" sx="105000" sy="105000" algn="tr" rotWithShape="0">
                  <a:srgbClr val="000000">
                    <a:alpha val="6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107" name="Rechte verbindingslijn 106"/>
              <p:cNvCxnSpPr>
                <a:cxnSpLocks/>
              </p:cNvCxnSpPr>
              <p:nvPr/>
            </p:nvCxnSpPr>
            <p:spPr>
              <a:xfrm flipH="1">
                <a:off x="1710267" y="1539637"/>
                <a:ext cx="2013194" cy="1093496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chte verbindingslijn 107"/>
              <p:cNvCxnSpPr>
                <a:cxnSpLocks/>
              </p:cNvCxnSpPr>
              <p:nvPr/>
            </p:nvCxnSpPr>
            <p:spPr>
              <a:xfrm flipH="1" flipV="1">
                <a:off x="1693333" y="2878667"/>
                <a:ext cx="2380483" cy="704713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ep 87"/>
            <p:cNvGrpSpPr/>
            <p:nvPr/>
          </p:nvGrpSpPr>
          <p:grpSpPr>
            <a:xfrm>
              <a:off x="4524700" y="3531339"/>
              <a:ext cx="135750" cy="135750"/>
              <a:chOff x="6569918" y="3240107"/>
              <a:chExt cx="430310" cy="430310"/>
            </a:xfrm>
          </p:grpSpPr>
          <p:sp>
            <p:nvSpPr>
              <p:cNvPr id="104" name="Ovaal 103"/>
              <p:cNvSpPr/>
              <p:nvPr/>
            </p:nvSpPr>
            <p:spPr>
              <a:xfrm>
                <a:off x="6569918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Vermenigvuldigen 49"/>
              <p:cNvSpPr/>
              <p:nvPr/>
            </p:nvSpPr>
            <p:spPr>
              <a:xfrm>
                <a:off x="6579279" y="3259665"/>
                <a:ext cx="403927" cy="403927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89" name="Ovaal 88"/>
            <p:cNvSpPr/>
            <p:nvPr/>
          </p:nvSpPr>
          <p:spPr>
            <a:xfrm>
              <a:off x="4507854" y="3501955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cxnSp>
          <p:nvCxnSpPr>
            <p:cNvPr id="90" name="Rechte verbindingslijn 89"/>
            <p:cNvCxnSpPr>
              <a:cxnSpLocks/>
              <a:stCxn id="86" idx="1"/>
            </p:cNvCxnSpPr>
            <p:nvPr/>
          </p:nvCxnSpPr>
          <p:spPr>
            <a:xfrm flipH="1">
              <a:off x="4602924" y="2410925"/>
              <a:ext cx="1383833" cy="1076554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Afbeelding 9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8637" y="3108088"/>
              <a:ext cx="2730611" cy="144455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cxnSp>
          <p:nvCxnSpPr>
            <p:cNvPr id="92" name="Rechte verbindingslijn 91"/>
            <p:cNvCxnSpPr>
              <a:cxnSpLocks/>
            </p:cNvCxnSpPr>
            <p:nvPr/>
          </p:nvCxnSpPr>
          <p:spPr>
            <a:xfrm flipH="1" flipV="1">
              <a:off x="4634821" y="3710764"/>
              <a:ext cx="1935123" cy="127589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al 92"/>
            <p:cNvSpPr/>
            <p:nvPr/>
          </p:nvSpPr>
          <p:spPr>
            <a:xfrm>
              <a:off x="43510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prstClr val="white"/>
                  </a:solidFill>
                </a:rPr>
                <a:t>A</a:t>
              </a:r>
              <a:endParaRPr lang="nl-NL" sz="1000" b="1" cap="all" dirty="0">
                <a:solidFill>
                  <a:prstClr val="white"/>
                </a:solidFill>
              </a:endParaRPr>
            </a:p>
          </p:txBody>
        </p:sp>
        <p:sp>
          <p:nvSpPr>
            <p:cNvPr id="94" name="Ovaal 93"/>
            <p:cNvSpPr/>
            <p:nvPr/>
          </p:nvSpPr>
          <p:spPr>
            <a:xfrm>
              <a:off x="4273589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prstClr val="white"/>
                  </a:solidFill>
                </a:rPr>
                <a:t>B</a:t>
              </a:r>
              <a:endParaRPr lang="nl-NL" sz="1000" b="1" cap="all" dirty="0">
                <a:solidFill>
                  <a:prstClr val="white"/>
                </a:solidFill>
              </a:endParaRPr>
            </a:p>
          </p:txBody>
        </p:sp>
        <p:grpSp>
          <p:nvGrpSpPr>
            <p:cNvPr id="95" name="Groep 94"/>
            <p:cNvGrpSpPr/>
            <p:nvPr/>
          </p:nvGrpSpPr>
          <p:grpSpPr>
            <a:xfrm>
              <a:off x="6610285" y="2756643"/>
              <a:ext cx="433398" cy="433398"/>
              <a:chOff x="7376403" y="3240107"/>
              <a:chExt cx="430310" cy="430310"/>
            </a:xfrm>
          </p:grpSpPr>
          <p:sp>
            <p:nvSpPr>
              <p:cNvPr id="102" name="Ovaal 101"/>
              <p:cNvSpPr/>
              <p:nvPr/>
            </p:nvSpPr>
            <p:spPr>
              <a:xfrm>
                <a:off x="7376403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Vermenigvuldigen 40"/>
              <p:cNvSpPr/>
              <p:nvPr/>
            </p:nvSpPr>
            <p:spPr>
              <a:xfrm>
                <a:off x="7389594" y="3259666"/>
                <a:ext cx="403928" cy="403928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96" name="Tekstvak 95"/>
            <p:cNvSpPr txBox="1"/>
            <p:nvPr/>
          </p:nvSpPr>
          <p:spPr>
            <a:xfrm>
              <a:off x="8516760" y="4854881"/>
              <a:ext cx="2697316" cy="748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defRPr sz="1000">
                  <a:solidFill>
                    <a:srgbClr val="44546A"/>
                  </a:solidFill>
                </a:defRPr>
              </a:lvl1pPr>
            </a:lstStyle>
            <a:p>
              <a:r>
                <a:rPr lang="nl-NL" dirty="0"/>
                <a:t>Klik met je rechter muisknop op de dia aan de linker kant. Klik daarna op dia herstellen om de opmaak weer correct </a:t>
              </a:r>
              <a:br>
                <a:rPr lang="nl-NL" dirty="0"/>
              </a:br>
              <a:r>
                <a:rPr lang="nl-NL" dirty="0"/>
                <a:t>te krijgen.</a:t>
              </a:r>
            </a:p>
          </p:txBody>
        </p:sp>
        <p:sp>
          <p:nvSpPr>
            <p:cNvPr id="97" name="Ovaal 96"/>
            <p:cNvSpPr/>
            <p:nvPr/>
          </p:nvSpPr>
          <p:spPr>
            <a:xfrm>
              <a:off x="8456782" y="3712390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cxnSp>
          <p:nvCxnSpPr>
            <p:cNvPr id="98" name="Rechte verbindingslijn 97"/>
            <p:cNvCxnSpPr>
              <a:cxnSpLocks/>
              <a:stCxn id="100" idx="1"/>
            </p:cNvCxnSpPr>
            <p:nvPr/>
          </p:nvCxnSpPr>
          <p:spPr>
            <a:xfrm flipH="1">
              <a:off x="8535648" y="2410449"/>
              <a:ext cx="1297966" cy="1315831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Rechte verbindingslijn 98"/>
            <p:cNvCxnSpPr>
              <a:cxnSpLocks/>
              <a:stCxn id="100" idx="4"/>
              <a:endCxn id="97" idx="5"/>
            </p:cNvCxnSpPr>
            <p:nvPr/>
          </p:nvCxnSpPr>
          <p:spPr>
            <a:xfrm flipH="1">
              <a:off x="8623456" y="3838353"/>
              <a:ext cx="1801616" cy="40710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0" name="Afbeelding 99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88624" y="2165459"/>
              <a:ext cx="1672894" cy="1672894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1" name="Ovaal 100"/>
            <p:cNvSpPr/>
            <p:nvPr/>
          </p:nvSpPr>
          <p:spPr>
            <a:xfrm>
              <a:off x="811798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prstClr val="white"/>
                  </a:solidFill>
                </a:rPr>
                <a:t>C</a:t>
              </a:r>
              <a:endParaRPr lang="nl-NL" sz="1000" b="1" cap="all" dirty="0">
                <a:solidFill>
                  <a:prstClr val="white"/>
                </a:solidFill>
              </a:endParaRPr>
            </a:p>
          </p:txBody>
        </p:sp>
      </p:grpSp>
      <p:sp>
        <p:nvSpPr>
          <p:cNvPr id="109" name="Tekstvak 108"/>
          <p:cNvSpPr txBox="1"/>
          <p:nvPr userDrawn="1"/>
        </p:nvSpPr>
        <p:spPr>
          <a:xfrm>
            <a:off x="1072995" y="4853681"/>
            <a:ext cx="2773568" cy="8078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nl-NL" sz="1000" dirty="0">
                <a:solidFill>
                  <a:srgbClr val="44546A"/>
                </a:solidFill>
              </a:rPr>
              <a:t>Klik op </a:t>
            </a:r>
            <a:r>
              <a:rPr lang="nl-NL" sz="1000" b="1" dirty="0">
                <a:solidFill>
                  <a:srgbClr val="44546A"/>
                </a:solidFill>
              </a:rPr>
              <a:t>“nieuwe dia”</a:t>
            </a:r>
            <a:r>
              <a:rPr lang="nl-NL" sz="1000" dirty="0">
                <a:solidFill>
                  <a:srgbClr val="44546A"/>
                </a:solidFill>
              </a:rPr>
              <a:t> om een </a:t>
            </a:r>
            <a:r>
              <a:rPr lang="nl-NL" sz="1000" b="1" dirty="0">
                <a:solidFill>
                  <a:srgbClr val="44546A"/>
                </a:solidFill>
              </a:rPr>
              <a:t>template</a:t>
            </a:r>
            <a:r>
              <a:rPr lang="nl-NL" sz="1000" dirty="0">
                <a:solidFill>
                  <a:srgbClr val="44546A"/>
                </a:solidFill>
              </a:rPr>
              <a:t> </a:t>
            </a:r>
            <a:br>
              <a:rPr lang="nl-NL" sz="1000" dirty="0">
                <a:solidFill>
                  <a:srgbClr val="44546A"/>
                </a:solidFill>
              </a:rPr>
            </a:br>
            <a:r>
              <a:rPr lang="nl-NL" sz="1000" dirty="0">
                <a:solidFill>
                  <a:srgbClr val="44546A"/>
                </a:solidFill>
              </a:rPr>
              <a:t>slide toe te voegen.</a:t>
            </a:r>
            <a:endParaRPr lang="en-GB" sz="1000" dirty="0">
              <a:solidFill>
                <a:srgbClr val="44546A"/>
              </a:solidFill>
            </a:endParaRPr>
          </a:p>
        </p:txBody>
      </p:sp>
      <p:sp>
        <p:nvSpPr>
          <p:cNvPr id="110" name="Tekstvak 109"/>
          <p:cNvSpPr txBox="1"/>
          <p:nvPr userDrawn="1"/>
        </p:nvSpPr>
        <p:spPr>
          <a:xfrm>
            <a:off x="4935953" y="4853681"/>
            <a:ext cx="2748843" cy="7504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nl-NL"/>
            </a:defPPr>
            <a:lvl1pPr>
              <a:lnSpc>
                <a:spcPct val="90000"/>
              </a:lnSpc>
              <a:defRPr sz="1050">
                <a:solidFill>
                  <a:srgbClr val="44546A"/>
                </a:solidFill>
              </a:defRPr>
            </a:lvl1pPr>
          </a:lstStyle>
          <a:p>
            <a:r>
              <a:rPr lang="nl-NL" sz="1000" b="1" dirty="0">
                <a:solidFill>
                  <a:srgbClr val="FF7800"/>
                </a:solidFill>
              </a:rPr>
              <a:t>Let op: </a:t>
            </a:r>
            <a:br>
              <a:rPr lang="nl-NL" sz="1000" dirty="0"/>
            </a:br>
            <a:r>
              <a:rPr lang="nl-NL" sz="1000" dirty="0"/>
              <a:t>Het is </a:t>
            </a:r>
            <a:r>
              <a:rPr lang="nl-NL" sz="1000" b="1" u="sng" dirty="0"/>
              <a:t>niet</a:t>
            </a:r>
            <a:r>
              <a:rPr lang="nl-NL" sz="1000" dirty="0"/>
              <a:t> mogelijk een slide te kopiëren </a:t>
            </a:r>
            <a:br>
              <a:rPr lang="nl-NL" sz="1000" dirty="0"/>
            </a:br>
            <a:r>
              <a:rPr lang="nl-NL" sz="1000" dirty="0"/>
              <a:t>met een </a:t>
            </a:r>
            <a:r>
              <a:rPr lang="nl-NL" sz="1000" b="1" dirty="0"/>
              <a:t>andere</a:t>
            </a:r>
            <a:r>
              <a:rPr lang="nl-NL" sz="1000" dirty="0"/>
              <a:t> opmaak. Teksten en andere objecten dienen </a:t>
            </a:r>
            <a:r>
              <a:rPr lang="nl-NL" sz="1000" b="1" dirty="0">
                <a:solidFill>
                  <a:srgbClr val="FF7800"/>
                </a:solidFill>
              </a:rPr>
              <a:t>één-voor-één</a:t>
            </a:r>
            <a:r>
              <a:rPr lang="nl-NL" sz="1000" dirty="0"/>
              <a:t> te worden over gekopieerd.</a:t>
            </a:r>
          </a:p>
        </p:txBody>
      </p:sp>
    </p:spTree>
    <p:extLst>
      <p:ext uri="{BB962C8B-B14F-4D97-AF65-F5344CB8AC3E}">
        <p14:creationId xmlns:p14="http://schemas.microsoft.com/office/powerpoint/2010/main" val="231672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ekstvak 30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Intro slide</a:t>
            </a:r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84" name="Afbeelding 8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35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36" name="Rechthoek 3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37" name="Ovaal 3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8" name="Rechte verbindingslijn 3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9" name="Rechte verbindingslijn 3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0" name="Rechthoek 3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2" name="Ovaal 4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4" name="Groep 43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77" name="Rechthoek 76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78" name="Rechte verbindingslijn 77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79" name="Gelijkbenige driehoek 78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45" name="Groep 4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Ovaal 71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Vrije vorm: vorm 72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" name="Rechthoek: afgeronde hoeken 73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75" name="Rechte verbindingslijn 74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76" name="Rechte verbindingslijn 75"/>
                <p:cNvCxnSpPr>
                  <a:cxnSpLocks/>
                  <a:stCxn id="74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46" name="Ovaal 4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7" name="Rechthoek 4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8" name="Rechte verbindingslijn 4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9" name="Groep 4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Rechthoek 50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52" name="Groep 51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65" name="Rechthoek: afgeronde hoeken 64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Rechthoek 65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8" name="Rechthoek 67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9" name="Rechthoek 68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53" name="Groep 52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57" name="Groep 56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59" name="Rechthoek: afgeronde hoeken 58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0" name="Rechthoek 59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1" name="Rechthoek 60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Rechthoek 62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4" name="Rechthoek 63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58" name="Boog 57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54" name="Tekstvak 53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55" name="Tekstvak 54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56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8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8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Rechthoek 8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3" name="Rechte verbindingslijn 8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0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1308219" y="826943"/>
            <a:ext cx="6282061" cy="2208357"/>
          </a:xfrm>
          <a:solidFill>
            <a:schemeClr val="tx2">
              <a:alpha val="90000"/>
            </a:schemeClr>
          </a:solidFill>
        </p:spPr>
        <p:txBody>
          <a:bodyPr vert="horz"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7797" y="1331380"/>
            <a:ext cx="5822899" cy="423198"/>
          </a:xfrm>
        </p:spPr>
        <p:txBody>
          <a:bodyPr wrap="none" anchor="ctr"/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rijfsnaam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37797" y="2415716"/>
            <a:ext cx="5822899" cy="3960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4386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  <p:bldP spid="3" grpId="0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785EF-7941-496F-8E52-3521FB118D88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agenda</a:t>
            </a:r>
          </a:p>
        </p:txBody>
      </p:sp>
      <p:sp>
        <p:nvSpPr>
          <p:cNvPr id="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10" name="Rechthoek 9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11" name="Ovaal 10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" name="Rechte verbindingslijn 11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" name="Rechthoek 12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4" name="Rechte verbindingslijn 13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Rechte verbindingslijn 14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hthoek 15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7" name="Groep 16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72" name="Rechte verbindingslijn 7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3" name="Rechte verbindingslijn 7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4" name="Rechte verbindingslijn 7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5" name="Rechte verbindingslijn 7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6" name="Rechte verbindingslijn 7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9" name="Groep 6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1" name="Pijl: punthaak 7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18" name="Groep 17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63" name="Rechte verbindingslijn 6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4" name="Rechte verbindingslijn 6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5" name="Rechte verbindingslijn 6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6" name="Rechte verbindingslijn 6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7" name="Rechte verbindingslijn 6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0" name="Groep 5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61" name="Rechthoek 6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2" name="Pijl: punthaak 6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19" name="Rechte verbindingslijn 18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1" name="Groep 20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48" name="Rechthoek 4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49" name="Groep 4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50" name="Groep 4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54" name="Rechte verbindingslijn 5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5" name="Rechte verbindingslijn 5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6" name="Rechte verbindingslijn 5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7" name="Rechte verbindingslijn 5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8" name="Rechte verbindingslijn 5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51" name="Groep 5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52" name="Rechthoek 5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3" name="Pijl: punthaak 5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" name="Groep 21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9" name="Groep 3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43" name="Rechte verbindingslijn 4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4" name="Rechte verbindingslijn 4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5" name="Rechte verbindingslijn 4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6" name="Rechte verbindingslijn 4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7" name="Rechte verbindingslijn 4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40" name="Groep 3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41" name="Rechthoek 4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" name="Pijl: punthaak 4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" name="Rechthoek 2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25" name="Rechthoek 2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26" name="Rechte verbindingslijn 2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7" name="Rechthoek 2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28" name="Ovaal 2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Ovaal 2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32" name="Ovaal 3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34" name="Ovaal 3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35" name="Rechthoek 3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7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7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0" name="Rechte verbindingslijn 7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82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9695" y="1273840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89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1172873" y="1273840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369695" y="2078021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69695" y="2882202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9695" y="368638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369695" y="4490564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1172873" y="4490564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369695" y="529474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06" name="Tijdelijke aanduiding voor verticale tekst 2">
            <a:extLst>
              <a:ext uri="{FF2B5EF4-FFF2-40B4-BE49-F238E27FC236}">
                <a16:creationId xmlns:a16="http://schemas.microsoft.com/office/drawing/2014/main" id="{5D87FE67-1EE4-4AB8-935B-42793EDED5D3}"/>
              </a:ext>
            </a:extLst>
          </p:cNvPr>
          <p:cNvSpPr>
            <a:spLocks noGrp="1"/>
          </p:cNvSpPr>
          <p:nvPr>
            <p:ph type="body" orient="vert" idx="44" hasCustomPrompt="1"/>
          </p:nvPr>
        </p:nvSpPr>
        <p:spPr>
          <a:xfrm>
            <a:off x="1172873" y="2078021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verticale tekst 2">
            <a:extLst>
              <a:ext uri="{FF2B5EF4-FFF2-40B4-BE49-F238E27FC236}">
                <a16:creationId xmlns:a16="http://schemas.microsoft.com/office/drawing/2014/main" id="{46E11900-4AC3-42DC-9EA5-FB6867C53B00}"/>
              </a:ext>
            </a:extLst>
          </p:cNvPr>
          <p:cNvSpPr>
            <a:spLocks noGrp="1"/>
          </p:cNvSpPr>
          <p:nvPr>
            <p:ph type="body" orient="vert" idx="45" hasCustomPrompt="1"/>
          </p:nvPr>
        </p:nvSpPr>
        <p:spPr>
          <a:xfrm>
            <a:off x="1172873" y="2882202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>
            <a:extLst>
              <a:ext uri="{FF2B5EF4-FFF2-40B4-BE49-F238E27FC236}">
                <a16:creationId xmlns:a16="http://schemas.microsoft.com/office/drawing/2014/main" id="{99E8DD11-097A-45EB-AAF7-EC25BE66AA9F}"/>
              </a:ext>
            </a:extLst>
          </p:cNvPr>
          <p:cNvSpPr>
            <a:spLocks noGrp="1"/>
          </p:cNvSpPr>
          <p:nvPr>
            <p:ph type="body" orient="vert" idx="46" hasCustomPrompt="1"/>
          </p:nvPr>
        </p:nvSpPr>
        <p:spPr>
          <a:xfrm>
            <a:off x="1172873" y="3686383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>
            <a:extLst>
              <a:ext uri="{FF2B5EF4-FFF2-40B4-BE49-F238E27FC236}">
                <a16:creationId xmlns:a16="http://schemas.microsoft.com/office/drawing/2014/main" id="{711A31A4-DA9C-4BBB-B5C7-183BEC7EF686}"/>
              </a:ext>
            </a:extLst>
          </p:cNvPr>
          <p:cNvSpPr>
            <a:spLocks noGrp="1"/>
          </p:cNvSpPr>
          <p:nvPr>
            <p:ph type="body" orient="vert" idx="47" hasCustomPrompt="1"/>
          </p:nvPr>
        </p:nvSpPr>
        <p:spPr>
          <a:xfrm>
            <a:off x="1172873" y="5294743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5" name="Tijdelijke aanduiding voor verticale tekst 2">
            <a:extLst>
              <a:ext uri="{FF2B5EF4-FFF2-40B4-BE49-F238E27FC236}">
                <a16:creationId xmlns:a16="http://schemas.microsoft.com/office/drawing/2014/main" id="{B1B63A7F-DF05-469E-80FA-37EAE167E98C}"/>
              </a:ext>
            </a:extLst>
          </p:cNvPr>
          <p:cNvSpPr>
            <a:spLocks noGrp="1"/>
          </p:cNvSpPr>
          <p:nvPr>
            <p:ph type="body" orient="vert" idx="48" hasCustomPrompt="1"/>
          </p:nvPr>
        </p:nvSpPr>
        <p:spPr>
          <a:xfrm>
            <a:off x="6404073" y="1273840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26" name="Tijdelijke aanduiding voor verticale tekst 2">
            <a:extLst>
              <a:ext uri="{FF2B5EF4-FFF2-40B4-BE49-F238E27FC236}">
                <a16:creationId xmlns:a16="http://schemas.microsoft.com/office/drawing/2014/main" id="{9C7CD455-D314-41D3-879A-08B84935CEC9}"/>
              </a:ext>
            </a:extLst>
          </p:cNvPr>
          <p:cNvSpPr>
            <a:spLocks noGrp="1"/>
          </p:cNvSpPr>
          <p:nvPr>
            <p:ph type="body" orient="vert" idx="49" hasCustomPrompt="1"/>
          </p:nvPr>
        </p:nvSpPr>
        <p:spPr>
          <a:xfrm>
            <a:off x="7207249" y="1273840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7" name="Tijdelijke aanduiding voor verticale tekst 2">
            <a:extLst>
              <a:ext uri="{FF2B5EF4-FFF2-40B4-BE49-F238E27FC236}">
                <a16:creationId xmlns:a16="http://schemas.microsoft.com/office/drawing/2014/main" id="{DD2CE62E-C496-4565-AF68-2B0A9D334384}"/>
              </a:ext>
            </a:extLst>
          </p:cNvPr>
          <p:cNvSpPr>
            <a:spLocks noGrp="1"/>
          </p:cNvSpPr>
          <p:nvPr>
            <p:ph type="body" orient="vert" idx="50" hasCustomPrompt="1"/>
          </p:nvPr>
        </p:nvSpPr>
        <p:spPr>
          <a:xfrm>
            <a:off x="6404073" y="2078021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0" name="Tijdelijke aanduiding voor verticale tekst 2">
            <a:extLst>
              <a:ext uri="{FF2B5EF4-FFF2-40B4-BE49-F238E27FC236}">
                <a16:creationId xmlns:a16="http://schemas.microsoft.com/office/drawing/2014/main" id="{62081025-AC7D-4317-85F8-7AF54FEFB70E}"/>
              </a:ext>
            </a:extLst>
          </p:cNvPr>
          <p:cNvSpPr>
            <a:spLocks noGrp="1"/>
          </p:cNvSpPr>
          <p:nvPr>
            <p:ph type="body" orient="vert" idx="51" hasCustomPrompt="1"/>
          </p:nvPr>
        </p:nvSpPr>
        <p:spPr>
          <a:xfrm>
            <a:off x="6404073" y="2882202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1" name="Tijdelijke aanduiding voor verticale tekst 2">
            <a:extLst>
              <a:ext uri="{FF2B5EF4-FFF2-40B4-BE49-F238E27FC236}">
                <a16:creationId xmlns:a16="http://schemas.microsoft.com/office/drawing/2014/main" id="{1D92109C-596C-4FBC-9DAC-FC16291B5613}"/>
              </a:ext>
            </a:extLst>
          </p:cNvPr>
          <p:cNvSpPr>
            <a:spLocks noGrp="1"/>
          </p:cNvSpPr>
          <p:nvPr>
            <p:ph type="body" orient="vert" idx="52" hasCustomPrompt="1"/>
          </p:nvPr>
        </p:nvSpPr>
        <p:spPr>
          <a:xfrm>
            <a:off x="6404073" y="368638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2" name="Tijdelijke aanduiding voor verticale tekst 2">
            <a:extLst>
              <a:ext uri="{FF2B5EF4-FFF2-40B4-BE49-F238E27FC236}">
                <a16:creationId xmlns:a16="http://schemas.microsoft.com/office/drawing/2014/main" id="{9A7D68C9-5C99-4DFA-AB5B-E0D532554963}"/>
              </a:ext>
            </a:extLst>
          </p:cNvPr>
          <p:cNvSpPr>
            <a:spLocks noGrp="1"/>
          </p:cNvSpPr>
          <p:nvPr>
            <p:ph type="body" orient="vert" idx="53" hasCustomPrompt="1"/>
          </p:nvPr>
        </p:nvSpPr>
        <p:spPr>
          <a:xfrm>
            <a:off x="6404073" y="4490564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3" name="Tijdelijke aanduiding voor verticale tekst 2">
            <a:extLst>
              <a:ext uri="{FF2B5EF4-FFF2-40B4-BE49-F238E27FC236}">
                <a16:creationId xmlns:a16="http://schemas.microsoft.com/office/drawing/2014/main" id="{0CD1C1F6-47D9-4631-9B2D-B26D86A78A49}"/>
              </a:ext>
            </a:extLst>
          </p:cNvPr>
          <p:cNvSpPr>
            <a:spLocks noGrp="1"/>
          </p:cNvSpPr>
          <p:nvPr>
            <p:ph type="body" orient="vert" idx="54" hasCustomPrompt="1"/>
          </p:nvPr>
        </p:nvSpPr>
        <p:spPr>
          <a:xfrm>
            <a:off x="7207249" y="4490564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4" name="Tijdelijke aanduiding voor verticale tekst 2">
            <a:extLst>
              <a:ext uri="{FF2B5EF4-FFF2-40B4-BE49-F238E27FC236}">
                <a16:creationId xmlns:a16="http://schemas.microsoft.com/office/drawing/2014/main" id="{7A235542-C730-4503-B1CE-16969076319E}"/>
              </a:ext>
            </a:extLst>
          </p:cNvPr>
          <p:cNvSpPr>
            <a:spLocks noGrp="1"/>
          </p:cNvSpPr>
          <p:nvPr>
            <p:ph type="body" orient="vert" idx="55" hasCustomPrompt="1"/>
          </p:nvPr>
        </p:nvSpPr>
        <p:spPr>
          <a:xfrm>
            <a:off x="6404073" y="529474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5" name="Tijdelijke aanduiding voor verticale tekst 2">
            <a:extLst>
              <a:ext uri="{FF2B5EF4-FFF2-40B4-BE49-F238E27FC236}">
                <a16:creationId xmlns:a16="http://schemas.microsoft.com/office/drawing/2014/main" id="{CD9096F6-F962-4C50-8224-EF9B005B7A0B}"/>
              </a:ext>
            </a:extLst>
          </p:cNvPr>
          <p:cNvSpPr>
            <a:spLocks noGrp="1"/>
          </p:cNvSpPr>
          <p:nvPr>
            <p:ph type="body" orient="vert" idx="56" hasCustomPrompt="1"/>
          </p:nvPr>
        </p:nvSpPr>
        <p:spPr>
          <a:xfrm>
            <a:off x="7207249" y="2078021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6" name="Tijdelijke aanduiding voor verticale tekst 2">
            <a:extLst>
              <a:ext uri="{FF2B5EF4-FFF2-40B4-BE49-F238E27FC236}">
                <a16:creationId xmlns:a16="http://schemas.microsoft.com/office/drawing/2014/main" id="{AB1C548E-5889-4D39-B26F-1F68E2CFAB6A}"/>
              </a:ext>
            </a:extLst>
          </p:cNvPr>
          <p:cNvSpPr>
            <a:spLocks noGrp="1"/>
          </p:cNvSpPr>
          <p:nvPr>
            <p:ph type="body" orient="vert" idx="57" hasCustomPrompt="1"/>
          </p:nvPr>
        </p:nvSpPr>
        <p:spPr>
          <a:xfrm>
            <a:off x="7207249" y="2882202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7" name="Tijdelijke aanduiding voor verticale tekst 2">
            <a:extLst>
              <a:ext uri="{FF2B5EF4-FFF2-40B4-BE49-F238E27FC236}">
                <a16:creationId xmlns:a16="http://schemas.microsoft.com/office/drawing/2014/main" id="{81F7F5AA-966F-4553-A62B-C09640EE436C}"/>
              </a:ext>
            </a:extLst>
          </p:cNvPr>
          <p:cNvSpPr>
            <a:spLocks noGrp="1"/>
          </p:cNvSpPr>
          <p:nvPr>
            <p:ph type="body" orient="vert" idx="58" hasCustomPrompt="1"/>
          </p:nvPr>
        </p:nvSpPr>
        <p:spPr>
          <a:xfrm>
            <a:off x="7207249" y="3686383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8" name="Tijdelijke aanduiding voor verticale tekst 2">
            <a:extLst>
              <a:ext uri="{FF2B5EF4-FFF2-40B4-BE49-F238E27FC236}">
                <a16:creationId xmlns:a16="http://schemas.microsoft.com/office/drawing/2014/main" id="{A43E093F-FADD-466A-BD74-B22739D738DE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7207249" y="5294743"/>
            <a:ext cx="4616451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</p:spTree>
    <p:extLst>
      <p:ext uri="{BB962C8B-B14F-4D97-AF65-F5344CB8AC3E}">
        <p14:creationId xmlns:p14="http://schemas.microsoft.com/office/powerpoint/2010/main" val="252859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7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7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7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7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7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8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8" decel="10000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8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4750"/>
                            </p:stCondLst>
                            <p:childTnLst>
                              <p:par>
                                <p:cTn id="10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7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7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7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1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7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7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1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9" grpId="0" build="p" animBg="1">
        <p:tmplLst>
          <p:tmpl>
            <p:tnLst>
              <p:par>
                <p:cTn presetID="17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6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6" grpId="0" build="p" animBg="1">
        <p:tmplLst>
          <p:tmpl>
            <p:tnLst>
              <p:par>
                <p:cTn presetID="17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3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5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6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7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8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96727-9EBA-40CC-A7CC-E4D89E404236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45707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 (W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144000" rIns="216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0C842B-F772-4F15-AAB7-B52551111C53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tekst (WIT)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4400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Tekst + 2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/>
          <p:cNvSpPr>
            <a:spLocks noGrp="1"/>
          </p:cNvSpPr>
          <p:nvPr>
            <p:ph type="pic" sz="quarter" idx="15" hasCustomPrompt="1"/>
          </p:nvPr>
        </p:nvSpPr>
        <p:spPr>
          <a:xfrm>
            <a:off x="8592000" y="0"/>
            <a:ext cx="3600000" cy="6444878"/>
          </a:xfrm>
          <a:custGeom>
            <a:avLst/>
            <a:gdLst>
              <a:gd name="connsiteX0" fmla="*/ 0 w 3600000"/>
              <a:gd name="connsiteY0" fmla="*/ 0 h 6455571"/>
              <a:gd name="connsiteX1" fmla="*/ 3600000 w 3600000"/>
              <a:gd name="connsiteY1" fmla="*/ 0 h 6455571"/>
              <a:gd name="connsiteX2" fmla="*/ 3600000 w 3600000"/>
              <a:gd name="connsiteY2" fmla="*/ 6455571 h 6455571"/>
              <a:gd name="connsiteX3" fmla="*/ 3596827 w 3600000"/>
              <a:gd name="connsiteY3" fmla="*/ 6294120 h 6455571"/>
              <a:gd name="connsiteX4" fmla="*/ 2522687 w 3600000"/>
              <a:gd name="connsiteY4" fmla="*/ 6294120 h 6455571"/>
              <a:gd name="connsiteX5" fmla="*/ 1905628 w 3600000"/>
              <a:gd name="connsiteY5" fmla="*/ 6454140 h 6455571"/>
              <a:gd name="connsiteX6" fmla="*/ 0 w 3600000"/>
              <a:gd name="connsiteY6" fmla="*/ 6454400 h 6455571"/>
              <a:gd name="connsiteX0" fmla="*/ 0 w 3600000"/>
              <a:gd name="connsiteY0" fmla="*/ 0 h 6454400"/>
              <a:gd name="connsiteX1" fmla="*/ 3600000 w 3600000"/>
              <a:gd name="connsiteY1" fmla="*/ 0 h 6454400"/>
              <a:gd name="connsiteX2" fmla="*/ 3596827 w 3600000"/>
              <a:gd name="connsiteY2" fmla="*/ 6294120 h 6454400"/>
              <a:gd name="connsiteX3" fmla="*/ 2522687 w 3600000"/>
              <a:gd name="connsiteY3" fmla="*/ 6294120 h 6454400"/>
              <a:gd name="connsiteX4" fmla="*/ 1905628 w 3600000"/>
              <a:gd name="connsiteY4" fmla="*/ 6454140 h 6454400"/>
              <a:gd name="connsiteX5" fmla="*/ 0 w 3600000"/>
              <a:gd name="connsiteY5" fmla="*/ 6454400 h 6454400"/>
              <a:gd name="connsiteX6" fmla="*/ 0 w 3600000"/>
              <a:gd name="connsiteY6" fmla="*/ 0 h 6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00000" h="6454400">
                <a:moveTo>
                  <a:pt x="0" y="0"/>
                </a:moveTo>
                <a:lnTo>
                  <a:pt x="3600000" y="0"/>
                </a:lnTo>
                <a:cubicBezTo>
                  <a:pt x="3598942" y="2098040"/>
                  <a:pt x="3597885" y="4196080"/>
                  <a:pt x="3596827" y="6294120"/>
                </a:cubicBezTo>
                <a:lnTo>
                  <a:pt x="2522687" y="6294120"/>
                </a:lnTo>
                <a:lnTo>
                  <a:pt x="1905628" y="6454140"/>
                </a:lnTo>
                <a:lnTo>
                  <a:pt x="0" y="6454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2" y="365126"/>
            <a:ext cx="785540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2" y="1179861"/>
            <a:ext cx="7855401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65A3B-8C1E-4AF1-9DBD-63C3DD6E1F50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75% tekst + 25% afbeelding</a:t>
            </a:r>
          </a:p>
        </p:txBody>
      </p:sp>
      <p:sp>
        <p:nvSpPr>
          <p:cNvPr id="54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785400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5" name="Groep 54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5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61" name="Rechthoek 6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4" name="Rechthoek 6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65" name="Rechte verbindingslijn 6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Rechthoek 6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8" name="Groep 6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8" name="Groep 11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22" name="Rechte verbindingslijn 12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3" name="Rechte verbindingslijn 12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2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2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2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9" name="Groep 11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0" name="Rechthoek 11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1" name="Pijl: punthaak 12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9" name="Groep 6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9" name="Groep 10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13" name="Rechte verbindingslijn 11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4" name="Rechte verbindingslijn 11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0" name="Groep 10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1" name="Rechthoek 11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2" name="Pijl: punthaak 11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71" name="Rechte verbindingslijn 7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72" name="Groep 7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8" name="Rechthoek 9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00" name="Groep 9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04" name="Rechte verbindingslijn 10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0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0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0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8" name="Rechte verbindingslijn 10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1" name="Groep 10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2" name="Rechthoek 10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03" name="Pijl: punthaak 10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73" name="Groep 7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7" name="Rechthoek 8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8" name="Groep 8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9" name="Groep 8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93" name="Rechte verbindingslijn 9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4" name="Rechte verbindingslijn 9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5" name="Rechte verbindingslijn 9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6" name="Rechte verbindingslijn 9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0" name="Groep 8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1" name="Rechthoek 9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2" name="Pijl: punthaak 9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74" name="Rechthoek 7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75" name="Rechthoek 7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76" name="Rechte verbindingslijn 7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7" name="Rechthoek 7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8" name="Ovaal 7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Ovaal 7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81" name="Rechthoek 8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82" name="Ovaal 8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83" name="Rechthoek 8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84" name="Ovaal 8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85" name="Rechthoek 8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86" name="Rechte verbindingslijn 8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ep 126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28" name="Afbeelding 12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34" name="Rechthoek 1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35" name="Ovaal 1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36" name="Rechte verbindingslijn 1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7" name="Rechte verbindingslijn 1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8" name="Rechthoek 1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40" name="Ovaal 13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41" name="Rechthoek 14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2" name="Groep 14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75" name="Rechthoek 17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76" name="Rechte verbindingslijn 17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7" name="Gelijkbenige driehoek 17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3" name="Groep 14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9" name="Rechthoek 16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0" name="Ovaal 16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Vrije vorm: vorm 17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Rechthoek: afgeronde hoeken 17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73" name="Rechte verbindingslijn 17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74" name="Rechte verbindingslijn 173"/>
                <p:cNvCxnSpPr>
                  <a:cxnSpLocks/>
                  <a:stCxn id="17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44" name="Ovaal 14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45" name="Rechthoek 14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46" name="Rechte verbindingslijn 14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7" name="Groep 14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8" name="Rechthoek 14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Rechthoek 14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50" name="Groep 14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63" name="Rechthoek: afgeronde hoeken 16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4" name="Rechthoek 16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5" name="Rechthoek 16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6" name="Rechthoek 16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7" name="Rechthoek 16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8" name="Rechthoek 16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51" name="Groep 15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55" name="Groep 15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7" name="Rechthoek: afgeronde hoeken 15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" name="Rechthoek 15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9" name="Rechthoek 15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60" name="Rechthoek 15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61" name="Rechthoek 16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62" name="Rechthoek 16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56" name="Boog 15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52" name="Tekstvak 15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53" name="Tekstvak 152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5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3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3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Rechthoek 13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33" name="Rechte verbindingslijn 13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82373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2" y="365126"/>
            <a:ext cx="554355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2" y="1179861"/>
            <a:ext cx="5543551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35DB6E-7878-4548-9CAC-834A2B03961F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5" y="0"/>
            <a:ext cx="5899595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26799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tussenruim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102"/>
            <a:ext cx="5900400" cy="6444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2" y="365126"/>
            <a:ext cx="554355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3E659-8D0E-4ACF-A283-594EF895A116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5" y="0"/>
            <a:ext cx="5899595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57803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46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EE8C-7FDD-4575-BB02-CE56659B47F9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6" y="0"/>
            <a:ext cx="5899594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420409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aangeslo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738"/>
            <a:ext cx="6096001" cy="644663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2" y="365126"/>
            <a:ext cx="554355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9E1E-E7A7-4A5D-8C01-6019C490D5B7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afbeelding</a:t>
            </a:r>
          </a:p>
        </p:txBody>
      </p:sp>
      <p:sp>
        <p:nvSpPr>
          <p:cNvPr id="176" name="Tijdelijke aanduiding voor afbeelding 175">
            <a:extLst>
              <a:ext uri="{FF2B5EF4-FFF2-40B4-BE49-F238E27FC236}">
                <a16:creationId xmlns:a16="http://schemas.microsoft.com/office/drawing/2014/main" id="{7C5210DE-B7D5-45EB-AABB-494A14F33D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443898"/>
          </a:xfrm>
          <a:custGeom>
            <a:avLst/>
            <a:gdLst>
              <a:gd name="connsiteX0" fmla="*/ 0 w 6096000"/>
              <a:gd name="connsiteY0" fmla="*/ 0 h 6443898"/>
              <a:gd name="connsiteX1" fmla="*/ 196406 w 6096000"/>
              <a:gd name="connsiteY1" fmla="*/ 0 h 6443898"/>
              <a:gd name="connsiteX2" fmla="*/ 368300 w 6096000"/>
              <a:gd name="connsiteY2" fmla="*/ 0 h 6443898"/>
              <a:gd name="connsiteX3" fmla="*/ 424269 w 6096000"/>
              <a:gd name="connsiteY3" fmla="*/ 0 h 6443898"/>
              <a:gd name="connsiteX4" fmla="*/ 2786743 w 6096000"/>
              <a:gd name="connsiteY4" fmla="*/ 0 h 6443898"/>
              <a:gd name="connsiteX5" fmla="*/ 6096000 w 6096000"/>
              <a:gd name="connsiteY5" fmla="*/ 0 h 6443898"/>
              <a:gd name="connsiteX6" fmla="*/ 6092827 w 6096000"/>
              <a:gd name="connsiteY6" fmla="*/ 6283249 h 6443898"/>
              <a:gd name="connsiteX7" fmla="*/ 5018687 w 6096000"/>
              <a:gd name="connsiteY7" fmla="*/ 6283249 h 6443898"/>
              <a:gd name="connsiteX8" fmla="*/ 4401628 w 6096000"/>
              <a:gd name="connsiteY8" fmla="*/ 6443348 h 6443898"/>
              <a:gd name="connsiteX9" fmla="*/ 424269 w 6096000"/>
              <a:gd name="connsiteY9" fmla="*/ 6443891 h 6443898"/>
              <a:gd name="connsiteX10" fmla="*/ 424269 w 6096000"/>
              <a:gd name="connsiteY10" fmla="*/ 6443898 h 6443898"/>
              <a:gd name="connsiteX11" fmla="*/ 368300 w 6096000"/>
              <a:gd name="connsiteY11" fmla="*/ 6443898 h 6443898"/>
              <a:gd name="connsiteX12" fmla="*/ 196406 w 6096000"/>
              <a:gd name="connsiteY12" fmla="*/ 6443898 h 6443898"/>
              <a:gd name="connsiteX13" fmla="*/ 0 w 6096000"/>
              <a:gd name="connsiteY13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96000" h="6443898">
                <a:moveTo>
                  <a:pt x="0" y="0"/>
                </a:moveTo>
                <a:lnTo>
                  <a:pt x="196406" y="0"/>
                </a:lnTo>
                <a:lnTo>
                  <a:pt x="368300" y="0"/>
                </a:lnTo>
                <a:lnTo>
                  <a:pt x="424269" y="0"/>
                </a:lnTo>
                <a:lnTo>
                  <a:pt x="2786743" y="0"/>
                </a:lnTo>
                <a:lnTo>
                  <a:pt x="6096000" y="0"/>
                </a:lnTo>
                <a:cubicBezTo>
                  <a:pt x="6094942" y="2094416"/>
                  <a:pt x="6093885" y="4188833"/>
                  <a:pt x="6092827" y="6283249"/>
                </a:cubicBezTo>
                <a:lnTo>
                  <a:pt x="5018687" y="6283249"/>
                </a:lnTo>
                <a:lnTo>
                  <a:pt x="4401628" y="6443348"/>
                </a:lnTo>
                <a:lnTo>
                  <a:pt x="424269" y="6443891"/>
                </a:lnTo>
                <a:lnTo>
                  <a:pt x="424269" y="6443898"/>
                </a:lnTo>
                <a:lnTo>
                  <a:pt x="368300" y="6443898"/>
                </a:lnTo>
                <a:lnTo>
                  <a:pt x="196406" y="6443898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60817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176" grpId="0" animBg="1"/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% Tekst + 7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8301" y="365126"/>
            <a:ext cx="2863851" cy="272814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1" y="1179861"/>
            <a:ext cx="2863851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DADCE-13AD-493E-B29F-B493E8FEBE4B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75% tekst + 25% afbeelding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5" hasCustomPrompt="1"/>
          </p:nvPr>
        </p:nvSpPr>
        <p:spPr>
          <a:xfrm>
            <a:off x="3600451" y="0"/>
            <a:ext cx="8591551" cy="6444288"/>
          </a:xfrm>
          <a:custGeom>
            <a:avLst/>
            <a:gdLst>
              <a:gd name="connsiteX0" fmla="*/ 0 w 8591551"/>
              <a:gd name="connsiteY0" fmla="*/ 0 h 6441603"/>
              <a:gd name="connsiteX1" fmla="*/ 8591551 w 8591551"/>
              <a:gd name="connsiteY1" fmla="*/ 0 h 6441603"/>
              <a:gd name="connsiteX2" fmla="*/ 8591551 w 8591551"/>
              <a:gd name="connsiteY2" fmla="*/ 6441603 h 6441603"/>
              <a:gd name="connsiteX3" fmla="*/ 8588378 w 8591551"/>
              <a:gd name="connsiteY3" fmla="*/ 6280152 h 6441603"/>
              <a:gd name="connsiteX4" fmla="*/ 7514238 w 8591551"/>
              <a:gd name="connsiteY4" fmla="*/ 6280152 h 6441603"/>
              <a:gd name="connsiteX5" fmla="*/ 6897179 w 8591551"/>
              <a:gd name="connsiteY5" fmla="*/ 6440172 h 6441603"/>
              <a:gd name="connsiteX6" fmla="*/ 0 w 8591551"/>
              <a:gd name="connsiteY6" fmla="*/ 6441112 h 6441603"/>
              <a:gd name="connsiteX0" fmla="*/ 0 w 8591551"/>
              <a:gd name="connsiteY0" fmla="*/ 0 h 6441112"/>
              <a:gd name="connsiteX1" fmla="*/ 8591551 w 8591551"/>
              <a:gd name="connsiteY1" fmla="*/ 0 h 6441112"/>
              <a:gd name="connsiteX2" fmla="*/ 8588378 w 8591551"/>
              <a:gd name="connsiteY2" fmla="*/ 6280152 h 6441112"/>
              <a:gd name="connsiteX3" fmla="*/ 7514238 w 8591551"/>
              <a:gd name="connsiteY3" fmla="*/ 6280152 h 6441112"/>
              <a:gd name="connsiteX4" fmla="*/ 6897179 w 8591551"/>
              <a:gd name="connsiteY4" fmla="*/ 6440172 h 6441112"/>
              <a:gd name="connsiteX5" fmla="*/ 0 w 8591551"/>
              <a:gd name="connsiteY5" fmla="*/ 6441112 h 6441112"/>
              <a:gd name="connsiteX6" fmla="*/ 0 w 8591551"/>
              <a:gd name="connsiteY6" fmla="*/ 0 h 6441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91551" h="6441112">
                <a:moveTo>
                  <a:pt x="0" y="0"/>
                </a:moveTo>
                <a:lnTo>
                  <a:pt x="8591551" y="0"/>
                </a:lnTo>
                <a:cubicBezTo>
                  <a:pt x="8590493" y="2093384"/>
                  <a:pt x="8589436" y="4186768"/>
                  <a:pt x="8588378" y="6280152"/>
                </a:cubicBezTo>
                <a:lnTo>
                  <a:pt x="7514238" y="6280152"/>
                </a:lnTo>
                <a:lnTo>
                  <a:pt x="6897179" y="6440172"/>
                </a:lnTo>
                <a:lnTo>
                  <a:pt x="0" y="644111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369699" y="743900"/>
            <a:ext cx="286245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grpSp>
        <p:nvGrpSpPr>
          <p:cNvPr id="35" name="Groep 34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3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1" name="Rechthoek 4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42" name="Ovaal 4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4" name="Rechthoek 4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5" name="Rechte verbindingslijn 4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Rechthoek 4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8" name="Groep 4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8" name="Groep 9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2" name="Rechte verbindingslijn 10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9" name="Groep 9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0" name="Rechthoek 9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1" name="Pijl: punthaak 10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9" name="Groep 4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2" name="Groep 5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8" name="Rechthoek 7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9" name="Groep 7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0" name="Groep 7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4" name="Rechte verbindingslijn 8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2" name="Rechthoek 8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3" name="Pijl: punthaak 8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7" name="Rechthoek 6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9" name="Groep 6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3" name="Rechte verbindingslijn 7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0" name="Groep 6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1" name="Rechthoek 7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2" name="Pijl: punthaak 7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4" name="Rechthoek 5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5" name="Rechthoek 5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58" name="Ovaal 5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Ovaal 5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1" name="Rechthoek 6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Rechthoek 3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0" name="Rechte verbindingslijn 3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7" name="Groep 106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8" name="Afbeelding 10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0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14" name="Rechthoek 11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15" name="Ovaal 11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6" name="Rechte verbindingslijn 11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7" name="Rechte verbindingslijn 11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8" name="Rechthoek 11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9" name="Rechte verbindingslijn 11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20" name="Ovaal 11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21" name="Rechthoek 12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22" name="Groep 12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55" name="Rechthoek 15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57" name="Gelijkbenige driehoek 15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3" name="Groep 12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49" name="Rechthoek 14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Ovaal 14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1" name="Vrije vorm: vorm 15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2" name="Rechthoek: afgeronde hoeken 15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53" name="Rechte verbindingslijn 15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54" name="Rechte verbindingslijn 153"/>
                <p:cNvCxnSpPr>
                  <a:cxnSpLocks/>
                  <a:stCxn id="15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24" name="Ovaal 12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27" name="Groep 12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8" name="Rechthoek 12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Rechthoek 12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43" name="Rechthoek: afgeronde hoeken 14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5" name="Rechthoek 14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31" name="Groep 13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5" name="Groep 13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7" name="Rechthoek: afgeronde hoeken 13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9" name="Rechthoek 13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0" name="Rechthoek 13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1" name="Rechthoek 14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2" name="Rechthoek 14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36" name="Boog 13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Tekstvak 13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33" name="Tekstvak 132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1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Rechthoek 11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3" name="Rechte verbindingslijn 11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14420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Blauw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F3EEB-37A8-4112-A67A-DC30F2463893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7950200" y="-279400"/>
            <a:ext cx="4241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afbeelding (Titel blauw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70039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Afbeelding (Wit) (Geen animat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55571"/>
              <a:gd name="connsiteX1" fmla="*/ 12192000 w 12192000"/>
              <a:gd name="connsiteY1" fmla="*/ 0 h 6455571"/>
              <a:gd name="connsiteX2" fmla="*/ 12192000 w 12192000"/>
              <a:gd name="connsiteY2" fmla="*/ 6455571 h 6455571"/>
              <a:gd name="connsiteX3" fmla="*/ 12188827 w 12192000"/>
              <a:gd name="connsiteY3" fmla="*/ 6294120 h 6455571"/>
              <a:gd name="connsiteX4" fmla="*/ 11114687 w 12192000"/>
              <a:gd name="connsiteY4" fmla="*/ 6294120 h 6455571"/>
              <a:gd name="connsiteX5" fmla="*/ 10497628 w 12192000"/>
              <a:gd name="connsiteY5" fmla="*/ 6454140 h 6455571"/>
              <a:gd name="connsiteX6" fmla="*/ 0 w 12192000"/>
              <a:gd name="connsiteY6" fmla="*/ 6455571 h 64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55571">
                <a:moveTo>
                  <a:pt x="0" y="0"/>
                </a:moveTo>
                <a:lnTo>
                  <a:pt x="12192000" y="0"/>
                </a:lnTo>
                <a:lnTo>
                  <a:pt x="12192000" y="6455571"/>
                </a:lnTo>
                <a:lnTo>
                  <a:pt x="12188827" y="6294120"/>
                </a:lnTo>
                <a:lnTo>
                  <a:pt x="11114687" y="6294120"/>
                </a:lnTo>
                <a:lnTo>
                  <a:pt x="10497628" y="6454140"/>
                </a:lnTo>
                <a:lnTo>
                  <a:pt x="0" y="64555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1F5B1-2829-43CA-9C0C-EADE9C4E1B73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8242302" y="-279400"/>
            <a:ext cx="3949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afbeelding (Titel wit + GEEN ANIMATIE)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ep 13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5" name="Afbeelding 14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21" name="Rechthoek 20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22" name="Ovaal 21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24" name="Rechte verbindingslijn 23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25" name="Rechte verbindingslijn 24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6" name="Rechthoek 25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27" name="Rechte verbindingslijn 26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8" name="Ovaal 27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0" name="Groep 29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63" name="Rechthoek 62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64" name="Rechte verbindingslijn 63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65" name="Gelijkbenige driehoek 64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1" name="Groep 30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al 57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Vrije vorm: vorm 58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" name="Rechthoek: afgeronde hoeken 59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1" name="Rechte verbindingslijn 60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62" name="Rechte verbindingslijn 61"/>
                <p:cNvCxnSpPr>
                  <a:cxnSpLocks/>
                  <a:stCxn id="6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32" name="Ovaal 31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35" name="Groep 34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36" name="Rechthoek 35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51" name="Rechthoek: afgeronde hoeken 50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Rechthoek 51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3" name="Rechthoek 52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4" name="Rechthoek 53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5" name="Rechthoek 54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6" name="Rechthoek 55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39" name="Groep 38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43" name="Groep 42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45" name="Rechthoek: afgeronde hoeken 44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hthoek 45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" name="Rechthoek 46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" name="Rechthoek 47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" name="Rechthoek 48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" name="Rechthoek 49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4" name="Boog 43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40" name="Tekstvak 39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41" name="Tekstvak 40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4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7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Rechthoek 1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92428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Afbeelding 6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20" y="3229993"/>
            <a:ext cx="1639483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0" y="0"/>
            <a:ext cx="12192000" cy="6442872"/>
          </a:xfrm>
          <a:custGeom>
            <a:avLst/>
            <a:gdLst>
              <a:gd name="connsiteX0" fmla="*/ 0 w 12192000"/>
              <a:gd name="connsiteY0" fmla="*/ 0 h 6442872"/>
              <a:gd name="connsiteX1" fmla="*/ 12192000 w 12192000"/>
              <a:gd name="connsiteY1" fmla="*/ 0 h 6442872"/>
              <a:gd name="connsiteX2" fmla="*/ 12192000 w 12192000"/>
              <a:gd name="connsiteY2" fmla="*/ 6442872 h 6442872"/>
              <a:gd name="connsiteX3" fmla="*/ 12188827 w 12192000"/>
              <a:gd name="connsiteY3" fmla="*/ 6281739 h 6442872"/>
              <a:gd name="connsiteX4" fmla="*/ 11114687 w 12192000"/>
              <a:gd name="connsiteY4" fmla="*/ 6281739 h 6442872"/>
              <a:gd name="connsiteX5" fmla="*/ 10497628 w 12192000"/>
              <a:gd name="connsiteY5" fmla="*/ 6441444 h 6442872"/>
              <a:gd name="connsiteX6" fmla="*/ 0 w 12192000"/>
              <a:gd name="connsiteY6" fmla="*/ 6442872 h 6442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42872">
                <a:moveTo>
                  <a:pt x="0" y="0"/>
                </a:moveTo>
                <a:lnTo>
                  <a:pt x="12192000" y="0"/>
                </a:lnTo>
                <a:lnTo>
                  <a:pt x="12192000" y="6442872"/>
                </a:lnTo>
                <a:lnTo>
                  <a:pt x="12188827" y="6281739"/>
                </a:lnTo>
                <a:lnTo>
                  <a:pt x="11114687" y="6281739"/>
                </a:lnTo>
                <a:lnTo>
                  <a:pt x="10497628" y="6441444"/>
                </a:lnTo>
                <a:lnTo>
                  <a:pt x="0" y="64428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AEAFE-FCAC-47AA-A7CC-21B96966E72E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video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Meer informatie"/>
          <p:cNvGrpSpPr/>
          <p:nvPr userDrawn="1"/>
        </p:nvGrpSpPr>
        <p:grpSpPr>
          <a:xfrm>
            <a:off x="12396765" y="4434425"/>
            <a:ext cx="3178515" cy="783273"/>
            <a:chOff x="-3741486" y="3359148"/>
            <a:chExt cx="3178515" cy="783273"/>
          </a:xfrm>
        </p:grpSpPr>
        <p:sp>
          <p:nvSpPr>
            <p:cNvPr id="15" name="Freeform 101"/>
            <p:cNvSpPr>
              <a:spLocks noEditPoints="1"/>
            </p:cNvSpPr>
            <p:nvPr/>
          </p:nvSpPr>
          <p:spPr bwMode="auto">
            <a:xfrm>
              <a:off x="-3741486" y="3359148"/>
              <a:ext cx="255753" cy="255753"/>
            </a:xfrm>
            <a:custGeom>
              <a:avLst/>
              <a:gdLst>
                <a:gd name="T0" fmla="*/ 0 w 292"/>
                <a:gd name="T1" fmla="*/ 146 h 292"/>
                <a:gd name="T2" fmla="*/ 4 w 292"/>
                <a:gd name="T3" fmla="*/ 113 h 292"/>
                <a:gd name="T4" fmla="*/ 14 w 292"/>
                <a:gd name="T5" fmla="*/ 82 h 292"/>
                <a:gd name="T6" fmla="*/ 31 w 292"/>
                <a:gd name="T7" fmla="*/ 55 h 292"/>
                <a:gd name="T8" fmla="*/ 53 w 292"/>
                <a:gd name="T9" fmla="*/ 32 h 292"/>
                <a:gd name="T10" fmla="*/ 81 w 292"/>
                <a:gd name="T11" fmla="*/ 15 h 292"/>
                <a:gd name="T12" fmla="*/ 112 w 292"/>
                <a:gd name="T13" fmla="*/ 4 h 292"/>
                <a:gd name="T14" fmla="*/ 145 w 292"/>
                <a:gd name="T15" fmla="*/ 0 h 292"/>
                <a:gd name="T16" fmla="*/ 179 w 292"/>
                <a:gd name="T17" fmla="*/ 4 h 292"/>
                <a:gd name="T18" fmla="*/ 209 w 292"/>
                <a:gd name="T19" fmla="*/ 15 h 292"/>
                <a:gd name="T20" fmla="*/ 237 w 292"/>
                <a:gd name="T21" fmla="*/ 32 h 292"/>
                <a:gd name="T22" fmla="*/ 259 w 292"/>
                <a:gd name="T23" fmla="*/ 55 h 292"/>
                <a:gd name="T24" fmla="*/ 276 w 292"/>
                <a:gd name="T25" fmla="*/ 82 h 292"/>
                <a:gd name="T26" fmla="*/ 288 w 292"/>
                <a:gd name="T27" fmla="*/ 113 h 292"/>
                <a:gd name="T28" fmla="*/ 292 w 292"/>
                <a:gd name="T29" fmla="*/ 146 h 292"/>
                <a:gd name="T30" fmla="*/ 288 w 292"/>
                <a:gd name="T31" fmla="*/ 180 h 292"/>
                <a:gd name="T32" fmla="*/ 276 w 292"/>
                <a:gd name="T33" fmla="*/ 210 h 292"/>
                <a:gd name="T34" fmla="*/ 259 w 292"/>
                <a:gd name="T35" fmla="*/ 237 h 292"/>
                <a:gd name="T36" fmla="*/ 237 w 292"/>
                <a:gd name="T37" fmla="*/ 260 h 292"/>
                <a:gd name="T38" fmla="*/ 209 w 292"/>
                <a:gd name="T39" fmla="*/ 278 h 292"/>
                <a:gd name="T40" fmla="*/ 179 w 292"/>
                <a:gd name="T41" fmla="*/ 288 h 292"/>
                <a:gd name="T42" fmla="*/ 145 w 292"/>
                <a:gd name="T43" fmla="*/ 292 h 292"/>
                <a:gd name="T44" fmla="*/ 112 w 292"/>
                <a:gd name="T45" fmla="*/ 288 h 292"/>
                <a:gd name="T46" fmla="*/ 81 w 292"/>
                <a:gd name="T47" fmla="*/ 278 h 292"/>
                <a:gd name="T48" fmla="*/ 53 w 292"/>
                <a:gd name="T49" fmla="*/ 260 h 292"/>
                <a:gd name="T50" fmla="*/ 31 w 292"/>
                <a:gd name="T51" fmla="*/ 237 h 292"/>
                <a:gd name="T52" fmla="*/ 14 w 292"/>
                <a:gd name="T53" fmla="*/ 210 h 292"/>
                <a:gd name="T54" fmla="*/ 4 w 292"/>
                <a:gd name="T55" fmla="*/ 180 h 292"/>
                <a:gd name="T56" fmla="*/ 0 w 292"/>
                <a:gd name="T57" fmla="*/ 146 h 292"/>
                <a:gd name="T58" fmla="*/ 102 w 292"/>
                <a:gd name="T59" fmla="*/ 121 h 292"/>
                <a:gd name="T60" fmla="*/ 102 w 292"/>
                <a:gd name="T61" fmla="*/ 142 h 292"/>
                <a:gd name="T62" fmla="*/ 120 w 292"/>
                <a:gd name="T63" fmla="*/ 142 h 292"/>
                <a:gd name="T64" fmla="*/ 120 w 292"/>
                <a:gd name="T65" fmla="*/ 223 h 292"/>
                <a:gd name="T66" fmla="*/ 102 w 292"/>
                <a:gd name="T67" fmla="*/ 223 h 292"/>
                <a:gd name="T68" fmla="*/ 102 w 292"/>
                <a:gd name="T69" fmla="*/ 244 h 292"/>
                <a:gd name="T70" fmla="*/ 188 w 292"/>
                <a:gd name="T71" fmla="*/ 244 h 292"/>
                <a:gd name="T72" fmla="*/ 188 w 292"/>
                <a:gd name="T73" fmla="*/ 223 h 292"/>
                <a:gd name="T74" fmla="*/ 170 w 292"/>
                <a:gd name="T75" fmla="*/ 223 h 292"/>
                <a:gd name="T76" fmla="*/ 170 w 292"/>
                <a:gd name="T77" fmla="*/ 142 h 292"/>
                <a:gd name="T78" fmla="*/ 188 w 292"/>
                <a:gd name="T79" fmla="*/ 142 h 292"/>
                <a:gd name="T80" fmla="*/ 188 w 292"/>
                <a:gd name="T81" fmla="*/ 121 h 292"/>
                <a:gd name="T82" fmla="*/ 102 w 292"/>
                <a:gd name="T83" fmla="*/ 121 h 292"/>
                <a:gd name="T84" fmla="*/ 115 w 292"/>
                <a:gd name="T85" fmla="*/ 79 h 292"/>
                <a:gd name="T86" fmla="*/ 117 w 292"/>
                <a:gd name="T87" fmla="*/ 92 h 292"/>
                <a:gd name="T88" fmla="*/ 124 w 292"/>
                <a:gd name="T89" fmla="*/ 101 h 292"/>
                <a:gd name="T90" fmla="*/ 133 w 292"/>
                <a:gd name="T91" fmla="*/ 108 h 292"/>
                <a:gd name="T92" fmla="*/ 145 w 292"/>
                <a:gd name="T93" fmla="*/ 110 h 292"/>
                <a:gd name="T94" fmla="*/ 157 w 292"/>
                <a:gd name="T95" fmla="*/ 108 h 292"/>
                <a:gd name="T96" fmla="*/ 167 w 292"/>
                <a:gd name="T97" fmla="*/ 101 h 292"/>
                <a:gd name="T98" fmla="*/ 174 w 292"/>
                <a:gd name="T99" fmla="*/ 92 h 292"/>
                <a:gd name="T100" fmla="*/ 176 w 292"/>
                <a:gd name="T101" fmla="*/ 79 h 292"/>
                <a:gd name="T102" fmla="*/ 174 w 292"/>
                <a:gd name="T103" fmla="*/ 67 h 292"/>
                <a:gd name="T104" fmla="*/ 167 w 292"/>
                <a:gd name="T105" fmla="*/ 58 h 292"/>
                <a:gd name="T106" fmla="*/ 157 w 292"/>
                <a:gd name="T107" fmla="*/ 51 h 292"/>
                <a:gd name="T108" fmla="*/ 145 w 292"/>
                <a:gd name="T109" fmla="*/ 49 h 292"/>
                <a:gd name="T110" fmla="*/ 133 w 292"/>
                <a:gd name="T111" fmla="*/ 51 h 292"/>
                <a:gd name="T112" fmla="*/ 124 w 292"/>
                <a:gd name="T113" fmla="*/ 58 h 292"/>
                <a:gd name="T114" fmla="*/ 117 w 292"/>
                <a:gd name="T115" fmla="*/ 67 h 292"/>
                <a:gd name="T116" fmla="*/ 115 w 292"/>
                <a:gd name="T117" fmla="*/ 79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2" h="292">
                  <a:moveTo>
                    <a:pt x="0" y="146"/>
                  </a:moveTo>
                  <a:lnTo>
                    <a:pt x="4" y="113"/>
                  </a:lnTo>
                  <a:lnTo>
                    <a:pt x="14" y="82"/>
                  </a:lnTo>
                  <a:lnTo>
                    <a:pt x="31" y="55"/>
                  </a:lnTo>
                  <a:lnTo>
                    <a:pt x="53" y="32"/>
                  </a:lnTo>
                  <a:lnTo>
                    <a:pt x="81" y="15"/>
                  </a:lnTo>
                  <a:lnTo>
                    <a:pt x="112" y="4"/>
                  </a:lnTo>
                  <a:lnTo>
                    <a:pt x="145" y="0"/>
                  </a:lnTo>
                  <a:lnTo>
                    <a:pt x="179" y="4"/>
                  </a:lnTo>
                  <a:lnTo>
                    <a:pt x="209" y="15"/>
                  </a:lnTo>
                  <a:lnTo>
                    <a:pt x="237" y="32"/>
                  </a:lnTo>
                  <a:lnTo>
                    <a:pt x="259" y="55"/>
                  </a:lnTo>
                  <a:lnTo>
                    <a:pt x="276" y="82"/>
                  </a:lnTo>
                  <a:lnTo>
                    <a:pt x="288" y="113"/>
                  </a:lnTo>
                  <a:lnTo>
                    <a:pt x="292" y="146"/>
                  </a:lnTo>
                  <a:lnTo>
                    <a:pt x="288" y="180"/>
                  </a:lnTo>
                  <a:lnTo>
                    <a:pt x="276" y="210"/>
                  </a:lnTo>
                  <a:lnTo>
                    <a:pt x="259" y="237"/>
                  </a:lnTo>
                  <a:lnTo>
                    <a:pt x="237" y="260"/>
                  </a:lnTo>
                  <a:lnTo>
                    <a:pt x="209" y="278"/>
                  </a:lnTo>
                  <a:lnTo>
                    <a:pt x="179" y="288"/>
                  </a:lnTo>
                  <a:lnTo>
                    <a:pt x="145" y="292"/>
                  </a:lnTo>
                  <a:lnTo>
                    <a:pt x="112" y="288"/>
                  </a:lnTo>
                  <a:lnTo>
                    <a:pt x="81" y="278"/>
                  </a:lnTo>
                  <a:lnTo>
                    <a:pt x="53" y="260"/>
                  </a:lnTo>
                  <a:lnTo>
                    <a:pt x="31" y="237"/>
                  </a:lnTo>
                  <a:lnTo>
                    <a:pt x="14" y="210"/>
                  </a:lnTo>
                  <a:lnTo>
                    <a:pt x="4" y="180"/>
                  </a:lnTo>
                  <a:lnTo>
                    <a:pt x="0" y="146"/>
                  </a:lnTo>
                  <a:close/>
                  <a:moveTo>
                    <a:pt x="102" y="121"/>
                  </a:moveTo>
                  <a:lnTo>
                    <a:pt x="102" y="142"/>
                  </a:lnTo>
                  <a:lnTo>
                    <a:pt x="120" y="142"/>
                  </a:lnTo>
                  <a:lnTo>
                    <a:pt x="120" y="223"/>
                  </a:lnTo>
                  <a:lnTo>
                    <a:pt x="102" y="223"/>
                  </a:lnTo>
                  <a:lnTo>
                    <a:pt x="102" y="244"/>
                  </a:lnTo>
                  <a:lnTo>
                    <a:pt x="188" y="244"/>
                  </a:lnTo>
                  <a:lnTo>
                    <a:pt x="188" y="223"/>
                  </a:lnTo>
                  <a:lnTo>
                    <a:pt x="170" y="223"/>
                  </a:lnTo>
                  <a:lnTo>
                    <a:pt x="170" y="142"/>
                  </a:lnTo>
                  <a:lnTo>
                    <a:pt x="188" y="142"/>
                  </a:lnTo>
                  <a:lnTo>
                    <a:pt x="188" y="121"/>
                  </a:lnTo>
                  <a:lnTo>
                    <a:pt x="102" y="121"/>
                  </a:lnTo>
                  <a:close/>
                  <a:moveTo>
                    <a:pt x="115" y="79"/>
                  </a:moveTo>
                  <a:lnTo>
                    <a:pt x="117" y="92"/>
                  </a:lnTo>
                  <a:lnTo>
                    <a:pt x="124" y="101"/>
                  </a:lnTo>
                  <a:lnTo>
                    <a:pt x="133" y="108"/>
                  </a:lnTo>
                  <a:lnTo>
                    <a:pt x="145" y="110"/>
                  </a:lnTo>
                  <a:lnTo>
                    <a:pt x="157" y="108"/>
                  </a:lnTo>
                  <a:lnTo>
                    <a:pt x="167" y="101"/>
                  </a:lnTo>
                  <a:lnTo>
                    <a:pt x="174" y="92"/>
                  </a:lnTo>
                  <a:lnTo>
                    <a:pt x="176" y="79"/>
                  </a:lnTo>
                  <a:lnTo>
                    <a:pt x="174" y="67"/>
                  </a:lnTo>
                  <a:lnTo>
                    <a:pt x="167" y="58"/>
                  </a:lnTo>
                  <a:lnTo>
                    <a:pt x="157" y="51"/>
                  </a:lnTo>
                  <a:lnTo>
                    <a:pt x="145" y="49"/>
                  </a:lnTo>
                  <a:lnTo>
                    <a:pt x="133" y="51"/>
                  </a:lnTo>
                  <a:lnTo>
                    <a:pt x="124" y="58"/>
                  </a:lnTo>
                  <a:lnTo>
                    <a:pt x="117" y="67"/>
                  </a:lnTo>
                  <a:lnTo>
                    <a:pt x="115" y="79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100">
                <a:solidFill>
                  <a:prstClr val="black"/>
                </a:solidFill>
              </a:endParaRPr>
            </a:p>
          </p:txBody>
        </p:sp>
        <p:sp>
          <p:nvSpPr>
            <p:cNvPr id="16" name="Rechthoek 15"/>
            <p:cNvSpPr/>
            <p:nvPr userDrawn="1"/>
          </p:nvSpPr>
          <p:spPr>
            <a:xfrm>
              <a:off x="-3380966" y="3431177"/>
              <a:ext cx="2817995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Meer weten?</a:t>
              </a:r>
              <a:b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Ga naar dia </a:t>
              </a:r>
              <a:r>
                <a:rPr lang="nl-NL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instructies – YouTube links’</a:t>
              </a:r>
              <a:r>
                <a:rPr lang="nl-NL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open deze in de diavoorstelling en klik op de gewenste video link.</a:t>
              </a:r>
            </a:p>
          </p:txBody>
        </p:sp>
        <p:cxnSp>
          <p:nvCxnSpPr>
            <p:cNvPr id="17" name="Rechte verbindingslijn 16"/>
            <p:cNvCxnSpPr>
              <a:cxnSpLocks/>
            </p:cNvCxnSpPr>
            <p:nvPr userDrawn="1"/>
          </p:nvCxnSpPr>
          <p:spPr>
            <a:xfrm>
              <a:off x="-3740987" y="4142421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</p:grpSp>
      <p:sp>
        <p:nvSpPr>
          <p:cNvPr id="21" name="Rechthoek 20"/>
          <p:cNvSpPr/>
          <p:nvPr userDrawn="1"/>
        </p:nvSpPr>
        <p:spPr>
          <a:xfrm>
            <a:off x="12397264" y="-17883"/>
            <a:ext cx="3178016" cy="19161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80000"/>
              </a:lnSpc>
              <a:defRPr/>
            </a:pPr>
            <a:r>
              <a:rPr lang="nl-NL" sz="1400" b="1" kern="0" cap="all" dirty="0">
                <a:solidFill>
                  <a:srgbClr val="002C51"/>
                </a:solidFill>
                <a:latin typeface="Gill Sans MT"/>
                <a:cs typeface="Segoe UI Light" panose="020B0502040204020203" pitchFamily="34" charset="0"/>
              </a:rPr>
              <a:t>Video invoegen</a:t>
            </a:r>
          </a:p>
        </p:txBody>
      </p:sp>
      <p:sp>
        <p:nvSpPr>
          <p:cNvPr id="22" name="Ovaal 21"/>
          <p:cNvSpPr/>
          <p:nvPr userDrawn="1"/>
        </p:nvSpPr>
        <p:spPr>
          <a:xfrm>
            <a:off x="12391604" y="348609"/>
            <a:ext cx="260915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nl-NL" sz="1100" kern="0" dirty="0">
                <a:solidFill>
                  <a:prstClr val="white"/>
                </a:solidFill>
                <a:cs typeface="Segoe UI Light" panose="020B0502040204020203" pitchFamily="34" charset="0"/>
              </a:rPr>
              <a:t>1</a:t>
            </a:r>
          </a:p>
        </p:txBody>
      </p:sp>
      <p:cxnSp>
        <p:nvCxnSpPr>
          <p:cNvPr id="24" name="Rechte verbindingslijn 23"/>
          <p:cNvCxnSpPr>
            <a:cxnSpLocks/>
          </p:cNvCxnSpPr>
          <p:nvPr userDrawn="1"/>
        </p:nvCxnSpPr>
        <p:spPr>
          <a:xfrm>
            <a:off x="12397266" y="223752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25" name="Rechte verbindingslijn 24"/>
          <p:cNvCxnSpPr>
            <a:cxnSpLocks/>
          </p:cNvCxnSpPr>
          <p:nvPr userDrawn="1"/>
        </p:nvCxnSpPr>
        <p:spPr>
          <a:xfrm>
            <a:off x="12397266" y="1560050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6" name="Rechthoek 25"/>
          <p:cNvSpPr/>
          <p:nvPr userDrawn="1"/>
        </p:nvSpPr>
        <p:spPr>
          <a:xfrm>
            <a:off x="12757285" y="414673"/>
            <a:ext cx="2817995" cy="59542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39200"/>
              </a:buClr>
              <a:buFont typeface="Arial" panose="020B0604020202020204" pitchFamily="34" charset="0"/>
              <a:buNone/>
              <a:defRPr/>
            </a:pP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Wanneer nodig, verwijder de bestaande afbeelding/video. Klik op het pictogram om een nieuwe video in te voegen.</a:t>
            </a:r>
            <a:b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</a:br>
            <a:r>
              <a:rPr lang="nl-NL" sz="1100" i="1" kern="0">
                <a:solidFill>
                  <a:srgbClr val="000000"/>
                </a:solidFill>
                <a:cs typeface="Segoe UI Light" panose="020B0502040204020203" pitchFamily="34" charset="0"/>
              </a:rPr>
              <a:t>(zie onderstaand voorbeeld).</a:t>
            </a:r>
            <a:endParaRPr lang="nl-NL" sz="1100" kern="0">
              <a:solidFill>
                <a:srgbClr val="000000"/>
              </a:solidFill>
              <a:cs typeface="Segoe UI Light" panose="020B0502040204020203" pitchFamily="34" charset="0"/>
            </a:endParaRPr>
          </a:p>
        </p:txBody>
      </p:sp>
      <p:cxnSp>
        <p:nvCxnSpPr>
          <p:cNvPr id="27" name="Rechte verbindingslijn 26"/>
          <p:cNvCxnSpPr>
            <a:cxnSpLocks/>
          </p:cNvCxnSpPr>
          <p:nvPr userDrawn="1"/>
        </p:nvCxnSpPr>
        <p:spPr>
          <a:xfrm>
            <a:off x="12397266" y="4316583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28" name="Ovaal 27"/>
          <p:cNvSpPr/>
          <p:nvPr userDrawn="1"/>
        </p:nvSpPr>
        <p:spPr>
          <a:xfrm>
            <a:off x="12391604" y="1688515"/>
            <a:ext cx="260915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nl-NL" sz="1100" kern="0">
                <a:solidFill>
                  <a:prstClr val="white"/>
                </a:solidFill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29" name="Rechthoek 28"/>
          <p:cNvSpPr/>
          <p:nvPr userDrawn="1"/>
        </p:nvSpPr>
        <p:spPr>
          <a:xfrm>
            <a:off x="12757285" y="1754578"/>
            <a:ext cx="2817995" cy="3180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39200"/>
              </a:buClr>
              <a:buFont typeface="Arial" panose="020B0604020202020204" pitchFamily="34" charset="0"/>
              <a:buNone/>
              <a:defRPr/>
            </a:pP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Selecteer de gewenste video</a:t>
            </a:r>
            <a:b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</a:b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en klik op </a:t>
            </a:r>
            <a:r>
              <a:rPr lang="nl-NL" sz="1100" b="1" kern="0">
                <a:solidFill>
                  <a:srgbClr val="000000"/>
                </a:solidFill>
                <a:cs typeface="Segoe UI Light" panose="020B0502040204020203" pitchFamily="34" charset="0"/>
              </a:rPr>
              <a:t>‘Invoegen’</a:t>
            </a: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.</a:t>
            </a:r>
            <a:endParaRPr lang="nl-NL" sz="1100" b="1" kern="0">
              <a:solidFill>
                <a:srgbClr val="000000"/>
              </a:solidFill>
              <a:cs typeface="Segoe UI Light" panose="020B0502040204020203" pitchFamily="34" charset="0"/>
            </a:endParaRPr>
          </a:p>
        </p:txBody>
      </p:sp>
      <p:grpSp>
        <p:nvGrpSpPr>
          <p:cNvPr id="30" name="Groep 29"/>
          <p:cNvGrpSpPr/>
          <p:nvPr userDrawn="1"/>
        </p:nvGrpSpPr>
        <p:grpSpPr>
          <a:xfrm>
            <a:off x="12757286" y="2166624"/>
            <a:ext cx="825500" cy="209550"/>
            <a:chOff x="12757284" y="2166624"/>
            <a:chExt cx="825500" cy="209550"/>
          </a:xfrm>
        </p:grpSpPr>
        <p:sp>
          <p:nvSpPr>
            <p:cNvPr id="60" name="Rechthoek 59"/>
            <p:cNvSpPr/>
            <p:nvPr userDrawn="1"/>
          </p:nvSpPr>
          <p:spPr>
            <a:xfrm>
              <a:off x="12757284" y="2166624"/>
              <a:ext cx="825500" cy="209550"/>
            </a:xfrm>
            <a:prstGeom prst="rect">
              <a:avLst/>
            </a:prstGeom>
            <a:solidFill>
              <a:srgbClr val="E5F1FB"/>
            </a:solidFill>
            <a:ln w="12700">
              <a:solidFill>
                <a:srgbClr val="0B7E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nl-NL" sz="800">
                  <a:solidFill>
                    <a:prstClr val="black"/>
                  </a:solidFill>
                  <a:cs typeface="Arial" panose="020B0604020202020204" pitchFamily="34" charset="0"/>
                </a:rPr>
                <a:t>Invoegen</a:t>
              </a:r>
            </a:p>
          </p:txBody>
        </p:sp>
        <p:cxnSp>
          <p:nvCxnSpPr>
            <p:cNvPr id="61" name="Rechte verbindingslijn 60"/>
            <p:cNvCxnSpPr/>
            <p:nvPr userDrawn="1"/>
          </p:nvCxnSpPr>
          <p:spPr>
            <a:xfrm>
              <a:off x="13407929" y="2199024"/>
              <a:ext cx="0" cy="142717"/>
            </a:xfrm>
            <a:prstGeom prst="line">
              <a:avLst/>
            </a:prstGeom>
            <a:noFill/>
            <a:ln w="3175" cap="flat" cmpd="sng" algn="ctr">
              <a:solidFill>
                <a:srgbClr val="44546A"/>
              </a:solidFill>
              <a:prstDash val="solid"/>
            </a:ln>
            <a:effectLst/>
          </p:spPr>
        </p:cxnSp>
        <p:sp>
          <p:nvSpPr>
            <p:cNvPr id="62" name="Gelijkbenige driehoek 61"/>
            <p:cNvSpPr/>
            <p:nvPr userDrawn="1"/>
          </p:nvSpPr>
          <p:spPr>
            <a:xfrm rot="10800000">
              <a:off x="13448749" y="2250678"/>
              <a:ext cx="86866" cy="51147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</p:grpSp>
      <p:sp>
        <p:nvSpPr>
          <p:cNvPr id="31" name="Ovaal 30"/>
          <p:cNvSpPr/>
          <p:nvPr userDrawn="1"/>
        </p:nvSpPr>
        <p:spPr>
          <a:xfrm>
            <a:off x="12391604" y="2613720"/>
            <a:ext cx="260915" cy="259683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nl-NL" sz="1100" kern="0">
                <a:solidFill>
                  <a:prstClr val="white"/>
                </a:solidFill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32" name="Rechthoek 31"/>
          <p:cNvSpPr/>
          <p:nvPr userDrawn="1"/>
        </p:nvSpPr>
        <p:spPr>
          <a:xfrm>
            <a:off x="12757287" y="2679780"/>
            <a:ext cx="2817996" cy="6259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39200"/>
              </a:buClr>
              <a:buFont typeface="Arial" panose="020B0604020202020204" pitchFamily="34" charset="0"/>
              <a:buNone/>
              <a:defRPr/>
            </a:pP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Klik met de rechter muisknop op de miniatuurweergave van de dia en kies</a:t>
            </a:r>
            <a:b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</a:br>
            <a:r>
              <a:rPr lang="nl-NL" sz="1100" b="1" kern="0">
                <a:solidFill>
                  <a:srgbClr val="000000"/>
                </a:solidFill>
                <a:cs typeface="Segoe UI Light" panose="020B0502040204020203" pitchFamily="34" charset="0"/>
              </a:rPr>
              <a:t>´Dia herstellen´</a:t>
            </a:r>
            <a:r>
              <a:rPr lang="nl-NL" sz="1100" kern="0">
                <a:solidFill>
                  <a:srgbClr val="000000"/>
                </a:solidFill>
                <a:cs typeface="Segoe UI Light" panose="020B0502040204020203" pitchFamily="34" charset="0"/>
              </a:rPr>
              <a:t>.</a:t>
            </a:r>
            <a:endParaRPr lang="nl-NL" sz="1100" b="1" kern="0">
              <a:solidFill>
                <a:srgbClr val="000000"/>
              </a:solidFill>
              <a:cs typeface="Segoe UI Light" panose="020B0502040204020203" pitchFamily="34" charset="0"/>
            </a:endParaRPr>
          </a:p>
        </p:txBody>
      </p:sp>
      <p:cxnSp>
        <p:nvCxnSpPr>
          <p:cNvPr id="33" name="Rechte verbindingslijn 32"/>
          <p:cNvCxnSpPr>
            <a:cxnSpLocks/>
          </p:cNvCxnSpPr>
          <p:nvPr userDrawn="1"/>
        </p:nvCxnSpPr>
        <p:spPr>
          <a:xfrm>
            <a:off x="12397266" y="2481906"/>
            <a:ext cx="3178017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39" name="Rechthoek 38"/>
          <p:cNvSpPr/>
          <p:nvPr userDrawn="1"/>
        </p:nvSpPr>
        <p:spPr>
          <a:xfrm>
            <a:off x="13717199" y="3515867"/>
            <a:ext cx="1176476" cy="580946"/>
          </a:xfrm>
          <a:prstGeom prst="rect">
            <a:avLst/>
          </a:prstGeom>
          <a:solidFill>
            <a:schemeClr val="bg1"/>
          </a:solidFill>
          <a:ln w="12700">
            <a:solidFill>
              <a:srgbClr val="D1D1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nl-NL" sz="8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0" name="Rechthoek 39"/>
          <p:cNvSpPr/>
          <p:nvPr userDrawn="1"/>
        </p:nvSpPr>
        <p:spPr>
          <a:xfrm>
            <a:off x="13739163" y="3827256"/>
            <a:ext cx="1145759" cy="261256"/>
          </a:xfrm>
          <a:prstGeom prst="rect">
            <a:avLst/>
          </a:prstGeom>
          <a:solidFill>
            <a:srgbClr val="FCE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>
              <a:solidFill>
                <a:prstClr val="black"/>
              </a:solidFill>
            </a:endParaRPr>
          </a:p>
        </p:txBody>
      </p:sp>
      <p:grpSp>
        <p:nvGrpSpPr>
          <p:cNvPr id="41" name="Groep 40"/>
          <p:cNvGrpSpPr/>
          <p:nvPr userDrawn="1"/>
        </p:nvGrpSpPr>
        <p:grpSpPr>
          <a:xfrm>
            <a:off x="13799151" y="3581369"/>
            <a:ext cx="155951" cy="131922"/>
            <a:chOff x="12968836" y="3354170"/>
            <a:chExt cx="404806" cy="342433"/>
          </a:xfrm>
        </p:grpSpPr>
        <p:sp>
          <p:nvSpPr>
            <p:cNvPr id="54" name="Rechthoek: afgeronde hoeken 53"/>
            <p:cNvSpPr/>
            <p:nvPr userDrawn="1"/>
          </p:nvSpPr>
          <p:spPr>
            <a:xfrm>
              <a:off x="12968836" y="3354170"/>
              <a:ext cx="404806" cy="342433"/>
            </a:xfrm>
            <a:prstGeom prst="roundRect">
              <a:avLst>
                <a:gd name="adj" fmla="val 2911"/>
              </a:avLst>
            </a:prstGeom>
            <a:solidFill>
              <a:schemeClr val="bg1"/>
            </a:solidFill>
            <a:ln w="12700">
              <a:solidFill>
                <a:srgbClr val="8181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5" name="Rechthoek 54"/>
            <p:cNvSpPr/>
            <p:nvPr userDrawn="1"/>
          </p:nvSpPr>
          <p:spPr>
            <a:xfrm>
              <a:off x="13025180" y="3401181"/>
              <a:ext cx="305213" cy="41563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6" name="Rechthoek 55"/>
            <p:cNvSpPr/>
            <p:nvPr userDrawn="1"/>
          </p:nvSpPr>
          <p:spPr>
            <a:xfrm>
              <a:off x="13025181" y="3471575"/>
              <a:ext cx="118778" cy="181691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7" name="Rechthoek 56"/>
            <p:cNvSpPr/>
            <p:nvPr userDrawn="1"/>
          </p:nvSpPr>
          <p:spPr>
            <a:xfrm>
              <a:off x="13180812" y="3481982"/>
              <a:ext cx="13527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8" name="Rechthoek 57"/>
            <p:cNvSpPr/>
            <p:nvPr userDrawn="1"/>
          </p:nvSpPr>
          <p:spPr>
            <a:xfrm>
              <a:off x="13180812" y="3554800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  <p:sp>
          <p:nvSpPr>
            <p:cNvPr id="59" name="Rechthoek 58"/>
            <p:cNvSpPr/>
            <p:nvPr userDrawn="1"/>
          </p:nvSpPr>
          <p:spPr>
            <a:xfrm>
              <a:off x="13180812" y="3627618"/>
              <a:ext cx="69418" cy="2132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>
                <a:solidFill>
                  <a:prstClr val="black"/>
                </a:solidFill>
              </a:endParaRPr>
            </a:p>
          </p:txBody>
        </p:sp>
      </p:grpSp>
      <p:grpSp>
        <p:nvGrpSpPr>
          <p:cNvPr id="42" name="Groep 41"/>
          <p:cNvGrpSpPr/>
          <p:nvPr userDrawn="1"/>
        </p:nvGrpSpPr>
        <p:grpSpPr>
          <a:xfrm>
            <a:off x="13779593" y="3880693"/>
            <a:ext cx="166739" cy="218963"/>
            <a:chOff x="12940828" y="3950597"/>
            <a:chExt cx="432813" cy="568367"/>
          </a:xfrm>
        </p:grpSpPr>
        <p:grpSp>
          <p:nvGrpSpPr>
            <p:cNvPr id="46" name="Groep 45"/>
            <p:cNvGrpSpPr/>
            <p:nvPr userDrawn="1"/>
          </p:nvGrpSpPr>
          <p:grpSpPr>
            <a:xfrm>
              <a:off x="13000382" y="4006891"/>
              <a:ext cx="373259" cy="315747"/>
              <a:chOff x="12968836" y="3354170"/>
              <a:chExt cx="404806" cy="342433"/>
            </a:xfrm>
          </p:grpSpPr>
          <p:sp>
            <p:nvSpPr>
              <p:cNvPr id="48" name="Rechthoek: afgeronde hoeken 47"/>
              <p:cNvSpPr/>
              <p:nvPr userDrawn="1"/>
            </p:nvSpPr>
            <p:spPr>
              <a:xfrm>
                <a:off x="12968836" y="3354170"/>
                <a:ext cx="404806" cy="342433"/>
              </a:xfrm>
              <a:prstGeom prst="roundRect">
                <a:avLst>
                  <a:gd name="adj" fmla="val 2911"/>
                </a:avLst>
              </a:prstGeom>
              <a:solidFill>
                <a:schemeClr val="bg1"/>
              </a:solidFill>
              <a:ln w="12700">
                <a:solidFill>
                  <a:srgbClr val="81818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9" name="Rechthoek 48"/>
              <p:cNvSpPr/>
              <p:nvPr userDrawn="1"/>
            </p:nvSpPr>
            <p:spPr>
              <a:xfrm>
                <a:off x="13025180" y="3401181"/>
                <a:ext cx="305213" cy="4156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13025181" y="3471575"/>
                <a:ext cx="118778" cy="181691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Rechthoek 50"/>
              <p:cNvSpPr/>
              <p:nvPr userDrawn="1"/>
            </p:nvSpPr>
            <p:spPr>
              <a:xfrm>
                <a:off x="13180812" y="3481982"/>
                <a:ext cx="13527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13180812" y="3554800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Rechthoek 52"/>
              <p:cNvSpPr/>
              <p:nvPr userDrawn="1"/>
            </p:nvSpPr>
            <p:spPr>
              <a:xfrm>
                <a:off x="13180812" y="3627618"/>
                <a:ext cx="69418" cy="2132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7" name="Boog 46"/>
            <p:cNvSpPr/>
            <p:nvPr userDrawn="1"/>
          </p:nvSpPr>
          <p:spPr>
            <a:xfrm rot="17637075">
              <a:off x="12776155" y="4115270"/>
              <a:ext cx="568367" cy="239021"/>
            </a:xfrm>
            <a:prstGeom prst="arc">
              <a:avLst>
                <a:gd name="adj1" fmla="val 15959368"/>
                <a:gd name="adj2" fmla="val 1354623"/>
              </a:avLst>
            </a:prstGeom>
            <a:noFill/>
            <a:ln w="19050" cap="flat" cmpd="sng" algn="ctr">
              <a:solidFill>
                <a:srgbClr val="4D82B8"/>
              </a:solidFill>
              <a:prstDash val="solid"/>
              <a:headEnd type="arrow" w="med" len="sm"/>
            </a:ln>
            <a:effectLst/>
          </p:spPr>
          <p:txBody>
            <a:bodyPr rtlCol="0" anchor="ctr"/>
            <a:lstStyle/>
            <a:p>
              <a:pPr algn="ctr"/>
              <a:endParaRPr lang="nl-NL">
                <a:solidFill>
                  <a:prstClr val="black"/>
                </a:solidFill>
              </a:endParaRPr>
            </a:p>
          </p:txBody>
        </p:sp>
      </p:grpSp>
      <p:sp>
        <p:nvSpPr>
          <p:cNvPr id="43" name="Tekstvak 42"/>
          <p:cNvSpPr txBox="1"/>
          <p:nvPr userDrawn="1"/>
        </p:nvSpPr>
        <p:spPr>
          <a:xfrm>
            <a:off x="13957563" y="3554981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7512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dirty="0">
                <a:solidFill>
                  <a:prstClr val="black"/>
                </a:solidFill>
                <a:cs typeface="Arial" panose="020B0604020202020204" pitchFamily="34" charset="0"/>
              </a:rPr>
              <a:t>Indeling</a:t>
            </a:r>
          </a:p>
        </p:txBody>
      </p:sp>
      <p:sp>
        <p:nvSpPr>
          <p:cNvPr id="44" name="Tekstvak 43"/>
          <p:cNvSpPr txBox="1"/>
          <p:nvPr userDrawn="1"/>
        </p:nvSpPr>
        <p:spPr>
          <a:xfrm>
            <a:off x="13944136" y="3876103"/>
            <a:ext cx="85520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7512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800" dirty="0">
                <a:solidFill>
                  <a:prstClr val="black"/>
                </a:solidFill>
                <a:cs typeface="Arial" panose="020B0604020202020204" pitchFamily="34" charset="0"/>
              </a:rPr>
              <a:t>Dia Herstellen</a:t>
            </a:r>
          </a:p>
        </p:txBody>
      </p:sp>
      <p:pic>
        <p:nvPicPr>
          <p:cNvPr id="45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69837" y="3962807"/>
            <a:ext cx="143087" cy="231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5" name="Video icoon"/>
          <p:cNvGrpSpPr/>
          <p:nvPr userDrawn="1"/>
        </p:nvGrpSpPr>
        <p:grpSpPr>
          <a:xfrm>
            <a:off x="12753148" y="1125073"/>
            <a:ext cx="318325" cy="320332"/>
            <a:chOff x="8066315" y="1676399"/>
            <a:chExt cx="1371600" cy="1380253"/>
          </a:xfrm>
        </p:grpSpPr>
        <p:sp>
          <p:nvSpPr>
            <p:cNvPr id="36" name="Rechthoek 35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37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38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95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Vide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Afbeelding 150">
            <a:extLst>
              <a:ext uri="{FF2B5EF4-FFF2-40B4-BE49-F238E27FC236}">
                <a16:creationId xmlns:a16="http://schemas.microsoft.com/office/drawing/2014/main" id="{0BE286FB-8201-4900-AC1B-5109DC42B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0420" y="3229993"/>
            <a:ext cx="1639483" cy="8157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8" name="Tijdelijke aanduiding voor media 7"/>
          <p:cNvSpPr>
            <a:spLocks noGrp="1"/>
          </p:cNvSpPr>
          <p:nvPr>
            <p:ph type="media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bIns="180000" anchor="ctr"/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video in te voegen</a:t>
            </a: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VIDEO #2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4" name="Groep 103"/>
          <p:cNvGrpSpPr/>
          <p:nvPr userDrawn="1"/>
        </p:nvGrpSpPr>
        <p:grpSpPr>
          <a:xfrm>
            <a:off x="12391604" y="-17883"/>
            <a:ext cx="3183679" cy="5235577"/>
            <a:chOff x="12391603" y="-17883"/>
            <a:chExt cx="3183678" cy="5235577"/>
          </a:xfrm>
        </p:grpSpPr>
        <p:grpSp>
          <p:nvGrpSpPr>
            <p:cNvPr id="105" name="Meer informatie"/>
            <p:cNvGrpSpPr/>
            <p:nvPr userDrawn="1"/>
          </p:nvGrpSpPr>
          <p:grpSpPr>
            <a:xfrm>
              <a:off x="12396764" y="4434421"/>
              <a:ext cx="3178515" cy="783273"/>
              <a:chOff x="-3741486" y="3359148"/>
              <a:chExt cx="3178515" cy="783273"/>
            </a:xfrm>
          </p:grpSpPr>
          <p:sp>
            <p:nvSpPr>
              <p:cNvPr id="14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Rechthoek 14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50" name="Rechte verbindingslijn 14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06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07" name="Rechthoek 10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Video invoegen</a:t>
                </a:r>
              </a:p>
            </p:txBody>
          </p:sp>
          <p:sp>
            <p:nvSpPr>
              <p:cNvPr id="108" name="Ovaal 10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09" name="Rechte verbindingslijn 10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10" name="Rechte verbindingslijn 10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1" name="Rechthoek 11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/video. Klik op het pictogram om een nieuwe video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Ovaal 11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14" name="Rechthoek 11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video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15" name="Groep 11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45" name="Rechthoek 14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46" name="Rechte verbindingslijn 14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47" name="Gelijkbenige driehoek 14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16" name="Ovaal 11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7" name="Rechthoek 11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8" name="Rechte verbindingslijn 11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19" name="Groep 11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24" name="Rechthoek 123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Rechthoek 124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26" name="Groep 125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39" name="Rechthoek: afgeronde hoeken 138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3" name="Rechthoek 142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4" name="Rechthoek 143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27" name="Groep 126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31" name="Groep 130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33" name="Rechthoek: afgeronde hoeken 132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" name="Rechthoek 133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5" name="Rechthoek 134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6" name="Rechthoek 135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7" name="Rechthoek 136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8" name="Rechthoek 137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32" name="Boog 131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28" name="Tekstvak 127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29" name="Tekstvak 128"/>
                <p:cNvSpPr txBox="1"/>
                <p:nvPr userDrawn="1"/>
              </p:nvSpPr>
              <p:spPr>
                <a:xfrm>
                  <a:off x="12984219" y="3584528"/>
                  <a:ext cx="855210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30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20" name="Video icoon"/>
              <p:cNvGrpSpPr/>
              <p:nvPr userDrawn="1"/>
            </p:nvGrpSpPr>
            <p:grpSpPr>
              <a:xfrm>
                <a:off x="12753147" y="1125073"/>
                <a:ext cx="318325" cy="320332"/>
                <a:chOff x="8066315" y="1676399"/>
                <a:chExt cx="1371600" cy="1380253"/>
              </a:xfrm>
            </p:grpSpPr>
            <p:sp>
              <p:nvSpPr>
                <p:cNvPr id="121" name="Rechthoek 120"/>
                <p:cNvSpPr/>
                <p:nvPr userDrawn="1"/>
              </p:nvSpPr>
              <p:spPr>
                <a:xfrm>
                  <a:off x="8066315" y="1687286"/>
                  <a:ext cx="1360714" cy="1360714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2" name="Vrije vorm 112"/>
                <p:cNvSpPr/>
                <p:nvPr userDrawn="1"/>
              </p:nvSpPr>
              <p:spPr>
                <a:xfrm>
                  <a:off x="8077201" y="1676399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3" name="Vrije vorm 113"/>
                <p:cNvSpPr/>
                <p:nvPr userDrawn="1"/>
              </p:nvSpPr>
              <p:spPr>
                <a:xfrm>
                  <a:off x="8071339" y="2849823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sp>
        <p:nvSpPr>
          <p:cNvPr id="13" name="Tijdelijke aanduiding voor datum 1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F1572A-DD81-401E-8E57-51268439E19B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 vert="horz" lIns="0" tIns="36000" rIns="0" bIns="0" rtlCol="0" anchor="ctr">
            <a:noAutofit/>
          </a:bodyPr>
          <a:lstStyle>
            <a:lvl1pPr>
              <a:defRPr lang="nl-N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3392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1" y="365126"/>
            <a:ext cx="1145381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2" y="1179861"/>
            <a:ext cx="5543551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2D46F-52FB-43E4-90F9-46254DAED9AD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Grafiek</a:t>
            </a:r>
          </a:p>
        </p:txBody>
      </p:sp>
      <p:sp>
        <p:nvSpPr>
          <p:cNvPr id="9" name="Tijdelijke aanduiding voor grafiek 8"/>
          <p:cNvSpPr>
            <a:spLocks noGrp="1"/>
          </p:cNvSpPr>
          <p:nvPr userDrawn="1">
            <p:ph type="chart" sz="quarter" idx="15" hasCustomPrompt="1"/>
          </p:nvPr>
        </p:nvSpPr>
        <p:spPr>
          <a:xfrm>
            <a:off x="6464301" y="1179865"/>
            <a:ext cx="5357811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3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0927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6" name="Groep 3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3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2" name="Rechthoek 4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43" name="Ovaal 4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5" name="Rechthoek 4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6" name="Rechte verbindingslijn 4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hthoek 4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9" name="Groep 4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3" name="Rechte verbindingslijn 10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4" name="Rechte verbindingslijn 10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5" name="Rechte verbindingslijn 10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0" name="Groep 9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1" name="Rechthoek 10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2" name="Pijl: punthaak 10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50" name="Groep 4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0" name="Groep 8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1" name="Groep 9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2" name="Rechthoek 9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3" name="Pijl: punthaak 9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2" name="Rechte verbindingslijn 5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3" name="Groep 5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79" name="Rechthoek 7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1" name="Groep 8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5" name="Rechte verbindingslijn 8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3" name="Rechthoek 8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4" name="Pijl: punthaak 8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4" name="Groep 5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68" name="Rechthoek 6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9" name="Groep 6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0" name="Groep 6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4" name="Rechte verbindingslijn 7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1" name="Groep 7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2" name="Rechthoek 7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3" name="Pijl: punthaak 7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5" name="Rechthoek 5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8" name="Rechthoek 5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59" name="Ovaal 5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0" name="Rechthoek 5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Ovaal 6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2" name="Rechthoek 6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63" name="Ovaal 6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4" name="Rechthoek 6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65" name="Ovaal 6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6" name="Rechthoek 6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67" name="Rechte verbindingslijn 6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3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08" name="Groep 107"/>
          <p:cNvGrpSpPr/>
          <p:nvPr userDrawn="1"/>
        </p:nvGrpSpPr>
        <p:grpSpPr>
          <a:xfrm>
            <a:off x="12391604" y="-17883"/>
            <a:ext cx="3183677" cy="6879634"/>
            <a:chOff x="12391603" y="-17883"/>
            <a:chExt cx="3183677" cy="6879634"/>
          </a:xfrm>
        </p:grpSpPr>
        <p:grpSp>
          <p:nvGrpSpPr>
            <p:cNvPr id="10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16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Rechthoek 16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7" name="Rechte verbindingslijn 16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51" name="Rechte verbindingslijn 150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52" name="Rechte verbindingslijn 151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53" name="Rechthoek 152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sp>
            <p:nvSpPr>
              <p:cNvPr id="154" name="Ovaal 153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55" name="Rechthoek 154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grafiek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56" name="Groep 155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3" name="Rechte verbindingslijn 16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64" name="Gelijkbenige driehoek 16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cxnSp>
            <p:nvCxnSpPr>
              <p:cNvPr id="157" name="Rechte verbindingslijn 156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58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159" name="Rechthoek 158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0" name="Rechthoek 159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1" name="Rechthoek 160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111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112" name="Rechte verbindingslijn 111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3" name="Rechthoek 112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114" name="Ovaal 113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15" name="Rechte verbindingslijn 114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16" name="Rechthoek 115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defRPr/>
                </a:pPr>
                <a:r>
                  <a:rPr lang="nl-NL" sz="1100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117" name="Groep 116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" name="Tekstvak 119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121" name="Tekstvak 120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122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123" name="Groep 122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146" name="Rechthoek 145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147" name="Rechthoek 146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148" name="Rechthoek 147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</p:grpSp>
            <p:grpSp>
              <p:nvGrpSpPr>
                <p:cNvPr id="124" name="Groep 123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125" name="Rechthoek 124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white"/>
                      </a:solidFill>
                    </a:endParaRPr>
                  </a:p>
                </p:txBody>
              </p:sp>
              <p:grpSp>
                <p:nvGrpSpPr>
                  <p:cNvPr id="126" name="Groep 125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127" name="Groep 126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132" name="Rechthoek 131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grpSp>
                    <p:nvGrpSpPr>
                      <p:cNvPr id="133" name="Groep 132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139" name="Rechte verbindingslijn 13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141" name="Groep 140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142" name="Rechte verbindingslijn 14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3" name="Rechte verbindingslijn 14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4" name="Rechte verbindingslijn 14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145" name="Rechte verbindingslijn 144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134" name="Rechte verbindingslijn 133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5" name="Groep 134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136" name="Rechte verbindingslijn 13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7" name="Rechte verbindingslijn 13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8" name="Rechte verbindingslijn 137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128" name="Groep 127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129" name="Rechthoek 128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130" name="Rechthoek: afgeronde bovenhoeken 129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131" name="Gelijkbenige driehoek 130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171436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Grafie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1" y="365126"/>
            <a:ext cx="1145381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86CCE-0E0C-4A3A-822C-655D1E4B554D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Grafiek</a:t>
            </a:r>
          </a:p>
        </p:txBody>
      </p:sp>
      <p:sp>
        <p:nvSpPr>
          <p:cNvPr id="27" name="Tijdelijke aanduiding voor grafiek 8"/>
          <p:cNvSpPr>
            <a:spLocks noGrp="1"/>
          </p:cNvSpPr>
          <p:nvPr>
            <p:ph type="chart" sz="quarter" idx="15" hasCustomPrompt="1"/>
          </p:nvPr>
        </p:nvSpPr>
        <p:spPr>
          <a:xfrm>
            <a:off x="368301" y="1179865"/>
            <a:ext cx="11453811" cy="4636737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grafiek toe te voegen</a:t>
            </a:r>
          </a:p>
        </p:txBody>
      </p:sp>
      <p:sp>
        <p:nvSpPr>
          <p:cNvPr id="2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4" y="-17883"/>
            <a:ext cx="3183677" cy="6879634"/>
            <a:chOff x="12391603" y="-17883"/>
            <a:chExt cx="3183677" cy="687963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6078478"/>
              <a:ext cx="3178515" cy="783273"/>
              <a:chOff x="-3741486" y="3359148"/>
              <a:chExt cx="3178515" cy="783273"/>
            </a:xfrm>
          </p:grpSpPr>
          <p:sp>
            <p:nvSpPr>
              <p:cNvPr id="30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2" name="Rechte verbindingslijn 31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3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sp>
            <p:nvSpPr>
              <p:cNvPr id="34" name="Rechthoek 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Grafiek invoegen</a:t>
                </a:r>
              </a:p>
            </p:txBody>
          </p:sp>
          <p:sp>
            <p:nvSpPr>
              <p:cNvPr id="35" name="Ovaal 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8" name="Rechthoek 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grafiek. Klik op het pictogram om een nieuwe grafiek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Ovaal 38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0" name="Rechthoek 39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grafiek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1" name="Groep 40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47" name="Rechthoek 46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48" name="Rechte verbindingslijn 47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49" name="Gelijkbenige driehoek 48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3" name="Grafiek icoon"/>
              <p:cNvGrpSpPr/>
              <p:nvPr userDrawn="1"/>
            </p:nvGrpSpPr>
            <p:grpSpPr>
              <a:xfrm>
                <a:off x="12757284" y="1130736"/>
                <a:ext cx="289372" cy="314992"/>
                <a:chOff x="12468049" y="1754144"/>
                <a:chExt cx="339072" cy="369091"/>
              </a:xfrm>
            </p:grpSpPr>
            <p:sp>
              <p:nvSpPr>
                <p:cNvPr id="44" name="Rechthoek 43"/>
                <p:cNvSpPr/>
                <p:nvPr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" name="Rechthoek 44"/>
                <p:cNvSpPr/>
                <p:nvPr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FFCC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6" name="Rechthoek 45"/>
                <p:cNvSpPr/>
                <p:nvPr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50" name="Instructie"/>
            <p:cNvGrpSpPr/>
            <p:nvPr userDrawn="1"/>
          </p:nvGrpSpPr>
          <p:grpSpPr>
            <a:xfrm>
              <a:off x="12391603" y="4350524"/>
              <a:ext cx="3183677" cy="1614821"/>
              <a:chOff x="12391603" y="4371790"/>
              <a:chExt cx="3183677" cy="1614821"/>
            </a:xfrm>
          </p:grpSpPr>
          <p:cxnSp>
            <p:nvCxnSpPr>
              <p:cNvPr id="51" name="Rechte verbindingslijn 50"/>
              <p:cNvCxnSpPr>
                <a:cxnSpLocks/>
              </p:cNvCxnSpPr>
              <p:nvPr userDrawn="1"/>
            </p:nvCxnSpPr>
            <p:spPr>
              <a:xfrm>
                <a:off x="12397263" y="598661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2" name="Rechthoek 51"/>
              <p:cNvSpPr/>
              <p:nvPr userDrawn="1"/>
            </p:nvSpPr>
            <p:spPr>
              <a:xfrm>
                <a:off x="12397264" y="437179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Grafiek Bewerken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12391603" y="473828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>
                <a:off x="12397263" y="461342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5" name="Rechthoek 54"/>
              <p:cNvSpPr/>
              <p:nvPr userDrawn="1"/>
            </p:nvSpPr>
            <p:spPr>
              <a:xfrm>
                <a:off x="12757284" y="4804342"/>
                <a:ext cx="2817995" cy="31443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defRPr/>
                </a:pPr>
                <a:r>
                  <a:rPr lang="nl-NL" sz="1100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Selecteer de grafiek, klik met de rechter muisknop en kies </a:t>
                </a:r>
                <a:r>
                  <a:rPr lang="nl-NL" sz="1100" b="1" kern="0" dirty="0">
                    <a:solidFill>
                      <a:prstClr val="black"/>
                    </a:solidFill>
                    <a:cs typeface="Segoe UI Light" panose="020B0502040204020203" pitchFamily="34" charset="0"/>
                  </a:rPr>
                  <a:t>‘Gegevens bewerken’</a:t>
                </a:r>
              </a:p>
            </p:txBody>
          </p:sp>
          <p:grpSp>
            <p:nvGrpSpPr>
              <p:cNvPr id="56" name="Groep 55"/>
              <p:cNvGrpSpPr/>
              <p:nvPr userDrawn="1"/>
            </p:nvGrpSpPr>
            <p:grpSpPr>
              <a:xfrm>
                <a:off x="12757283" y="5247353"/>
                <a:ext cx="1482803" cy="639425"/>
                <a:chOff x="12757283" y="4365594"/>
                <a:chExt cx="1482803" cy="639425"/>
              </a:xfrm>
            </p:grpSpPr>
            <p:sp>
              <p:nvSpPr>
                <p:cNvPr id="57" name="Rechthoek 56"/>
                <p:cNvSpPr/>
                <p:nvPr userDrawn="1"/>
              </p:nvSpPr>
              <p:spPr>
                <a:xfrm>
                  <a:off x="12757283" y="4365594"/>
                  <a:ext cx="1405283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Rechthoek 57"/>
                <p:cNvSpPr/>
                <p:nvPr userDrawn="1"/>
              </p:nvSpPr>
              <p:spPr>
                <a:xfrm>
                  <a:off x="12768264" y="4676983"/>
                  <a:ext cx="138826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Tekstvak 58"/>
                <p:cNvSpPr txBox="1"/>
                <p:nvPr userDrawn="1"/>
              </p:nvSpPr>
              <p:spPr>
                <a:xfrm>
                  <a:off x="12997648" y="4404704"/>
                  <a:ext cx="111058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Grafiektype wijzigen</a:t>
                  </a:r>
                </a:p>
              </p:txBody>
            </p:sp>
            <p:sp>
              <p:nvSpPr>
                <p:cNvPr id="60" name="Tekstvak 59"/>
                <p:cNvSpPr txBox="1"/>
                <p:nvPr userDrawn="1"/>
              </p:nvSpPr>
              <p:spPr>
                <a:xfrm>
                  <a:off x="12984220" y="4725830"/>
                  <a:ext cx="1134212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Gegevens bewerken</a:t>
                  </a:r>
                </a:p>
              </p:txBody>
            </p:sp>
            <p:pic>
              <p:nvPicPr>
                <p:cNvPr id="61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97000" y="477368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62" name="Groep 61"/>
                <p:cNvGrpSpPr/>
                <p:nvPr userDrawn="1"/>
              </p:nvGrpSpPr>
              <p:grpSpPr>
                <a:xfrm>
                  <a:off x="12831198" y="4432250"/>
                  <a:ext cx="139861" cy="152244"/>
                  <a:chOff x="12574450" y="6053892"/>
                  <a:chExt cx="169232" cy="184215"/>
                </a:xfrm>
              </p:grpSpPr>
              <p:sp>
                <p:nvSpPr>
                  <p:cNvPr id="85" name="Rechthoek 84"/>
                  <p:cNvSpPr/>
                  <p:nvPr userDrawn="1"/>
                </p:nvSpPr>
                <p:spPr>
                  <a:xfrm>
                    <a:off x="12574450" y="6111529"/>
                    <a:ext cx="46293" cy="126577"/>
                  </a:xfrm>
                  <a:prstGeom prst="rect">
                    <a:avLst/>
                  </a:prstGeom>
                  <a:solidFill>
                    <a:srgbClr val="4D82B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86" name="Rechthoek 85"/>
                  <p:cNvSpPr/>
                  <p:nvPr userDrawn="1"/>
                </p:nvSpPr>
                <p:spPr>
                  <a:xfrm>
                    <a:off x="12635427" y="6053892"/>
                    <a:ext cx="46293" cy="184215"/>
                  </a:xfrm>
                  <a:prstGeom prst="rect">
                    <a:avLst/>
                  </a:prstGeom>
                  <a:solidFill>
                    <a:srgbClr val="EDC87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  <p:sp>
                <p:nvSpPr>
                  <p:cNvPr id="87" name="Rechthoek 86"/>
                  <p:cNvSpPr/>
                  <p:nvPr userDrawn="1"/>
                </p:nvSpPr>
                <p:spPr>
                  <a:xfrm>
                    <a:off x="12697389" y="6094907"/>
                    <a:ext cx="46293" cy="143200"/>
                  </a:xfrm>
                  <a:prstGeom prst="rect">
                    <a:avLst/>
                  </a:prstGeom>
                  <a:solidFill>
                    <a:srgbClr val="8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sz="2000">
                      <a:solidFill>
                        <a:srgbClr val="002C51"/>
                      </a:solidFill>
                    </a:endParaRPr>
                  </a:p>
                </p:txBody>
              </p:sp>
            </p:grpSp>
            <p:grpSp>
              <p:nvGrpSpPr>
                <p:cNvPr id="63" name="Groep 62"/>
                <p:cNvGrpSpPr/>
                <p:nvPr userDrawn="1"/>
              </p:nvGrpSpPr>
              <p:grpSpPr>
                <a:xfrm>
                  <a:off x="12831198" y="4748585"/>
                  <a:ext cx="184916" cy="120210"/>
                  <a:chOff x="8815516" y="1076284"/>
                  <a:chExt cx="503174" cy="327105"/>
                </a:xfrm>
              </p:grpSpPr>
              <p:sp>
                <p:nvSpPr>
                  <p:cNvPr id="64" name="Rechthoek 63"/>
                  <p:cNvSpPr/>
                  <p:nvPr userDrawn="1"/>
                </p:nvSpPr>
                <p:spPr>
                  <a:xfrm>
                    <a:off x="8815516" y="1133167"/>
                    <a:ext cx="372729" cy="23597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white"/>
                      </a:solidFill>
                    </a:endParaRPr>
                  </a:p>
                </p:txBody>
              </p:sp>
              <p:grpSp>
                <p:nvGrpSpPr>
                  <p:cNvPr id="65" name="Groep 64"/>
                  <p:cNvGrpSpPr/>
                  <p:nvPr userDrawn="1"/>
                </p:nvGrpSpPr>
                <p:grpSpPr>
                  <a:xfrm>
                    <a:off x="8815517" y="1076284"/>
                    <a:ext cx="503173" cy="327105"/>
                    <a:chOff x="1351248" y="-683635"/>
                    <a:chExt cx="503173" cy="327105"/>
                  </a:xfrm>
                </p:grpSpPr>
                <p:grpSp>
                  <p:nvGrpSpPr>
                    <p:cNvPr id="66" name="Groep 65"/>
                    <p:cNvGrpSpPr/>
                    <p:nvPr userDrawn="1"/>
                  </p:nvGrpSpPr>
                  <p:grpSpPr>
                    <a:xfrm>
                      <a:off x="1351248" y="-683635"/>
                      <a:ext cx="375186" cy="293652"/>
                      <a:chOff x="1094874" y="-884923"/>
                      <a:chExt cx="884668" cy="692417"/>
                    </a:xfrm>
                  </p:grpSpPr>
                  <p:sp>
                    <p:nvSpPr>
                      <p:cNvPr id="71" name="Rechthoek 70"/>
                      <p:cNvSpPr/>
                      <p:nvPr userDrawn="1"/>
                    </p:nvSpPr>
                    <p:spPr>
                      <a:xfrm>
                        <a:off x="1094874" y="-884923"/>
                        <a:ext cx="878304" cy="145579"/>
                      </a:xfrm>
                      <a:prstGeom prst="rect">
                        <a:avLst/>
                      </a:prstGeom>
                      <a:solidFill>
                        <a:srgbClr val="81818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grpSp>
                    <p:nvGrpSpPr>
                      <p:cNvPr id="72" name="Groep 71"/>
                      <p:cNvGrpSpPr/>
                      <p:nvPr userDrawn="1"/>
                    </p:nvGrpSpPr>
                    <p:grpSpPr>
                      <a:xfrm>
                        <a:off x="1094874" y="-878306"/>
                        <a:ext cx="867364" cy="685800"/>
                        <a:chOff x="1094874" y="-878306"/>
                        <a:chExt cx="867364" cy="613611"/>
                      </a:xfrm>
                    </p:grpSpPr>
                    <p:cxnSp>
                      <p:nvCxnSpPr>
                        <p:cNvPr id="78" name="Rechte verbindingslijn 77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094874" y="-878305"/>
                          <a:ext cx="0" cy="613610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9" name="Rechte verbindingslijn 78"/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962238" y="-878306"/>
                          <a:ext cx="0" cy="613611"/>
                        </a:xfrm>
                        <a:prstGeom prst="line">
                          <a:avLst/>
                        </a:prstGeom>
                        <a:ln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80" name="Groep 79"/>
                        <p:cNvGrpSpPr/>
                        <p:nvPr userDrawn="1"/>
                      </p:nvGrpSpPr>
                      <p:grpSpPr>
                        <a:xfrm>
                          <a:off x="1270535" y="-878306"/>
                          <a:ext cx="526983" cy="613611"/>
                          <a:chOff x="1270535" y="-745959"/>
                          <a:chExt cx="526983" cy="481264"/>
                        </a:xfrm>
                      </p:grpSpPr>
                      <p:cxnSp>
                        <p:nvCxnSpPr>
                          <p:cNvPr id="81" name="Rechte verbindingslijn 80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446196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2" name="Rechte verbindingslijn 81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270535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3" name="Rechte verbindingslijn 82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621857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4" name="Rechte verbindingslijn 83"/>
                          <p:cNvCxnSpPr>
                            <a:cxnSpLocks/>
                          </p:cNvCxnSpPr>
                          <p:nvPr userDrawn="1"/>
                        </p:nvCxnSpPr>
                        <p:spPr>
                          <a:xfrm>
                            <a:off x="1797518" y="-745959"/>
                            <a:ext cx="0" cy="481264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rgbClr val="81818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73" name="Rechte verbindingslijn 72"/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098555" y="-192506"/>
                        <a:ext cx="880987" cy="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74" name="Groep 73"/>
                      <p:cNvGrpSpPr/>
                      <p:nvPr userDrawn="1"/>
                    </p:nvGrpSpPr>
                    <p:grpSpPr>
                      <a:xfrm>
                        <a:off x="1094874" y="-607596"/>
                        <a:ext cx="878306" cy="276726"/>
                        <a:chOff x="1106905" y="-607596"/>
                        <a:chExt cx="878307" cy="276726"/>
                      </a:xfrm>
                    </p:grpSpPr>
                    <p:cxnSp>
                      <p:nvCxnSpPr>
                        <p:cNvPr id="75" name="Rechte verbindingslijn 74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330870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6" name="Rechte verbindingslijn 75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469233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77" name="Rechte verbindingslijn 76"/>
                        <p:cNvCxnSpPr>
                          <a:cxnSpLocks/>
                        </p:cNvCxnSpPr>
                        <p:nvPr userDrawn="1"/>
                      </p:nvCxnSpPr>
                      <p:spPr>
                        <a:xfrm flipH="1">
                          <a:off x="1106905" y="-607596"/>
                          <a:ext cx="878307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67" name="Groep 66"/>
                    <p:cNvGrpSpPr/>
                    <p:nvPr userDrawn="1"/>
                  </p:nvGrpSpPr>
                  <p:grpSpPr>
                    <a:xfrm rot="2700000">
                      <a:off x="1605871" y="-605080"/>
                      <a:ext cx="90079" cy="407021"/>
                      <a:chOff x="3130062" y="-817193"/>
                      <a:chExt cx="131884" cy="595920"/>
                    </a:xfrm>
                    <a:solidFill>
                      <a:srgbClr val="3399FF"/>
                    </a:solidFill>
                  </p:grpSpPr>
                  <p:sp>
                    <p:nvSpPr>
                      <p:cNvPr id="68" name="Rechthoek 67"/>
                      <p:cNvSpPr/>
                      <p:nvPr userDrawn="1"/>
                    </p:nvSpPr>
                    <p:spPr>
                      <a:xfrm>
                        <a:off x="3130062" y="-705979"/>
                        <a:ext cx="131884" cy="281354"/>
                      </a:xfrm>
                      <a:prstGeom prst="rect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69" name="Rechthoek: afgeronde bovenhoeken 68"/>
                      <p:cNvSpPr/>
                      <p:nvPr userDrawn="1"/>
                    </p:nvSpPr>
                    <p:spPr>
                      <a:xfrm>
                        <a:off x="3130063" y="-817193"/>
                        <a:ext cx="131883" cy="87615"/>
                      </a:xfrm>
                      <a:prstGeom prst="round2SameRect">
                        <a:avLst>
                          <a:gd name="adj1" fmla="val 50000"/>
                          <a:gd name="adj2" fmla="val 0"/>
                        </a:avLst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70" name="Gelijkbenige driehoek 69"/>
                      <p:cNvSpPr/>
                      <p:nvPr userDrawn="1"/>
                    </p:nvSpPr>
                    <p:spPr>
                      <a:xfrm rot="10800000">
                        <a:off x="3130062" y="-401026"/>
                        <a:ext cx="131884" cy="179753"/>
                      </a:xfrm>
                      <a:prstGeom prst="triangle">
                        <a:avLst/>
                      </a:prstGeom>
                      <a:solidFill>
                        <a:srgbClr val="4D82B8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l-NL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115537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2" y="1179861"/>
            <a:ext cx="5543551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C1A6EF-0D7D-46B1-9F71-13B087D9AB2A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Tabel</a:t>
            </a:r>
          </a:p>
        </p:txBody>
      </p:sp>
      <p:sp>
        <p:nvSpPr>
          <p:cNvPr id="37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6278570" y="1179861"/>
            <a:ext cx="5545132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3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9" name="Groep 38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40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45" name="Rechthoek 44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46" name="Ovaal 45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49" name="Rechte verbindingslijn 48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Rechte verbindingslijn 49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Rechthoek 50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52" name="Groep 51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53" name="Groep 52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93" name="Groep 92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Rechte verbindingslijn 97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9" name="Rechte verbindingslijn 98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0" name="Rechte verbindingslijn 99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1" name="Rechte verbindingslijn 100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4" name="Groep 93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5" name="Rechthoek 94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6" name="Pijl: punthaak 95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54" name="Rechte verbindingslijn 53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56" name="Groep 55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82" name="Rechthoek 81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3" name="Groep 82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84" name="Groep 83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1" name="Rechte verbindingslijn 90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2" name="Rechte verbindingslijn 91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5" name="Groep 84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6" name="Rechthoek 85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7" name="Pijl: punthaak 86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7" name="Groep 56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2" name="Groep 71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73" name="Groep 72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0" name="Rechte verbindingslijn 79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1" name="Rechte verbindingslijn 80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4" name="Groep 73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5" name="Rechthoek 7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6" name="Pijl: punthaak 7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58" name="Rechthoek 57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1" name="Rechthoek 60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63" name="Rechthoek 62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Ovaal 63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65" name="Rechthoek 64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66" name="Ovaal 65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67" name="Rechthoek 66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68" name="Ovaal 67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69" name="Rechthoek 68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41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4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38" name="Groep 137"/>
          <p:cNvGrpSpPr/>
          <p:nvPr userDrawn="1"/>
        </p:nvGrpSpPr>
        <p:grpSpPr>
          <a:xfrm>
            <a:off x="12391604" y="-17883"/>
            <a:ext cx="3183677" cy="3416764"/>
            <a:chOff x="12391603" y="-17883"/>
            <a:chExt cx="3183677" cy="3416764"/>
          </a:xfrm>
        </p:grpSpPr>
        <p:grpSp>
          <p:nvGrpSpPr>
            <p:cNvPr id="111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11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Rechthoek 11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14" name="Rechte verbindingslijn 11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15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116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126" name="Rechthoek 125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>
                    <a:lnSpc>
                      <a:spcPct val="80000"/>
                    </a:lnSpc>
                    <a:defRPr/>
                  </a:pPr>
                  <a:r>
                    <a:rPr lang="nl-NL" sz="1400" b="1" kern="0" cap="all" dirty="0">
                      <a:solidFill>
                        <a:srgbClr val="002C51"/>
                      </a:solidFill>
                      <a:latin typeface="Gill Sans M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127" name="Ovaal 126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128" name="Rechte verbindingslijn 127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129" name="Rechte verbindingslijn 128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130" name="Rechthoek 129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nl-NL" sz="1100" i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(zie onderstaand voorbeeld).</a:t>
                  </a:r>
                  <a:endPara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1" name="Ovaal 130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 dirty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132" name="Rechthoek 131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lang="nl-NL" sz="1100" b="1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OK’</a:t>
                  </a: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.</a:t>
                  </a:r>
                  <a:endPara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3" name="Groep 132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135" name="Rechthoek 134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136" name="Rechte verbindingslijn 135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137" name="Gelijkbenige driehoek 136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cxnSp>
              <p:nvCxnSpPr>
                <p:cNvPr id="134" name="Rechte verbindingslijn 133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117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118" name="Rechthoek 117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cxnSp>
              <p:nvCxnSpPr>
                <p:cNvPr id="120" name="Rechte verbindingslijn 119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Rechte verbindingslijn 120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hthoek 124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5106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FE6E4B-7EE7-4ADC-98CA-0935243E8974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Tabel</a:t>
            </a:r>
          </a:p>
        </p:txBody>
      </p:sp>
      <p:sp>
        <p:nvSpPr>
          <p:cNvPr id="26" name="Tijdelijke aanduiding voor tabel 36"/>
          <p:cNvSpPr>
            <a:spLocks noGrp="1"/>
          </p:cNvSpPr>
          <p:nvPr>
            <p:ph type="tbl" sz="quarter" idx="15" hasCustomPrompt="1"/>
          </p:nvPr>
        </p:nvSpPr>
        <p:spPr>
          <a:xfrm>
            <a:off x="368300" y="1179861"/>
            <a:ext cx="11455400" cy="4636738"/>
          </a:xfrm>
          <a:solidFill>
            <a:schemeClr val="bg1">
              <a:lumMod val="95000"/>
            </a:schemeClr>
          </a:solidFill>
        </p:spPr>
        <p:txBody>
          <a:bodyPr bIns="108000" anchor="ctr">
            <a:normAutofit/>
          </a:bodyPr>
          <a:lstStyle>
            <a:lvl1pPr marL="0" indent="0" algn="ctr">
              <a:lnSpc>
                <a:spcPct val="300000"/>
              </a:lnSpc>
              <a:buNone/>
              <a:defRPr sz="1400"/>
            </a:lvl1pPr>
          </a:lstStyle>
          <a:p>
            <a:r>
              <a:rPr lang="nl-NL" dirty="0"/>
              <a:t>Klik op het icoon om</a:t>
            </a:r>
            <a:br>
              <a:rPr lang="nl-NL" dirty="0"/>
            </a:br>
            <a:r>
              <a:rPr lang="nl-NL" dirty="0"/>
              <a:t>een tabel toe te voegen</a:t>
            </a:r>
          </a:p>
        </p:txBody>
      </p:sp>
      <p:sp>
        <p:nvSpPr>
          <p:cNvPr id="2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8" name="Groep 27"/>
          <p:cNvGrpSpPr/>
          <p:nvPr userDrawn="1"/>
        </p:nvGrpSpPr>
        <p:grpSpPr>
          <a:xfrm>
            <a:off x="12391604" y="-17883"/>
            <a:ext cx="3183677" cy="3416764"/>
            <a:chOff x="12391603" y="-17883"/>
            <a:chExt cx="3183677" cy="3416764"/>
          </a:xfrm>
        </p:grpSpPr>
        <p:grpSp>
          <p:nvGrpSpPr>
            <p:cNvPr id="29" name="Meer informatie"/>
            <p:cNvGrpSpPr/>
            <p:nvPr userDrawn="1"/>
          </p:nvGrpSpPr>
          <p:grpSpPr>
            <a:xfrm>
              <a:off x="12396764" y="2615608"/>
              <a:ext cx="3178515" cy="783273"/>
              <a:chOff x="-3741486" y="3359148"/>
              <a:chExt cx="3178515" cy="783273"/>
            </a:xfrm>
          </p:grpSpPr>
          <p:sp>
            <p:nvSpPr>
              <p:cNvPr id="53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5" name="Rechte verbindingslijn 54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30" name="Instructie"/>
            <p:cNvGrpSpPr/>
            <p:nvPr userDrawn="1"/>
          </p:nvGrpSpPr>
          <p:grpSpPr>
            <a:xfrm>
              <a:off x="12391603" y="-17883"/>
              <a:ext cx="3183677" cy="2499789"/>
              <a:chOff x="12391603" y="-17883"/>
              <a:chExt cx="3183677" cy="2499789"/>
            </a:xfrm>
          </p:grpSpPr>
          <p:grpSp>
            <p:nvGrpSpPr>
              <p:cNvPr id="31" name="Instructie"/>
              <p:cNvGrpSpPr/>
              <p:nvPr userDrawn="1"/>
            </p:nvGrpSpPr>
            <p:grpSpPr>
              <a:xfrm>
                <a:off x="12391603" y="-17883"/>
                <a:ext cx="3183677" cy="2499789"/>
                <a:chOff x="12391603" y="-17883"/>
                <a:chExt cx="3183677" cy="2499789"/>
              </a:xfrm>
            </p:grpSpPr>
            <p:sp>
              <p:nvSpPr>
                <p:cNvPr id="41" name="Rechthoek 40"/>
                <p:cNvSpPr/>
                <p:nvPr userDrawn="1"/>
              </p:nvSpPr>
              <p:spPr>
                <a:xfrm>
                  <a:off x="12397264" y="-17883"/>
                  <a:ext cx="3178016" cy="191611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/>
                <a:lstStyle/>
                <a:p>
                  <a:pPr>
                    <a:lnSpc>
                      <a:spcPct val="80000"/>
                    </a:lnSpc>
                    <a:defRPr/>
                  </a:pPr>
                  <a:r>
                    <a:rPr lang="nl-NL" sz="1400" b="1" kern="0" cap="all" dirty="0">
                      <a:solidFill>
                        <a:srgbClr val="002C51"/>
                      </a:solidFill>
                      <a:latin typeface="Gill Sans MT"/>
                      <a:cs typeface="Segoe UI Light" panose="020B0502040204020203" pitchFamily="34" charset="0"/>
                    </a:rPr>
                    <a:t>Tabel invoegen</a:t>
                  </a:r>
                </a:p>
              </p:txBody>
            </p:sp>
            <p:sp>
              <p:nvSpPr>
                <p:cNvPr id="42" name="Ovaal 41"/>
                <p:cNvSpPr/>
                <p:nvPr userDrawn="1"/>
              </p:nvSpPr>
              <p:spPr>
                <a:xfrm>
                  <a:off x="12391603" y="348607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43" name="Rechte verbindingslijn 42"/>
                <p:cNvCxnSpPr>
                  <a:cxnSpLocks/>
                </p:cNvCxnSpPr>
                <p:nvPr userDrawn="1"/>
              </p:nvCxnSpPr>
              <p:spPr>
                <a:xfrm>
                  <a:off x="12397263" y="223752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cxnSp>
              <p:nvCxnSpPr>
                <p:cNvPr id="44" name="Rechte verbindingslijn 43"/>
                <p:cNvCxnSpPr>
                  <a:cxnSpLocks/>
                </p:cNvCxnSpPr>
                <p:nvPr userDrawn="1"/>
              </p:nvCxnSpPr>
              <p:spPr>
                <a:xfrm>
                  <a:off x="12397263" y="1560050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  <p:sp>
              <p:nvSpPr>
                <p:cNvPr id="45" name="Rechthoek 44"/>
                <p:cNvSpPr/>
                <p:nvPr userDrawn="1"/>
              </p:nvSpPr>
              <p:spPr>
                <a:xfrm>
                  <a:off x="12757284" y="414669"/>
                  <a:ext cx="2817995" cy="5954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neer nodig, verwijder de bestaande tabel. Klik op het pictogram om een nieuwe tabel in te voegen.</a:t>
                  </a:r>
                  <a:br>
                    <a:rPr lang="nl-NL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nl-NL" sz="1100" i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(zie onderstaand voorbeeld).</a:t>
                  </a:r>
                  <a:endPara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6" name="Ovaal 45"/>
                <p:cNvSpPr/>
                <p:nvPr userDrawn="1"/>
              </p:nvSpPr>
              <p:spPr>
                <a:xfrm>
                  <a:off x="12391603" y="1688515"/>
                  <a:ext cx="260914" cy="259683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r>
                    <a:rPr lang="nl-NL" sz="1100" kern="0" dirty="0">
                      <a:solidFill>
                        <a:prstClr val="white"/>
                      </a:solidFill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  <p:sp>
              <p:nvSpPr>
                <p:cNvPr id="47" name="Rechthoek 46"/>
                <p:cNvSpPr/>
                <p:nvPr userDrawn="1"/>
              </p:nvSpPr>
              <p:spPr>
                <a:xfrm>
                  <a:off x="12757284" y="1754578"/>
                  <a:ext cx="2817995" cy="318048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>
                      <a:srgbClr val="F39200"/>
                    </a:buClr>
                    <a:buFont typeface="Arial" panose="020B0604020202020204" pitchFamily="34" charset="0"/>
                    <a:buNone/>
                    <a:defRPr/>
                  </a:pP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Selecteer het gewenste aantal rijen en kolommen en klik op </a:t>
                  </a:r>
                  <a:r>
                    <a:rPr lang="nl-NL" sz="1100" b="1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OK’</a:t>
                  </a:r>
                  <a:r>
                    <a:rPr lang="nl-NL" sz="1100" kern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.</a:t>
                  </a:r>
                  <a:endPara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48" name="Groep 47"/>
                <p:cNvGrpSpPr/>
                <p:nvPr userDrawn="1"/>
              </p:nvGrpSpPr>
              <p:grpSpPr>
                <a:xfrm>
                  <a:off x="12757284" y="2166667"/>
                  <a:ext cx="825500" cy="209550"/>
                  <a:chOff x="13504624" y="2482850"/>
                  <a:chExt cx="825500" cy="209550"/>
                </a:xfrm>
              </p:grpSpPr>
              <p:sp>
                <p:nvSpPr>
                  <p:cNvPr id="50" name="Rechthoek 49"/>
                  <p:cNvSpPr/>
                  <p:nvPr userDrawn="1"/>
                </p:nvSpPr>
                <p:spPr>
                  <a:xfrm>
                    <a:off x="13504624" y="2482850"/>
                    <a:ext cx="825500" cy="209550"/>
                  </a:xfrm>
                  <a:prstGeom prst="rect">
                    <a:avLst/>
                  </a:prstGeom>
                  <a:solidFill>
                    <a:srgbClr val="E5F1FB"/>
                  </a:solidFill>
                  <a:ln w="12700">
                    <a:solidFill>
                      <a:srgbClr val="0B7ED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252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r>
                      <a: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rPr>
                      <a:t>OK</a:t>
                    </a:r>
                  </a:p>
                </p:txBody>
              </p:sp>
              <p:cxnSp>
                <p:nvCxnSpPr>
                  <p:cNvPr id="51" name="Rechte verbindingslijn 50"/>
                  <p:cNvCxnSpPr/>
                  <p:nvPr userDrawn="1"/>
                </p:nvCxnSpPr>
                <p:spPr>
                  <a:xfrm>
                    <a:off x="14155269" y="2515250"/>
                    <a:ext cx="0" cy="142717"/>
                  </a:xfrm>
                  <a:prstGeom prst="line">
                    <a:avLst/>
                  </a:prstGeom>
                  <a:noFill/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</p:cxnSp>
              <p:sp>
                <p:nvSpPr>
                  <p:cNvPr id="52" name="Gelijkbenige driehoek 51"/>
                  <p:cNvSpPr/>
                  <p:nvPr userDrawn="1"/>
                </p:nvSpPr>
                <p:spPr>
                  <a:xfrm rot="10800000">
                    <a:off x="14196089" y="2566904"/>
                    <a:ext cx="86866" cy="51147"/>
                  </a:xfrm>
                  <a:prstGeom prst="triangle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cxnSp>
              <p:nvCxnSpPr>
                <p:cNvPr id="49" name="Rechte verbindingslijn 48"/>
                <p:cNvCxnSpPr>
                  <a:cxnSpLocks/>
                </p:cNvCxnSpPr>
                <p:nvPr userDrawn="1"/>
              </p:nvCxnSpPr>
              <p:spPr>
                <a:xfrm>
                  <a:off x="12397263" y="2481906"/>
                  <a:ext cx="3178017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tx2"/>
                  </a:solidFill>
                  <a:prstDash val="solid"/>
                </a:ln>
                <a:effectLst/>
              </p:spPr>
            </p:cxnSp>
          </p:grpSp>
          <p:grpSp>
            <p:nvGrpSpPr>
              <p:cNvPr id="32" name="Tabel icoon"/>
              <p:cNvGrpSpPr/>
              <p:nvPr userDrawn="1"/>
            </p:nvGrpSpPr>
            <p:grpSpPr>
              <a:xfrm>
                <a:off x="12757284" y="1103568"/>
                <a:ext cx="379277" cy="342580"/>
                <a:chOff x="6072040" y="3376043"/>
                <a:chExt cx="1227920" cy="1109109"/>
              </a:xfrm>
            </p:grpSpPr>
            <p:sp>
              <p:nvSpPr>
                <p:cNvPr id="33" name="Rechthoek 32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Rechthoek 33"/>
                <p:cNvSpPr/>
                <p:nvPr userDrawn="1"/>
              </p:nvSpPr>
              <p:spPr>
                <a:xfrm>
                  <a:off x="6090829" y="3393962"/>
                  <a:ext cx="1209131" cy="218971"/>
                </a:xfrm>
                <a:prstGeom prst="rect">
                  <a:avLst/>
                </a:pr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  <p:cxnSp>
              <p:nvCxnSpPr>
                <p:cNvPr id="35" name="Rechte verbindingslijn 34"/>
                <p:cNvCxnSpPr/>
                <p:nvPr userDrawn="1"/>
              </p:nvCxnSpPr>
              <p:spPr>
                <a:xfrm>
                  <a:off x="6493304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Rechte verbindingslijn 35"/>
                <p:cNvCxnSpPr/>
                <p:nvPr userDrawn="1"/>
              </p:nvCxnSpPr>
              <p:spPr>
                <a:xfrm>
                  <a:off x="6883025" y="3605313"/>
                  <a:ext cx="0" cy="872219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Rechte verbindingslijn 36"/>
                <p:cNvCxnSpPr/>
                <p:nvPr userDrawn="1"/>
              </p:nvCxnSpPr>
              <p:spPr>
                <a:xfrm flipH="1">
                  <a:off x="6090561" y="38271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Rechte verbindingslijn 37"/>
                <p:cNvCxnSpPr/>
                <p:nvPr userDrawn="1"/>
              </p:nvCxnSpPr>
              <p:spPr>
                <a:xfrm flipH="1">
                  <a:off x="6090561" y="405570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Rechte verbindingslijn 38"/>
                <p:cNvCxnSpPr/>
                <p:nvPr userDrawn="1"/>
              </p:nvCxnSpPr>
              <p:spPr>
                <a:xfrm flipH="1">
                  <a:off x="6090561" y="4276688"/>
                  <a:ext cx="1209399" cy="0"/>
                </a:xfrm>
                <a:prstGeom prst="line">
                  <a:avLst/>
                </a:prstGeom>
                <a:ln w="12700">
                  <a:solidFill>
                    <a:srgbClr val="B5B5B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hthoek 39"/>
                <p:cNvSpPr/>
                <p:nvPr userDrawn="1"/>
              </p:nvSpPr>
              <p:spPr>
                <a:xfrm>
                  <a:off x="6072040" y="3376043"/>
                  <a:ext cx="1227920" cy="1109109"/>
                </a:xfrm>
                <a:prstGeom prst="rect">
                  <a:avLst/>
                </a:prstGeom>
                <a:noFill/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10350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tussenruim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102"/>
            <a:ext cx="5900400" cy="6444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BAD87-9DA1-4179-B89C-3A13243D9DF2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6" y="0"/>
            <a:ext cx="5899594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64758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46" grpId="0" animBg="1"/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verz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66F11-841E-4B40-81F9-14154D49EE92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Logo Overzich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grpSp>
          <p:nvGrpSpPr>
            <p:cNvPr id="165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66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Rechthoek 166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8" name="Rechte verbindingslijn 167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69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70" name="Rechthoek 169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71" name="Ovaal 170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72" name="Rechte verbindingslijn 171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73" name="Rechte verbindingslijn 172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4" name="Rechthoek 173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75" name="Rechte verbindingslijn 174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76" name="Ovaal 175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77" name="Rechthoek 176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78" name="Groep 177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06" name="Rechthoek 205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07" name="Rechte verbindingslijn 206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08" name="Gelijkbenige driehoek 207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79" name="Groep 178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00" name="Rechthoek 199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Ovaal 200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Vrije vorm: vorm 201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Rechthoek: afgeronde hoeken 202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04" name="Rechte verbindingslijn 203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05" name="Rechte verbindingslijn 204"/>
                <p:cNvCxnSpPr>
                  <a:cxnSpLocks/>
                  <a:stCxn id="203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80" name="Ovaal 179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81" name="Rechthoek 180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 en klik op de kn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Bijsnijd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82" name="Rechte verbindingslijn 181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83" name="Groep 182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184" name="Groep 183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187" name="Groep 186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194" name="Groep 193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197" name="Rechthoek 196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8" name="Rechthoek 197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99" name="Ovaal 198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nl-NL" sz="1000" b="1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95" name="Afbeelding 194"/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" name="Afbeelding 195"/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88" name="Groep 187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2" name="Rechthoek 191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93" name="Rechthoek 192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189" name="Groep 188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190" name="Rechthoek 189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91" name="Rechthoek 190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85" name="Rechthoek 184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86" name="Gelijkbenige driehoek 185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250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1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3092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2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42523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3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61954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4" name="Tijdelijke aanduiding voor verticale tekst 2"/>
          <p:cNvSpPr>
            <a:spLocks noGrp="1"/>
          </p:cNvSpPr>
          <p:nvPr>
            <p:ph type="body" orient="vert" idx="18" hasCustomPrompt="1"/>
          </p:nvPr>
        </p:nvSpPr>
        <p:spPr>
          <a:xfrm>
            <a:off x="81385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5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0081640" y="1173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6" name="Tijdelijke aanduiding voor verticale tekst 2"/>
          <p:cNvSpPr>
            <a:spLocks noGrp="1"/>
          </p:cNvSpPr>
          <p:nvPr>
            <p:ph type="body" orient="vert" idx="20" hasCustomPrompt="1"/>
          </p:nvPr>
        </p:nvSpPr>
        <p:spPr>
          <a:xfrm>
            <a:off x="3661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7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3092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42523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59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61954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81385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1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10081640" y="2380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61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23092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42523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61954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1385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10081640" y="35867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8" name="Tijdelijke aanduiding voor verticale tekst 2"/>
          <p:cNvSpPr>
            <a:spLocks noGrp="1"/>
          </p:cNvSpPr>
          <p:nvPr>
            <p:ph type="body" orient="vert" idx="32" hasCustomPrompt="1"/>
          </p:nvPr>
        </p:nvSpPr>
        <p:spPr>
          <a:xfrm>
            <a:off x="3661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6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23092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42523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61954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81385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3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0081640" y="4793200"/>
            <a:ext cx="1726083" cy="1025368"/>
          </a:xfrm>
          <a:solidFill>
            <a:schemeClr val="bg1"/>
          </a:solidFill>
          <a:ln>
            <a:noFill/>
          </a:ln>
          <a:effectLst>
            <a:outerShdw blurRad="635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nl-NL" dirty="0"/>
              <a:t> </a:t>
            </a:r>
          </a:p>
        </p:txBody>
      </p:sp>
      <p:sp>
        <p:nvSpPr>
          <p:cNvPr id="274" name="Tijdelijke aanduiding voor afbeelding 45"/>
          <p:cNvSpPr>
            <a:spLocks noGrp="1"/>
          </p:cNvSpPr>
          <p:nvPr>
            <p:ph type="pic" sz="quarter" idx="38" hasCustomPrompt="1"/>
          </p:nvPr>
        </p:nvSpPr>
        <p:spPr>
          <a:xfrm>
            <a:off x="6059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5" name="Tijdelijke aanduiding voor afbeelding 45"/>
          <p:cNvSpPr>
            <a:spLocks noGrp="1"/>
          </p:cNvSpPr>
          <p:nvPr>
            <p:ph type="pic" sz="quarter" idx="39" hasCustomPrompt="1"/>
          </p:nvPr>
        </p:nvSpPr>
        <p:spPr>
          <a:xfrm>
            <a:off x="25490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6" name="Tijdelijke aanduiding voor afbeelding 45"/>
          <p:cNvSpPr>
            <a:spLocks noGrp="1"/>
          </p:cNvSpPr>
          <p:nvPr>
            <p:ph type="pic" sz="quarter" idx="40" hasCustomPrompt="1"/>
          </p:nvPr>
        </p:nvSpPr>
        <p:spPr>
          <a:xfrm>
            <a:off x="44921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7" name="Tijdelijke aanduiding voor afbeelding 45"/>
          <p:cNvSpPr>
            <a:spLocks noGrp="1"/>
          </p:cNvSpPr>
          <p:nvPr>
            <p:ph type="pic" sz="quarter" idx="41" hasCustomPrompt="1"/>
          </p:nvPr>
        </p:nvSpPr>
        <p:spPr>
          <a:xfrm>
            <a:off x="64352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8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83783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79" name="Tijdelijke aanduiding voor afbeelding 45"/>
          <p:cNvSpPr>
            <a:spLocks noGrp="1"/>
          </p:cNvSpPr>
          <p:nvPr>
            <p:ph type="pic" sz="quarter" idx="43" hasCustomPrompt="1"/>
          </p:nvPr>
        </p:nvSpPr>
        <p:spPr>
          <a:xfrm>
            <a:off x="10321475" y="1344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0" name="Tijdelijke aanduiding voor afbeelding 45"/>
          <p:cNvSpPr>
            <a:spLocks noGrp="1"/>
          </p:cNvSpPr>
          <p:nvPr>
            <p:ph type="pic" sz="quarter" idx="44" hasCustomPrompt="1"/>
          </p:nvPr>
        </p:nvSpPr>
        <p:spPr>
          <a:xfrm>
            <a:off x="6059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1" name="Tijdelijke aanduiding voor afbeelding 45"/>
          <p:cNvSpPr>
            <a:spLocks noGrp="1"/>
          </p:cNvSpPr>
          <p:nvPr>
            <p:ph type="pic" sz="quarter" idx="45" hasCustomPrompt="1"/>
          </p:nvPr>
        </p:nvSpPr>
        <p:spPr>
          <a:xfrm>
            <a:off x="25490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2" name="Tijdelijke aanduiding voor afbeelding 45"/>
          <p:cNvSpPr>
            <a:spLocks noGrp="1"/>
          </p:cNvSpPr>
          <p:nvPr>
            <p:ph type="pic" sz="quarter" idx="46" hasCustomPrompt="1"/>
          </p:nvPr>
        </p:nvSpPr>
        <p:spPr>
          <a:xfrm>
            <a:off x="44921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3" name="Tijdelijke aanduiding voor afbeelding 45"/>
          <p:cNvSpPr>
            <a:spLocks noGrp="1"/>
          </p:cNvSpPr>
          <p:nvPr>
            <p:ph type="pic" sz="quarter" idx="47" hasCustomPrompt="1"/>
          </p:nvPr>
        </p:nvSpPr>
        <p:spPr>
          <a:xfrm>
            <a:off x="64352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4" name="Tijdelijke aanduiding voor afbeelding 45"/>
          <p:cNvSpPr>
            <a:spLocks noGrp="1"/>
          </p:cNvSpPr>
          <p:nvPr>
            <p:ph type="pic" sz="quarter" idx="48" hasCustomPrompt="1"/>
          </p:nvPr>
        </p:nvSpPr>
        <p:spPr>
          <a:xfrm>
            <a:off x="83783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5" name="Tijdelijke aanduiding voor afbeelding 45"/>
          <p:cNvSpPr>
            <a:spLocks noGrp="1"/>
          </p:cNvSpPr>
          <p:nvPr>
            <p:ph type="pic" sz="quarter" idx="49" hasCustomPrompt="1"/>
          </p:nvPr>
        </p:nvSpPr>
        <p:spPr>
          <a:xfrm>
            <a:off x="10321475" y="2550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6" name="Tijdelijke aanduiding voor afbeelding 45"/>
          <p:cNvSpPr>
            <a:spLocks noGrp="1"/>
          </p:cNvSpPr>
          <p:nvPr>
            <p:ph type="pic" sz="quarter" idx="50" hasCustomPrompt="1"/>
          </p:nvPr>
        </p:nvSpPr>
        <p:spPr>
          <a:xfrm>
            <a:off x="6059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7" name="Tijdelijke aanduiding voor afbeelding 45"/>
          <p:cNvSpPr>
            <a:spLocks noGrp="1"/>
          </p:cNvSpPr>
          <p:nvPr>
            <p:ph type="pic" sz="quarter" idx="51" hasCustomPrompt="1"/>
          </p:nvPr>
        </p:nvSpPr>
        <p:spPr>
          <a:xfrm>
            <a:off x="25490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8" name="Tijdelijke aanduiding voor afbeelding 45"/>
          <p:cNvSpPr>
            <a:spLocks noGrp="1"/>
          </p:cNvSpPr>
          <p:nvPr>
            <p:ph type="pic" sz="quarter" idx="52" hasCustomPrompt="1"/>
          </p:nvPr>
        </p:nvSpPr>
        <p:spPr>
          <a:xfrm>
            <a:off x="44921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89" name="Tijdelijke aanduiding voor afbeelding 45"/>
          <p:cNvSpPr>
            <a:spLocks noGrp="1"/>
          </p:cNvSpPr>
          <p:nvPr>
            <p:ph type="pic" sz="quarter" idx="53" hasCustomPrompt="1"/>
          </p:nvPr>
        </p:nvSpPr>
        <p:spPr>
          <a:xfrm>
            <a:off x="64352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0" name="Tijdelijke aanduiding voor afbeelding 45"/>
          <p:cNvSpPr>
            <a:spLocks noGrp="1"/>
          </p:cNvSpPr>
          <p:nvPr>
            <p:ph type="pic" sz="quarter" idx="54" hasCustomPrompt="1"/>
          </p:nvPr>
        </p:nvSpPr>
        <p:spPr>
          <a:xfrm>
            <a:off x="83783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1" name="Tijdelijke aanduiding voor afbeelding 45"/>
          <p:cNvSpPr>
            <a:spLocks noGrp="1"/>
          </p:cNvSpPr>
          <p:nvPr>
            <p:ph type="pic" sz="quarter" idx="55" hasCustomPrompt="1"/>
          </p:nvPr>
        </p:nvSpPr>
        <p:spPr>
          <a:xfrm>
            <a:off x="10321475" y="37573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2" name="Tijdelijke aanduiding voor afbeelding 45"/>
          <p:cNvSpPr>
            <a:spLocks noGrp="1"/>
          </p:cNvSpPr>
          <p:nvPr>
            <p:ph type="pic" sz="quarter" idx="56" hasCustomPrompt="1"/>
          </p:nvPr>
        </p:nvSpPr>
        <p:spPr>
          <a:xfrm>
            <a:off x="6059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3" name="Tijdelijke aanduiding voor afbeelding 45"/>
          <p:cNvSpPr>
            <a:spLocks noGrp="1"/>
          </p:cNvSpPr>
          <p:nvPr>
            <p:ph type="pic" sz="quarter" idx="57" hasCustomPrompt="1"/>
          </p:nvPr>
        </p:nvSpPr>
        <p:spPr>
          <a:xfrm>
            <a:off x="25490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4" name="Tijdelijke aanduiding voor afbeelding 45"/>
          <p:cNvSpPr>
            <a:spLocks noGrp="1"/>
          </p:cNvSpPr>
          <p:nvPr>
            <p:ph type="pic" sz="quarter" idx="58" hasCustomPrompt="1"/>
          </p:nvPr>
        </p:nvSpPr>
        <p:spPr>
          <a:xfrm>
            <a:off x="44921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5" name="Tijdelijke aanduiding voor afbeelding 45"/>
          <p:cNvSpPr>
            <a:spLocks noGrp="1"/>
          </p:cNvSpPr>
          <p:nvPr>
            <p:ph type="pic" sz="quarter" idx="59" hasCustomPrompt="1"/>
          </p:nvPr>
        </p:nvSpPr>
        <p:spPr>
          <a:xfrm>
            <a:off x="64352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6" name="Tijdelijke aanduiding voor afbeelding 45"/>
          <p:cNvSpPr>
            <a:spLocks noGrp="1"/>
          </p:cNvSpPr>
          <p:nvPr>
            <p:ph type="pic" sz="quarter" idx="60" hasCustomPrompt="1"/>
          </p:nvPr>
        </p:nvSpPr>
        <p:spPr>
          <a:xfrm>
            <a:off x="83783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  <p:sp>
        <p:nvSpPr>
          <p:cNvPr id="297" name="Tijdelijke aanduiding voor afbeelding 45"/>
          <p:cNvSpPr>
            <a:spLocks noGrp="1"/>
          </p:cNvSpPr>
          <p:nvPr>
            <p:ph type="pic" sz="quarter" idx="61" hasCustomPrompt="1"/>
          </p:nvPr>
        </p:nvSpPr>
        <p:spPr>
          <a:xfrm>
            <a:off x="10321475" y="4963886"/>
            <a:ext cx="1246412" cy="683996"/>
          </a:xfrm>
          <a:prstGeom prst="rect">
            <a:avLst/>
          </a:prstGeom>
          <a:noFill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9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logo toe te voegen</a:t>
            </a:r>
          </a:p>
        </p:txBody>
      </p:sp>
    </p:spTree>
    <p:extLst>
      <p:ext uri="{BB962C8B-B14F-4D97-AF65-F5344CB8AC3E}">
        <p14:creationId xmlns:p14="http://schemas.microsoft.com/office/powerpoint/2010/main" val="2938005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2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4" grpId="0"/>
      <p:bldP spid="275" grpId="0"/>
      <p:bldP spid="276" grpId="0"/>
      <p:bldP spid="277" grpId="0"/>
      <p:bldP spid="278" grpId="0"/>
      <p:bldP spid="279" grpId="0"/>
      <p:bldP spid="280" grpId="0"/>
      <p:bldP spid="281" grpId="0"/>
      <p:bldP spid="282" grpId="0"/>
      <p:bldP spid="283" grpId="0"/>
      <p:bldP spid="284" grpId="0"/>
      <p:bldP spid="285" grpId="0"/>
      <p:bldP spid="286" grpId="0"/>
      <p:bldP spid="287" grpId="0"/>
      <p:bldP spid="288" grpId="0"/>
      <p:bldP spid="289" grpId="0"/>
      <p:bldP spid="290" grpId="0"/>
      <p:bldP spid="291" grpId="0"/>
      <p:bldP spid="292" grpId="0"/>
      <p:bldP spid="293" grpId="0"/>
      <p:bldP spid="294" grpId="0"/>
      <p:bldP spid="295" grpId="0"/>
      <p:bldP spid="296" grpId="0"/>
      <p:bldP spid="297" grpId="0"/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827659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29" hasCustomPrompt="1"/>
          </p:nvPr>
        </p:nvSpPr>
        <p:spPr>
          <a:xfrm>
            <a:off x="8276596" y="1179863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827659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5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5" y="1179863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8CAAB-3B13-4D64-B39F-6F822CC2E0F0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3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5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4333136" y="1179858"/>
            <a:ext cx="3560400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9"/>
          <p:cNvSpPr>
            <a:spLocks noGrp="1"/>
          </p:cNvSpPr>
          <p:nvPr>
            <p:ph type="pic" sz="quarter" idx="26" hasCustomPrompt="1"/>
          </p:nvPr>
        </p:nvSpPr>
        <p:spPr>
          <a:xfrm>
            <a:off x="4333136" y="1179863"/>
            <a:ext cx="3560400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4333136" y="4949937"/>
            <a:ext cx="3560400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2F03B4BA-F6F9-40B7-B0C8-69E5F24A8777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99" name="Afbeelding 98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5" name="Rechthoek 104"/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6" name="Ovaal 105"/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7" name="Rechte verbindingslijn 106"/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8" name="Rechte verbindingslijn 107"/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Rechthoek 108"/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0" name="Rechte verbindingslijn 109"/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1" name="Ovaal 110"/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2" name="Rechthoek 111"/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2" name="Groep 121"/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5" name="Rechthoek 154"/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6" name="Rechte verbindingslijn 155"/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7" name="Gelijkbenige driehoek 156"/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23" name="Groep 122"/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9" name="Rechthoek 148"/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50" name="Ovaal 149"/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Vrije vorm: vorm 150"/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Rechthoek: afgeronde hoeken 151"/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53" name="Rechte verbindingslijn 152"/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4" name="Rechte verbindingslijn 153"/>
              <p:cNvCxnSpPr>
                <a:cxnSpLocks/>
                <a:stCxn id="15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24" name="Ovaal 123"/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25" name="Rechthoek 124"/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/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7" name="Groep 126"/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8" name="Rechthoek 127"/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9" name="Rechthoek 128"/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30" name="Groep 129"/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43" name="Rechthoek: afgeronde hoeken 142"/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" name="Rechthoek 143"/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5" name="Rechthoek 144"/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6" name="Rechthoek 145"/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7" name="Rechthoek 146"/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8" name="Rechthoek 147"/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1" name="Groep 130"/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5" name="Groep 134"/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7" name="Rechthoek: afgeronde hoeken 136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8" name="Rechthoek 137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9" name="Rechthoek 138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0" name="Rechthoek 139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1" name="Rechthoek 140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2" name="Rechthoek 141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6" name="Boog 135"/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32" name="Tekstvak 131"/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33" name="Tekstvak 132"/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4" name="Picture 3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01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02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Rechthoek 102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04" name="Rechte verbindingslijn 103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63107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7" y="1179858"/>
            <a:ext cx="2574535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7" y="1179863"/>
            <a:ext cx="2574535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71179-CAC2-4F6A-8E64-5EA875A4717E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4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7" y="4949937"/>
            <a:ext cx="2574535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0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3347273" y="1179858"/>
            <a:ext cx="2574535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afbeelding 39"/>
          <p:cNvSpPr>
            <a:spLocks noGrp="1"/>
          </p:cNvSpPr>
          <p:nvPr>
            <p:ph type="pic" sz="quarter" idx="32" hasCustomPrompt="1"/>
          </p:nvPr>
        </p:nvSpPr>
        <p:spPr>
          <a:xfrm>
            <a:off x="3347273" y="1179863"/>
            <a:ext cx="2574535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09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3347273" y="4949937"/>
            <a:ext cx="2574535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6304869" y="1179858"/>
            <a:ext cx="2574535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afbeelding 39"/>
          <p:cNvSpPr>
            <a:spLocks noGrp="1"/>
          </p:cNvSpPr>
          <p:nvPr>
            <p:ph type="pic" sz="quarter" idx="35" hasCustomPrompt="1"/>
          </p:nvPr>
        </p:nvSpPr>
        <p:spPr>
          <a:xfrm>
            <a:off x="6304869" y="1179863"/>
            <a:ext cx="2574535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6304869" y="4949937"/>
            <a:ext cx="2574535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9262463" y="1179858"/>
            <a:ext cx="2574535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9"/>
          <p:cNvSpPr>
            <a:spLocks noGrp="1"/>
          </p:cNvSpPr>
          <p:nvPr>
            <p:ph type="pic" sz="quarter" idx="38" hasCustomPrompt="1"/>
          </p:nvPr>
        </p:nvSpPr>
        <p:spPr>
          <a:xfrm>
            <a:off x="9262463" y="1179863"/>
            <a:ext cx="2574535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9262463" y="4949937"/>
            <a:ext cx="2574535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1" name="Groep 160">
            <a:extLst>
              <a:ext uri="{FF2B5EF4-FFF2-40B4-BE49-F238E27FC236}">
                <a16:creationId xmlns:a16="http://schemas.microsoft.com/office/drawing/2014/main" id="{FCCEFB53-926B-43A5-B15D-C393B347BA7A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62" name="Afbeelding 161">
              <a:extLst>
                <a:ext uri="{FF2B5EF4-FFF2-40B4-BE49-F238E27FC236}">
                  <a16:creationId xmlns:a16="http://schemas.microsoft.com/office/drawing/2014/main" id="{3A99021C-1B73-45AC-9E0D-0BA5D305DF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9B8684C5-75ED-478A-BBAD-52500D10A50D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1EF576AE-826F-49DE-AE9D-26CBDC98975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5" name="Rechte verbindingslijn 164">
              <a:extLst>
                <a:ext uri="{FF2B5EF4-FFF2-40B4-BE49-F238E27FC236}">
                  <a16:creationId xmlns:a16="http://schemas.microsoft.com/office/drawing/2014/main" id="{D2002A68-8E60-4B1A-AD5F-F4F94FC5C1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6" name="Rechte verbindingslijn 165">
              <a:extLst>
                <a:ext uri="{FF2B5EF4-FFF2-40B4-BE49-F238E27FC236}">
                  <a16:creationId xmlns:a16="http://schemas.microsoft.com/office/drawing/2014/main" id="{08E75B8E-FCBA-4D8D-A676-4CD4F31EA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0B3E36AC-A52B-4D6C-81A6-99225B4AF218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F6517321-962A-4431-9C8D-7BD93F887E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69" name="Ovaal 168">
              <a:extLst>
                <a:ext uri="{FF2B5EF4-FFF2-40B4-BE49-F238E27FC236}">
                  <a16:creationId xmlns:a16="http://schemas.microsoft.com/office/drawing/2014/main" id="{875DD6BB-72DA-4541-A07D-08C37A1D6B0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EC3C8B96-A4ED-4876-A4CC-821810C4296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71" name="Groep 170">
              <a:extLst>
                <a:ext uri="{FF2B5EF4-FFF2-40B4-BE49-F238E27FC236}">
                  <a16:creationId xmlns:a16="http://schemas.microsoft.com/office/drawing/2014/main" id="{F2357E44-78CA-45A3-956B-965161D93275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08" name="Rechthoek 207">
                <a:extLst>
                  <a:ext uri="{FF2B5EF4-FFF2-40B4-BE49-F238E27FC236}">
                    <a16:creationId xmlns:a16="http://schemas.microsoft.com/office/drawing/2014/main" id="{0968A9B8-C0BC-459A-BA15-75EF9F09CCA5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CA830A2C-618E-47BF-9D3A-55DD1546A2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0" name="Gelijkbenige driehoek 209">
                <a:extLst>
                  <a:ext uri="{FF2B5EF4-FFF2-40B4-BE49-F238E27FC236}">
                    <a16:creationId xmlns:a16="http://schemas.microsoft.com/office/drawing/2014/main" id="{56B033E5-EC50-4438-BF01-1AB2254EF26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8DC86FEC-AE61-41F2-B99F-7F06AC040A8E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2" name="Rechthoek 201">
                <a:extLst>
                  <a:ext uri="{FF2B5EF4-FFF2-40B4-BE49-F238E27FC236}">
                    <a16:creationId xmlns:a16="http://schemas.microsoft.com/office/drawing/2014/main" id="{0E48B30F-2417-4027-A68E-502802915B0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3" name="Ovaal 202">
                <a:extLst>
                  <a:ext uri="{FF2B5EF4-FFF2-40B4-BE49-F238E27FC236}">
                    <a16:creationId xmlns:a16="http://schemas.microsoft.com/office/drawing/2014/main" id="{6BB66B2B-0443-44EE-86EF-9ADAFA26DDA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Vrije vorm: vorm 203">
                <a:extLst>
                  <a:ext uri="{FF2B5EF4-FFF2-40B4-BE49-F238E27FC236}">
                    <a16:creationId xmlns:a16="http://schemas.microsoft.com/office/drawing/2014/main" id="{4BC0AA19-3AA7-4497-AC19-7BE63BB2CA6B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Rechthoek: afgeronde hoeken 204">
                <a:extLst>
                  <a:ext uri="{FF2B5EF4-FFF2-40B4-BE49-F238E27FC236}">
                    <a16:creationId xmlns:a16="http://schemas.microsoft.com/office/drawing/2014/main" id="{F2A43995-E44A-4567-9C15-9B1ACE11309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206" name="Rechte verbindingslijn 205">
                <a:extLst>
                  <a:ext uri="{FF2B5EF4-FFF2-40B4-BE49-F238E27FC236}">
                    <a16:creationId xmlns:a16="http://schemas.microsoft.com/office/drawing/2014/main" id="{3C9BD617-A860-4012-A1F2-BFAAF3A2555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7" name="Rechte verbindingslijn 206">
                <a:extLst>
                  <a:ext uri="{FF2B5EF4-FFF2-40B4-BE49-F238E27FC236}">
                    <a16:creationId xmlns:a16="http://schemas.microsoft.com/office/drawing/2014/main" id="{ACAAB843-9003-4FC7-A8B5-E2ECD47E8001}"/>
                  </a:ext>
                </a:extLst>
              </p:cNvPr>
              <p:cNvCxnSpPr>
                <a:cxnSpLocks/>
                <a:stCxn id="20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3" name="Ovaal 172">
              <a:extLst>
                <a:ext uri="{FF2B5EF4-FFF2-40B4-BE49-F238E27FC236}">
                  <a16:creationId xmlns:a16="http://schemas.microsoft.com/office/drawing/2014/main" id="{6E96B380-58E2-471D-9744-63A03ABA625C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1C052F2-3015-408F-A310-B5C9BD9A681D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75" name="Rechte verbindingslijn 174">
              <a:extLst>
                <a:ext uri="{FF2B5EF4-FFF2-40B4-BE49-F238E27FC236}">
                  <a16:creationId xmlns:a16="http://schemas.microsoft.com/office/drawing/2014/main" id="{D1DC919E-DD42-4DE0-B301-429EE7292B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6" name="Groep 175">
              <a:extLst>
                <a:ext uri="{FF2B5EF4-FFF2-40B4-BE49-F238E27FC236}">
                  <a16:creationId xmlns:a16="http://schemas.microsoft.com/office/drawing/2014/main" id="{11B11B8F-B9C0-4E6E-A0BC-47375EC6A1CF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423346B5-4BFA-41F8-9AEC-3B60B611AB4A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99F3326D-20BC-4B71-8064-1442FB78EEED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3" name="Groep 182">
                <a:extLst>
                  <a:ext uri="{FF2B5EF4-FFF2-40B4-BE49-F238E27FC236}">
                    <a16:creationId xmlns:a16="http://schemas.microsoft.com/office/drawing/2014/main" id="{E9D47A58-71F3-4D64-9061-D9D134550845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6" name="Rechthoek: afgeronde hoeken 195">
                  <a:extLst>
                    <a:ext uri="{FF2B5EF4-FFF2-40B4-BE49-F238E27FC236}">
                      <a16:creationId xmlns:a16="http://schemas.microsoft.com/office/drawing/2014/main" id="{B0FC5052-23D2-4769-BB7E-B1A5E3ED711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48307DBB-7A5C-4ACC-9A6B-435633C63DB6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Rechthoek 197">
                  <a:extLst>
                    <a:ext uri="{FF2B5EF4-FFF2-40B4-BE49-F238E27FC236}">
                      <a16:creationId xmlns:a16="http://schemas.microsoft.com/office/drawing/2014/main" id="{86C2BE51-82C1-45ED-AEB9-F7264120349F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Rechthoek 198">
                  <a:extLst>
                    <a:ext uri="{FF2B5EF4-FFF2-40B4-BE49-F238E27FC236}">
                      <a16:creationId xmlns:a16="http://schemas.microsoft.com/office/drawing/2014/main" id="{47C69D9F-B551-4F47-90A1-C851A8E5CC0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0223528A-E41D-4AFB-B26F-4A80EC0B372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A1F2EA93-C5B2-4F45-9ECF-89EBAB3249DD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4" name="Groep 183">
                <a:extLst>
                  <a:ext uri="{FF2B5EF4-FFF2-40B4-BE49-F238E27FC236}">
                    <a16:creationId xmlns:a16="http://schemas.microsoft.com/office/drawing/2014/main" id="{FFFB3BA9-F231-4D9A-80B7-BA09F4FAF52E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88" name="Groep 187">
                  <a:extLst>
                    <a:ext uri="{FF2B5EF4-FFF2-40B4-BE49-F238E27FC236}">
                      <a16:creationId xmlns:a16="http://schemas.microsoft.com/office/drawing/2014/main" id="{28261D45-497A-4B0E-905B-83D8A856FEAF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0" name="Rechthoek: afgeronde hoeken 189">
                    <a:extLst>
                      <a:ext uri="{FF2B5EF4-FFF2-40B4-BE49-F238E27FC236}">
                        <a16:creationId xmlns:a16="http://schemas.microsoft.com/office/drawing/2014/main" id="{813C5FE2-9BC2-4D0C-9275-6200F9A394D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1" name="Rechthoek 190">
                    <a:extLst>
                      <a:ext uri="{FF2B5EF4-FFF2-40B4-BE49-F238E27FC236}">
                        <a16:creationId xmlns:a16="http://schemas.microsoft.com/office/drawing/2014/main" id="{0E32D907-F160-4E42-AE75-D29E33A59FC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2" name="Rechthoek 191">
                    <a:extLst>
                      <a:ext uri="{FF2B5EF4-FFF2-40B4-BE49-F238E27FC236}">
                        <a16:creationId xmlns:a16="http://schemas.microsoft.com/office/drawing/2014/main" id="{9B9E021B-097A-49A8-AA71-3B7093FBC6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3" name="Rechthoek 192">
                    <a:extLst>
                      <a:ext uri="{FF2B5EF4-FFF2-40B4-BE49-F238E27FC236}">
                        <a16:creationId xmlns:a16="http://schemas.microsoft.com/office/drawing/2014/main" id="{ACB73619-5777-4178-A38E-19DE7C9AB83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831B80DE-1C31-4CAF-9FB0-EDA412D0A3E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DF7F71AB-B3BD-4A7C-9009-E2121DA2F46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89" name="Boog 188">
                  <a:extLst>
                    <a:ext uri="{FF2B5EF4-FFF2-40B4-BE49-F238E27FC236}">
                      <a16:creationId xmlns:a16="http://schemas.microsoft.com/office/drawing/2014/main" id="{6959CB37-6156-4AE2-93C6-7635D136BD9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85" name="Tekstvak 184">
                <a:extLst>
                  <a:ext uri="{FF2B5EF4-FFF2-40B4-BE49-F238E27FC236}">
                    <a16:creationId xmlns:a16="http://schemas.microsoft.com/office/drawing/2014/main" id="{520AE291-3C80-410B-B153-EEFB1B14E11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6" name="Tekstvak 185">
                <a:extLst>
                  <a:ext uri="{FF2B5EF4-FFF2-40B4-BE49-F238E27FC236}">
                    <a16:creationId xmlns:a16="http://schemas.microsoft.com/office/drawing/2014/main" id="{ABE86CB3-3DDB-4585-95EA-8518FDD79CF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87" name="Picture 3">
                <a:extLst>
                  <a:ext uri="{FF2B5EF4-FFF2-40B4-BE49-F238E27FC236}">
                    <a16:creationId xmlns:a16="http://schemas.microsoft.com/office/drawing/2014/main" id="{50DA060E-9384-4105-A3A1-3A51710AAB8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77" name="Meer informatie">
              <a:extLst>
                <a:ext uri="{FF2B5EF4-FFF2-40B4-BE49-F238E27FC236}">
                  <a16:creationId xmlns:a16="http://schemas.microsoft.com/office/drawing/2014/main" id="{7DCCAA6E-486F-485A-9FF9-3E6DA4B44B5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78" name="Freeform 101">
                <a:extLst>
                  <a:ext uri="{FF2B5EF4-FFF2-40B4-BE49-F238E27FC236}">
                    <a16:creationId xmlns:a16="http://schemas.microsoft.com/office/drawing/2014/main" id="{F6307448-E31E-4DC1-A9CE-D9FE1DC727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Rechthoek 178">
                <a:extLst>
                  <a:ext uri="{FF2B5EF4-FFF2-40B4-BE49-F238E27FC236}">
                    <a16:creationId xmlns:a16="http://schemas.microsoft.com/office/drawing/2014/main" id="{051AC3A5-F246-43EC-9426-717DCF1A7781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0" name="Rechte verbindingslijn 179">
                <a:extLst>
                  <a:ext uri="{FF2B5EF4-FFF2-40B4-BE49-F238E27FC236}">
                    <a16:creationId xmlns:a16="http://schemas.microsoft.com/office/drawing/2014/main" id="{91214991-2318-4A98-B245-BFF671971D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92705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8" grpId="0" animBg="1"/>
      <p:bldP spid="10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1" grpId="0" animBg="1"/>
      <p:bldP spid="11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3" grpId="0" animBg="1"/>
      <p:bldP spid="12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Afbeelding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9676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89676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B1419-B706-41E8-8B1C-192E007EAEC3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x Afbeelding +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15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89676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19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2755752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0" name="Tijdelijke aanduiding voor afbeelding 39"/>
          <p:cNvSpPr>
            <a:spLocks noGrp="1"/>
          </p:cNvSpPr>
          <p:nvPr>
            <p:ph type="pic" sz="quarter" idx="41" hasCustomPrompt="1"/>
          </p:nvPr>
        </p:nvSpPr>
        <p:spPr>
          <a:xfrm>
            <a:off x="2755752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1" name="Tijdelijke aanduiding voor verticale tekst 2"/>
          <p:cNvSpPr>
            <a:spLocks noGrp="1"/>
          </p:cNvSpPr>
          <p:nvPr>
            <p:ph type="body" orient="vert" idx="42" hasCustomPrompt="1"/>
          </p:nvPr>
        </p:nvSpPr>
        <p:spPr>
          <a:xfrm>
            <a:off x="2755752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5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121831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6" name="Tijdelijke aanduiding voor afbeelding 39"/>
          <p:cNvSpPr>
            <a:spLocks noGrp="1"/>
          </p:cNvSpPr>
          <p:nvPr>
            <p:ph type="pic" sz="quarter" idx="44" hasCustomPrompt="1"/>
          </p:nvPr>
        </p:nvSpPr>
        <p:spPr>
          <a:xfrm>
            <a:off x="5121831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27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5121831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46" hasCustomPrompt="1"/>
          </p:nvPr>
        </p:nvSpPr>
        <p:spPr>
          <a:xfrm>
            <a:off x="7487908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9"/>
          <p:cNvSpPr>
            <a:spLocks noGrp="1"/>
          </p:cNvSpPr>
          <p:nvPr>
            <p:ph type="pic" sz="quarter" idx="47" hasCustomPrompt="1"/>
          </p:nvPr>
        </p:nvSpPr>
        <p:spPr>
          <a:xfrm>
            <a:off x="7487908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7487908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853983" y="1179858"/>
            <a:ext cx="1983013" cy="4645193"/>
          </a:xfrm>
          <a:solidFill>
            <a:schemeClr val="bg1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0" tIns="3816000" rIns="0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2" name="Tijdelijke aanduiding voor afbeelding 39"/>
          <p:cNvSpPr>
            <a:spLocks noGrp="1"/>
          </p:cNvSpPr>
          <p:nvPr>
            <p:ph type="pic" sz="quarter" idx="50" hasCustomPrompt="1"/>
          </p:nvPr>
        </p:nvSpPr>
        <p:spPr>
          <a:xfrm>
            <a:off x="9853983" y="1179863"/>
            <a:ext cx="1983013" cy="37700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33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9853983" y="4949937"/>
            <a:ext cx="1983013" cy="72000"/>
          </a:xfrm>
          <a:solidFill>
            <a:schemeClr val="tx2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 </a:t>
            </a:r>
          </a:p>
        </p:txBody>
      </p:sp>
      <p:grpSp>
        <p:nvGrpSpPr>
          <p:cNvPr id="164" name="Groep 163">
            <a:extLst>
              <a:ext uri="{FF2B5EF4-FFF2-40B4-BE49-F238E27FC236}">
                <a16:creationId xmlns:a16="http://schemas.microsoft.com/office/drawing/2014/main" id="{38D2DAF9-87E2-49C7-8899-11CCDEE40A05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65" name="Afbeelding 164">
              <a:extLst>
                <a:ext uri="{FF2B5EF4-FFF2-40B4-BE49-F238E27FC236}">
                  <a16:creationId xmlns:a16="http://schemas.microsoft.com/office/drawing/2014/main" id="{1AA66F7B-7057-4205-9A25-50A1BEBFFC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0F966880-FA1E-4516-8D0A-EC1723CA8A23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67" name="Ovaal 166">
              <a:extLst>
                <a:ext uri="{FF2B5EF4-FFF2-40B4-BE49-F238E27FC236}">
                  <a16:creationId xmlns:a16="http://schemas.microsoft.com/office/drawing/2014/main" id="{6FECEAD8-89DC-4377-8B2B-6557251EB40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8" name="Rechte verbindingslijn 167">
              <a:extLst>
                <a:ext uri="{FF2B5EF4-FFF2-40B4-BE49-F238E27FC236}">
                  <a16:creationId xmlns:a16="http://schemas.microsoft.com/office/drawing/2014/main" id="{508E4D78-AA0E-4157-BC47-24FDCABC0A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69" name="Rechte verbindingslijn 168">
              <a:extLst>
                <a:ext uri="{FF2B5EF4-FFF2-40B4-BE49-F238E27FC236}">
                  <a16:creationId xmlns:a16="http://schemas.microsoft.com/office/drawing/2014/main" id="{052E3544-7CAA-4535-85BC-C02B48CEC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A8617A58-895C-451A-9D11-7AC862FAF372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5517C501-B8FD-46D9-8D82-F583E5CD4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72" name="Ovaal 171">
              <a:extLst>
                <a:ext uri="{FF2B5EF4-FFF2-40B4-BE49-F238E27FC236}">
                  <a16:creationId xmlns:a16="http://schemas.microsoft.com/office/drawing/2014/main" id="{218F8EBF-96BA-46A8-9FF6-B153943777DA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3" name="Rechthoek 172">
              <a:extLst>
                <a:ext uri="{FF2B5EF4-FFF2-40B4-BE49-F238E27FC236}">
                  <a16:creationId xmlns:a16="http://schemas.microsoft.com/office/drawing/2014/main" id="{A4F5CC46-C071-49C1-BFB7-D76F1689F569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74" name="Groep 173">
              <a:extLst>
                <a:ext uri="{FF2B5EF4-FFF2-40B4-BE49-F238E27FC236}">
                  <a16:creationId xmlns:a16="http://schemas.microsoft.com/office/drawing/2014/main" id="{B26FB392-FEE8-4B73-AAD0-AA67B6E1E3C8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211" name="Rechthoek 210">
                <a:extLst>
                  <a:ext uri="{FF2B5EF4-FFF2-40B4-BE49-F238E27FC236}">
                    <a16:creationId xmlns:a16="http://schemas.microsoft.com/office/drawing/2014/main" id="{312C51CE-15C8-4341-A38C-B6F0225BF78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id="{0284F455-F8EE-4D01-9D2C-D8625777D36B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3" name="Gelijkbenige driehoek 212">
                <a:extLst>
                  <a:ext uri="{FF2B5EF4-FFF2-40B4-BE49-F238E27FC236}">
                    <a16:creationId xmlns:a16="http://schemas.microsoft.com/office/drawing/2014/main" id="{DB65B57D-3EE2-4463-8BD2-8142290061AC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5" name="Groep 174">
              <a:extLst>
                <a:ext uri="{FF2B5EF4-FFF2-40B4-BE49-F238E27FC236}">
                  <a16:creationId xmlns:a16="http://schemas.microsoft.com/office/drawing/2014/main" id="{C38E73B8-3EFB-4167-BB82-5C786D640CBD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205" name="Rechthoek 204">
                <a:extLst>
                  <a:ext uri="{FF2B5EF4-FFF2-40B4-BE49-F238E27FC236}">
                    <a16:creationId xmlns:a16="http://schemas.microsoft.com/office/drawing/2014/main" id="{50FE3A73-A9AA-4E92-90FF-C029BC236E9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6" name="Ovaal 205">
                <a:extLst>
                  <a:ext uri="{FF2B5EF4-FFF2-40B4-BE49-F238E27FC236}">
                    <a16:creationId xmlns:a16="http://schemas.microsoft.com/office/drawing/2014/main" id="{6109A826-A59A-494F-8EFB-9169389116BF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Vrije vorm: vorm 206">
                <a:extLst>
                  <a:ext uri="{FF2B5EF4-FFF2-40B4-BE49-F238E27FC236}">
                    <a16:creationId xmlns:a16="http://schemas.microsoft.com/office/drawing/2014/main" id="{C7FF406F-1CC2-4AC0-A17A-9305DD310A09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Rechthoek: afgeronde hoeken 207">
                <a:extLst>
                  <a:ext uri="{FF2B5EF4-FFF2-40B4-BE49-F238E27FC236}">
                    <a16:creationId xmlns:a16="http://schemas.microsoft.com/office/drawing/2014/main" id="{D8F14FC4-67C6-46E4-9736-D4263CDF915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id="{B5F5ADCB-5B88-46E4-831E-1EB6CC3F62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0" name="Rechte verbindingslijn 209">
                <a:extLst>
                  <a:ext uri="{FF2B5EF4-FFF2-40B4-BE49-F238E27FC236}">
                    <a16:creationId xmlns:a16="http://schemas.microsoft.com/office/drawing/2014/main" id="{1EE24356-0697-4A22-9217-8F2333BB4BCC}"/>
                  </a:ext>
                </a:extLst>
              </p:cNvPr>
              <p:cNvCxnSpPr>
                <a:cxnSpLocks/>
                <a:stCxn id="20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76" name="Ovaal 175">
              <a:extLst>
                <a:ext uri="{FF2B5EF4-FFF2-40B4-BE49-F238E27FC236}">
                  <a16:creationId xmlns:a16="http://schemas.microsoft.com/office/drawing/2014/main" id="{5D9121B1-C8A4-4B09-A569-0817E41A2C73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E1BEF1BF-D9B8-4982-8EE8-BF23855D2C60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78" name="Rechte verbindingslijn 177">
              <a:extLst>
                <a:ext uri="{FF2B5EF4-FFF2-40B4-BE49-F238E27FC236}">
                  <a16:creationId xmlns:a16="http://schemas.microsoft.com/office/drawing/2014/main" id="{34CABE9A-775D-4F82-B986-4B8C5BC646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79" name="Groep 178">
              <a:extLst>
                <a:ext uri="{FF2B5EF4-FFF2-40B4-BE49-F238E27FC236}">
                  <a16:creationId xmlns:a16="http://schemas.microsoft.com/office/drawing/2014/main" id="{E9134E10-1CE7-464D-AF04-8ECE531BA052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84" name="Rechthoek 183">
                <a:extLst>
                  <a:ext uri="{FF2B5EF4-FFF2-40B4-BE49-F238E27FC236}">
                    <a16:creationId xmlns:a16="http://schemas.microsoft.com/office/drawing/2014/main" id="{B1F7EAE7-B41D-4220-9416-AAD62A602D14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141DA8B3-BC3C-409A-8179-8BC02A819CE7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6" name="Groep 185">
                <a:extLst>
                  <a:ext uri="{FF2B5EF4-FFF2-40B4-BE49-F238E27FC236}">
                    <a16:creationId xmlns:a16="http://schemas.microsoft.com/office/drawing/2014/main" id="{643B4677-1A21-4BBE-AF32-B315B05E9E2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FFB68C5E-FB3F-4929-B93C-87FBC4BDDFC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0" name="Rechthoek 199">
                  <a:extLst>
                    <a:ext uri="{FF2B5EF4-FFF2-40B4-BE49-F238E27FC236}">
                      <a16:creationId xmlns:a16="http://schemas.microsoft.com/office/drawing/2014/main" id="{E53F557F-6C2E-4FF7-B600-2179C0A06F8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Rechthoek 200">
                  <a:extLst>
                    <a:ext uri="{FF2B5EF4-FFF2-40B4-BE49-F238E27FC236}">
                      <a16:creationId xmlns:a16="http://schemas.microsoft.com/office/drawing/2014/main" id="{5D24B4BB-7526-4E17-8D3D-9DB221A68BE1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Rechthoek 201">
                  <a:extLst>
                    <a:ext uri="{FF2B5EF4-FFF2-40B4-BE49-F238E27FC236}">
                      <a16:creationId xmlns:a16="http://schemas.microsoft.com/office/drawing/2014/main" id="{6C266F8B-47DB-4A5E-B431-EC066AEC35B7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Rechthoek 202">
                  <a:extLst>
                    <a:ext uri="{FF2B5EF4-FFF2-40B4-BE49-F238E27FC236}">
                      <a16:creationId xmlns:a16="http://schemas.microsoft.com/office/drawing/2014/main" id="{2116B610-2150-4394-8176-6632BF44B15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Rechthoek 203">
                  <a:extLst>
                    <a:ext uri="{FF2B5EF4-FFF2-40B4-BE49-F238E27FC236}">
                      <a16:creationId xmlns:a16="http://schemas.microsoft.com/office/drawing/2014/main" id="{59B4C523-D9EB-4378-ACE4-56B180052AFC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7" name="Groep 186">
                <a:extLst>
                  <a:ext uri="{FF2B5EF4-FFF2-40B4-BE49-F238E27FC236}">
                    <a16:creationId xmlns:a16="http://schemas.microsoft.com/office/drawing/2014/main" id="{940F4B68-BC22-49C3-A4F2-965BEEBF280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25A6F0AA-9EC5-49D0-B594-E1ED76B3A07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3" name="Rechthoek: afgeronde hoeken 192">
                    <a:extLst>
                      <a:ext uri="{FF2B5EF4-FFF2-40B4-BE49-F238E27FC236}">
                        <a16:creationId xmlns:a16="http://schemas.microsoft.com/office/drawing/2014/main" id="{86F99140-AAB2-4A16-B9D5-187CDDB3722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4" name="Rechthoek 193">
                    <a:extLst>
                      <a:ext uri="{FF2B5EF4-FFF2-40B4-BE49-F238E27FC236}">
                        <a16:creationId xmlns:a16="http://schemas.microsoft.com/office/drawing/2014/main" id="{27A1D887-2180-47CD-996B-EC4E25C1D4D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5" name="Rechthoek 194">
                    <a:extLst>
                      <a:ext uri="{FF2B5EF4-FFF2-40B4-BE49-F238E27FC236}">
                        <a16:creationId xmlns:a16="http://schemas.microsoft.com/office/drawing/2014/main" id="{4666E821-9405-4676-8B3E-0B5AEBE2BD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6" name="Rechthoek 195">
                    <a:extLst>
                      <a:ext uri="{FF2B5EF4-FFF2-40B4-BE49-F238E27FC236}">
                        <a16:creationId xmlns:a16="http://schemas.microsoft.com/office/drawing/2014/main" id="{1F8C0A9C-8B44-40FE-A094-1B8B088E680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7" name="Rechthoek 196">
                    <a:extLst>
                      <a:ext uri="{FF2B5EF4-FFF2-40B4-BE49-F238E27FC236}">
                        <a16:creationId xmlns:a16="http://schemas.microsoft.com/office/drawing/2014/main" id="{2ED4EF97-7A18-4CBF-A0B7-034F4EEAB4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8" name="Rechthoek 197">
                    <a:extLst>
                      <a:ext uri="{FF2B5EF4-FFF2-40B4-BE49-F238E27FC236}">
                        <a16:creationId xmlns:a16="http://schemas.microsoft.com/office/drawing/2014/main" id="{27F78269-250C-43E4-B700-7E0B5BF7A85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92" name="Boog 191">
                  <a:extLst>
                    <a:ext uri="{FF2B5EF4-FFF2-40B4-BE49-F238E27FC236}">
                      <a16:creationId xmlns:a16="http://schemas.microsoft.com/office/drawing/2014/main" id="{75E668F1-0C05-4217-988B-50AF97A634D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88" name="Tekstvak 187">
                <a:extLst>
                  <a:ext uri="{FF2B5EF4-FFF2-40B4-BE49-F238E27FC236}">
                    <a16:creationId xmlns:a16="http://schemas.microsoft.com/office/drawing/2014/main" id="{30EB4B55-E56B-4583-AA82-FDC7719919DE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89" name="Tekstvak 188">
                <a:extLst>
                  <a:ext uri="{FF2B5EF4-FFF2-40B4-BE49-F238E27FC236}">
                    <a16:creationId xmlns:a16="http://schemas.microsoft.com/office/drawing/2014/main" id="{9ADD8F84-D59C-45C9-81B4-D6D15706F4F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0" name="Picture 3">
                <a:extLst>
                  <a:ext uri="{FF2B5EF4-FFF2-40B4-BE49-F238E27FC236}">
                    <a16:creationId xmlns:a16="http://schemas.microsoft.com/office/drawing/2014/main" id="{E53A0344-1CFE-470F-98BE-FF7AC14B512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80" name="Meer informatie">
              <a:extLst>
                <a:ext uri="{FF2B5EF4-FFF2-40B4-BE49-F238E27FC236}">
                  <a16:creationId xmlns:a16="http://schemas.microsoft.com/office/drawing/2014/main" id="{88D23574-171E-468F-BABD-5C1B3A8F73B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81" name="Freeform 101">
                <a:extLst>
                  <a:ext uri="{FF2B5EF4-FFF2-40B4-BE49-F238E27FC236}">
                    <a16:creationId xmlns:a16="http://schemas.microsoft.com/office/drawing/2014/main" id="{08DAF4CF-3A68-4123-B012-28C8481E3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Rechthoek 181">
                <a:extLst>
                  <a:ext uri="{FF2B5EF4-FFF2-40B4-BE49-F238E27FC236}">
                    <a16:creationId xmlns:a16="http://schemas.microsoft.com/office/drawing/2014/main" id="{6C1A78CE-E171-48F1-996E-87AFE5136D4E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3" name="Rechte verbindingslijn 182">
                <a:extLst>
                  <a:ext uri="{FF2B5EF4-FFF2-40B4-BE49-F238E27FC236}">
                    <a16:creationId xmlns:a16="http://schemas.microsoft.com/office/drawing/2014/main" id="{A053D5B9-E02C-49FE-8C1B-659A43A14E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89783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0" grpId="0" animBg="1"/>
      <p:bldP spid="12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6" grpId="0" animBg="1"/>
      <p:bldP spid="12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animBg="1"/>
      <p:bldP spid="13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472C8-9F7A-40D0-B1FC-CD50B8B0DDA2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4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2" y="1179861"/>
            <a:ext cx="2720415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40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7" y="1179861"/>
            <a:ext cx="2720415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6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1" y="1179861"/>
            <a:ext cx="2720415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60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7" y="1179861"/>
            <a:ext cx="2720415" cy="46451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2023D4CD-0D2F-488F-8979-F801863C1E4B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E7E3A84-A1CB-4554-87B4-799657271A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2FDA28EB-165A-4F6B-A67F-4876D9A4091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DD239770-6FC9-4865-92D0-563B8BDAD9BC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85B0525-87C1-4F8E-9ACA-324252B82C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507CF792-CAD2-453E-ABC2-C4C9665DBC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D6BDF347-BE7D-4A98-9E6C-4FE7744C14A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4796338D-18A7-4BEF-9797-CCFCC3F140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54ABF31A-AAF4-4F88-923F-4CE50EA4225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E692BB84-0777-4E5C-A1B6-FA9D3794EFAB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BF9555C9-F52D-4C85-9223-328DDA3502F4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FAE68C26-8477-4846-A1C5-353C0D531B51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83EA00D4-333C-45A2-8B1D-21942EF9B103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FD9273D1-C47E-44D7-BEF9-5CE578B7BC1D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AA17CF37-CBFA-428F-B5B3-A00C3025EC2C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FF40D03D-2B54-40F7-B77F-EE568FD0C625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A648A5D0-BADF-4D49-B7A8-E053AE257244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32B3B0FA-D58C-4E59-A576-6A18E25AA24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E1F70F3D-91F1-4847-B1BB-E2E35068C201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D0F2971-CA6E-4546-A8CA-23C1563AD8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13C0F120-4455-4063-9DDE-D18589706281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0CC36644-F31B-4F69-B4F6-447BE223CE1A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F1E1984A-272F-41CE-8A4E-476CA1697415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6C7D05E3-3E63-402D-A979-769F955FA3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C12C77E7-0D22-48A0-9F34-B57DE3752C7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25014AF0-BCAA-4959-9EB0-4541AEA33CE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C1DC6569-CD9D-4FDF-9AE8-BC78EB50763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AD34B0E3-3E39-4C7D-B204-7351DBC49341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56CB8802-6F8A-406B-9834-B95BA04AED3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24AC5A4F-2FB6-4899-B3DD-0705E3C47A2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2E7491E0-FA1D-4963-A3DE-DD2610F442F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225E9DB3-142C-46E1-B605-028B61D63EDE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4EBD5C3C-B5E9-4050-AB08-3398239DE9C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1653F7D-CE37-4C55-818B-AADC8E7FE13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7603C3E1-332C-4897-8F0C-3DE9D8BDE18F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B4632603-598A-4377-82AF-080FD589B5E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CCF4DC4-41E2-445C-8A55-87A5B25D746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4B6EB406-0F48-46D8-A741-DDAB8E6CFE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E93F871E-25FF-47EB-A6C9-D987E3F61C9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194C25A4-8037-4A71-8ED6-086DA8C58A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35D33EF9-CD43-4601-B574-6C8CDAD5DA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57630908-0B48-4C24-BB65-1B5EF84D7B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1CDE2840-C16A-4148-A926-1F57DB7D391C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DA8B9C17-1B7B-4234-BB48-2C25CC1B3C9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17B9E69D-8A4F-4714-95F0-3ED4DD40A7E6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C51B0559-355B-4BEB-B1AD-563175B8CD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CD612BB0-C25F-47D1-8D67-AAAAC4ACF570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8BE5F9EF-AB5A-4768-B474-A59DC55CD6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8D25D634-5D72-4B1F-B008-B0204AFC0EF0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6812577E-17E3-46B4-AF42-7E76F7B769A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43345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6F7BF-4127-4634-AAC6-37FA0DFE1CFB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6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ijdelijke aanduiding voor afbeelding 38"/>
          <p:cNvSpPr>
            <a:spLocks noGrp="1"/>
          </p:cNvSpPr>
          <p:nvPr>
            <p:ph type="pic" sz="quarter" idx="15" hasCustomPrompt="1"/>
          </p:nvPr>
        </p:nvSpPr>
        <p:spPr>
          <a:xfrm>
            <a:off x="366141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16" hasCustomPrompt="1"/>
          </p:nvPr>
        </p:nvSpPr>
        <p:spPr>
          <a:xfrm>
            <a:off x="366141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17" hasCustomPrompt="1"/>
          </p:nvPr>
        </p:nvSpPr>
        <p:spPr>
          <a:xfrm>
            <a:off x="4254137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18" hasCustomPrompt="1"/>
          </p:nvPr>
        </p:nvSpPr>
        <p:spPr>
          <a:xfrm>
            <a:off x="4254137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afbeelding 42"/>
          <p:cNvSpPr>
            <a:spLocks noGrp="1"/>
          </p:cNvSpPr>
          <p:nvPr>
            <p:ph type="pic" sz="quarter" idx="19" hasCustomPrompt="1"/>
          </p:nvPr>
        </p:nvSpPr>
        <p:spPr>
          <a:xfrm>
            <a:off x="8142133" y="1179862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0" hasCustomPrompt="1"/>
          </p:nvPr>
        </p:nvSpPr>
        <p:spPr>
          <a:xfrm>
            <a:off x="8142133" y="3603747"/>
            <a:ext cx="368334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2801261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4254683" y="2801261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8142679" y="2801261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39" y="5225146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4254683" y="5225146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8142679" y="5225146"/>
            <a:ext cx="3682800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1" name="Groep 100">
            <a:extLst>
              <a:ext uri="{FF2B5EF4-FFF2-40B4-BE49-F238E27FC236}">
                <a16:creationId xmlns:a16="http://schemas.microsoft.com/office/drawing/2014/main" id="{15857F41-B989-471B-967B-C6DA381108DD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2" name="Afbeelding 101">
              <a:extLst>
                <a:ext uri="{FF2B5EF4-FFF2-40B4-BE49-F238E27FC236}">
                  <a16:creationId xmlns:a16="http://schemas.microsoft.com/office/drawing/2014/main" id="{A870EF52-3EC8-43DF-9D29-95AE71288A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2E2E0576-B523-43B5-850A-13D35A708B8B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5E89C9B1-C154-41D7-A955-6E9C06FD58C5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5" name="Rechte verbindingslijn 104">
              <a:extLst>
                <a:ext uri="{FF2B5EF4-FFF2-40B4-BE49-F238E27FC236}">
                  <a16:creationId xmlns:a16="http://schemas.microsoft.com/office/drawing/2014/main" id="{6C97EE4C-0822-4420-8727-59022FEC4E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6" name="Rechte verbindingslijn 105">
              <a:extLst>
                <a:ext uri="{FF2B5EF4-FFF2-40B4-BE49-F238E27FC236}">
                  <a16:creationId xmlns:a16="http://schemas.microsoft.com/office/drawing/2014/main" id="{C0192459-E41F-4415-82CA-286E7E35C6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D2303889-DCFD-4ABC-AE5F-92ABB46C0E7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07B0AC0E-6871-45AE-A4BC-06EC75E136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09" name="Ovaal 108">
              <a:extLst>
                <a:ext uri="{FF2B5EF4-FFF2-40B4-BE49-F238E27FC236}">
                  <a16:creationId xmlns:a16="http://schemas.microsoft.com/office/drawing/2014/main" id="{629AA207-9EA7-45B5-917F-5C9C87AADCBC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A0A1ADFC-BD66-4D46-AEFF-6365412AC590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1" name="Groep 110">
              <a:extLst>
                <a:ext uri="{FF2B5EF4-FFF2-40B4-BE49-F238E27FC236}">
                  <a16:creationId xmlns:a16="http://schemas.microsoft.com/office/drawing/2014/main" id="{BE3704B8-19AE-44B2-84DD-311B6280B7D3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48" name="Rechthoek 147">
                <a:extLst>
                  <a:ext uri="{FF2B5EF4-FFF2-40B4-BE49-F238E27FC236}">
                    <a16:creationId xmlns:a16="http://schemas.microsoft.com/office/drawing/2014/main" id="{E1BDB5FF-A1FE-414D-9062-CF1922748473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18488FD0-826A-4130-9516-7FC529D39894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0" name="Gelijkbenige driehoek 149">
                <a:extLst>
                  <a:ext uri="{FF2B5EF4-FFF2-40B4-BE49-F238E27FC236}">
                    <a16:creationId xmlns:a16="http://schemas.microsoft.com/office/drawing/2014/main" id="{0D4BE829-8B24-4DF7-BA8F-A8C867CA17A3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2" name="Groep 111">
              <a:extLst>
                <a:ext uri="{FF2B5EF4-FFF2-40B4-BE49-F238E27FC236}">
                  <a16:creationId xmlns:a16="http://schemas.microsoft.com/office/drawing/2014/main" id="{C29314E0-C9E0-4313-A93A-B7E4177005E2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2" name="Rechthoek 141">
                <a:extLst>
                  <a:ext uri="{FF2B5EF4-FFF2-40B4-BE49-F238E27FC236}">
                    <a16:creationId xmlns:a16="http://schemas.microsoft.com/office/drawing/2014/main" id="{896E01D5-DB99-4855-B018-0F9C4C6B853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3" name="Ovaal 142">
                <a:extLst>
                  <a:ext uri="{FF2B5EF4-FFF2-40B4-BE49-F238E27FC236}">
                    <a16:creationId xmlns:a16="http://schemas.microsoft.com/office/drawing/2014/main" id="{0D0C7CB6-8AFF-4231-93BF-E8FD29F2CA8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Vrije vorm: vorm 143">
                <a:extLst>
                  <a:ext uri="{FF2B5EF4-FFF2-40B4-BE49-F238E27FC236}">
                    <a16:creationId xmlns:a16="http://schemas.microsoft.com/office/drawing/2014/main" id="{91B5AAC4-DC71-4CC0-9455-2F44543529C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Rechthoek: afgeronde hoeken 144">
                <a:extLst>
                  <a:ext uri="{FF2B5EF4-FFF2-40B4-BE49-F238E27FC236}">
                    <a16:creationId xmlns:a16="http://schemas.microsoft.com/office/drawing/2014/main" id="{DA99D02D-080C-4987-A7B0-6E0A31603C3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1B8D256D-35B8-437E-AE80-420F7A97D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0AD788BD-6370-40C7-98BE-1490E80764B0}"/>
                  </a:ext>
                </a:extLst>
              </p:cNvPr>
              <p:cNvCxnSpPr>
                <a:cxnSpLocks/>
                <a:stCxn id="14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3" name="Ovaal 112">
              <a:extLst>
                <a:ext uri="{FF2B5EF4-FFF2-40B4-BE49-F238E27FC236}">
                  <a16:creationId xmlns:a16="http://schemas.microsoft.com/office/drawing/2014/main" id="{A70FFDE7-131F-480B-B932-726F6C45D9E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3AEF02A3-F861-44DA-BCD2-6408602B821C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5" name="Rechte verbindingslijn 114">
              <a:extLst>
                <a:ext uri="{FF2B5EF4-FFF2-40B4-BE49-F238E27FC236}">
                  <a16:creationId xmlns:a16="http://schemas.microsoft.com/office/drawing/2014/main" id="{96958C1C-CE12-4038-8448-FED528AD3A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6" name="Groep 115">
              <a:extLst>
                <a:ext uri="{FF2B5EF4-FFF2-40B4-BE49-F238E27FC236}">
                  <a16:creationId xmlns:a16="http://schemas.microsoft.com/office/drawing/2014/main" id="{E4E65CC9-58CA-4653-A7C6-F7432D5B95B4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92EC5354-9636-459E-B29B-5494B6E17908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0BB5AD8E-B811-46FF-80F7-B65C00C96CF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3" name="Groep 122">
                <a:extLst>
                  <a:ext uri="{FF2B5EF4-FFF2-40B4-BE49-F238E27FC236}">
                    <a16:creationId xmlns:a16="http://schemas.microsoft.com/office/drawing/2014/main" id="{B38A7F26-4817-4C66-A0A0-149754A3F8D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6" name="Rechthoek: afgeronde hoeken 135">
                  <a:extLst>
                    <a:ext uri="{FF2B5EF4-FFF2-40B4-BE49-F238E27FC236}">
                      <a16:creationId xmlns:a16="http://schemas.microsoft.com/office/drawing/2014/main" id="{3005B21F-6409-4021-8E8B-9157C010D658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Rechthoek 136">
                  <a:extLst>
                    <a:ext uri="{FF2B5EF4-FFF2-40B4-BE49-F238E27FC236}">
                      <a16:creationId xmlns:a16="http://schemas.microsoft.com/office/drawing/2014/main" id="{86FD35EB-EC9F-4A12-A22F-D9B0B154BF6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8" name="Rechthoek 137">
                  <a:extLst>
                    <a:ext uri="{FF2B5EF4-FFF2-40B4-BE49-F238E27FC236}">
                      <a16:creationId xmlns:a16="http://schemas.microsoft.com/office/drawing/2014/main" id="{E6ECADEC-469F-4154-9273-452BD1BF563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9" name="Rechthoek 138">
                  <a:extLst>
                    <a:ext uri="{FF2B5EF4-FFF2-40B4-BE49-F238E27FC236}">
                      <a16:creationId xmlns:a16="http://schemas.microsoft.com/office/drawing/2014/main" id="{C90A59F8-397D-45F9-9C76-429E13C15F80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0868208-453C-4C67-9E78-56C862F85586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91A8B57E-8213-4887-989E-1D4DE1B7612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B0AD3E93-0A7C-40A4-A6E8-A0364A62EFF4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28" name="Groep 127">
                  <a:extLst>
                    <a:ext uri="{FF2B5EF4-FFF2-40B4-BE49-F238E27FC236}">
                      <a16:creationId xmlns:a16="http://schemas.microsoft.com/office/drawing/2014/main" id="{ADCA2C49-FDA6-4B41-BE2C-7708EE3995D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0" name="Rechthoek: afgeronde hoeken 129">
                    <a:extLst>
                      <a:ext uri="{FF2B5EF4-FFF2-40B4-BE49-F238E27FC236}">
                        <a16:creationId xmlns:a16="http://schemas.microsoft.com/office/drawing/2014/main" id="{495951BC-862A-4DAC-B2D6-F5AF5E04521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1" name="Rechthoek 130">
                    <a:extLst>
                      <a:ext uri="{FF2B5EF4-FFF2-40B4-BE49-F238E27FC236}">
                        <a16:creationId xmlns:a16="http://schemas.microsoft.com/office/drawing/2014/main" id="{33063CC8-0B68-4342-93A6-F407CD7F6DD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2" name="Rechthoek 131">
                    <a:extLst>
                      <a:ext uri="{FF2B5EF4-FFF2-40B4-BE49-F238E27FC236}">
                        <a16:creationId xmlns:a16="http://schemas.microsoft.com/office/drawing/2014/main" id="{413F39D5-CBB6-41D2-80B5-227FDCA896B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3" name="Rechthoek 132">
                    <a:extLst>
                      <a:ext uri="{FF2B5EF4-FFF2-40B4-BE49-F238E27FC236}">
                        <a16:creationId xmlns:a16="http://schemas.microsoft.com/office/drawing/2014/main" id="{52C06138-D291-4537-839F-E889A542FED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5C7B60AB-964D-4E92-A693-EA6E2D400F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F8001413-F0CF-4478-9381-C80198A177B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29" name="Boog 128">
                  <a:extLst>
                    <a:ext uri="{FF2B5EF4-FFF2-40B4-BE49-F238E27FC236}">
                      <a16:creationId xmlns:a16="http://schemas.microsoft.com/office/drawing/2014/main" id="{09686D01-B21A-4CB1-A78F-2735510F7538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5" name="Tekstvak 124">
                <a:extLst>
                  <a:ext uri="{FF2B5EF4-FFF2-40B4-BE49-F238E27FC236}">
                    <a16:creationId xmlns:a16="http://schemas.microsoft.com/office/drawing/2014/main" id="{F4719A93-C6D3-465E-94B5-6FEF96AF7FAA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6" name="Tekstvak 125">
                <a:extLst>
                  <a:ext uri="{FF2B5EF4-FFF2-40B4-BE49-F238E27FC236}">
                    <a16:creationId xmlns:a16="http://schemas.microsoft.com/office/drawing/2014/main" id="{01AB81AC-EE0F-4075-B94C-AE4151253E4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27" name="Picture 3">
                <a:extLst>
                  <a:ext uri="{FF2B5EF4-FFF2-40B4-BE49-F238E27FC236}">
                    <a16:creationId xmlns:a16="http://schemas.microsoft.com/office/drawing/2014/main" id="{93585FC1-63F9-4CDF-BACE-1F86B4B0B93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17" name="Meer informatie">
              <a:extLst>
                <a:ext uri="{FF2B5EF4-FFF2-40B4-BE49-F238E27FC236}">
                  <a16:creationId xmlns:a16="http://schemas.microsoft.com/office/drawing/2014/main" id="{939E70E3-F062-4D17-97CE-48B4AB252B89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FEE73CF0-8620-4616-AB61-B04780C99E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ECDDA453-0761-4B0C-96B4-0FEB1A676D7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221FF874-811D-4196-8E59-4C2EAA8C4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77425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8343E-5715-40E5-BFC5-865CFA86F13B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8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afbeelding 2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366142" y="1179862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6" name="Tijdelijke aanduiding voor afbeelding 25"/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366142" y="3603747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ijdelijke aanduiding voor verticale tekst 2"/>
          <p:cNvSpPr>
            <a:spLocks noGrp="1"/>
          </p:cNvSpPr>
          <p:nvPr userDrawn="1">
            <p:ph type="body" orient="vert" idx="1" hasCustomPrompt="1"/>
          </p:nvPr>
        </p:nvSpPr>
        <p:spPr>
          <a:xfrm>
            <a:off x="366140" y="2801261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366140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afbeelding 39"/>
          <p:cNvSpPr>
            <a:spLocks noGrp="1"/>
          </p:cNvSpPr>
          <p:nvPr>
            <p:ph type="pic" sz="quarter" idx="24" hasCustomPrompt="1"/>
          </p:nvPr>
        </p:nvSpPr>
        <p:spPr>
          <a:xfrm>
            <a:off x="3279117" y="1179862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25" hasCustomPrompt="1"/>
          </p:nvPr>
        </p:nvSpPr>
        <p:spPr>
          <a:xfrm>
            <a:off x="3279117" y="3603747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279249" y="2801261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3279116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afbeelding 43"/>
          <p:cNvSpPr>
            <a:spLocks noGrp="1"/>
          </p:cNvSpPr>
          <p:nvPr>
            <p:ph type="pic" sz="quarter" idx="28" hasCustomPrompt="1"/>
          </p:nvPr>
        </p:nvSpPr>
        <p:spPr>
          <a:xfrm>
            <a:off x="6192091" y="1179862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29" hasCustomPrompt="1"/>
          </p:nvPr>
        </p:nvSpPr>
        <p:spPr>
          <a:xfrm>
            <a:off x="6191956" y="3603747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6192360" y="2801261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6192360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afbeelding 47"/>
          <p:cNvSpPr>
            <a:spLocks noGrp="1"/>
          </p:cNvSpPr>
          <p:nvPr>
            <p:ph type="pic" sz="quarter" idx="32" hasCustomPrompt="1"/>
          </p:nvPr>
        </p:nvSpPr>
        <p:spPr>
          <a:xfrm>
            <a:off x="9105067" y="1179862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33" hasCustomPrompt="1"/>
          </p:nvPr>
        </p:nvSpPr>
        <p:spPr>
          <a:xfrm>
            <a:off x="9105067" y="3603747"/>
            <a:ext cx="2720415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verticale tekst 2"/>
          <p:cNvSpPr>
            <a:spLocks noGrp="1"/>
          </p:cNvSpPr>
          <p:nvPr>
            <p:ph type="body" orient="vert" idx="34" hasCustomPrompt="1"/>
          </p:nvPr>
        </p:nvSpPr>
        <p:spPr>
          <a:xfrm>
            <a:off x="9105469" y="2801261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9105469" y="5225146"/>
            <a:ext cx="2720011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D9128478-8C0D-4681-B5B9-EBEF56C19DA9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A49F5619-1183-4ED5-A6D1-B3512F3091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7A37222-3472-4707-B094-4EDC4E970E85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E0ECCD0B-F29F-4131-9893-8D978BDD428F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2F791C5A-2C46-4591-8482-FB360B876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1E869321-727C-46FB-8558-3584912934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2F4516D0-BFAD-475B-977C-970C6E52656B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C5FE596F-F131-446E-A67D-D915FAC3DA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8D4CAF09-7A25-4757-8236-1057389EE7D1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12188EF3-1ACE-497B-9D56-9ACF5C0467C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221D81F7-AA11-48D4-91A2-A3E6EFDD963A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646BA45C-E145-4343-881C-50F803078D4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B923E6D8-2E1E-4334-869D-7E9104E391C6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3747406D-EE85-4C28-A452-D7C78E26907A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13089058-935D-4F18-B5FA-60814DDC3454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A1ECD4B1-4DC6-47B5-A60F-81822BC6E4D7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8CB59066-6A85-48EF-BBE8-9A47DF60D9E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7A79FD76-C2AD-477F-AA71-9D8FEE362D6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C290FE69-03E4-4B54-BC27-597F806251B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2B68BEF-DB8E-474B-AC3A-DDFC152213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D59A6737-199D-4894-A7FA-67FE34E597C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857BF560-F009-4803-A230-400133577ADB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74C33C40-AAC1-40A5-87B3-59169BC12AE8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35F0EE3C-ED30-4557-AF99-6C6603C0A14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EA6D422-4E22-4388-8C43-E6D0B27AB7C9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436F710E-D9FA-43C4-BB34-A22941C6C2D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A4CBDCC3-2529-45BB-A607-196B1E4085D5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3D7680E5-E6A4-4954-A295-8CAED7E6290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8121FB31-3D5A-4584-8B2E-CB66AF12A5BF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C70447AF-40E8-43C8-981D-1A83B575805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F41A3CB3-8303-4601-92EE-E1C231D2D4C5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6E4D7F9E-6E0B-4B26-9AF6-BB3EFEDCAC3A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DA0C2B62-2E17-463E-A626-8E0C2883B1E5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AEEE200D-17F8-4C0E-BA59-9545467AC9A1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C7B48FB7-1F7A-4458-B518-00B36104FDCD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109EBBE0-0362-4633-BA7F-21622FA76839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A8943640-AEEC-41B6-85D2-7DB33FBBD92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ED6257F9-6B2B-4A27-A3B3-0E467291F4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936E2621-9381-433C-992B-FAF5EACD24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9D01458B-6373-4D52-97EA-E0C615BC33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939AC8AB-CC03-4E2A-B46B-A262F6CC501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86AB080-55B3-4A04-AD9C-720AB204EE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943A8A59-84FC-4444-81E9-859513D3659D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B133FE93-38C4-4C8C-8F59-59F8C99AE27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B8391F26-FF22-463B-A710-D104045CAC49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751A0F8F-57EC-4743-9879-66D27F274FF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0CC5BD32-B4AB-4B64-8B93-06EAC657593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63DF006-B3C4-4983-A590-95EB18EF1E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1C8B8442-8AB6-450D-92CC-97648BA06B4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24113A3B-9C9C-4D73-8B61-836646054A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71285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3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1" grpId="0" animBg="1"/>
      <p:bldP spid="4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animBg="1"/>
      <p:bldP spid="4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/>
      <p:bldP spid="49" grpId="0" animBg="1"/>
      <p:bldP spid="5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x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CB6A9-6FAF-485F-8506-15AEB3C891C4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x Afbeelding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afbeelding 31"/>
          <p:cNvSpPr>
            <a:spLocks noGrp="1"/>
          </p:cNvSpPr>
          <p:nvPr>
            <p:ph type="pic" sz="quarter" idx="15" hasCustomPrompt="1"/>
          </p:nvPr>
        </p:nvSpPr>
        <p:spPr>
          <a:xfrm>
            <a:off x="366142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3" name="Tijdelijke aanduiding voor afbeelding 32"/>
          <p:cNvSpPr>
            <a:spLocks noGrp="1"/>
          </p:cNvSpPr>
          <p:nvPr>
            <p:ph type="pic" sz="quarter" idx="16" hasCustomPrompt="1"/>
          </p:nvPr>
        </p:nvSpPr>
        <p:spPr>
          <a:xfrm>
            <a:off x="366142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41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66141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" name="Tijdelijke aanduiding voor afbeelding 36"/>
          <p:cNvSpPr>
            <a:spLocks noGrp="1"/>
          </p:cNvSpPr>
          <p:nvPr>
            <p:ph type="pic" sz="quarter" idx="33" hasCustomPrompt="1"/>
          </p:nvPr>
        </p:nvSpPr>
        <p:spPr>
          <a:xfrm>
            <a:off x="2696491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8" name="Tijdelijke aanduiding voor afbeelding 37"/>
          <p:cNvSpPr>
            <a:spLocks noGrp="1"/>
          </p:cNvSpPr>
          <p:nvPr>
            <p:ph type="pic" sz="quarter" idx="34" hasCustomPrompt="1"/>
          </p:nvPr>
        </p:nvSpPr>
        <p:spPr>
          <a:xfrm>
            <a:off x="2696491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9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2696569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0" name="Tijdelijke aanduiding voor verticale tekst 2"/>
          <p:cNvSpPr>
            <a:spLocks noGrp="1"/>
          </p:cNvSpPr>
          <p:nvPr>
            <p:ph type="body" orient="vert" idx="36" hasCustomPrompt="1"/>
          </p:nvPr>
        </p:nvSpPr>
        <p:spPr>
          <a:xfrm>
            <a:off x="2696569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1" name="Tijdelijke aanduiding voor afbeelding 40"/>
          <p:cNvSpPr>
            <a:spLocks noGrp="1"/>
          </p:cNvSpPr>
          <p:nvPr>
            <p:ph type="pic" sz="quarter" idx="37" hasCustomPrompt="1"/>
          </p:nvPr>
        </p:nvSpPr>
        <p:spPr>
          <a:xfrm>
            <a:off x="5026844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2" name="Tijdelijke aanduiding voor afbeelding 41"/>
          <p:cNvSpPr>
            <a:spLocks noGrp="1"/>
          </p:cNvSpPr>
          <p:nvPr>
            <p:ph type="pic" sz="quarter" idx="38" hasCustomPrompt="1"/>
          </p:nvPr>
        </p:nvSpPr>
        <p:spPr>
          <a:xfrm>
            <a:off x="5026844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3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5027001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4" name="Tijdelijke aanduiding voor verticale tekst 2"/>
          <p:cNvSpPr>
            <a:spLocks noGrp="1"/>
          </p:cNvSpPr>
          <p:nvPr>
            <p:ph type="body" orient="vert" idx="40" hasCustomPrompt="1"/>
          </p:nvPr>
        </p:nvSpPr>
        <p:spPr>
          <a:xfrm>
            <a:off x="5027001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5" name="Tijdelijke aanduiding voor afbeelding 44"/>
          <p:cNvSpPr>
            <a:spLocks noGrp="1"/>
          </p:cNvSpPr>
          <p:nvPr>
            <p:ph type="pic" sz="quarter" idx="41" hasCustomPrompt="1"/>
          </p:nvPr>
        </p:nvSpPr>
        <p:spPr>
          <a:xfrm>
            <a:off x="7357194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42" hasCustomPrompt="1"/>
          </p:nvPr>
        </p:nvSpPr>
        <p:spPr>
          <a:xfrm>
            <a:off x="7357194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7357429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8" name="Tijdelijke aanduiding voor verticale tekst 2"/>
          <p:cNvSpPr>
            <a:spLocks noGrp="1"/>
          </p:cNvSpPr>
          <p:nvPr>
            <p:ph type="body" orient="vert" idx="44" hasCustomPrompt="1"/>
          </p:nvPr>
        </p:nvSpPr>
        <p:spPr>
          <a:xfrm>
            <a:off x="7357429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49" name="Tijdelijke aanduiding voor afbeelding 48"/>
          <p:cNvSpPr>
            <a:spLocks noGrp="1"/>
          </p:cNvSpPr>
          <p:nvPr>
            <p:ph type="pic" sz="quarter" idx="45" hasCustomPrompt="1"/>
          </p:nvPr>
        </p:nvSpPr>
        <p:spPr>
          <a:xfrm>
            <a:off x="9687545" y="1179862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0" name="Tijdelijke aanduiding voor afbeelding 49"/>
          <p:cNvSpPr>
            <a:spLocks noGrp="1"/>
          </p:cNvSpPr>
          <p:nvPr>
            <p:ph type="pic" sz="quarter" idx="46" hasCustomPrompt="1"/>
          </p:nvPr>
        </p:nvSpPr>
        <p:spPr>
          <a:xfrm>
            <a:off x="9687545" y="3603747"/>
            <a:ext cx="2137937" cy="22213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9687861" y="2801261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52" name="Tijdelijke aanduiding voor verticale tekst 2"/>
          <p:cNvSpPr>
            <a:spLocks noGrp="1"/>
          </p:cNvSpPr>
          <p:nvPr>
            <p:ph type="body" orient="vert" idx="48" hasCustomPrompt="1"/>
          </p:nvPr>
        </p:nvSpPr>
        <p:spPr>
          <a:xfrm>
            <a:off x="9687861" y="5225146"/>
            <a:ext cx="2137619" cy="599909"/>
          </a:xfrm>
          <a:solidFill>
            <a:schemeClr val="tx2">
              <a:lumMod val="90000"/>
              <a:lumOff val="10000"/>
              <a:alpha val="90000"/>
            </a:schemeClr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grpSp>
        <p:nvGrpSpPr>
          <p:cNvPr id="104" name="Groep 103">
            <a:extLst>
              <a:ext uri="{FF2B5EF4-FFF2-40B4-BE49-F238E27FC236}">
                <a16:creationId xmlns:a16="http://schemas.microsoft.com/office/drawing/2014/main" id="{1E0C6CC2-19DB-46E6-AEF8-7FD357C4564C}"/>
              </a:ext>
            </a:extLst>
          </p:cNvPr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E0123D1E-CA29-45C9-909C-72D1C418AF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6E78FCE7-F175-463D-AF54-EEAE35A9CBCA}"/>
                </a:ext>
              </a:extLst>
            </p:cNvPr>
            <p:cNvSpPr/>
            <p:nvPr userDrawn="1"/>
          </p:nvSpPr>
          <p:spPr>
            <a:xfrm>
              <a:off x="12397264" y="-17883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nl-NL" sz="1400" b="1" kern="0" cap="all" dirty="0">
                  <a:solidFill>
                    <a:srgbClr val="002C51"/>
                  </a:solidFill>
                  <a:latin typeface="Gill Sans MT"/>
                  <a:cs typeface="Segoe UI Light" panose="020B0502040204020203" pitchFamily="34" charset="0"/>
                </a:rPr>
                <a:t>Afbeelding invoegen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F22C8D3A-1DB2-4CF6-808E-3A5B59CB6D83}"/>
                </a:ext>
              </a:extLst>
            </p:cNvPr>
            <p:cNvSpPr/>
            <p:nvPr userDrawn="1"/>
          </p:nvSpPr>
          <p:spPr>
            <a:xfrm>
              <a:off x="12391603" y="348607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 dirty="0">
                  <a:solidFill>
                    <a:prstClr val="white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E744F881-8F86-4191-86E7-7DE4509974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2375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09" name="Rechte verbindingslijn 108">
              <a:extLst>
                <a:ext uri="{FF2B5EF4-FFF2-40B4-BE49-F238E27FC236}">
                  <a16:creationId xmlns:a16="http://schemas.microsoft.com/office/drawing/2014/main" id="{F90C3423-6582-4C90-A92E-488F9117FBA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1560050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C5D0843C-0B4E-4015-9234-05B811163D11}"/>
                </a:ext>
              </a:extLst>
            </p:cNvPr>
            <p:cNvSpPr/>
            <p:nvPr userDrawn="1"/>
          </p:nvSpPr>
          <p:spPr>
            <a:xfrm>
              <a:off x="12757284" y="414669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Wanneer nodig, verwijder de bestaande afbeelding. Klik op het pictogram om een nieuwe afbeelding in te voegen.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zie onderstaand voorbeeld).</a:t>
              </a:r>
              <a:endParaRPr lang="nl-NL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A1D54500-4514-4998-824D-049F03848E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431658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112" name="Ovaal 111">
              <a:extLst>
                <a:ext uri="{FF2B5EF4-FFF2-40B4-BE49-F238E27FC236}">
                  <a16:creationId xmlns:a16="http://schemas.microsoft.com/office/drawing/2014/main" id="{6C2CC2C0-719E-4072-82E7-35A56782C6F0}"/>
                </a:ext>
              </a:extLst>
            </p:cNvPr>
            <p:cNvSpPr/>
            <p:nvPr userDrawn="1"/>
          </p:nvSpPr>
          <p:spPr>
            <a:xfrm>
              <a:off x="12391603" y="1688515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C9594C5E-2B64-48A5-8121-92AC4EA39FA4}"/>
                </a:ext>
              </a:extLst>
            </p:cNvPr>
            <p:cNvSpPr/>
            <p:nvPr userDrawn="1"/>
          </p:nvSpPr>
          <p:spPr>
            <a:xfrm>
              <a:off x="12757284" y="1754578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eer de gewenste afbeelding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en klik op </a:t>
              </a: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voegen’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464EACA4-5959-47E5-96B7-303F92E38F86}"/>
                </a:ext>
              </a:extLst>
            </p:cNvPr>
            <p:cNvGrpSpPr/>
            <p:nvPr userDrawn="1"/>
          </p:nvGrpSpPr>
          <p:grpSpPr>
            <a:xfrm>
              <a:off x="12757284" y="2166624"/>
              <a:ext cx="825500" cy="209550"/>
              <a:chOff x="12757284" y="2166624"/>
              <a:chExt cx="825500" cy="209550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81877875-32CC-4E99-991A-0CA769630E7F}"/>
                  </a:ext>
                </a:extLst>
              </p:cNvPr>
              <p:cNvSpPr/>
              <p:nvPr userDrawn="1"/>
            </p:nvSpPr>
            <p:spPr>
              <a:xfrm>
                <a:off x="12757284" y="2166624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28300FFA-FA98-4D5A-8977-26BADD105C19}"/>
                  </a:ext>
                </a:extLst>
              </p:cNvPr>
              <p:cNvCxnSpPr/>
              <p:nvPr userDrawn="1"/>
            </p:nvCxnSpPr>
            <p:spPr>
              <a:xfrm>
                <a:off x="13407929" y="2199024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152">
                <a:extLst>
                  <a:ext uri="{FF2B5EF4-FFF2-40B4-BE49-F238E27FC236}">
                    <a16:creationId xmlns:a16="http://schemas.microsoft.com/office/drawing/2014/main" id="{EBA77F2A-1AF8-4939-ACD9-E4D18B9713E2}"/>
                  </a:ext>
                </a:extLst>
              </p:cNvPr>
              <p:cNvSpPr/>
              <p:nvPr userDrawn="1"/>
            </p:nvSpPr>
            <p:spPr>
              <a:xfrm rot="10800000">
                <a:off x="13448749" y="2250678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D8B77BB4-D2AA-4F6A-B206-BFBCD2C23FE5}"/>
                </a:ext>
              </a:extLst>
            </p:cNvPr>
            <p:cNvGrpSpPr/>
            <p:nvPr userDrawn="1"/>
          </p:nvGrpSpPr>
          <p:grpSpPr>
            <a:xfrm>
              <a:off x="12757284" y="1123743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70EEDAE-F5A7-41F6-9993-91D28F0A9F4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45">
                <a:extLst>
                  <a:ext uri="{FF2B5EF4-FFF2-40B4-BE49-F238E27FC236}">
                    <a16:creationId xmlns:a16="http://schemas.microsoft.com/office/drawing/2014/main" id="{7F64BA8B-5B44-417C-A46C-48B84D41E4A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Vrije vorm: vorm 146">
                <a:extLst>
                  <a:ext uri="{FF2B5EF4-FFF2-40B4-BE49-F238E27FC236}">
                    <a16:creationId xmlns:a16="http://schemas.microsoft.com/office/drawing/2014/main" id="{AB38CDB7-9B99-4F83-AF8C-717C8207B8C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Rechthoek: afgeronde hoeken 147">
                <a:extLst>
                  <a:ext uri="{FF2B5EF4-FFF2-40B4-BE49-F238E27FC236}">
                    <a16:creationId xmlns:a16="http://schemas.microsoft.com/office/drawing/2014/main" id="{F407228E-B000-40C6-9A57-BFA7232ACF0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148">
                <a:extLst>
                  <a:ext uri="{FF2B5EF4-FFF2-40B4-BE49-F238E27FC236}">
                    <a16:creationId xmlns:a16="http://schemas.microsoft.com/office/drawing/2014/main" id="{B66C21FE-E1E3-454F-9786-803C7EA6B31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149">
                <a:extLst>
                  <a:ext uri="{FF2B5EF4-FFF2-40B4-BE49-F238E27FC236}">
                    <a16:creationId xmlns:a16="http://schemas.microsoft.com/office/drawing/2014/main" id="{46B388D4-1702-43AB-94E0-108087A9F61C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id="{F39DB916-DA01-440D-A48F-09E0C27FD917}"/>
                </a:ext>
              </a:extLst>
            </p:cNvPr>
            <p:cNvSpPr/>
            <p:nvPr userDrawn="1"/>
          </p:nvSpPr>
          <p:spPr>
            <a:xfrm>
              <a:off x="12391603" y="2613716"/>
              <a:ext cx="260914" cy="259683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nl-NL" sz="1100" kern="0">
                  <a:solidFill>
                    <a:prstClr val="white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81B109FE-9358-4AD3-8EBB-A25E18406404}"/>
                </a:ext>
              </a:extLst>
            </p:cNvPr>
            <p:cNvSpPr/>
            <p:nvPr userDrawn="1"/>
          </p:nvSpPr>
          <p:spPr>
            <a:xfrm>
              <a:off x="12757285" y="2679780"/>
              <a:ext cx="2817996" cy="6259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39200"/>
                </a:buClr>
                <a:buFont typeface="Arial" panose="020B0604020202020204" pitchFamily="34" charset="0"/>
                <a:buNone/>
                <a:defRPr/>
              </a:pP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Klik met de rechter muisknop op de miniatuurweergave van de dia en kies</a:t>
              </a:r>
              <a:b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Dia herstellen´</a:t>
              </a:r>
              <a:r>
                <a:rPr lang="nl-NL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nl-NL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18" name="Rechte verbindingslijn 117">
              <a:extLst>
                <a:ext uri="{FF2B5EF4-FFF2-40B4-BE49-F238E27FC236}">
                  <a16:creationId xmlns:a16="http://schemas.microsoft.com/office/drawing/2014/main" id="{7FD4005A-DB6D-42AC-B265-2DBA8CD940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3" y="248190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19" name="Groep 118">
              <a:extLst>
                <a:ext uri="{FF2B5EF4-FFF2-40B4-BE49-F238E27FC236}">
                  <a16:creationId xmlns:a16="http://schemas.microsoft.com/office/drawing/2014/main" id="{D7E46035-D16E-4B0E-9E2E-142B5973E377}"/>
                </a:ext>
              </a:extLst>
            </p:cNvPr>
            <p:cNvGrpSpPr/>
            <p:nvPr userDrawn="1"/>
          </p:nvGrpSpPr>
          <p:grpSpPr>
            <a:xfrm>
              <a:off x="13717198" y="3515867"/>
              <a:ext cx="1195723" cy="678267"/>
              <a:chOff x="12757284" y="3224292"/>
              <a:chExt cx="1195723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B6D2D40A-87B8-462A-B9D3-49720EDA42A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80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561BF64D-F188-492E-B4EC-2578D4484120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6" name="Groep 125">
                <a:extLst>
                  <a:ext uri="{FF2B5EF4-FFF2-40B4-BE49-F238E27FC236}">
                    <a16:creationId xmlns:a16="http://schemas.microsoft.com/office/drawing/2014/main" id="{86A829C4-CD2E-469C-A84B-25D97DDEF69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138">
                  <a:extLst>
                    <a:ext uri="{FF2B5EF4-FFF2-40B4-BE49-F238E27FC236}">
                      <a16:creationId xmlns:a16="http://schemas.microsoft.com/office/drawing/2014/main" id="{A15F658F-322A-4083-B9BE-EA17A45E044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43C759B2-3B6C-441B-B00D-E723B65CA67B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EA5EEF62-02E8-4929-946D-BF49F9BDCECC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87624029-FBF2-47A2-A749-7AE88F3DEC89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72951251-0717-4CCC-A655-125D0E2B8B33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DD0328FA-BE13-4E58-859F-EE7190419DD0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E539A306-B6D3-4476-8058-BA718F09FF31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130">
                  <a:extLst>
                    <a:ext uri="{FF2B5EF4-FFF2-40B4-BE49-F238E27FC236}">
                      <a16:creationId xmlns:a16="http://schemas.microsoft.com/office/drawing/2014/main" id="{2AE25E84-F249-4A8F-962E-D975FA817EFA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132">
                    <a:extLst>
                      <a:ext uri="{FF2B5EF4-FFF2-40B4-BE49-F238E27FC236}">
                        <a16:creationId xmlns:a16="http://schemas.microsoft.com/office/drawing/2014/main" id="{3E7BFC05-1DDB-4AC5-9E15-3FA64A4B25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id="{C8D2042C-8CB2-4C1C-A187-8267231430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id="{1740C2E7-8329-4051-A535-F5BB0A9B488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id="{599C96F6-E316-48EA-8380-07450BD89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id="{16004FEF-9B06-44B9-B46D-2AD360DD11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id="{86196B6E-D6C9-40C8-94DE-A13899365F1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32" name="Boog 131">
                  <a:extLst>
                    <a:ext uri="{FF2B5EF4-FFF2-40B4-BE49-F238E27FC236}">
                      <a16:creationId xmlns:a16="http://schemas.microsoft.com/office/drawing/2014/main" id="{D36886EC-DA84-48DF-AC07-6E1041BC6146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8" name="Tekstvak 127">
                <a:extLst>
                  <a:ext uri="{FF2B5EF4-FFF2-40B4-BE49-F238E27FC236}">
                    <a16:creationId xmlns:a16="http://schemas.microsoft.com/office/drawing/2014/main" id="{0B5BF3EF-56BE-4AB9-988E-7ADB2A1667E1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128">
                <a:extLst>
                  <a:ext uri="{FF2B5EF4-FFF2-40B4-BE49-F238E27FC236}">
                    <a16:creationId xmlns:a16="http://schemas.microsoft.com/office/drawing/2014/main" id="{0C8060E8-1B60-42CE-9B7C-B38C0E1984DB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>
                    <a:solidFill>
                      <a:prstClr val="black"/>
                    </a:solidFill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64D0B05B-0308-4D30-A750-D85378FF929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09921" y="367122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20" name="Meer informatie">
              <a:extLst>
                <a:ext uri="{FF2B5EF4-FFF2-40B4-BE49-F238E27FC236}">
                  <a16:creationId xmlns:a16="http://schemas.microsoft.com/office/drawing/2014/main" id="{642A6EA6-024D-4406-A2B2-956A41AB2BEC}"/>
                </a:ext>
              </a:extLst>
            </p:cNvPr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041163F3-DDE7-4A3F-B6F9-C686C32AC4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469615A6-F34D-4428-B408-2E485E2CAE6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1E58E517-1682-403D-9CF1-CC229544DD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35812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animBg="1"/>
      <p:bldP spid="38" grpId="0" animBg="1"/>
      <p:bldP spid="3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/>
      <p:bldP spid="46" grpId="0" animBg="1"/>
      <p:bldP spid="4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ele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30F92-8864-466A-9352-AC3685A579C9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99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61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2664839" y="1174530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1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366975" y="2788898"/>
            <a:ext cx="972000" cy="1414800"/>
          </a:xfrm>
          <a:solidFill>
            <a:schemeClr val="tx2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36697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3" name="Tijdelijke aanduiding voor afbeelding 31"/>
          <p:cNvSpPr>
            <a:spLocks noGrp="1"/>
          </p:cNvSpPr>
          <p:nvPr>
            <p:ph type="pic" sz="quarter" idx="18" hasCustomPrompt="1"/>
          </p:nvPr>
        </p:nvSpPr>
        <p:spPr>
          <a:xfrm>
            <a:off x="36697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4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153297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5" name="Tijdelijke aanduiding voor afbeelding 31"/>
          <p:cNvSpPr>
            <a:spLocks noGrp="1"/>
          </p:cNvSpPr>
          <p:nvPr>
            <p:ph type="pic" sz="quarter" idx="20" hasCustomPrompt="1"/>
          </p:nvPr>
        </p:nvSpPr>
        <p:spPr>
          <a:xfrm>
            <a:off x="153297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6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269897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7" name="Tijdelijke aanduiding voor afbeelding 31"/>
          <p:cNvSpPr>
            <a:spLocks noGrp="1"/>
          </p:cNvSpPr>
          <p:nvPr>
            <p:ph type="pic" sz="quarter" idx="22" hasCustomPrompt="1"/>
          </p:nvPr>
        </p:nvSpPr>
        <p:spPr>
          <a:xfrm>
            <a:off x="269897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18" name="Tijdelijke aanduiding voor verticale tekst 2"/>
          <p:cNvSpPr>
            <a:spLocks noGrp="1"/>
          </p:cNvSpPr>
          <p:nvPr>
            <p:ph type="body" orient="vert" idx="23" hasCustomPrompt="1"/>
          </p:nvPr>
        </p:nvSpPr>
        <p:spPr>
          <a:xfrm>
            <a:off x="386496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9" name="Tijdelijke aanduiding voor afbeelding 31"/>
          <p:cNvSpPr>
            <a:spLocks noGrp="1"/>
          </p:cNvSpPr>
          <p:nvPr>
            <p:ph type="pic" sz="quarter" idx="24" hasCustomPrompt="1"/>
          </p:nvPr>
        </p:nvSpPr>
        <p:spPr>
          <a:xfrm>
            <a:off x="386496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0" name="Tijdelijke aanduiding voor verticale tekst 2"/>
          <p:cNvSpPr>
            <a:spLocks noGrp="1"/>
          </p:cNvSpPr>
          <p:nvPr>
            <p:ph type="body" orient="vert" idx="25" hasCustomPrompt="1"/>
          </p:nvPr>
        </p:nvSpPr>
        <p:spPr>
          <a:xfrm>
            <a:off x="5030967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1" name="Tijdelijke aanduiding voor afbeelding 31"/>
          <p:cNvSpPr>
            <a:spLocks noGrp="1"/>
          </p:cNvSpPr>
          <p:nvPr>
            <p:ph type="pic" sz="quarter" idx="26" hasCustomPrompt="1"/>
          </p:nvPr>
        </p:nvSpPr>
        <p:spPr>
          <a:xfrm>
            <a:off x="5030967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2" name="Tijdelijke aanduiding voor verticale tekst 2"/>
          <p:cNvSpPr>
            <a:spLocks noGrp="1"/>
          </p:cNvSpPr>
          <p:nvPr>
            <p:ph type="body" orient="vert" idx="27" hasCustomPrompt="1"/>
          </p:nvPr>
        </p:nvSpPr>
        <p:spPr>
          <a:xfrm>
            <a:off x="6196965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3" name="Tijdelijke aanduiding voor afbeelding 31"/>
          <p:cNvSpPr>
            <a:spLocks noGrp="1"/>
          </p:cNvSpPr>
          <p:nvPr>
            <p:ph type="pic" sz="quarter" idx="28" hasCustomPrompt="1"/>
          </p:nvPr>
        </p:nvSpPr>
        <p:spPr>
          <a:xfrm>
            <a:off x="6196965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4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736296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5" name="Tijdelijke aanduiding voor afbeelding 31"/>
          <p:cNvSpPr>
            <a:spLocks noGrp="1"/>
          </p:cNvSpPr>
          <p:nvPr>
            <p:ph type="pic" sz="quarter" idx="30" hasCustomPrompt="1"/>
          </p:nvPr>
        </p:nvSpPr>
        <p:spPr>
          <a:xfrm>
            <a:off x="736296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6" name="Tijdelijke aanduiding voor verticale tekst 2"/>
          <p:cNvSpPr>
            <a:spLocks noGrp="1"/>
          </p:cNvSpPr>
          <p:nvPr>
            <p:ph type="body" orient="vert" idx="31" hasCustomPrompt="1"/>
          </p:nvPr>
        </p:nvSpPr>
        <p:spPr>
          <a:xfrm>
            <a:off x="9694959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7" name="Tijdelijke aanduiding voor afbeelding 31"/>
          <p:cNvSpPr>
            <a:spLocks noGrp="1"/>
          </p:cNvSpPr>
          <p:nvPr>
            <p:ph type="pic" sz="quarter" idx="32" hasCustomPrompt="1"/>
          </p:nvPr>
        </p:nvSpPr>
        <p:spPr>
          <a:xfrm>
            <a:off x="9694959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33" hasCustomPrompt="1"/>
          </p:nvPr>
        </p:nvSpPr>
        <p:spPr>
          <a:xfrm>
            <a:off x="8528961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9" name="Tijdelijke aanduiding voor afbeelding 31"/>
          <p:cNvSpPr>
            <a:spLocks noGrp="1"/>
          </p:cNvSpPr>
          <p:nvPr>
            <p:ph type="pic" sz="quarter" idx="34" hasCustomPrompt="1"/>
          </p:nvPr>
        </p:nvSpPr>
        <p:spPr>
          <a:xfrm>
            <a:off x="8528961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35" hasCustomPrompt="1"/>
          </p:nvPr>
        </p:nvSpPr>
        <p:spPr>
          <a:xfrm>
            <a:off x="10860953" y="44017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1" name="Tijdelijke aanduiding voor afbeelding 31"/>
          <p:cNvSpPr>
            <a:spLocks noGrp="1"/>
          </p:cNvSpPr>
          <p:nvPr>
            <p:ph type="pic" sz="quarter" idx="36" hasCustomPrompt="1"/>
          </p:nvPr>
        </p:nvSpPr>
        <p:spPr>
          <a:xfrm>
            <a:off x="10860953" y="44017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37" hasCustomPrompt="1"/>
          </p:nvPr>
        </p:nvSpPr>
        <p:spPr>
          <a:xfrm>
            <a:off x="153297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3" name="Tijdelijke aanduiding voor afbeelding 31"/>
          <p:cNvSpPr>
            <a:spLocks noGrp="1"/>
          </p:cNvSpPr>
          <p:nvPr>
            <p:ph type="pic" sz="quarter" idx="38" hasCustomPrompt="1"/>
          </p:nvPr>
        </p:nvSpPr>
        <p:spPr>
          <a:xfrm>
            <a:off x="153297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39" hasCustomPrompt="1"/>
          </p:nvPr>
        </p:nvSpPr>
        <p:spPr>
          <a:xfrm>
            <a:off x="269897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5" name="Tijdelijke aanduiding voor afbeelding 31"/>
          <p:cNvSpPr>
            <a:spLocks noGrp="1"/>
          </p:cNvSpPr>
          <p:nvPr>
            <p:ph type="pic" sz="quarter" idx="40" hasCustomPrompt="1"/>
          </p:nvPr>
        </p:nvSpPr>
        <p:spPr>
          <a:xfrm>
            <a:off x="269897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41" hasCustomPrompt="1"/>
          </p:nvPr>
        </p:nvSpPr>
        <p:spPr>
          <a:xfrm>
            <a:off x="386496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7" name="Tijdelijke aanduiding voor afbeelding 31"/>
          <p:cNvSpPr>
            <a:spLocks noGrp="1"/>
          </p:cNvSpPr>
          <p:nvPr>
            <p:ph type="pic" sz="quarter" idx="42" hasCustomPrompt="1"/>
          </p:nvPr>
        </p:nvSpPr>
        <p:spPr>
          <a:xfrm>
            <a:off x="386496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38" name="Tijdelijke aanduiding voor verticale tekst 2"/>
          <p:cNvSpPr>
            <a:spLocks noGrp="1"/>
          </p:cNvSpPr>
          <p:nvPr>
            <p:ph type="body" orient="vert" idx="43" hasCustomPrompt="1"/>
          </p:nvPr>
        </p:nvSpPr>
        <p:spPr>
          <a:xfrm>
            <a:off x="5030967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9" name="Tijdelijke aanduiding voor afbeelding 31"/>
          <p:cNvSpPr>
            <a:spLocks noGrp="1"/>
          </p:cNvSpPr>
          <p:nvPr>
            <p:ph type="pic" sz="quarter" idx="44" hasCustomPrompt="1"/>
          </p:nvPr>
        </p:nvSpPr>
        <p:spPr>
          <a:xfrm>
            <a:off x="5030967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0" name="Tijdelijke aanduiding voor verticale tekst 2"/>
          <p:cNvSpPr>
            <a:spLocks noGrp="1"/>
          </p:cNvSpPr>
          <p:nvPr>
            <p:ph type="body" orient="vert" idx="45" hasCustomPrompt="1"/>
          </p:nvPr>
        </p:nvSpPr>
        <p:spPr>
          <a:xfrm>
            <a:off x="6196965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1" name="Tijdelijke aanduiding voor afbeelding 31"/>
          <p:cNvSpPr>
            <a:spLocks noGrp="1"/>
          </p:cNvSpPr>
          <p:nvPr>
            <p:ph type="pic" sz="quarter" idx="46" hasCustomPrompt="1"/>
          </p:nvPr>
        </p:nvSpPr>
        <p:spPr>
          <a:xfrm>
            <a:off x="6196965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2" name="Tijdelijke aanduiding voor verticale tekst 2"/>
          <p:cNvSpPr>
            <a:spLocks noGrp="1"/>
          </p:cNvSpPr>
          <p:nvPr>
            <p:ph type="body" orient="vert" idx="47" hasCustomPrompt="1"/>
          </p:nvPr>
        </p:nvSpPr>
        <p:spPr>
          <a:xfrm>
            <a:off x="736296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3" name="Tijdelijke aanduiding voor afbeelding 31"/>
          <p:cNvSpPr>
            <a:spLocks noGrp="1"/>
          </p:cNvSpPr>
          <p:nvPr>
            <p:ph type="pic" sz="quarter" idx="48" hasCustomPrompt="1"/>
          </p:nvPr>
        </p:nvSpPr>
        <p:spPr>
          <a:xfrm>
            <a:off x="736296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4" name="Tijdelijke aanduiding voor verticale tekst 2"/>
          <p:cNvSpPr>
            <a:spLocks noGrp="1"/>
          </p:cNvSpPr>
          <p:nvPr>
            <p:ph type="body" orient="vert" idx="49" hasCustomPrompt="1"/>
          </p:nvPr>
        </p:nvSpPr>
        <p:spPr>
          <a:xfrm>
            <a:off x="9694959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5" name="Tijdelijke aanduiding voor afbeelding 31"/>
          <p:cNvSpPr>
            <a:spLocks noGrp="1"/>
          </p:cNvSpPr>
          <p:nvPr>
            <p:ph type="pic" sz="quarter" idx="50" hasCustomPrompt="1"/>
          </p:nvPr>
        </p:nvSpPr>
        <p:spPr>
          <a:xfrm>
            <a:off x="9694959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6" name="Tijdelijke aanduiding voor verticale tekst 2"/>
          <p:cNvSpPr>
            <a:spLocks noGrp="1"/>
          </p:cNvSpPr>
          <p:nvPr>
            <p:ph type="body" orient="vert" idx="51" hasCustomPrompt="1"/>
          </p:nvPr>
        </p:nvSpPr>
        <p:spPr>
          <a:xfrm>
            <a:off x="8528961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7" name="Tijdelijke aanduiding voor afbeelding 31"/>
          <p:cNvSpPr>
            <a:spLocks noGrp="1"/>
          </p:cNvSpPr>
          <p:nvPr>
            <p:ph type="pic" sz="quarter" idx="52" hasCustomPrompt="1"/>
          </p:nvPr>
        </p:nvSpPr>
        <p:spPr>
          <a:xfrm>
            <a:off x="8528961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8" name="Tijdelijke aanduiding voor verticale tekst 2"/>
          <p:cNvSpPr>
            <a:spLocks noGrp="1"/>
          </p:cNvSpPr>
          <p:nvPr>
            <p:ph type="body" orient="vert" idx="53" hasCustomPrompt="1"/>
          </p:nvPr>
        </p:nvSpPr>
        <p:spPr>
          <a:xfrm>
            <a:off x="10860953" y="2788898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49" name="Tijdelijke aanduiding voor afbeelding 31"/>
          <p:cNvSpPr>
            <a:spLocks noGrp="1"/>
          </p:cNvSpPr>
          <p:nvPr>
            <p:ph type="pic" sz="quarter" idx="54" hasCustomPrompt="1"/>
          </p:nvPr>
        </p:nvSpPr>
        <p:spPr>
          <a:xfrm>
            <a:off x="10860953" y="2788898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7" name="Tijdelijke aanduiding voor verticale tekst 2"/>
          <p:cNvSpPr>
            <a:spLocks noGrp="1"/>
          </p:cNvSpPr>
          <p:nvPr>
            <p:ph type="body" orient="vert" idx="55" hasCustomPrompt="1"/>
          </p:nvPr>
        </p:nvSpPr>
        <p:spPr>
          <a:xfrm>
            <a:off x="153297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68" name="Tijdelijke aanduiding voor afbeelding 31"/>
          <p:cNvSpPr>
            <a:spLocks noGrp="1"/>
          </p:cNvSpPr>
          <p:nvPr>
            <p:ph type="pic" sz="quarter" idx="56" hasCustomPrompt="1"/>
          </p:nvPr>
        </p:nvSpPr>
        <p:spPr>
          <a:xfrm>
            <a:off x="153297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9" name="Tijdelijke aanduiding voor verticale tekst 2"/>
          <p:cNvSpPr>
            <a:spLocks noGrp="1"/>
          </p:cNvSpPr>
          <p:nvPr>
            <p:ph type="body" orient="vert" idx="57" hasCustomPrompt="1"/>
          </p:nvPr>
        </p:nvSpPr>
        <p:spPr>
          <a:xfrm>
            <a:off x="386496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0" name="Tijdelijke aanduiding voor afbeelding 31"/>
          <p:cNvSpPr>
            <a:spLocks noGrp="1"/>
          </p:cNvSpPr>
          <p:nvPr>
            <p:ph type="pic" sz="quarter" idx="58" hasCustomPrompt="1"/>
          </p:nvPr>
        </p:nvSpPr>
        <p:spPr>
          <a:xfrm>
            <a:off x="386496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1" name="Tijdelijke aanduiding voor verticale tekst 2"/>
          <p:cNvSpPr>
            <a:spLocks noGrp="1"/>
          </p:cNvSpPr>
          <p:nvPr>
            <p:ph type="body" orient="vert" idx="59" hasCustomPrompt="1"/>
          </p:nvPr>
        </p:nvSpPr>
        <p:spPr>
          <a:xfrm>
            <a:off x="5030967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2" name="Tijdelijke aanduiding voor afbeelding 31"/>
          <p:cNvSpPr>
            <a:spLocks noGrp="1"/>
          </p:cNvSpPr>
          <p:nvPr>
            <p:ph type="pic" sz="quarter" idx="60" hasCustomPrompt="1"/>
          </p:nvPr>
        </p:nvSpPr>
        <p:spPr>
          <a:xfrm>
            <a:off x="5030967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3" name="Tijdelijke aanduiding voor verticale tekst 2"/>
          <p:cNvSpPr>
            <a:spLocks noGrp="1"/>
          </p:cNvSpPr>
          <p:nvPr>
            <p:ph type="body" orient="vert" idx="61" hasCustomPrompt="1"/>
          </p:nvPr>
        </p:nvSpPr>
        <p:spPr>
          <a:xfrm>
            <a:off x="6196965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4" name="Tijdelijke aanduiding voor afbeelding 31"/>
          <p:cNvSpPr>
            <a:spLocks noGrp="1"/>
          </p:cNvSpPr>
          <p:nvPr>
            <p:ph type="pic" sz="quarter" idx="62" hasCustomPrompt="1"/>
          </p:nvPr>
        </p:nvSpPr>
        <p:spPr>
          <a:xfrm>
            <a:off x="6196965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5" name="Tijdelijke aanduiding voor verticale tekst 2"/>
          <p:cNvSpPr>
            <a:spLocks noGrp="1"/>
          </p:cNvSpPr>
          <p:nvPr>
            <p:ph type="body" orient="vert" idx="63" hasCustomPrompt="1"/>
          </p:nvPr>
        </p:nvSpPr>
        <p:spPr>
          <a:xfrm>
            <a:off x="736296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6" name="Tijdelijke aanduiding voor afbeelding 31"/>
          <p:cNvSpPr>
            <a:spLocks noGrp="1"/>
          </p:cNvSpPr>
          <p:nvPr>
            <p:ph type="pic" sz="quarter" idx="64" hasCustomPrompt="1"/>
          </p:nvPr>
        </p:nvSpPr>
        <p:spPr>
          <a:xfrm>
            <a:off x="736296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7" name="Tijdelijke aanduiding voor verticale tekst 2"/>
          <p:cNvSpPr>
            <a:spLocks noGrp="1"/>
          </p:cNvSpPr>
          <p:nvPr>
            <p:ph type="body" orient="vert" idx="65" hasCustomPrompt="1"/>
          </p:nvPr>
        </p:nvSpPr>
        <p:spPr>
          <a:xfrm>
            <a:off x="9694959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78" name="Tijdelijke aanduiding voor afbeelding 31"/>
          <p:cNvSpPr>
            <a:spLocks noGrp="1"/>
          </p:cNvSpPr>
          <p:nvPr>
            <p:ph type="pic" sz="quarter" idx="66" hasCustomPrompt="1"/>
          </p:nvPr>
        </p:nvSpPr>
        <p:spPr>
          <a:xfrm>
            <a:off x="9694959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79" name="Tijdelijke aanduiding voor verticale tekst 2"/>
          <p:cNvSpPr>
            <a:spLocks noGrp="1"/>
          </p:cNvSpPr>
          <p:nvPr>
            <p:ph type="body" orient="vert" idx="67" hasCustomPrompt="1"/>
          </p:nvPr>
        </p:nvSpPr>
        <p:spPr>
          <a:xfrm>
            <a:off x="8528961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0" name="Tijdelijke aanduiding voor afbeelding 31"/>
          <p:cNvSpPr>
            <a:spLocks noGrp="1"/>
          </p:cNvSpPr>
          <p:nvPr>
            <p:ph type="pic" sz="quarter" idx="68" hasCustomPrompt="1"/>
          </p:nvPr>
        </p:nvSpPr>
        <p:spPr>
          <a:xfrm>
            <a:off x="8528961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81" name="Tijdelijke aanduiding voor verticale tekst 2"/>
          <p:cNvSpPr>
            <a:spLocks noGrp="1"/>
          </p:cNvSpPr>
          <p:nvPr>
            <p:ph type="body" orient="vert" idx="69" hasCustomPrompt="1"/>
          </p:nvPr>
        </p:nvSpPr>
        <p:spPr>
          <a:xfrm>
            <a:off x="10860953" y="1174530"/>
            <a:ext cx="972000" cy="1414800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82" name="Tijdelijke aanduiding voor afbeelding 31"/>
          <p:cNvSpPr>
            <a:spLocks noGrp="1"/>
          </p:cNvSpPr>
          <p:nvPr>
            <p:ph type="pic" sz="quarter" idx="70" hasCustomPrompt="1"/>
          </p:nvPr>
        </p:nvSpPr>
        <p:spPr>
          <a:xfrm>
            <a:off x="10860953" y="1174530"/>
            <a:ext cx="972000" cy="961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grpSp>
        <p:nvGrpSpPr>
          <p:cNvPr id="183" name="Groep 182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 en klik op de kn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Bijsnijd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nl-NL" sz="1000" b="1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44313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7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75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7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9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0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1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3" grpId="0" animBg="1"/>
      <p:bldP spid="11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5" grpId="0" animBg="1"/>
      <p:bldP spid="1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7" grpId="0" animBg="1"/>
      <p:bldP spid="11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9" grpId="0" animBg="1"/>
      <p:bldP spid="12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1" grpId="0" animBg="1"/>
      <p:bldP spid="12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3" grpId="0" animBg="1"/>
      <p:bldP spid="12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 animBg="1"/>
      <p:bldP spid="12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7" grpId="0" animBg="1"/>
      <p:bldP spid="12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animBg="1"/>
      <p:bldP spid="13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animBg="1"/>
      <p:bldP spid="13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3" grpId="0" animBg="1"/>
      <p:bldP spid="13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animBg="1"/>
      <p:bldP spid="13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7" grpId="0" animBg="1"/>
      <p:bldP spid="13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9" grpId="0" animBg="1"/>
      <p:bldP spid="140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1" grpId="0" animBg="1"/>
      <p:bldP spid="142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3" grpId="0" animBg="1"/>
      <p:bldP spid="144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animBg="1"/>
      <p:bldP spid="14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7" grpId="0" animBg="1"/>
      <p:bldP spid="14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9" grpId="0" animBg="1"/>
      <p:bldP spid="1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8" grpId="0" animBg="1"/>
      <p:bldP spid="1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0" grpId="0" animBg="1"/>
      <p:bldP spid="1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2" grpId="0" animBg="1"/>
      <p:bldP spid="1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4" grpId="0" animBg="1"/>
      <p:bldP spid="1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6" grpId="0" animBg="1"/>
      <p:bldP spid="1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8" grpId="0" animBg="1"/>
      <p:bldP spid="1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0" grpId="0" animBg="1"/>
      <p:bldP spid="1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2" grpId="0" animBg="1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eled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51C1-7C60-440F-BC16-1678C542979D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2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directieleden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9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7" y="-17882"/>
            <a:ext cx="3188787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83" name="Groep 182"/>
          <p:cNvGrpSpPr/>
          <p:nvPr userDrawn="1"/>
        </p:nvGrpSpPr>
        <p:grpSpPr>
          <a:xfrm>
            <a:off x="12391604" y="-17883"/>
            <a:ext cx="3183679" cy="5210064"/>
            <a:chOff x="12391603" y="-17883"/>
            <a:chExt cx="3183678" cy="5210064"/>
          </a:xfrm>
        </p:grpSpPr>
        <p:grpSp>
          <p:nvGrpSpPr>
            <p:cNvPr id="184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225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Rechthoek 225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7" name="Rechte verbindingslijn 226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185" name="Instructie"/>
            <p:cNvGrpSpPr/>
            <p:nvPr userDrawn="1"/>
          </p:nvGrpSpPr>
          <p:grpSpPr>
            <a:xfrm>
              <a:off x="12391603" y="-17883"/>
              <a:ext cx="3183678" cy="4337638"/>
              <a:chOff x="12391603" y="-17883"/>
              <a:chExt cx="3183678" cy="4337638"/>
            </a:xfrm>
          </p:grpSpPr>
          <p:sp>
            <p:nvSpPr>
              <p:cNvPr id="186" name="Rechthoek 18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87" name="Ovaal 18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88" name="Rechte verbindingslijn 18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89" name="Rechte verbindingslijn 18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0" name="Rechthoek 18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1" name="Rechte verbindingslijn 190"/>
              <p:cNvCxnSpPr>
                <a:cxnSpLocks/>
              </p:cNvCxnSpPr>
              <p:nvPr userDrawn="1"/>
            </p:nvCxnSpPr>
            <p:spPr>
              <a:xfrm>
                <a:off x="12397263" y="431975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92" name="Ovaal 19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93" name="Rechthoek 19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94" name="Groep 193"/>
              <p:cNvGrpSpPr/>
              <p:nvPr userDrawn="1"/>
            </p:nvGrpSpPr>
            <p:grpSpPr>
              <a:xfrm>
                <a:off x="12757284" y="2166667"/>
                <a:ext cx="825500" cy="209550"/>
                <a:chOff x="13504624" y="2482850"/>
                <a:chExt cx="825500" cy="209550"/>
              </a:xfrm>
            </p:grpSpPr>
            <p:sp>
              <p:nvSpPr>
                <p:cNvPr id="222" name="Rechthoek 221"/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223" name="Rechte verbindingslijn 222"/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224" name="Gelijkbenige driehoek 223"/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95" name="Groep 19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216" name="Rechthoek 215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vaal 216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Vrije vorm: vorm 217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Rechthoek: afgeronde hoeken 218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220" name="Rechte verbindingslijn 219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21" name="Rechte verbindingslijn 220"/>
                <p:cNvCxnSpPr>
                  <a:cxnSpLocks/>
                  <a:stCxn id="219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96" name="Ovaal 19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97" name="Rechthoek 19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Hulpmiddelen voor afbeeldingen - Opmaak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 en klik op de kn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Bijsnijd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98" name="Rechte verbindingslijn 19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99" name="Groep 198"/>
              <p:cNvGrpSpPr/>
              <p:nvPr userDrawn="1"/>
            </p:nvGrpSpPr>
            <p:grpSpPr>
              <a:xfrm>
                <a:off x="12760356" y="3403241"/>
                <a:ext cx="478350" cy="751185"/>
                <a:chOff x="12760356" y="3403241"/>
                <a:chExt cx="478350" cy="751185"/>
              </a:xfrm>
            </p:grpSpPr>
            <p:grpSp>
              <p:nvGrpSpPr>
                <p:cNvPr id="200" name="Groep 199"/>
                <p:cNvGrpSpPr/>
                <p:nvPr userDrawn="1"/>
              </p:nvGrpSpPr>
              <p:grpSpPr>
                <a:xfrm>
                  <a:off x="12771568" y="3403241"/>
                  <a:ext cx="467138" cy="448489"/>
                  <a:chOff x="12782195" y="3403241"/>
                  <a:chExt cx="467138" cy="448489"/>
                </a:xfrm>
              </p:grpSpPr>
              <p:grpSp>
                <p:nvGrpSpPr>
                  <p:cNvPr id="203" name="Groep 202"/>
                  <p:cNvGrpSpPr/>
                  <p:nvPr userDrawn="1"/>
                </p:nvGrpSpPr>
                <p:grpSpPr>
                  <a:xfrm>
                    <a:off x="12782195" y="3403241"/>
                    <a:ext cx="412967" cy="393907"/>
                    <a:chOff x="13554906" y="3320109"/>
                    <a:chExt cx="443906" cy="423419"/>
                  </a:xfrm>
                </p:grpSpPr>
                <p:grpSp>
                  <p:nvGrpSpPr>
                    <p:cNvPr id="210" name="Groep 209"/>
                    <p:cNvGrpSpPr/>
                    <p:nvPr userDrawn="1"/>
                  </p:nvGrpSpPr>
                  <p:grpSpPr>
                    <a:xfrm>
                      <a:off x="13554906" y="3320109"/>
                      <a:ext cx="443906" cy="423419"/>
                      <a:chOff x="12909684" y="1276143"/>
                      <a:chExt cx="443906" cy="423419"/>
                    </a:xfrm>
                  </p:grpSpPr>
                  <p:sp>
                    <p:nvSpPr>
                      <p:cNvPr id="213" name="Rechthoek 212"/>
                      <p:cNvSpPr/>
                      <p:nvPr userDrawn="1"/>
                    </p:nvSpPr>
                    <p:spPr>
                      <a:xfrm>
                        <a:off x="12918700" y="1285262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4" name="Rechthoek 213"/>
                      <p:cNvSpPr/>
                      <p:nvPr userDrawn="1"/>
                    </p:nvSpPr>
                    <p:spPr>
                      <a:xfrm>
                        <a:off x="12909684" y="1276143"/>
                        <a:ext cx="261629" cy="25780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spcAft>
                            <a:spcPts val="600"/>
                          </a:spcAft>
                        </a:pPr>
                        <a:endParaRPr lang="nl-NL" sz="800">
                          <a:solidFill>
                            <a:prstClr val="black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15" name="Ovaal 214"/>
                      <p:cNvSpPr/>
                      <p:nvPr userDrawn="1"/>
                    </p:nvSpPr>
                    <p:spPr>
                      <a:xfrm>
                        <a:off x="13069071" y="1308711"/>
                        <a:ext cx="72188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nl-NL" sz="1000" b="1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211" name="Afbeelding 210"/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2" name="Afbeelding 211"/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email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69"/>
                      <a:ext cx="173367" cy="11142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04" name="Groep 203"/>
                  <p:cNvGrpSpPr/>
                  <p:nvPr userDrawn="1"/>
                </p:nvGrpSpPr>
                <p:grpSpPr>
                  <a:xfrm>
                    <a:off x="13103513" y="3705268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8" name="Rechthoek 207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9" name="Rechthoek 208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205" name="Groep 204"/>
                  <p:cNvGrpSpPr/>
                  <p:nvPr userDrawn="1"/>
                </p:nvGrpSpPr>
                <p:grpSpPr>
                  <a:xfrm rot="10800000">
                    <a:off x="13061402" y="3665637"/>
                    <a:ext cx="145820" cy="146462"/>
                    <a:chOff x="13096169" y="3602278"/>
                    <a:chExt cx="145820" cy="146462"/>
                  </a:xfrm>
                </p:grpSpPr>
                <p:sp>
                  <p:nvSpPr>
                    <p:cNvPr id="206" name="Rechthoek 205"/>
                    <p:cNvSpPr/>
                    <p:nvPr userDrawn="1"/>
                  </p:nvSpPr>
                  <p:spPr>
                    <a:xfrm>
                      <a:off x="13096169" y="360227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07" name="Rechthoek 206"/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01" name="Rechthoek 200"/>
                <p:cNvSpPr/>
                <p:nvPr userDrawn="1"/>
              </p:nvSpPr>
              <p:spPr>
                <a:xfrm>
                  <a:off x="12760356" y="3889891"/>
                  <a:ext cx="467530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202" name="Gelijkbenige driehoek 201"/>
                <p:cNvSpPr/>
                <p:nvPr userDrawn="1"/>
              </p:nvSpPr>
              <p:spPr>
                <a:xfrm rot="10800000">
                  <a:off x="12950688" y="4103279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351" name="Tijdelijke aanduiding voor verticale tekst 2">
            <a:extLst>
              <a:ext uri="{FF2B5EF4-FFF2-40B4-BE49-F238E27FC236}">
                <a16:creationId xmlns:a16="http://schemas.microsoft.com/office/drawing/2014/main" id="{14293AD2-5837-4071-844A-CF9B4C8E7AF4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5627394" y="1273157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2" name="Tijdelijke aanduiding voor afbeelding 31">
            <a:extLst>
              <a:ext uri="{FF2B5EF4-FFF2-40B4-BE49-F238E27FC236}">
                <a16:creationId xmlns:a16="http://schemas.microsoft.com/office/drawing/2014/main" id="{31C292F8-365A-42F0-A852-406D5067D3A0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5627394" y="1275303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3" name="Tijdelijke aanduiding voor verticale tekst 2">
            <a:extLst>
              <a:ext uri="{FF2B5EF4-FFF2-40B4-BE49-F238E27FC236}">
                <a16:creationId xmlns:a16="http://schemas.microsoft.com/office/drawing/2014/main" id="{3546D6F5-C676-40A9-869B-8EFFA5AA167D}"/>
              </a:ext>
            </a:extLst>
          </p:cNvPr>
          <p:cNvSpPr>
            <a:spLocks noGrp="1"/>
          </p:cNvSpPr>
          <p:nvPr>
            <p:ph type="body" orient="vert" idx="61" hasCustomPrompt="1"/>
          </p:nvPr>
        </p:nvSpPr>
        <p:spPr>
          <a:xfrm>
            <a:off x="3300941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4" name="Tijdelijke aanduiding voor afbeelding 31">
            <a:extLst>
              <a:ext uri="{FF2B5EF4-FFF2-40B4-BE49-F238E27FC236}">
                <a16:creationId xmlns:a16="http://schemas.microsoft.com/office/drawing/2014/main" id="{19A7FBEA-B915-4628-84CB-AAE0E645B7B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300941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5" name="Tijdelijke aanduiding voor verticale tekst 2">
            <a:extLst>
              <a:ext uri="{FF2B5EF4-FFF2-40B4-BE49-F238E27FC236}">
                <a16:creationId xmlns:a16="http://schemas.microsoft.com/office/drawing/2014/main" id="{C013B144-0A0D-497E-9CB4-D7698C524BA4}"/>
              </a:ext>
            </a:extLst>
          </p:cNvPr>
          <p:cNvSpPr>
            <a:spLocks noGrp="1"/>
          </p:cNvSpPr>
          <p:nvPr>
            <p:ph type="body" orient="vert" idx="63" hasCustomPrompt="1"/>
          </p:nvPr>
        </p:nvSpPr>
        <p:spPr>
          <a:xfrm>
            <a:off x="4466114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6" name="Tijdelijke aanduiding voor afbeelding 31">
            <a:extLst>
              <a:ext uri="{FF2B5EF4-FFF2-40B4-BE49-F238E27FC236}">
                <a16:creationId xmlns:a16="http://schemas.microsoft.com/office/drawing/2014/main" id="{6507DC2E-D07A-43FD-A01D-E8C2C5DB65E1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466114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7" name="Tijdelijke aanduiding voor verticale tekst 2">
            <a:extLst>
              <a:ext uri="{FF2B5EF4-FFF2-40B4-BE49-F238E27FC236}">
                <a16:creationId xmlns:a16="http://schemas.microsoft.com/office/drawing/2014/main" id="{83EC8DC8-0A58-457F-A794-EF5F437A5D57}"/>
              </a:ext>
            </a:extLst>
          </p:cNvPr>
          <p:cNvSpPr>
            <a:spLocks noGrp="1"/>
          </p:cNvSpPr>
          <p:nvPr>
            <p:ph type="body" orient="vert" idx="65" hasCustomPrompt="1"/>
          </p:nvPr>
        </p:nvSpPr>
        <p:spPr>
          <a:xfrm>
            <a:off x="5627028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58" name="Tijdelijke aanduiding voor afbeelding 31">
            <a:extLst>
              <a:ext uri="{FF2B5EF4-FFF2-40B4-BE49-F238E27FC236}">
                <a16:creationId xmlns:a16="http://schemas.microsoft.com/office/drawing/2014/main" id="{DC89F17D-F4CD-4E8D-A88A-98CD7D88CBD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5627028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59" name="Tijdelijke aanduiding voor verticale tekst 2">
            <a:extLst>
              <a:ext uri="{FF2B5EF4-FFF2-40B4-BE49-F238E27FC236}">
                <a16:creationId xmlns:a16="http://schemas.microsoft.com/office/drawing/2014/main" id="{B09EFA52-2194-4D04-AFD3-0EE8B5EFFCCD}"/>
              </a:ext>
            </a:extLst>
          </p:cNvPr>
          <p:cNvSpPr>
            <a:spLocks noGrp="1"/>
          </p:cNvSpPr>
          <p:nvPr>
            <p:ph type="body" orient="vert" idx="67" hasCustomPrompt="1"/>
          </p:nvPr>
        </p:nvSpPr>
        <p:spPr>
          <a:xfrm>
            <a:off x="6760803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0" name="Tijdelijke aanduiding voor afbeelding 31">
            <a:extLst>
              <a:ext uri="{FF2B5EF4-FFF2-40B4-BE49-F238E27FC236}">
                <a16:creationId xmlns:a16="http://schemas.microsoft.com/office/drawing/2014/main" id="{A24E315D-EA10-4DEF-95BB-C8CE4FFB11A4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6760803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1" name="Tijdelijke aanduiding voor verticale tekst 2">
            <a:extLst>
              <a:ext uri="{FF2B5EF4-FFF2-40B4-BE49-F238E27FC236}">
                <a16:creationId xmlns:a16="http://schemas.microsoft.com/office/drawing/2014/main" id="{8C45A7BE-A6A5-46D1-836D-6BAE04F801EE}"/>
              </a:ext>
            </a:extLst>
          </p:cNvPr>
          <p:cNvSpPr>
            <a:spLocks noGrp="1"/>
          </p:cNvSpPr>
          <p:nvPr>
            <p:ph type="body" orient="vert" idx="69" hasCustomPrompt="1"/>
          </p:nvPr>
        </p:nvSpPr>
        <p:spPr>
          <a:xfrm>
            <a:off x="7919786" y="2779358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2" name="Tijdelijke aanduiding voor afbeelding 31">
            <a:extLst>
              <a:ext uri="{FF2B5EF4-FFF2-40B4-BE49-F238E27FC236}">
                <a16:creationId xmlns:a16="http://schemas.microsoft.com/office/drawing/2014/main" id="{70A28BCC-A31D-4DF1-B9E3-C2C142D837B7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7919786" y="2781504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3" name="Tijdelijke aanduiding voor verticale tekst 2">
            <a:extLst>
              <a:ext uri="{FF2B5EF4-FFF2-40B4-BE49-F238E27FC236}">
                <a16:creationId xmlns:a16="http://schemas.microsoft.com/office/drawing/2014/main" id="{A0474310-937A-48E0-8BA1-9B4140C7BB4F}"/>
              </a:ext>
            </a:extLst>
          </p:cNvPr>
          <p:cNvSpPr>
            <a:spLocks noGrp="1"/>
          </p:cNvSpPr>
          <p:nvPr>
            <p:ph type="body" orient="vert" idx="71" hasCustomPrompt="1"/>
          </p:nvPr>
        </p:nvSpPr>
        <p:spPr>
          <a:xfrm>
            <a:off x="18685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4" name="Tijdelijke aanduiding voor afbeelding 31">
            <a:extLst>
              <a:ext uri="{FF2B5EF4-FFF2-40B4-BE49-F238E27FC236}">
                <a16:creationId xmlns:a16="http://schemas.microsoft.com/office/drawing/2014/main" id="{3CBF5ECA-BEE2-473A-8E52-D03352A5EDDF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18685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5" name="Tijdelijke aanduiding voor verticale tekst 2">
            <a:extLst>
              <a:ext uri="{FF2B5EF4-FFF2-40B4-BE49-F238E27FC236}">
                <a16:creationId xmlns:a16="http://schemas.microsoft.com/office/drawing/2014/main" id="{E5DD920C-0DD7-43B5-80F2-1553606E5496}"/>
              </a:ext>
            </a:extLst>
          </p:cNvPr>
          <p:cNvSpPr>
            <a:spLocks noGrp="1"/>
          </p:cNvSpPr>
          <p:nvPr>
            <p:ph type="body" orient="vert" idx="73" hasCustomPrompt="1"/>
          </p:nvPr>
        </p:nvSpPr>
        <p:spPr>
          <a:xfrm>
            <a:off x="1196290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6" name="Tijdelijke aanduiding voor afbeelding 31">
            <a:extLst>
              <a:ext uri="{FF2B5EF4-FFF2-40B4-BE49-F238E27FC236}">
                <a16:creationId xmlns:a16="http://schemas.microsoft.com/office/drawing/2014/main" id="{41CE60B6-643B-4FA5-AFD6-F71184104FEB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1196290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7" name="Tijdelijke aanduiding voor verticale tekst 2">
            <a:extLst>
              <a:ext uri="{FF2B5EF4-FFF2-40B4-BE49-F238E27FC236}">
                <a16:creationId xmlns:a16="http://schemas.microsoft.com/office/drawing/2014/main" id="{0E055054-668D-45F3-AC9E-E98016952F7F}"/>
              </a:ext>
            </a:extLst>
          </p:cNvPr>
          <p:cNvSpPr>
            <a:spLocks noGrp="1"/>
          </p:cNvSpPr>
          <p:nvPr>
            <p:ph type="body" orient="vert" idx="75" hasCustomPrompt="1"/>
          </p:nvPr>
        </p:nvSpPr>
        <p:spPr>
          <a:xfrm>
            <a:off x="217840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68" name="Tijdelijke aanduiding voor afbeelding 31">
            <a:extLst>
              <a:ext uri="{FF2B5EF4-FFF2-40B4-BE49-F238E27FC236}">
                <a16:creationId xmlns:a16="http://schemas.microsoft.com/office/drawing/2014/main" id="{61EF5895-2F2F-41FA-BD25-A9ACEE183E07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217840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69" name="Tijdelijke aanduiding voor verticale tekst 2">
            <a:extLst>
              <a:ext uri="{FF2B5EF4-FFF2-40B4-BE49-F238E27FC236}">
                <a16:creationId xmlns:a16="http://schemas.microsoft.com/office/drawing/2014/main" id="{1C5CEB20-7748-4A99-9912-BBFD8F504873}"/>
              </a:ext>
            </a:extLst>
          </p:cNvPr>
          <p:cNvSpPr>
            <a:spLocks noGrp="1"/>
          </p:cNvSpPr>
          <p:nvPr>
            <p:ph type="body" orient="vert" idx="77" hasCustomPrompt="1"/>
          </p:nvPr>
        </p:nvSpPr>
        <p:spPr>
          <a:xfrm>
            <a:off x="3169925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0" name="Tijdelijke aanduiding voor afbeelding 31">
            <a:extLst>
              <a:ext uri="{FF2B5EF4-FFF2-40B4-BE49-F238E27FC236}">
                <a16:creationId xmlns:a16="http://schemas.microsoft.com/office/drawing/2014/main" id="{8F724066-6267-4012-A0AE-9AFF34BFAEF3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169925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1" name="Tijdelijke aanduiding voor verticale tekst 2">
            <a:extLst>
              <a:ext uri="{FF2B5EF4-FFF2-40B4-BE49-F238E27FC236}">
                <a16:creationId xmlns:a16="http://schemas.microsoft.com/office/drawing/2014/main" id="{5549D103-FD4C-40BD-9381-7A2A04ACE976}"/>
              </a:ext>
            </a:extLst>
          </p:cNvPr>
          <p:cNvSpPr>
            <a:spLocks noGrp="1"/>
          </p:cNvSpPr>
          <p:nvPr>
            <p:ph type="body" orient="vert" idx="79" hasCustomPrompt="1"/>
          </p:nvPr>
        </p:nvSpPr>
        <p:spPr>
          <a:xfrm>
            <a:off x="417561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2" name="Tijdelijke aanduiding voor afbeelding 31">
            <a:extLst>
              <a:ext uri="{FF2B5EF4-FFF2-40B4-BE49-F238E27FC236}">
                <a16:creationId xmlns:a16="http://schemas.microsoft.com/office/drawing/2014/main" id="{77371A9C-44E1-4AF9-AEF3-D57D35EC1BDB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417561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3" name="Tijdelijke aanduiding voor verticale tekst 2">
            <a:extLst>
              <a:ext uri="{FF2B5EF4-FFF2-40B4-BE49-F238E27FC236}">
                <a16:creationId xmlns:a16="http://schemas.microsoft.com/office/drawing/2014/main" id="{714A5014-6E42-4ED5-8E6B-6B8B1A3EDEC8}"/>
              </a:ext>
            </a:extLst>
          </p:cNvPr>
          <p:cNvSpPr>
            <a:spLocks noGrp="1"/>
          </p:cNvSpPr>
          <p:nvPr>
            <p:ph type="body" orient="vert" idx="81" hasCustomPrompt="1"/>
          </p:nvPr>
        </p:nvSpPr>
        <p:spPr>
          <a:xfrm>
            <a:off x="517047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4" name="Tijdelijke aanduiding voor afbeelding 31">
            <a:extLst>
              <a:ext uri="{FF2B5EF4-FFF2-40B4-BE49-F238E27FC236}">
                <a16:creationId xmlns:a16="http://schemas.microsoft.com/office/drawing/2014/main" id="{5B04C9C5-8DDC-42DA-A688-232C243D2E1F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17047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5" name="Tijdelijke aanduiding voor verticale tekst 2">
            <a:extLst>
              <a:ext uri="{FF2B5EF4-FFF2-40B4-BE49-F238E27FC236}">
                <a16:creationId xmlns:a16="http://schemas.microsoft.com/office/drawing/2014/main" id="{B8514DCC-110B-47C6-B106-1D96A43C6875}"/>
              </a:ext>
            </a:extLst>
          </p:cNvPr>
          <p:cNvSpPr>
            <a:spLocks noGrp="1"/>
          </p:cNvSpPr>
          <p:nvPr>
            <p:ph type="body" orient="vert" idx="83" hasCustomPrompt="1"/>
          </p:nvPr>
        </p:nvSpPr>
        <p:spPr>
          <a:xfrm>
            <a:off x="618874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6" name="Tijdelijke aanduiding voor afbeelding 31">
            <a:extLst>
              <a:ext uri="{FF2B5EF4-FFF2-40B4-BE49-F238E27FC236}">
                <a16:creationId xmlns:a16="http://schemas.microsoft.com/office/drawing/2014/main" id="{0464B692-CE9D-4CCC-BD48-184F82D2E128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618874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7" name="Tijdelijke aanduiding voor verticale tekst 2">
            <a:extLst>
              <a:ext uri="{FF2B5EF4-FFF2-40B4-BE49-F238E27FC236}">
                <a16:creationId xmlns:a16="http://schemas.microsoft.com/office/drawing/2014/main" id="{0EFDBC1E-2C3E-49F2-BAB9-80B028E7925A}"/>
              </a:ext>
            </a:extLst>
          </p:cNvPr>
          <p:cNvSpPr>
            <a:spLocks noGrp="1"/>
          </p:cNvSpPr>
          <p:nvPr>
            <p:ph type="body" orient="vert" idx="85" hasCustomPrompt="1"/>
          </p:nvPr>
        </p:nvSpPr>
        <p:spPr>
          <a:xfrm>
            <a:off x="7172112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78" name="Tijdelijke aanduiding voor afbeelding 31">
            <a:extLst>
              <a:ext uri="{FF2B5EF4-FFF2-40B4-BE49-F238E27FC236}">
                <a16:creationId xmlns:a16="http://schemas.microsoft.com/office/drawing/2014/main" id="{9C5F1BD7-86D5-4851-9BE4-35B8C2CA6372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7172112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79" name="Tijdelijke aanduiding voor verticale tekst 2">
            <a:extLst>
              <a:ext uri="{FF2B5EF4-FFF2-40B4-BE49-F238E27FC236}">
                <a16:creationId xmlns:a16="http://schemas.microsoft.com/office/drawing/2014/main" id="{4730FF30-C1DE-481D-B4CC-37F59AE69C53}"/>
              </a:ext>
            </a:extLst>
          </p:cNvPr>
          <p:cNvSpPr>
            <a:spLocks noGrp="1"/>
          </p:cNvSpPr>
          <p:nvPr>
            <p:ph type="body" orient="vert" idx="87" hasCustomPrompt="1"/>
          </p:nvPr>
        </p:nvSpPr>
        <p:spPr>
          <a:xfrm>
            <a:off x="8180804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0" name="Tijdelijke aanduiding voor afbeelding 31">
            <a:extLst>
              <a:ext uri="{FF2B5EF4-FFF2-40B4-BE49-F238E27FC236}">
                <a16:creationId xmlns:a16="http://schemas.microsoft.com/office/drawing/2014/main" id="{3A9287F3-0467-4BC6-AAAF-456CD7B58A04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8180804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1" name="Tijdelijke aanduiding voor verticale tekst 2">
            <a:extLst>
              <a:ext uri="{FF2B5EF4-FFF2-40B4-BE49-F238E27FC236}">
                <a16:creationId xmlns:a16="http://schemas.microsoft.com/office/drawing/2014/main" id="{416A12B1-AEC0-4EFE-B2A0-2EF8B86739E9}"/>
              </a:ext>
            </a:extLst>
          </p:cNvPr>
          <p:cNvSpPr>
            <a:spLocks noGrp="1"/>
          </p:cNvSpPr>
          <p:nvPr>
            <p:ph type="body" orient="vert" idx="89" hasCustomPrompt="1"/>
          </p:nvPr>
        </p:nvSpPr>
        <p:spPr>
          <a:xfrm>
            <a:off x="9185608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2" name="Tijdelijke aanduiding voor afbeelding 31">
            <a:extLst>
              <a:ext uri="{FF2B5EF4-FFF2-40B4-BE49-F238E27FC236}">
                <a16:creationId xmlns:a16="http://schemas.microsoft.com/office/drawing/2014/main" id="{A02ABF61-1E62-4C1D-98E4-D71576C67151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9185608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3" name="Tijdelijke aanduiding voor verticale tekst 2">
            <a:extLst>
              <a:ext uri="{FF2B5EF4-FFF2-40B4-BE49-F238E27FC236}">
                <a16:creationId xmlns:a16="http://schemas.microsoft.com/office/drawing/2014/main" id="{780E81C4-4C3D-4918-9B7E-5C13BDA880F3}"/>
              </a:ext>
            </a:extLst>
          </p:cNvPr>
          <p:cNvSpPr>
            <a:spLocks noGrp="1"/>
          </p:cNvSpPr>
          <p:nvPr>
            <p:ph type="body" orient="vert" idx="91" hasCustomPrompt="1"/>
          </p:nvPr>
        </p:nvSpPr>
        <p:spPr>
          <a:xfrm>
            <a:off x="10172206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4" name="Tijdelijke aanduiding voor afbeelding 31">
            <a:extLst>
              <a:ext uri="{FF2B5EF4-FFF2-40B4-BE49-F238E27FC236}">
                <a16:creationId xmlns:a16="http://schemas.microsoft.com/office/drawing/2014/main" id="{A11EEA0B-06CF-46E4-B49E-619F39CD8FCE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10172206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385" name="Tijdelijke aanduiding voor verticale tekst 2">
            <a:extLst>
              <a:ext uri="{FF2B5EF4-FFF2-40B4-BE49-F238E27FC236}">
                <a16:creationId xmlns:a16="http://schemas.microsoft.com/office/drawing/2014/main" id="{D3F3124F-387F-41B9-9AD4-17B8B8938093}"/>
              </a:ext>
            </a:extLst>
          </p:cNvPr>
          <p:cNvSpPr>
            <a:spLocks noGrp="1"/>
          </p:cNvSpPr>
          <p:nvPr>
            <p:ph type="body" orient="vert" idx="93" hasCustomPrompt="1"/>
          </p:nvPr>
        </p:nvSpPr>
        <p:spPr>
          <a:xfrm>
            <a:off x="11180033" y="4401306"/>
            <a:ext cx="828681" cy="123396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bIns="5400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386" name="Tijdelijke aanduiding voor afbeelding 31">
            <a:extLst>
              <a:ext uri="{FF2B5EF4-FFF2-40B4-BE49-F238E27FC236}">
                <a16:creationId xmlns:a16="http://schemas.microsoft.com/office/drawing/2014/main" id="{1666C2E9-EB03-4BE0-A719-C01BCB15744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11180033" y="4403452"/>
            <a:ext cx="828681" cy="8484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2312729-E02A-43BC-A267-1B37FDF68AD8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00941" y="2455939"/>
            <a:ext cx="1211263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8" name="Tijdelijke aanduiding voor tekst 7">
            <a:extLst>
              <a:ext uri="{FF2B5EF4-FFF2-40B4-BE49-F238E27FC236}">
                <a16:creationId xmlns:a16="http://schemas.microsoft.com/office/drawing/2014/main" id="{0F1BE2BF-85C1-4D56-96AA-702D436423AB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97541" y="4101385"/>
            <a:ext cx="1472007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  <p:sp>
        <p:nvSpPr>
          <p:cNvPr id="389" name="Tijdelijke aanduiding voor tekst 7">
            <a:extLst>
              <a:ext uri="{FF2B5EF4-FFF2-40B4-BE49-F238E27FC236}">
                <a16:creationId xmlns:a16="http://schemas.microsoft.com/office/drawing/2014/main" id="{4E575E57-AA1F-447B-B420-AA5E8340FD08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627025" y="971917"/>
            <a:ext cx="1491011" cy="218370"/>
          </a:xfrm>
        </p:spPr>
        <p:txBody>
          <a:bodyPr anchor="ctr"/>
          <a:lstStyle>
            <a:lvl1pPr marL="0" indent="0">
              <a:buNone/>
              <a:defRPr/>
            </a:lvl1pPr>
            <a:lvl4pPr>
              <a:defRPr sz="1400"/>
            </a:lvl4pPr>
          </a:lstStyle>
          <a:p>
            <a:pPr lvl="3"/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93248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3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3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75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75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75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75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3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2" grpId="0" animBg="1"/>
      <p:bldP spid="35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4" grpId="0" animBg="1"/>
      <p:bldP spid="35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6" grpId="0" animBg="1"/>
      <p:bldP spid="35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8" grpId="0" animBg="1"/>
      <p:bldP spid="35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0" grpId="0" animBg="1"/>
      <p:bldP spid="36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2" grpId="0" animBg="1"/>
      <p:bldP spid="36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4" grpId="0" animBg="1"/>
      <p:bldP spid="36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6" grpId="0" animBg="1"/>
      <p:bldP spid="36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8" grpId="0" animBg="1"/>
      <p:bldP spid="36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0" grpId="0" animBg="1"/>
      <p:bldP spid="37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2" grpId="0" animBg="1"/>
      <p:bldP spid="37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4" grpId="0" animBg="1"/>
      <p:bldP spid="37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6" grpId="0" animBg="1"/>
      <p:bldP spid="37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8" grpId="0" animBg="1"/>
      <p:bldP spid="379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0" grpId="0" animBg="1"/>
      <p:bldP spid="38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2" grpId="0" animBg="1"/>
      <p:bldP spid="383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4" grpId="0" animBg="1"/>
      <p:bldP spid="38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6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aangeslo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738"/>
            <a:ext cx="6096001" cy="644663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F9849-415E-44AF-87B9-ADAEFF451B68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‹#›</a:t>
            </a:fld>
            <a:endParaRPr lang="nl-NL"/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0% tekst + 50% afbeelding</a:t>
            </a:r>
          </a:p>
        </p:txBody>
      </p:sp>
      <p:sp>
        <p:nvSpPr>
          <p:cNvPr id="176" name="Tijdelijke aanduiding voor afbeelding 175">
            <a:extLst>
              <a:ext uri="{FF2B5EF4-FFF2-40B4-BE49-F238E27FC236}">
                <a16:creationId xmlns:a16="http://schemas.microsoft.com/office/drawing/2014/main" id="{7C5210DE-B7D5-45EB-AABB-494A14F33D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443898"/>
          </a:xfrm>
          <a:custGeom>
            <a:avLst/>
            <a:gdLst>
              <a:gd name="connsiteX0" fmla="*/ 0 w 6096000"/>
              <a:gd name="connsiteY0" fmla="*/ 0 h 6443898"/>
              <a:gd name="connsiteX1" fmla="*/ 196406 w 6096000"/>
              <a:gd name="connsiteY1" fmla="*/ 0 h 6443898"/>
              <a:gd name="connsiteX2" fmla="*/ 368300 w 6096000"/>
              <a:gd name="connsiteY2" fmla="*/ 0 h 6443898"/>
              <a:gd name="connsiteX3" fmla="*/ 424269 w 6096000"/>
              <a:gd name="connsiteY3" fmla="*/ 0 h 6443898"/>
              <a:gd name="connsiteX4" fmla="*/ 2786743 w 6096000"/>
              <a:gd name="connsiteY4" fmla="*/ 0 h 6443898"/>
              <a:gd name="connsiteX5" fmla="*/ 6096000 w 6096000"/>
              <a:gd name="connsiteY5" fmla="*/ 0 h 6443898"/>
              <a:gd name="connsiteX6" fmla="*/ 6092827 w 6096000"/>
              <a:gd name="connsiteY6" fmla="*/ 6283249 h 6443898"/>
              <a:gd name="connsiteX7" fmla="*/ 5018687 w 6096000"/>
              <a:gd name="connsiteY7" fmla="*/ 6283249 h 6443898"/>
              <a:gd name="connsiteX8" fmla="*/ 4401628 w 6096000"/>
              <a:gd name="connsiteY8" fmla="*/ 6443348 h 6443898"/>
              <a:gd name="connsiteX9" fmla="*/ 424269 w 6096000"/>
              <a:gd name="connsiteY9" fmla="*/ 6443891 h 6443898"/>
              <a:gd name="connsiteX10" fmla="*/ 424269 w 6096000"/>
              <a:gd name="connsiteY10" fmla="*/ 6443898 h 6443898"/>
              <a:gd name="connsiteX11" fmla="*/ 368300 w 6096000"/>
              <a:gd name="connsiteY11" fmla="*/ 6443898 h 6443898"/>
              <a:gd name="connsiteX12" fmla="*/ 196406 w 6096000"/>
              <a:gd name="connsiteY12" fmla="*/ 6443898 h 6443898"/>
              <a:gd name="connsiteX13" fmla="*/ 0 w 6096000"/>
              <a:gd name="connsiteY13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96000" h="6443898">
                <a:moveTo>
                  <a:pt x="0" y="0"/>
                </a:moveTo>
                <a:lnTo>
                  <a:pt x="196406" y="0"/>
                </a:lnTo>
                <a:lnTo>
                  <a:pt x="368300" y="0"/>
                </a:lnTo>
                <a:lnTo>
                  <a:pt x="424269" y="0"/>
                </a:lnTo>
                <a:lnTo>
                  <a:pt x="2786743" y="0"/>
                </a:lnTo>
                <a:lnTo>
                  <a:pt x="6096000" y="0"/>
                </a:lnTo>
                <a:cubicBezTo>
                  <a:pt x="6094942" y="2094416"/>
                  <a:pt x="6093885" y="4188833"/>
                  <a:pt x="6092827" y="6283249"/>
                </a:cubicBezTo>
                <a:lnTo>
                  <a:pt x="5018687" y="6283249"/>
                </a:lnTo>
                <a:lnTo>
                  <a:pt x="4401628" y="6443348"/>
                </a:lnTo>
                <a:lnTo>
                  <a:pt x="424269" y="6443891"/>
                </a:lnTo>
                <a:lnTo>
                  <a:pt x="424269" y="6443898"/>
                </a:lnTo>
                <a:lnTo>
                  <a:pt x="368300" y="6443898"/>
                </a:lnTo>
                <a:lnTo>
                  <a:pt x="196406" y="6443898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Tekststijl van het model bewerken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TEKST</a:t>
                </a:r>
                <a:r>
                  <a:rPr kumimoji="0" lang="nl-NL" sz="1400" b="1" i="0" u="none" strike="noStrike" kern="0" cap="all" spc="0" normalizeH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 NIVEAUS</a:t>
                </a:r>
                <a:endPara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b="0" noProof="0" dirty="0">
                    <a:solidFill>
                      <a:srgbClr val="FF3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marR="0" lvl="0" indent="-268288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marR="0" lvl="1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tx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ub-</a:t>
                </a:r>
                <a:r>
                  <a:rPr lang="nl-NL" sz="1100" kern="1200" noProof="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ullet</a:t>
                </a:r>
                <a:endParaRPr lang="nl-NL" sz="11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2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chemeClr val="accent3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3" indent="0" algn="l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300" b="1" kern="1200" noProof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4" indent="0" algn="l" defTabSz="914400" rtl="0" eaLnBrk="1" fontAlgn="auto" latinLnBrk="0" hangingPunct="1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1100" i="1" kern="1200" noProof="0" dirty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1" i="0" u="none" strike="noStrike" kern="0" cap="all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zie onderstaand voorbeeld).</a:t>
                </a:r>
                <a:endPara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eer de gewenste afbeelding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en klik op </a:t>
                </a: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voegen’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Dia herstellen´</a:t>
                </a:r>
                <a:r>
                  <a:rPr kumimoji="0" lang="nl-NL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nl-NL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 noProof="0"/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 noProof="0"/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80082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176" grpId="0" animBg="1"/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Feedback communicer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 dirty="0">
              <a:solidFill>
                <a:prstClr val="black"/>
              </a:solidFill>
            </a:endParaRPr>
          </a:p>
        </p:txBody>
      </p:sp>
      <p:sp>
        <p:nvSpPr>
          <p:cNvPr id="16" name="Rechthoek 15"/>
          <p:cNvSpPr/>
          <p:nvPr userDrawn="1"/>
        </p:nvSpPr>
        <p:spPr>
          <a:xfrm>
            <a:off x="701538" y="1700810"/>
            <a:ext cx="10800649" cy="435649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te klant,</a:t>
            </a: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j PPT Solutions communiceren we feedback met opmerkingen in PowerPoint.</a:t>
            </a: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nneer u feedback heeft wat betrekking heeft op een dia in de presentatie, ga dan naar de desbetreffende dia en volg de volgende stappen:</a:t>
            </a: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nl-NL" sz="100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ze stappen kunt u uitvoeren door de gehele presentatie en eventueel ook antwoord geven op onze communicatie via opmerkingen.</a:t>
            </a:r>
            <a:b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 volgende stappen kunt u uitvoeren om antwoord te geven op evt. opmerkingen of om naar de vorige/volgende opmerking in de presentatie te gaan:</a:t>
            </a: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6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Feedback communiceren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3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2267220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4838993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7" name="Rechthoek 36"/>
            <p:cNvSpPr/>
            <p:nvPr userDrawn="1"/>
          </p:nvSpPr>
          <p:spPr>
            <a:xfrm>
              <a:off x="0" y="277158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" name="Rechthoek 37"/>
            <p:cNvSpPr/>
            <p:nvPr userDrawn="1"/>
          </p:nvSpPr>
          <p:spPr>
            <a:xfrm>
              <a:off x="0" y="320061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" name="Rechthoek 38"/>
            <p:cNvSpPr/>
            <p:nvPr userDrawn="1"/>
          </p:nvSpPr>
          <p:spPr>
            <a:xfrm>
              <a:off x="0" y="3666199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8" name="Rechthoek 47"/>
            <p:cNvSpPr/>
            <p:nvPr userDrawn="1"/>
          </p:nvSpPr>
          <p:spPr>
            <a:xfrm>
              <a:off x="0" y="538020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4" y="692699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6A5"/>
                </a:solidFill>
                <a:latin typeface="Oswald" panose="02000503000000000000" pitchFamily="2" charset="0"/>
              </a:rPr>
              <a:t>Feedback communicatie</a:t>
            </a:r>
            <a:endParaRPr lang="en-US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  <p:grpSp>
        <p:nvGrpSpPr>
          <p:cNvPr id="67" name="Groep 66"/>
          <p:cNvGrpSpPr/>
          <p:nvPr userDrawn="1"/>
        </p:nvGrpSpPr>
        <p:grpSpPr>
          <a:xfrm>
            <a:off x="696791" y="2472284"/>
            <a:ext cx="9936052" cy="1694973"/>
            <a:chOff x="695521" y="2472279"/>
            <a:chExt cx="9917939" cy="1694973"/>
          </a:xfrm>
        </p:grpSpPr>
        <p:grpSp>
          <p:nvGrpSpPr>
            <p:cNvPr id="18" name="Groep 17"/>
            <p:cNvGrpSpPr/>
            <p:nvPr/>
          </p:nvGrpSpPr>
          <p:grpSpPr>
            <a:xfrm>
              <a:off x="695521" y="2477768"/>
              <a:ext cx="9917939" cy="1643724"/>
              <a:chOff x="607174" y="2060848"/>
              <a:chExt cx="9917939" cy="1643724"/>
            </a:xfrm>
          </p:grpSpPr>
          <p:sp>
            <p:nvSpPr>
              <p:cNvPr id="23" name="Tekstvak 22"/>
              <p:cNvSpPr txBox="1"/>
              <p:nvPr/>
            </p:nvSpPr>
            <p:spPr>
              <a:xfrm>
                <a:off x="1020057" y="2060849"/>
                <a:ext cx="4824536" cy="2654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a naar de tab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Invoegen’.</a:t>
                </a:r>
              </a:p>
            </p:txBody>
          </p:sp>
          <p:sp>
            <p:nvSpPr>
              <p:cNvPr id="24" name="Ovaal 23"/>
              <p:cNvSpPr/>
              <p:nvPr/>
            </p:nvSpPr>
            <p:spPr>
              <a:xfrm>
                <a:off x="607174" y="2060848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1</a:t>
                </a:r>
              </a:p>
            </p:txBody>
          </p:sp>
          <p:sp>
            <p:nvSpPr>
              <p:cNvPr id="25" name="Tekstvak 24"/>
              <p:cNvSpPr txBox="1"/>
              <p:nvPr/>
            </p:nvSpPr>
            <p:spPr>
              <a:xfrm>
                <a:off x="1020057" y="2483279"/>
                <a:ext cx="482453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Klik op de knop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Opmerking’.</a:t>
                </a:r>
              </a:p>
            </p:txBody>
          </p:sp>
          <p:sp>
            <p:nvSpPr>
              <p:cNvPr id="26" name="Ovaal 25"/>
              <p:cNvSpPr/>
              <p:nvPr/>
            </p:nvSpPr>
            <p:spPr>
              <a:xfrm>
                <a:off x="607174" y="2488475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</a:t>
                </a:r>
              </a:p>
            </p:txBody>
          </p:sp>
          <p:sp>
            <p:nvSpPr>
              <p:cNvPr id="27" name="Tekstvak 26"/>
              <p:cNvSpPr txBox="1"/>
              <p:nvPr/>
            </p:nvSpPr>
            <p:spPr>
              <a:xfrm>
                <a:off x="1020057" y="2931615"/>
                <a:ext cx="95050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r verschijnt nu een klein spreekwolkje op de slide en het venster voor opmerkingen opent zich aan de zijkant.</a:t>
                </a:r>
              </a:p>
              <a:p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yp uw feedback in het tekst vak in het venster voor opmerkingen.</a:t>
                </a:r>
              </a:p>
            </p:txBody>
          </p:sp>
          <p:sp>
            <p:nvSpPr>
              <p:cNvPr id="28" name="Ovaal 27"/>
              <p:cNvSpPr/>
              <p:nvPr/>
            </p:nvSpPr>
            <p:spPr>
              <a:xfrm>
                <a:off x="607174" y="291608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3</a:t>
                </a:r>
              </a:p>
            </p:txBody>
          </p:sp>
          <p:sp>
            <p:nvSpPr>
              <p:cNvPr id="29" name="Tekstvak 28"/>
              <p:cNvSpPr txBox="1"/>
              <p:nvPr/>
            </p:nvSpPr>
            <p:spPr>
              <a:xfrm>
                <a:off x="1020057" y="3416540"/>
                <a:ext cx="72936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u dit gedaan heeft, kunt u het spreekwolkje op de juiste plaats op de dia slepen. 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Zo is het voor ons duidelijk op welk deel van de content, op de dia, uw feedback betrekking heeft.</a:t>
                </a:r>
              </a:p>
            </p:txBody>
          </p:sp>
          <p:sp>
            <p:nvSpPr>
              <p:cNvPr id="30" name="Ovaal 29"/>
              <p:cNvSpPr/>
              <p:nvPr/>
            </p:nvSpPr>
            <p:spPr>
              <a:xfrm>
                <a:off x="607174" y="341654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4</a:t>
                </a:r>
              </a:p>
            </p:txBody>
          </p:sp>
        </p:grpSp>
        <p:pic>
          <p:nvPicPr>
            <p:cNvPr id="51" name="Afbeelding 5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2913" y="2472279"/>
              <a:ext cx="1822207" cy="26537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2" name="Afbeelding 51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92913" y="2840765"/>
              <a:ext cx="432050" cy="376815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6" name="Afbeelding 55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2793592"/>
              <a:ext cx="2144324" cy="880792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8" name="Afbeelding 57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3767202"/>
              <a:ext cx="419100" cy="40005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grpSp>
        <p:nvGrpSpPr>
          <p:cNvPr id="66" name="Groep 65"/>
          <p:cNvGrpSpPr/>
          <p:nvPr userDrawn="1"/>
        </p:nvGrpSpPr>
        <p:grpSpPr>
          <a:xfrm>
            <a:off x="691993" y="4957010"/>
            <a:ext cx="10940891" cy="992294"/>
            <a:chOff x="690732" y="4957010"/>
            <a:chExt cx="10920946" cy="992294"/>
          </a:xfrm>
        </p:grpSpPr>
        <p:grpSp>
          <p:nvGrpSpPr>
            <p:cNvPr id="41" name="Groep 40"/>
            <p:cNvGrpSpPr/>
            <p:nvPr/>
          </p:nvGrpSpPr>
          <p:grpSpPr>
            <a:xfrm>
              <a:off x="690732" y="5052264"/>
              <a:ext cx="10920946" cy="807860"/>
              <a:chOff x="612279" y="4917797"/>
              <a:chExt cx="10920946" cy="807860"/>
            </a:xfrm>
          </p:grpSpPr>
          <p:sp>
            <p:nvSpPr>
              <p:cNvPr id="44" name="Tekstvak 43"/>
              <p:cNvSpPr txBox="1"/>
              <p:nvPr/>
            </p:nvSpPr>
            <p:spPr>
              <a:xfrm>
                <a:off x="1020057" y="4933332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en u een opmerking van PPT Solutions ziet staan, Kunt u antwoorden door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nder de opmerking, waar een tekst vak staat met de beschrijving ‘Beantwoorden’, uw antwoord te typen.</a:t>
                </a:r>
              </a:p>
            </p:txBody>
          </p:sp>
          <p:sp>
            <p:nvSpPr>
              <p:cNvPr id="45" name="Ovaal 44"/>
              <p:cNvSpPr/>
              <p:nvPr/>
            </p:nvSpPr>
            <p:spPr>
              <a:xfrm>
                <a:off x="612279" y="4917797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</a:t>
                </a:r>
              </a:p>
            </p:txBody>
          </p:sp>
          <p:sp>
            <p:nvSpPr>
              <p:cNvPr id="46" name="Tekstvak 45"/>
              <p:cNvSpPr txBox="1"/>
              <p:nvPr/>
            </p:nvSpPr>
            <p:spPr>
              <a:xfrm>
                <a:off x="1020057" y="5437625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zijn in de rechter bovenhoek twee knopjes zichtbaar.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et het linker knopje gaat u naar de vorige opmerking in de presentatie en met het rechter knopje gaat u naar de volgende.</a:t>
                </a:r>
              </a:p>
            </p:txBody>
          </p:sp>
          <p:sp>
            <p:nvSpPr>
              <p:cNvPr id="47" name="Ovaal 46"/>
              <p:cNvSpPr/>
              <p:nvPr/>
            </p:nvSpPr>
            <p:spPr>
              <a:xfrm>
                <a:off x="612279" y="542209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prstClr val="whit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B</a:t>
                </a:r>
              </a:p>
            </p:txBody>
          </p:sp>
        </p:grpSp>
        <p:pic>
          <p:nvPicPr>
            <p:cNvPr id="63" name="Afbeelding 62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21581" y="4957010"/>
              <a:ext cx="1677516" cy="529469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65" name="Afbeelding 64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21580" y="5568546"/>
              <a:ext cx="673648" cy="380758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sp>
        <p:nvSpPr>
          <p:cNvPr id="43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A78"/>
              </a:buClr>
              <a:buFont typeface="Courier New" panose="02070309020205020404" pitchFamily="49" charset="0"/>
              <a:buNone/>
            </a:pPr>
            <a:endParaRPr dirty="0">
              <a:solidFill>
                <a:prstClr val="white"/>
              </a:solidFill>
            </a:endParaRPr>
          </a:p>
        </p:txBody>
      </p:sp>
      <p:cxnSp>
        <p:nvCxnSpPr>
          <p:cNvPr id="42" name="Rechte verbindingslijn 41"/>
          <p:cNvCxnSpPr>
            <a:cxnSpLocks/>
          </p:cNvCxnSpPr>
          <p:nvPr userDrawn="1"/>
        </p:nvCxnSpPr>
        <p:spPr>
          <a:xfrm>
            <a:off x="693964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Vrije vorm 308"/>
          <p:cNvSpPr/>
          <p:nvPr userDrawn="1"/>
        </p:nvSpPr>
        <p:spPr>
          <a:xfrm>
            <a:off x="11056397" y="692698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56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Video instructi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hthoek 10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 dirty="0">
              <a:solidFill>
                <a:prstClr val="black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6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Video instructies - YouTube links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3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4" y="692699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6A5"/>
                </a:solidFill>
                <a:latin typeface="Oswald" panose="02000503000000000000" pitchFamily="2" charset="0"/>
              </a:rPr>
              <a:t>Video instructies – YouTube links</a:t>
            </a:r>
          </a:p>
        </p:txBody>
      </p:sp>
      <p:cxnSp>
        <p:nvCxnSpPr>
          <p:cNvPr id="49" name="Rechte verbindingslijn 48"/>
          <p:cNvCxnSpPr/>
          <p:nvPr userDrawn="1"/>
        </p:nvCxnSpPr>
        <p:spPr>
          <a:xfrm>
            <a:off x="3394123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echte verbindingslijn 49"/>
          <p:cNvCxnSpPr/>
          <p:nvPr userDrawn="1"/>
        </p:nvCxnSpPr>
        <p:spPr>
          <a:xfrm>
            <a:off x="6094285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chte verbindingslijn 58"/>
          <p:cNvCxnSpPr>
            <a:cxnSpLocks/>
          </p:cNvCxnSpPr>
          <p:nvPr userDrawn="1"/>
        </p:nvCxnSpPr>
        <p:spPr>
          <a:xfrm flipH="1">
            <a:off x="672270" y="3879057"/>
            <a:ext cx="8122180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H2">
            <a:hlinkClick r:id="" action="ppaction://noaction"/>
          </p:cNvPr>
          <p:cNvSpPr txBox="1"/>
          <p:nvPr userDrawn="1"/>
        </p:nvSpPr>
        <p:spPr>
          <a:xfrm>
            <a:off x="1031409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Tekst Niveau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hM16rifWsjU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2" name="H2">
            <a:hlinkClick r:id="" action="ppaction://noaction"/>
          </p:cNvPr>
          <p:cNvSpPr txBox="1"/>
          <p:nvPr userDrawn="1"/>
        </p:nvSpPr>
        <p:spPr>
          <a:xfrm>
            <a:off x="3781123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Afbeeldingen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09yTK-OTEPA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3" name="H2">
            <a:hlinkClick r:id="" action="ppaction://noaction"/>
          </p:cNvPr>
          <p:cNvSpPr txBox="1"/>
          <p:nvPr userDrawn="1"/>
        </p:nvSpPr>
        <p:spPr>
          <a:xfrm>
            <a:off x="6481285" y="2742907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Grafieken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fbByse1_RSY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79" name="Grafiek icoon"/>
          <p:cNvGrpSpPr/>
          <p:nvPr userDrawn="1"/>
        </p:nvGrpSpPr>
        <p:grpSpPr>
          <a:xfrm>
            <a:off x="7264959" y="2184006"/>
            <a:ext cx="358817" cy="389873"/>
            <a:chOff x="12468049" y="1754144"/>
            <a:chExt cx="339072" cy="369091"/>
          </a:xfrm>
        </p:grpSpPr>
        <p:sp>
          <p:nvSpPr>
            <p:cNvPr id="80" name="Rechthoek 79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81" name="Rechthoek 80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82" name="Rechthoek 8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</p:grpSp>
      <p:sp>
        <p:nvSpPr>
          <p:cNvPr id="83" name="H2">
            <a:hlinkClick r:id="" action="ppaction://noaction"/>
          </p:cNvPr>
          <p:cNvSpPr txBox="1"/>
          <p:nvPr userDrawn="1"/>
        </p:nvSpPr>
        <p:spPr>
          <a:xfrm>
            <a:off x="1066307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Tabellen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IIjbiKAotek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4" name="H2">
            <a:hlinkClick r:id="" action="ppaction://noaction"/>
          </p:cNvPr>
          <p:cNvSpPr txBox="1"/>
          <p:nvPr userDrawn="1"/>
        </p:nvSpPr>
        <p:spPr>
          <a:xfrm>
            <a:off x="3816022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e:</a:t>
            </a:r>
            <a:br>
              <a:rPr lang="nl-NL" sz="1200" dirty="0">
                <a:solidFill>
                  <a:srgbClr val="002C51"/>
                </a:solidFill>
                <a:latin typeface="Oswald" panose="02000503000000000000" pitchFamily="2" charset="0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Werken met Video’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H_4HH09zxC0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5" name="H2">
            <a:hlinkClick r:id="" action="ppaction://noaction"/>
          </p:cNvPr>
          <p:cNvSpPr txBox="1"/>
          <p:nvPr userDrawn="1"/>
        </p:nvSpPr>
        <p:spPr>
          <a:xfrm>
            <a:off x="6516183" y="4962341"/>
            <a:ext cx="1970671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nl-NL" sz="1200" dirty="0">
              <a:solidFill>
                <a:srgbClr val="002C51"/>
              </a:solidFill>
              <a:latin typeface="Gill Sans M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200" dirty="0">
                <a:solidFill>
                  <a:srgbClr val="008A78"/>
                </a:solidFill>
                <a:latin typeface="Gill Sans MT"/>
              </a:rPr>
              <a:t> </a:t>
            </a:r>
            <a:br>
              <a:rPr lang="nl-NL" sz="1200" dirty="0">
                <a:solidFill>
                  <a:srgbClr val="002C51"/>
                </a:solidFill>
                <a:latin typeface="Gill Sans MT"/>
              </a:rPr>
            </a:br>
            <a:r>
              <a:rPr lang="nl-NL" sz="1200" dirty="0">
                <a:solidFill>
                  <a:srgbClr val="44546A"/>
                </a:solidFill>
                <a:latin typeface="Oswald" panose="02000503000000000000" pitchFamily="2" charset="0"/>
              </a:rPr>
              <a:t>Meer Tips &amp; Trick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7"/>
              </a:rPr>
              <a:t>www.pptsolutions.nl</a:t>
            </a:r>
            <a:r>
              <a:rPr lang="nl-NL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86" name="Tabel icoon"/>
          <p:cNvGrpSpPr/>
          <p:nvPr userDrawn="1"/>
        </p:nvGrpSpPr>
        <p:grpSpPr>
          <a:xfrm>
            <a:off x="1808090" y="4385928"/>
            <a:ext cx="447825" cy="403759"/>
            <a:chOff x="6072040" y="3376043"/>
            <a:chExt cx="1227920" cy="1109109"/>
          </a:xfrm>
        </p:grpSpPr>
        <p:sp>
          <p:nvSpPr>
            <p:cNvPr id="87" name="Rechthoek 86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88" name="Rechthoek 87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cxnSp>
          <p:nvCxnSpPr>
            <p:cNvPr id="89" name="Rechte verbindingslijn 88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Rechte verbindingslijn 89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Rechte verbindingslijn 90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Rechte verbindingslijn 91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Rechte verbindingslijn 92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hthoek 93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7" name="Video icoon"/>
          <p:cNvGrpSpPr/>
          <p:nvPr userDrawn="1"/>
        </p:nvGrpSpPr>
        <p:grpSpPr>
          <a:xfrm>
            <a:off x="4603376" y="4392451"/>
            <a:ext cx="401285" cy="403079"/>
            <a:chOff x="8066315" y="1676399"/>
            <a:chExt cx="1371600" cy="1380253"/>
          </a:xfrm>
        </p:grpSpPr>
        <p:sp>
          <p:nvSpPr>
            <p:cNvPr id="98" name="Rechthoek 97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99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  <p:sp>
          <p:nvSpPr>
            <p:cNvPr id="100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prstClr val="white"/>
                </a:solidFill>
              </a:endParaRPr>
            </a:p>
          </p:txBody>
        </p:sp>
      </p:grpSp>
      <p:sp>
        <p:nvSpPr>
          <p:cNvPr id="101" name="Freeform 17"/>
          <p:cNvSpPr>
            <a:spLocks noEditPoints="1"/>
          </p:cNvSpPr>
          <p:nvPr userDrawn="1"/>
        </p:nvSpPr>
        <p:spPr bwMode="auto">
          <a:xfrm>
            <a:off x="7294862" y="4392446"/>
            <a:ext cx="409961" cy="409214"/>
          </a:xfrm>
          <a:custGeom>
            <a:avLst/>
            <a:gdLst>
              <a:gd name="T0" fmla="*/ 281 w 445"/>
              <a:gd name="T1" fmla="*/ 374 h 445"/>
              <a:gd name="T2" fmla="*/ 320 w 445"/>
              <a:gd name="T3" fmla="*/ 366 h 445"/>
              <a:gd name="T4" fmla="*/ 297 w 445"/>
              <a:gd name="T5" fmla="*/ 330 h 445"/>
              <a:gd name="T6" fmla="*/ 98 w 445"/>
              <a:gd name="T7" fmla="*/ 344 h 445"/>
              <a:gd name="T8" fmla="*/ 175 w 445"/>
              <a:gd name="T9" fmla="*/ 390 h 445"/>
              <a:gd name="T10" fmla="*/ 147 w 445"/>
              <a:gd name="T11" fmla="*/ 329 h 445"/>
              <a:gd name="T12" fmla="*/ 171 w 445"/>
              <a:gd name="T13" fmla="*/ 324 h 445"/>
              <a:gd name="T14" fmla="*/ 200 w 445"/>
              <a:gd name="T15" fmla="*/ 384 h 445"/>
              <a:gd name="T16" fmla="*/ 234 w 445"/>
              <a:gd name="T17" fmla="*/ 392 h 445"/>
              <a:gd name="T18" fmla="*/ 265 w 445"/>
              <a:gd name="T19" fmla="*/ 349 h 445"/>
              <a:gd name="T20" fmla="*/ 310 w 445"/>
              <a:gd name="T21" fmla="*/ 232 h 445"/>
              <a:gd name="T22" fmla="*/ 306 w 445"/>
              <a:gd name="T23" fmla="*/ 290 h 445"/>
              <a:gd name="T24" fmla="*/ 358 w 445"/>
              <a:gd name="T25" fmla="*/ 330 h 445"/>
              <a:gd name="T26" fmla="*/ 393 w 445"/>
              <a:gd name="T27" fmla="*/ 260 h 445"/>
              <a:gd name="T28" fmla="*/ 159 w 445"/>
              <a:gd name="T29" fmla="*/ 232 h 445"/>
              <a:gd name="T30" fmla="*/ 201 w 445"/>
              <a:gd name="T31" fmla="*/ 295 h 445"/>
              <a:gd name="T32" fmla="*/ 284 w 445"/>
              <a:gd name="T33" fmla="*/ 268 h 445"/>
              <a:gd name="T34" fmla="*/ 48 w 445"/>
              <a:gd name="T35" fmla="*/ 232 h 445"/>
              <a:gd name="T36" fmla="*/ 62 w 445"/>
              <a:gd name="T37" fmla="*/ 292 h 445"/>
              <a:gd name="T38" fmla="*/ 98 w 445"/>
              <a:gd name="T39" fmla="*/ 317 h 445"/>
              <a:gd name="T40" fmla="*/ 139 w 445"/>
              <a:gd name="T41" fmla="*/ 281 h 445"/>
              <a:gd name="T42" fmla="*/ 48 w 445"/>
              <a:gd name="T43" fmla="*/ 232 h 445"/>
              <a:gd name="T44" fmla="*/ 223 w 445"/>
              <a:gd name="T45" fmla="*/ 148 h 445"/>
              <a:gd name="T46" fmla="*/ 162 w 445"/>
              <a:gd name="T47" fmla="*/ 173 h 445"/>
              <a:gd name="T48" fmla="*/ 284 w 445"/>
              <a:gd name="T49" fmla="*/ 173 h 445"/>
              <a:gd name="T50" fmla="*/ 69 w 445"/>
              <a:gd name="T51" fmla="*/ 138 h 445"/>
              <a:gd name="T52" fmla="*/ 48 w 445"/>
              <a:gd name="T53" fmla="*/ 208 h 445"/>
              <a:gd name="T54" fmla="*/ 143 w 445"/>
              <a:gd name="T55" fmla="*/ 137 h 445"/>
              <a:gd name="T56" fmla="*/ 82 w 445"/>
              <a:gd name="T57" fmla="*/ 117 h 445"/>
              <a:gd name="T58" fmla="*/ 302 w 445"/>
              <a:gd name="T59" fmla="*/ 136 h 445"/>
              <a:gd name="T60" fmla="*/ 396 w 445"/>
              <a:gd name="T61" fmla="*/ 208 h 445"/>
              <a:gd name="T62" fmla="*/ 373 w 445"/>
              <a:gd name="T63" fmla="*/ 133 h 445"/>
              <a:gd name="T64" fmla="*/ 281 w 445"/>
              <a:gd name="T65" fmla="*/ 71 h 445"/>
              <a:gd name="T66" fmla="*/ 319 w 445"/>
              <a:gd name="T67" fmla="*/ 105 h 445"/>
              <a:gd name="T68" fmla="*/ 296 w 445"/>
              <a:gd name="T69" fmla="*/ 64 h 445"/>
              <a:gd name="T70" fmla="*/ 146 w 445"/>
              <a:gd name="T71" fmla="*/ 65 h 445"/>
              <a:gd name="T72" fmla="*/ 121 w 445"/>
              <a:gd name="T73" fmla="*/ 108 h 445"/>
              <a:gd name="T74" fmla="*/ 165 w 445"/>
              <a:gd name="T75" fmla="*/ 72 h 445"/>
              <a:gd name="T76" fmla="*/ 212 w 445"/>
              <a:gd name="T77" fmla="*/ 52 h 445"/>
              <a:gd name="T78" fmla="*/ 180 w 445"/>
              <a:gd name="T79" fmla="*/ 96 h 445"/>
              <a:gd name="T80" fmla="*/ 238 w 445"/>
              <a:gd name="T81" fmla="*/ 124 h 445"/>
              <a:gd name="T82" fmla="*/ 255 w 445"/>
              <a:gd name="T83" fmla="*/ 75 h 445"/>
              <a:gd name="T84" fmla="*/ 223 w 445"/>
              <a:gd name="T85" fmla="*/ 49 h 445"/>
              <a:gd name="T86" fmla="*/ 293 w 445"/>
              <a:gd name="T87" fmla="*/ 11 h 445"/>
              <a:gd name="T88" fmla="*/ 380 w 445"/>
              <a:gd name="T89" fmla="*/ 65 h 445"/>
              <a:gd name="T90" fmla="*/ 433 w 445"/>
              <a:gd name="T91" fmla="*/ 151 h 445"/>
              <a:gd name="T92" fmla="*/ 442 w 445"/>
              <a:gd name="T93" fmla="*/ 258 h 445"/>
              <a:gd name="T94" fmla="*/ 402 w 445"/>
              <a:gd name="T95" fmla="*/ 353 h 445"/>
              <a:gd name="T96" fmla="*/ 325 w 445"/>
              <a:gd name="T97" fmla="*/ 420 h 445"/>
              <a:gd name="T98" fmla="*/ 223 w 445"/>
              <a:gd name="T99" fmla="*/ 445 h 445"/>
              <a:gd name="T100" fmla="*/ 120 w 445"/>
              <a:gd name="T101" fmla="*/ 420 h 445"/>
              <a:gd name="T102" fmla="*/ 43 w 445"/>
              <a:gd name="T103" fmla="*/ 353 h 445"/>
              <a:gd name="T104" fmla="*/ 2 w 445"/>
              <a:gd name="T105" fmla="*/ 258 h 445"/>
              <a:gd name="T106" fmla="*/ 11 w 445"/>
              <a:gd name="T107" fmla="*/ 151 h 445"/>
              <a:gd name="T108" fmla="*/ 66 w 445"/>
              <a:gd name="T109" fmla="*/ 65 h 445"/>
              <a:gd name="T110" fmla="*/ 152 w 445"/>
              <a:gd name="T111" fmla="*/ 11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45" h="445">
                <a:moveTo>
                  <a:pt x="297" y="330"/>
                </a:moveTo>
                <a:lnTo>
                  <a:pt x="289" y="353"/>
                </a:lnTo>
                <a:lnTo>
                  <a:pt x="281" y="374"/>
                </a:lnTo>
                <a:lnTo>
                  <a:pt x="270" y="390"/>
                </a:lnTo>
                <a:lnTo>
                  <a:pt x="296" y="380"/>
                </a:lnTo>
                <a:lnTo>
                  <a:pt x="320" y="366"/>
                </a:lnTo>
                <a:lnTo>
                  <a:pt x="342" y="350"/>
                </a:lnTo>
                <a:lnTo>
                  <a:pt x="319" y="339"/>
                </a:lnTo>
                <a:lnTo>
                  <a:pt x="297" y="330"/>
                </a:lnTo>
                <a:close/>
                <a:moveTo>
                  <a:pt x="147" y="329"/>
                </a:moveTo>
                <a:lnTo>
                  <a:pt x="120" y="337"/>
                </a:lnTo>
                <a:lnTo>
                  <a:pt x="98" y="344"/>
                </a:lnTo>
                <a:lnTo>
                  <a:pt x="121" y="364"/>
                </a:lnTo>
                <a:lnTo>
                  <a:pt x="146" y="379"/>
                </a:lnTo>
                <a:lnTo>
                  <a:pt x="175" y="390"/>
                </a:lnTo>
                <a:lnTo>
                  <a:pt x="165" y="373"/>
                </a:lnTo>
                <a:lnTo>
                  <a:pt x="155" y="352"/>
                </a:lnTo>
                <a:lnTo>
                  <a:pt x="147" y="329"/>
                </a:lnTo>
                <a:close/>
                <a:moveTo>
                  <a:pt x="238" y="320"/>
                </a:moveTo>
                <a:lnTo>
                  <a:pt x="203" y="320"/>
                </a:lnTo>
                <a:lnTo>
                  <a:pt x="171" y="324"/>
                </a:lnTo>
                <a:lnTo>
                  <a:pt x="180" y="349"/>
                </a:lnTo>
                <a:lnTo>
                  <a:pt x="190" y="368"/>
                </a:lnTo>
                <a:lnTo>
                  <a:pt x="200" y="384"/>
                </a:lnTo>
                <a:lnTo>
                  <a:pt x="212" y="392"/>
                </a:lnTo>
                <a:lnTo>
                  <a:pt x="223" y="396"/>
                </a:lnTo>
                <a:lnTo>
                  <a:pt x="234" y="392"/>
                </a:lnTo>
                <a:lnTo>
                  <a:pt x="245" y="384"/>
                </a:lnTo>
                <a:lnTo>
                  <a:pt x="255" y="368"/>
                </a:lnTo>
                <a:lnTo>
                  <a:pt x="265" y="349"/>
                </a:lnTo>
                <a:lnTo>
                  <a:pt x="273" y="325"/>
                </a:lnTo>
                <a:lnTo>
                  <a:pt x="238" y="320"/>
                </a:lnTo>
                <a:close/>
                <a:moveTo>
                  <a:pt x="310" y="232"/>
                </a:moveTo>
                <a:lnTo>
                  <a:pt x="309" y="254"/>
                </a:lnTo>
                <a:lnTo>
                  <a:pt x="308" y="272"/>
                </a:lnTo>
                <a:lnTo>
                  <a:pt x="306" y="290"/>
                </a:lnTo>
                <a:lnTo>
                  <a:pt x="302" y="306"/>
                </a:lnTo>
                <a:lnTo>
                  <a:pt x="331" y="316"/>
                </a:lnTo>
                <a:lnTo>
                  <a:pt x="358" y="330"/>
                </a:lnTo>
                <a:lnTo>
                  <a:pt x="373" y="308"/>
                </a:lnTo>
                <a:lnTo>
                  <a:pt x="385" y="285"/>
                </a:lnTo>
                <a:lnTo>
                  <a:pt x="393" y="260"/>
                </a:lnTo>
                <a:lnTo>
                  <a:pt x="396" y="232"/>
                </a:lnTo>
                <a:lnTo>
                  <a:pt x="310" y="232"/>
                </a:lnTo>
                <a:close/>
                <a:moveTo>
                  <a:pt x="159" y="232"/>
                </a:moveTo>
                <a:lnTo>
                  <a:pt x="162" y="267"/>
                </a:lnTo>
                <a:lnTo>
                  <a:pt x="166" y="299"/>
                </a:lnTo>
                <a:lnTo>
                  <a:pt x="201" y="295"/>
                </a:lnTo>
                <a:lnTo>
                  <a:pt x="239" y="295"/>
                </a:lnTo>
                <a:lnTo>
                  <a:pt x="278" y="301"/>
                </a:lnTo>
                <a:lnTo>
                  <a:pt x="284" y="268"/>
                </a:lnTo>
                <a:lnTo>
                  <a:pt x="286" y="232"/>
                </a:lnTo>
                <a:lnTo>
                  <a:pt x="159" y="232"/>
                </a:lnTo>
                <a:close/>
                <a:moveTo>
                  <a:pt x="48" y="232"/>
                </a:moveTo>
                <a:lnTo>
                  <a:pt x="50" y="255"/>
                </a:lnTo>
                <a:lnTo>
                  <a:pt x="56" y="275"/>
                </a:lnTo>
                <a:lnTo>
                  <a:pt x="62" y="292"/>
                </a:lnTo>
                <a:lnTo>
                  <a:pt x="71" y="308"/>
                </a:lnTo>
                <a:lnTo>
                  <a:pt x="82" y="324"/>
                </a:lnTo>
                <a:lnTo>
                  <a:pt x="98" y="317"/>
                </a:lnTo>
                <a:lnTo>
                  <a:pt x="119" y="311"/>
                </a:lnTo>
                <a:lnTo>
                  <a:pt x="142" y="304"/>
                </a:lnTo>
                <a:lnTo>
                  <a:pt x="139" y="281"/>
                </a:lnTo>
                <a:lnTo>
                  <a:pt x="137" y="257"/>
                </a:lnTo>
                <a:lnTo>
                  <a:pt x="135" y="232"/>
                </a:lnTo>
                <a:lnTo>
                  <a:pt x="48" y="232"/>
                </a:lnTo>
                <a:close/>
                <a:moveTo>
                  <a:pt x="278" y="141"/>
                </a:moveTo>
                <a:lnTo>
                  <a:pt x="250" y="146"/>
                </a:lnTo>
                <a:lnTo>
                  <a:pt x="223" y="148"/>
                </a:lnTo>
                <a:lnTo>
                  <a:pt x="193" y="146"/>
                </a:lnTo>
                <a:lnTo>
                  <a:pt x="166" y="143"/>
                </a:lnTo>
                <a:lnTo>
                  <a:pt x="162" y="173"/>
                </a:lnTo>
                <a:lnTo>
                  <a:pt x="159" y="208"/>
                </a:lnTo>
                <a:lnTo>
                  <a:pt x="286" y="208"/>
                </a:lnTo>
                <a:lnTo>
                  <a:pt x="284" y="173"/>
                </a:lnTo>
                <a:lnTo>
                  <a:pt x="278" y="141"/>
                </a:lnTo>
                <a:close/>
                <a:moveTo>
                  <a:pt x="82" y="117"/>
                </a:moveTo>
                <a:lnTo>
                  <a:pt x="69" y="138"/>
                </a:lnTo>
                <a:lnTo>
                  <a:pt x="59" y="160"/>
                </a:lnTo>
                <a:lnTo>
                  <a:pt x="51" y="184"/>
                </a:lnTo>
                <a:lnTo>
                  <a:pt x="48" y="208"/>
                </a:lnTo>
                <a:lnTo>
                  <a:pt x="135" y="208"/>
                </a:lnTo>
                <a:lnTo>
                  <a:pt x="138" y="172"/>
                </a:lnTo>
                <a:lnTo>
                  <a:pt x="143" y="137"/>
                </a:lnTo>
                <a:lnTo>
                  <a:pt x="119" y="131"/>
                </a:lnTo>
                <a:lnTo>
                  <a:pt x="99" y="124"/>
                </a:lnTo>
                <a:lnTo>
                  <a:pt x="82" y="117"/>
                </a:lnTo>
                <a:close/>
                <a:moveTo>
                  <a:pt x="358" y="111"/>
                </a:moveTo>
                <a:lnTo>
                  <a:pt x="331" y="125"/>
                </a:lnTo>
                <a:lnTo>
                  <a:pt x="302" y="136"/>
                </a:lnTo>
                <a:lnTo>
                  <a:pt x="308" y="171"/>
                </a:lnTo>
                <a:lnTo>
                  <a:pt x="310" y="208"/>
                </a:lnTo>
                <a:lnTo>
                  <a:pt x="396" y="208"/>
                </a:lnTo>
                <a:lnTo>
                  <a:pt x="393" y="183"/>
                </a:lnTo>
                <a:lnTo>
                  <a:pt x="385" y="158"/>
                </a:lnTo>
                <a:lnTo>
                  <a:pt x="373" y="133"/>
                </a:lnTo>
                <a:lnTo>
                  <a:pt x="358" y="111"/>
                </a:lnTo>
                <a:close/>
                <a:moveTo>
                  <a:pt x="270" y="54"/>
                </a:moveTo>
                <a:lnTo>
                  <a:pt x="281" y="71"/>
                </a:lnTo>
                <a:lnTo>
                  <a:pt x="289" y="90"/>
                </a:lnTo>
                <a:lnTo>
                  <a:pt x="297" y="113"/>
                </a:lnTo>
                <a:lnTo>
                  <a:pt x="319" y="105"/>
                </a:lnTo>
                <a:lnTo>
                  <a:pt x="342" y="95"/>
                </a:lnTo>
                <a:lnTo>
                  <a:pt x="320" y="77"/>
                </a:lnTo>
                <a:lnTo>
                  <a:pt x="296" y="64"/>
                </a:lnTo>
                <a:lnTo>
                  <a:pt x="270" y="54"/>
                </a:lnTo>
                <a:close/>
                <a:moveTo>
                  <a:pt x="175" y="54"/>
                </a:moveTo>
                <a:lnTo>
                  <a:pt x="146" y="65"/>
                </a:lnTo>
                <a:lnTo>
                  <a:pt x="121" y="80"/>
                </a:lnTo>
                <a:lnTo>
                  <a:pt x="98" y="99"/>
                </a:lnTo>
                <a:lnTo>
                  <a:pt x="121" y="108"/>
                </a:lnTo>
                <a:lnTo>
                  <a:pt x="149" y="115"/>
                </a:lnTo>
                <a:lnTo>
                  <a:pt x="155" y="91"/>
                </a:lnTo>
                <a:lnTo>
                  <a:pt x="165" y="72"/>
                </a:lnTo>
                <a:lnTo>
                  <a:pt x="175" y="54"/>
                </a:lnTo>
                <a:close/>
                <a:moveTo>
                  <a:pt x="223" y="49"/>
                </a:moveTo>
                <a:lnTo>
                  <a:pt x="212" y="52"/>
                </a:lnTo>
                <a:lnTo>
                  <a:pt x="200" y="61"/>
                </a:lnTo>
                <a:lnTo>
                  <a:pt x="190" y="75"/>
                </a:lnTo>
                <a:lnTo>
                  <a:pt x="180" y="96"/>
                </a:lnTo>
                <a:lnTo>
                  <a:pt x="171" y="120"/>
                </a:lnTo>
                <a:lnTo>
                  <a:pt x="203" y="124"/>
                </a:lnTo>
                <a:lnTo>
                  <a:pt x="238" y="124"/>
                </a:lnTo>
                <a:lnTo>
                  <a:pt x="273" y="120"/>
                </a:lnTo>
                <a:lnTo>
                  <a:pt x="265" y="95"/>
                </a:lnTo>
                <a:lnTo>
                  <a:pt x="255" y="75"/>
                </a:lnTo>
                <a:lnTo>
                  <a:pt x="245" y="61"/>
                </a:lnTo>
                <a:lnTo>
                  <a:pt x="234" y="52"/>
                </a:lnTo>
                <a:lnTo>
                  <a:pt x="223" y="49"/>
                </a:lnTo>
                <a:close/>
                <a:moveTo>
                  <a:pt x="223" y="0"/>
                </a:moveTo>
                <a:lnTo>
                  <a:pt x="259" y="3"/>
                </a:lnTo>
                <a:lnTo>
                  <a:pt x="293" y="11"/>
                </a:lnTo>
                <a:lnTo>
                  <a:pt x="325" y="25"/>
                </a:lnTo>
                <a:lnTo>
                  <a:pt x="354" y="42"/>
                </a:lnTo>
                <a:lnTo>
                  <a:pt x="380" y="65"/>
                </a:lnTo>
                <a:lnTo>
                  <a:pt x="402" y="90"/>
                </a:lnTo>
                <a:lnTo>
                  <a:pt x="420" y="120"/>
                </a:lnTo>
                <a:lnTo>
                  <a:pt x="433" y="151"/>
                </a:lnTo>
                <a:lnTo>
                  <a:pt x="442" y="186"/>
                </a:lnTo>
                <a:lnTo>
                  <a:pt x="445" y="222"/>
                </a:lnTo>
                <a:lnTo>
                  <a:pt x="442" y="258"/>
                </a:lnTo>
                <a:lnTo>
                  <a:pt x="433" y="292"/>
                </a:lnTo>
                <a:lnTo>
                  <a:pt x="420" y="325"/>
                </a:lnTo>
                <a:lnTo>
                  <a:pt x="402" y="353"/>
                </a:lnTo>
                <a:lnTo>
                  <a:pt x="380" y="379"/>
                </a:lnTo>
                <a:lnTo>
                  <a:pt x="354" y="402"/>
                </a:lnTo>
                <a:lnTo>
                  <a:pt x="325" y="420"/>
                </a:lnTo>
                <a:lnTo>
                  <a:pt x="293" y="434"/>
                </a:lnTo>
                <a:lnTo>
                  <a:pt x="259" y="441"/>
                </a:lnTo>
                <a:lnTo>
                  <a:pt x="223" y="445"/>
                </a:lnTo>
                <a:lnTo>
                  <a:pt x="187" y="441"/>
                </a:lnTo>
                <a:lnTo>
                  <a:pt x="152" y="434"/>
                </a:lnTo>
                <a:lnTo>
                  <a:pt x="120" y="420"/>
                </a:lnTo>
                <a:lnTo>
                  <a:pt x="91" y="402"/>
                </a:lnTo>
                <a:lnTo>
                  <a:pt x="66" y="379"/>
                </a:lnTo>
                <a:lnTo>
                  <a:pt x="43" y="353"/>
                </a:lnTo>
                <a:lnTo>
                  <a:pt x="25" y="325"/>
                </a:lnTo>
                <a:lnTo>
                  <a:pt x="11" y="292"/>
                </a:lnTo>
                <a:lnTo>
                  <a:pt x="2" y="258"/>
                </a:lnTo>
                <a:lnTo>
                  <a:pt x="0" y="222"/>
                </a:lnTo>
                <a:lnTo>
                  <a:pt x="2" y="186"/>
                </a:lnTo>
                <a:lnTo>
                  <a:pt x="11" y="151"/>
                </a:lnTo>
                <a:lnTo>
                  <a:pt x="25" y="120"/>
                </a:lnTo>
                <a:lnTo>
                  <a:pt x="43" y="90"/>
                </a:lnTo>
                <a:lnTo>
                  <a:pt x="66" y="65"/>
                </a:lnTo>
                <a:lnTo>
                  <a:pt x="91" y="42"/>
                </a:lnTo>
                <a:lnTo>
                  <a:pt x="120" y="25"/>
                </a:lnTo>
                <a:lnTo>
                  <a:pt x="152" y="11"/>
                </a:lnTo>
                <a:lnTo>
                  <a:pt x="187" y="3"/>
                </a:lnTo>
                <a:lnTo>
                  <a:pt x="223" y="0"/>
                </a:ln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solidFill>
                <a:prstClr val="black"/>
              </a:solidFill>
            </a:endParaRPr>
          </a:p>
        </p:txBody>
      </p:sp>
      <p:grpSp>
        <p:nvGrpSpPr>
          <p:cNvPr id="120" name="Knop uitleg"/>
          <p:cNvGrpSpPr/>
          <p:nvPr userDrawn="1"/>
        </p:nvGrpSpPr>
        <p:grpSpPr>
          <a:xfrm>
            <a:off x="9508903" y="2860360"/>
            <a:ext cx="1947767" cy="2037397"/>
            <a:chOff x="9275416" y="2755352"/>
            <a:chExt cx="1944216" cy="2037397"/>
          </a:xfrm>
        </p:grpSpPr>
        <p:sp>
          <p:nvSpPr>
            <p:cNvPr id="43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 dirty="0">
                <a:solidFill>
                  <a:prstClr val="black"/>
                </a:solidFill>
              </a:endParaRPr>
            </a:p>
          </p:txBody>
        </p:sp>
        <p:grpSp>
          <p:nvGrpSpPr>
            <p:cNvPr id="42" name="Groep 41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36" name="Ovaal 35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deze dia in de diavoorstelling en klik</a:t>
                </a:r>
                <a:b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</a:br>
                <a: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 de </a:t>
                </a:r>
                <a:r>
                  <a:rPr lang="nl-NL" sz="1200" dirty="0" err="1">
                    <a:solidFill>
                      <a:srgbClr val="FFFFFF"/>
                    </a:solidFill>
                    <a:latin typeface="Oswald" panose="02000503000000000000" pitchFamily="2" charset="0"/>
                  </a:rPr>
                  <a:t>youtube</a:t>
                </a:r>
                <a:r>
                  <a:rPr lang="nl-NL" sz="1200" dirty="0">
                    <a:solidFill>
                      <a:srgbClr val="FFFFFF"/>
                    </a:solidFill>
                    <a:latin typeface="Oswald" panose="02000503000000000000" pitchFamily="2" charset="0"/>
                  </a:rPr>
                  <a:t>-link</a:t>
                </a:r>
                <a:endParaRPr lang="nl-NL" sz="1000" dirty="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17" name="Groep 116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18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9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28" name="HYPERLINK" hidden="1"/>
          <p:cNvGrpSpPr/>
          <p:nvPr userDrawn="1"/>
        </p:nvGrpSpPr>
        <p:grpSpPr>
          <a:xfrm>
            <a:off x="675002" y="1599166"/>
            <a:ext cx="8081505" cy="4559785"/>
            <a:chOff x="673768" y="1599165"/>
            <a:chExt cx="8066773" cy="4559785"/>
          </a:xfrm>
        </p:grpSpPr>
        <p:sp>
          <p:nvSpPr>
            <p:cNvPr id="121" name="HYPERLINK">
              <a:hlinkClick r:id="rId2"/>
            </p:cNvPr>
            <p:cNvSpPr/>
            <p:nvPr userDrawn="1"/>
          </p:nvSpPr>
          <p:spPr>
            <a:xfrm>
              <a:off x="673768" y="1599165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3" name="HYPERLINK">
              <a:hlinkClick r:id="rId3"/>
            </p:cNvPr>
            <p:cNvSpPr/>
            <p:nvPr userDrawn="1"/>
          </p:nvSpPr>
          <p:spPr>
            <a:xfrm>
              <a:off x="3465094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4" name="HYPERLINK">
              <a:hlinkClick r:id="rId4"/>
            </p:cNvPr>
            <p:cNvSpPr/>
            <p:nvPr userDrawn="1"/>
          </p:nvSpPr>
          <p:spPr>
            <a:xfrm>
              <a:off x="6148301" y="1599165"/>
              <a:ext cx="257475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5" name="HYPERLINK">
              <a:hlinkClick r:id="rId5"/>
            </p:cNvPr>
            <p:cNvSpPr/>
            <p:nvPr userDrawn="1"/>
          </p:nvSpPr>
          <p:spPr>
            <a:xfrm>
              <a:off x="673768" y="3932073"/>
              <a:ext cx="2676295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6" name="HYPERLINK">
              <a:hlinkClick r:id="rId6"/>
            </p:cNvPr>
            <p:cNvSpPr/>
            <p:nvPr userDrawn="1"/>
          </p:nvSpPr>
          <p:spPr>
            <a:xfrm>
              <a:off x="3454453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127" name="HYPERLINK">
              <a:hlinkClick r:id="rId7"/>
            </p:cNvPr>
            <p:cNvSpPr/>
            <p:nvPr userDrawn="1"/>
          </p:nvSpPr>
          <p:spPr>
            <a:xfrm>
              <a:off x="6149692" y="3932073"/>
              <a:ext cx="2590849" cy="2226877"/>
            </a:xfrm>
            <a:prstGeom prst="rect">
              <a:avLst/>
            </a:prstGeom>
            <a:solidFill>
              <a:srgbClr val="F0F0F0">
                <a:alpha val="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58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A78"/>
              </a:buClr>
              <a:buFont typeface="Courier New" panose="02070309020205020404" pitchFamily="49" charset="0"/>
              <a:buNone/>
            </a:pPr>
            <a:endParaRPr dirty="0">
              <a:solidFill>
                <a:prstClr val="white"/>
              </a:solidFill>
            </a:endParaRPr>
          </a:p>
        </p:txBody>
      </p:sp>
      <p:cxnSp>
        <p:nvCxnSpPr>
          <p:cNvPr id="60" name="Rechte verbindingslijn 59"/>
          <p:cNvCxnSpPr>
            <a:cxnSpLocks/>
          </p:cNvCxnSpPr>
          <p:nvPr userDrawn="1"/>
        </p:nvCxnSpPr>
        <p:spPr>
          <a:xfrm>
            <a:off x="693964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Vrije vorm 308"/>
          <p:cNvSpPr/>
          <p:nvPr userDrawn="1"/>
        </p:nvSpPr>
        <p:spPr>
          <a:xfrm>
            <a:off x="11056397" y="692698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solidFill>
                <a:prstClr val="black"/>
              </a:solidFill>
            </a:endParaRPr>
          </a:p>
        </p:txBody>
      </p:sp>
      <p:grpSp>
        <p:nvGrpSpPr>
          <p:cNvPr id="4" name="Groep 3"/>
          <p:cNvGrpSpPr/>
          <p:nvPr userDrawn="1"/>
        </p:nvGrpSpPr>
        <p:grpSpPr>
          <a:xfrm>
            <a:off x="1630521" y="2276771"/>
            <a:ext cx="758667" cy="226154"/>
            <a:chOff x="1607118" y="2276771"/>
            <a:chExt cx="757283" cy="226154"/>
          </a:xfrm>
        </p:grpSpPr>
        <p:grpSp>
          <p:nvGrpSpPr>
            <p:cNvPr id="71" name="Groep 70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60" name="Groep 159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64" name="Rechte verbindingslijn 163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5" name="Rechte verbindingslijn 164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6" name="Rechte verbindingslijn 165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7" name="Rechte verbindingslijn 166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68" name="Rechte verbindingslijn 167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61" name="Groep 160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74" name="Groep 73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51" name="Groep 150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55" name="Rechte verbindingslijn 154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6" name="Rechte verbindingslijn 155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7" name="Rechte verbindingslijn 156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8" name="Rechte verbindingslijn 157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59" name="Rechte verbindingslijn 158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52" name="Groep 151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53" name="Rechthoek 152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4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 dirty="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grpSp>
        <p:nvGrpSpPr>
          <p:cNvPr id="179" name="Groep 178"/>
          <p:cNvGrpSpPr/>
          <p:nvPr userDrawn="1"/>
        </p:nvGrpSpPr>
        <p:grpSpPr>
          <a:xfrm>
            <a:off x="4573976" y="2179391"/>
            <a:ext cx="369155" cy="398538"/>
            <a:chOff x="14466489" y="1001522"/>
            <a:chExt cx="290627" cy="314333"/>
          </a:xfrm>
        </p:grpSpPr>
        <p:sp>
          <p:nvSpPr>
            <p:cNvPr id="200" name="Rechthoek 199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1" name="Ovaal 200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202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l-NL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203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nl-NL" sz="8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4" name="Rechte verbindingslijn 203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5" name="Rechte verbindingslijn 204"/>
            <p:cNvCxnSpPr>
              <a:cxnSpLocks/>
              <a:stCxn id="203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400045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Dia plakken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hthoek 59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l-NL" sz="1000" b="1" dirty="0">
              <a:solidFill>
                <a:prstClr val="black"/>
              </a:solidFill>
            </a:endParaRP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6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pt-BR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Dia plakken (3)</a:t>
            </a:r>
            <a:endParaRPr lang="nl-NL" sz="1400" dirty="0">
              <a:solidFill>
                <a:srgbClr val="303E48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Tekstvak 6"/>
          <p:cNvSpPr txBox="1"/>
          <p:nvPr userDrawn="1"/>
        </p:nvSpPr>
        <p:spPr>
          <a:xfrm>
            <a:off x="693964" y="692699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6A5"/>
                </a:solidFill>
                <a:latin typeface="Oswald" panose="02000503000000000000" pitchFamily="2" charset="0"/>
              </a:rPr>
              <a:t>Voordat je begint…</a:t>
            </a:r>
          </a:p>
        </p:txBody>
      </p:sp>
      <p:grpSp>
        <p:nvGrpSpPr>
          <p:cNvPr id="63" name="GRID" hidden="1"/>
          <p:cNvGrpSpPr/>
          <p:nvPr userDrawn="1"/>
        </p:nvGrpSpPr>
        <p:grpSpPr>
          <a:xfrm>
            <a:off x="3" y="0"/>
            <a:ext cx="12191999" cy="6858000"/>
            <a:chOff x="0" y="0"/>
            <a:chExt cx="12169774" cy="6858000"/>
          </a:xfrm>
        </p:grpSpPr>
        <p:sp>
          <p:nvSpPr>
            <p:cNvPr id="64" name="Rechthoek 63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5" name="Rechthoek 64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6" name="Rechthoek 65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7" name="Rechthoek 66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8" name="Rechthoek 67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9" name="Rechthoek 68"/>
            <p:cNvSpPr/>
            <p:nvPr userDrawn="1"/>
          </p:nvSpPr>
          <p:spPr>
            <a:xfrm rot="5400000">
              <a:off x="760320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1" name="Rechthoek 70"/>
            <p:cNvSpPr/>
            <p:nvPr userDrawn="1"/>
          </p:nvSpPr>
          <p:spPr>
            <a:xfrm>
              <a:off x="0" y="4558336"/>
              <a:ext cx="12169774" cy="180239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4" name="Rechthoek 73"/>
            <p:cNvSpPr/>
            <p:nvPr userDrawn="1"/>
          </p:nvSpPr>
          <p:spPr>
            <a:xfrm rot="5400000">
              <a:off x="288408" y="5406273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5" name="Rechthoek 74"/>
            <p:cNvSpPr/>
            <p:nvPr userDrawn="1"/>
          </p:nvSpPr>
          <p:spPr>
            <a:xfrm rot="5400000">
              <a:off x="4146704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6" name="Rechthoek 75"/>
            <p:cNvSpPr/>
            <p:nvPr userDrawn="1"/>
          </p:nvSpPr>
          <p:spPr>
            <a:xfrm rot="5400000">
              <a:off x="4598789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0" name="Rechthoek 79"/>
            <p:cNvSpPr/>
            <p:nvPr userDrawn="1"/>
          </p:nvSpPr>
          <p:spPr>
            <a:xfrm rot="5400000">
              <a:off x="7990288" y="5320345"/>
              <a:ext cx="1495007" cy="7025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7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A78"/>
              </a:buClr>
              <a:buFont typeface="Courier New" panose="02070309020205020404" pitchFamily="49" charset="0"/>
              <a:buNone/>
            </a:pPr>
            <a:endParaRPr dirty="0">
              <a:solidFill>
                <a:prstClr val="white"/>
              </a:solidFill>
            </a:endParaRPr>
          </a:p>
        </p:txBody>
      </p:sp>
      <p:cxnSp>
        <p:nvCxnSpPr>
          <p:cNvPr id="62" name="Rechte verbindingslijn 61"/>
          <p:cNvCxnSpPr>
            <a:cxnSpLocks/>
          </p:cNvCxnSpPr>
          <p:nvPr userDrawn="1"/>
        </p:nvCxnSpPr>
        <p:spPr>
          <a:xfrm>
            <a:off x="693964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Vrije vorm 308"/>
          <p:cNvSpPr/>
          <p:nvPr userDrawn="1"/>
        </p:nvSpPr>
        <p:spPr>
          <a:xfrm>
            <a:off x="11056397" y="692698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>
              <a:solidFill>
                <a:prstClr val="black"/>
              </a:solidFill>
            </a:endParaRPr>
          </a:p>
        </p:txBody>
      </p:sp>
      <p:grpSp>
        <p:nvGrpSpPr>
          <p:cNvPr id="81" name="Groep 80"/>
          <p:cNvGrpSpPr/>
          <p:nvPr userDrawn="1"/>
        </p:nvGrpSpPr>
        <p:grpSpPr>
          <a:xfrm>
            <a:off x="692522" y="2165458"/>
            <a:ext cx="10846191" cy="3437453"/>
            <a:chOff x="435100" y="2165458"/>
            <a:chExt cx="10826418" cy="3437453"/>
          </a:xfrm>
        </p:grpSpPr>
        <p:pic>
          <p:nvPicPr>
            <p:cNvPr id="83" name="Afbeelding 82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0052" y="3108088"/>
              <a:ext cx="2720614" cy="145024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4" name="Afbeelding 8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455" y="3108088"/>
              <a:ext cx="2700576" cy="1452486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pic>
          <p:nvPicPr>
            <p:cNvPr id="85" name="Afbeelding 8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02632" y="2165458"/>
              <a:ext cx="1676146" cy="1676147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6" name="Afbeelding 8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1291" y="2165459"/>
              <a:ext cx="1676146" cy="1676146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87" name="Groep 86"/>
            <p:cNvGrpSpPr/>
            <p:nvPr/>
          </p:nvGrpSpPr>
          <p:grpSpPr>
            <a:xfrm>
              <a:off x="689183" y="2317897"/>
              <a:ext cx="1819124" cy="1488559"/>
              <a:chOff x="1576217" y="1539637"/>
              <a:chExt cx="2497599" cy="2043743"/>
            </a:xfrm>
          </p:grpSpPr>
          <p:sp>
            <p:nvSpPr>
              <p:cNvPr id="106" name="Ovaal 105"/>
              <p:cNvSpPr/>
              <p:nvPr/>
            </p:nvSpPr>
            <p:spPr>
              <a:xfrm>
                <a:off x="1576217" y="2624542"/>
                <a:ext cx="268099" cy="268101"/>
              </a:xfrm>
              <a:prstGeom prst="ellipse">
                <a:avLst/>
              </a:prstGeom>
              <a:solidFill>
                <a:schemeClr val="bg1">
                  <a:alpha val="0"/>
                </a:schemeClr>
              </a:solidFill>
              <a:ln w="19050">
                <a:solidFill>
                  <a:srgbClr val="0096A5"/>
                </a:solidFill>
              </a:ln>
              <a:effectLst>
                <a:outerShdw dir="8100000" sx="105000" sy="105000" algn="tr" rotWithShape="0">
                  <a:srgbClr val="000000">
                    <a:alpha val="6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107" name="Rechte verbindingslijn 106"/>
              <p:cNvCxnSpPr>
                <a:cxnSpLocks/>
              </p:cNvCxnSpPr>
              <p:nvPr/>
            </p:nvCxnSpPr>
            <p:spPr>
              <a:xfrm flipH="1">
                <a:off x="1710267" y="1539637"/>
                <a:ext cx="2013194" cy="1093496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chte verbindingslijn 107"/>
              <p:cNvCxnSpPr>
                <a:cxnSpLocks/>
              </p:cNvCxnSpPr>
              <p:nvPr/>
            </p:nvCxnSpPr>
            <p:spPr>
              <a:xfrm flipH="1" flipV="1">
                <a:off x="1693333" y="2878667"/>
                <a:ext cx="2380483" cy="704713"/>
              </a:xfrm>
              <a:prstGeom prst="line">
                <a:avLst/>
              </a:prstGeom>
              <a:ln w="28575">
                <a:solidFill>
                  <a:srgbClr val="0096A5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ep 87"/>
            <p:cNvGrpSpPr/>
            <p:nvPr/>
          </p:nvGrpSpPr>
          <p:grpSpPr>
            <a:xfrm>
              <a:off x="4524700" y="3531339"/>
              <a:ext cx="135750" cy="135750"/>
              <a:chOff x="6569918" y="3240107"/>
              <a:chExt cx="430310" cy="430310"/>
            </a:xfrm>
          </p:grpSpPr>
          <p:sp>
            <p:nvSpPr>
              <p:cNvPr id="104" name="Ovaal 103"/>
              <p:cNvSpPr/>
              <p:nvPr/>
            </p:nvSpPr>
            <p:spPr>
              <a:xfrm>
                <a:off x="6569918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Vermenigvuldigen 49"/>
              <p:cNvSpPr/>
              <p:nvPr/>
            </p:nvSpPr>
            <p:spPr>
              <a:xfrm>
                <a:off x="6579279" y="3259665"/>
                <a:ext cx="403927" cy="403927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89" name="Ovaal 88"/>
            <p:cNvSpPr/>
            <p:nvPr/>
          </p:nvSpPr>
          <p:spPr>
            <a:xfrm>
              <a:off x="4507854" y="3501955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cxnSp>
          <p:nvCxnSpPr>
            <p:cNvPr id="90" name="Rechte verbindingslijn 89"/>
            <p:cNvCxnSpPr>
              <a:cxnSpLocks/>
              <a:stCxn id="86" idx="1"/>
            </p:cNvCxnSpPr>
            <p:nvPr/>
          </p:nvCxnSpPr>
          <p:spPr>
            <a:xfrm flipH="1">
              <a:off x="4602924" y="2410925"/>
              <a:ext cx="1383833" cy="1076554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Afbeelding 9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8637" y="3108088"/>
              <a:ext cx="2730611" cy="1444558"/>
            </a:xfrm>
            <a:prstGeom prst="rect">
              <a:avLst/>
            </a:prstGeom>
            <a:ln w="3175">
              <a:solidFill>
                <a:srgbClr val="AFABAB"/>
              </a:solidFill>
            </a:ln>
          </p:spPr>
        </p:pic>
        <p:cxnSp>
          <p:nvCxnSpPr>
            <p:cNvPr id="92" name="Rechte verbindingslijn 91"/>
            <p:cNvCxnSpPr>
              <a:cxnSpLocks/>
            </p:cNvCxnSpPr>
            <p:nvPr/>
          </p:nvCxnSpPr>
          <p:spPr>
            <a:xfrm flipH="1" flipV="1">
              <a:off x="4634821" y="3710764"/>
              <a:ext cx="1935123" cy="127589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al 92"/>
            <p:cNvSpPr/>
            <p:nvPr/>
          </p:nvSpPr>
          <p:spPr>
            <a:xfrm>
              <a:off x="43510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prstClr val="white"/>
                  </a:solidFill>
                </a:rPr>
                <a:t>A</a:t>
              </a:r>
              <a:endParaRPr lang="nl-NL" sz="1000" b="1" cap="all" dirty="0">
                <a:solidFill>
                  <a:prstClr val="white"/>
                </a:solidFill>
              </a:endParaRPr>
            </a:p>
          </p:txBody>
        </p:sp>
        <p:sp>
          <p:nvSpPr>
            <p:cNvPr id="94" name="Ovaal 93"/>
            <p:cNvSpPr/>
            <p:nvPr/>
          </p:nvSpPr>
          <p:spPr>
            <a:xfrm>
              <a:off x="4273589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prstClr val="white"/>
                  </a:solidFill>
                </a:rPr>
                <a:t>B</a:t>
              </a:r>
              <a:endParaRPr lang="nl-NL" sz="1000" b="1" cap="all" dirty="0">
                <a:solidFill>
                  <a:prstClr val="white"/>
                </a:solidFill>
              </a:endParaRPr>
            </a:p>
          </p:txBody>
        </p:sp>
        <p:grpSp>
          <p:nvGrpSpPr>
            <p:cNvPr id="95" name="Groep 94"/>
            <p:cNvGrpSpPr/>
            <p:nvPr/>
          </p:nvGrpSpPr>
          <p:grpSpPr>
            <a:xfrm>
              <a:off x="6610285" y="2756643"/>
              <a:ext cx="433398" cy="433398"/>
              <a:chOff x="7376403" y="3240107"/>
              <a:chExt cx="430310" cy="430310"/>
            </a:xfrm>
          </p:grpSpPr>
          <p:sp>
            <p:nvSpPr>
              <p:cNvPr id="102" name="Ovaal 101"/>
              <p:cNvSpPr/>
              <p:nvPr/>
            </p:nvSpPr>
            <p:spPr>
              <a:xfrm>
                <a:off x="7376403" y="3240107"/>
                <a:ext cx="430310" cy="43031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Vermenigvuldigen 40"/>
              <p:cNvSpPr/>
              <p:nvPr/>
            </p:nvSpPr>
            <p:spPr>
              <a:xfrm>
                <a:off x="7389594" y="3259666"/>
                <a:ext cx="403928" cy="403928"/>
              </a:xfrm>
              <a:prstGeom prst="mathMultiply">
                <a:avLst>
                  <a:gd name="adj1" fmla="val 538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273" tIns="45637" rIns="91273" bIns="456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sz="2396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96" name="Tekstvak 95"/>
            <p:cNvSpPr txBox="1"/>
            <p:nvPr/>
          </p:nvSpPr>
          <p:spPr>
            <a:xfrm>
              <a:off x="8516760" y="4854881"/>
              <a:ext cx="2697316" cy="748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defRPr sz="1000">
                  <a:solidFill>
                    <a:srgbClr val="44546A"/>
                  </a:solidFill>
                </a:defRPr>
              </a:lvl1pPr>
            </a:lstStyle>
            <a:p>
              <a:r>
                <a:rPr lang="nl-NL" dirty="0"/>
                <a:t>Klik met je rechter muisknop op de dia aan de linker kant. Klik daarna op dia herstellen om de opmaak weer correct </a:t>
              </a:r>
              <a:br>
                <a:rPr lang="nl-NL" dirty="0"/>
              </a:br>
              <a:r>
                <a:rPr lang="nl-NL" dirty="0"/>
                <a:t>te krijgen.</a:t>
              </a:r>
            </a:p>
          </p:txBody>
        </p:sp>
        <p:sp>
          <p:nvSpPr>
            <p:cNvPr id="97" name="Ovaal 96"/>
            <p:cNvSpPr/>
            <p:nvPr/>
          </p:nvSpPr>
          <p:spPr>
            <a:xfrm>
              <a:off x="8456782" y="3712390"/>
              <a:ext cx="195270" cy="19527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rgbClr val="0096A5"/>
              </a:solidFill>
            </a:ln>
            <a:effectLst>
              <a:outerShdw dir="8100000" sx="105000" sy="105000" algn="tr" rotWithShape="0">
                <a:srgbClr val="000000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>
                <a:solidFill>
                  <a:prstClr val="white"/>
                </a:solidFill>
              </a:endParaRPr>
            </a:p>
          </p:txBody>
        </p:sp>
        <p:cxnSp>
          <p:nvCxnSpPr>
            <p:cNvPr id="98" name="Rechte verbindingslijn 97"/>
            <p:cNvCxnSpPr>
              <a:cxnSpLocks/>
              <a:stCxn id="100" idx="1"/>
            </p:cNvCxnSpPr>
            <p:nvPr/>
          </p:nvCxnSpPr>
          <p:spPr>
            <a:xfrm flipH="1">
              <a:off x="8535648" y="2410449"/>
              <a:ext cx="1297966" cy="1315831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Rechte verbindingslijn 98"/>
            <p:cNvCxnSpPr>
              <a:cxnSpLocks/>
              <a:stCxn id="100" idx="4"/>
              <a:endCxn id="97" idx="5"/>
            </p:cNvCxnSpPr>
            <p:nvPr/>
          </p:nvCxnSpPr>
          <p:spPr>
            <a:xfrm flipH="1">
              <a:off x="8623456" y="3838353"/>
              <a:ext cx="1801616" cy="40710"/>
            </a:xfrm>
            <a:prstGeom prst="line">
              <a:avLst/>
            </a:prstGeom>
            <a:ln w="28575">
              <a:solidFill>
                <a:srgbClr val="0096A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0" name="Afbeelding 99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88624" y="2165459"/>
              <a:ext cx="1672894" cy="1672894"/>
            </a:xfrm>
            <a:prstGeom prst="ellipse">
              <a:avLst/>
            </a:prstGeom>
            <a:ln w="3175">
              <a:solidFill>
                <a:srgbClr val="0096A5"/>
              </a:solidFill>
            </a:ln>
            <a:effectLst>
              <a:outerShdw dir="8100000" sx="102000" sy="102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1" name="Ovaal 100"/>
            <p:cNvSpPr/>
            <p:nvPr/>
          </p:nvSpPr>
          <p:spPr>
            <a:xfrm>
              <a:off x="8117980" y="4744072"/>
              <a:ext cx="313200" cy="313200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cap="all" dirty="0">
                  <a:solidFill>
                    <a:prstClr val="white"/>
                  </a:solidFill>
                </a:rPr>
                <a:t>C</a:t>
              </a:r>
              <a:endParaRPr lang="nl-NL" sz="1000" b="1" cap="all" dirty="0">
                <a:solidFill>
                  <a:prstClr val="white"/>
                </a:solidFill>
              </a:endParaRPr>
            </a:p>
          </p:txBody>
        </p:sp>
      </p:grpSp>
      <p:sp>
        <p:nvSpPr>
          <p:cNvPr id="109" name="Tekstvak 108"/>
          <p:cNvSpPr txBox="1"/>
          <p:nvPr userDrawn="1"/>
        </p:nvSpPr>
        <p:spPr>
          <a:xfrm>
            <a:off x="1072995" y="4853681"/>
            <a:ext cx="2773568" cy="8078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nl-NL" sz="1000" dirty="0">
                <a:solidFill>
                  <a:srgbClr val="44546A"/>
                </a:solidFill>
              </a:rPr>
              <a:t>Klik op </a:t>
            </a:r>
            <a:r>
              <a:rPr lang="nl-NL" sz="1000" b="1" dirty="0">
                <a:solidFill>
                  <a:srgbClr val="44546A"/>
                </a:solidFill>
              </a:rPr>
              <a:t>“nieuwe dia”</a:t>
            </a:r>
            <a:r>
              <a:rPr lang="nl-NL" sz="1000" dirty="0">
                <a:solidFill>
                  <a:srgbClr val="44546A"/>
                </a:solidFill>
              </a:rPr>
              <a:t> om een </a:t>
            </a:r>
            <a:r>
              <a:rPr lang="nl-NL" sz="1000" b="1" dirty="0">
                <a:solidFill>
                  <a:srgbClr val="44546A"/>
                </a:solidFill>
              </a:rPr>
              <a:t>template</a:t>
            </a:r>
            <a:r>
              <a:rPr lang="nl-NL" sz="1000" dirty="0">
                <a:solidFill>
                  <a:srgbClr val="44546A"/>
                </a:solidFill>
              </a:rPr>
              <a:t> </a:t>
            </a:r>
            <a:br>
              <a:rPr lang="nl-NL" sz="1000" dirty="0">
                <a:solidFill>
                  <a:srgbClr val="44546A"/>
                </a:solidFill>
              </a:rPr>
            </a:br>
            <a:r>
              <a:rPr lang="nl-NL" sz="1000" dirty="0">
                <a:solidFill>
                  <a:srgbClr val="44546A"/>
                </a:solidFill>
              </a:rPr>
              <a:t>slide toe te voegen.</a:t>
            </a:r>
            <a:endParaRPr lang="en-GB" sz="1000" dirty="0">
              <a:solidFill>
                <a:srgbClr val="44546A"/>
              </a:solidFill>
            </a:endParaRPr>
          </a:p>
        </p:txBody>
      </p:sp>
      <p:sp>
        <p:nvSpPr>
          <p:cNvPr id="110" name="Tekstvak 109"/>
          <p:cNvSpPr txBox="1"/>
          <p:nvPr userDrawn="1"/>
        </p:nvSpPr>
        <p:spPr>
          <a:xfrm>
            <a:off x="4935953" y="4853681"/>
            <a:ext cx="2748843" cy="7504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nl-NL"/>
            </a:defPPr>
            <a:lvl1pPr>
              <a:lnSpc>
                <a:spcPct val="90000"/>
              </a:lnSpc>
              <a:defRPr sz="1050">
                <a:solidFill>
                  <a:srgbClr val="44546A"/>
                </a:solidFill>
              </a:defRPr>
            </a:lvl1pPr>
          </a:lstStyle>
          <a:p>
            <a:r>
              <a:rPr lang="nl-NL" sz="1000" b="1" dirty="0">
                <a:solidFill>
                  <a:srgbClr val="FF7800"/>
                </a:solidFill>
              </a:rPr>
              <a:t>Let op: </a:t>
            </a:r>
            <a:br>
              <a:rPr lang="nl-NL" sz="1000" dirty="0"/>
            </a:br>
            <a:r>
              <a:rPr lang="nl-NL" sz="1000" dirty="0"/>
              <a:t>Het is </a:t>
            </a:r>
            <a:r>
              <a:rPr lang="nl-NL" sz="1000" b="1" u="sng" dirty="0"/>
              <a:t>niet</a:t>
            </a:r>
            <a:r>
              <a:rPr lang="nl-NL" sz="1000" dirty="0"/>
              <a:t> mogelijk een slide te kopiëren </a:t>
            </a:r>
            <a:br>
              <a:rPr lang="nl-NL" sz="1000" dirty="0"/>
            </a:br>
            <a:r>
              <a:rPr lang="nl-NL" sz="1000" dirty="0"/>
              <a:t>met een </a:t>
            </a:r>
            <a:r>
              <a:rPr lang="nl-NL" sz="1000" b="1" dirty="0"/>
              <a:t>andere</a:t>
            </a:r>
            <a:r>
              <a:rPr lang="nl-NL" sz="1000" dirty="0"/>
              <a:t> opmaak. Teksten en andere objecten dienen </a:t>
            </a:r>
            <a:r>
              <a:rPr lang="nl-NL" sz="1000" b="1" dirty="0">
                <a:solidFill>
                  <a:srgbClr val="FF7800"/>
                </a:solidFill>
              </a:rPr>
              <a:t>één-voor-één</a:t>
            </a:r>
            <a:r>
              <a:rPr lang="nl-NL" sz="1000" dirty="0"/>
              <a:t> te worden over gekopieerd.</a:t>
            </a:r>
          </a:p>
        </p:txBody>
      </p:sp>
    </p:spTree>
    <p:extLst>
      <p:ext uri="{BB962C8B-B14F-4D97-AF65-F5344CB8AC3E}">
        <p14:creationId xmlns:p14="http://schemas.microsoft.com/office/powerpoint/2010/main" val="132924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1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31" name="Tekstvak 30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Intro slide</a:t>
            </a:r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84" name="Afbeelding 8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35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36" name="Rechthoek 35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37" name="Ovaal 36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8" name="Rechte verbindingslijn 37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39" name="Rechte verbindingslijn 38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0" name="Rechthoek 39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2" name="Ovaal 41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43" name="Rechthoek 42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4" name="Groep 43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77" name="Rechthoek 76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78" name="Rechte verbindingslijn 77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79" name="Gelijkbenige driehoek 78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45" name="Groep 44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71" name="Rechthoek 70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Ovaal 71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Vrije vorm: vorm 72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" name="Rechthoek: afgeronde hoeken 73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75" name="Rechte verbindingslijn 74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76" name="Rechte verbindingslijn 75"/>
                <p:cNvCxnSpPr>
                  <a:cxnSpLocks/>
                  <a:stCxn id="74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46" name="Ovaal 45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7" name="Rechthoek 46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8" name="Rechte verbindingslijn 47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49" name="Groep 48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Rechthoek 50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52" name="Groep 51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65" name="Rechthoek: afgeronde hoeken 64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Rechthoek 65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8" name="Rechthoek 67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9" name="Rechthoek 68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53" name="Groep 52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57" name="Groep 56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59" name="Rechthoek: afgeronde hoeken 58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0" name="Rechthoek 59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1" name="Rechthoek 60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Rechthoek 62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4" name="Rechthoek 63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58" name="Boog 57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54" name="Tekstvak 53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55" name="Tekstvak 54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56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8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8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Rechthoek 8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3" name="Rechte verbindingslijn 8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10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1308217" y="826943"/>
            <a:ext cx="6282061" cy="2208357"/>
          </a:xfrm>
          <a:solidFill>
            <a:schemeClr val="tx2">
              <a:alpha val="90000"/>
            </a:schemeClr>
          </a:solidFill>
        </p:spPr>
        <p:txBody>
          <a:bodyPr vert="horz"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7798" y="1331380"/>
            <a:ext cx="5822898" cy="423198"/>
          </a:xfrm>
        </p:spPr>
        <p:txBody>
          <a:bodyPr wrap="none" anchor="ctr"/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rijfsnaam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37798" y="2415716"/>
            <a:ext cx="5822898" cy="3960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4182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0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  <p:bldP spid="3" grpId="0">
        <p:tmplLst>
          <p:tmpl>
            <p:tnLst>
              <p:par>
                <p:cTn presetID="2" presetClass="entr" presetSubtype="8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785EF-7941-496F-8E52-3521FB118D88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agenda</a:t>
            </a:r>
          </a:p>
        </p:txBody>
      </p:sp>
      <p:sp>
        <p:nvSpPr>
          <p:cNvPr id="8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10" name="Rechthoek 9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11" name="Ovaal 10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" name="Rechte verbindingslijn 11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" name="Rechthoek 12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4" name="Rechte verbindingslijn 13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Rechte verbindingslijn 14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hthoek 15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7" name="Groep 16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68" name="Groep 6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72" name="Rechte verbindingslijn 7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3" name="Rechte verbindingslijn 7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4" name="Rechte verbindingslijn 7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5" name="Rechte verbindingslijn 7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76" name="Rechte verbindingslijn 7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9" name="Groep 6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70" name="Rechthoek 6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1" name="Pijl: punthaak 7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18" name="Groep 17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63" name="Rechte verbindingslijn 6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4" name="Rechte verbindingslijn 6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5" name="Rechte verbindingslijn 6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6" name="Rechte verbindingslijn 6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67" name="Rechte verbindingslijn 6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60" name="Groep 5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61" name="Rechthoek 6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2" name="Pijl: punthaak 6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19" name="Rechte verbindingslijn 18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" name="Rechte verbindingslijn 19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1" name="Groep 20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48" name="Rechthoek 4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49" name="Groep 4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50" name="Groep 4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54" name="Rechte verbindingslijn 5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5" name="Rechte verbindingslijn 5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6" name="Rechte verbindingslijn 5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7" name="Rechte verbindingslijn 5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58" name="Rechte verbindingslijn 5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51" name="Groep 5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52" name="Rechthoek 5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3" name="Pijl: punthaak 5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" name="Groep 21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ep 3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9" name="Groep 3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43" name="Rechte verbindingslijn 4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4" name="Rechte verbindingslijn 4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5" name="Rechte verbindingslijn 4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6" name="Rechte verbindingslijn 4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7" name="Rechte verbindingslijn 4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40" name="Groep 3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41" name="Rechthoek 4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" name="Pijl: punthaak 4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" name="Rechthoek 2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25" name="Rechthoek 2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26" name="Rechte verbindingslijn 2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27" name="Rechthoek 2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28" name="Ovaal 2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29" name="Rechthoek 2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Ovaal 2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31" name="Rechthoek 3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32" name="Ovaal 3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33" name="Rechthoek 3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34" name="Ovaal 3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35" name="Rechthoek 3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7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7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0" name="Rechte verbindingslijn 7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sp>
        <p:nvSpPr>
          <p:cNvPr id="82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9695" y="1273840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89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1172872" y="1273840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8" name="Tijdelijke aanduiding voor verticale tekst 2"/>
          <p:cNvSpPr>
            <a:spLocks noGrp="1"/>
          </p:cNvSpPr>
          <p:nvPr>
            <p:ph type="body" orient="vert" idx="22" hasCustomPrompt="1"/>
          </p:nvPr>
        </p:nvSpPr>
        <p:spPr>
          <a:xfrm>
            <a:off x="369695" y="2078021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24" hasCustomPrompt="1"/>
          </p:nvPr>
        </p:nvSpPr>
        <p:spPr>
          <a:xfrm>
            <a:off x="369695" y="2882202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2" name="Tijdelijke aanduiding voor verticale tekst 2"/>
          <p:cNvSpPr>
            <a:spLocks noGrp="1"/>
          </p:cNvSpPr>
          <p:nvPr>
            <p:ph type="body" orient="vert" idx="26" hasCustomPrompt="1"/>
          </p:nvPr>
        </p:nvSpPr>
        <p:spPr>
          <a:xfrm>
            <a:off x="369695" y="368638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4" name="Tijdelijke aanduiding voor verticale tekst 2"/>
          <p:cNvSpPr>
            <a:spLocks noGrp="1"/>
          </p:cNvSpPr>
          <p:nvPr>
            <p:ph type="body" orient="vert" idx="28" hasCustomPrompt="1"/>
          </p:nvPr>
        </p:nvSpPr>
        <p:spPr>
          <a:xfrm>
            <a:off x="369695" y="4490564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35" name="Tijdelijke aanduiding voor verticale tekst 2"/>
          <p:cNvSpPr>
            <a:spLocks noGrp="1"/>
          </p:cNvSpPr>
          <p:nvPr>
            <p:ph type="body" orient="vert" idx="29" hasCustomPrompt="1"/>
          </p:nvPr>
        </p:nvSpPr>
        <p:spPr>
          <a:xfrm>
            <a:off x="1172872" y="4490564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36" name="Tijdelijke aanduiding voor verticale tekst 2"/>
          <p:cNvSpPr>
            <a:spLocks noGrp="1"/>
          </p:cNvSpPr>
          <p:nvPr>
            <p:ph type="body" orient="vert" idx="30" hasCustomPrompt="1"/>
          </p:nvPr>
        </p:nvSpPr>
        <p:spPr>
          <a:xfrm>
            <a:off x="369695" y="529474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06" name="Tijdelijke aanduiding voor verticale tekst 2">
            <a:extLst>
              <a:ext uri="{FF2B5EF4-FFF2-40B4-BE49-F238E27FC236}">
                <a16:creationId xmlns:a16="http://schemas.microsoft.com/office/drawing/2014/main" id="{5D87FE67-1EE4-4AB8-935B-42793EDED5D3}"/>
              </a:ext>
            </a:extLst>
          </p:cNvPr>
          <p:cNvSpPr>
            <a:spLocks noGrp="1"/>
          </p:cNvSpPr>
          <p:nvPr>
            <p:ph type="body" orient="vert" idx="44" hasCustomPrompt="1"/>
          </p:nvPr>
        </p:nvSpPr>
        <p:spPr>
          <a:xfrm>
            <a:off x="1172872" y="2078021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08" name="Tijdelijke aanduiding voor verticale tekst 2">
            <a:extLst>
              <a:ext uri="{FF2B5EF4-FFF2-40B4-BE49-F238E27FC236}">
                <a16:creationId xmlns:a16="http://schemas.microsoft.com/office/drawing/2014/main" id="{46E11900-4AC3-42DC-9EA5-FB6867C53B00}"/>
              </a:ext>
            </a:extLst>
          </p:cNvPr>
          <p:cNvSpPr>
            <a:spLocks noGrp="1"/>
          </p:cNvSpPr>
          <p:nvPr>
            <p:ph type="body" orient="vert" idx="45" hasCustomPrompt="1"/>
          </p:nvPr>
        </p:nvSpPr>
        <p:spPr>
          <a:xfrm>
            <a:off x="1172872" y="2882202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0" name="Tijdelijke aanduiding voor verticale tekst 2">
            <a:extLst>
              <a:ext uri="{FF2B5EF4-FFF2-40B4-BE49-F238E27FC236}">
                <a16:creationId xmlns:a16="http://schemas.microsoft.com/office/drawing/2014/main" id="{99E8DD11-097A-45EB-AAF7-EC25BE66AA9F}"/>
              </a:ext>
            </a:extLst>
          </p:cNvPr>
          <p:cNvSpPr>
            <a:spLocks noGrp="1"/>
          </p:cNvSpPr>
          <p:nvPr>
            <p:ph type="body" orient="vert" idx="46" hasCustomPrompt="1"/>
          </p:nvPr>
        </p:nvSpPr>
        <p:spPr>
          <a:xfrm>
            <a:off x="1172872" y="3686383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12" name="Tijdelijke aanduiding voor verticale tekst 2">
            <a:extLst>
              <a:ext uri="{FF2B5EF4-FFF2-40B4-BE49-F238E27FC236}">
                <a16:creationId xmlns:a16="http://schemas.microsoft.com/office/drawing/2014/main" id="{711A31A4-DA9C-4BBB-B5C7-183BEC7EF686}"/>
              </a:ext>
            </a:extLst>
          </p:cNvPr>
          <p:cNvSpPr>
            <a:spLocks noGrp="1"/>
          </p:cNvSpPr>
          <p:nvPr>
            <p:ph type="body" orient="vert" idx="47" hasCustomPrompt="1"/>
          </p:nvPr>
        </p:nvSpPr>
        <p:spPr>
          <a:xfrm>
            <a:off x="1172872" y="5294743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5" name="Tijdelijke aanduiding voor verticale tekst 2">
            <a:extLst>
              <a:ext uri="{FF2B5EF4-FFF2-40B4-BE49-F238E27FC236}">
                <a16:creationId xmlns:a16="http://schemas.microsoft.com/office/drawing/2014/main" id="{B1B63A7F-DF05-469E-80FA-37EAE167E98C}"/>
              </a:ext>
            </a:extLst>
          </p:cNvPr>
          <p:cNvSpPr>
            <a:spLocks noGrp="1"/>
          </p:cNvSpPr>
          <p:nvPr>
            <p:ph type="body" orient="vert" idx="48" hasCustomPrompt="1"/>
          </p:nvPr>
        </p:nvSpPr>
        <p:spPr>
          <a:xfrm>
            <a:off x="6404073" y="1273840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26" name="Tijdelijke aanduiding voor verticale tekst 2">
            <a:extLst>
              <a:ext uri="{FF2B5EF4-FFF2-40B4-BE49-F238E27FC236}">
                <a16:creationId xmlns:a16="http://schemas.microsoft.com/office/drawing/2014/main" id="{9C7CD455-D314-41D3-879A-08B84935CEC9}"/>
              </a:ext>
            </a:extLst>
          </p:cNvPr>
          <p:cNvSpPr>
            <a:spLocks noGrp="1"/>
          </p:cNvSpPr>
          <p:nvPr>
            <p:ph type="body" orient="vert" idx="49" hasCustomPrompt="1"/>
          </p:nvPr>
        </p:nvSpPr>
        <p:spPr>
          <a:xfrm>
            <a:off x="7207250" y="1273840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27" name="Tijdelijke aanduiding voor verticale tekst 2">
            <a:extLst>
              <a:ext uri="{FF2B5EF4-FFF2-40B4-BE49-F238E27FC236}">
                <a16:creationId xmlns:a16="http://schemas.microsoft.com/office/drawing/2014/main" id="{DD2CE62E-C496-4565-AF68-2B0A9D334384}"/>
              </a:ext>
            </a:extLst>
          </p:cNvPr>
          <p:cNvSpPr>
            <a:spLocks noGrp="1"/>
          </p:cNvSpPr>
          <p:nvPr>
            <p:ph type="body" orient="vert" idx="50" hasCustomPrompt="1"/>
          </p:nvPr>
        </p:nvSpPr>
        <p:spPr>
          <a:xfrm>
            <a:off x="6404073" y="2078021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0" name="Tijdelijke aanduiding voor verticale tekst 2">
            <a:extLst>
              <a:ext uri="{FF2B5EF4-FFF2-40B4-BE49-F238E27FC236}">
                <a16:creationId xmlns:a16="http://schemas.microsoft.com/office/drawing/2014/main" id="{62081025-AC7D-4317-85F8-7AF54FEFB70E}"/>
              </a:ext>
            </a:extLst>
          </p:cNvPr>
          <p:cNvSpPr>
            <a:spLocks noGrp="1"/>
          </p:cNvSpPr>
          <p:nvPr>
            <p:ph type="body" orient="vert" idx="51" hasCustomPrompt="1"/>
          </p:nvPr>
        </p:nvSpPr>
        <p:spPr>
          <a:xfrm>
            <a:off x="6404073" y="2882202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1" name="Tijdelijke aanduiding voor verticale tekst 2">
            <a:extLst>
              <a:ext uri="{FF2B5EF4-FFF2-40B4-BE49-F238E27FC236}">
                <a16:creationId xmlns:a16="http://schemas.microsoft.com/office/drawing/2014/main" id="{1D92109C-596C-4FBC-9DAC-FC16291B5613}"/>
              </a:ext>
            </a:extLst>
          </p:cNvPr>
          <p:cNvSpPr>
            <a:spLocks noGrp="1"/>
          </p:cNvSpPr>
          <p:nvPr>
            <p:ph type="body" orient="vert" idx="52" hasCustomPrompt="1"/>
          </p:nvPr>
        </p:nvSpPr>
        <p:spPr>
          <a:xfrm>
            <a:off x="6404073" y="368638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2" name="Tijdelijke aanduiding voor verticale tekst 2">
            <a:extLst>
              <a:ext uri="{FF2B5EF4-FFF2-40B4-BE49-F238E27FC236}">
                <a16:creationId xmlns:a16="http://schemas.microsoft.com/office/drawing/2014/main" id="{9A7D68C9-5C99-4DFA-AB5B-E0D532554963}"/>
              </a:ext>
            </a:extLst>
          </p:cNvPr>
          <p:cNvSpPr>
            <a:spLocks noGrp="1"/>
          </p:cNvSpPr>
          <p:nvPr>
            <p:ph type="body" orient="vert" idx="53" hasCustomPrompt="1"/>
          </p:nvPr>
        </p:nvSpPr>
        <p:spPr>
          <a:xfrm>
            <a:off x="6404073" y="4490564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3" name="Tijdelijke aanduiding voor verticale tekst 2">
            <a:extLst>
              <a:ext uri="{FF2B5EF4-FFF2-40B4-BE49-F238E27FC236}">
                <a16:creationId xmlns:a16="http://schemas.microsoft.com/office/drawing/2014/main" id="{0CD1C1F6-47D9-4631-9B2D-B26D86A78A49}"/>
              </a:ext>
            </a:extLst>
          </p:cNvPr>
          <p:cNvSpPr>
            <a:spLocks noGrp="1"/>
          </p:cNvSpPr>
          <p:nvPr>
            <p:ph type="body" orient="vert" idx="54" hasCustomPrompt="1"/>
          </p:nvPr>
        </p:nvSpPr>
        <p:spPr>
          <a:xfrm>
            <a:off x="7207250" y="4490564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4" name="Tijdelijke aanduiding voor verticale tekst 2">
            <a:extLst>
              <a:ext uri="{FF2B5EF4-FFF2-40B4-BE49-F238E27FC236}">
                <a16:creationId xmlns:a16="http://schemas.microsoft.com/office/drawing/2014/main" id="{7A235542-C730-4503-B1CE-16969076319E}"/>
              </a:ext>
            </a:extLst>
          </p:cNvPr>
          <p:cNvSpPr>
            <a:spLocks noGrp="1"/>
          </p:cNvSpPr>
          <p:nvPr>
            <p:ph type="body" orient="vert" idx="55" hasCustomPrompt="1"/>
          </p:nvPr>
        </p:nvSpPr>
        <p:spPr>
          <a:xfrm>
            <a:off x="6404073" y="5294743"/>
            <a:ext cx="540000" cy="540000"/>
          </a:xfrm>
          <a:solidFill>
            <a:schemeClr val="tx2"/>
          </a:solid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00.</a:t>
            </a:r>
          </a:p>
        </p:txBody>
      </p:sp>
      <p:sp>
        <p:nvSpPr>
          <p:cNvPr id="155" name="Tijdelijke aanduiding voor verticale tekst 2">
            <a:extLst>
              <a:ext uri="{FF2B5EF4-FFF2-40B4-BE49-F238E27FC236}">
                <a16:creationId xmlns:a16="http://schemas.microsoft.com/office/drawing/2014/main" id="{CD9096F6-F962-4C50-8224-EF9B005B7A0B}"/>
              </a:ext>
            </a:extLst>
          </p:cNvPr>
          <p:cNvSpPr>
            <a:spLocks noGrp="1"/>
          </p:cNvSpPr>
          <p:nvPr>
            <p:ph type="body" orient="vert" idx="56" hasCustomPrompt="1"/>
          </p:nvPr>
        </p:nvSpPr>
        <p:spPr>
          <a:xfrm>
            <a:off x="7207250" y="2078021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6" name="Tijdelijke aanduiding voor verticale tekst 2">
            <a:extLst>
              <a:ext uri="{FF2B5EF4-FFF2-40B4-BE49-F238E27FC236}">
                <a16:creationId xmlns:a16="http://schemas.microsoft.com/office/drawing/2014/main" id="{AB1C548E-5889-4D39-B26F-1F68E2CFAB6A}"/>
              </a:ext>
            </a:extLst>
          </p:cNvPr>
          <p:cNvSpPr>
            <a:spLocks noGrp="1"/>
          </p:cNvSpPr>
          <p:nvPr>
            <p:ph type="body" orient="vert" idx="57" hasCustomPrompt="1"/>
          </p:nvPr>
        </p:nvSpPr>
        <p:spPr>
          <a:xfrm>
            <a:off x="7207250" y="2882202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7" name="Tijdelijke aanduiding voor verticale tekst 2">
            <a:extLst>
              <a:ext uri="{FF2B5EF4-FFF2-40B4-BE49-F238E27FC236}">
                <a16:creationId xmlns:a16="http://schemas.microsoft.com/office/drawing/2014/main" id="{81F7F5AA-966F-4553-A62B-C09640EE436C}"/>
              </a:ext>
            </a:extLst>
          </p:cNvPr>
          <p:cNvSpPr>
            <a:spLocks noGrp="1"/>
          </p:cNvSpPr>
          <p:nvPr>
            <p:ph type="body" orient="vert" idx="58" hasCustomPrompt="1"/>
          </p:nvPr>
        </p:nvSpPr>
        <p:spPr>
          <a:xfrm>
            <a:off x="7207250" y="3686383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  <p:sp>
        <p:nvSpPr>
          <p:cNvPr id="158" name="Tijdelijke aanduiding voor verticale tekst 2">
            <a:extLst>
              <a:ext uri="{FF2B5EF4-FFF2-40B4-BE49-F238E27FC236}">
                <a16:creationId xmlns:a16="http://schemas.microsoft.com/office/drawing/2014/main" id="{A43E093F-FADD-466A-BD74-B22739D738DE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7207250" y="5294743"/>
            <a:ext cx="4616450" cy="540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635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36000" rIns="144000" bIns="3600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4pPr>
              <a:defRPr cap="all" baseline="0"/>
            </a:lvl4pPr>
          </a:lstStyle>
          <a:p>
            <a:pPr lvl="0"/>
            <a:r>
              <a:rPr lang="nl-NL" dirty="0"/>
              <a:t>Typ hier uw tekst</a:t>
            </a:r>
          </a:p>
        </p:txBody>
      </p:sp>
    </p:spTree>
    <p:extLst>
      <p:ext uri="{BB962C8B-B14F-4D97-AF65-F5344CB8AC3E}">
        <p14:creationId xmlns:p14="http://schemas.microsoft.com/office/powerpoint/2010/main" val="162452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7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7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8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7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7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7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12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8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8" decel="10000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8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4750"/>
                            </p:stCondLst>
                            <p:childTnLst>
                              <p:par>
                                <p:cTn id="10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12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7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155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7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15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7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157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1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7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15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7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158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1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9" grpId="0" build="p" animBg="1">
        <p:tmplLst>
          <p:tmpl>
            <p:tnLst>
              <p:par>
                <p:cTn presetID="17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3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6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6" grpId="0" build="p" animBg="1">
        <p:tmplLst>
          <p:tmpl>
            <p:tnLst>
              <p:par>
                <p:cTn presetID="17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1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0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1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4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2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3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5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6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7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8" grpId="0" build="p" animBg="1">
        <p:tmplLst>
          <p:tmpl>
            <p:tnLst>
              <p:par>
                <p:cTn presetID="17" presetClass="entr" presetSubtype="8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96727-9EBA-40CC-A7CC-E4D89E404236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tekst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67787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kst (W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solidFill>
            <a:schemeClr val="bg1"/>
          </a:solidFill>
          <a:effectLst>
            <a:outerShdw blurRad="50800" dist="38100" dir="540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144000" rIns="216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0C842B-F772-4F15-AAB7-B52551111C53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867900" y="-2794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100% tekst (WIT)</a:t>
            </a:r>
          </a:p>
        </p:txBody>
      </p:sp>
      <p:sp>
        <p:nvSpPr>
          <p:cNvPr id="25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11455783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ep 25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27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32" name="Rechthoek 31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33" name="Ovaal 32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4" name="Rechte verbindingslijn 33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35" name="Rechthoek 34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6" name="Rechte verbindingslijn 35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hoek 37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" name="Groep 38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89" name="Groep 88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93" name="Rechte verbindingslijn 92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4" name="Rechte verbindingslijn 93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5" name="Rechte verbindingslijn 94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6" name="Rechte verbindingslijn 95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Rechte verbindingslijn 96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90" name="Groep 89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91" name="Rechthoek 9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Pijl: punthaak 9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0" name="Groep 39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80" name="Groep 79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84" name="Rechte verbindingslijn 83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5" name="Rechte verbindingslijn 84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Rechte verbindingslijn 85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Rechte verbindingslijn 86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88" name="Rechte verbindingslijn 87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82" name="Rechthoek 81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Pijl: punthaak 82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41" name="Rechte verbindingslijn 40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42" name="Rechte verbindingslijn 41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43" name="Groep 42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69" name="Rechthoek 68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0" name="Groep 69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71" name="Groep 70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75" name="Rechte verbindingslijn 74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6" name="Rechte verbindingslijn 75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7" name="Rechte verbindingslijn 76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8" name="Rechte verbindingslijn 77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79" name="Rechte verbindingslijn 78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72" name="Groep 71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73" name="Rechthoek 72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74" name="Pijl: punthaak 73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4" name="Groep 43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58" name="Rechthoek 57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ep 58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60" name="Groep 59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64" name="Rechte verbindingslijn 63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5" name="Rechte verbindingslijn 64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6" name="Rechte verbindingslijn 65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7" name="Rechte verbindingslijn 66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68" name="Rechte verbindingslijn 67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61" name="Groep 60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62" name="Rechthoek 6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Pijl: punthaak 6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45" name="Rechthoek 44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46" name="Rechthoek 45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47" name="Rechte verbindingslijn 46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48" name="Rechthoek 47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49" name="Ovaal 48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50" name="Rechthoek 49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al 50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53" name="Ovaal 52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54" name="Rechthoek 53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56" name="Rechthoek 55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57" name="Rechte verbindingslijn 56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28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29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hthoek 29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1" name="Rechte verbindingslijn 30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14202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Tekst + 25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/>
          <p:cNvSpPr>
            <a:spLocks noGrp="1"/>
          </p:cNvSpPr>
          <p:nvPr>
            <p:ph type="pic" sz="quarter" idx="15" hasCustomPrompt="1"/>
          </p:nvPr>
        </p:nvSpPr>
        <p:spPr>
          <a:xfrm>
            <a:off x="8592000" y="0"/>
            <a:ext cx="3600000" cy="6444878"/>
          </a:xfrm>
          <a:custGeom>
            <a:avLst/>
            <a:gdLst>
              <a:gd name="connsiteX0" fmla="*/ 0 w 3600000"/>
              <a:gd name="connsiteY0" fmla="*/ 0 h 6455571"/>
              <a:gd name="connsiteX1" fmla="*/ 3600000 w 3600000"/>
              <a:gd name="connsiteY1" fmla="*/ 0 h 6455571"/>
              <a:gd name="connsiteX2" fmla="*/ 3600000 w 3600000"/>
              <a:gd name="connsiteY2" fmla="*/ 6455571 h 6455571"/>
              <a:gd name="connsiteX3" fmla="*/ 3596827 w 3600000"/>
              <a:gd name="connsiteY3" fmla="*/ 6294120 h 6455571"/>
              <a:gd name="connsiteX4" fmla="*/ 2522687 w 3600000"/>
              <a:gd name="connsiteY4" fmla="*/ 6294120 h 6455571"/>
              <a:gd name="connsiteX5" fmla="*/ 1905628 w 3600000"/>
              <a:gd name="connsiteY5" fmla="*/ 6454140 h 6455571"/>
              <a:gd name="connsiteX6" fmla="*/ 0 w 3600000"/>
              <a:gd name="connsiteY6" fmla="*/ 6454400 h 6455571"/>
              <a:gd name="connsiteX0" fmla="*/ 0 w 3600000"/>
              <a:gd name="connsiteY0" fmla="*/ 0 h 6454400"/>
              <a:gd name="connsiteX1" fmla="*/ 3600000 w 3600000"/>
              <a:gd name="connsiteY1" fmla="*/ 0 h 6454400"/>
              <a:gd name="connsiteX2" fmla="*/ 3596827 w 3600000"/>
              <a:gd name="connsiteY2" fmla="*/ 6294120 h 6454400"/>
              <a:gd name="connsiteX3" fmla="*/ 2522687 w 3600000"/>
              <a:gd name="connsiteY3" fmla="*/ 6294120 h 6454400"/>
              <a:gd name="connsiteX4" fmla="*/ 1905628 w 3600000"/>
              <a:gd name="connsiteY4" fmla="*/ 6454140 h 6454400"/>
              <a:gd name="connsiteX5" fmla="*/ 0 w 3600000"/>
              <a:gd name="connsiteY5" fmla="*/ 6454400 h 6454400"/>
              <a:gd name="connsiteX6" fmla="*/ 0 w 3600000"/>
              <a:gd name="connsiteY6" fmla="*/ 0 h 6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00000" h="6454400">
                <a:moveTo>
                  <a:pt x="0" y="0"/>
                </a:moveTo>
                <a:lnTo>
                  <a:pt x="3600000" y="0"/>
                </a:lnTo>
                <a:cubicBezTo>
                  <a:pt x="3598942" y="2098040"/>
                  <a:pt x="3597885" y="4196080"/>
                  <a:pt x="3596827" y="6294120"/>
                </a:cubicBezTo>
                <a:lnTo>
                  <a:pt x="2522687" y="6294120"/>
                </a:lnTo>
                <a:lnTo>
                  <a:pt x="1905628" y="6454140"/>
                </a:lnTo>
                <a:lnTo>
                  <a:pt x="0" y="6454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7855401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7855401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65A3B-8C1E-4AF1-9DBD-63C3DD6E1F50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75% tekst + 25% afbeelding</a:t>
            </a:r>
          </a:p>
        </p:txBody>
      </p:sp>
      <p:sp>
        <p:nvSpPr>
          <p:cNvPr id="54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6" y="743900"/>
            <a:ext cx="7854005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5" name="Groep 54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56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61" name="Rechthoek 60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62" name="Ovaal 61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64" name="Rechthoek 63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65" name="Rechte verbindingslijn 64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Rechte verbindingslijn 65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Rechthoek 66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8" name="Groep 67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8" name="Groep 117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22" name="Rechte verbindingslijn 121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3" name="Rechte verbindingslijn 122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23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24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25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9" name="Groep 118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0" name="Rechthoek 119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1" name="Pijl: punthaak 120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9" name="Groep 68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9" name="Groep 108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13" name="Rechte verbindingslijn 112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4" name="Rechte verbindingslijn 113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0" name="Groep 109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1" name="Rechthoek 110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2" name="Pijl: punthaak 111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70" name="Rechte verbindingslijn 69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71" name="Rechte verbindingslijn 70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72" name="Groep 71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8" name="Rechthoek 97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9" name="Groep 98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00" name="Groep 99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04" name="Rechte verbindingslijn 103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04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05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06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8" name="Rechte verbindingslijn 107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1" name="Groep 100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2" name="Rechthoek 101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03" name="Pijl: punthaak 102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73" name="Groep 72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7" name="Rechthoek 86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8" name="Groep 87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9" name="Groep 88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93" name="Rechte verbindingslijn 92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4" name="Rechte verbindingslijn 93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5" name="Rechte verbindingslijn 94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6" name="Rechte verbindingslijn 95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0" name="Groep 89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1" name="Rechthoek 90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2" name="Pijl: punthaak 91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74" name="Rechthoek 73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75" name="Rechthoek 74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76" name="Rechte verbindingslijn 75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7" name="Rechthoek 76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8" name="Ovaal 77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9" name="Rechthoek 78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Ovaal 79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81" name="Rechthoek 80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82" name="Ovaal 81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83" name="Rechthoek 82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84" name="Ovaal 83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85" name="Rechthoek 84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86" name="Rechte verbindingslijn 85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7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8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Rechthoek 58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60" name="Rechte verbindingslijn 59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ep 126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8" name="Afbeelding 12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9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34" name="Rechthoek 133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35" name="Ovaal 134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36" name="Rechte verbindingslijn 135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7" name="Rechte verbindingslijn 136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8" name="Rechthoek 137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40" name="Ovaal 139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41" name="Rechthoek 140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2" name="Groep 141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75" name="Rechthoek 174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76" name="Rechte verbindingslijn 175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7" name="Gelijkbenige driehoek 176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3" name="Groep 142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9" name="Rechthoek 168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0" name="Ovaal 169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Vrije vorm: vorm 170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Rechthoek: afgeronde hoeken 171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73" name="Rechte verbindingslijn 172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74" name="Rechte verbindingslijn 173"/>
                <p:cNvCxnSpPr>
                  <a:cxnSpLocks/>
                  <a:stCxn id="172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44" name="Ovaal 143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45" name="Rechthoek 144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46" name="Rechte verbindingslijn 145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7" name="Groep 146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8" name="Rechthoek 147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Rechthoek 148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50" name="Groep 149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63" name="Rechthoek: afgeronde hoeken 162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4" name="Rechthoek 163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5" name="Rechthoek 164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6" name="Rechthoek 165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7" name="Rechthoek 166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8" name="Rechthoek 167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51" name="Groep 150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55" name="Groep 154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7" name="Rechthoek: afgeronde hoeken 156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" name="Rechthoek 157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9" name="Rechthoek 158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60" name="Rechthoek 159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61" name="Rechthoek 160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62" name="Rechthoek 161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56" name="Boog 155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52" name="Tekstvak 151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53" name="Tekstvak 152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54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30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3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Rechthoek 13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33" name="Rechte verbindingslijn 13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99350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ekst + 50%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8300" y="1179861"/>
            <a:ext cx="5543550" cy="4636738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35DB6E-7878-4548-9CAC-834A2B03961F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6" y="0"/>
            <a:ext cx="5899594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87205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Afbeelding tussenruim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jdelijke aanduiding voor afbeelding 39">
            <a:extLst>
              <a:ext uri="{FF2B5EF4-FFF2-40B4-BE49-F238E27FC236}">
                <a16:creationId xmlns:a16="http://schemas.microsoft.com/office/drawing/2014/main" id="{6725E4AB-39FC-46ED-8DE6-4C312853629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102"/>
            <a:ext cx="5900400" cy="6444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5543550" cy="27281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3E659-8D0E-4ACF-A283-594EF895A116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9499600" y="-279400"/>
            <a:ext cx="2692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50% tekst + 50% afbeelding</a:t>
            </a:r>
          </a:p>
        </p:txBody>
      </p:sp>
      <p:sp>
        <p:nvSpPr>
          <p:cNvPr id="46" name="Tijdelijke aanduiding voor afbeelding 45"/>
          <p:cNvSpPr>
            <a:spLocks noGrp="1"/>
          </p:cNvSpPr>
          <p:nvPr>
            <p:ph type="pic" sz="quarter" idx="15" hasCustomPrompt="1"/>
          </p:nvPr>
        </p:nvSpPr>
        <p:spPr>
          <a:xfrm>
            <a:off x="6292406" y="0"/>
            <a:ext cx="5899594" cy="6443898"/>
          </a:xfrm>
          <a:custGeom>
            <a:avLst/>
            <a:gdLst>
              <a:gd name="connsiteX0" fmla="*/ 0 w 5899594"/>
              <a:gd name="connsiteY0" fmla="*/ 0 h 6443898"/>
              <a:gd name="connsiteX1" fmla="*/ 171894 w 5899594"/>
              <a:gd name="connsiteY1" fmla="*/ 0 h 6443898"/>
              <a:gd name="connsiteX2" fmla="*/ 2590337 w 5899594"/>
              <a:gd name="connsiteY2" fmla="*/ 0 h 6443898"/>
              <a:gd name="connsiteX3" fmla="*/ 5899594 w 5899594"/>
              <a:gd name="connsiteY3" fmla="*/ 0 h 6443898"/>
              <a:gd name="connsiteX4" fmla="*/ 5896421 w 5899594"/>
              <a:gd name="connsiteY4" fmla="*/ 6283249 h 6443898"/>
              <a:gd name="connsiteX5" fmla="*/ 4822281 w 5899594"/>
              <a:gd name="connsiteY5" fmla="*/ 6283249 h 6443898"/>
              <a:gd name="connsiteX6" fmla="*/ 4205222 w 5899594"/>
              <a:gd name="connsiteY6" fmla="*/ 6443348 h 6443898"/>
              <a:gd name="connsiteX7" fmla="*/ 171894 w 5899594"/>
              <a:gd name="connsiteY7" fmla="*/ 6443898 h 6443898"/>
              <a:gd name="connsiteX8" fmla="*/ 171894 w 5899594"/>
              <a:gd name="connsiteY8" fmla="*/ 6443846 h 6443898"/>
              <a:gd name="connsiteX9" fmla="*/ 0 w 5899594"/>
              <a:gd name="connsiteY9" fmla="*/ 6443898 h 644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99594" h="6443898">
                <a:moveTo>
                  <a:pt x="0" y="0"/>
                </a:moveTo>
                <a:lnTo>
                  <a:pt x="171894" y="0"/>
                </a:lnTo>
                <a:lnTo>
                  <a:pt x="2590337" y="0"/>
                </a:lnTo>
                <a:lnTo>
                  <a:pt x="5899594" y="0"/>
                </a:lnTo>
                <a:cubicBezTo>
                  <a:pt x="5898536" y="2094416"/>
                  <a:pt x="5897479" y="4188833"/>
                  <a:pt x="5896421" y="6283249"/>
                </a:cubicBezTo>
                <a:lnTo>
                  <a:pt x="4822281" y="6283249"/>
                </a:lnTo>
                <a:lnTo>
                  <a:pt x="4205222" y="6443348"/>
                </a:lnTo>
                <a:lnTo>
                  <a:pt x="171894" y="6443898"/>
                </a:lnTo>
                <a:lnTo>
                  <a:pt x="171894" y="6443846"/>
                </a:lnTo>
                <a:lnTo>
                  <a:pt x="0" y="64438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" anchor="ctr">
            <a:noAutofit/>
          </a:bodyPr>
          <a:lstStyle>
            <a:lvl1pPr marL="0" indent="0" algn="ctr">
              <a:lnSpc>
                <a:spcPct val="300000"/>
              </a:lnSpc>
              <a:buNone/>
              <a:defRPr sz="1200"/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47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369697" y="743900"/>
            <a:ext cx="5542154" cy="25200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1800" b="0">
                <a:ln w="1905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8" name="Groep 47"/>
          <p:cNvGrpSpPr/>
          <p:nvPr userDrawn="1"/>
        </p:nvGrpSpPr>
        <p:grpSpPr>
          <a:xfrm>
            <a:off x="-3425006" y="-17883"/>
            <a:ext cx="3188786" cy="4152045"/>
            <a:chOff x="-3425006" y="-17883"/>
            <a:chExt cx="3188786" cy="4152045"/>
          </a:xfrm>
        </p:grpSpPr>
        <p:grpSp>
          <p:nvGrpSpPr>
            <p:cNvPr id="49" name="Instructie"/>
            <p:cNvGrpSpPr/>
            <p:nvPr userDrawn="1"/>
          </p:nvGrpSpPr>
          <p:grpSpPr>
            <a:xfrm>
              <a:off x="-3425006" y="-17883"/>
              <a:ext cx="3188786" cy="3252680"/>
              <a:chOff x="-3746647" y="-17883"/>
              <a:chExt cx="3188786" cy="3252680"/>
            </a:xfrm>
          </p:grpSpPr>
          <p:sp>
            <p:nvSpPr>
              <p:cNvPr id="54" name="Rechthoek 53"/>
              <p:cNvSpPr/>
              <p:nvPr userDrawn="1"/>
            </p:nvSpPr>
            <p:spPr>
              <a:xfrm>
                <a:off x="-3740986" y="-17883"/>
                <a:ext cx="3176012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TEKST NIVEAUS</a:t>
                </a:r>
              </a:p>
            </p:txBody>
          </p:sp>
          <p:sp>
            <p:nvSpPr>
              <p:cNvPr id="55" name="Ovaal 54"/>
              <p:cNvSpPr/>
              <p:nvPr userDrawn="1"/>
            </p:nvSpPr>
            <p:spPr>
              <a:xfrm>
                <a:off x="-3746647" y="1337198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56" name="Rechte verbindingslijn 55"/>
              <p:cNvCxnSpPr>
                <a:cxnSpLocks/>
              </p:cNvCxnSpPr>
              <p:nvPr userDrawn="1"/>
            </p:nvCxnSpPr>
            <p:spPr>
              <a:xfrm>
                <a:off x="-3740987" y="223752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57" name="Rechthoek 56"/>
              <p:cNvSpPr/>
              <p:nvPr userDrawn="1"/>
            </p:nvSpPr>
            <p:spPr>
              <a:xfrm>
                <a:off x="-3616190" y="348916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900" dirty="0">
                    <a:solidFill>
                      <a:srgbClr val="FF3300"/>
                    </a:solidFill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58" name="Rechte verbindingslijn 57"/>
              <p:cNvCxnSpPr>
                <a:cxnSpLocks/>
              </p:cNvCxnSpPr>
              <p:nvPr userDrawn="1"/>
            </p:nvCxnSpPr>
            <p:spPr>
              <a:xfrm>
                <a:off x="-3183385" y="593897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echte verbindingslijn 58"/>
              <p:cNvCxnSpPr>
                <a:cxnSpLocks/>
              </p:cNvCxnSpPr>
              <p:nvPr userDrawn="1"/>
            </p:nvCxnSpPr>
            <p:spPr>
              <a:xfrm>
                <a:off x="-3740987" y="593897"/>
                <a:ext cx="12479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echthoek 59"/>
              <p:cNvSpPr/>
              <p:nvPr userDrawn="1"/>
            </p:nvSpPr>
            <p:spPr>
              <a:xfrm>
                <a:off x="-3610653" y="570366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l-NL" sz="10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1" name="Groep 60"/>
              <p:cNvGrpSpPr/>
              <p:nvPr userDrawn="1"/>
            </p:nvGrpSpPr>
            <p:grpSpPr>
              <a:xfrm>
                <a:off x="-3324475" y="700986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15" name="Rechte verbindingslijn 114"/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6" name="Rechte verbindingslijn 115"/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Rechte verbindingslijn 116"/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Rechte verbindingslijn 117"/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9" name="Rechte verbindingslijn 118"/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2" name="Groep 111"/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13" name="Rechthoek 112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Pijl: punthaak 113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oep 61"/>
              <p:cNvGrpSpPr/>
              <p:nvPr userDrawn="1"/>
            </p:nvGrpSpPr>
            <p:grpSpPr>
              <a:xfrm>
                <a:off x="-3647748" y="700986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02" name="Groep 101"/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06" name="Rechte verbindingslijn 105"/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7" name="Rechte verbindingslijn 106"/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8" name="Rechte verbindingslijn 107"/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09" name="Rechte verbindingslijn 108"/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0" name="Rechte verbindingslijn 109"/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03" name="Groep 102"/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04" name="Rechthoek 103"/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Pijl: punthaak 104"/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cxnSp>
            <p:nvCxnSpPr>
              <p:cNvPr id="63" name="Rechte verbindingslijn 62"/>
              <p:cNvCxnSpPr>
                <a:cxnSpLocks/>
              </p:cNvCxnSpPr>
              <p:nvPr userDrawn="1"/>
            </p:nvCxnSpPr>
            <p:spPr>
              <a:xfrm flipV="1">
                <a:off x="-3458095" y="504305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64" name="Rechte verbindingslijn 63"/>
              <p:cNvCxnSpPr>
                <a:cxnSpLocks/>
              </p:cNvCxnSpPr>
              <p:nvPr userDrawn="1"/>
            </p:nvCxnSpPr>
            <p:spPr>
              <a:xfrm>
                <a:off x="-3142211" y="692727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65" name="Groep 64"/>
              <p:cNvGrpSpPr/>
              <p:nvPr userDrawn="1"/>
            </p:nvGrpSpPr>
            <p:grpSpPr>
              <a:xfrm>
                <a:off x="-2746678" y="350909"/>
                <a:ext cx="357690" cy="330595"/>
                <a:chOff x="-2721817" y="347336"/>
                <a:chExt cx="432805" cy="400021"/>
              </a:xfrm>
            </p:grpSpPr>
            <p:sp>
              <p:nvSpPr>
                <p:cNvPr id="91" name="Rechthoek 90"/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2" name="Groep 91"/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93" name="Groep 92"/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97" name="Rechte verbindingslijn 96"/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8" name="Rechte verbindingslijn 97"/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9" name="Rechte verbindingslijn 98"/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0" name="Rechte verbindingslijn 99"/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1" name="Rechte verbindingslijn 100"/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94" name="Groep 93"/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95" name="Rechthoek 94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6" name="Pijl: punthaak 95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66" name="Groep 65"/>
              <p:cNvGrpSpPr/>
              <p:nvPr userDrawn="1"/>
            </p:nvGrpSpPr>
            <p:grpSpPr>
              <a:xfrm>
                <a:off x="-2746678" y="762183"/>
                <a:ext cx="357690" cy="330595"/>
                <a:chOff x="-2721817" y="782525"/>
                <a:chExt cx="432805" cy="400021"/>
              </a:xfrm>
            </p:grpSpPr>
            <p:sp>
              <p:nvSpPr>
                <p:cNvPr id="80" name="Rechthoek 79"/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1" name="Groep 80"/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82" name="Groep 81"/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86" name="Rechte verbindingslijn 85"/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7" name="Rechte verbindingslijn 86"/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8" name="Rechte verbindingslijn 87"/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89" name="Rechte verbindingslijn 88"/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Rechte verbindingslijn 89"/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83" name="Groep 82"/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84" name="Rechthoek 83"/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85" name="Pijl: punthaak 84"/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67" name="Rechthoek 66"/>
              <p:cNvSpPr/>
              <p:nvPr userDrawn="1"/>
            </p:nvSpPr>
            <p:spPr>
              <a:xfrm>
                <a:off x="-2271698" y="420133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hoog</a:t>
                </a:r>
              </a:p>
            </p:txBody>
          </p:sp>
          <p:sp>
            <p:nvSpPr>
              <p:cNvPr id="68" name="Rechthoek 67"/>
              <p:cNvSpPr/>
              <p:nvPr userDrawn="1"/>
            </p:nvSpPr>
            <p:spPr>
              <a:xfrm>
                <a:off x="-2271698" y="829257"/>
                <a:ext cx="1713837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Niveau omlaag</a:t>
                </a:r>
              </a:p>
            </p:txBody>
          </p:sp>
          <p:cxnSp>
            <p:nvCxnSpPr>
              <p:cNvPr id="69" name="Rechte verbindingslijn 68"/>
              <p:cNvCxnSpPr>
                <a:cxnSpLocks/>
              </p:cNvCxnSpPr>
              <p:nvPr userDrawn="1"/>
            </p:nvCxnSpPr>
            <p:spPr>
              <a:xfrm>
                <a:off x="-3740987" y="1215973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70" name="Rechthoek 69"/>
              <p:cNvSpPr/>
              <p:nvPr userDrawn="1"/>
            </p:nvSpPr>
            <p:spPr>
              <a:xfrm>
                <a:off x="-3380965" y="1337197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268288" indent="-268288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Bullet</a:t>
                </a:r>
              </a:p>
            </p:txBody>
          </p:sp>
          <p:sp>
            <p:nvSpPr>
              <p:cNvPr id="71" name="Ovaal 70"/>
              <p:cNvSpPr/>
              <p:nvPr userDrawn="1"/>
            </p:nvSpPr>
            <p:spPr>
              <a:xfrm>
                <a:off x="-3746647" y="1709119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2" name="Rechthoek 71"/>
              <p:cNvSpPr/>
              <p:nvPr userDrawn="1"/>
            </p:nvSpPr>
            <p:spPr>
              <a:xfrm>
                <a:off x="-3380965" y="1709118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552450" lvl="1" indent="-285750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2C51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Sub-</a:t>
                </a:r>
                <a:r>
                  <a:rPr lang="nl-NL" sz="1100" dirty="0" err="1">
                    <a:solidFill>
                      <a:prstClr val="black"/>
                    </a:solidFill>
                  </a:rPr>
                  <a:t>bullet</a:t>
                </a:r>
                <a:endParaRPr lang="nl-NL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Ovaal 72"/>
              <p:cNvSpPr/>
              <p:nvPr userDrawn="1"/>
            </p:nvSpPr>
            <p:spPr>
              <a:xfrm>
                <a:off x="-3746647" y="208329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4" name="Rechthoek 73"/>
              <p:cNvSpPr/>
              <p:nvPr userDrawn="1"/>
            </p:nvSpPr>
            <p:spPr>
              <a:xfrm>
                <a:off x="-3380965" y="208329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2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Clr>
                    <a:srgbClr val="0080C9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dirty="0">
                    <a:solidFill>
                      <a:prstClr val="black"/>
                    </a:solidFill>
                  </a:rPr>
                  <a:t>Platte Tekst</a:t>
                </a: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>
                <a:off x="-3746647" y="2455940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4</a:t>
                </a:r>
              </a:p>
            </p:txBody>
          </p:sp>
          <p:sp>
            <p:nvSpPr>
              <p:cNvPr id="76" name="Rechthoek 75"/>
              <p:cNvSpPr/>
              <p:nvPr userDrawn="1"/>
            </p:nvSpPr>
            <p:spPr>
              <a:xfrm>
                <a:off x="-3380965" y="2455939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3">
                  <a:lnSpc>
                    <a:spcPct val="9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300" b="1" dirty="0">
                    <a:solidFill>
                      <a:prstClr val="black"/>
                    </a:solidFill>
                  </a:rPr>
                  <a:t>Header</a:t>
                </a:r>
              </a:p>
            </p:txBody>
          </p:sp>
          <p:sp>
            <p:nvSpPr>
              <p:cNvPr id="77" name="Ovaal 76"/>
              <p:cNvSpPr/>
              <p:nvPr userDrawn="1"/>
            </p:nvSpPr>
            <p:spPr>
              <a:xfrm>
                <a:off x="-3746647" y="284825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5</a:t>
                </a:r>
              </a:p>
            </p:txBody>
          </p:sp>
          <p:sp>
            <p:nvSpPr>
              <p:cNvPr id="78" name="Rechthoek 77"/>
              <p:cNvSpPr/>
              <p:nvPr userDrawn="1"/>
            </p:nvSpPr>
            <p:spPr>
              <a:xfrm>
                <a:off x="-3380965" y="2848254"/>
                <a:ext cx="2823104" cy="25596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lvl="4">
                  <a:lnSpc>
                    <a:spcPct val="110000"/>
                  </a:lnSpc>
                  <a:spcBef>
                    <a:spcPts val="900"/>
                  </a:spcBef>
                  <a:spcAft>
                    <a:spcPts val="900"/>
                  </a:spcAft>
                  <a:buFont typeface="Arial" panose="020B0604020202020204" pitchFamily="34" charset="0"/>
                  <a:buNone/>
                  <a:defRPr/>
                </a:pPr>
                <a:r>
                  <a:rPr lang="nl-NL" sz="1100" i="1" dirty="0">
                    <a:solidFill>
                      <a:srgbClr val="7C7C7B"/>
                    </a:solidFill>
                  </a:rPr>
                  <a:t>Bronvermelding</a:t>
                </a:r>
              </a:p>
            </p:txBody>
          </p:sp>
          <p:cxnSp>
            <p:nvCxnSpPr>
              <p:cNvPr id="79" name="Rechte verbindingslijn 78"/>
              <p:cNvCxnSpPr>
                <a:cxnSpLocks/>
              </p:cNvCxnSpPr>
              <p:nvPr userDrawn="1"/>
            </p:nvCxnSpPr>
            <p:spPr>
              <a:xfrm>
                <a:off x="-3740987" y="3234797"/>
                <a:ext cx="3176013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  <p:grpSp>
          <p:nvGrpSpPr>
            <p:cNvPr id="50" name="Meer informatie"/>
            <p:cNvGrpSpPr/>
            <p:nvPr userDrawn="1"/>
          </p:nvGrpSpPr>
          <p:grpSpPr>
            <a:xfrm>
              <a:off x="-3421298" y="3350889"/>
              <a:ext cx="3178515" cy="783273"/>
              <a:chOff x="-3741486" y="3359148"/>
              <a:chExt cx="3178515" cy="783273"/>
            </a:xfrm>
          </p:grpSpPr>
          <p:sp>
            <p:nvSpPr>
              <p:cNvPr id="51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hthoek 51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120" name="Groep 119"/>
          <p:cNvGrpSpPr/>
          <p:nvPr userDrawn="1"/>
        </p:nvGrpSpPr>
        <p:grpSpPr>
          <a:xfrm>
            <a:off x="12391603" y="-17883"/>
            <a:ext cx="3183678" cy="5210064"/>
            <a:chOff x="12391603" y="-17883"/>
            <a:chExt cx="3183678" cy="5210064"/>
          </a:xfrm>
        </p:grpSpPr>
        <p:pic>
          <p:nvPicPr>
            <p:cNvPr id="121" name="Afbeelding 1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00419" y="3229990"/>
              <a:ext cx="1639482" cy="8157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22" name="Instructie"/>
            <p:cNvGrpSpPr/>
            <p:nvPr userDrawn="1"/>
          </p:nvGrpSpPr>
          <p:grpSpPr>
            <a:xfrm>
              <a:off x="12391603" y="-17883"/>
              <a:ext cx="3183678" cy="4334466"/>
              <a:chOff x="12391603" y="-17883"/>
              <a:chExt cx="3183678" cy="4334466"/>
            </a:xfrm>
          </p:grpSpPr>
          <p:sp>
            <p:nvSpPr>
              <p:cNvPr id="127" name="Rechthoek 126"/>
              <p:cNvSpPr/>
              <p:nvPr userDrawn="1"/>
            </p:nvSpPr>
            <p:spPr>
              <a:xfrm>
                <a:off x="12397264" y="-17883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nl-NL" sz="1400" b="1" kern="0" cap="all" dirty="0">
                    <a:solidFill>
                      <a:srgbClr val="002C51"/>
                    </a:solidFill>
                    <a:latin typeface="Gill Sans MT"/>
                    <a:cs typeface="Segoe UI Light" panose="020B0502040204020203" pitchFamily="34" charset="0"/>
                  </a:rPr>
                  <a:t>Afbeelding invoegen</a:t>
                </a:r>
              </a:p>
            </p:txBody>
          </p:sp>
          <p:sp>
            <p:nvSpPr>
              <p:cNvPr id="128" name="Ovaal 127"/>
              <p:cNvSpPr/>
              <p:nvPr userDrawn="1"/>
            </p:nvSpPr>
            <p:spPr>
              <a:xfrm>
                <a:off x="12391603" y="348607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 dirty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129" name="Rechte verbindingslijn 128"/>
              <p:cNvCxnSpPr>
                <a:cxnSpLocks/>
              </p:cNvCxnSpPr>
              <p:nvPr userDrawn="1"/>
            </p:nvCxnSpPr>
            <p:spPr>
              <a:xfrm>
                <a:off x="12397263" y="223752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/>
              <p:cNvCxnSpPr>
                <a:cxnSpLocks/>
              </p:cNvCxnSpPr>
              <p:nvPr userDrawn="1"/>
            </p:nvCxnSpPr>
            <p:spPr>
              <a:xfrm>
                <a:off x="12397263" y="1560050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1" name="Rechthoek 130"/>
              <p:cNvSpPr/>
              <p:nvPr userDrawn="1"/>
            </p:nvSpPr>
            <p:spPr>
              <a:xfrm>
                <a:off x="12757284" y="414669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neer nodig, verwijder de bestaande afbeelding. Klik op het pictogram om een nieuwe afbeelding in te voegen.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i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zie onderstaand voorbeeld).</a:t>
                </a:r>
                <a:endParaRPr lang="nl-NL" sz="1100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2" name="Rechte verbindingslijn 131"/>
              <p:cNvCxnSpPr>
                <a:cxnSpLocks/>
              </p:cNvCxnSpPr>
              <p:nvPr userDrawn="1"/>
            </p:nvCxnSpPr>
            <p:spPr>
              <a:xfrm>
                <a:off x="12397263" y="431658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sp>
            <p:nvSpPr>
              <p:cNvPr id="133" name="Ovaal 132"/>
              <p:cNvSpPr/>
              <p:nvPr userDrawn="1"/>
            </p:nvSpPr>
            <p:spPr>
              <a:xfrm>
                <a:off x="12391603" y="1688515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134" name="Rechthoek 133"/>
              <p:cNvSpPr/>
              <p:nvPr userDrawn="1"/>
            </p:nvSpPr>
            <p:spPr>
              <a:xfrm>
                <a:off x="12757284" y="1754578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eer de gewenste afbeelding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en klik op </a:t>
                </a: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voegen’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5" name="Groep 134"/>
              <p:cNvGrpSpPr/>
              <p:nvPr userDrawn="1"/>
            </p:nvGrpSpPr>
            <p:grpSpPr>
              <a:xfrm>
                <a:off x="12757284" y="2166624"/>
                <a:ext cx="825500" cy="209550"/>
                <a:chOff x="12757284" y="2166624"/>
                <a:chExt cx="825500" cy="209550"/>
              </a:xfrm>
            </p:grpSpPr>
            <p:sp>
              <p:nvSpPr>
                <p:cNvPr id="168" name="Rechthoek 167"/>
                <p:cNvSpPr/>
                <p:nvPr userDrawn="1"/>
              </p:nvSpPr>
              <p:spPr>
                <a:xfrm>
                  <a:off x="12757284" y="2166624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voegen</a:t>
                  </a:r>
                </a:p>
              </p:txBody>
            </p:sp>
            <p:cxnSp>
              <p:nvCxnSpPr>
                <p:cNvPr id="169" name="Rechte verbindingslijn 168"/>
                <p:cNvCxnSpPr/>
                <p:nvPr userDrawn="1"/>
              </p:nvCxnSpPr>
              <p:spPr>
                <a:xfrm>
                  <a:off x="13407929" y="2199024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70" name="Gelijkbenige driehoek 169"/>
                <p:cNvSpPr/>
                <p:nvPr userDrawn="1"/>
              </p:nvSpPr>
              <p:spPr>
                <a:xfrm rot="10800000">
                  <a:off x="13448749" y="2250678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36" name="Groep 135"/>
              <p:cNvGrpSpPr/>
              <p:nvPr userDrawn="1"/>
            </p:nvGrpSpPr>
            <p:grpSpPr>
              <a:xfrm>
                <a:off x="12757284" y="1123743"/>
                <a:ext cx="294789" cy="318834"/>
                <a:chOff x="14466489" y="1001522"/>
                <a:chExt cx="290627" cy="314333"/>
              </a:xfrm>
            </p:grpSpPr>
            <p:sp>
              <p:nvSpPr>
                <p:cNvPr id="162" name="Rechthoek 161"/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Ovaal 162"/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Vrije vorm: vorm 163"/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Rechthoek: afgeronde hoeken 164"/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66" name="Rechte verbindingslijn 165"/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7" name="Rechte verbindingslijn 166"/>
                <p:cNvCxnSpPr>
                  <a:cxnSpLocks/>
                  <a:stCxn id="165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7" name="Ovaal 136"/>
              <p:cNvSpPr/>
              <p:nvPr userDrawn="1"/>
            </p:nvSpPr>
            <p:spPr>
              <a:xfrm>
                <a:off x="12391603" y="2613716"/>
                <a:ext cx="260914" cy="259683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nl-NL" sz="1100" kern="0">
                    <a:solidFill>
                      <a:prstClr val="white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38" name="Rechthoek 137"/>
              <p:cNvSpPr/>
              <p:nvPr userDrawn="1"/>
            </p:nvSpPr>
            <p:spPr>
              <a:xfrm>
                <a:off x="12757285" y="2679780"/>
                <a:ext cx="2817996" cy="62591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F39200"/>
                  </a:buClr>
                  <a:buFont typeface="Arial" panose="020B0604020202020204" pitchFamily="34" charset="0"/>
                  <a:buNone/>
                  <a:defRPr/>
                </a:pP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Klik met de rechter muisknop op de miniatuurweergave van de dia en kies</a:t>
                </a:r>
                <a:b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Dia herstellen´</a:t>
                </a:r>
                <a:r>
                  <a:rPr lang="nl-NL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nl-NL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39" name="Rechte verbindingslijn 138"/>
              <p:cNvCxnSpPr>
                <a:cxnSpLocks/>
              </p:cNvCxnSpPr>
              <p:nvPr userDrawn="1"/>
            </p:nvCxnSpPr>
            <p:spPr>
              <a:xfrm>
                <a:off x="12397263" y="2481906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grpSp>
            <p:nvGrpSpPr>
              <p:cNvPr id="140" name="Groep 139"/>
              <p:cNvGrpSpPr/>
              <p:nvPr userDrawn="1"/>
            </p:nvGrpSpPr>
            <p:grpSpPr>
              <a:xfrm>
                <a:off x="13717198" y="3515867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141" name="Rechthoek 140"/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nl-NL" sz="80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nl-NL" sz="1000" b="1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3" name="Groep 142"/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56" name="Rechthoek: afgeronde hoeken 155"/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nl-NL" sz="800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Rechthoek 156"/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Rechthoek 157"/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Rechthoek 158"/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Rechthoek 159"/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Rechthoek 160"/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nl-NL" sz="1000" b="1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44" name="Groep 143"/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148" name="Groep 147"/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150" name="Rechthoek: afgeronde hoeken 149"/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800">
                        <a:solidFill>
                          <a:prstClr val="black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" name="Rechthoek 150"/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2" name="Rechthoek 151"/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Rechthoek 152"/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4" name="Rechthoek 153"/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5" name="Rechthoek 154"/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nl-NL" sz="1000" b="1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49" name="Boog 148"/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nl-NL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45" name="Tekstvak 144"/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Indeling</a:t>
                  </a:r>
                </a:p>
              </p:txBody>
            </p:sp>
            <p:sp>
              <p:nvSpPr>
                <p:cNvPr id="146" name="Tekstvak 145"/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nl-NL" sz="80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Dia Herstellen</a:t>
                  </a:r>
                </a:p>
              </p:txBody>
            </p:sp>
            <p:pic>
              <p:nvPicPr>
                <p:cNvPr id="147" name="Picture 3"/>
                <p:cNvPicPr>
                  <a:picLocks noChangeAspect="1" noChangeArrowheads="1"/>
                </p:cNvPicPr>
                <p:nvPr userDrawn="1"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grpSp>
          <p:nvGrpSpPr>
            <p:cNvPr id="123" name="Meer informatie"/>
            <p:cNvGrpSpPr/>
            <p:nvPr userDrawn="1"/>
          </p:nvGrpSpPr>
          <p:grpSpPr>
            <a:xfrm>
              <a:off x="12396764" y="4408908"/>
              <a:ext cx="3178515" cy="783273"/>
              <a:chOff x="-3741486" y="3359148"/>
              <a:chExt cx="3178515" cy="783273"/>
            </a:xfrm>
          </p:grpSpPr>
          <p:sp>
            <p:nvSpPr>
              <p:cNvPr id="124" name="Freeform 101"/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Rechthoek 124"/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Meer weten?</a:t>
                </a:r>
                <a:b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a naar dia </a:t>
                </a:r>
                <a:r>
                  <a:rPr lang="nl-NL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Video instructies – YouTube links’</a:t>
                </a:r>
                <a:r>
                  <a:rPr lang="nl-NL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6" name="Rechte verbindingslijn 125"/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981778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2" grpId="0" animBg="1"/>
      <p:bldP spid="46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52.xml"/><Relationship Id="rId34" Type="http://schemas.openxmlformats.org/officeDocument/2006/relationships/tags" Target="../tags/tag7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vmlDrawing" Target="../drawings/vmlDrawing5.v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heme" Target="../theme/theme2.xml"/><Relationship Id="rId37" Type="http://schemas.openxmlformats.org/officeDocument/2006/relationships/oleObject" Target="../embeddings/oleObject5.bin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tags" Target="../tags/tag8.xml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image" Target="../media/image2.jpeg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8" Type="http://schemas.openxmlformats.org/officeDocument/2006/relationships/slideLayout" Target="../slideLayouts/slideLayout7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26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5" Type="http://schemas.openxmlformats.org/officeDocument/2006/relationships/slideLayout" Target="../slideLayouts/slideLayout117.xml"/><Relationship Id="rId33" Type="http://schemas.openxmlformats.org/officeDocument/2006/relationships/image" Target="../media/image26.png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24" Type="http://schemas.openxmlformats.org/officeDocument/2006/relationships/slideLayout" Target="../slideLayouts/slideLayout116.xml"/><Relationship Id="rId32" Type="http://schemas.openxmlformats.org/officeDocument/2006/relationships/image" Target="../media/image2.jpeg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slideLayout" Target="../slideLayouts/slideLayout115.xml"/><Relationship Id="rId28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111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slideLayout" Target="../slideLayouts/slideLayout114.xml"/><Relationship Id="rId27" Type="http://schemas.openxmlformats.org/officeDocument/2006/relationships/slideLayout" Target="../slideLayouts/slideLayout119.xml"/><Relationship Id="rId30" Type="http://schemas.openxmlformats.org/officeDocument/2006/relationships/slideLayout" Target="../slideLayouts/slideLayout122.xml"/><Relationship Id="rId8" Type="http://schemas.openxmlformats.org/officeDocument/2006/relationships/slideLayout" Target="../slideLayouts/slideLayout10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image" Target="../media/image26.png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29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image" Target="../media/image2.jpeg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30" Type="http://schemas.openxmlformats.org/officeDocument/2006/relationships/slideLayout" Target="../slideLayouts/slideLayout152.xml"/><Relationship Id="rId8" Type="http://schemas.openxmlformats.org/officeDocument/2006/relationships/slideLayout" Target="../slideLayouts/slideLayout130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173.xml"/><Relationship Id="rId34" Type="http://schemas.openxmlformats.org/officeDocument/2006/relationships/tags" Target="../tags/tag12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vmlDrawing" Target="../drawings/vmlDrawing9.v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29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theme" Target="../theme/theme6.xml"/><Relationship Id="rId37" Type="http://schemas.openxmlformats.org/officeDocument/2006/relationships/oleObject" Target="../embeddings/oleObject9.bin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tags" Target="../tags/tag13.xml"/><Relationship Id="rId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43823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6" name="think-cell Slide" r:id="rId37" imgW="216" imgH="216" progId="TCLayout.ActiveDocument.1">
                  <p:embed/>
                </p:oleObj>
              </mc:Choice>
              <mc:Fallback>
                <p:oleObj name="think-cell Slide" r:id="rId3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defTabSz="1218662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800" b="1" i="0" baseline="0" dirty="0">
              <a:solidFill>
                <a:srgbClr val="7F7F7F">
                  <a:lumMod val="50000"/>
                </a:srgbClr>
              </a:solidFill>
              <a:latin typeface="Gill Sans MT"/>
              <a:ea typeface="+mj-ea"/>
              <a:cs typeface="+mj-cs"/>
              <a:sym typeface="Gill Sans MT"/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68300" y="1179861"/>
            <a:ext cx="11455400" cy="463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Bullet</a:t>
            </a:r>
          </a:p>
          <a:p>
            <a:pPr lvl="1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Header</a:t>
            </a:r>
          </a:p>
          <a:p>
            <a:pPr lvl="4"/>
            <a:r>
              <a:rPr lang="nl-NL" dirty="0"/>
              <a:t>Bronvermelding</a:t>
            </a:r>
          </a:p>
        </p:txBody>
      </p:sp>
      <p:grpSp>
        <p:nvGrpSpPr>
          <p:cNvPr id="37" name="GRID" hidden="1"/>
          <p:cNvGrpSpPr/>
          <p:nvPr userDrawn="1"/>
        </p:nvGrpSpPr>
        <p:grpSpPr>
          <a:xfrm>
            <a:off x="-1242259" y="-906295"/>
            <a:ext cx="14925288" cy="8424936"/>
            <a:chOff x="-1242259" y="-906295"/>
            <a:chExt cx="14925288" cy="8424936"/>
          </a:xfrm>
        </p:grpSpPr>
        <p:grpSp>
          <p:nvGrpSpPr>
            <p:cNvPr id="22" name="GRID"/>
            <p:cNvGrpSpPr/>
            <p:nvPr userDrawn="1"/>
          </p:nvGrpSpPr>
          <p:grpSpPr>
            <a:xfrm>
              <a:off x="-1242259" y="-906295"/>
              <a:ext cx="14925288" cy="8424936"/>
              <a:chOff x="-1242259" y="-906295"/>
              <a:chExt cx="14925288" cy="8424936"/>
            </a:xfrm>
          </p:grpSpPr>
          <p:grpSp>
            <p:nvGrpSpPr>
              <p:cNvPr id="23" name="Groep 22"/>
              <p:cNvGrpSpPr/>
              <p:nvPr userDrawn="1"/>
            </p:nvGrpSpPr>
            <p:grpSpPr>
              <a:xfrm>
                <a:off x="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3" name="Rechte verbindingslijn 32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Rechte verbindingslijn 33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ep 23"/>
              <p:cNvGrpSpPr/>
              <p:nvPr userDrawn="1"/>
            </p:nvGrpSpPr>
            <p:grpSpPr>
              <a:xfrm>
                <a:off x="1182370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1" name="Rechte verbindingslijn 30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Rechte verbindingslijn 31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Groep 24"/>
              <p:cNvGrpSpPr/>
              <p:nvPr userDrawn="1"/>
            </p:nvGrpSpPr>
            <p:grpSpPr>
              <a:xfrm rot="5400000">
                <a:off x="6036235" y="-7278494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9" name="Rechte verbindingslijn 28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Rechte verbindingslijn 29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Groep 25"/>
              <p:cNvGrpSpPr/>
              <p:nvPr userDrawn="1"/>
            </p:nvGrpSpPr>
            <p:grpSpPr>
              <a:xfrm rot="5400000">
                <a:off x="6036235" y="-788795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7" name="Rechte verbindingslijn 26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Rechte verbindingslijn 27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35" name="Rechte verbindingslijn 34"/>
            <p:cNvCxnSpPr/>
            <p:nvPr userDrawn="1"/>
          </p:nvCxnSpPr>
          <p:spPr>
            <a:xfrm rot="5400000">
              <a:off x="6220385" y="-6282783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Rechte verbindingslijn 35"/>
            <p:cNvCxnSpPr/>
            <p:nvPr userDrawn="1"/>
          </p:nvCxnSpPr>
          <p:spPr>
            <a:xfrm rot="5400000">
              <a:off x="6220385" y="-1646045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ALK"/>
          <p:cNvGrpSpPr/>
          <p:nvPr userDrawn="1"/>
        </p:nvGrpSpPr>
        <p:grpSpPr>
          <a:xfrm>
            <a:off x="0" y="6280153"/>
            <a:ext cx="12192000" cy="577849"/>
            <a:chOff x="12700" y="6280150"/>
            <a:chExt cx="12192000" cy="577849"/>
          </a:xfrm>
        </p:grpSpPr>
        <p:sp>
          <p:nvSpPr>
            <p:cNvPr id="42" name="Rechthoek 13"/>
            <p:cNvSpPr/>
            <p:nvPr userDrawn="1"/>
          </p:nvSpPr>
          <p:spPr>
            <a:xfrm flipH="1">
              <a:off x="12700" y="6280150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rgbClr val="7F7F7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nl-NL" sz="32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9" name="Rechthoek 13"/>
            <p:cNvSpPr/>
            <p:nvPr userDrawn="1"/>
          </p:nvSpPr>
          <p:spPr>
            <a:xfrm flipH="1">
              <a:off x="12700" y="6294117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nl-NL" sz="32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40" name="Picture 2"/>
            <p:cNvPicPr>
              <a:picLocks noChangeAspect="1" noChangeArrowheads="1"/>
            </p:cNvPicPr>
            <p:nvPr userDrawn="1"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197370" y="6414890"/>
              <a:ext cx="639030" cy="312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726371" y="6561624"/>
            <a:ext cx="2183084" cy="1658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7A4798A-83E9-4CF5-A73A-1D57EF77459E}" type="datetime2">
              <a:rPr lang="en-GB" smtClean="0"/>
              <a:t>Thursday, 29 September 2022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561624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374004" y="6561624"/>
            <a:ext cx="31027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6852D14-F929-4ADB-A2A3-535638028445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49" name="Rechthoek 48"/>
          <p:cNvSpPr/>
          <p:nvPr userDrawn="1"/>
        </p:nvSpPr>
        <p:spPr>
          <a:xfrm>
            <a:off x="677467" y="6567899"/>
            <a:ext cx="6808" cy="1568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51" tIns="60928" rIns="121851" bIns="609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3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0" name="Tekstvak 49"/>
          <p:cNvSpPr txBox="1"/>
          <p:nvPr userDrawn="1"/>
        </p:nvSpPr>
        <p:spPr>
          <a:xfrm>
            <a:off x="9867900" y="-4826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bg1">
                    <a:lumMod val="50000"/>
                  </a:schemeClr>
                </a:solidFill>
              </a:rPr>
              <a:t>VDL Nedcar</a:t>
            </a:r>
          </a:p>
        </p:txBody>
      </p:sp>
    </p:spTree>
    <p:extLst>
      <p:ext uri="{BB962C8B-B14F-4D97-AF65-F5344CB8AC3E}">
        <p14:creationId xmlns:p14="http://schemas.microsoft.com/office/powerpoint/2010/main" val="1337167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9" r:id="rId2"/>
    <p:sldLayoutId id="2147483659" r:id="rId3"/>
    <p:sldLayoutId id="2147483658" r:id="rId4"/>
    <p:sldLayoutId id="2147483698" r:id="rId5"/>
    <p:sldLayoutId id="2147483660" r:id="rId6"/>
    <p:sldLayoutId id="2147483661" r:id="rId7"/>
    <p:sldLayoutId id="2147483707" r:id="rId8"/>
    <p:sldLayoutId id="2147483708" r:id="rId9"/>
    <p:sldLayoutId id="2147483662" r:id="rId10"/>
    <p:sldLayoutId id="2147483674" r:id="rId11"/>
    <p:sldLayoutId id="2147483676" r:id="rId12"/>
    <p:sldLayoutId id="2147483669" r:id="rId13"/>
    <p:sldLayoutId id="2147483705" r:id="rId14"/>
    <p:sldLayoutId id="2147483665" r:id="rId15"/>
    <p:sldLayoutId id="2147483667" r:id="rId16"/>
    <p:sldLayoutId id="2147483666" r:id="rId17"/>
    <p:sldLayoutId id="2147483668" r:id="rId18"/>
    <p:sldLayoutId id="2147483677" r:id="rId19"/>
    <p:sldLayoutId id="2147483701" r:id="rId20"/>
    <p:sldLayoutId id="2147483702" r:id="rId21"/>
    <p:sldLayoutId id="2147483703" r:id="rId22"/>
    <p:sldLayoutId id="2147483704" r:id="rId23"/>
    <p:sldLayoutId id="2147483670" r:id="rId24"/>
    <p:sldLayoutId id="2147483671" r:id="rId25"/>
    <p:sldLayoutId id="2147483672" r:id="rId26"/>
    <p:sldLayoutId id="2147483699" r:id="rId27"/>
    <p:sldLayoutId id="2147483706" r:id="rId28"/>
    <p:sldLayoutId id="2147483695" r:id="rId29"/>
    <p:sldLayoutId id="2147483696" r:id="rId30"/>
    <p:sldLayoutId id="2147483697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2450" indent="-28575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Font typeface="Arial" panose="020B0604020202020204" pitchFamily="34" charset="0"/>
        <a:buNone/>
        <a:defRPr sz="1600" i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276225" indent="-2762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84948576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19" name="think-cell Slide" r:id="rId37" imgW="216" imgH="216" progId="TCLayout.ActiveDocument.1">
                  <p:embed/>
                </p:oleObj>
              </mc:Choice>
              <mc:Fallback>
                <p:oleObj name="think-cell Slide" r:id="rId3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5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 defTabSz="121866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800" b="1" dirty="0">
              <a:solidFill>
                <a:srgbClr val="7F7F7F">
                  <a:lumMod val="50000"/>
                </a:srgbClr>
              </a:solidFill>
              <a:latin typeface="Gill Sans MT"/>
              <a:sym typeface="Gill Sans MT"/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68300" y="1179861"/>
            <a:ext cx="11455400" cy="463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Bullet</a:t>
            </a:r>
          </a:p>
          <a:p>
            <a:pPr lvl="1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Header</a:t>
            </a:r>
          </a:p>
          <a:p>
            <a:pPr lvl="4"/>
            <a:r>
              <a:rPr lang="nl-NL" dirty="0"/>
              <a:t>Bronvermelding</a:t>
            </a:r>
          </a:p>
        </p:txBody>
      </p:sp>
      <p:grpSp>
        <p:nvGrpSpPr>
          <p:cNvPr id="37" name="GRID" hidden="1"/>
          <p:cNvGrpSpPr/>
          <p:nvPr userDrawn="1"/>
        </p:nvGrpSpPr>
        <p:grpSpPr>
          <a:xfrm>
            <a:off x="-1242259" y="-906295"/>
            <a:ext cx="14925288" cy="8424936"/>
            <a:chOff x="-1242259" y="-906295"/>
            <a:chExt cx="14925288" cy="8424936"/>
          </a:xfrm>
        </p:grpSpPr>
        <p:grpSp>
          <p:nvGrpSpPr>
            <p:cNvPr id="22" name="GRID"/>
            <p:cNvGrpSpPr/>
            <p:nvPr userDrawn="1"/>
          </p:nvGrpSpPr>
          <p:grpSpPr>
            <a:xfrm>
              <a:off x="-1242259" y="-906295"/>
              <a:ext cx="14925288" cy="8424936"/>
              <a:chOff x="-1242259" y="-906295"/>
              <a:chExt cx="14925288" cy="8424936"/>
            </a:xfrm>
          </p:grpSpPr>
          <p:grpSp>
            <p:nvGrpSpPr>
              <p:cNvPr id="23" name="Groep 22"/>
              <p:cNvGrpSpPr/>
              <p:nvPr userDrawn="1"/>
            </p:nvGrpSpPr>
            <p:grpSpPr>
              <a:xfrm>
                <a:off x="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3" name="Rechte verbindingslijn 32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Rechte verbindingslijn 33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ep 23"/>
              <p:cNvGrpSpPr/>
              <p:nvPr userDrawn="1"/>
            </p:nvGrpSpPr>
            <p:grpSpPr>
              <a:xfrm>
                <a:off x="1182370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1" name="Rechte verbindingslijn 30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Rechte verbindingslijn 31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Groep 24"/>
              <p:cNvGrpSpPr/>
              <p:nvPr userDrawn="1"/>
            </p:nvGrpSpPr>
            <p:grpSpPr>
              <a:xfrm rot="5400000">
                <a:off x="6036235" y="-7278494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9" name="Rechte verbindingslijn 28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Rechte verbindingslijn 29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Groep 25"/>
              <p:cNvGrpSpPr/>
              <p:nvPr userDrawn="1"/>
            </p:nvGrpSpPr>
            <p:grpSpPr>
              <a:xfrm rot="5400000">
                <a:off x="6036235" y="-788795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7" name="Rechte verbindingslijn 26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Rechte verbindingslijn 27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35" name="Rechte verbindingslijn 34"/>
            <p:cNvCxnSpPr/>
            <p:nvPr userDrawn="1"/>
          </p:nvCxnSpPr>
          <p:spPr>
            <a:xfrm rot="5400000">
              <a:off x="6220385" y="-6282783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Rechte verbindingslijn 35"/>
            <p:cNvCxnSpPr/>
            <p:nvPr userDrawn="1"/>
          </p:nvCxnSpPr>
          <p:spPr>
            <a:xfrm rot="5400000">
              <a:off x="6220385" y="-1646045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ALK"/>
          <p:cNvGrpSpPr/>
          <p:nvPr userDrawn="1"/>
        </p:nvGrpSpPr>
        <p:grpSpPr>
          <a:xfrm>
            <a:off x="0" y="6280157"/>
            <a:ext cx="12192000" cy="577849"/>
            <a:chOff x="12700" y="6280150"/>
            <a:chExt cx="12192000" cy="577849"/>
          </a:xfrm>
        </p:grpSpPr>
        <p:sp>
          <p:nvSpPr>
            <p:cNvPr id="42" name="Rechthoek 13"/>
            <p:cNvSpPr/>
            <p:nvPr userDrawn="1"/>
          </p:nvSpPr>
          <p:spPr>
            <a:xfrm flipH="1">
              <a:off x="12700" y="6280150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rgbClr val="7F7F7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3200" ker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" name="Rechthoek 13"/>
            <p:cNvSpPr/>
            <p:nvPr userDrawn="1"/>
          </p:nvSpPr>
          <p:spPr>
            <a:xfrm flipH="1">
              <a:off x="12700" y="6294117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3200" kern="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40" name="Picture 2"/>
            <p:cNvPicPr>
              <a:picLocks noChangeAspect="1" noChangeArrowheads="1"/>
            </p:cNvPicPr>
            <p:nvPr userDrawn="1"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197370" y="6414890"/>
              <a:ext cx="639030" cy="312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726371" y="6561624"/>
            <a:ext cx="2183084" cy="1658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7A4798A-83E9-4CF5-A73A-1D57EF77459E}" type="datetime2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Thursday, 29 September 2022</a:t>
            </a:fld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561624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374007" y="6561624"/>
            <a:ext cx="31027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9" name="Rechthoek 48"/>
          <p:cNvSpPr/>
          <p:nvPr userDrawn="1"/>
        </p:nvSpPr>
        <p:spPr>
          <a:xfrm>
            <a:off x="677467" y="6567899"/>
            <a:ext cx="6808" cy="1568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51" tIns="60928" rIns="121851" bIns="609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320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0" name="Tekstvak 49"/>
          <p:cNvSpPr txBox="1"/>
          <p:nvPr userDrawn="1"/>
        </p:nvSpPr>
        <p:spPr>
          <a:xfrm>
            <a:off x="9867902" y="-4826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</p:spTree>
    <p:extLst>
      <p:ext uri="{BB962C8B-B14F-4D97-AF65-F5344CB8AC3E}">
        <p14:creationId xmlns:p14="http://schemas.microsoft.com/office/powerpoint/2010/main" val="222228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2450" indent="-28575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Font typeface="Arial" panose="020B0604020202020204" pitchFamily="34" charset="0"/>
        <a:buNone/>
        <a:defRPr sz="1600" i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276225" indent="-2762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68300" y="1179861"/>
            <a:ext cx="11455400" cy="463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grpSp>
        <p:nvGrpSpPr>
          <p:cNvPr id="37" name="GRID" hidden="1"/>
          <p:cNvGrpSpPr/>
          <p:nvPr/>
        </p:nvGrpSpPr>
        <p:grpSpPr>
          <a:xfrm>
            <a:off x="-1242259" y="-906295"/>
            <a:ext cx="14925288" cy="8424936"/>
            <a:chOff x="-1242259" y="-906295"/>
            <a:chExt cx="14925288" cy="8424936"/>
          </a:xfrm>
        </p:grpSpPr>
        <p:grpSp>
          <p:nvGrpSpPr>
            <p:cNvPr id="22" name="GRID"/>
            <p:cNvGrpSpPr/>
            <p:nvPr userDrawn="1"/>
          </p:nvGrpSpPr>
          <p:grpSpPr>
            <a:xfrm>
              <a:off x="-1242259" y="-906295"/>
              <a:ext cx="14925288" cy="8424936"/>
              <a:chOff x="-1242259" y="-906295"/>
              <a:chExt cx="14925288" cy="8424936"/>
            </a:xfrm>
          </p:grpSpPr>
          <p:grpSp>
            <p:nvGrpSpPr>
              <p:cNvPr id="23" name="Groep 22"/>
              <p:cNvGrpSpPr/>
              <p:nvPr userDrawn="1"/>
            </p:nvGrpSpPr>
            <p:grpSpPr>
              <a:xfrm>
                <a:off x="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3" name="Rechte verbindingslijn 32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Rechte verbindingslijn 33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ep 23"/>
              <p:cNvGrpSpPr/>
              <p:nvPr userDrawn="1"/>
            </p:nvGrpSpPr>
            <p:grpSpPr>
              <a:xfrm>
                <a:off x="1182370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1" name="Rechte verbindingslijn 30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Rechte verbindingslijn 31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Groep 24"/>
              <p:cNvGrpSpPr/>
              <p:nvPr userDrawn="1"/>
            </p:nvGrpSpPr>
            <p:grpSpPr>
              <a:xfrm rot="5400000">
                <a:off x="6036235" y="-7278494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9" name="Rechte verbindingslijn 28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Rechte verbindingslijn 29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Groep 25"/>
              <p:cNvGrpSpPr/>
              <p:nvPr userDrawn="1"/>
            </p:nvGrpSpPr>
            <p:grpSpPr>
              <a:xfrm rot="5400000">
                <a:off x="6036235" y="-788795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7" name="Rechte verbindingslijn 26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Rechte verbindingslijn 27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35" name="Rechte verbindingslijn 34"/>
            <p:cNvCxnSpPr/>
            <p:nvPr userDrawn="1"/>
          </p:nvCxnSpPr>
          <p:spPr>
            <a:xfrm rot="5400000">
              <a:off x="6220385" y="-6282783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Rechte verbindingslijn 35"/>
            <p:cNvCxnSpPr/>
            <p:nvPr userDrawn="1"/>
          </p:nvCxnSpPr>
          <p:spPr>
            <a:xfrm rot="5400000">
              <a:off x="6220385" y="-1646045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ALK"/>
          <p:cNvGrpSpPr/>
          <p:nvPr/>
        </p:nvGrpSpPr>
        <p:grpSpPr>
          <a:xfrm>
            <a:off x="0" y="6280157"/>
            <a:ext cx="12192000" cy="577849"/>
            <a:chOff x="12700" y="6280150"/>
            <a:chExt cx="12192000" cy="577849"/>
          </a:xfrm>
        </p:grpSpPr>
        <p:sp>
          <p:nvSpPr>
            <p:cNvPr id="42" name="Rechthoek 13"/>
            <p:cNvSpPr/>
            <p:nvPr userDrawn="1"/>
          </p:nvSpPr>
          <p:spPr>
            <a:xfrm flipH="1">
              <a:off x="12700" y="6280150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rgbClr val="7F7F7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3200" kern="0">
                <a:solidFill>
                  <a:prstClr val="white"/>
                </a:solidFill>
              </a:endParaRPr>
            </a:p>
          </p:txBody>
        </p:sp>
        <p:sp>
          <p:nvSpPr>
            <p:cNvPr id="39" name="Rechthoek 13"/>
            <p:cNvSpPr/>
            <p:nvPr userDrawn="1"/>
          </p:nvSpPr>
          <p:spPr>
            <a:xfrm flipH="1">
              <a:off x="12700" y="6294117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3200" kern="0">
                <a:solidFill>
                  <a:prstClr val="white"/>
                </a:solidFill>
              </a:endParaRPr>
            </a:p>
          </p:txBody>
        </p:sp>
        <p:pic>
          <p:nvPicPr>
            <p:cNvPr id="40" name="Picture 2"/>
            <p:cNvPicPr>
              <a:picLocks noChangeAspect="1" noChangeArrowheads="1"/>
            </p:cNvPicPr>
            <p:nvPr userDrawn="1"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1197370" y="6414890"/>
              <a:ext cx="639030" cy="312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726371" y="6561624"/>
            <a:ext cx="2183084" cy="1658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056021D-22F6-4A6B-8347-BF8CE136EB70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561624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374007" y="6561624"/>
            <a:ext cx="31027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9" name="Rechthoek 48"/>
          <p:cNvSpPr/>
          <p:nvPr/>
        </p:nvSpPr>
        <p:spPr>
          <a:xfrm>
            <a:off x="677467" y="6567899"/>
            <a:ext cx="6808" cy="1568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51" tIns="60928" rIns="121851" bIns="609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320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0" name="Tekstvak 49"/>
          <p:cNvSpPr txBox="1"/>
          <p:nvPr/>
        </p:nvSpPr>
        <p:spPr>
          <a:xfrm>
            <a:off x="9867902" y="-4826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>
                <a:solidFill>
                  <a:prstClr val="white">
                    <a:lumMod val="50000"/>
                  </a:prstClr>
                </a:solidFill>
              </a:rPr>
              <a:t>VDL GROeP</a:t>
            </a:r>
          </a:p>
        </p:txBody>
      </p:sp>
    </p:spTree>
    <p:extLst>
      <p:ext uri="{BB962C8B-B14F-4D97-AF65-F5344CB8AC3E}">
        <p14:creationId xmlns:p14="http://schemas.microsoft.com/office/powerpoint/2010/main" val="868899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69" r:id="rId27"/>
    <p:sldLayoutId id="2147483770" r:id="rId28"/>
    <p:sldLayoutId id="2147483771" r:id="rId29"/>
    <p:sldLayoutId id="2147483772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274638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670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26670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339850" indent="-265113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616075" indent="-276225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Calibri" panose="020F0502020204030204" pitchFamily="34" charset="0"/>
        <a:buNone/>
        <a:tabLst/>
        <a:defRPr sz="1600" b="0" i="1" kern="1200">
          <a:solidFill>
            <a:schemeClr val="accent4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/>
          <a:p>
            <a:r>
              <a:rPr lang="nl-NL" noProof="0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68300" y="1179861"/>
            <a:ext cx="11455400" cy="463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grpSp>
        <p:nvGrpSpPr>
          <p:cNvPr id="37" name="GRID" hidden="1"/>
          <p:cNvGrpSpPr/>
          <p:nvPr/>
        </p:nvGrpSpPr>
        <p:grpSpPr>
          <a:xfrm>
            <a:off x="-1242259" y="-906295"/>
            <a:ext cx="14925288" cy="8424936"/>
            <a:chOff x="-1242259" y="-906295"/>
            <a:chExt cx="14925288" cy="8424936"/>
          </a:xfrm>
        </p:grpSpPr>
        <p:grpSp>
          <p:nvGrpSpPr>
            <p:cNvPr id="22" name="GRID"/>
            <p:cNvGrpSpPr/>
            <p:nvPr userDrawn="1"/>
          </p:nvGrpSpPr>
          <p:grpSpPr>
            <a:xfrm>
              <a:off x="-1242259" y="-906295"/>
              <a:ext cx="14925288" cy="8424936"/>
              <a:chOff x="-1242259" y="-906295"/>
              <a:chExt cx="14925288" cy="8424936"/>
            </a:xfrm>
          </p:grpSpPr>
          <p:grpSp>
            <p:nvGrpSpPr>
              <p:cNvPr id="23" name="Groep 22"/>
              <p:cNvGrpSpPr/>
              <p:nvPr userDrawn="1"/>
            </p:nvGrpSpPr>
            <p:grpSpPr>
              <a:xfrm>
                <a:off x="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3" name="Rechte verbindingslijn 32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Rechte verbindingslijn 33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ep 23"/>
              <p:cNvGrpSpPr/>
              <p:nvPr userDrawn="1"/>
            </p:nvGrpSpPr>
            <p:grpSpPr>
              <a:xfrm>
                <a:off x="1182370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1" name="Rechte verbindingslijn 30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Rechte verbindingslijn 31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Groep 24"/>
              <p:cNvGrpSpPr/>
              <p:nvPr userDrawn="1"/>
            </p:nvGrpSpPr>
            <p:grpSpPr>
              <a:xfrm rot="5400000">
                <a:off x="6036235" y="-7278494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9" name="Rechte verbindingslijn 28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Rechte verbindingslijn 29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Groep 25"/>
              <p:cNvGrpSpPr/>
              <p:nvPr userDrawn="1"/>
            </p:nvGrpSpPr>
            <p:grpSpPr>
              <a:xfrm rot="5400000">
                <a:off x="6036235" y="-788795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7" name="Rechte verbindingslijn 26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Rechte verbindingslijn 27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35" name="Rechte verbindingslijn 34"/>
            <p:cNvCxnSpPr/>
            <p:nvPr userDrawn="1"/>
          </p:nvCxnSpPr>
          <p:spPr>
            <a:xfrm rot="5400000">
              <a:off x="6220385" y="-6282783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Rechte verbindingslijn 35"/>
            <p:cNvCxnSpPr/>
            <p:nvPr userDrawn="1"/>
          </p:nvCxnSpPr>
          <p:spPr>
            <a:xfrm rot="5400000">
              <a:off x="6220385" y="-1646045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ALK"/>
          <p:cNvGrpSpPr/>
          <p:nvPr/>
        </p:nvGrpSpPr>
        <p:grpSpPr>
          <a:xfrm>
            <a:off x="0" y="6280153"/>
            <a:ext cx="12192000" cy="577849"/>
            <a:chOff x="12700" y="6280150"/>
            <a:chExt cx="12192000" cy="577849"/>
          </a:xfrm>
        </p:grpSpPr>
        <p:sp>
          <p:nvSpPr>
            <p:cNvPr id="42" name="Rechthoek 13"/>
            <p:cNvSpPr/>
            <p:nvPr userDrawn="1"/>
          </p:nvSpPr>
          <p:spPr>
            <a:xfrm flipH="1">
              <a:off x="12700" y="6280150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rgbClr val="7F7F7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3200" kern="0">
                <a:solidFill>
                  <a:prstClr val="white"/>
                </a:solidFill>
              </a:endParaRPr>
            </a:p>
          </p:txBody>
        </p:sp>
        <p:sp>
          <p:nvSpPr>
            <p:cNvPr id="39" name="Rechthoek 13"/>
            <p:cNvSpPr/>
            <p:nvPr userDrawn="1"/>
          </p:nvSpPr>
          <p:spPr>
            <a:xfrm flipH="1">
              <a:off x="12700" y="6294117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3200" kern="0">
                <a:solidFill>
                  <a:prstClr val="white"/>
                </a:solidFill>
              </a:endParaRPr>
            </a:p>
          </p:txBody>
        </p:sp>
      </p:grp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726371" y="6561624"/>
            <a:ext cx="2183084" cy="1658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056021D-22F6-4A6B-8347-BF8CE136EB70}" type="datetime2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donderdag 29 september 2022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561624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374004" y="6561624"/>
            <a:ext cx="31027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6852D14-F929-4ADB-A2A3-535638028445}" type="slidenum">
              <a:rPr lang="nl-NL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nl-NL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9" name="Rechthoek 48"/>
          <p:cNvSpPr/>
          <p:nvPr/>
        </p:nvSpPr>
        <p:spPr>
          <a:xfrm>
            <a:off x="677467" y="6567899"/>
            <a:ext cx="6808" cy="1568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51" tIns="60928" rIns="121851" bIns="609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320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0" name="Tekstvak 49"/>
          <p:cNvSpPr txBox="1"/>
          <p:nvPr/>
        </p:nvSpPr>
        <p:spPr>
          <a:xfrm>
            <a:off x="9867900" y="-4826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dirty="0">
                <a:solidFill>
                  <a:prstClr val="white">
                    <a:lumMod val="50000"/>
                  </a:prstClr>
                </a:solidFill>
              </a:rPr>
              <a:t>VDL Nedca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368BDD-0A0D-7747-B66E-0C67A1EEFB26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8645" y="6451600"/>
            <a:ext cx="935701" cy="275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828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274638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670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26670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339850" indent="-265113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616075" indent="-276225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Calibri" panose="020F0502020204030204" pitchFamily="34" charset="0"/>
        <a:buNone/>
        <a:tabLst/>
        <a:defRPr sz="1600" b="0" i="1" kern="1200">
          <a:solidFill>
            <a:schemeClr val="accent4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731" userDrawn="1">
          <p15:clr>
            <a:srgbClr val="F26B43"/>
          </p15:clr>
        </p15:guide>
        <p15:guide id="5" orient="horz" pos="391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/>
          <a:p>
            <a:r>
              <a:rPr lang="nl-NL" noProof="0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68300" y="1179861"/>
            <a:ext cx="11455400" cy="463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3</a:t>
            </a:r>
          </a:p>
          <a:p>
            <a:pPr lvl="4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4</a:t>
            </a:r>
          </a:p>
          <a:p>
            <a:pPr lvl="5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5</a:t>
            </a:r>
          </a:p>
          <a:p>
            <a:pPr lvl="6"/>
            <a:r>
              <a:rPr lang="nl-NL" noProof="0" dirty="0"/>
              <a:t>Leestekst</a:t>
            </a:r>
          </a:p>
          <a:p>
            <a:pPr lvl="7"/>
            <a:r>
              <a:rPr lang="nl-NL" noProof="0" dirty="0"/>
              <a:t>Kopje</a:t>
            </a:r>
          </a:p>
          <a:p>
            <a:pPr lvl="8"/>
            <a:r>
              <a:rPr lang="nl-NL" noProof="0" dirty="0"/>
              <a:t>Bronvermelding</a:t>
            </a:r>
          </a:p>
        </p:txBody>
      </p:sp>
      <p:grpSp>
        <p:nvGrpSpPr>
          <p:cNvPr id="37" name="GRID" hidden="1"/>
          <p:cNvGrpSpPr/>
          <p:nvPr/>
        </p:nvGrpSpPr>
        <p:grpSpPr>
          <a:xfrm>
            <a:off x="-1242259" y="-906295"/>
            <a:ext cx="14925288" cy="8424936"/>
            <a:chOff x="-1242259" y="-906295"/>
            <a:chExt cx="14925288" cy="8424936"/>
          </a:xfrm>
        </p:grpSpPr>
        <p:grpSp>
          <p:nvGrpSpPr>
            <p:cNvPr id="22" name="GRID"/>
            <p:cNvGrpSpPr/>
            <p:nvPr userDrawn="1"/>
          </p:nvGrpSpPr>
          <p:grpSpPr>
            <a:xfrm>
              <a:off x="-1242259" y="-906295"/>
              <a:ext cx="14925288" cy="8424936"/>
              <a:chOff x="-1242259" y="-906295"/>
              <a:chExt cx="14925288" cy="8424936"/>
            </a:xfrm>
          </p:grpSpPr>
          <p:grpSp>
            <p:nvGrpSpPr>
              <p:cNvPr id="23" name="Groep 22"/>
              <p:cNvGrpSpPr/>
              <p:nvPr userDrawn="1"/>
            </p:nvGrpSpPr>
            <p:grpSpPr>
              <a:xfrm>
                <a:off x="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3" name="Rechte verbindingslijn 32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Rechte verbindingslijn 33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ep 23"/>
              <p:cNvGrpSpPr/>
              <p:nvPr userDrawn="1"/>
            </p:nvGrpSpPr>
            <p:grpSpPr>
              <a:xfrm>
                <a:off x="1182370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1" name="Rechte verbindingslijn 30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Rechte verbindingslijn 31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Groep 24"/>
              <p:cNvGrpSpPr/>
              <p:nvPr userDrawn="1"/>
            </p:nvGrpSpPr>
            <p:grpSpPr>
              <a:xfrm rot="5400000">
                <a:off x="6036235" y="-7278494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9" name="Rechte verbindingslijn 28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Rechte verbindingslijn 29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Groep 25"/>
              <p:cNvGrpSpPr/>
              <p:nvPr userDrawn="1"/>
            </p:nvGrpSpPr>
            <p:grpSpPr>
              <a:xfrm rot="5400000">
                <a:off x="6036235" y="-788795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7" name="Rechte verbindingslijn 26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Rechte verbindingslijn 27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35" name="Rechte verbindingslijn 34"/>
            <p:cNvCxnSpPr/>
            <p:nvPr userDrawn="1"/>
          </p:nvCxnSpPr>
          <p:spPr>
            <a:xfrm rot="5400000">
              <a:off x="6220385" y="-6282783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Rechte verbindingslijn 35"/>
            <p:cNvCxnSpPr/>
            <p:nvPr userDrawn="1"/>
          </p:nvCxnSpPr>
          <p:spPr>
            <a:xfrm rot="5400000">
              <a:off x="6220385" y="-1646045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ALK"/>
          <p:cNvGrpSpPr/>
          <p:nvPr/>
        </p:nvGrpSpPr>
        <p:grpSpPr>
          <a:xfrm>
            <a:off x="0" y="6280153"/>
            <a:ext cx="12192000" cy="577849"/>
            <a:chOff x="12700" y="6280150"/>
            <a:chExt cx="12192000" cy="577849"/>
          </a:xfrm>
        </p:grpSpPr>
        <p:sp>
          <p:nvSpPr>
            <p:cNvPr id="42" name="Rechthoek 13"/>
            <p:cNvSpPr/>
            <p:nvPr userDrawn="1"/>
          </p:nvSpPr>
          <p:spPr>
            <a:xfrm flipH="1">
              <a:off x="12700" y="6280150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rgbClr val="7F7F7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nl-NL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9" name="Rechthoek 13"/>
            <p:cNvSpPr/>
            <p:nvPr userDrawn="1"/>
          </p:nvSpPr>
          <p:spPr>
            <a:xfrm flipH="1">
              <a:off x="12700" y="6294117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nl-NL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726371" y="6561624"/>
            <a:ext cx="2183084" cy="1658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056021D-22F6-4A6B-8347-BF8CE136EB70}" type="datetime2">
              <a:rPr lang="nl-NL" noProof="0" smtClean="0"/>
              <a:t>donderdag 29 september 2022</a:t>
            </a:fld>
            <a:endParaRPr lang="nl-NL" noProof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561624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noProof="0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374004" y="6561624"/>
            <a:ext cx="31027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6852D14-F929-4ADB-A2A3-535638028445}" type="slidenum">
              <a:rPr lang="nl-NL" noProof="0" smtClean="0"/>
              <a:pPr/>
              <a:t>‹#›</a:t>
            </a:fld>
            <a:endParaRPr lang="nl-NL" noProof="0"/>
          </a:p>
        </p:txBody>
      </p:sp>
      <p:sp>
        <p:nvSpPr>
          <p:cNvPr id="49" name="Rechthoek 48"/>
          <p:cNvSpPr/>
          <p:nvPr/>
        </p:nvSpPr>
        <p:spPr>
          <a:xfrm>
            <a:off x="677467" y="6567899"/>
            <a:ext cx="6808" cy="1568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51" tIns="60928" rIns="121851" bIns="609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3200" noProof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0" name="Tekstvak 49"/>
          <p:cNvSpPr txBox="1"/>
          <p:nvPr/>
        </p:nvSpPr>
        <p:spPr>
          <a:xfrm>
            <a:off x="9867900" y="-4826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noProof="0" dirty="0">
                <a:solidFill>
                  <a:schemeClr val="bg1">
                    <a:lumMod val="50000"/>
                  </a:schemeClr>
                </a:solidFill>
              </a:rPr>
              <a:t>VDL Nedca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368BDD-0A0D-7747-B66E-0C67A1EEFB26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8645" y="6451600"/>
            <a:ext cx="935701" cy="275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727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  <p:sldLayoutId id="2147483858" r:id="rId23"/>
    <p:sldLayoutId id="2147483859" r:id="rId24"/>
    <p:sldLayoutId id="2147483860" r:id="rId25"/>
    <p:sldLayoutId id="2147483861" r:id="rId26"/>
    <p:sldLayoutId id="2147483862" r:id="rId27"/>
    <p:sldLayoutId id="2147483863" r:id="rId28"/>
    <p:sldLayoutId id="2147483864" r:id="rId29"/>
    <p:sldLayoutId id="2147483865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274638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670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26670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339850" indent="-265113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616075" indent="-276225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Calibri" panose="020F0502020204030204" pitchFamily="34" charset="0"/>
        <a:buNone/>
        <a:tabLst/>
        <a:defRPr sz="1600" b="0" i="1" kern="1200">
          <a:solidFill>
            <a:schemeClr val="accent4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731">
          <p15:clr>
            <a:srgbClr val="F26B43"/>
          </p15:clr>
        </p15:guide>
        <p15:guide id="5" orient="horz" pos="39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72" name="think-cell Slide" r:id="rId37" imgW="216" imgH="216" progId="TCLayout.ActiveDocument.1">
                  <p:embed/>
                </p:oleObj>
              </mc:Choice>
              <mc:Fallback>
                <p:oleObj name="think-cell Slide" r:id="rId37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defTabSz="1218662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800" b="1" i="0" baseline="0" dirty="0">
              <a:solidFill>
                <a:srgbClr val="7F7F7F">
                  <a:lumMod val="50000"/>
                </a:srgbClr>
              </a:solidFill>
              <a:latin typeface="Gill Sans MT"/>
              <a:ea typeface="+mj-ea"/>
              <a:cs typeface="+mj-cs"/>
              <a:sym typeface="Gill Sans MT"/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68300" y="365126"/>
            <a:ext cx="11455400" cy="272814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68300" y="1179861"/>
            <a:ext cx="11455400" cy="463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Bullet</a:t>
            </a:r>
          </a:p>
          <a:p>
            <a:pPr lvl="1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Header</a:t>
            </a:r>
          </a:p>
          <a:p>
            <a:pPr lvl="4"/>
            <a:r>
              <a:rPr lang="nl-NL" dirty="0"/>
              <a:t>Bronvermelding</a:t>
            </a:r>
          </a:p>
        </p:txBody>
      </p:sp>
      <p:grpSp>
        <p:nvGrpSpPr>
          <p:cNvPr id="37" name="GRID" hidden="1"/>
          <p:cNvGrpSpPr/>
          <p:nvPr userDrawn="1"/>
        </p:nvGrpSpPr>
        <p:grpSpPr>
          <a:xfrm>
            <a:off x="-1242259" y="-906295"/>
            <a:ext cx="14925288" cy="8424936"/>
            <a:chOff x="-1242259" y="-906295"/>
            <a:chExt cx="14925288" cy="8424936"/>
          </a:xfrm>
        </p:grpSpPr>
        <p:grpSp>
          <p:nvGrpSpPr>
            <p:cNvPr id="22" name="GRID"/>
            <p:cNvGrpSpPr/>
            <p:nvPr userDrawn="1"/>
          </p:nvGrpSpPr>
          <p:grpSpPr>
            <a:xfrm>
              <a:off x="-1242259" y="-906295"/>
              <a:ext cx="14925288" cy="8424936"/>
              <a:chOff x="-1242259" y="-906295"/>
              <a:chExt cx="14925288" cy="8424936"/>
            </a:xfrm>
          </p:grpSpPr>
          <p:grpSp>
            <p:nvGrpSpPr>
              <p:cNvPr id="23" name="Groep 22"/>
              <p:cNvGrpSpPr/>
              <p:nvPr userDrawn="1"/>
            </p:nvGrpSpPr>
            <p:grpSpPr>
              <a:xfrm>
                <a:off x="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3" name="Rechte verbindingslijn 32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Rechte verbindingslijn 33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ep 23"/>
              <p:cNvGrpSpPr/>
              <p:nvPr userDrawn="1"/>
            </p:nvGrpSpPr>
            <p:grpSpPr>
              <a:xfrm>
                <a:off x="11823700" y="-906295"/>
                <a:ext cx="368300" cy="8424936"/>
                <a:chOff x="0" y="-906295"/>
                <a:chExt cx="368300" cy="8424936"/>
              </a:xfrm>
            </p:grpSpPr>
            <p:cxnSp>
              <p:nvCxnSpPr>
                <p:cNvPr id="31" name="Rechte verbindingslijn 30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Rechte verbindingslijn 31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Groep 24"/>
              <p:cNvGrpSpPr/>
              <p:nvPr userDrawn="1"/>
            </p:nvGrpSpPr>
            <p:grpSpPr>
              <a:xfrm rot="5400000">
                <a:off x="6036235" y="-7278494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9" name="Rechte verbindingslijn 28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Rechte verbindingslijn 29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Groep 25"/>
              <p:cNvGrpSpPr/>
              <p:nvPr userDrawn="1"/>
            </p:nvGrpSpPr>
            <p:grpSpPr>
              <a:xfrm rot="5400000">
                <a:off x="6036235" y="-788795"/>
                <a:ext cx="368300" cy="14925288"/>
                <a:chOff x="0" y="-906295"/>
                <a:chExt cx="368300" cy="8424936"/>
              </a:xfrm>
            </p:grpSpPr>
            <p:cxnSp>
              <p:nvCxnSpPr>
                <p:cNvPr id="27" name="Rechte verbindingslijn 26"/>
                <p:cNvCxnSpPr/>
                <p:nvPr/>
              </p:nvCxnSpPr>
              <p:spPr>
                <a:xfrm>
                  <a:off x="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Rechte verbindingslijn 27"/>
                <p:cNvCxnSpPr/>
                <p:nvPr/>
              </p:nvCxnSpPr>
              <p:spPr>
                <a:xfrm>
                  <a:off x="368300" y="-906295"/>
                  <a:ext cx="0" cy="8424936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35" name="Rechte verbindingslijn 34"/>
            <p:cNvCxnSpPr/>
            <p:nvPr userDrawn="1"/>
          </p:nvCxnSpPr>
          <p:spPr>
            <a:xfrm rot="5400000">
              <a:off x="6220385" y="-6282783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Rechte verbindingslijn 35"/>
            <p:cNvCxnSpPr/>
            <p:nvPr userDrawn="1"/>
          </p:nvCxnSpPr>
          <p:spPr>
            <a:xfrm rot="5400000">
              <a:off x="6220385" y="-1646045"/>
              <a:ext cx="0" cy="1492528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ALK"/>
          <p:cNvGrpSpPr/>
          <p:nvPr userDrawn="1"/>
        </p:nvGrpSpPr>
        <p:grpSpPr>
          <a:xfrm>
            <a:off x="0" y="6280153"/>
            <a:ext cx="12192000" cy="577849"/>
            <a:chOff x="12700" y="6280150"/>
            <a:chExt cx="12192000" cy="577849"/>
          </a:xfrm>
        </p:grpSpPr>
        <p:sp>
          <p:nvSpPr>
            <p:cNvPr id="42" name="Rechthoek 13"/>
            <p:cNvSpPr/>
            <p:nvPr userDrawn="1"/>
          </p:nvSpPr>
          <p:spPr>
            <a:xfrm flipH="1">
              <a:off x="12700" y="6280150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rgbClr val="7F7F7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nl-NL" sz="32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9" name="Rechthoek 13"/>
            <p:cNvSpPr/>
            <p:nvPr userDrawn="1"/>
          </p:nvSpPr>
          <p:spPr>
            <a:xfrm flipH="1">
              <a:off x="12700" y="6294117"/>
              <a:ext cx="12192000" cy="563882"/>
            </a:xfrm>
            <a:custGeom>
              <a:avLst/>
              <a:gdLst>
                <a:gd name="connsiteX0" fmla="*/ 0 w 12195178"/>
                <a:gd name="connsiteY0" fmla="*/ 0 h 402431"/>
                <a:gd name="connsiteX1" fmla="*/ 12195178 w 12195178"/>
                <a:gd name="connsiteY1" fmla="*/ 0 h 402431"/>
                <a:gd name="connsiteX2" fmla="*/ 12195178 w 12195178"/>
                <a:gd name="connsiteY2" fmla="*/ 402431 h 402431"/>
                <a:gd name="connsiteX3" fmla="*/ 0 w 12195178"/>
                <a:gd name="connsiteY3" fmla="*/ 402431 h 402431"/>
                <a:gd name="connsiteX4" fmla="*/ 0 w 12195178"/>
                <a:gd name="connsiteY4" fmla="*/ 0 h 402431"/>
                <a:gd name="connsiteX0" fmla="*/ 0 w 12195178"/>
                <a:gd name="connsiteY0" fmla="*/ 1431 h 403862"/>
                <a:gd name="connsiteX1" fmla="*/ 1694814 w 12195178"/>
                <a:gd name="connsiteY1" fmla="*/ 0 h 403862"/>
                <a:gd name="connsiteX2" fmla="*/ 12195178 w 12195178"/>
                <a:gd name="connsiteY2" fmla="*/ 1431 h 403862"/>
                <a:gd name="connsiteX3" fmla="*/ 12195178 w 12195178"/>
                <a:gd name="connsiteY3" fmla="*/ 403862 h 403862"/>
                <a:gd name="connsiteX4" fmla="*/ 0 w 12195178"/>
                <a:gd name="connsiteY4" fmla="*/ 403862 h 403862"/>
                <a:gd name="connsiteX5" fmla="*/ 0 w 12195178"/>
                <a:gd name="connsiteY5" fmla="*/ 1431 h 403862"/>
                <a:gd name="connsiteX0" fmla="*/ 0 w 12195178"/>
                <a:gd name="connsiteY0" fmla="*/ 153831 h 556262"/>
                <a:gd name="connsiteX1" fmla="*/ 1100454 w 12195178"/>
                <a:gd name="connsiteY1" fmla="*/ 0 h 556262"/>
                <a:gd name="connsiteX2" fmla="*/ 1694814 w 12195178"/>
                <a:gd name="connsiteY2" fmla="*/ 152400 h 556262"/>
                <a:gd name="connsiteX3" fmla="*/ 12195178 w 12195178"/>
                <a:gd name="connsiteY3" fmla="*/ 153831 h 556262"/>
                <a:gd name="connsiteX4" fmla="*/ 12195178 w 12195178"/>
                <a:gd name="connsiteY4" fmla="*/ 556262 h 556262"/>
                <a:gd name="connsiteX5" fmla="*/ 0 w 12195178"/>
                <a:gd name="connsiteY5" fmla="*/ 556262 h 556262"/>
                <a:gd name="connsiteX6" fmla="*/ 0 w 12195178"/>
                <a:gd name="connsiteY6" fmla="*/ 153831 h 556262"/>
                <a:gd name="connsiteX0" fmla="*/ 70134 w 12265312"/>
                <a:gd name="connsiteY0" fmla="*/ 172073 h 574504"/>
                <a:gd name="connsiteX1" fmla="*/ 73308 w 12265312"/>
                <a:gd name="connsiteY1" fmla="*/ 10622 h 574504"/>
                <a:gd name="connsiteX2" fmla="*/ 1170588 w 12265312"/>
                <a:gd name="connsiteY2" fmla="*/ 18242 h 574504"/>
                <a:gd name="connsiteX3" fmla="*/ 1764948 w 12265312"/>
                <a:gd name="connsiteY3" fmla="*/ 170642 h 574504"/>
                <a:gd name="connsiteX4" fmla="*/ 12265312 w 12265312"/>
                <a:gd name="connsiteY4" fmla="*/ 172073 h 574504"/>
                <a:gd name="connsiteX5" fmla="*/ 12265312 w 12265312"/>
                <a:gd name="connsiteY5" fmla="*/ 574504 h 574504"/>
                <a:gd name="connsiteX6" fmla="*/ 70134 w 12265312"/>
                <a:gd name="connsiteY6" fmla="*/ 574504 h 574504"/>
                <a:gd name="connsiteX7" fmla="*/ 70134 w 12265312"/>
                <a:gd name="connsiteY7" fmla="*/ 172073 h 574504"/>
                <a:gd name="connsiteX0" fmla="*/ 70134 w 12265312"/>
                <a:gd name="connsiteY0" fmla="*/ 161451 h 563882"/>
                <a:gd name="connsiteX1" fmla="*/ 73308 w 12265312"/>
                <a:gd name="connsiteY1" fmla="*/ 0 h 563882"/>
                <a:gd name="connsiteX2" fmla="*/ 1170588 w 12265312"/>
                <a:gd name="connsiteY2" fmla="*/ 7620 h 563882"/>
                <a:gd name="connsiteX3" fmla="*/ 1764948 w 12265312"/>
                <a:gd name="connsiteY3" fmla="*/ 160020 h 563882"/>
                <a:gd name="connsiteX4" fmla="*/ 12265312 w 12265312"/>
                <a:gd name="connsiteY4" fmla="*/ 161451 h 563882"/>
                <a:gd name="connsiteX5" fmla="*/ 12265312 w 12265312"/>
                <a:gd name="connsiteY5" fmla="*/ 563882 h 563882"/>
                <a:gd name="connsiteX6" fmla="*/ 70134 w 12265312"/>
                <a:gd name="connsiteY6" fmla="*/ 563882 h 563882"/>
                <a:gd name="connsiteX7" fmla="*/ 70134 w 12265312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100454 w 12195178"/>
                <a:gd name="connsiteY2" fmla="*/ 762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  <a:gd name="connsiteX0" fmla="*/ 0 w 12195178"/>
                <a:gd name="connsiteY0" fmla="*/ 161451 h 563882"/>
                <a:gd name="connsiteX1" fmla="*/ 3174 w 12195178"/>
                <a:gd name="connsiteY1" fmla="*/ 0 h 563882"/>
                <a:gd name="connsiteX2" fmla="*/ 1077594 w 12195178"/>
                <a:gd name="connsiteY2" fmla="*/ 0 h 563882"/>
                <a:gd name="connsiteX3" fmla="*/ 1694814 w 12195178"/>
                <a:gd name="connsiteY3" fmla="*/ 160020 h 563882"/>
                <a:gd name="connsiteX4" fmla="*/ 12195178 w 12195178"/>
                <a:gd name="connsiteY4" fmla="*/ 161451 h 563882"/>
                <a:gd name="connsiteX5" fmla="*/ 12195178 w 12195178"/>
                <a:gd name="connsiteY5" fmla="*/ 563882 h 563882"/>
                <a:gd name="connsiteX6" fmla="*/ 0 w 12195178"/>
                <a:gd name="connsiteY6" fmla="*/ 563882 h 563882"/>
                <a:gd name="connsiteX7" fmla="*/ 0 w 12195178"/>
                <a:gd name="connsiteY7" fmla="*/ 161451 h 56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178" h="563882">
                  <a:moveTo>
                    <a:pt x="0" y="161451"/>
                  </a:moveTo>
                  <a:lnTo>
                    <a:pt x="3174" y="0"/>
                  </a:lnTo>
                  <a:lnTo>
                    <a:pt x="1077594" y="0"/>
                  </a:lnTo>
                  <a:lnTo>
                    <a:pt x="1694814" y="160020"/>
                  </a:lnTo>
                  <a:lnTo>
                    <a:pt x="12195178" y="161451"/>
                  </a:lnTo>
                  <a:lnTo>
                    <a:pt x="12195178" y="563882"/>
                  </a:lnTo>
                  <a:lnTo>
                    <a:pt x="0" y="563882"/>
                  </a:lnTo>
                  <a:lnTo>
                    <a:pt x="0" y="161451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nl-NL" sz="32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40" name="Picture 2"/>
            <p:cNvPicPr>
              <a:picLocks noChangeAspect="1" noChangeArrowheads="1"/>
            </p:cNvPicPr>
            <p:nvPr userDrawn="1"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197370" y="6414890"/>
              <a:ext cx="639030" cy="312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726371" y="6561624"/>
            <a:ext cx="2183084" cy="1658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7A4798A-83E9-4CF5-A73A-1D57EF77459E}" type="datetime2">
              <a:rPr lang="en-GB" smtClean="0"/>
              <a:t>Thursday, 29 September 2022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561624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VDL Nedca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374004" y="6561624"/>
            <a:ext cx="31027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6852D14-F929-4ADB-A2A3-535638028445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49" name="Rechthoek 48"/>
          <p:cNvSpPr/>
          <p:nvPr userDrawn="1"/>
        </p:nvSpPr>
        <p:spPr>
          <a:xfrm>
            <a:off x="677467" y="6567899"/>
            <a:ext cx="6808" cy="1568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51" tIns="60928" rIns="121851" bIns="609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3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0" name="Tekstvak 49"/>
          <p:cNvSpPr txBox="1"/>
          <p:nvPr userDrawn="1"/>
        </p:nvSpPr>
        <p:spPr>
          <a:xfrm>
            <a:off x="9867900" y="-482600"/>
            <a:ext cx="2324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200" b="1" cap="all" baseline="0" dirty="0">
                <a:solidFill>
                  <a:schemeClr val="bg1">
                    <a:lumMod val="50000"/>
                  </a:schemeClr>
                </a:solidFill>
              </a:rPr>
              <a:t>VDL Nedcar</a:t>
            </a:r>
          </a:p>
        </p:txBody>
      </p:sp>
    </p:spTree>
    <p:extLst>
      <p:ext uri="{BB962C8B-B14F-4D97-AF65-F5344CB8AC3E}">
        <p14:creationId xmlns:p14="http://schemas.microsoft.com/office/powerpoint/2010/main" val="3696860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  <p:sldLayoutId id="2147483879" r:id="rId13"/>
    <p:sldLayoutId id="2147483880" r:id="rId14"/>
    <p:sldLayoutId id="2147483881" r:id="rId15"/>
    <p:sldLayoutId id="2147483882" r:id="rId16"/>
    <p:sldLayoutId id="2147483883" r:id="rId17"/>
    <p:sldLayoutId id="2147483884" r:id="rId18"/>
    <p:sldLayoutId id="2147483885" r:id="rId19"/>
    <p:sldLayoutId id="2147483886" r:id="rId20"/>
    <p:sldLayoutId id="2147483887" r:id="rId21"/>
    <p:sldLayoutId id="2147483888" r:id="rId22"/>
    <p:sldLayoutId id="2147483889" r:id="rId23"/>
    <p:sldLayoutId id="2147483890" r:id="rId24"/>
    <p:sldLayoutId id="2147483891" r:id="rId25"/>
    <p:sldLayoutId id="2147483892" r:id="rId26"/>
    <p:sldLayoutId id="2147483893" r:id="rId27"/>
    <p:sldLayoutId id="2147483894" r:id="rId28"/>
    <p:sldLayoutId id="2147483895" r:id="rId29"/>
    <p:sldLayoutId id="2147483896" r:id="rId30"/>
    <p:sldLayoutId id="2147483897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2450" indent="-28575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900"/>
        </a:spcAft>
        <a:buFont typeface="Arial" panose="020B0604020202020204" pitchFamily="34" charset="0"/>
        <a:buNone/>
        <a:defRPr sz="1600" i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276225" indent="-2762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7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308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Placeholder 34"/>
          <p:cNvPicPr>
            <a:picLocks noGrp="1" noChangeAspect="1"/>
          </p:cNvPicPr>
          <p:nvPr>
            <p:ph type="pic" sz="quarter" idx="15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024" b="11024"/>
          <a:stretch>
            <a:fillRect/>
          </a:stretch>
        </p:blipFill>
        <p:spPr/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D178E-F261-4942-87A0-CA24AACC9C4A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</a:t>
            </a:fld>
            <a:endParaRPr lang="nl-NL"/>
          </a:p>
        </p:txBody>
      </p:sp>
      <p:sp>
        <p:nvSpPr>
          <p:cNvPr id="43" name="Rectangle 42"/>
          <p:cNvSpPr/>
          <p:nvPr/>
        </p:nvSpPr>
        <p:spPr>
          <a:xfrm>
            <a:off x="1314450" y="828675"/>
            <a:ext cx="6282000" cy="2206800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0" tIns="71960" rIns="71960" bIns="71960" rtlCol="0" anchor="t"/>
          <a:lstStyle/>
          <a:p>
            <a:pPr algn="ctr" defTabSz="1218662">
              <a:lnSpc>
                <a:spcPct val="90000"/>
              </a:lnSpc>
              <a:spcAft>
                <a:spcPts val="300"/>
              </a:spcAft>
            </a:pPr>
            <a:endParaRPr lang="en-US" sz="1100" b="1" dirty="0">
              <a:solidFill>
                <a:srgbClr val="7F7F7F">
                  <a:lumMod val="50000"/>
                </a:srgbClr>
              </a:solidFill>
            </a:endParaRPr>
          </a:p>
        </p:txBody>
      </p:sp>
      <p:sp>
        <p:nvSpPr>
          <p:cNvPr id="40" name="Title 7"/>
          <p:cNvSpPr txBox="1">
            <a:spLocks/>
          </p:cNvSpPr>
          <p:nvPr/>
        </p:nvSpPr>
        <p:spPr>
          <a:xfrm>
            <a:off x="1537798" y="1331380"/>
            <a:ext cx="5822898" cy="423198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</a:rPr>
              <a:t>Robot Case:</a:t>
            </a:r>
          </a:p>
          <a:p>
            <a:r>
              <a:rPr lang="en-US" sz="3200" dirty="0">
                <a:solidFill>
                  <a:schemeClr val="bg1"/>
                </a:solidFill>
              </a:rPr>
              <a:t>Current and Future</a:t>
            </a:r>
          </a:p>
        </p:txBody>
      </p:sp>
      <p:sp>
        <p:nvSpPr>
          <p:cNvPr id="41" name="Subtitle 8"/>
          <p:cNvSpPr txBox="1">
            <a:spLocks/>
          </p:cNvSpPr>
          <p:nvPr/>
        </p:nvSpPr>
        <p:spPr>
          <a:xfrm>
            <a:off x="1490173" y="2453816"/>
            <a:ext cx="5822898" cy="396000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2450" indent="-28575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76225" indent="-2762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Business Intelligence &amp; Analytics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4234" y="6414042"/>
            <a:ext cx="1031153" cy="32400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61680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Interim Conclusio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1080750" cy="4636738"/>
          </a:xfrm>
        </p:spPr>
        <p:txBody>
          <a:bodyPr/>
          <a:lstStyle/>
          <a:p>
            <a:pPr indent="-285750"/>
            <a:r>
              <a:rPr lang="en-GB" dirty="0"/>
              <a:t>Using the new knowledge to better the analysis</a:t>
            </a:r>
          </a:p>
          <a:p>
            <a:pPr indent="-285750"/>
            <a:r>
              <a:rPr lang="en-GB" dirty="0"/>
              <a:t>Threshold 4.5 for early warning.</a:t>
            </a:r>
          </a:p>
          <a:p>
            <a:pPr indent="-285750"/>
            <a:r>
              <a:rPr lang="en-GB" dirty="0"/>
              <a:t>Alarm</a:t>
            </a:r>
          </a:p>
          <a:p>
            <a:pPr lvl="1"/>
            <a:r>
              <a:rPr lang="en-GB" dirty="0"/>
              <a:t>When variance significantly increases in a short amount of time.</a:t>
            </a:r>
          </a:p>
          <a:p>
            <a:pPr lvl="1"/>
            <a:r>
              <a:rPr lang="en-GB" dirty="0"/>
              <a:t>When variance goes towards 6+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0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590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Track Length (TL)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2541155" cy="4636738"/>
          </a:xfrm>
        </p:spPr>
        <p:txBody>
          <a:bodyPr/>
          <a:lstStyle/>
          <a:p>
            <a:pPr lvl="1"/>
            <a:r>
              <a:rPr lang="en-GB" dirty="0"/>
              <a:t>Track Length (TL) Measurements</a:t>
            </a:r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1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2" name="Diagramm0">
            <a:extLst>
              <a:ext uri="{FF2B5EF4-FFF2-40B4-BE49-F238E27FC236}">
                <a16:creationId xmlns:a16="http://schemas.microsoft.com/office/drawing/2014/main" id="{0566FAE8-6A39-4B2B-8BD2-B614A1D878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8616198"/>
              </p:ext>
            </p:extLst>
          </p:nvPr>
        </p:nvGraphicFramePr>
        <p:xfrm>
          <a:off x="3179543" y="1228452"/>
          <a:ext cx="8644157" cy="4401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8174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Track Length Tests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7785100" cy="4636738"/>
          </a:xfrm>
        </p:spPr>
        <p:txBody>
          <a:bodyPr/>
          <a:lstStyle/>
          <a:p>
            <a:pPr lvl="1"/>
            <a:r>
              <a:rPr lang="en-GB" dirty="0"/>
              <a:t>Historical success</a:t>
            </a:r>
          </a:p>
          <a:p>
            <a:pPr lvl="1"/>
            <a:r>
              <a:rPr lang="en-GB" dirty="0"/>
              <a:t>“</a:t>
            </a:r>
            <a:r>
              <a:rPr lang="nl-NL" altLang="nl-NL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er hoogte van plaat 6-7 motorzijde Geleidingsbaan NOK. Wederom groeven in overgang.”</a:t>
            </a:r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2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1" descr="cid:image003.jpg@01D778DC.11794F20">
            <a:extLst>
              <a:ext uri="{FF2B5EF4-FFF2-40B4-BE49-F238E27FC236}">
                <a16:creationId xmlns:a16="http://schemas.microsoft.com/office/drawing/2014/main" id="{CB92ED0A-52C4-4078-933B-EB0025C593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21" y="2610713"/>
            <a:ext cx="7469125" cy="3728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image018">
            <a:extLst>
              <a:ext uri="{FF2B5EF4-FFF2-40B4-BE49-F238E27FC236}">
                <a16:creationId xmlns:a16="http://schemas.microsoft.com/office/drawing/2014/main" id="{3F7FA035-2626-4DD1-989D-7491B2EF26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1909" y="995900"/>
            <a:ext cx="3476625" cy="260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image020">
            <a:extLst>
              <a:ext uri="{FF2B5EF4-FFF2-40B4-BE49-F238E27FC236}">
                <a16:creationId xmlns:a16="http://schemas.microsoft.com/office/drawing/2014/main" id="{BC99A14C-4388-40E3-BDD7-3525C4D989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4288" y="3605750"/>
            <a:ext cx="1971675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193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Measurements VS Maintenance Logs 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1455400" cy="1738067"/>
          </a:xfrm>
        </p:spPr>
        <p:txBody>
          <a:bodyPr/>
          <a:lstStyle/>
          <a:p>
            <a:pPr lvl="1"/>
            <a:r>
              <a:rPr lang="en-GB" dirty="0"/>
              <a:t>Measurements of </a:t>
            </a:r>
            <a:r>
              <a:rPr lang="en-GB" b="1" dirty="0"/>
              <a:t>6640-102788</a:t>
            </a:r>
            <a:r>
              <a:rPr lang="en-GB" dirty="0"/>
              <a:t> before and after maintenance done in February.</a:t>
            </a:r>
          </a:p>
          <a:p>
            <a:pPr lvl="1"/>
            <a:r>
              <a:rPr lang="en-GB" dirty="0"/>
              <a:t>In February 4 rails replaced from position 9000 until 6000.</a:t>
            </a:r>
          </a:p>
          <a:p>
            <a:pPr lvl="1"/>
            <a:r>
              <a:rPr lang="en-GB" dirty="0"/>
              <a:t>Biggest spike found at both sides is around position 7000</a:t>
            </a:r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3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7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0588333"/>
              </p:ext>
            </p:extLst>
          </p:nvPr>
        </p:nvGraphicFramePr>
        <p:xfrm>
          <a:off x="303700" y="2917928"/>
          <a:ext cx="5760000" cy="3342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4692061"/>
              </p:ext>
            </p:extLst>
          </p:nvPr>
        </p:nvGraphicFramePr>
        <p:xfrm>
          <a:off x="6063700" y="2917928"/>
          <a:ext cx="5760000" cy="3342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1EFF9BA-C83D-4277-997E-FA8B60049E43}"/>
              </a:ext>
            </a:extLst>
          </p:cNvPr>
          <p:cNvCxnSpPr>
            <a:cxnSpLocks/>
          </p:cNvCxnSpPr>
          <p:nvPr/>
        </p:nvCxnSpPr>
        <p:spPr>
          <a:xfrm flipH="1">
            <a:off x="1243173" y="3804025"/>
            <a:ext cx="174661" cy="17466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0328055-282A-4FA4-9DC6-CFCF4C8EE5AB}"/>
              </a:ext>
            </a:extLst>
          </p:cNvPr>
          <p:cNvCxnSpPr>
            <a:cxnSpLocks/>
          </p:cNvCxnSpPr>
          <p:nvPr/>
        </p:nvCxnSpPr>
        <p:spPr>
          <a:xfrm flipH="1">
            <a:off x="2106202" y="3841025"/>
            <a:ext cx="174661" cy="17466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79291C7-0AE3-4520-AEC6-A2B99896E887}"/>
              </a:ext>
            </a:extLst>
          </p:cNvPr>
          <p:cNvCxnSpPr>
            <a:cxnSpLocks/>
          </p:cNvCxnSpPr>
          <p:nvPr/>
        </p:nvCxnSpPr>
        <p:spPr>
          <a:xfrm flipV="1">
            <a:off x="4403720" y="5503478"/>
            <a:ext cx="102742" cy="17466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2752D88-A25A-449D-8A4E-64BE855A7276}"/>
              </a:ext>
            </a:extLst>
          </p:cNvPr>
          <p:cNvCxnSpPr>
            <a:cxnSpLocks/>
          </p:cNvCxnSpPr>
          <p:nvPr/>
        </p:nvCxnSpPr>
        <p:spPr>
          <a:xfrm flipV="1">
            <a:off x="5306134" y="5503478"/>
            <a:ext cx="102742" cy="17466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FE509DD-15F6-488E-8F82-3DD96C675AAE}"/>
              </a:ext>
            </a:extLst>
          </p:cNvPr>
          <p:cNvCxnSpPr>
            <a:cxnSpLocks/>
          </p:cNvCxnSpPr>
          <p:nvPr/>
        </p:nvCxnSpPr>
        <p:spPr>
          <a:xfrm flipV="1">
            <a:off x="10340470" y="5501437"/>
            <a:ext cx="102742" cy="17466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230573C-16D5-44A6-9BF4-085F8816D25E}"/>
              </a:ext>
            </a:extLst>
          </p:cNvPr>
          <p:cNvCxnSpPr>
            <a:cxnSpLocks/>
          </p:cNvCxnSpPr>
          <p:nvPr/>
        </p:nvCxnSpPr>
        <p:spPr>
          <a:xfrm flipV="1">
            <a:off x="11242884" y="5501437"/>
            <a:ext cx="102742" cy="17466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E79AB25-A43A-4181-BCE6-F215F787F621}"/>
              </a:ext>
            </a:extLst>
          </p:cNvPr>
          <p:cNvCxnSpPr>
            <a:cxnSpLocks/>
          </p:cNvCxnSpPr>
          <p:nvPr/>
        </p:nvCxnSpPr>
        <p:spPr>
          <a:xfrm flipH="1">
            <a:off x="7003173" y="3854355"/>
            <a:ext cx="174661" cy="17466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B9A73F4-5D58-43F4-A057-2887FFBBA253}"/>
              </a:ext>
            </a:extLst>
          </p:cNvPr>
          <p:cNvCxnSpPr>
            <a:cxnSpLocks/>
          </p:cNvCxnSpPr>
          <p:nvPr/>
        </p:nvCxnSpPr>
        <p:spPr>
          <a:xfrm flipH="1">
            <a:off x="7866202" y="3891355"/>
            <a:ext cx="174661" cy="17466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431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Diagramm0">
            <a:extLst>
              <a:ext uri="{FF2B5EF4-FFF2-40B4-BE49-F238E27FC236}">
                <a16:creationId xmlns:a16="http://schemas.microsoft.com/office/drawing/2014/main" id="{6034879C-3F95-47F5-BF41-01D6B9BE5A6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04778162"/>
              </p:ext>
            </p:extLst>
          </p:nvPr>
        </p:nvGraphicFramePr>
        <p:xfrm>
          <a:off x="368300" y="2185659"/>
          <a:ext cx="11455400" cy="4044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Measurements VS Maintenance Logs 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1455400" cy="1738067"/>
          </a:xfrm>
        </p:spPr>
        <p:txBody>
          <a:bodyPr/>
          <a:lstStyle/>
          <a:p>
            <a:pPr lvl="1"/>
            <a:r>
              <a:rPr lang="en-GB" dirty="0"/>
              <a:t>From these finding a simple analytic method can be proposed: Rolling averages.</a:t>
            </a:r>
          </a:p>
          <a:p>
            <a:pPr lvl="1"/>
            <a:r>
              <a:rPr lang="en-GB" dirty="0"/>
              <a:t>Making use of the rolling average VS the total average, correcting by expected deviations, we find outliers.</a:t>
            </a:r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4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53FDED5-C528-4E50-AEBD-12A280FB8BE6}"/>
              </a:ext>
            </a:extLst>
          </p:cNvPr>
          <p:cNvCxnSpPr>
            <a:cxnSpLocks/>
          </p:cNvCxnSpPr>
          <p:nvPr/>
        </p:nvCxnSpPr>
        <p:spPr>
          <a:xfrm>
            <a:off x="785611" y="3930869"/>
            <a:ext cx="531038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62FAB384-D15D-4D5F-8222-1F78A5EEBE83}"/>
              </a:ext>
            </a:extLst>
          </p:cNvPr>
          <p:cNvSpPr/>
          <p:nvPr/>
        </p:nvSpPr>
        <p:spPr>
          <a:xfrm>
            <a:off x="819807" y="3429000"/>
            <a:ext cx="399393" cy="974829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0" tIns="71960" rIns="71960" bIns="71960" rtlCol="0" anchor="t"/>
          <a:lstStyle/>
          <a:p>
            <a:pPr algn="ctr" defTabSz="1218662">
              <a:lnSpc>
                <a:spcPct val="90000"/>
              </a:lnSpc>
              <a:spcAft>
                <a:spcPts val="300"/>
              </a:spcAft>
            </a:pPr>
            <a:endParaRPr lang="en-GB" sz="1100" b="1" dirty="0">
              <a:solidFill>
                <a:srgbClr val="7F7F7F">
                  <a:lumMod val="50000"/>
                </a:srgbClr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77C7AD9-385C-4C75-86E2-669357CB9DF1}"/>
              </a:ext>
            </a:extLst>
          </p:cNvPr>
          <p:cNvCxnSpPr>
            <a:cxnSpLocks/>
          </p:cNvCxnSpPr>
          <p:nvPr/>
        </p:nvCxnSpPr>
        <p:spPr>
          <a:xfrm>
            <a:off x="815044" y="3934263"/>
            <a:ext cx="408918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4019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4.81481E-6 L 0.04584 -4.81481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92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1.11111E-6 L 0.0448 -0.02893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40" y="-14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Measurements VS Maintenance Logs 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1455400" cy="1738067"/>
          </a:xfrm>
        </p:spPr>
        <p:txBody>
          <a:bodyPr/>
          <a:lstStyle/>
          <a:p>
            <a:pPr lvl="1"/>
            <a:r>
              <a:rPr lang="en-GB" dirty="0"/>
              <a:t>Now we can find this maintenance back in a single number.</a:t>
            </a:r>
          </a:p>
          <a:p>
            <a:pPr lvl="1"/>
            <a:r>
              <a:rPr lang="en-GB" dirty="0"/>
              <a:t>Biggest </a:t>
            </a:r>
            <a:r>
              <a:rPr lang="en-GB" dirty="0" err="1"/>
              <a:t>oulier</a:t>
            </a:r>
            <a:r>
              <a:rPr lang="en-GB" dirty="0"/>
              <a:t> gets to &lt;1 after maintenance.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5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12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3817921"/>
              </p:ext>
            </p:extLst>
          </p:nvPr>
        </p:nvGraphicFramePr>
        <p:xfrm>
          <a:off x="726371" y="2238702"/>
          <a:ext cx="7620050" cy="4093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Diagramm0">
            <a:extLst>
              <a:ext uri="{FF2B5EF4-FFF2-40B4-BE49-F238E27FC236}">
                <a16:creationId xmlns:a16="http://schemas.microsoft.com/office/drawing/2014/main" id="{68CECFCB-9EA4-4505-A175-7242D15156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1859925"/>
              </p:ext>
            </p:extLst>
          </p:nvPr>
        </p:nvGraphicFramePr>
        <p:xfrm>
          <a:off x="368300" y="2238702"/>
          <a:ext cx="5760000" cy="3342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Diagramm0">
            <a:extLst>
              <a:ext uri="{FF2B5EF4-FFF2-40B4-BE49-F238E27FC236}">
                <a16:creationId xmlns:a16="http://schemas.microsoft.com/office/drawing/2014/main" id="{70A46054-AC9A-4452-A4CA-28AC62645E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2197935"/>
              </p:ext>
            </p:extLst>
          </p:nvPr>
        </p:nvGraphicFramePr>
        <p:xfrm>
          <a:off x="6128300" y="2238702"/>
          <a:ext cx="5760000" cy="3342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6949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  <p:bldGraphic spid="14" grpId="0">
        <p:bldAsOne/>
      </p:bldGraphic>
      <p:bldGraphic spid="15" grpId="0">
        <p:bldAsOne/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Measurements VS Maintenance Logs 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439479" cy="5023803"/>
          </a:xfrm>
        </p:spPr>
        <p:txBody>
          <a:bodyPr/>
          <a:lstStyle/>
          <a:p>
            <a:pPr marL="266700" lvl="1" indent="0">
              <a:buNone/>
            </a:pP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6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31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0591457"/>
              </p:ext>
            </p:extLst>
          </p:nvPr>
        </p:nvGraphicFramePr>
        <p:xfrm>
          <a:off x="403625" y="738426"/>
          <a:ext cx="522000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2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1348355"/>
              </p:ext>
            </p:extLst>
          </p:nvPr>
        </p:nvGraphicFramePr>
        <p:xfrm>
          <a:off x="6417079" y="738426"/>
          <a:ext cx="522000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7801914B-3EF5-4F26-9580-7EE7F802BF19}"/>
              </a:ext>
            </a:extLst>
          </p:cNvPr>
          <p:cNvSpPr/>
          <p:nvPr/>
        </p:nvSpPr>
        <p:spPr>
          <a:xfrm>
            <a:off x="7874966" y="2504039"/>
            <a:ext cx="725213" cy="44143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0" tIns="71960" rIns="71960" bIns="71960" rtlCol="0" anchor="t"/>
          <a:lstStyle/>
          <a:p>
            <a:pPr algn="ctr" defTabSz="1218662">
              <a:lnSpc>
                <a:spcPct val="90000"/>
              </a:lnSpc>
              <a:spcAft>
                <a:spcPts val="300"/>
              </a:spcAft>
            </a:pPr>
            <a:endParaRPr lang="en-GB" sz="1100" b="1" dirty="0">
              <a:solidFill>
                <a:srgbClr val="7F7F7F">
                  <a:lumMod val="50000"/>
                </a:srgb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DBFA8B9-9405-4513-840E-0CFA67002AB1}"/>
              </a:ext>
            </a:extLst>
          </p:cNvPr>
          <p:cNvSpPr/>
          <p:nvPr/>
        </p:nvSpPr>
        <p:spPr>
          <a:xfrm>
            <a:off x="3814192" y="2255775"/>
            <a:ext cx="388882" cy="44143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0" tIns="71960" rIns="71960" bIns="71960" rtlCol="0" anchor="t"/>
          <a:lstStyle/>
          <a:p>
            <a:pPr algn="ctr" defTabSz="1218662">
              <a:lnSpc>
                <a:spcPct val="90000"/>
              </a:lnSpc>
              <a:spcAft>
                <a:spcPts val="300"/>
              </a:spcAft>
            </a:pPr>
            <a:endParaRPr lang="en-GB" sz="1100" b="1" dirty="0">
              <a:solidFill>
                <a:srgbClr val="7F7F7F">
                  <a:lumMod val="50000"/>
                </a:srgb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1365F2C-C0C6-4ED4-8B99-602378734DB3}"/>
              </a:ext>
            </a:extLst>
          </p:cNvPr>
          <p:cNvSpPr/>
          <p:nvPr/>
        </p:nvSpPr>
        <p:spPr>
          <a:xfrm>
            <a:off x="9742885" y="2096991"/>
            <a:ext cx="388882" cy="44143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0" tIns="71960" rIns="71960" bIns="71960" rtlCol="0" anchor="t"/>
          <a:lstStyle/>
          <a:p>
            <a:pPr algn="ctr" defTabSz="1218662">
              <a:lnSpc>
                <a:spcPct val="90000"/>
              </a:lnSpc>
              <a:spcAft>
                <a:spcPts val="300"/>
              </a:spcAft>
            </a:pPr>
            <a:endParaRPr lang="en-GB" sz="1100" b="1" dirty="0">
              <a:solidFill>
                <a:srgbClr val="7F7F7F">
                  <a:lumMod val="50000"/>
                </a:srgb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F0DB77E-0A16-41FC-9F52-C48564373645}"/>
              </a:ext>
            </a:extLst>
          </p:cNvPr>
          <p:cNvSpPr/>
          <p:nvPr/>
        </p:nvSpPr>
        <p:spPr>
          <a:xfrm>
            <a:off x="1780439" y="2724756"/>
            <a:ext cx="725213" cy="44143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0" tIns="71960" rIns="71960" bIns="71960" rtlCol="0" anchor="t"/>
          <a:lstStyle/>
          <a:p>
            <a:pPr algn="ctr" defTabSz="1218662">
              <a:lnSpc>
                <a:spcPct val="90000"/>
              </a:lnSpc>
              <a:spcAft>
                <a:spcPts val="300"/>
              </a:spcAft>
            </a:pPr>
            <a:endParaRPr lang="en-GB" sz="1100" b="1" dirty="0">
              <a:solidFill>
                <a:srgbClr val="7F7F7F">
                  <a:lumMod val="50000"/>
                </a:srgbClr>
              </a:solidFill>
            </a:endParaRPr>
          </a:p>
        </p:txBody>
      </p:sp>
      <p:graphicFrame>
        <p:nvGraphicFramePr>
          <p:cNvPr id="14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0842752"/>
              </p:ext>
            </p:extLst>
          </p:nvPr>
        </p:nvGraphicFramePr>
        <p:xfrm>
          <a:off x="3618679" y="3364173"/>
          <a:ext cx="5220000" cy="3029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0958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1" grpId="0">
        <p:bldAsOne/>
      </p:bldGraphic>
      <p:bldGraphic spid="32" grpId="0">
        <p:bldAsOne/>
      </p:bldGraphic>
      <p:bldP spid="11" grpId="0" animBg="1"/>
      <p:bldP spid="33" grpId="0" animBg="1"/>
      <p:bldP spid="34" grpId="0" animBg="1"/>
      <p:bldP spid="35" grpId="0" animBg="1"/>
      <p:bldGraphic spid="14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Interim Conclusio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1080750" cy="4636738"/>
          </a:xfrm>
        </p:spPr>
        <p:txBody>
          <a:bodyPr/>
          <a:lstStyle/>
          <a:p>
            <a:pPr indent="-285750"/>
            <a:r>
              <a:rPr lang="en-GB" dirty="0"/>
              <a:t>TL Conclusions</a:t>
            </a:r>
          </a:p>
          <a:p>
            <a:pPr lvl="1"/>
            <a:r>
              <a:rPr lang="en-GB" dirty="0"/>
              <a:t>Both bad rail alignment and bad rail parts can be found through analysis.</a:t>
            </a:r>
          </a:p>
          <a:p>
            <a:pPr lvl="1"/>
            <a:r>
              <a:rPr lang="en-GB" dirty="0"/>
              <a:t>Thresholds/alarms can probably be defined.</a:t>
            </a:r>
          </a:p>
          <a:p>
            <a:r>
              <a:rPr lang="en-GB" dirty="0"/>
              <a:t>Overview Statu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7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B3B6980-9F2E-472C-974D-0839E0C626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19122"/>
              </p:ext>
            </p:extLst>
          </p:nvPr>
        </p:nvGraphicFramePr>
        <p:xfrm>
          <a:off x="368300" y="3696608"/>
          <a:ext cx="11327649" cy="2417492"/>
        </p:xfrm>
        <a:graphic>
          <a:graphicData uri="http://schemas.openxmlformats.org/drawingml/2006/table">
            <a:tbl>
              <a:tblPr firstRow="1" firstCol="1">
                <a:tableStyleId>{7DF18680-E054-41AD-8BC1-D1AEF772440D}</a:tableStyleId>
              </a:tblPr>
              <a:tblGrid>
                <a:gridCol w="1846712">
                  <a:extLst>
                    <a:ext uri="{9D8B030D-6E8A-4147-A177-3AD203B41FA5}">
                      <a16:colId xmlns:a16="http://schemas.microsoft.com/office/drawing/2014/main" val="3046058233"/>
                    </a:ext>
                  </a:extLst>
                </a:gridCol>
                <a:gridCol w="1748912">
                  <a:extLst>
                    <a:ext uri="{9D8B030D-6E8A-4147-A177-3AD203B41FA5}">
                      <a16:colId xmlns:a16="http://schemas.microsoft.com/office/drawing/2014/main" val="4036034353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3427643651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2813118936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2272807834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3702741413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81261630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2437987750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2127060500"/>
                    </a:ext>
                  </a:extLst>
                </a:gridCol>
              </a:tblGrid>
              <a:tr h="345356"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Robot Type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1st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2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3rt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4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5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6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7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Track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4095036153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460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1376234422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662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2084978840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664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4.5 / 6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1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3328614086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665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1555016457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670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4.5 / 6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1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12465095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 dirty="0">
                          <a:effectLst/>
                        </a:rPr>
                        <a:t>7600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4.5 / 6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1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28073366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330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next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1455400" cy="5023803"/>
          </a:xfrm>
        </p:spPr>
        <p:txBody>
          <a:bodyPr/>
          <a:lstStyle/>
          <a:p>
            <a:r>
              <a:rPr lang="en-GB" dirty="0"/>
              <a:t>Generate data in the future.</a:t>
            </a:r>
          </a:p>
          <a:p>
            <a:r>
              <a:rPr lang="en-GB" dirty="0"/>
              <a:t>Tracks</a:t>
            </a:r>
            <a:br>
              <a:rPr lang="en-GB" dirty="0"/>
            </a:br>
            <a:r>
              <a:rPr lang="en-GB" dirty="0"/>
              <a:t>- More advanced analysis for fault detection;</a:t>
            </a:r>
            <a:br>
              <a:rPr lang="en-GB" dirty="0"/>
            </a:br>
            <a:r>
              <a:rPr lang="en-GB" dirty="0"/>
              <a:t>- Diagnosis of problems (Alignment vs Degradation vs Bearings).</a:t>
            </a:r>
          </a:p>
          <a:p>
            <a:r>
              <a:rPr lang="en-GB" dirty="0"/>
              <a:t>Gearboxes 7</a:t>
            </a:r>
            <a:r>
              <a:rPr lang="en-GB" baseline="30000" dirty="0"/>
              <a:t>th</a:t>
            </a:r>
            <a:r>
              <a:rPr lang="en-GB" dirty="0"/>
              <a:t> axis:</a:t>
            </a:r>
            <a:br>
              <a:rPr lang="en-GB" dirty="0"/>
            </a:br>
            <a:r>
              <a:rPr lang="en-GB" dirty="0"/>
              <a:t>- More advanced analysis for “Remaining Useful Lifetime” determination.</a:t>
            </a:r>
          </a:p>
          <a:p>
            <a:r>
              <a:rPr lang="en-GB" b="0" dirty="0"/>
              <a:t>Gearboxes 1</a:t>
            </a:r>
            <a:r>
              <a:rPr lang="en-GB" b="0" baseline="30000" dirty="0"/>
              <a:t>st</a:t>
            </a:r>
            <a:r>
              <a:rPr lang="en-GB" b="0" dirty="0"/>
              <a:t> till 6</a:t>
            </a:r>
            <a:r>
              <a:rPr lang="en-GB" b="0" baseline="30000" dirty="0"/>
              <a:t>th</a:t>
            </a:r>
            <a:r>
              <a:rPr lang="en-GB" b="0" dirty="0"/>
              <a:t> axis:</a:t>
            </a:r>
            <a:br>
              <a:rPr lang="en-GB" dirty="0"/>
            </a:br>
            <a:r>
              <a:rPr lang="en-GB" dirty="0"/>
              <a:t>- Looking at the 2th and 3th axis, more analytics</a:t>
            </a:r>
            <a:br>
              <a:rPr lang="en-GB" dirty="0"/>
            </a:br>
            <a:r>
              <a:rPr lang="en-GB" dirty="0"/>
              <a:t>- Using knowledge from the 7</a:t>
            </a:r>
            <a:r>
              <a:rPr lang="en-GB" baseline="30000" dirty="0"/>
              <a:t>th</a:t>
            </a:r>
            <a:r>
              <a:rPr lang="en-GB" dirty="0"/>
              <a:t> axis.</a:t>
            </a:r>
          </a:p>
          <a:p>
            <a:r>
              <a:rPr lang="en-GB" dirty="0"/>
              <a:t>Pilot:</a:t>
            </a:r>
            <a:br>
              <a:rPr lang="en-GB" dirty="0"/>
            </a:br>
            <a:r>
              <a:rPr lang="en-GB" dirty="0"/>
              <a:t>- </a:t>
            </a:r>
            <a:r>
              <a:rPr lang="en-GB" b="0" dirty="0"/>
              <a:t>Alarm system </a:t>
            </a:r>
            <a:br>
              <a:rPr lang="en-GB" dirty="0"/>
            </a:br>
            <a:r>
              <a:rPr lang="en-GB" dirty="0"/>
              <a:t>- </a:t>
            </a:r>
            <a:r>
              <a:rPr lang="en-GB" b="0" dirty="0"/>
              <a:t>Threshold System </a:t>
            </a:r>
            <a:endParaRPr lang="en-GB" dirty="0"/>
          </a:p>
          <a:p>
            <a:pPr marL="285750" lvl="3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lvl="3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18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915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 Experiment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1080750" cy="4636738"/>
          </a:xfrm>
        </p:spPr>
        <p:txBody>
          <a:bodyPr/>
          <a:lstStyle/>
          <a:p>
            <a:r>
              <a:rPr lang="en-GB" dirty="0"/>
              <a:t>Every week a test was being conducted and measurements are send to BIA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experiments goal is to, through condition monitoring, reduce faults and errors during production and therefore reduce downtime</a:t>
            </a:r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2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52586" name="Picture 10" descr="[webp-to-png output image]">
            <a:extLst>
              <a:ext uri="{FF2B5EF4-FFF2-40B4-BE49-F238E27FC236}">
                <a16:creationId xmlns:a16="http://schemas.microsoft.com/office/drawing/2014/main" id="{C730F3E3-1A8C-44FE-AE13-15FEABF4C4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8592" y="1537821"/>
            <a:ext cx="3351980" cy="335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507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 Experiment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1080750" cy="4636738"/>
          </a:xfrm>
        </p:spPr>
        <p:txBody>
          <a:bodyPr/>
          <a:lstStyle/>
          <a:p>
            <a:r>
              <a:rPr lang="en-GB" dirty="0"/>
              <a:t>Three categories “Ra”, “Ta” and “TL”</a:t>
            </a:r>
          </a:p>
          <a:p>
            <a:pPr lvl="1"/>
            <a:r>
              <a:rPr lang="en-GB" dirty="0"/>
              <a:t>“Ra” is the test done to test for the 6 axis the ABB robots are able to do.</a:t>
            </a:r>
          </a:p>
          <a:p>
            <a:pPr lvl="1"/>
            <a:r>
              <a:rPr lang="en-GB" dirty="0"/>
              <a:t>“Ta” is the 7</a:t>
            </a:r>
            <a:r>
              <a:rPr lang="en-GB" baseline="30000" dirty="0"/>
              <a:t>th</a:t>
            </a:r>
            <a:r>
              <a:rPr lang="en-GB" dirty="0"/>
              <a:t> axis. It moves on a small part of the rail.</a:t>
            </a:r>
          </a:p>
          <a:p>
            <a:pPr lvl="1"/>
            <a:r>
              <a:rPr lang="en-GB" dirty="0"/>
              <a:t>“TL” is also on the 7</a:t>
            </a:r>
            <a:r>
              <a:rPr lang="en-GB" baseline="30000" dirty="0"/>
              <a:t>th</a:t>
            </a:r>
            <a:r>
              <a:rPr lang="en-GB" dirty="0"/>
              <a:t> axis, however this measurement will go over the whole length of the rail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3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445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lot Introductio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en-GB" dirty="0"/>
              <a:t>Summarizing the condition of parts of the robot by using a number.</a:t>
            </a:r>
          </a:p>
          <a:p>
            <a:r>
              <a:rPr lang="en-GB" dirty="0"/>
              <a:t>Finding thresholds for warning and alarms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4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432C005-C16D-4AC0-BE6B-D8E59DADE2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7496397"/>
              </p:ext>
            </p:extLst>
          </p:nvPr>
        </p:nvGraphicFramePr>
        <p:xfrm>
          <a:off x="368300" y="2544928"/>
          <a:ext cx="11327649" cy="2417492"/>
        </p:xfrm>
        <a:graphic>
          <a:graphicData uri="http://schemas.openxmlformats.org/drawingml/2006/table">
            <a:tbl>
              <a:tblPr firstRow="1" firstCol="1">
                <a:tableStyleId>{7DF18680-E054-41AD-8BC1-D1AEF772440D}</a:tableStyleId>
              </a:tblPr>
              <a:tblGrid>
                <a:gridCol w="1846712">
                  <a:extLst>
                    <a:ext uri="{9D8B030D-6E8A-4147-A177-3AD203B41FA5}">
                      <a16:colId xmlns:a16="http://schemas.microsoft.com/office/drawing/2014/main" val="3046058233"/>
                    </a:ext>
                  </a:extLst>
                </a:gridCol>
                <a:gridCol w="1748912">
                  <a:extLst>
                    <a:ext uri="{9D8B030D-6E8A-4147-A177-3AD203B41FA5}">
                      <a16:colId xmlns:a16="http://schemas.microsoft.com/office/drawing/2014/main" val="4036034353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3427643651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2813118936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2272807834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3702741413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81261630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2437987750"/>
                    </a:ext>
                  </a:extLst>
                </a:gridCol>
                <a:gridCol w="1104575">
                  <a:extLst>
                    <a:ext uri="{9D8B030D-6E8A-4147-A177-3AD203B41FA5}">
                      <a16:colId xmlns:a16="http://schemas.microsoft.com/office/drawing/2014/main" val="2127060500"/>
                    </a:ext>
                  </a:extLst>
                </a:gridCol>
              </a:tblGrid>
              <a:tr h="345356"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Robot Type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1st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2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3rt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4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5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6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7th axis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Track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4095036153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460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1376234422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662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2084978840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664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3328614086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665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1555016457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670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12465095"/>
                  </a:ext>
                </a:extLst>
              </a:tr>
              <a:tr h="345356">
                <a:tc>
                  <a:txBody>
                    <a:bodyPr/>
                    <a:lstStyle/>
                    <a:p>
                      <a:pPr algn="r" fontAlgn="b"/>
                      <a:r>
                        <a:rPr lang="nl-NL" sz="2000" u="none" strike="noStrike">
                          <a:effectLst/>
                        </a:rPr>
                        <a:t>7600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>
                          <a:effectLst/>
                        </a:rPr>
                        <a:t>? / ?</a:t>
                      </a:r>
                      <a:endParaRPr lang="nl-NL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2000" u="none" strike="noStrike" dirty="0">
                          <a:effectLst/>
                        </a:rPr>
                        <a:t>? / ?</a:t>
                      </a:r>
                      <a:endParaRPr lang="nl-N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67" marR="17267" marT="17267" marB="0" anchor="b"/>
                </a:tc>
                <a:extLst>
                  <a:ext uri="{0D108BD9-81ED-4DB2-BD59-A6C34878D82A}">
                    <a16:rowId xmlns:a16="http://schemas.microsoft.com/office/drawing/2014/main" val="28073366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7475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lvl="1"/>
            <a:r>
              <a:rPr lang="en-GB" dirty="0"/>
              <a:t>Focus on the 7</a:t>
            </a:r>
            <a:r>
              <a:rPr lang="en-GB" baseline="30000" dirty="0"/>
              <a:t>th</a:t>
            </a:r>
            <a:r>
              <a:rPr lang="en-GB" dirty="0"/>
              <a:t> axis, i.e. the track axis. One precise and short </a:t>
            </a:r>
            <a:r>
              <a:rPr lang="en-GB" dirty="0">
                <a:solidFill>
                  <a:schemeClr val="accent1"/>
                </a:solidFill>
              </a:rPr>
              <a:t>(Ta)</a:t>
            </a:r>
            <a:r>
              <a:rPr lang="en-GB" dirty="0"/>
              <a:t>, other less precise and over the whole track </a:t>
            </a:r>
            <a:r>
              <a:rPr lang="en-GB" dirty="0">
                <a:solidFill>
                  <a:schemeClr val="accent3"/>
                </a:solidFill>
              </a:rPr>
              <a:t>(TL)</a:t>
            </a:r>
            <a:r>
              <a:rPr lang="en-GB" dirty="0"/>
              <a:t>.</a:t>
            </a:r>
            <a:br>
              <a:rPr lang="en-GB" dirty="0"/>
            </a:br>
            <a:endParaRPr lang="en-GB" dirty="0"/>
          </a:p>
          <a:p>
            <a:pPr lvl="1"/>
            <a:r>
              <a:rPr lang="en-GB" dirty="0">
                <a:solidFill>
                  <a:schemeClr val="accent1"/>
                </a:solidFill>
              </a:rPr>
              <a:t>Ta</a:t>
            </a:r>
            <a:r>
              <a:rPr lang="en-GB" dirty="0"/>
              <a:t> measurements for gearbox and bearings.</a:t>
            </a:r>
          </a:p>
          <a:p>
            <a:pPr lvl="1"/>
            <a:r>
              <a:rPr lang="en-GB" dirty="0">
                <a:solidFill>
                  <a:schemeClr val="accent3"/>
                </a:solidFill>
              </a:rPr>
              <a:t>TL</a:t>
            </a:r>
            <a:r>
              <a:rPr lang="en-GB" dirty="0"/>
              <a:t> measurements for track alignment, track wear and bearings.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5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1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3337309"/>
              </p:ext>
            </p:extLst>
          </p:nvPr>
        </p:nvGraphicFramePr>
        <p:xfrm>
          <a:off x="529139" y="3134863"/>
          <a:ext cx="5928342" cy="3223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4595577"/>
              </p:ext>
            </p:extLst>
          </p:nvPr>
        </p:nvGraphicFramePr>
        <p:xfrm>
          <a:off x="6386881" y="3134863"/>
          <a:ext cx="5507420" cy="2804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02694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Track Axis Tests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2920900" cy="4636738"/>
          </a:xfrm>
        </p:spPr>
        <p:txBody>
          <a:bodyPr/>
          <a:lstStyle/>
          <a:p>
            <a:pPr lvl="1"/>
            <a:r>
              <a:rPr lang="en-GB" dirty="0"/>
              <a:t>Track Axis (Ta)</a:t>
            </a:r>
            <a:br>
              <a:rPr lang="en-GB" dirty="0"/>
            </a:br>
            <a:r>
              <a:rPr lang="en-GB" dirty="0"/>
              <a:t>Measurements.</a:t>
            </a:r>
          </a:p>
          <a:p>
            <a:pPr lvl="1"/>
            <a:r>
              <a:rPr lang="en-GB" dirty="0">
                <a:solidFill>
                  <a:schemeClr val="accent1"/>
                </a:solidFill>
              </a:rPr>
              <a:t>Actual</a:t>
            </a:r>
            <a:r>
              <a:rPr lang="en-GB" dirty="0"/>
              <a:t> VS </a:t>
            </a:r>
            <a:r>
              <a:rPr lang="en-GB" dirty="0">
                <a:solidFill>
                  <a:schemeClr val="accent2"/>
                </a:solidFill>
              </a:rPr>
              <a:t>Feed Forward.</a:t>
            </a:r>
          </a:p>
          <a:p>
            <a:pPr lvl="1"/>
            <a:r>
              <a:rPr lang="en-GB" dirty="0"/>
              <a:t>Analysis: Using the feed forward to get the status of the gearbox.</a:t>
            </a:r>
          </a:p>
          <a:p>
            <a:pPr lvl="1"/>
            <a:r>
              <a:rPr lang="en-GB" dirty="0"/>
              <a:t>Based on the delta feed forward and actual, the variance is calculated.</a:t>
            </a:r>
          </a:p>
          <a:p>
            <a:pPr lvl="1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6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910623"/>
              </p:ext>
            </p:extLst>
          </p:nvPr>
        </p:nvGraphicFramePr>
        <p:xfrm>
          <a:off x="3289200" y="1161000"/>
          <a:ext cx="8534500" cy="4953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00667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Failure Predictio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3670300" cy="4636738"/>
          </a:xfrm>
        </p:spPr>
        <p:txBody>
          <a:bodyPr/>
          <a:lstStyle/>
          <a:p>
            <a:pPr indent="-285750"/>
            <a:r>
              <a:rPr lang="en-GB" dirty="0"/>
              <a:t>Possible to predicted failure before it happens.</a:t>
            </a:r>
          </a:p>
          <a:p>
            <a:pPr indent="-285750"/>
            <a:r>
              <a:rPr lang="en-GB" dirty="0"/>
              <a:t>Gearbox failed on January 2022</a:t>
            </a:r>
          </a:p>
          <a:p>
            <a:pPr indent="-285750"/>
            <a:r>
              <a:rPr lang="en-GB" dirty="0"/>
              <a:t>It shows and steady increase in the variance found between the feed forward and the measured torque.</a:t>
            </a:r>
          </a:p>
          <a:p>
            <a:pPr indent="-285750"/>
            <a:r>
              <a:rPr lang="en-GB" dirty="0"/>
              <a:t>Goes towards a variance of 6+</a:t>
            </a:r>
          </a:p>
          <a:p>
            <a:pPr indent="-285750"/>
            <a:r>
              <a:rPr lang="en-GB" dirty="0"/>
              <a:t>Conclusion: Ta above 4.5 attention threshold.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7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2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0767519"/>
              </p:ext>
            </p:extLst>
          </p:nvPr>
        </p:nvGraphicFramePr>
        <p:xfrm>
          <a:off x="4624552" y="1322561"/>
          <a:ext cx="7199148" cy="39446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08F5FCB-F945-4654-A643-71993A75EB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8300" y="1190135"/>
            <a:ext cx="11455400" cy="4636738"/>
          </a:xfrm>
        </p:spPr>
        <p:txBody>
          <a:bodyPr/>
          <a:lstStyle/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330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High Risk Gearboxes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5401879" cy="4636738"/>
          </a:xfrm>
        </p:spPr>
        <p:txBody>
          <a:bodyPr/>
          <a:lstStyle/>
          <a:p>
            <a:pPr lvl="1"/>
            <a:r>
              <a:rPr lang="en-GB" dirty="0"/>
              <a:t>Able to find “risky” gearboxes, after analysis of the available data.</a:t>
            </a:r>
          </a:p>
          <a:p>
            <a:pPr lvl="1"/>
            <a:r>
              <a:rPr lang="en-GB" dirty="0"/>
              <a:t>6 of the 64 gearboxes have a variance of 4.5 or higher.</a:t>
            </a:r>
          </a:p>
          <a:p>
            <a:pPr lvl="1"/>
            <a:r>
              <a:rPr lang="en-GB" dirty="0"/>
              <a:t>3 of these gearboxes have been replaced in 2022.</a:t>
            </a:r>
            <a:br>
              <a:rPr lang="en-GB" dirty="0"/>
            </a:br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6640-102092</a:t>
            </a:r>
            <a:b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</a:br>
            <a:r>
              <a:rPr lang="nl-NL" dirty="0">
                <a:solidFill>
                  <a:schemeClr val="accent3">
                    <a:lumMod val="75000"/>
                  </a:schemeClr>
                </a:solidFill>
              </a:rPr>
              <a:t>6640-101814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rgbClr val="FF0000"/>
                </a:solidFill>
              </a:rPr>
              <a:t>6</a:t>
            </a:r>
            <a:r>
              <a:rPr lang="nl-NL" dirty="0">
                <a:solidFill>
                  <a:srgbClr val="FF0000"/>
                </a:solidFill>
              </a:rPr>
              <a:t>640-101988</a:t>
            </a:r>
          </a:p>
          <a:p>
            <a:pPr lvl="1"/>
            <a:r>
              <a:rPr lang="nl-NL" dirty="0"/>
              <a:t>3 of these </a:t>
            </a:r>
            <a:r>
              <a:rPr lang="nl-NL" dirty="0" err="1"/>
              <a:t>gearboxes</a:t>
            </a:r>
            <a:r>
              <a:rPr lang="nl-NL" dirty="0"/>
              <a:t> have been </a:t>
            </a:r>
            <a:r>
              <a:rPr lang="nl-NL" dirty="0" err="1"/>
              <a:t>looked</a:t>
            </a:r>
            <a:r>
              <a:rPr lang="nl-NL" dirty="0"/>
              <a:t> at.</a:t>
            </a:r>
            <a:br>
              <a:rPr lang="nl-NL" dirty="0"/>
            </a:br>
            <a:r>
              <a:rPr lang="nl-NL" dirty="0">
                <a:solidFill>
                  <a:schemeClr val="accent2">
                    <a:lumMod val="75000"/>
                  </a:schemeClr>
                </a:solidFill>
              </a:rPr>
              <a:t>6640-102009</a:t>
            </a:r>
            <a:br>
              <a:rPr lang="nl-NL" dirty="0"/>
            </a:br>
            <a:r>
              <a:rPr lang="nl-NL" dirty="0">
                <a:solidFill>
                  <a:srgbClr val="00B050"/>
                </a:solidFill>
              </a:rPr>
              <a:t>6640-106401</a:t>
            </a:r>
            <a:br>
              <a:rPr lang="nl-NL" dirty="0"/>
            </a:br>
            <a:r>
              <a:rPr lang="nl-NL" dirty="0">
                <a:solidFill>
                  <a:schemeClr val="accent6">
                    <a:lumMod val="25000"/>
                  </a:schemeClr>
                </a:solidFill>
              </a:rPr>
              <a:t>6640-10801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8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Diagramm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6749804"/>
              </p:ext>
            </p:extLst>
          </p:nvPr>
        </p:nvGraphicFramePr>
        <p:xfrm>
          <a:off x="5640513" y="1887706"/>
          <a:ext cx="6183188" cy="3588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83546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A1F7-9CCC-454B-BE0F-5684F54B6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Work – Results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28336-A2F3-45CB-990B-1B8E5F6112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8300" y="1179861"/>
            <a:ext cx="11455400" cy="4636738"/>
          </a:xfrm>
        </p:spPr>
        <p:txBody>
          <a:bodyPr/>
          <a:lstStyle/>
          <a:p>
            <a:r>
              <a:rPr lang="nl-NL" dirty="0" err="1"/>
              <a:t>Results</a:t>
            </a:r>
            <a:r>
              <a:rPr lang="nl-NL" dirty="0"/>
              <a:t> of 6640-108019</a:t>
            </a:r>
            <a:endParaRPr lang="nl-NL" dirty="0">
              <a:solidFill>
                <a:schemeClr val="accent6">
                  <a:lumMod val="25000"/>
                </a:schemeClr>
              </a:solidFill>
            </a:endParaRPr>
          </a:p>
          <a:p>
            <a:pPr lvl="1"/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Makes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schokking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movements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when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moving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around</a:t>
            </a:r>
            <a:endParaRPr lang="nl-NL" dirty="0">
              <a:solidFill>
                <a:schemeClr val="accent6">
                  <a:lumMod val="10000"/>
                </a:schemeClr>
              </a:solidFill>
            </a:endParaRPr>
          </a:p>
          <a:p>
            <a:pPr lvl="1"/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Gearbox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will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be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looked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at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Tuesday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,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will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be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runned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to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failure</a:t>
            </a:r>
          </a:p>
          <a:p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Results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of </a:t>
            </a:r>
            <a:r>
              <a:rPr lang="nl-NL" dirty="0"/>
              <a:t>6640-106401</a:t>
            </a:r>
          </a:p>
          <a:p>
            <a:pPr lvl="1"/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Seems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to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be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nothing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wrong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and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since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the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track is small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it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is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unlikely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that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there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is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something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wrong</a:t>
            </a:r>
          </a:p>
          <a:p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Results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of </a:t>
            </a:r>
            <a:r>
              <a:rPr lang="nl-NL" dirty="0"/>
              <a:t>6640-102009 </a:t>
            </a:r>
          </a:p>
          <a:p>
            <a:pPr lvl="1"/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Makes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a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schraping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noise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in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one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direction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.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Possibly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 motor </a:t>
            </a:r>
            <a:r>
              <a:rPr lang="nl-NL" dirty="0" err="1">
                <a:solidFill>
                  <a:schemeClr val="accent6">
                    <a:lumMod val="10000"/>
                  </a:schemeClr>
                </a:solidFill>
              </a:rPr>
              <a:t>related</a:t>
            </a:r>
            <a:r>
              <a:rPr lang="nl-NL" dirty="0">
                <a:solidFill>
                  <a:schemeClr val="accent6">
                    <a:lumMod val="10000"/>
                  </a:schemeClr>
                </a:solidFill>
              </a:rPr>
              <a:t>.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0E731-0F42-421E-8787-BCA0C0CD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6D1E7-05DB-4A43-8A3E-705F2FEBDE07}" type="datetime2">
              <a:rPr lang="en-GB" smtClean="0"/>
              <a:t>Thursday, 29 September 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D27D9-D831-43CA-A3BD-FF6419B88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DL Nedca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825B4-DFDF-4B02-B2AB-A0D6544D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52D14-F929-4ADB-A2A3-535638028445}" type="slidenum">
              <a:rPr lang="nl-NL" smtClean="0"/>
              <a:t>9</a:t>
            </a:fld>
            <a:endParaRPr lang="nl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B51FB-328E-49FE-8B6A-C47E0136B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297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8bbabb8a95a4c7b0e73740e5b55d863e9f5a1c99"/>
  <p:tag name="THINKCELLPRESENTATIONDONOTDELETE" val="&lt;?xml version=&quot;1.0&quot; encoding=&quot;UTF-16&quot; standalone=&quot;yes&quot;?&gt;&lt;root reqver=&quot;24162&quot;&gt;&lt;version val=&quot;2697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-%#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5GJkUqRamF9upEuNHw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5GJkUqRamF9upEuNHw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5GJkUqRamF9upEuNHw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DL Template-set">
  <a:themeElements>
    <a:clrScheme name="Aangepast 36">
      <a:dk1>
        <a:sysClr val="windowText" lastClr="000000"/>
      </a:dk1>
      <a:lt1>
        <a:sysClr val="window" lastClr="FFFFFF"/>
      </a:lt1>
      <a:dk2>
        <a:srgbClr val="002C51"/>
      </a:dk2>
      <a:lt2>
        <a:srgbClr val="E5E5E5"/>
      </a:lt2>
      <a:accent1>
        <a:srgbClr val="F39200"/>
      </a:accent1>
      <a:accent2>
        <a:srgbClr val="008A78"/>
      </a:accent2>
      <a:accent3>
        <a:srgbClr val="0080C9"/>
      </a:accent3>
      <a:accent4>
        <a:srgbClr val="7C7C7B"/>
      </a:accent4>
      <a:accent5>
        <a:srgbClr val="002C51"/>
      </a:accent5>
      <a:accent6>
        <a:srgbClr val="E5E5E5"/>
      </a:accent6>
      <a:hlink>
        <a:srgbClr val="0563C1"/>
      </a:hlink>
      <a:folHlink>
        <a:srgbClr val="954F72"/>
      </a:folHlink>
    </a:clrScheme>
    <a:fontScheme name="BMW format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71960" tIns="71960" rIns="71960" bIns="71960" rtlCol="0" anchor="t"/>
      <a:lstStyle>
        <a:defPPr algn="ctr" defTabSz="1218662">
          <a:lnSpc>
            <a:spcPct val="90000"/>
          </a:lnSpc>
          <a:spcAft>
            <a:spcPts val="300"/>
          </a:spcAft>
          <a:defRPr sz="1100" b="1" dirty="0">
            <a:solidFill>
              <a:srgbClr val="7F7F7F">
                <a:lumMod val="50000"/>
              </a:srgb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VDL Template-set">
  <a:themeElements>
    <a:clrScheme name="Aangepast 36">
      <a:dk1>
        <a:sysClr val="windowText" lastClr="000000"/>
      </a:dk1>
      <a:lt1>
        <a:sysClr val="window" lastClr="FFFFFF"/>
      </a:lt1>
      <a:dk2>
        <a:srgbClr val="002C51"/>
      </a:dk2>
      <a:lt2>
        <a:srgbClr val="E5E5E5"/>
      </a:lt2>
      <a:accent1>
        <a:srgbClr val="F39200"/>
      </a:accent1>
      <a:accent2>
        <a:srgbClr val="008A78"/>
      </a:accent2>
      <a:accent3>
        <a:srgbClr val="0080C9"/>
      </a:accent3>
      <a:accent4>
        <a:srgbClr val="7C7C7B"/>
      </a:accent4>
      <a:accent5>
        <a:srgbClr val="002C51"/>
      </a:accent5>
      <a:accent6>
        <a:srgbClr val="E5E5E5"/>
      </a:accent6>
      <a:hlink>
        <a:srgbClr val="0563C1"/>
      </a:hlink>
      <a:folHlink>
        <a:srgbClr val="954F72"/>
      </a:folHlink>
    </a:clrScheme>
    <a:fontScheme name="BMW format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71960" tIns="71960" rIns="71960" bIns="71960" rtlCol="0" anchor="t"/>
      <a:lstStyle>
        <a:defPPr algn="ctr" defTabSz="1218662">
          <a:lnSpc>
            <a:spcPct val="90000"/>
          </a:lnSpc>
          <a:spcAft>
            <a:spcPts val="300"/>
          </a:spcAft>
          <a:defRPr sz="1100" b="1" dirty="0">
            <a:solidFill>
              <a:srgbClr val="7F7F7F">
                <a:lumMod val="50000"/>
              </a:srgb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NL_Template algemene presentatie VDL Groep_POTX_v1.3">
  <a:themeElements>
    <a:clrScheme name="Aangepast 36">
      <a:dk1>
        <a:sysClr val="windowText" lastClr="000000"/>
      </a:dk1>
      <a:lt1>
        <a:sysClr val="window" lastClr="FFFFFF"/>
      </a:lt1>
      <a:dk2>
        <a:srgbClr val="002C51"/>
      </a:dk2>
      <a:lt2>
        <a:srgbClr val="E5E5E5"/>
      </a:lt2>
      <a:accent1>
        <a:srgbClr val="F39200"/>
      </a:accent1>
      <a:accent2>
        <a:srgbClr val="008A78"/>
      </a:accent2>
      <a:accent3>
        <a:srgbClr val="0080C9"/>
      </a:accent3>
      <a:accent4>
        <a:srgbClr val="7C7C7B"/>
      </a:accent4>
      <a:accent5>
        <a:srgbClr val="002C51"/>
      </a:accent5>
      <a:accent6>
        <a:srgbClr val="E5E5E5"/>
      </a:accent6>
      <a:hlink>
        <a:srgbClr val="0563C1"/>
      </a:hlink>
      <a:folHlink>
        <a:srgbClr val="954F72"/>
      </a:folHlink>
    </a:clrScheme>
    <a:fontScheme name="Aangepast 10">
      <a:majorFont>
        <a:latin typeface="Gill Sans MT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71960" tIns="71960" rIns="71960" bIns="71960" rtlCol="0" anchor="t"/>
      <a:lstStyle>
        <a:defPPr algn="ctr" defTabSz="1218662">
          <a:lnSpc>
            <a:spcPct val="90000"/>
          </a:lnSpc>
          <a:spcAft>
            <a:spcPts val="300"/>
          </a:spcAft>
          <a:defRPr sz="1100" b="1" dirty="0">
            <a:solidFill>
              <a:srgbClr val="7F7F7F">
                <a:lumMod val="50000"/>
              </a:srgb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e4" id="{AD421E94-A06C-4C4A-98DF-3B43D8DBA329}" vid="{80B2BA45-7959-4A17-A624-F7AE3A34DDA2}"/>
    </a:ext>
  </a:extLst>
</a:theme>
</file>

<file path=ppt/theme/theme4.xml><?xml version="1.0" encoding="utf-8"?>
<a:theme xmlns:a="http://schemas.openxmlformats.org/drawingml/2006/main" name="NL_Template algemene presentatie VDL Groep_POTX_v1.3">
  <a:themeElements>
    <a:clrScheme name="Aangepast 36">
      <a:dk1>
        <a:sysClr val="windowText" lastClr="000000"/>
      </a:dk1>
      <a:lt1>
        <a:sysClr val="window" lastClr="FFFFFF"/>
      </a:lt1>
      <a:dk2>
        <a:srgbClr val="002C51"/>
      </a:dk2>
      <a:lt2>
        <a:srgbClr val="E5E5E5"/>
      </a:lt2>
      <a:accent1>
        <a:srgbClr val="F39200"/>
      </a:accent1>
      <a:accent2>
        <a:srgbClr val="008A78"/>
      </a:accent2>
      <a:accent3>
        <a:srgbClr val="0080C9"/>
      </a:accent3>
      <a:accent4>
        <a:srgbClr val="7C7C7B"/>
      </a:accent4>
      <a:accent5>
        <a:srgbClr val="002C51"/>
      </a:accent5>
      <a:accent6>
        <a:srgbClr val="E5E5E5"/>
      </a:accent6>
      <a:hlink>
        <a:srgbClr val="0563C1"/>
      </a:hlink>
      <a:folHlink>
        <a:srgbClr val="954F72"/>
      </a:folHlink>
    </a:clrScheme>
    <a:fontScheme name="Aangepast 10">
      <a:majorFont>
        <a:latin typeface="Gill Sans MT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71960" tIns="71960" rIns="71960" bIns="71960" rtlCol="0" anchor="t"/>
      <a:lstStyle>
        <a:defPPr algn="ctr" defTabSz="1218662">
          <a:lnSpc>
            <a:spcPct val="90000"/>
          </a:lnSpc>
          <a:spcAft>
            <a:spcPts val="300"/>
          </a:spcAft>
          <a:defRPr sz="1100" b="1" dirty="0">
            <a:solidFill>
              <a:srgbClr val="7F7F7F">
                <a:lumMod val="50000"/>
              </a:srgb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e4" id="{AD421E94-A06C-4C4A-98DF-3B43D8DBA329}" vid="{80B2BA45-7959-4A17-A624-F7AE3A34DDA2}"/>
    </a:ext>
  </a:extLst>
</a:theme>
</file>

<file path=ppt/theme/theme5.xml><?xml version="1.0" encoding="utf-8"?>
<a:theme xmlns:a="http://schemas.openxmlformats.org/drawingml/2006/main" name="3_NL_Template algemene presentatie VDL Groep_POTX_v1.3">
  <a:themeElements>
    <a:clrScheme name="Aangepast 36">
      <a:dk1>
        <a:sysClr val="windowText" lastClr="000000"/>
      </a:dk1>
      <a:lt1>
        <a:sysClr val="window" lastClr="FFFFFF"/>
      </a:lt1>
      <a:dk2>
        <a:srgbClr val="002C51"/>
      </a:dk2>
      <a:lt2>
        <a:srgbClr val="E5E5E5"/>
      </a:lt2>
      <a:accent1>
        <a:srgbClr val="F39200"/>
      </a:accent1>
      <a:accent2>
        <a:srgbClr val="008A78"/>
      </a:accent2>
      <a:accent3>
        <a:srgbClr val="0080C9"/>
      </a:accent3>
      <a:accent4>
        <a:srgbClr val="7C7C7B"/>
      </a:accent4>
      <a:accent5>
        <a:srgbClr val="002C51"/>
      </a:accent5>
      <a:accent6>
        <a:srgbClr val="E5E5E5"/>
      </a:accent6>
      <a:hlink>
        <a:srgbClr val="0563C1"/>
      </a:hlink>
      <a:folHlink>
        <a:srgbClr val="954F72"/>
      </a:folHlink>
    </a:clrScheme>
    <a:fontScheme name="Aangepast 10">
      <a:majorFont>
        <a:latin typeface="Gill Sans MT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71960" tIns="71960" rIns="71960" bIns="71960" rtlCol="0" anchor="t"/>
      <a:lstStyle>
        <a:defPPr algn="ctr" defTabSz="1218662">
          <a:lnSpc>
            <a:spcPct val="90000"/>
          </a:lnSpc>
          <a:spcAft>
            <a:spcPts val="300"/>
          </a:spcAft>
          <a:defRPr sz="1100" b="1" dirty="0">
            <a:solidFill>
              <a:srgbClr val="7F7F7F">
                <a:lumMod val="50000"/>
              </a:srgb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e4" id="{AD421E94-A06C-4C4A-98DF-3B43D8DBA329}" vid="{80B2BA45-7959-4A17-A624-F7AE3A34DDA2}"/>
    </a:ext>
  </a:extLst>
</a:theme>
</file>

<file path=ppt/theme/theme6.xml><?xml version="1.0" encoding="utf-8"?>
<a:theme xmlns:a="http://schemas.openxmlformats.org/drawingml/2006/main" name="2_VDL Template-set">
  <a:themeElements>
    <a:clrScheme name="Aangepast 36">
      <a:dk1>
        <a:sysClr val="windowText" lastClr="000000"/>
      </a:dk1>
      <a:lt1>
        <a:sysClr val="window" lastClr="FFFFFF"/>
      </a:lt1>
      <a:dk2>
        <a:srgbClr val="002C51"/>
      </a:dk2>
      <a:lt2>
        <a:srgbClr val="E5E5E5"/>
      </a:lt2>
      <a:accent1>
        <a:srgbClr val="F39200"/>
      </a:accent1>
      <a:accent2>
        <a:srgbClr val="008A78"/>
      </a:accent2>
      <a:accent3>
        <a:srgbClr val="0080C9"/>
      </a:accent3>
      <a:accent4>
        <a:srgbClr val="7C7C7B"/>
      </a:accent4>
      <a:accent5>
        <a:srgbClr val="002C51"/>
      </a:accent5>
      <a:accent6>
        <a:srgbClr val="E5E5E5"/>
      </a:accent6>
      <a:hlink>
        <a:srgbClr val="0563C1"/>
      </a:hlink>
      <a:folHlink>
        <a:srgbClr val="954F72"/>
      </a:folHlink>
    </a:clrScheme>
    <a:fontScheme name="BMW format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71960" tIns="71960" rIns="71960" bIns="71960" rtlCol="0" anchor="t"/>
      <a:lstStyle>
        <a:defPPr algn="ctr" defTabSz="1218662">
          <a:lnSpc>
            <a:spcPct val="90000"/>
          </a:lnSpc>
          <a:spcAft>
            <a:spcPts val="300"/>
          </a:spcAft>
          <a:defRPr sz="1100" b="1" dirty="0">
            <a:solidFill>
              <a:srgbClr val="7F7F7F">
                <a:lumMod val="50000"/>
              </a:srgb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28</TotalTime>
  <Words>1153</Words>
  <Application>Microsoft Office PowerPoint</Application>
  <PresentationFormat>Widescreen</PresentationFormat>
  <Paragraphs>279</Paragraphs>
  <Slides>1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5" baseType="lpstr">
      <vt:lpstr>Arial</vt:lpstr>
      <vt:lpstr>BMW Group Condensed</vt:lpstr>
      <vt:lpstr>Calibri</vt:lpstr>
      <vt:lpstr>Courier New</vt:lpstr>
      <vt:lpstr>Gill Sans MT</vt:lpstr>
      <vt:lpstr>Open Sans</vt:lpstr>
      <vt:lpstr>Oswald</vt:lpstr>
      <vt:lpstr>Segoe UI Light</vt:lpstr>
      <vt:lpstr>Times New Roman</vt:lpstr>
      <vt:lpstr>Wingdings</vt:lpstr>
      <vt:lpstr>VDL Template-set</vt:lpstr>
      <vt:lpstr>1_VDL Template-set</vt:lpstr>
      <vt:lpstr>1_NL_Template algemene presentatie VDL Groep_POTX_v1.3</vt:lpstr>
      <vt:lpstr>NL_Template algemene presentatie VDL Groep_POTX_v1.3</vt:lpstr>
      <vt:lpstr>3_NL_Template algemene presentatie VDL Groep_POTX_v1.3</vt:lpstr>
      <vt:lpstr>2_VDL Template-set</vt:lpstr>
      <vt:lpstr>think-cell Slide</vt:lpstr>
      <vt:lpstr>PowerPoint Presentation</vt:lpstr>
      <vt:lpstr>Summary Experiment</vt:lpstr>
      <vt:lpstr>Summary Experiment</vt:lpstr>
      <vt:lpstr>Pilot Introduction</vt:lpstr>
      <vt:lpstr>Summary</vt:lpstr>
      <vt:lpstr>Current Work – Track Axis Tests</vt:lpstr>
      <vt:lpstr>Current Work – Failure Prediction</vt:lpstr>
      <vt:lpstr>Current Work – High Risk Gearboxes</vt:lpstr>
      <vt:lpstr>Current Work – Results</vt:lpstr>
      <vt:lpstr>Current Work – Interim Conclusion</vt:lpstr>
      <vt:lpstr>Current Work – Track Length (TL)</vt:lpstr>
      <vt:lpstr>Current Work – Track Length Tests</vt:lpstr>
      <vt:lpstr>Current Work – Measurements VS Maintenance Logs </vt:lpstr>
      <vt:lpstr>Current Work – Measurements VS Maintenance Logs </vt:lpstr>
      <vt:lpstr>Current Work – Measurements VS Maintenance Logs </vt:lpstr>
      <vt:lpstr>Current Work – Measurements VS Maintenance Logs </vt:lpstr>
      <vt:lpstr>Current Work – Interim Conclusion</vt:lpstr>
      <vt:lpstr>What is nex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DL Nedcar - Strategie</dc:title>
  <dc:creator>j.derks@vdlnedcar.nl</dc:creator>
  <cp:lastModifiedBy>Verkleij, Luuk</cp:lastModifiedBy>
  <cp:revision>2114</cp:revision>
  <cp:lastPrinted>2018-07-13T12:40:41Z</cp:lastPrinted>
  <dcterms:created xsi:type="dcterms:W3CDTF">2017-03-13T12:48:01Z</dcterms:created>
  <dcterms:modified xsi:type="dcterms:W3CDTF">2022-09-29T13:46:20Z</dcterms:modified>
</cp:coreProperties>
</file>